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4.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5.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6.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7.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8.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9.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59.xml" ContentType="application/vnd.openxmlformats-officedocument.presentationml.tags+xml"/>
  <Override PartName="/ppt/tags/tag60.xml" ContentType="application/vnd.openxmlformats-officedocument.presentationml.tags+xml"/>
  <Override PartName="/ppt/notesSlides/notesSlide1.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2.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3.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4.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5.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6.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7.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8.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9.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10.xml" ContentType="application/vnd.openxmlformats-officedocument.presentationml.notesSlide+xml"/>
  <Override PartName="/ppt/tags/tag89.xml" ContentType="application/vnd.openxmlformats-officedocument.presentationml.tags+xml"/>
  <Override PartName="/ppt/notesSlides/notesSlide11.xml" ContentType="application/vnd.openxmlformats-officedocument.presentationml.notesSlide+xml"/>
  <Override PartName="/ppt/tags/tag90.xml" ContentType="application/vnd.openxmlformats-officedocument.presentationml.tags+xml"/>
  <Override PartName="/ppt/notesSlides/notesSlide12.xml" ContentType="application/vnd.openxmlformats-officedocument.presentationml.notesSlide+xml"/>
  <Override PartName="/ppt/tags/tag91.xml" ContentType="application/vnd.openxmlformats-officedocument.presentationml.tags+xml"/>
  <Override PartName="/ppt/notesSlides/notesSlide13.xml" ContentType="application/vnd.openxmlformats-officedocument.presentationml.notesSlide+xml"/>
  <Override PartName="/ppt/tags/tag92.xml" ContentType="application/vnd.openxmlformats-officedocument.presentationml.tags+xml"/>
  <Override PartName="/ppt/notesSlides/notesSlide14.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5.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16.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17.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8.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19.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20.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21.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22.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23.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notesSlides/notesSlide24.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notesSlides/notesSlide25.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5" r:id="rId4"/>
  </p:sldMasterIdLst>
  <p:notesMasterIdLst>
    <p:notesMasterId r:id="rId96"/>
  </p:notesMasterIdLst>
  <p:handoutMasterIdLst>
    <p:handoutMasterId r:id="rId97"/>
  </p:handoutMasterIdLst>
  <p:sldIdLst>
    <p:sldId id="303" r:id="rId5"/>
    <p:sldId id="398" r:id="rId6"/>
    <p:sldId id="399" r:id="rId7"/>
    <p:sldId id="3453" r:id="rId8"/>
    <p:sldId id="330" r:id="rId9"/>
    <p:sldId id="331" r:id="rId10"/>
    <p:sldId id="3452" r:id="rId11"/>
    <p:sldId id="258" r:id="rId12"/>
    <p:sldId id="3455" r:id="rId13"/>
    <p:sldId id="3456" r:id="rId14"/>
    <p:sldId id="260" r:id="rId15"/>
    <p:sldId id="3457" r:id="rId16"/>
    <p:sldId id="3458" r:id="rId17"/>
    <p:sldId id="341" r:id="rId18"/>
    <p:sldId id="3459" r:id="rId19"/>
    <p:sldId id="3460" r:id="rId20"/>
    <p:sldId id="333" r:id="rId21"/>
    <p:sldId id="3461" r:id="rId22"/>
    <p:sldId id="3463" r:id="rId23"/>
    <p:sldId id="3476" r:id="rId24"/>
    <p:sldId id="308" r:id="rId25"/>
    <p:sldId id="3464" r:id="rId26"/>
    <p:sldId id="3465" r:id="rId27"/>
    <p:sldId id="367" r:id="rId28"/>
    <p:sldId id="371" r:id="rId29"/>
    <p:sldId id="3454" r:id="rId30"/>
    <p:sldId id="263" r:id="rId31"/>
    <p:sldId id="384" r:id="rId32"/>
    <p:sldId id="3466" r:id="rId33"/>
    <p:sldId id="361" r:id="rId34"/>
    <p:sldId id="3467" r:id="rId35"/>
    <p:sldId id="388" r:id="rId36"/>
    <p:sldId id="386" r:id="rId37"/>
    <p:sldId id="362" r:id="rId38"/>
    <p:sldId id="363" r:id="rId39"/>
    <p:sldId id="3468" r:id="rId40"/>
    <p:sldId id="379" r:id="rId41"/>
    <p:sldId id="3469" r:id="rId42"/>
    <p:sldId id="3470" r:id="rId43"/>
    <p:sldId id="3471" r:id="rId44"/>
    <p:sldId id="3472" r:id="rId45"/>
    <p:sldId id="3473" r:id="rId46"/>
    <p:sldId id="3474" r:id="rId47"/>
    <p:sldId id="3475" r:id="rId48"/>
    <p:sldId id="301" r:id="rId49"/>
    <p:sldId id="375" r:id="rId50"/>
    <p:sldId id="376" r:id="rId51"/>
    <p:sldId id="377" r:id="rId52"/>
    <p:sldId id="381" r:id="rId53"/>
    <p:sldId id="373" r:id="rId54"/>
    <p:sldId id="372" r:id="rId55"/>
    <p:sldId id="267" r:id="rId56"/>
    <p:sldId id="2432" r:id="rId57"/>
    <p:sldId id="3384" r:id="rId58"/>
    <p:sldId id="3477" r:id="rId59"/>
    <p:sldId id="2595" r:id="rId60"/>
    <p:sldId id="3389" r:id="rId61"/>
    <p:sldId id="2597" r:id="rId62"/>
    <p:sldId id="2810" r:id="rId63"/>
    <p:sldId id="3396" r:id="rId64"/>
    <p:sldId id="3478" r:id="rId65"/>
    <p:sldId id="3397" r:id="rId66"/>
    <p:sldId id="2963" r:id="rId67"/>
    <p:sldId id="3406" r:id="rId68"/>
    <p:sldId id="3107" r:id="rId69"/>
    <p:sldId id="3409" r:id="rId70"/>
    <p:sldId id="3109" r:id="rId71"/>
    <p:sldId id="3248" r:id="rId72"/>
    <p:sldId id="3425" r:id="rId73"/>
    <p:sldId id="3271" r:id="rId74"/>
    <p:sldId id="3428" r:id="rId75"/>
    <p:sldId id="3432" r:id="rId76"/>
    <p:sldId id="3301" r:id="rId77"/>
    <p:sldId id="3193" r:id="rId78"/>
    <p:sldId id="3435" r:id="rId79"/>
    <p:sldId id="3436" r:id="rId80"/>
    <p:sldId id="3448" r:id="rId81"/>
    <p:sldId id="3449" r:id="rId82"/>
    <p:sldId id="3450" r:id="rId83"/>
    <p:sldId id="3226" r:id="rId84"/>
    <p:sldId id="3439" r:id="rId85"/>
    <p:sldId id="3440" r:id="rId86"/>
    <p:sldId id="3045" r:id="rId87"/>
    <p:sldId id="3412" r:id="rId88"/>
    <p:sldId id="3413" r:id="rId89"/>
    <p:sldId id="3056" r:id="rId90"/>
    <p:sldId id="3419" r:id="rId91"/>
    <p:sldId id="3417" r:id="rId92"/>
    <p:sldId id="3379" r:id="rId93"/>
    <p:sldId id="3451" r:id="rId94"/>
    <p:sldId id="3445" r:id="rId95"/>
  </p:sldIdLst>
  <p:sldSz cx="12192000" cy="6858000"/>
  <p:notesSz cx="6858000" cy="9144000"/>
  <p:custDataLst>
    <p:tags r:id="rId9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eispielfolien" id="{032F0BD6-2542-4147-8370-B82DB91A6569}">
          <p14:sldIdLst>
            <p14:sldId id="303"/>
            <p14:sldId id="398"/>
            <p14:sldId id="399"/>
            <p14:sldId id="3453"/>
            <p14:sldId id="330"/>
            <p14:sldId id="331"/>
            <p14:sldId id="3452"/>
            <p14:sldId id="258"/>
            <p14:sldId id="3455"/>
            <p14:sldId id="3456"/>
            <p14:sldId id="260"/>
            <p14:sldId id="3457"/>
            <p14:sldId id="3458"/>
            <p14:sldId id="341"/>
            <p14:sldId id="3459"/>
            <p14:sldId id="3460"/>
            <p14:sldId id="333"/>
            <p14:sldId id="3461"/>
            <p14:sldId id="3463"/>
            <p14:sldId id="3476"/>
            <p14:sldId id="308"/>
            <p14:sldId id="3464"/>
            <p14:sldId id="3465"/>
            <p14:sldId id="367"/>
            <p14:sldId id="371"/>
            <p14:sldId id="3454"/>
            <p14:sldId id="263"/>
            <p14:sldId id="384"/>
            <p14:sldId id="3466"/>
            <p14:sldId id="361"/>
            <p14:sldId id="3467"/>
            <p14:sldId id="388"/>
            <p14:sldId id="386"/>
            <p14:sldId id="362"/>
            <p14:sldId id="363"/>
            <p14:sldId id="3468"/>
            <p14:sldId id="379"/>
            <p14:sldId id="3469"/>
            <p14:sldId id="3470"/>
            <p14:sldId id="3471"/>
            <p14:sldId id="3472"/>
            <p14:sldId id="3473"/>
            <p14:sldId id="3474"/>
            <p14:sldId id="3475"/>
            <p14:sldId id="301"/>
          </p14:sldIdLst>
        </p14:section>
        <p14:section name="Richtlinien und Kopierelemente" id="{8D257C3E-ADC4-4BE3-8909-3FC1734F4826}">
          <p14:sldIdLst>
            <p14:sldId id="375"/>
            <p14:sldId id="376"/>
            <p14:sldId id="377"/>
            <p14:sldId id="381"/>
            <p14:sldId id="373"/>
            <p14:sldId id="372"/>
            <p14:sldId id="267"/>
          </p14:sldIdLst>
        </p14:section>
        <p14:section name="Folienbibliothek" id="{13032050-6398-4061-A281-58853025E8EE}">
          <p14:sldIdLst>
            <p14:sldId id="2432"/>
            <p14:sldId id="3384"/>
            <p14:sldId id="3477"/>
            <p14:sldId id="2595"/>
            <p14:sldId id="3389"/>
            <p14:sldId id="2597"/>
            <p14:sldId id="2810"/>
            <p14:sldId id="3396"/>
            <p14:sldId id="3478"/>
            <p14:sldId id="3397"/>
            <p14:sldId id="2963"/>
            <p14:sldId id="3406"/>
            <p14:sldId id="3107"/>
            <p14:sldId id="3409"/>
            <p14:sldId id="3109"/>
            <p14:sldId id="3248"/>
            <p14:sldId id="3425"/>
            <p14:sldId id="3271"/>
            <p14:sldId id="3428"/>
            <p14:sldId id="3432"/>
            <p14:sldId id="3301"/>
            <p14:sldId id="3193"/>
            <p14:sldId id="3435"/>
            <p14:sldId id="3436"/>
            <p14:sldId id="3448"/>
            <p14:sldId id="3449"/>
            <p14:sldId id="3450"/>
            <p14:sldId id="3226"/>
            <p14:sldId id="3439"/>
            <p14:sldId id="3440"/>
            <p14:sldId id="3045"/>
            <p14:sldId id="3412"/>
            <p14:sldId id="3413"/>
            <p14:sldId id="3056"/>
            <p14:sldId id="3419"/>
            <p14:sldId id="3417"/>
            <p14:sldId id="3379"/>
            <p14:sldId id="3451"/>
            <p14:sldId id="3445"/>
          </p14:sldIdLst>
        </p14:section>
      </p14:sectionLst>
    </p:ext>
    <p:ext uri="{EFAFB233-063F-42B5-8137-9DF3F51BA10A}">
      <p15:sldGuideLst xmlns:p15="http://schemas.microsoft.com/office/powerpoint/2012/main">
        <p15:guide id="1" pos="3840" userDrawn="1">
          <p15:clr>
            <a:srgbClr val="A4A3A4"/>
          </p15:clr>
        </p15:guide>
        <p15:guide id="2" pos="3659" userDrawn="1">
          <p15:clr>
            <a:srgbClr val="A4A3A4"/>
          </p15:clr>
        </p15:guide>
        <p15:guide id="3" orient="horz" pos="2160">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727" autoAdjust="0"/>
    <p:restoredTop sz="94558" autoAdjust="0"/>
  </p:normalViewPr>
  <p:slideViewPr>
    <p:cSldViewPr showGuides="1">
      <p:cViewPr varScale="1">
        <p:scale>
          <a:sx n="121" d="100"/>
          <a:sy n="121" d="100"/>
        </p:scale>
        <p:origin x="928" y="168"/>
      </p:cViewPr>
      <p:guideLst>
        <p:guide pos="3840"/>
        <p:guide pos="3659"/>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howGuides="1">
      <p:cViewPr varScale="1">
        <p:scale>
          <a:sx n="84" d="100"/>
          <a:sy n="84" d="100"/>
        </p:scale>
        <p:origin x="3828" y="102"/>
      </p:cViewPr>
      <p:guideLst>
        <p:guide orient="horz" pos="2880"/>
        <p:guide pos="2160"/>
      </p:guideLst>
    </p:cSldViewPr>
  </p:notesViewPr>
  <p:gridSpacing cx="72000" cy="720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tableStyles" Target="tableStyle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handoutMaster" Target="handoutMasters/handout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tags" Target="tags/tag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Arbeitsblat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Arbeitsblat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Arbeitsblat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Arbeitsblat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Arbeitsblat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Arbeitsblat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Arbeitsblat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Arbeitsblat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Arbeitsblat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Arbeitsblat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Arbeitsblat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Arbeitsblat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Arbeitsblat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Arbeitsblat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Arbeitsblat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Arbeitsblat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Arbeitsblat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Arbeitsblat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Arbeitsblat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Arbeitsblat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Arbeitsblat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Arbeitsblat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Arbeitsblatt29.xlsx"/><Relationship Id="rId2" Type="http://schemas.microsoft.com/office/2011/relationships/chartColorStyle" Target="colors30.xml"/><Relationship Id="rId1" Type="http://schemas.microsoft.com/office/2011/relationships/chartStyle" Target="style30.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Arbeitsblat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Arbeitsblat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Arbeitsblat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Arbeitsblat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Arbeitsblat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Arbeitsblat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807699667604557"/>
          <c:y val="0.13791589028470677"/>
          <c:w val="0.61667898139479671"/>
          <c:h val="0.56564173903647974"/>
        </c:manualLayout>
      </c:layout>
      <c:doughnutChart>
        <c:varyColors val="1"/>
        <c:ser>
          <c:idx val="0"/>
          <c:order val="0"/>
          <c:tx>
            <c:strRef>
              <c:f>Tabelle1!$B$1</c:f>
              <c:strCache>
                <c:ptCount val="1"/>
                <c:pt idx="0">
                  <c:v>Verkauf</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F5B5-4F00-9614-6B3316391306}"/>
              </c:ext>
            </c:extLst>
          </c:dPt>
          <c:dPt>
            <c:idx val="1"/>
            <c:bubble3D val="0"/>
            <c:spPr>
              <a:solidFill>
                <a:schemeClr val="accent2"/>
              </a:solidFill>
              <a:ln w="19050">
                <a:noFill/>
              </a:ln>
              <a:effectLst/>
            </c:spPr>
            <c:extLst>
              <c:ext xmlns:c16="http://schemas.microsoft.com/office/drawing/2014/chart" uri="{C3380CC4-5D6E-409C-BE32-E72D297353CC}">
                <c16:uniqueId val="{00000003-F5B5-4F00-9614-6B3316391306}"/>
              </c:ext>
            </c:extLst>
          </c:dPt>
          <c:dPt>
            <c:idx val="2"/>
            <c:bubble3D val="0"/>
            <c:spPr>
              <a:solidFill>
                <a:schemeClr val="accent3"/>
              </a:solidFill>
              <a:ln w="19050">
                <a:noFill/>
              </a:ln>
              <a:effectLst/>
            </c:spPr>
            <c:extLst>
              <c:ext xmlns:c16="http://schemas.microsoft.com/office/drawing/2014/chart" uri="{C3380CC4-5D6E-409C-BE32-E72D297353CC}">
                <c16:uniqueId val="{00000005-F5B5-4F00-9614-6B3316391306}"/>
              </c:ext>
            </c:extLst>
          </c:dPt>
          <c:dPt>
            <c:idx val="3"/>
            <c:bubble3D val="0"/>
            <c:spPr>
              <a:solidFill>
                <a:schemeClr val="accent4"/>
              </a:solidFill>
              <a:ln w="19050">
                <a:noFill/>
              </a:ln>
              <a:effectLst/>
            </c:spPr>
            <c:extLst>
              <c:ext xmlns:c16="http://schemas.microsoft.com/office/drawing/2014/chart" uri="{C3380CC4-5D6E-409C-BE32-E72D297353CC}">
                <c16:uniqueId val="{00000007-F5B5-4F00-9614-6B3316391306}"/>
              </c:ext>
            </c:extLst>
          </c:dPt>
          <c:dPt>
            <c:idx val="4"/>
            <c:bubble3D val="0"/>
            <c:spPr>
              <a:solidFill>
                <a:schemeClr val="accent5"/>
              </a:solidFill>
              <a:ln w="19050">
                <a:noFill/>
              </a:ln>
              <a:effectLst/>
            </c:spPr>
            <c:extLst>
              <c:ext xmlns:c16="http://schemas.microsoft.com/office/drawing/2014/chart" uri="{C3380CC4-5D6E-409C-BE32-E72D297353CC}">
                <c16:uniqueId val="{00000009-F5B5-4F00-9614-6B3316391306}"/>
              </c:ext>
            </c:extLst>
          </c:dPt>
          <c:dPt>
            <c:idx val="5"/>
            <c:bubble3D val="0"/>
            <c:spPr>
              <a:solidFill>
                <a:schemeClr val="accent6"/>
              </a:solidFill>
              <a:ln w="19050">
                <a:noFill/>
              </a:ln>
              <a:effectLst/>
            </c:spPr>
            <c:extLst>
              <c:ext xmlns:c16="http://schemas.microsoft.com/office/drawing/2014/chart" uri="{C3380CC4-5D6E-409C-BE32-E72D297353CC}">
                <c16:uniqueId val="{0000000B-F5B5-4F00-9614-6B3316391306}"/>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1!$A$2:$A$7</c:f>
              <c:strCache>
                <c:ptCount val="6"/>
                <c:pt idx="0">
                  <c:v>1. Quartal</c:v>
                </c:pt>
                <c:pt idx="1">
                  <c:v>2. Quartal</c:v>
                </c:pt>
                <c:pt idx="2">
                  <c:v>3. Quartal</c:v>
                </c:pt>
                <c:pt idx="3">
                  <c:v>4. Quartal</c:v>
                </c:pt>
                <c:pt idx="4">
                  <c:v>5. Quartal</c:v>
                </c:pt>
                <c:pt idx="5">
                  <c:v>6. Quartal</c:v>
                </c:pt>
              </c:strCache>
            </c:strRef>
          </c:cat>
          <c:val>
            <c:numRef>
              <c:f>Tabelle1!$B$2:$B$7</c:f>
              <c:numCache>
                <c:formatCode>General</c:formatCode>
                <c:ptCount val="6"/>
                <c:pt idx="0">
                  <c:v>6.2</c:v>
                </c:pt>
                <c:pt idx="1">
                  <c:v>3.2</c:v>
                </c:pt>
                <c:pt idx="2">
                  <c:v>1.4</c:v>
                </c:pt>
                <c:pt idx="3">
                  <c:v>1.2</c:v>
                </c:pt>
                <c:pt idx="4">
                  <c:v>1</c:v>
                </c:pt>
                <c:pt idx="5">
                  <c:v>0.8</c:v>
                </c:pt>
              </c:numCache>
            </c:numRef>
          </c:val>
          <c:extLst>
            <c:ext xmlns:c16="http://schemas.microsoft.com/office/drawing/2014/chart" uri="{C3380CC4-5D6E-409C-BE32-E72D297353CC}">
              <c16:uniqueId val="{0000000E-F5B5-4F00-9614-6B3316391306}"/>
            </c:ext>
          </c:extLst>
        </c:ser>
        <c:dLbls>
          <c:showLegendKey val="0"/>
          <c:showVal val="1"/>
          <c:showCatName val="0"/>
          <c:showSerName val="0"/>
          <c:showPercent val="0"/>
          <c:showBubbleSize val="0"/>
          <c:showLeaderLines val="1"/>
        </c:dLbls>
        <c:firstSliceAng val="0"/>
        <c:holeSize val="70"/>
      </c:doughnutChart>
      <c:spPr>
        <a:noFill/>
        <a:ln>
          <a:noFill/>
        </a:ln>
        <a:effectLst/>
      </c:spPr>
    </c:plotArea>
    <c:legend>
      <c:legendPos val="b"/>
      <c:layout>
        <c:manualLayout>
          <c:xMode val="edge"/>
          <c:yMode val="edge"/>
          <c:x val="0.10081008100810081"/>
          <c:y val="0.80695664950278156"/>
          <c:w val="0.81446947844390738"/>
          <c:h val="0.1147087148457587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dirty="0"/>
              <a:t>Diagrammtitel</a:t>
            </a:r>
          </a:p>
        </c:rich>
      </c:tx>
      <c:layout>
        <c:manualLayout>
          <c:xMode val="edge"/>
          <c:yMode val="edge"/>
          <c:x val="1.2548387076669583E-2"/>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2.5771925065104475E-2"/>
          <c:y val="0.17407679001956816"/>
          <c:w val="0.97409140651216597"/>
          <c:h val="0.74406283184067645"/>
        </c:manualLayout>
      </c:layout>
      <c:barChart>
        <c:barDir val="col"/>
        <c:grouping val="clustered"/>
        <c:varyColors val="0"/>
        <c:ser>
          <c:idx val="0"/>
          <c:order val="0"/>
          <c:tx>
            <c:strRef>
              <c:f>Tabelle1!$B$1</c:f>
              <c:strCache>
                <c:ptCount val="1"/>
                <c:pt idx="0">
                  <c:v>Datenreihe 1</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Kategorie 1</c:v>
                </c:pt>
                <c:pt idx="1">
                  <c:v>Kategorie 2</c:v>
                </c:pt>
                <c:pt idx="2">
                  <c:v>Kategorie 3</c:v>
                </c:pt>
              </c:strCache>
            </c:strRef>
          </c:cat>
          <c:val>
            <c:numRef>
              <c:f>Tabelle1!$B$2:$B$4</c:f>
              <c:numCache>
                <c:formatCode>General</c:formatCode>
                <c:ptCount val="3"/>
                <c:pt idx="0">
                  <c:v>4.3</c:v>
                </c:pt>
                <c:pt idx="1">
                  <c:v>2.5</c:v>
                </c:pt>
                <c:pt idx="2">
                  <c:v>3.5</c:v>
                </c:pt>
              </c:numCache>
            </c:numRef>
          </c:val>
          <c:extLst>
            <c:ext xmlns:c16="http://schemas.microsoft.com/office/drawing/2014/chart" uri="{C3380CC4-5D6E-409C-BE32-E72D297353CC}">
              <c16:uniqueId val="{00000000-568B-4640-8F35-DB715820E702}"/>
            </c:ext>
          </c:extLst>
        </c:ser>
        <c:ser>
          <c:idx val="1"/>
          <c:order val="1"/>
          <c:tx>
            <c:strRef>
              <c:f>Tabelle1!$C$1</c:f>
              <c:strCache>
                <c:ptCount val="1"/>
                <c:pt idx="0">
                  <c:v>Datenreihe 2</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Kategorie 1</c:v>
                </c:pt>
                <c:pt idx="1">
                  <c:v>Kategorie 2</c:v>
                </c:pt>
                <c:pt idx="2">
                  <c:v>Kategorie 3</c:v>
                </c:pt>
              </c:strCache>
            </c:strRef>
          </c:cat>
          <c:val>
            <c:numRef>
              <c:f>Tabelle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568B-4640-8F35-DB715820E702}"/>
            </c:ext>
          </c:extLst>
        </c:ser>
        <c:ser>
          <c:idx val="2"/>
          <c:order val="2"/>
          <c:tx>
            <c:strRef>
              <c:f>Tabelle1!$D$1</c:f>
              <c:strCache>
                <c:ptCount val="1"/>
                <c:pt idx="0">
                  <c:v>Datenreihe 3</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Kategorie 1</c:v>
                </c:pt>
                <c:pt idx="1">
                  <c:v>Kategorie 2</c:v>
                </c:pt>
                <c:pt idx="2">
                  <c:v>Kategorie 3</c:v>
                </c:pt>
              </c:strCache>
            </c:strRef>
          </c:cat>
          <c:val>
            <c:numRef>
              <c:f>Tabelle1!$D$2:$D$4</c:f>
              <c:numCache>
                <c:formatCode>General</c:formatCode>
                <c:ptCount val="3"/>
                <c:pt idx="0">
                  <c:v>2</c:v>
                </c:pt>
                <c:pt idx="1">
                  <c:v>2</c:v>
                </c:pt>
                <c:pt idx="2">
                  <c:v>3</c:v>
                </c:pt>
              </c:numCache>
            </c:numRef>
          </c:val>
          <c:extLst>
            <c:ext xmlns:c16="http://schemas.microsoft.com/office/drawing/2014/chart" uri="{C3380CC4-5D6E-409C-BE32-E72D297353CC}">
              <c16:uniqueId val="{00000002-568B-4640-8F35-DB715820E702}"/>
            </c:ext>
          </c:extLst>
        </c:ser>
        <c:ser>
          <c:idx val="3"/>
          <c:order val="3"/>
          <c:tx>
            <c:strRef>
              <c:f>Tabelle1!$E$1</c:f>
              <c:strCache>
                <c:ptCount val="1"/>
                <c:pt idx="0">
                  <c:v>Datenreihe 4</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Kategorie 1</c:v>
                </c:pt>
                <c:pt idx="1">
                  <c:v>Kategorie 2</c:v>
                </c:pt>
                <c:pt idx="2">
                  <c:v>Kategorie 3</c:v>
                </c:pt>
              </c:strCache>
            </c:strRef>
          </c:cat>
          <c:val>
            <c:numRef>
              <c:f>Tabelle1!$E$2:$E$4</c:f>
              <c:numCache>
                <c:formatCode>General</c:formatCode>
                <c:ptCount val="3"/>
                <c:pt idx="0">
                  <c:v>3.3</c:v>
                </c:pt>
                <c:pt idx="1">
                  <c:v>2.5</c:v>
                </c:pt>
                <c:pt idx="2">
                  <c:v>4.4000000000000004</c:v>
                </c:pt>
              </c:numCache>
            </c:numRef>
          </c:val>
          <c:extLst>
            <c:ext xmlns:c16="http://schemas.microsoft.com/office/drawing/2014/chart" uri="{C3380CC4-5D6E-409C-BE32-E72D297353CC}">
              <c16:uniqueId val="{00000003-568B-4640-8F35-DB715820E702}"/>
            </c:ext>
          </c:extLst>
        </c:ser>
        <c:ser>
          <c:idx val="4"/>
          <c:order val="4"/>
          <c:tx>
            <c:strRef>
              <c:f>Tabelle1!$F$1</c:f>
              <c:strCache>
                <c:ptCount val="1"/>
                <c:pt idx="0">
                  <c:v>Datenreihe 5</c:v>
                </c:pt>
              </c:strCache>
            </c:strRef>
          </c:tx>
          <c:spPr>
            <a:solidFill>
              <a:schemeClr val="accent5"/>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Kategorie 1</c:v>
                </c:pt>
                <c:pt idx="1">
                  <c:v>Kategorie 2</c:v>
                </c:pt>
                <c:pt idx="2">
                  <c:v>Kategorie 3</c:v>
                </c:pt>
              </c:strCache>
            </c:strRef>
          </c:cat>
          <c:val>
            <c:numRef>
              <c:f>Tabelle1!$F$2:$F$4</c:f>
              <c:numCache>
                <c:formatCode>General</c:formatCode>
                <c:ptCount val="3"/>
                <c:pt idx="0">
                  <c:v>5</c:v>
                </c:pt>
                <c:pt idx="1">
                  <c:v>4</c:v>
                </c:pt>
                <c:pt idx="2">
                  <c:v>6</c:v>
                </c:pt>
              </c:numCache>
            </c:numRef>
          </c:val>
          <c:extLst>
            <c:ext xmlns:c16="http://schemas.microsoft.com/office/drawing/2014/chart" uri="{C3380CC4-5D6E-409C-BE32-E72D297353CC}">
              <c16:uniqueId val="{00000004-568B-4640-8F35-DB715820E702}"/>
            </c:ext>
          </c:extLst>
        </c:ser>
        <c:ser>
          <c:idx val="5"/>
          <c:order val="5"/>
          <c:tx>
            <c:strRef>
              <c:f>Tabelle1!$G$1</c:f>
              <c:strCache>
                <c:ptCount val="1"/>
                <c:pt idx="0">
                  <c:v>Datenreihe 6</c:v>
                </c:pt>
              </c:strCache>
            </c:strRef>
          </c:tx>
          <c:spPr>
            <a:solidFill>
              <a:schemeClr val="accent6"/>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Kategorie 1</c:v>
                </c:pt>
                <c:pt idx="1">
                  <c:v>Kategorie 2</c:v>
                </c:pt>
                <c:pt idx="2">
                  <c:v>Kategorie 3</c:v>
                </c:pt>
              </c:strCache>
            </c:strRef>
          </c:cat>
          <c:val>
            <c:numRef>
              <c:f>Tabelle1!$G$2:$G$4</c:f>
              <c:numCache>
                <c:formatCode>General</c:formatCode>
                <c:ptCount val="3"/>
                <c:pt idx="0">
                  <c:v>4</c:v>
                </c:pt>
                <c:pt idx="1">
                  <c:v>4.3</c:v>
                </c:pt>
                <c:pt idx="2">
                  <c:v>6.2</c:v>
                </c:pt>
              </c:numCache>
            </c:numRef>
          </c:val>
          <c:extLst>
            <c:ext xmlns:c16="http://schemas.microsoft.com/office/drawing/2014/chart" uri="{C3380CC4-5D6E-409C-BE32-E72D297353CC}">
              <c16:uniqueId val="{00000005-568B-4640-8F35-DB715820E702}"/>
            </c:ext>
          </c:extLst>
        </c:ser>
        <c:dLbls>
          <c:showLegendKey val="0"/>
          <c:showVal val="1"/>
          <c:showCatName val="0"/>
          <c:showSerName val="0"/>
          <c:showPercent val="0"/>
          <c:showBubbleSize val="0"/>
        </c:dLbls>
        <c:gapWidth val="300"/>
        <c:overlap val="-50"/>
        <c:axId val="1358347264"/>
        <c:axId val="1358361344"/>
      </c:barChart>
      <c:catAx>
        <c:axId val="1358347264"/>
        <c:scaling>
          <c:orientation val="minMax"/>
        </c:scaling>
        <c:delete val="0"/>
        <c:axPos val="b"/>
        <c:numFmt formatCode="General" sourceLinked="0"/>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crossAx val="1358361344"/>
        <c:crosses val="autoZero"/>
        <c:auto val="1"/>
        <c:lblAlgn val="ctr"/>
        <c:lblOffset val="100"/>
        <c:noMultiLvlLbl val="0"/>
      </c:catAx>
      <c:valAx>
        <c:axId val="1358361344"/>
        <c:scaling>
          <c:orientation val="minMax"/>
        </c:scaling>
        <c:delete val="0"/>
        <c:axPos val="l"/>
        <c:majorGridlines>
          <c:spPr>
            <a:ln w="3175" cap="flat" cmpd="sng" algn="ctr">
              <a:solidFill>
                <a:schemeClr val="tx1"/>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crossAx val="1358347264"/>
        <c:crosses val="autoZero"/>
        <c:crossBetween val="between"/>
      </c:valAx>
      <c:spPr>
        <a:noFill/>
        <a:ln>
          <a:noFill/>
        </a:ln>
        <a:effectLst/>
      </c:spPr>
    </c:plotArea>
    <c:legend>
      <c:legendPos val="t"/>
      <c:layout>
        <c:manualLayout>
          <c:xMode val="edge"/>
          <c:yMode val="edge"/>
          <c:x val="0.38059431265265575"/>
          <c:y val="3.737078666693381E-2"/>
          <c:w val="0.61874068640313018"/>
          <c:h val="6.118223771646864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bg1"/>
                </a:solidFill>
                <a:latin typeface="+mn-lt"/>
                <a:ea typeface="+mn-ea"/>
                <a:cs typeface="+mn-cs"/>
              </a:defRPr>
            </a:pPr>
            <a:r>
              <a:rPr lang="en-US"/>
              <a:t>Diagrammtitel</a:t>
            </a:r>
          </a:p>
        </c:rich>
      </c:tx>
      <c:layout>
        <c:manualLayout>
          <c:xMode val="edge"/>
          <c:yMode val="edge"/>
          <c:x val="1.2548387076669583E-2"/>
          <c:y val="0"/>
        </c:manualLayout>
      </c:layout>
      <c:overlay val="0"/>
      <c:spPr>
        <a:noFill/>
        <a:ln>
          <a:noFill/>
        </a:ln>
        <a:effectLst/>
      </c:spPr>
      <c:txPr>
        <a:bodyPr rot="0" spcFirstLastPara="1" vertOverflow="ellipsis" vert="horz" wrap="square" anchor="ctr" anchorCtr="1"/>
        <a:lstStyle/>
        <a:p>
          <a:pPr>
            <a:defRPr sz="1440" b="0" i="0" u="none" strike="noStrike" kern="1200" spc="0" baseline="0">
              <a:solidFill>
                <a:schemeClr val="bg1"/>
              </a:solidFill>
              <a:latin typeface="+mn-lt"/>
              <a:ea typeface="+mn-ea"/>
              <a:cs typeface="+mn-cs"/>
            </a:defRPr>
          </a:pPr>
          <a:endParaRPr lang="de-DE"/>
        </a:p>
      </c:txPr>
    </c:title>
    <c:autoTitleDeleted val="0"/>
    <c:plotArea>
      <c:layout>
        <c:manualLayout>
          <c:layoutTarget val="inner"/>
          <c:xMode val="edge"/>
          <c:yMode val="edge"/>
          <c:x val="2.5771925065104475E-2"/>
          <c:y val="0.17407679001956816"/>
          <c:w val="0.97409140651216597"/>
          <c:h val="0.74406283184067645"/>
        </c:manualLayout>
      </c:layout>
      <c:barChart>
        <c:barDir val="col"/>
        <c:grouping val="clustered"/>
        <c:varyColors val="0"/>
        <c:ser>
          <c:idx val="0"/>
          <c:order val="0"/>
          <c:tx>
            <c:strRef>
              <c:f>Tabelle1!$B$1</c:f>
              <c:strCache>
                <c:ptCount val="1"/>
                <c:pt idx="0">
                  <c:v>Datenreihe 1</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Kategorie 1</c:v>
                </c:pt>
                <c:pt idx="1">
                  <c:v>Kategorie 2</c:v>
                </c:pt>
                <c:pt idx="2">
                  <c:v>Kategorie 3</c:v>
                </c:pt>
              </c:strCache>
            </c:strRef>
          </c:cat>
          <c:val>
            <c:numRef>
              <c:f>Tabelle1!$B$2:$B$4</c:f>
              <c:numCache>
                <c:formatCode>General</c:formatCode>
                <c:ptCount val="3"/>
                <c:pt idx="0">
                  <c:v>4.3</c:v>
                </c:pt>
                <c:pt idx="1">
                  <c:v>2.5</c:v>
                </c:pt>
                <c:pt idx="2">
                  <c:v>3.5</c:v>
                </c:pt>
              </c:numCache>
            </c:numRef>
          </c:val>
          <c:extLst>
            <c:ext xmlns:c16="http://schemas.microsoft.com/office/drawing/2014/chart" uri="{C3380CC4-5D6E-409C-BE32-E72D297353CC}">
              <c16:uniqueId val="{00000000-568B-4640-8F35-DB715820E702}"/>
            </c:ext>
          </c:extLst>
        </c:ser>
        <c:ser>
          <c:idx val="1"/>
          <c:order val="1"/>
          <c:tx>
            <c:strRef>
              <c:f>Tabelle1!$C$1</c:f>
              <c:strCache>
                <c:ptCount val="1"/>
                <c:pt idx="0">
                  <c:v>Datenreihe 2</c:v>
                </c:pt>
              </c:strCache>
            </c:strRef>
          </c:tx>
          <c:spPr>
            <a:solidFill>
              <a:schemeClr val="accent4">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Kategorie 1</c:v>
                </c:pt>
                <c:pt idx="1">
                  <c:v>Kategorie 2</c:v>
                </c:pt>
                <c:pt idx="2">
                  <c:v>Kategorie 3</c:v>
                </c:pt>
              </c:strCache>
            </c:strRef>
          </c:cat>
          <c:val>
            <c:numRef>
              <c:f>Tabelle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568B-4640-8F35-DB715820E702}"/>
            </c:ext>
          </c:extLst>
        </c:ser>
        <c:ser>
          <c:idx val="2"/>
          <c:order val="2"/>
          <c:tx>
            <c:strRef>
              <c:f>Tabelle1!$D$1</c:f>
              <c:strCache>
                <c:ptCount val="1"/>
                <c:pt idx="0">
                  <c:v>Datenreihe 3</c:v>
                </c:pt>
              </c:strCache>
            </c:strRef>
          </c:tx>
          <c:spPr>
            <a:solidFill>
              <a:schemeClr val="accent4">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Kategorie 1</c:v>
                </c:pt>
                <c:pt idx="1">
                  <c:v>Kategorie 2</c:v>
                </c:pt>
                <c:pt idx="2">
                  <c:v>Kategorie 3</c:v>
                </c:pt>
              </c:strCache>
            </c:strRef>
          </c:cat>
          <c:val>
            <c:numRef>
              <c:f>Tabelle1!$D$2:$D$4</c:f>
              <c:numCache>
                <c:formatCode>General</c:formatCode>
                <c:ptCount val="3"/>
                <c:pt idx="0">
                  <c:v>2</c:v>
                </c:pt>
                <c:pt idx="1">
                  <c:v>2</c:v>
                </c:pt>
                <c:pt idx="2">
                  <c:v>3</c:v>
                </c:pt>
              </c:numCache>
            </c:numRef>
          </c:val>
          <c:extLst>
            <c:ext xmlns:c16="http://schemas.microsoft.com/office/drawing/2014/chart" uri="{C3380CC4-5D6E-409C-BE32-E72D297353CC}">
              <c16:uniqueId val="{00000002-568B-4640-8F35-DB715820E702}"/>
            </c:ext>
          </c:extLst>
        </c:ser>
        <c:ser>
          <c:idx val="3"/>
          <c:order val="3"/>
          <c:tx>
            <c:strRef>
              <c:f>Tabelle1!$E$1</c:f>
              <c:strCache>
                <c:ptCount val="1"/>
                <c:pt idx="0">
                  <c:v>Datenreihe 4</c:v>
                </c:pt>
              </c:strCache>
            </c:strRef>
          </c:tx>
          <c:spPr>
            <a:solidFill>
              <a:schemeClr val="accent4">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Kategorie 1</c:v>
                </c:pt>
                <c:pt idx="1">
                  <c:v>Kategorie 2</c:v>
                </c:pt>
                <c:pt idx="2">
                  <c:v>Kategorie 3</c:v>
                </c:pt>
              </c:strCache>
            </c:strRef>
          </c:cat>
          <c:val>
            <c:numRef>
              <c:f>Tabelle1!$E$2:$E$4</c:f>
              <c:numCache>
                <c:formatCode>General</c:formatCode>
                <c:ptCount val="3"/>
                <c:pt idx="0">
                  <c:v>3.3</c:v>
                </c:pt>
                <c:pt idx="1">
                  <c:v>2.5</c:v>
                </c:pt>
                <c:pt idx="2">
                  <c:v>4.4000000000000004</c:v>
                </c:pt>
              </c:numCache>
            </c:numRef>
          </c:val>
          <c:extLst>
            <c:ext xmlns:c16="http://schemas.microsoft.com/office/drawing/2014/chart" uri="{C3380CC4-5D6E-409C-BE32-E72D297353CC}">
              <c16:uniqueId val="{00000003-568B-4640-8F35-DB715820E702}"/>
            </c:ext>
          </c:extLst>
        </c:ser>
        <c:ser>
          <c:idx val="4"/>
          <c:order val="4"/>
          <c:tx>
            <c:strRef>
              <c:f>Tabelle1!$F$1</c:f>
              <c:strCache>
                <c:ptCount val="1"/>
                <c:pt idx="0">
                  <c:v>Datenreihe 5</c:v>
                </c:pt>
              </c:strCache>
            </c:strRef>
          </c:tx>
          <c:spPr>
            <a:solidFill>
              <a:schemeClr val="accent4">
                <a:lumMod val="20000"/>
                <a:lumOff val="8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Kategorie 1</c:v>
                </c:pt>
                <c:pt idx="1">
                  <c:v>Kategorie 2</c:v>
                </c:pt>
                <c:pt idx="2">
                  <c:v>Kategorie 3</c:v>
                </c:pt>
              </c:strCache>
            </c:strRef>
          </c:cat>
          <c:val>
            <c:numRef>
              <c:f>Tabelle1!$F$2:$F$4</c:f>
              <c:numCache>
                <c:formatCode>General</c:formatCode>
                <c:ptCount val="3"/>
                <c:pt idx="0">
                  <c:v>5</c:v>
                </c:pt>
                <c:pt idx="1">
                  <c:v>4</c:v>
                </c:pt>
                <c:pt idx="2">
                  <c:v>6</c:v>
                </c:pt>
              </c:numCache>
            </c:numRef>
          </c:val>
          <c:extLst>
            <c:ext xmlns:c16="http://schemas.microsoft.com/office/drawing/2014/chart" uri="{C3380CC4-5D6E-409C-BE32-E72D297353CC}">
              <c16:uniqueId val="{00000004-568B-4640-8F35-DB715820E702}"/>
            </c:ext>
          </c:extLst>
        </c:ser>
        <c:ser>
          <c:idx val="5"/>
          <c:order val="5"/>
          <c:tx>
            <c:strRef>
              <c:f>Tabelle1!$G$1</c:f>
              <c:strCache>
                <c:ptCount val="1"/>
                <c:pt idx="0">
                  <c:v>Datenreihe 6</c:v>
                </c:pt>
              </c:strCache>
            </c:strRef>
          </c:tx>
          <c:spPr>
            <a:solidFill>
              <a:schemeClr val="bg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Kategorie 1</c:v>
                </c:pt>
                <c:pt idx="1">
                  <c:v>Kategorie 2</c:v>
                </c:pt>
                <c:pt idx="2">
                  <c:v>Kategorie 3</c:v>
                </c:pt>
              </c:strCache>
            </c:strRef>
          </c:cat>
          <c:val>
            <c:numRef>
              <c:f>Tabelle1!$G$2:$G$4</c:f>
              <c:numCache>
                <c:formatCode>General</c:formatCode>
                <c:ptCount val="3"/>
                <c:pt idx="0">
                  <c:v>4</c:v>
                </c:pt>
                <c:pt idx="1">
                  <c:v>4.3</c:v>
                </c:pt>
                <c:pt idx="2">
                  <c:v>6.2</c:v>
                </c:pt>
              </c:numCache>
            </c:numRef>
          </c:val>
          <c:extLst>
            <c:ext xmlns:c16="http://schemas.microsoft.com/office/drawing/2014/chart" uri="{C3380CC4-5D6E-409C-BE32-E72D297353CC}">
              <c16:uniqueId val="{00000005-568B-4640-8F35-DB715820E702}"/>
            </c:ext>
          </c:extLst>
        </c:ser>
        <c:dLbls>
          <c:showLegendKey val="0"/>
          <c:showVal val="1"/>
          <c:showCatName val="0"/>
          <c:showSerName val="0"/>
          <c:showPercent val="0"/>
          <c:showBubbleSize val="0"/>
        </c:dLbls>
        <c:gapWidth val="300"/>
        <c:overlap val="-50"/>
        <c:axId val="1358347264"/>
        <c:axId val="1358361344"/>
      </c:barChart>
      <c:catAx>
        <c:axId val="1358347264"/>
        <c:scaling>
          <c:orientation val="minMax"/>
        </c:scaling>
        <c:delete val="0"/>
        <c:axPos val="b"/>
        <c:numFmt formatCode="General" sourceLinked="0"/>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crossAx val="1358361344"/>
        <c:crosses val="autoZero"/>
        <c:auto val="1"/>
        <c:lblAlgn val="ctr"/>
        <c:lblOffset val="100"/>
        <c:noMultiLvlLbl val="0"/>
      </c:catAx>
      <c:valAx>
        <c:axId val="1358361344"/>
        <c:scaling>
          <c:orientation val="minMax"/>
        </c:scaling>
        <c:delete val="0"/>
        <c:axPos val="l"/>
        <c:majorGridlines>
          <c:spPr>
            <a:ln w="3175" cap="flat" cmpd="sng" algn="ctr">
              <a:solidFill>
                <a:schemeClr val="tx1"/>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crossAx val="1358347264"/>
        <c:crosses val="autoZero"/>
        <c:crossBetween val="between"/>
      </c:valAx>
      <c:spPr>
        <a:noFill/>
        <a:ln>
          <a:noFill/>
        </a:ln>
        <a:effectLst/>
      </c:spPr>
    </c:plotArea>
    <c:legend>
      <c:legendPos val="t"/>
      <c:layout>
        <c:manualLayout>
          <c:xMode val="edge"/>
          <c:yMode val="edge"/>
          <c:x val="0.38059431265265575"/>
          <c:y val="3.737078666693381E-2"/>
          <c:w val="0.61874068640313018"/>
          <c:h val="6.1182237716468649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legend>
    <c:plotVisOnly val="1"/>
    <c:dispBlanksAs val="gap"/>
    <c:showDLblsOverMax val="0"/>
  </c:chart>
  <c:spPr>
    <a:noFill/>
    <a:ln>
      <a:noFill/>
    </a:ln>
    <a:effectLst/>
  </c:spPr>
  <c:txPr>
    <a:bodyPr/>
    <a:lstStyle/>
    <a:p>
      <a:pPr>
        <a:defRPr sz="1200">
          <a:solidFill>
            <a:schemeClr val="bg1"/>
          </a:solidFill>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dirty="0"/>
              <a:t>Diagrammtitel</a:t>
            </a:r>
          </a:p>
        </c:rich>
      </c:tx>
      <c:layout>
        <c:manualLayout>
          <c:xMode val="edge"/>
          <c:yMode val="edge"/>
          <c:x val="1.2548387076669583E-2"/>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de-DE"/>
        </a:p>
      </c:txPr>
    </c:title>
    <c:autoTitleDeleted val="0"/>
    <c:plotArea>
      <c:layout>
        <c:manualLayout>
          <c:layoutTarget val="inner"/>
          <c:xMode val="edge"/>
          <c:yMode val="edge"/>
          <c:x val="2.5771925065104475E-2"/>
          <c:y val="0.17407679001956816"/>
          <c:w val="0.97409140651216597"/>
          <c:h val="0.74406283184067645"/>
        </c:manualLayout>
      </c:layout>
      <c:barChart>
        <c:barDir val="col"/>
        <c:grouping val="clustered"/>
        <c:varyColors val="0"/>
        <c:ser>
          <c:idx val="0"/>
          <c:order val="0"/>
          <c:tx>
            <c:strRef>
              <c:f>Tabelle1!$B$1</c:f>
              <c:strCache>
                <c:ptCount val="1"/>
                <c:pt idx="0">
                  <c:v>Datenreihe 1</c:v>
                </c:pt>
              </c:strCache>
            </c:strRef>
          </c:tx>
          <c:spPr>
            <a:solidFill>
              <a:schemeClr val="tx2">
                <a:lumMod val="20000"/>
                <a:lumOff val="8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Kategorie 1</c:v>
                </c:pt>
                <c:pt idx="1">
                  <c:v>Kategorie 2</c:v>
                </c:pt>
                <c:pt idx="2">
                  <c:v>Kategorie 3</c:v>
                </c:pt>
              </c:strCache>
            </c:strRef>
          </c:cat>
          <c:val>
            <c:numRef>
              <c:f>Tabelle1!$B$2:$B$4</c:f>
              <c:numCache>
                <c:formatCode>General</c:formatCode>
                <c:ptCount val="3"/>
                <c:pt idx="0">
                  <c:v>4.3</c:v>
                </c:pt>
                <c:pt idx="1">
                  <c:v>2.5</c:v>
                </c:pt>
                <c:pt idx="2">
                  <c:v>3.5</c:v>
                </c:pt>
              </c:numCache>
            </c:numRef>
          </c:val>
          <c:extLst>
            <c:ext xmlns:c16="http://schemas.microsoft.com/office/drawing/2014/chart" uri="{C3380CC4-5D6E-409C-BE32-E72D297353CC}">
              <c16:uniqueId val="{00000000-568B-4640-8F35-DB715820E702}"/>
            </c:ext>
          </c:extLst>
        </c:ser>
        <c:ser>
          <c:idx val="1"/>
          <c:order val="1"/>
          <c:tx>
            <c:strRef>
              <c:f>Tabelle1!$C$1</c:f>
              <c:strCache>
                <c:ptCount val="1"/>
                <c:pt idx="0">
                  <c:v>Datenreihe 2</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Kategorie 1</c:v>
                </c:pt>
                <c:pt idx="1">
                  <c:v>Kategorie 2</c:v>
                </c:pt>
                <c:pt idx="2">
                  <c:v>Kategorie 3</c:v>
                </c:pt>
              </c:strCache>
            </c:strRef>
          </c:cat>
          <c:val>
            <c:numRef>
              <c:f>Tabelle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568B-4640-8F35-DB715820E702}"/>
            </c:ext>
          </c:extLst>
        </c:ser>
        <c:ser>
          <c:idx val="2"/>
          <c:order val="2"/>
          <c:tx>
            <c:strRef>
              <c:f>Tabelle1!$D$1</c:f>
              <c:strCache>
                <c:ptCount val="1"/>
                <c:pt idx="0">
                  <c:v>Datenreihe 3</c:v>
                </c:pt>
              </c:strCache>
            </c:strRef>
          </c:tx>
          <c:spPr>
            <a:solidFill>
              <a:schemeClr val="tx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Kategorie 1</c:v>
                </c:pt>
                <c:pt idx="1">
                  <c:v>Kategorie 2</c:v>
                </c:pt>
                <c:pt idx="2">
                  <c:v>Kategorie 3</c:v>
                </c:pt>
              </c:strCache>
            </c:strRef>
          </c:cat>
          <c:val>
            <c:numRef>
              <c:f>Tabelle1!$D$2:$D$4</c:f>
              <c:numCache>
                <c:formatCode>General</c:formatCode>
                <c:ptCount val="3"/>
                <c:pt idx="0">
                  <c:v>2</c:v>
                </c:pt>
                <c:pt idx="1">
                  <c:v>2</c:v>
                </c:pt>
                <c:pt idx="2">
                  <c:v>3</c:v>
                </c:pt>
              </c:numCache>
            </c:numRef>
          </c:val>
          <c:extLst>
            <c:ext xmlns:c16="http://schemas.microsoft.com/office/drawing/2014/chart" uri="{C3380CC4-5D6E-409C-BE32-E72D297353CC}">
              <c16:uniqueId val="{00000002-568B-4640-8F35-DB715820E702}"/>
            </c:ext>
          </c:extLst>
        </c:ser>
        <c:ser>
          <c:idx val="3"/>
          <c:order val="3"/>
          <c:tx>
            <c:strRef>
              <c:f>Tabelle1!$E$1</c:f>
              <c:strCache>
                <c:ptCount val="1"/>
                <c:pt idx="0">
                  <c:v>Datenreihe 4</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Kategorie 1</c:v>
                </c:pt>
                <c:pt idx="1">
                  <c:v>Kategorie 2</c:v>
                </c:pt>
                <c:pt idx="2">
                  <c:v>Kategorie 3</c:v>
                </c:pt>
              </c:strCache>
            </c:strRef>
          </c:cat>
          <c:val>
            <c:numRef>
              <c:f>Tabelle1!$E$2:$E$4</c:f>
              <c:numCache>
                <c:formatCode>General</c:formatCode>
                <c:ptCount val="3"/>
                <c:pt idx="0">
                  <c:v>3.3</c:v>
                </c:pt>
                <c:pt idx="1">
                  <c:v>2.5</c:v>
                </c:pt>
                <c:pt idx="2">
                  <c:v>4.4000000000000004</c:v>
                </c:pt>
              </c:numCache>
            </c:numRef>
          </c:val>
          <c:extLst>
            <c:ext xmlns:c16="http://schemas.microsoft.com/office/drawing/2014/chart" uri="{C3380CC4-5D6E-409C-BE32-E72D297353CC}">
              <c16:uniqueId val="{00000003-568B-4640-8F35-DB715820E702}"/>
            </c:ext>
          </c:extLst>
        </c:ser>
        <c:ser>
          <c:idx val="4"/>
          <c:order val="4"/>
          <c:tx>
            <c:strRef>
              <c:f>Tabelle1!$F$1</c:f>
              <c:strCache>
                <c:ptCount val="1"/>
                <c:pt idx="0">
                  <c:v>Datenreihe 5</c:v>
                </c:pt>
              </c:strCache>
            </c:strRef>
          </c:tx>
          <c:spPr>
            <a:solidFill>
              <a:schemeClr val="tx2">
                <a:lumMod val="75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Kategorie 1</c:v>
                </c:pt>
                <c:pt idx="1">
                  <c:v>Kategorie 2</c:v>
                </c:pt>
                <c:pt idx="2">
                  <c:v>Kategorie 3</c:v>
                </c:pt>
              </c:strCache>
            </c:strRef>
          </c:cat>
          <c:val>
            <c:numRef>
              <c:f>Tabelle1!$F$2:$F$4</c:f>
              <c:numCache>
                <c:formatCode>General</c:formatCode>
                <c:ptCount val="3"/>
                <c:pt idx="0">
                  <c:v>5</c:v>
                </c:pt>
                <c:pt idx="1">
                  <c:v>4</c:v>
                </c:pt>
                <c:pt idx="2">
                  <c:v>6</c:v>
                </c:pt>
              </c:numCache>
            </c:numRef>
          </c:val>
          <c:extLst>
            <c:ext xmlns:c16="http://schemas.microsoft.com/office/drawing/2014/chart" uri="{C3380CC4-5D6E-409C-BE32-E72D297353CC}">
              <c16:uniqueId val="{00000004-568B-4640-8F35-DB715820E702}"/>
            </c:ext>
          </c:extLst>
        </c:ser>
        <c:ser>
          <c:idx val="5"/>
          <c:order val="5"/>
          <c:tx>
            <c:strRef>
              <c:f>Tabelle1!$G$1</c:f>
              <c:strCache>
                <c:ptCount val="1"/>
                <c:pt idx="0">
                  <c:v>Datenreihe 6</c:v>
                </c:pt>
              </c:strCache>
            </c:strRef>
          </c:tx>
          <c:spPr>
            <a:solidFill>
              <a:schemeClr val="tx2">
                <a:lumMod val="5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Kategorie 1</c:v>
                </c:pt>
                <c:pt idx="1">
                  <c:v>Kategorie 2</c:v>
                </c:pt>
                <c:pt idx="2">
                  <c:v>Kategorie 3</c:v>
                </c:pt>
              </c:strCache>
            </c:strRef>
          </c:cat>
          <c:val>
            <c:numRef>
              <c:f>Tabelle1!$G$2:$G$4</c:f>
              <c:numCache>
                <c:formatCode>General</c:formatCode>
                <c:ptCount val="3"/>
                <c:pt idx="0">
                  <c:v>4</c:v>
                </c:pt>
                <c:pt idx="1">
                  <c:v>4.3</c:v>
                </c:pt>
                <c:pt idx="2">
                  <c:v>6.2</c:v>
                </c:pt>
              </c:numCache>
            </c:numRef>
          </c:val>
          <c:extLst>
            <c:ext xmlns:c16="http://schemas.microsoft.com/office/drawing/2014/chart" uri="{C3380CC4-5D6E-409C-BE32-E72D297353CC}">
              <c16:uniqueId val="{00000005-568B-4640-8F35-DB715820E702}"/>
            </c:ext>
          </c:extLst>
        </c:ser>
        <c:dLbls>
          <c:showLegendKey val="0"/>
          <c:showVal val="1"/>
          <c:showCatName val="0"/>
          <c:showSerName val="0"/>
          <c:showPercent val="0"/>
          <c:showBubbleSize val="0"/>
        </c:dLbls>
        <c:gapWidth val="300"/>
        <c:overlap val="-50"/>
        <c:axId val="1358347264"/>
        <c:axId val="1358361344"/>
      </c:barChart>
      <c:catAx>
        <c:axId val="1358347264"/>
        <c:scaling>
          <c:orientation val="minMax"/>
        </c:scaling>
        <c:delete val="0"/>
        <c:axPos val="b"/>
        <c:numFmt formatCode="General" sourceLinked="0"/>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crossAx val="1358361344"/>
        <c:crosses val="autoZero"/>
        <c:auto val="1"/>
        <c:lblAlgn val="ctr"/>
        <c:lblOffset val="100"/>
        <c:noMultiLvlLbl val="0"/>
      </c:catAx>
      <c:valAx>
        <c:axId val="1358361344"/>
        <c:scaling>
          <c:orientation val="minMax"/>
        </c:scaling>
        <c:delete val="0"/>
        <c:axPos val="l"/>
        <c:majorGridlines>
          <c:spPr>
            <a:ln w="3175" cap="flat" cmpd="sng" algn="ctr">
              <a:solidFill>
                <a:schemeClr val="bg1"/>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crossAx val="1358347264"/>
        <c:crosses val="autoZero"/>
        <c:crossBetween val="between"/>
      </c:valAx>
      <c:spPr>
        <a:noFill/>
        <a:ln>
          <a:noFill/>
        </a:ln>
        <a:effectLst/>
      </c:spPr>
    </c:plotArea>
    <c:legend>
      <c:legendPos val="t"/>
      <c:layout>
        <c:manualLayout>
          <c:xMode val="edge"/>
          <c:yMode val="edge"/>
          <c:x val="0.38059431265265575"/>
          <c:y val="3.737078666693381E-2"/>
          <c:w val="0.61874068640313018"/>
          <c:h val="6.118223771646864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de-DE"/>
        </a:p>
      </c:txPr>
    </c:legend>
    <c:plotVisOnly val="1"/>
    <c:dispBlanksAs val="gap"/>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006115669830209"/>
          <c:y val="5.9682236566923112E-2"/>
          <c:w val="0.40548449630463257"/>
          <c:h val="0.88063552686615365"/>
        </c:manualLayout>
      </c:layout>
      <c:doughnutChart>
        <c:varyColors val="1"/>
        <c:ser>
          <c:idx val="0"/>
          <c:order val="0"/>
          <c:tx>
            <c:strRef>
              <c:f>Tabelle1!$B$1</c:f>
              <c:strCache>
                <c:ptCount val="1"/>
                <c:pt idx="0">
                  <c:v>Verkauf</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BF2E-43B9-A721-B0D7DF71F136}"/>
              </c:ext>
            </c:extLst>
          </c:dPt>
          <c:dPt>
            <c:idx val="1"/>
            <c:bubble3D val="0"/>
            <c:spPr>
              <a:solidFill>
                <a:schemeClr val="accent2"/>
              </a:solidFill>
              <a:ln w="19050">
                <a:noFill/>
              </a:ln>
              <a:effectLst/>
            </c:spPr>
            <c:extLst>
              <c:ext xmlns:c16="http://schemas.microsoft.com/office/drawing/2014/chart" uri="{C3380CC4-5D6E-409C-BE32-E72D297353CC}">
                <c16:uniqueId val="{00000003-BF2E-43B9-A721-B0D7DF71F136}"/>
              </c:ext>
            </c:extLst>
          </c:dPt>
          <c:dPt>
            <c:idx val="2"/>
            <c:bubble3D val="0"/>
            <c:spPr>
              <a:solidFill>
                <a:schemeClr val="accent3"/>
              </a:solidFill>
              <a:ln w="19050">
                <a:noFill/>
              </a:ln>
              <a:effectLst/>
            </c:spPr>
            <c:extLst>
              <c:ext xmlns:c16="http://schemas.microsoft.com/office/drawing/2014/chart" uri="{C3380CC4-5D6E-409C-BE32-E72D297353CC}">
                <c16:uniqueId val="{00000005-BF2E-43B9-A721-B0D7DF71F136}"/>
              </c:ext>
            </c:extLst>
          </c:dPt>
          <c:dPt>
            <c:idx val="3"/>
            <c:bubble3D val="0"/>
            <c:spPr>
              <a:solidFill>
                <a:schemeClr val="accent4"/>
              </a:solidFill>
              <a:ln w="19050">
                <a:noFill/>
              </a:ln>
              <a:effectLst/>
            </c:spPr>
            <c:extLst>
              <c:ext xmlns:c16="http://schemas.microsoft.com/office/drawing/2014/chart" uri="{C3380CC4-5D6E-409C-BE32-E72D297353CC}">
                <c16:uniqueId val="{00000007-BF2E-43B9-A721-B0D7DF71F136}"/>
              </c:ext>
            </c:extLst>
          </c:dPt>
          <c:dPt>
            <c:idx val="4"/>
            <c:bubble3D val="0"/>
            <c:spPr>
              <a:solidFill>
                <a:schemeClr val="accent5"/>
              </a:solidFill>
              <a:ln w="19050">
                <a:noFill/>
              </a:ln>
              <a:effectLst/>
            </c:spPr>
            <c:extLst>
              <c:ext xmlns:c16="http://schemas.microsoft.com/office/drawing/2014/chart" uri="{C3380CC4-5D6E-409C-BE32-E72D297353CC}">
                <c16:uniqueId val="{00000009-BF2E-43B9-A721-B0D7DF71F136}"/>
              </c:ext>
            </c:extLst>
          </c:dPt>
          <c:dLbls>
            <c:dLbl>
              <c:idx val="0"/>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10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1-BF2E-43B9-A721-B0D7DF71F136}"/>
                </c:ext>
              </c:extLst>
            </c:dLbl>
            <c:dLbl>
              <c:idx val="4"/>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10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9-BF2E-43B9-A721-B0D7DF71F136}"/>
                </c:ext>
              </c:extLst>
            </c:dLbl>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10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Tabelle1!$A$2:$A$6</c:f>
              <c:strCache>
                <c:ptCount val="5"/>
                <c:pt idx="0">
                  <c:v>Daten 1</c:v>
                </c:pt>
                <c:pt idx="1">
                  <c:v>Daten 2</c:v>
                </c:pt>
                <c:pt idx="2">
                  <c:v>Daten 3</c:v>
                </c:pt>
                <c:pt idx="3">
                  <c:v>Daten 4</c:v>
                </c:pt>
                <c:pt idx="4">
                  <c:v>Daten 5</c:v>
                </c:pt>
              </c:strCache>
            </c:strRef>
          </c:cat>
          <c:val>
            <c:numRef>
              <c:f>Tabelle1!$B$2:$B$6</c:f>
              <c:numCache>
                <c:formatCode>General</c:formatCode>
                <c:ptCount val="5"/>
                <c:pt idx="0">
                  <c:v>25</c:v>
                </c:pt>
                <c:pt idx="1">
                  <c:v>18.3</c:v>
                </c:pt>
                <c:pt idx="2">
                  <c:v>13.9</c:v>
                </c:pt>
                <c:pt idx="3">
                  <c:v>8.5</c:v>
                </c:pt>
                <c:pt idx="4">
                  <c:v>3</c:v>
                </c:pt>
              </c:numCache>
            </c:numRef>
          </c:val>
          <c:extLst>
            <c:ext xmlns:c16="http://schemas.microsoft.com/office/drawing/2014/chart" uri="{C3380CC4-5D6E-409C-BE32-E72D297353CC}">
              <c16:uniqueId val="{0000000A-BF2E-43B9-A721-B0D7DF71F136}"/>
            </c:ext>
          </c:extLst>
        </c:ser>
        <c:dLbls>
          <c:showLegendKey val="0"/>
          <c:showVal val="1"/>
          <c:showCatName val="0"/>
          <c:showSerName val="0"/>
          <c:showPercent val="0"/>
          <c:showBubbleSize val="0"/>
          <c:showLeaderLines val="1"/>
        </c:dLbls>
        <c:firstSliceAng val="0"/>
        <c:holeSize val="70"/>
      </c:doughnutChart>
      <c:spPr>
        <a:noFill/>
        <a:ln>
          <a:noFill/>
        </a:ln>
        <a:effectLst/>
      </c:spPr>
    </c:plotArea>
    <c:legend>
      <c:legendPos val="l"/>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54114002634548"/>
          <c:y val="5.9682236566923112E-2"/>
          <c:w val="0.40548449630463257"/>
          <c:h val="0.88063552686615365"/>
        </c:manualLayout>
      </c:layout>
      <c:doughnutChart>
        <c:varyColors val="1"/>
        <c:ser>
          <c:idx val="0"/>
          <c:order val="0"/>
          <c:tx>
            <c:strRef>
              <c:f>Tabelle1!$B$1</c:f>
              <c:strCache>
                <c:ptCount val="1"/>
                <c:pt idx="0">
                  <c:v>Verkauf</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BF2E-43B9-A721-B0D7DF71F136}"/>
              </c:ext>
            </c:extLst>
          </c:dPt>
          <c:dPt>
            <c:idx val="1"/>
            <c:bubble3D val="0"/>
            <c:spPr>
              <a:solidFill>
                <a:schemeClr val="accent2"/>
              </a:solidFill>
              <a:ln w="19050">
                <a:noFill/>
              </a:ln>
              <a:effectLst/>
            </c:spPr>
            <c:extLst>
              <c:ext xmlns:c16="http://schemas.microsoft.com/office/drawing/2014/chart" uri="{C3380CC4-5D6E-409C-BE32-E72D297353CC}">
                <c16:uniqueId val="{00000003-BF2E-43B9-A721-B0D7DF71F136}"/>
              </c:ext>
            </c:extLst>
          </c:dPt>
          <c:dPt>
            <c:idx val="2"/>
            <c:bubble3D val="0"/>
            <c:spPr>
              <a:solidFill>
                <a:schemeClr val="accent3"/>
              </a:solidFill>
              <a:ln w="19050">
                <a:noFill/>
              </a:ln>
              <a:effectLst/>
            </c:spPr>
            <c:extLst>
              <c:ext xmlns:c16="http://schemas.microsoft.com/office/drawing/2014/chart" uri="{C3380CC4-5D6E-409C-BE32-E72D297353CC}">
                <c16:uniqueId val="{00000005-BF2E-43B9-A721-B0D7DF71F136}"/>
              </c:ext>
            </c:extLst>
          </c:dPt>
          <c:dPt>
            <c:idx val="3"/>
            <c:bubble3D val="0"/>
            <c:spPr>
              <a:solidFill>
                <a:schemeClr val="accent4"/>
              </a:solidFill>
              <a:ln w="19050">
                <a:noFill/>
              </a:ln>
              <a:effectLst/>
            </c:spPr>
            <c:extLst>
              <c:ext xmlns:c16="http://schemas.microsoft.com/office/drawing/2014/chart" uri="{C3380CC4-5D6E-409C-BE32-E72D297353CC}">
                <c16:uniqueId val="{00000007-BF2E-43B9-A721-B0D7DF71F136}"/>
              </c:ext>
            </c:extLst>
          </c:dPt>
          <c:dPt>
            <c:idx val="4"/>
            <c:bubble3D val="0"/>
            <c:spPr>
              <a:solidFill>
                <a:schemeClr val="accent5"/>
              </a:solidFill>
              <a:ln w="19050">
                <a:noFill/>
              </a:ln>
              <a:effectLst/>
            </c:spPr>
            <c:extLst>
              <c:ext xmlns:c16="http://schemas.microsoft.com/office/drawing/2014/chart" uri="{C3380CC4-5D6E-409C-BE32-E72D297353CC}">
                <c16:uniqueId val="{00000009-BF2E-43B9-A721-B0D7DF71F136}"/>
              </c:ext>
            </c:extLst>
          </c:dPt>
          <c:dLbls>
            <c:dLbl>
              <c:idx val="0"/>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10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1-BF2E-43B9-A721-B0D7DF71F136}"/>
                </c:ext>
              </c:extLst>
            </c:dLbl>
            <c:dLbl>
              <c:idx val="4"/>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10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9-BF2E-43B9-A721-B0D7DF71F136}"/>
                </c:ext>
              </c:extLst>
            </c:dLbl>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10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Tabelle1!$A$2:$A$6</c:f>
              <c:strCache>
                <c:ptCount val="5"/>
                <c:pt idx="0">
                  <c:v>Daten 1</c:v>
                </c:pt>
                <c:pt idx="1">
                  <c:v>Daten 2</c:v>
                </c:pt>
                <c:pt idx="2">
                  <c:v>Daten 3</c:v>
                </c:pt>
                <c:pt idx="3">
                  <c:v>Daten 4</c:v>
                </c:pt>
                <c:pt idx="4">
                  <c:v>Daten 5</c:v>
                </c:pt>
              </c:strCache>
            </c:strRef>
          </c:cat>
          <c:val>
            <c:numRef>
              <c:f>Tabelle1!$B$2:$B$6</c:f>
              <c:numCache>
                <c:formatCode>General</c:formatCode>
                <c:ptCount val="5"/>
                <c:pt idx="0">
                  <c:v>25</c:v>
                </c:pt>
                <c:pt idx="1">
                  <c:v>18.3</c:v>
                </c:pt>
                <c:pt idx="2">
                  <c:v>13.9</c:v>
                </c:pt>
                <c:pt idx="3">
                  <c:v>8.5</c:v>
                </c:pt>
                <c:pt idx="4">
                  <c:v>3</c:v>
                </c:pt>
              </c:numCache>
            </c:numRef>
          </c:val>
          <c:extLst>
            <c:ext xmlns:c16="http://schemas.microsoft.com/office/drawing/2014/chart" uri="{C3380CC4-5D6E-409C-BE32-E72D297353CC}">
              <c16:uniqueId val="{0000000A-BF2E-43B9-A721-B0D7DF71F136}"/>
            </c:ext>
          </c:extLst>
        </c:ser>
        <c:dLbls>
          <c:showLegendKey val="0"/>
          <c:showVal val="1"/>
          <c:showCatName val="0"/>
          <c:showSerName val="0"/>
          <c:showPercent val="0"/>
          <c:showBubbleSize val="0"/>
          <c:showLeaderLines val="1"/>
        </c:dLbls>
        <c:firstSliceAng val="0"/>
        <c:holeSize val="70"/>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006115669830209"/>
          <c:y val="5.9682236566923112E-2"/>
          <c:w val="0.40548449630463257"/>
          <c:h val="0.88063552686615365"/>
        </c:manualLayout>
      </c:layout>
      <c:doughnutChart>
        <c:varyColors val="1"/>
        <c:ser>
          <c:idx val="0"/>
          <c:order val="0"/>
          <c:tx>
            <c:strRef>
              <c:f>Tabelle1!$B$1</c:f>
              <c:strCache>
                <c:ptCount val="1"/>
                <c:pt idx="0">
                  <c:v>Verkauf</c:v>
                </c:pt>
              </c:strCache>
            </c:strRef>
          </c:tx>
          <c:spPr>
            <a:ln>
              <a:noFill/>
            </a:ln>
          </c:spPr>
          <c:dPt>
            <c:idx val="0"/>
            <c:bubble3D val="0"/>
            <c:spPr>
              <a:solidFill>
                <a:schemeClr val="accent5"/>
              </a:solidFill>
              <a:ln w="19050">
                <a:noFill/>
              </a:ln>
              <a:effectLst/>
            </c:spPr>
            <c:extLst>
              <c:ext xmlns:c16="http://schemas.microsoft.com/office/drawing/2014/chart" uri="{C3380CC4-5D6E-409C-BE32-E72D297353CC}">
                <c16:uniqueId val="{00000001-BF2E-43B9-A721-B0D7DF71F136}"/>
              </c:ext>
            </c:extLst>
          </c:dPt>
          <c:dPt>
            <c:idx val="1"/>
            <c:bubble3D val="0"/>
            <c:spPr>
              <a:solidFill>
                <a:schemeClr val="accent5">
                  <a:lumMod val="60000"/>
                  <a:lumOff val="40000"/>
                </a:schemeClr>
              </a:solidFill>
              <a:ln w="19050">
                <a:noFill/>
              </a:ln>
              <a:effectLst/>
            </c:spPr>
            <c:extLst>
              <c:ext xmlns:c16="http://schemas.microsoft.com/office/drawing/2014/chart" uri="{C3380CC4-5D6E-409C-BE32-E72D297353CC}">
                <c16:uniqueId val="{00000003-BF2E-43B9-A721-B0D7DF71F136}"/>
              </c:ext>
            </c:extLst>
          </c:dPt>
          <c:dPt>
            <c:idx val="2"/>
            <c:bubble3D val="0"/>
            <c:spPr>
              <a:solidFill>
                <a:schemeClr val="accent5">
                  <a:lumMod val="40000"/>
                  <a:lumOff val="60000"/>
                </a:schemeClr>
              </a:solidFill>
              <a:ln w="19050">
                <a:noFill/>
              </a:ln>
              <a:effectLst/>
            </c:spPr>
            <c:extLst>
              <c:ext xmlns:c16="http://schemas.microsoft.com/office/drawing/2014/chart" uri="{C3380CC4-5D6E-409C-BE32-E72D297353CC}">
                <c16:uniqueId val="{00000005-BF2E-43B9-A721-B0D7DF71F136}"/>
              </c:ext>
            </c:extLst>
          </c:dPt>
          <c:dPt>
            <c:idx val="3"/>
            <c:bubble3D val="0"/>
            <c:spPr>
              <a:solidFill>
                <a:schemeClr val="accent5">
                  <a:lumMod val="20000"/>
                  <a:lumOff val="80000"/>
                </a:schemeClr>
              </a:solidFill>
              <a:ln w="19050">
                <a:noFill/>
              </a:ln>
              <a:effectLst/>
            </c:spPr>
            <c:extLst>
              <c:ext xmlns:c16="http://schemas.microsoft.com/office/drawing/2014/chart" uri="{C3380CC4-5D6E-409C-BE32-E72D297353CC}">
                <c16:uniqueId val="{00000007-BF2E-43B9-A721-B0D7DF71F136}"/>
              </c:ext>
            </c:extLst>
          </c:dPt>
          <c:dPt>
            <c:idx val="4"/>
            <c:bubble3D val="0"/>
            <c:spPr>
              <a:solidFill>
                <a:schemeClr val="bg1"/>
              </a:solidFill>
              <a:ln w="19050">
                <a:noFill/>
              </a:ln>
              <a:effectLst/>
            </c:spPr>
            <c:extLst>
              <c:ext xmlns:c16="http://schemas.microsoft.com/office/drawing/2014/chart" uri="{C3380CC4-5D6E-409C-BE32-E72D297353CC}">
                <c16:uniqueId val="{00000009-BF2E-43B9-A721-B0D7DF71F136}"/>
              </c:ext>
            </c:extLst>
          </c:dPt>
          <c:dLbls>
            <c:dLbl>
              <c:idx val="0"/>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10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1-BF2E-43B9-A721-B0D7DF71F136}"/>
                </c:ext>
              </c:extLst>
            </c:dLbl>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10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Tabelle1!$A$2:$A$6</c:f>
              <c:strCache>
                <c:ptCount val="5"/>
                <c:pt idx="0">
                  <c:v>Daten 1</c:v>
                </c:pt>
                <c:pt idx="1">
                  <c:v>Daten 2</c:v>
                </c:pt>
                <c:pt idx="2">
                  <c:v>Daten 3</c:v>
                </c:pt>
                <c:pt idx="3">
                  <c:v>Daten 4</c:v>
                </c:pt>
                <c:pt idx="4">
                  <c:v>Daten 5</c:v>
                </c:pt>
              </c:strCache>
            </c:strRef>
          </c:cat>
          <c:val>
            <c:numRef>
              <c:f>Tabelle1!$B$2:$B$6</c:f>
              <c:numCache>
                <c:formatCode>General</c:formatCode>
                <c:ptCount val="5"/>
                <c:pt idx="0">
                  <c:v>25</c:v>
                </c:pt>
                <c:pt idx="1">
                  <c:v>18.3</c:v>
                </c:pt>
                <c:pt idx="2">
                  <c:v>13.9</c:v>
                </c:pt>
                <c:pt idx="3">
                  <c:v>8.5</c:v>
                </c:pt>
                <c:pt idx="4">
                  <c:v>3</c:v>
                </c:pt>
              </c:numCache>
            </c:numRef>
          </c:val>
          <c:extLst>
            <c:ext xmlns:c16="http://schemas.microsoft.com/office/drawing/2014/chart" uri="{C3380CC4-5D6E-409C-BE32-E72D297353CC}">
              <c16:uniqueId val="{0000000A-BF2E-43B9-A721-B0D7DF71F136}"/>
            </c:ext>
          </c:extLst>
        </c:ser>
        <c:dLbls>
          <c:showLegendKey val="0"/>
          <c:showVal val="1"/>
          <c:showCatName val="0"/>
          <c:showSerName val="0"/>
          <c:showPercent val="0"/>
          <c:showBubbleSize val="0"/>
          <c:showLeaderLines val="1"/>
        </c:dLbls>
        <c:firstSliceAng val="0"/>
        <c:holeSize val="70"/>
      </c:doughnutChart>
      <c:spPr>
        <a:noFill/>
        <a:ln>
          <a:noFill/>
        </a:ln>
        <a:effectLst/>
      </c:spPr>
    </c:plotArea>
    <c:legend>
      <c:legendPos val="l"/>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54114002634548"/>
          <c:y val="5.9682236566923112E-2"/>
          <c:w val="0.40548449630463257"/>
          <c:h val="0.88063552686615365"/>
        </c:manualLayout>
      </c:layout>
      <c:doughnutChart>
        <c:varyColors val="1"/>
        <c:ser>
          <c:idx val="0"/>
          <c:order val="0"/>
          <c:tx>
            <c:strRef>
              <c:f>Tabelle1!$B$1</c:f>
              <c:strCache>
                <c:ptCount val="1"/>
                <c:pt idx="0">
                  <c:v>Verkauf</c:v>
                </c:pt>
              </c:strCache>
            </c:strRef>
          </c:tx>
          <c:spPr>
            <a:ln>
              <a:noFill/>
            </a:ln>
          </c:spPr>
          <c:dPt>
            <c:idx val="0"/>
            <c:bubble3D val="0"/>
            <c:spPr>
              <a:solidFill>
                <a:schemeClr val="accent5"/>
              </a:solidFill>
              <a:ln w="19050">
                <a:noFill/>
              </a:ln>
              <a:effectLst/>
            </c:spPr>
            <c:extLst>
              <c:ext xmlns:c16="http://schemas.microsoft.com/office/drawing/2014/chart" uri="{C3380CC4-5D6E-409C-BE32-E72D297353CC}">
                <c16:uniqueId val="{00000001-BF2E-43B9-A721-B0D7DF71F136}"/>
              </c:ext>
            </c:extLst>
          </c:dPt>
          <c:dPt>
            <c:idx val="1"/>
            <c:bubble3D val="0"/>
            <c:spPr>
              <a:solidFill>
                <a:schemeClr val="accent5">
                  <a:lumMod val="60000"/>
                  <a:lumOff val="40000"/>
                </a:schemeClr>
              </a:solidFill>
              <a:ln w="19050">
                <a:noFill/>
              </a:ln>
              <a:effectLst/>
            </c:spPr>
            <c:extLst>
              <c:ext xmlns:c16="http://schemas.microsoft.com/office/drawing/2014/chart" uri="{C3380CC4-5D6E-409C-BE32-E72D297353CC}">
                <c16:uniqueId val="{00000003-BF2E-43B9-A721-B0D7DF71F136}"/>
              </c:ext>
            </c:extLst>
          </c:dPt>
          <c:dPt>
            <c:idx val="2"/>
            <c:bubble3D val="0"/>
            <c:spPr>
              <a:solidFill>
                <a:schemeClr val="accent5">
                  <a:lumMod val="40000"/>
                  <a:lumOff val="60000"/>
                </a:schemeClr>
              </a:solidFill>
              <a:ln w="19050">
                <a:noFill/>
              </a:ln>
              <a:effectLst/>
            </c:spPr>
            <c:extLst>
              <c:ext xmlns:c16="http://schemas.microsoft.com/office/drawing/2014/chart" uri="{C3380CC4-5D6E-409C-BE32-E72D297353CC}">
                <c16:uniqueId val="{00000005-BF2E-43B9-A721-B0D7DF71F136}"/>
              </c:ext>
            </c:extLst>
          </c:dPt>
          <c:dPt>
            <c:idx val="3"/>
            <c:bubble3D val="0"/>
            <c:spPr>
              <a:solidFill>
                <a:schemeClr val="accent5">
                  <a:lumMod val="20000"/>
                  <a:lumOff val="80000"/>
                </a:schemeClr>
              </a:solidFill>
              <a:ln w="19050">
                <a:noFill/>
              </a:ln>
              <a:effectLst/>
            </c:spPr>
            <c:extLst>
              <c:ext xmlns:c16="http://schemas.microsoft.com/office/drawing/2014/chart" uri="{C3380CC4-5D6E-409C-BE32-E72D297353CC}">
                <c16:uniqueId val="{00000007-BF2E-43B9-A721-B0D7DF71F136}"/>
              </c:ext>
            </c:extLst>
          </c:dPt>
          <c:dPt>
            <c:idx val="4"/>
            <c:bubble3D val="0"/>
            <c:spPr>
              <a:solidFill>
                <a:schemeClr val="bg1"/>
              </a:solidFill>
              <a:ln w="19050">
                <a:noFill/>
              </a:ln>
              <a:effectLst/>
            </c:spPr>
            <c:extLst>
              <c:ext xmlns:c16="http://schemas.microsoft.com/office/drawing/2014/chart" uri="{C3380CC4-5D6E-409C-BE32-E72D297353CC}">
                <c16:uniqueId val="{00000009-BF2E-43B9-A721-B0D7DF71F136}"/>
              </c:ext>
            </c:extLst>
          </c:dPt>
          <c:dLbls>
            <c:dLbl>
              <c:idx val="0"/>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10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1-BF2E-43B9-A721-B0D7DF71F136}"/>
                </c:ext>
              </c:extLst>
            </c:dLbl>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10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Tabelle1!$A$2:$A$6</c:f>
              <c:strCache>
                <c:ptCount val="5"/>
                <c:pt idx="0">
                  <c:v>Daten 1</c:v>
                </c:pt>
                <c:pt idx="1">
                  <c:v>Daten 2</c:v>
                </c:pt>
                <c:pt idx="2">
                  <c:v>Daten 3</c:v>
                </c:pt>
                <c:pt idx="3">
                  <c:v>Daten 4</c:v>
                </c:pt>
                <c:pt idx="4">
                  <c:v>Daten 5</c:v>
                </c:pt>
              </c:strCache>
            </c:strRef>
          </c:cat>
          <c:val>
            <c:numRef>
              <c:f>Tabelle1!$B$2:$B$6</c:f>
              <c:numCache>
                <c:formatCode>General</c:formatCode>
                <c:ptCount val="5"/>
                <c:pt idx="0">
                  <c:v>25</c:v>
                </c:pt>
                <c:pt idx="1">
                  <c:v>18.3</c:v>
                </c:pt>
                <c:pt idx="2">
                  <c:v>13.9</c:v>
                </c:pt>
                <c:pt idx="3">
                  <c:v>8.5</c:v>
                </c:pt>
                <c:pt idx="4">
                  <c:v>3</c:v>
                </c:pt>
              </c:numCache>
            </c:numRef>
          </c:val>
          <c:extLst>
            <c:ext xmlns:c16="http://schemas.microsoft.com/office/drawing/2014/chart" uri="{C3380CC4-5D6E-409C-BE32-E72D297353CC}">
              <c16:uniqueId val="{0000000A-BF2E-43B9-A721-B0D7DF71F136}"/>
            </c:ext>
          </c:extLst>
        </c:ser>
        <c:dLbls>
          <c:showLegendKey val="0"/>
          <c:showVal val="1"/>
          <c:showCatName val="0"/>
          <c:showSerName val="0"/>
          <c:showPercent val="0"/>
          <c:showBubbleSize val="0"/>
          <c:showLeaderLines val="1"/>
        </c:dLbls>
        <c:firstSliceAng val="0"/>
        <c:holeSize val="70"/>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006115669830209"/>
          <c:y val="5.9682236566923112E-2"/>
          <c:w val="0.40548449630463257"/>
          <c:h val="0.88063552686615365"/>
        </c:manualLayout>
      </c:layout>
      <c:doughnutChart>
        <c:varyColors val="1"/>
        <c:ser>
          <c:idx val="0"/>
          <c:order val="0"/>
          <c:tx>
            <c:strRef>
              <c:f>Tabelle1!$B$1</c:f>
              <c:strCache>
                <c:ptCount val="1"/>
                <c:pt idx="0">
                  <c:v>Verkauf</c:v>
                </c:pt>
              </c:strCache>
            </c:strRef>
          </c:tx>
          <c:spPr>
            <a:ln>
              <a:noFill/>
            </a:ln>
          </c:spPr>
          <c:dPt>
            <c:idx val="0"/>
            <c:bubble3D val="0"/>
            <c:spPr>
              <a:solidFill>
                <a:schemeClr val="bg1"/>
              </a:solidFill>
              <a:ln w="19050">
                <a:noFill/>
              </a:ln>
              <a:effectLst/>
            </c:spPr>
            <c:extLst>
              <c:ext xmlns:c16="http://schemas.microsoft.com/office/drawing/2014/chart" uri="{C3380CC4-5D6E-409C-BE32-E72D297353CC}">
                <c16:uniqueId val="{00000001-BF2E-43B9-A721-B0D7DF71F136}"/>
              </c:ext>
            </c:extLst>
          </c:dPt>
          <c:dPt>
            <c:idx val="1"/>
            <c:bubble3D val="0"/>
            <c:spPr>
              <a:solidFill>
                <a:schemeClr val="accent2"/>
              </a:solidFill>
              <a:ln w="19050">
                <a:noFill/>
              </a:ln>
              <a:effectLst/>
            </c:spPr>
            <c:extLst>
              <c:ext xmlns:c16="http://schemas.microsoft.com/office/drawing/2014/chart" uri="{C3380CC4-5D6E-409C-BE32-E72D297353CC}">
                <c16:uniqueId val="{00000003-BF2E-43B9-A721-B0D7DF71F136}"/>
              </c:ext>
            </c:extLst>
          </c:dPt>
          <c:dPt>
            <c:idx val="2"/>
            <c:bubble3D val="0"/>
            <c:spPr>
              <a:solidFill>
                <a:schemeClr val="accent2">
                  <a:lumMod val="60000"/>
                  <a:lumOff val="40000"/>
                </a:schemeClr>
              </a:solidFill>
              <a:ln w="19050">
                <a:noFill/>
              </a:ln>
              <a:effectLst/>
            </c:spPr>
            <c:extLst>
              <c:ext xmlns:c16="http://schemas.microsoft.com/office/drawing/2014/chart" uri="{C3380CC4-5D6E-409C-BE32-E72D297353CC}">
                <c16:uniqueId val="{00000005-BF2E-43B9-A721-B0D7DF71F136}"/>
              </c:ext>
            </c:extLst>
          </c:dPt>
          <c:dPt>
            <c:idx val="3"/>
            <c:bubble3D val="0"/>
            <c:spPr>
              <a:solidFill>
                <a:schemeClr val="accent2">
                  <a:lumMod val="40000"/>
                  <a:lumOff val="60000"/>
                </a:schemeClr>
              </a:solidFill>
              <a:ln w="19050">
                <a:noFill/>
              </a:ln>
              <a:effectLst/>
            </c:spPr>
            <c:extLst>
              <c:ext xmlns:c16="http://schemas.microsoft.com/office/drawing/2014/chart" uri="{C3380CC4-5D6E-409C-BE32-E72D297353CC}">
                <c16:uniqueId val="{00000007-BF2E-43B9-A721-B0D7DF71F136}"/>
              </c:ext>
            </c:extLst>
          </c:dPt>
          <c:dPt>
            <c:idx val="4"/>
            <c:bubble3D val="0"/>
            <c:spPr>
              <a:solidFill>
                <a:schemeClr val="accent2">
                  <a:lumMod val="20000"/>
                  <a:lumOff val="80000"/>
                </a:schemeClr>
              </a:solidFill>
              <a:ln w="19050">
                <a:noFill/>
              </a:ln>
              <a:effectLst/>
            </c:spPr>
            <c:extLst>
              <c:ext xmlns:c16="http://schemas.microsoft.com/office/drawing/2014/chart" uri="{C3380CC4-5D6E-409C-BE32-E72D297353CC}">
                <c16:uniqueId val="{00000009-BF2E-43B9-A721-B0D7DF71F136}"/>
              </c:ext>
            </c:extLst>
          </c:dPt>
          <c:dLbls>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10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Tabelle1!$A$2:$A$6</c:f>
              <c:strCache>
                <c:ptCount val="5"/>
                <c:pt idx="0">
                  <c:v>Daten 1</c:v>
                </c:pt>
                <c:pt idx="1">
                  <c:v>Daten 2</c:v>
                </c:pt>
                <c:pt idx="2">
                  <c:v>Daten 3</c:v>
                </c:pt>
                <c:pt idx="3">
                  <c:v>Daten 4</c:v>
                </c:pt>
                <c:pt idx="4">
                  <c:v>Daten 5</c:v>
                </c:pt>
              </c:strCache>
            </c:strRef>
          </c:cat>
          <c:val>
            <c:numRef>
              <c:f>Tabelle1!$B$2:$B$6</c:f>
              <c:numCache>
                <c:formatCode>General</c:formatCode>
                <c:ptCount val="5"/>
                <c:pt idx="0">
                  <c:v>25</c:v>
                </c:pt>
                <c:pt idx="1">
                  <c:v>18.3</c:v>
                </c:pt>
                <c:pt idx="2">
                  <c:v>13.9</c:v>
                </c:pt>
                <c:pt idx="3">
                  <c:v>8.5</c:v>
                </c:pt>
                <c:pt idx="4">
                  <c:v>3</c:v>
                </c:pt>
              </c:numCache>
            </c:numRef>
          </c:val>
          <c:extLst>
            <c:ext xmlns:c16="http://schemas.microsoft.com/office/drawing/2014/chart" uri="{C3380CC4-5D6E-409C-BE32-E72D297353CC}">
              <c16:uniqueId val="{0000000A-BF2E-43B9-A721-B0D7DF71F136}"/>
            </c:ext>
          </c:extLst>
        </c:ser>
        <c:dLbls>
          <c:showLegendKey val="0"/>
          <c:showVal val="1"/>
          <c:showCatName val="0"/>
          <c:showSerName val="0"/>
          <c:showPercent val="0"/>
          <c:showBubbleSize val="0"/>
          <c:showLeaderLines val="1"/>
        </c:dLbls>
        <c:firstSliceAng val="0"/>
        <c:holeSize val="70"/>
      </c:doughnutChart>
      <c:spPr>
        <a:noFill/>
        <a:ln>
          <a:noFill/>
        </a:ln>
        <a:effectLst/>
      </c:spPr>
    </c:plotArea>
    <c:legend>
      <c:legendPos val="l"/>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54114002634548"/>
          <c:y val="5.9682236566923112E-2"/>
          <c:w val="0.40548449630463257"/>
          <c:h val="0.88063552686615365"/>
        </c:manualLayout>
      </c:layout>
      <c:doughnutChart>
        <c:varyColors val="1"/>
        <c:ser>
          <c:idx val="0"/>
          <c:order val="0"/>
          <c:tx>
            <c:strRef>
              <c:f>Tabelle1!$B$1</c:f>
              <c:strCache>
                <c:ptCount val="1"/>
                <c:pt idx="0">
                  <c:v>Verkauf</c:v>
                </c:pt>
              </c:strCache>
            </c:strRef>
          </c:tx>
          <c:spPr>
            <a:ln>
              <a:noFill/>
            </a:ln>
          </c:spPr>
          <c:dPt>
            <c:idx val="0"/>
            <c:bubble3D val="0"/>
            <c:spPr>
              <a:solidFill>
                <a:schemeClr val="bg1"/>
              </a:solidFill>
              <a:ln w="19050">
                <a:noFill/>
              </a:ln>
              <a:effectLst/>
            </c:spPr>
            <c:extLst>
              <c:ext xmlns:c16="http://schemas.microsoft.com/office/drawing/2014/chart" uri="{C3380CC4-5D6E-409C-BE32-E72D297353CC}">
                <c16:uniqueId val="{00000001-BF2E-43B9-A721-B0D7DF71F136}"/>
              </c:ext>
            </c:extLst>
          </c:dPt>
          <c:dPt>
            <c:idx val="1"/>
            <c:bubble3D val="0"/>
            <c:spPr>
              <a:solidFill>
                <a:schemeClr val="accent2">
                  <a:lumMod val="20000"/>
                  <a:lumOff val="80000"/>
                </a:schemeClr>
              </a:solidFill>
              <a:ln w="19050">
                <a:noFill/>
              </a:ln>
              <a:effectLst/>
            </c:spPr>
            <c:extLst>
              <c:ext xmlns:c16="http://schemas.microsoft.com/office/drawing/2014/chart" uri="{C3380CC4-5D6E-409C-BE32-E72D297353CC}">
                <c16:uniqueId val="{00000003-BF2E-43B9-A721-B0D7DF71F136}"/>
              </c:ext>
            </c:extLst>
          </c:dPt>
          <c:dPt>
            <c:idx val="2"/>
            <c:bubble3D val="0"/>
            <c:spPr>
              <a:solidFill>
                <a:schemeClr val="accent2">
                  <a:lumMod val="40000"/>
                  <a:lumOff val="60000"/>
                </a:schemeClr>
              </a:solidFill>
              <a:ln w="19050">
                <a:noFill/>
              </a:ln>
              <a:effectLst/>
            </c:spPr>
            <c:extLst>
              <c:ext xmlns:c16="http://schemas.microsoft.com/office/drawing/2014/chart" uri="{C3380CC4-5D6E-409C-BE32-E72D297353CC}">
                <c16:uniqueId val="{00000005-BF2E-43B9-A721-B0D7DF71F136}"/>
              </c:ext>
            </c:extLst>
          </c:dPt>
          <c:dPt>
            <c:idx val="3"/>
            <c:bubble3D val="0"/>
            <c:spPr>
              <a:solidFill>
                <a:schemeClr val="accent2">
                  <a:lumMod val="60000"/>
                  <a:lumOff val="40000"/>
                </a:schemeClr>
              </a:solidFill>
              <a:ln w="19050">
                <a:noFill/>
              </a:ln>
              <a:effectLst/>
            </c:spPr>
            <c:extLst>
              <c:ext xmlns:c16="http://schemas.microsoft.com/office/drawing/2014/chart" uri="{C3380CC4-5D6E-409C-BE32-E72D297353CC}">
                <c16:uniqueId val="{00000007-BF2E-43B9-A721-B0D7DF71F136}"/>
              </c:ext>
            </c:extLst>
          </c:dPt>
          <c:dPt>
            <c:idx val="4"/>
            <c:bubble3D val="0"/>
            <c:spPr>
              <a:solidFill>
                <a:schemeClr val="accent2"/>
              </a:solidFill>
              <a:ln w="19050">
                <a:noFill/>
              </a:ln>
              <a:effectLst/>
            </c:spPr>
            <c:extLst>
              <c:ext xmlns:c16="http://schemas.microsoft.com/office/drawing/2014/chart" uri="{C3380CC4-5D6E-409C-BE32-E72D297353CC}">
                <c16:uniqueId val="{00000009-BF2E-43B9-A721-B0D7DF71F136}"/>
              </c:ext>
            </c:extLst>
          </c:dPt>
          <c:dLbls>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10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Tabelle1!$A$2:$A$6</c:f>
              <c:strCache>
                <c:ptCount val="5"/>
                <c:pt idx="0">
                  <c:v>Daten 1</c:v>
                </c:pt>
                <c:pt idx="1">
                  <c:v>Daten 2</c:v>
                </c:pt>
                <c:pt idx="2">
                  <c:v>Daten 3</c:v>
                </c:pt>
                <c:pt idx="3">
                  <c:v>Daten 4</c:v>
                </c:pt>
                <c:pt idx="4">
                  <c:v>Daten 5</c:v>
                </c:pt>
              </c:strCache>
            </c:strRef>
          </c:cat>
          <c:val>
            <c:numRef>
              <c:f>Tabelle1!$B$2:$B$6</c:f>
              <c:numCache>
                <c:formatCode>General</c:formatCode>
                <c:ptCount val="5"/>
                <c:pt idx="0">
                  <c:v>25</c:v>
                </c:pt>
                <c:pt idx="1">
                  <c:v>18.3</c:v>
                </c:pt>
                <c:pt idx="2">
                  <c:v>13.9</c:v>
                </c:pt>
                <c:pt idx="3">
                  <c:v>8.5</c:v>
                </c:pt>
                <c:pt idx="4">
                  <c:v>3</c:v>
                </c:pt>
              </c:numCache>
            </c:numRef>
          </c:val>
          <c:extLst>
            <c:ext xmlns:c16="http://schemas.microsoft.com/office/drawing/2014/chart" uri="{C3380CC4-5D6E-409C-BE32-E72D297353CC}">
              <c16:uniqueId val="{0000000A-BF2E-43B9-A721-B0D7DF71F136}"/>
            </c:ext>
          </c:extLst>
        </c:ser>
        <c:dLbls>
          <c:showLegendKey val="0"/>
          <c:showVal val="1"/>
          <c:showCatName val="0"/>
          <c:showSerName val="0"/>
          <c:showPercent val="0"/>
          <c:showBubbleSize val="0"/>
          <c:showLeaderLines val="1"/>
        </c:dLbls>
        <c:firstSliceAng val="0"/>
        <c:holeSize val="70"/>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4F0D-4849-9CEC-728C97B6C9B9}"/>
              </c:ext>
            </c:extLst>
          </c:dPt>
          <c:dPt>
            <c:idx val="1"/>
            <c:bubble3D val="0"/>
            <c:spPr>
              <a:solidFill>
                <a:schemeClr val="accent4"/>
              </a:solidFill>
              <a:ln w="19050">
                <a:noFill/>
              </a:ln>
              <a:effectLst/>
            </c:spPr>
            <c:extLst>
              <c:ext xmlns:c16="http://schemas.microsoft.com/office/drawing/2014/chart" uri="{C3380CC4-5D6E-409C-BE32-E72D297353CC}">
                <c16:uniqueId val="{00000003-4F0D-4849-9CEC-728C97B6C9B9}"/>
              </c:ext>
            </c:extLst>
          </c:dPt>
          <c:cat>
            <c:strRef>
              <c:f>Tabelle1!$A$2:$A$3</c:f>
              <c:strCache>
                <c:ptCount val="2"/>
                <c:pt idx="0">
                  <c:v>1. Quartal</c:v>
                </c:pt>
                <c:pt idx="1">
                  <c:v>2. Quartal</c:v>
                </c:pt>
              </c:strCache>
            </c:strRef>
          </c:cat>
          <c:val>
            <c:numRef>
              <c:f>Tabelle1!$B$2:$B$3</c:f>
              <c:numCache>
                <c:formatCode>General</c:formatCode>
                <c:ptCount val="2"/>
                <c:pt idx="0">
                  <c:v>87</c:v>
                </c:pt>
                <c:pt idx="1">
                  <c:v>13</c:v>
                </c:pt>
              </c:numCache>
            </c:numRef>
          </c:val>
          <c:extLst>
            <c:ext xmlns:c16="http://schemas.microsoft.com/office/drawing/2014/chart" uri="{C3380CC4-5D6E-409C-BE32-E72D297353CC}">
              <c16:uniqueId val="{00000004-4F0D-4849-9CEC-728C97B6C9B9}"/>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807699667604557"/>
          <c:y val="0.13791589028470677"/>
          <c:w val="0.61667898139479671"/>
          <c:h val="0.56564173903647974"/>
        </c:manualLayout>
      </c:layout>
      <c:doughnutChart>
        <c:varyColors val="1"/>
        <c:ser>
          <c:idx val="0"/>
          <c:order val="0"/>
          <c:tx>
            <c:strRef>
              <c:f>Tabelle1!$B$1</c:f>
              <c:strCache>
                <c:ptCount val="1"/>
                <c:pt idx="0">
                  <c:v>Verkauf</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F5B5-4F00-9614-6B3316391306}"/>
              </c:ext>
            </c:extLst>
          </c:dPt>
          <c:dPt>
            <c:idx val="1"/>
            <c:bubble3D val="0"/>
            <c:spPr>
              <a:solidFill>
                <a:schemeClr val="accent2"/>
              </a:solidFill>
              <a:ln w="19050">
                <a:noFill/>
              </a:ln>
              <a:effectLst/>
            </c:spPr>
            <c:extLst>
              <c:ext xmlns:c16="http://schemas.microsoft.com/office/drawing/2014/chart" uri="{C3380CC4-5D6E-409C-BE32-E72D297353CC}">
                <c16:uniqueId val="{00000003-F5B5-4F00-9614-6B3316391306}"/>
              </c:ext>
            </c:extLst>
          </c:dPt>
          <c:dPt>
            <c:idx val="2"/>
            <c:bubble3D val="0"/>
            <c:spPr>
              <a:solidFill>
                <a:schemeClr val="accent3"/>
              </a:solidFill>
              <a:ln w="19050">
                <a:noFill/>
              </a:ln>
              <a:effectLst/>
            </c:spPr>
            <c:extLst>
              <c:ext xmlns:c16="http://schemas.microsoft.com/office/drawing/2014/chart" uri="{C3380CC4-5D6E-409C-BE32-E72D297353CC}">
                <c16:uniqueId val="{00000005-F5B5-4F00-9614-6B3316391306}"/>
              </c:ext>
            </c:extLst>
          </c:dPt>
          <c:dPt>
            <c:idx val="3"/>
            <c:bubble3D val="0"/>
            <c:spPr>
              <a:solidFill>
                <a:schemeClr val="accent4"/>
              </a:solidFill>
              <a:ln w="19050">
                <a:noFill/>
              </a:ln>
              <a:effectLst/>
            </c:spPr>
            <c:extLst>
              <c:ext xmlns:c16="http://schemas.microsoft.com/office/drawing/2014/chart" uri="{C3380CC4-5D6E-409C-BE32-E72D297353CC}">
                <c16:uniqueId val="{00000007-F5B5-4F00-9614-6B3316391306}"/>
              </c:ext>
            </c:extLst>
          </c:dPt>
          <c:dPt>
            <c:idx val="4"/>
            <c:bubble3D val="0"/>
            <c:spPr>
              <a:solidFill>
                <a:schemeClr val="accent5"/>
              </a:solidFill>
              <a:ln w="19050">
                <a:noFill/>
              </a:ln>
              <a:effectLst/>
            </c:spPr>
            <c:extLst>
              <c:ext xmlns:c16="http://schemas.microsoft.com/office/drawing/2014/chart" uri="{C3380CC4-5D6E-409C-BE32-E72D297353CC}">
                <c16:uniqueId val="{00000009-F5B5-4F00-9614-6B3316391306}"/>
              </c:ext>
            </c:extLst>
          </c:dPt>
          <c:dPt>
            <c:idx val="5"/>
            <c:bubble3D val="0"/>
            <c:spPr>
              <a:solidFill>
                <a:schemeClr val="accent6"/>
              </a:solidFill>
              <a:ln w="19050">
                <a:noFill/>
              </a:ln>
              <a:effectLst/>
            </c:spPr>
            <c:extLst>
              <c:ext xmlns:c16="http://schemas.microsoft.com/office/drawing/2014/chart" uri="{C3380CC4-5D6E-409C-BE32-E72D297353CC}">
                <c16:uniqueId val="{0000000B-F5B5-4F00-9614-6B3316391306}"/>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1!$A$2:$A$7</c:f>
              <c:strCache>
                <c:ptCount val="6"/>
                <c:pt idx="0">
                  <c:v>1. Quartal</c:v>
                </c:pt>
                <c:pt idx="1">
                  <c:v>2. Quartal</c:v>
                </c:pt>
                <c:pt idx="2">
                  <c:v>3. Quartal</c:v>
                </c:pt>
                <c:pt idx="3">
                  <c:v>4. Quartal</c:v>
                </c:pt>
                <c:pt idx="4">
                  <c:v>5. Quartal</c:v>
                </c:pt>
                <c:pt idx="5">
                  <c:v>6. Quartal</c:v>
                </c:pt>
              </c:strCache>
            </c:strRef>
          </c:cat>
          <c:val>
            <c:numRef>
              <c:f>Tabelle1!$B$2:$B$7</c:f>
              <c:numCache>
                <c:formatCode>General</c:formatCode>
                <c:ptCount val="6"/>
                <c:pt idx="0">
                  <c:v>6.2</c:v>
                </c:pt>
                <c:pt idx="1">
                  <c:v>3.2</c:v>
                </c:pt>
                <c:pt idx="2">
                  <c:v>1.4</c:v>
                </c:pt>
                <c:pt idx="3">
                  <c:v>1.2</c:v>
                </c:pt>
                <c:pt idx="4">
                  <c:v>1</c:v>
                </c:pt>
                <c:pt idx="5">
                  <c:v>0.8</c:v>
                </c:pt>
              </c:numCache>
            </c:numRef>
          </c:val>
          <c:extLst>
            <c:ext xmlns:c16="http://schemas.microsoft.com/office/drawing/2014/chart" uri="{C3380CC4-5D6E-409C-BE32-E72D297353CC}">
              <c16:uniqueId val="{0000000E-F5B5-4F00-9614-6B3316391306}"/>
            </c:ext>
          </c:extLst>
        </c:ser>
        <c:dLbls>
          <c:showLegendKey val="0"/>
          <c:showVal val="1"/>
          <c:showCatName val="0"/>
          <c:showSerName val="0"/>
          <c:showPercent val="0"/>
          <c:showBubbleSize val="0"/>
          <c:showLeaderLines val="1"/>
        </c:dLbls>
        <c:firstSliceAng val="0"/>
        <c:holeSize val="70"/>
      </c:doughnutChart>
      <c:spPr>
        <a:noFill/>
        <a:ln>
          <a:noFill/>
        </a:ln>
        <a:effectLst/>
      </c:spPr>
    </c:plotArea>
    <c:legend>
      <c:legendPos val="b"/>
      <c:layout>
        <c:manualLayout>
          <c:xMode val="edge"/>
          <c:yMode val="edge"/>
          <c:x val="0.10081008100810081"/>
          <c:y val="0.80695664950278156"/>
          <c:w val="0.81446947844390738"/>
          <c:h val="0.1147087148457587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101E-4087-8506-0B0EBBC3188C}"/>
              </c:ext>
            </c:extLst>
          </c:dPt>
          <c:dPt>
            <c:idx val="1"/>
            <c:bubble3D val="0"/>
            <c:spPr>
              <a:solidFill>
                <a:schemeClr val="accent4"/>
              </a:solidFill>
              <a:ln w="19050">
                <a:noFill/>
              </a:ln>
              <a:effectLst/>
            </c:spPr>
            <c:extLst>
              <c:ext xmlns:c16="http://schemas.microsoft.com/office/drawing/2014/chart" uri="{C3380CC4-5D6E-409C-BE32-E72D297353CC}">
                <c16:uniqueId val="{00000003-101E-4087-8506-0B0EBBC3188C}"/>
              </c:ext>
            </c:extLst>
          </c:dPt>
          <c:cat>
            <c:strRef>
              <c:f>Tabelle1!$A$2:$A$3</c:f>
              <c:strCache>
                <c:ptCount val="2"/>
                <c:pt idx="0">
                  <c:v>1. Quartal</c:v>
                </c:pt>
                <c:pt idx="1">
                  <c:v>2. Quartal</c:v>
                </c:pt>
              </c:strCache>
            </c:strRef>
          </c:cat>
          <c:val>
            <c:numRef>
              <c:f>Tabelle1!$B$2:$B$3</c:f>
              <c:numCache>
                <c:formatCode>General</c:formatCode>
                <c:ptCount val="2"/>
                <c:pt idx="0">
                  <c:v>33</c:v>
                </c:pt>
                <c:pt idx="1">
                  <c:v>67</c:v>
                </c:pt>
              </c:numCache>
            </c:numRef>
          </c:val>
          <c:extLst>
            <c:ext xmlns:c16="http://schemas.microsoft.com/office/drawing/2014/chart" uri="{C3380CC4-5D6E-409C-BE32-E72D297353CC}">
              <c16:uniqueId val="{00000004-101E-4087-8506-0B0EBBC3188C}"/>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A29C-446C-B484-B68F2BEE8A08}"/>
              </c:ext>
            </c:extLst>
          </c:dPt>
          <c:dPt>
            <c:idx val="1"/>
            <c:bubble3D val="0"/>
            <c:spPr>
              <a:solidFill>
                <a:schemeClr val="accent4"/>
              </a:solidFill>
              <a:ln w="19050">
                <a:noFill/>
              </a:ln>
              <a:effectLst/>
            </c:spPr>
            <c:extLst>
              <c:ext xmlns:c16="http://schemas.microsoft.com/office/drawing/2014/chart" uri="{C3380CC4-5D6E-409C-BE32-E72D297353CC}">
                <c16:uniqueId val="{00000003-A29C-446C-B484-B68F2BEE8A08}"/>
              </c:ext>
            </c:extLst>
          </c:dPt>
          <c:cat>
            <c:strRef>
              <c:f>Tabelle1!$A$2:$A$3</c:f>
              <c:strCache>
                <c:ptCount val="2"/>
                <c:pt idx="0">
                  <c:v>1. Quartal</c:v>
                </c:pt>
                <c:pt idx="1">
                  <c:v>2. Quartal</c:v>
                </c:pt>
              </c:strCache>
            </c:strRef>
          </c:cat>
          <c:val>
            <c:numRef>
              <c:f>Tabelle1!$B$2:$B$3</c:f>
              <c:numCache>
                <c:formatCode>General</c:formatCode>
                <c:ptCount val="2"/>
                <c:pt idx="0">
                  <c:v>15</c:v>
                </c:pt>
                <c:pt idx="1">
                  <c:v>85</c:v>
                </c:pt>
              </c:numCache>
            </c:numRef>
          </c:val>
          <c:extLst>
            <c:ext xmlns:c16="http://schemas.microsoft.com/office/drawing/2014/chart" uri="{C3380CC4-5D6E-409C-BE32-E72D297353CC}">
              <c16:uniqueId val="{00000004-A29C-446C-B484-B68F2BEE8A08}"/>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ln>
              <a:noFill/>
            </a:ln>
          </c:spPr>
          <c:dPt>
            <c:idx val="0"/>
            <c:bubble3D val="0"/>
            <c:spPr>
              <a:solidFill>
                <a:schemeClr val="accent5"/>
              </a:solidFill>
              <a:ln w="19050">
                <a:noFill/>
              </a:ln>
              <a:effectLst/>
            </c:spPr>
            <c:extLst>
              <c:ext xmlns:c16="http://schemas.microsoft.com/office/drawing/2014/chart" uri="{C3380CC4-5D6E-409C-BE32-E72D297353CC}">
                <c16:uniqueId val="{00000001-4C33-42F8-8AEA-ACA834502575}"/>
              </c:ext>
            </c:extLst>
          </c:dPt>
          <c:dPt>
            <c:idx val="1"/>
            <c:bubble3D val="0"/>
            <c:spPr>
              <a:solidFill>
                <a:schemeClr val="accent4"/>
              </a:solidFill>
              <a:ln w="19050">
                <a:noFill/>
              </a:ln>
              <a:effectLst/>
            </c:spPr>
            <c:extLst>
              <c:ext xmlns:c16="http://schemas.microsoft.com/office/drawing/2014/chart" uri="{C3380CC4-5D6E-409C-BE32-E72D297353CC}">
                <c16:uniqueId val="{00000003-4C33-42F8-8AEA-ACA834502575}"/>
              </c:ext>
            </c:extLst>
          </c:dPt>
          <c:cat>
            <c:strRef>
              <c:f>Tabelle1!$A$2:$A$3</c:f>
              <c:strCache>
                <c:ptCount val="2"/>
                <c:pt idx="0">
                  <c:v>1. Quartal</c:v>
                </c:pt>
                <c:pt idx="1">
                  <c:v>2. Quartal</c:v>
                </c:pt>
              </c:strCache>
            </c:strRef>
          </c:cat>
          <c:val>
            <c:numRef>
              <c:f>Tabelle1!$B$2:$B$3</c:f>
              <c:numCache>
                <c:formatCode>General</c:formatCode>
                <c:ptCount val="2"/>
                <c:pt idx="0">
                  <c:v>56</c:v>
                </c:pt>
                <c:pt idx="1">
                  <c:v>44</c:v>
                </c:pt>
              </c:numCache>
            </c:numRef>
          </c:val>
          <c:extLst>
            <c:ext xmlns:c16="http://schemas.microsoft.com/office/drawing/2014/chart" uri="{C3380CC4-5D6E-409C-BE32-E72D297353CC}">
              <c16:uniqueId val="{00000004-4C33-42F8-8AEA-ACA834502575}"/>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accent3"/>
            </a:solidFill>
            <a:ln>
              <a:noFill/>
            </a:ln>
          </c:spPr>
          <c:dPt>
            <c:idx val="0"/>
            <c:bubble3D val="0"/>
            <c:spPr>
              <a:solidFill>
                <a:schemeClr val="accent4"/>
              </a:solidFill>
              <a:ln w="19050">
                <a:noFill/>
              </a:ln>
              <a:effectLst/>
            </c:spPr>
            <c:extLst>
              <c:ext xmlns:c16="http://schemas.microsoft.com/office/drawing/2014/chart" uri="{C3380CC4-5D6E-409C-BE32-E72D297353CC}">
                <c16:uniqueId val="{00000001-4F0D-4849-9CEC-728C97B6C9B9}"/>
              </c:ext>
            </c:extLst>
          </c:dPt>
          <c:dPt>
            <c:idx val="1"/>
            <c:bubble3D val="0"/>
            <c:spPr>
              <a:solidFill>
                <a:schemeClr val="accent5"/>
              </a:solidFill>
              <a:ln w="19050">
                <a:noFill/>
              </a:ln>
              <a:effectLst/>
            </c:spPr>
            <c:extLst>
              <c:ext xmlns:c16="http://schemas.microsoft.com/office/drawing/2014/chart" uri="{C3380CC4-5D6E-409C-BE32-E72D297353CC}">
                <c16:uniqueId val="{00000003-4F0D-4849-9CEC-728C97B6C9B9}"/>
              </c:ext>
            </c:extLst>
          </c:dPt>
          <c:cat>
            <c:strRef>
              <c:f>Tabelle1!$A$2:$A$3</c:f>
              <c:strCache>
                <c:ptCount val="2"/>
                <c:pt idx="0">
                  <c:v>1. Quartal</c:v>
                </c:pt>
                <c:pt idx="1">
                  <c:v>2. Quartal</c:v>
                </c:pt>
              </c:strCache>
            </c:strRef>
          </c:cat>
          <c:val>
            <c:numRef>
              <c:f>Tabelle1!$B$2:$B$3</c:f>
              <c:numCache>
                <c:formatCode>General</c:formatCode>
                <c:ptCount val="2"/>
                <c:pt idx="0">
                  <c:v>87</c:v>
                </c:pt>
                <c:pt idx="1">
                  <c:v>13</c:v>
                </c:pt>
              </c:numCache>
            </c:numRef>
          </c:val>
          <c:extLst>
            <c:ext xmlns:c16="http://schemas.microsoft.com/office/drawing/2014/chart" uri="{C3380CC4-5D6E-409C-BE32-E72D297353CC}">
              <c16:uniqueId val="{00000004-4F0D-4849-9CEC-728C97B6C9B9}"/>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ln>
              <a:noFill/>
            </a:ln>
          </c:spPr>
          <c:dPt>
            <c:idx val="0"/>
            <c:bubble3D val="0"/>
            <c:spPr>
              <a:solidFill>
                <a:schemeClr val="accent5"/>
              </a:solidFill>
              <a:ln w="19050">
                <a:noFill/>
              </a:ln>
              <a:effectLst/>
            </c:spPr>
            <c:extLst>
              <c:ext xmlns:c16="http://schemas.microsoft.com/office/drawing/2014/chart" uri="{C3380CC4-5D6E-409C-BE32-E72D297353CC}">
                <c16:uniqueId val="{00000001-101E-4087-8506-0B0EBBC3188C}"/>
              </c:ext>
            </c:extLst>
          </c:dPt>
          <c:dPt>
            <c:idx val="1"/>
            <c:bubble3D val="0"/>
            <c:spPr>
              <a:solidFill>
                <a:schemeClr val="accent4"/>
              </a:solidFill>
              <a:ln w="19050">
                <a:noFill/>
              </a:ln>
              <a:effectLst/>
            </c:spPr>
            <c:extLst>
              <c:ext xmlns:c16="http://schemas.microsoft.com/office/drawing/2014/chart" uri="{C3380CC4-5D6E-409C-BE32-E72D297353CC}">
                <c16:uniqueId val="{00000003-101E-4087-8506-0B0EBBC3188C}"/>
              </c:ext>
            </c:extLst>
          </c:dPt>
          <c:cat>
            <c:strRef>
              <c:f>Tabelle1!$A$2:$A$3</c:f>
              <c:strCache>
                <c:ptCount val="2"/>
                <c:pt idx="0">
                  <c:v>1. Quartal</c:v>
                </c:pt>
                <c:pt idx="1">
                  <c:v>2. Quartal</c:v>
                </c:pt>
              </c:strCache>
            </c:strRef>
          </c:cat>
          <c:val>
            <c:numRef>
              <c:f>Tabelle1!$B$2:$B$3</c:f>
              <c:numCache>
                <c:formatCode>General</c:formatCode>
                <c:ptCount val="2"/>
                <c:pt idx="0">
                  <c:v>33</c:v>
                </c:pt>
                <c:pt idx="1">
                  <c:v>67</c:v>
                </c:pt>
              </c:numCache>
            </c:numRef>
          </c:val>
          <c:extLst>
            <c:ext xmlns:c16="http://schemas.microsoft.com/office/drawing/2014/chart" uri="{C3380CC4-5D6E-409C-BE32-E72D297353CC}">
              <c16:uniqueId val="{00000004-101E-4087-8506-0B0EBBC3188C}"/>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ln>
              <a:noFill/>
            </a:ln>
          </c:spPr>
          <c:dPt>
            <c:idx val="0"/>
            <c:bubble3D val="0"/>
            <c:spPr>
              <a:solidFill>
                <a:schemeClr val="accent5"/>
              </a:solidFill>
              <a:ln w="19050">
                <a:noFill/>
              </a:ln>
              <a:effectLst/>
            </c:spPr>
            <c:extLst>
              <c:ext xmlns:c16="http://schemas.microsoft.com/office/drawing/2014/chart" uri="{C3380CC4-5D6E-409C-BE32-E72D297353CC}">
                <c16:uniqueId val="{00000001-A29C-446C-B484-B68F2BEE8A08}"/>
              </c:ext>
            </c:extLst>
          </c:dPt>
          <c:dPt>
            <c:idx val="1"/>
            <c:bubble3D val="0"/>
            <c:spPr>
              <a:solidFill>
                <a:schemeClr val="accent4"/>
              </a:solidFill>
              <a:ln w="19050">
                <a:noFill/>
              </a:ln>
              <a:effectLst/>
            </c:spPr>
            <c:extLst>
              <c:ext xmlns:c16="http://schemas.microsoft.com/office/drawing/2014/chart" uri="{C3380CC4-5D6E-409C-BE32-E72D297353CC}">
                <c16:uniqueId val="{00000003-A29C-446C-B484-B68F2BEE8A08}"/>
              </c:ext>
            </c:extLst>
          </c:dPt>
          <c:cat>
            <c:strRef>
              <c:f>Tabelle1!$A$2:$A$3</c:f>
              <c:strCache>
                <c:ptCount val="2"/>
                <c:pt idx="0">
                  <c:v>1. Quartal</c:v>
                </c:pt>
                <c:pt idx="1">
                  <c:v>2. Quartal</c:v>
                </c:pt>
              </c:strCache>
            </c:strRef>
          </c:cat>
          <c:val>
            <c:numRef>
              <c:f>Tabelle1!$B$2:$B$3</c:f>
              <c:numCache>
                <c:formatCode>General</c:formatCode>
                <c:ptCount val="2"/>
                <c:pt idx="0">
                  <c:v>15</c:v>
                </c:pt>
                <c:pt idx="1">
                  <c:v>85</c:v>
                </c:pt>
              </c:numCache>
            </c:numRef>
          </c:val>
          <c:extLst>
            <c:ext xmlns:c16="http://schemas.microsoft.com/office/drawing/2014/chart" uri="{C3380CC4-5D6E-409C-BE32-E72D297353CC}">
              <c16:uniqueId val="{00000004-A29C-446C-B484-B68F2BEE8A08}"/>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ln>
              <a:noFill/>
            </a:ln>
          </c:spPr>
          <c:dPt>
            <c:idx val="0"/>
            <c:bubble3D val="0"/>
            <c:spPr>
              <a:solidFill>
                <a:schemeClr val="accent4"/>
              </a:solidFill>
              <a:ln w="19050">
                <a:noFill/>
              </a:ln>
              <a:effectLst/>
            </c:spPr>
            <c:extLst>
              <c:ext xmlns:c16="http://schemas.microsoft.com/office/drawing/2014/chart" uri="{C3380CC4-5D6E-409C-BE32-E72D297353CC}">
                <c16:uniqueId val="{00000001-4C33-42F8-8AEA-ACA834502575}"/>
              </c:ext>
            </c:extLst>
          </c:dPt>
          <c:dPt>
            <c:idx val="1"/>
            <c:bubble3D val="0"/>
            <c:spPr>
              <a:solidFill>
                <a:schemeClr val="accent5"/>
              </a:solidFill>
              <a:ln w="19050">
                <a:noFill/>
              </a:ln>
              <a:effectLst/>
            </c:spPr>
            <c:extLst>
              <c:ext xmlns:c16="http://schemas.microsoft.com/office/drawing/2014/chart" uri="{C3380CC4-5D6E-409C-BE32-E72D297353CC}">
                <c16:uniqueId val="{00000003-4C33-42F8-8AEA-ACA834502575}"/>
              </c:ext>
            </c:extLst>
          </c:dPt>
          <c:cat>
            <c:strRef>
              <c:f>Tabelle1!$A$2:$A$3</c:f>
              <c:strCache>
                <c:ptCount val="2"/>
                <c:pt idx="0">
                  <c:v>1. Quartal</c:v>
                </c:pt>
                <c:pt idx="1">
                  <c:v>2. Quartal</c:v>
                </c:pt>
              </c:strCache>
            </c:strRef>
          </c:cat>
          <c:val>
            <c:numRef>
              <c:f>Tabelle1!$B$2:$B$3</c:f>
              <c:numCache>
                <c:formatCode>General</c:formatCode>
                <c:ptCount val="2"/>
                <c:pt idx="0">
                  <c:v>56</c:v>
                </c:pt>
                <c:pt idx="1">
                  <c:v>44</c:v>
                </c:pt>
              </c:numCache>
            </c:numRef>
          </c:val>
          <c:extLst>
            <c:ext xmlns:c16="http://schemas.microsoft.com/office/drawing/2014/chart" uri="{C3380CC4-5D6E-409C-BE32-E72D297353CC}">
              <c16:uniqueId val="{00000004-4C33-42F8-8AEA-ACA834502575}"/>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bg1"/>
            </a:solidFill>
            <a:ln>
              <a:noFill/>
            </a:ln>
          </c:spPr>
          <c:dPt>
            <c:idx val="0"/>
            <c:bubble3D val="0"/>
            <c:spPr>
              <a:solidFill>
                <a:schemeClr val="bg1"/>
              </a:solidFill>
              <a:ln w="19050">
                <a:noFill/>
              </a:ln>
              <a:effectLst/>
            </c:spPr>
            <c:extLst>
              <c:ext xmlns:c16="http://schemas.microsoft.com/office/drawing/2014/chart" uri="{C3380CC4-5D6E-409C-BE32-E72D297353CC}">
                <c16:uniqueId val="{00000001-4F0D-4849-9CEC-728C97B6C9B9}"/>
              </c:ext>
            </c:extLst>
          </c:dPt>
          <c:dPt>
            <c:idx val="1"/>
            <c:bubble3D val="0"/>
            <c:spPr>
              <a:solidFill>
                <a:schemeClr val="tx2"/>
              </a:solidFill>
              <a:ln w="19050">
                <a:noFill/>
              </a:ln>
              <a:effectLst/>
            </c:spPr>
            <c:extLst>
              <c:ext xmlns:c16="http://schemas.microsoft.com/office/drawing/2014/chart" uri="{C3380CC4-5D6E-409C-BE32-E72D297353CC}">
                <c16:uniqueId val="{00000003-4F0D-4849-9CEC-728C97B6C9B9}"/>
              </c:ext>
            </c:extLst>
          </c:dPt>
          <c:cat>
            <c:strRef>
              <c:f>Tabelle1!$A$2:$A$3</c:f>
              <c:strCache>
                <c:ptCount val="2"/>
                <c:pt idx="0">
                  <c:v>1. Quartal</c:v>
                </c:pt>
                <c:pt idx="1">
                  <c:v>2. Quartal</c:v>
                </c:pt>
              </c:strCache>
            </c:strRef>
          </c:cat>
          <c:val>
            <c:numRef>
              <c:f>Tabelle1!$B$2:$B$3</c:f>
              <c:numCache>
                <c:formatCode>General</c:formatCode>
                <c:ptCount val="2"/>
                <c:pt idx="0">
                  <c:v>87</c:v>
                </c:pt>
                <c:pt idx="1">
                  <c:v>13</c:v>
                </c:pt>
              </c:numCache>
            </c:numRef>
          </c:val>
          <c:extLst>
            <c:ext xmlns:c16="http://schemas.microsoft.com/office/drawing/2014/chart" uri="{C3380CC4-5D6E-409C-BE32-E72D297353CC}">
              <c16:uniqueId val="{00000004-4F0D-4849-9CEC-728C97B6C9B9}"/>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bg1"/>
            </a:solidFill>
            <a:ln>
              <a:noFill/>
            </a:ln>
          </c:spPr>
          <c:dPt>
            <c:idx val="0"/>
            <c:bubble3D val="0"/>
            <c:spPr>
              <a:solidFill>
                <a:schemeClr val="bg1"/>
              </a:solidFill>
              <a:ln w="19050">
                <a:noFill/>
              </a:ln>
              <a:effectLst/>
            </c:spPr>
            <c:extLst>
              <c:ext xmlns:c16="http://schemas.microsoft.com/office/drawing/2014/chart" uri="{C3380CC4-5D6E-409C-BE32-E72D297353CC}">
                <c16:uniqueId val="{00000001-101E-4087-8506-0B0EBBC3188C}"/>
              </c:ext>
            </c:extLst>
          </c:dPt>
          <c:dPt>
            <c:idx val="1"/>
            <c:bubble3D val="0"/>
            <c:spPr>
              <a:solidFill>
                <a:schemeClr val="tx2"/>
              </a:solidFill>
              <a:ln w="19050">
                <a:noFill/>
              </a:ln>
              <a:effectLst/>
            </c:spPr>
            <c:extLst>
              <c:ext xmlns:c16="http://schemas.microsoft.com/office/drawing/2014/chart" uri="{C3380CC4-5D6E-409C-BE32-E72D297353CC}">
                <c16:uniqueId val="{00000003-101E-4087-8506-0B0EBBC3188C}"/>
              </c:ext>
            </c:extLst>
          </c:dPt>
          <c:cat>
            <c:strRef>
              <c:f>Tabelle1!$A$2:$A$3</c:f>
              <c:strCache>
                <c:ptCount val="2"/>
                <c:pt idx="0">
                  <c:v>1. Quartal</c:v>
                </c:pt>
                <c:pt idx="1">
                  <c:v>2. Quartal</c:v>
                </c:pt>
              </c:strCache>
            </c:strRef>
          </c:cat>
          <c:val>
            <c:numRef>
              <c:f>Tabelle1!$B$2:$B$3</c:f>
              <c:numCache>
                <c:formatCode>General</c:formatCode>
                <c:ptCount val="2"/>
                <c:pt idx="0">
                  <c:v>33</c:v>
                </c:pt>
                <c:pt idx="1">
                  <c:v>67</c:v>
                </c:pt>
              </c:numCache>
            </c:numRef>
          </c:val>
          <c:extLst>
            <c:ext xmlns:c16="http://schemas.microsoft.com/office/drawing/2014/chart" uri="{C3380CC4-5D6E-409C-BE32-E72D297353CC}">
              <c16:uniqueId val="{00000004-101E-4087-8506-0B0EBBC3188C}"/>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bg1"/>
            </a:solidFill>
            <a:ln>
              <a:noFill/>
            </a:ln>
          </c:spPr>
          <c:dPt>
            <c:idx val="0"/>
            <c:bubble3D val="0"/>
            <c:spPr>
              <a:solidFill>
                <a:schemeClr val="bg1"/>
              </a:solidFill>
              <a:ln w="19050">
                <a:noFill/>
              </a:ln>
              <a:effectLst/>
            </c:spPr>
            <c:extLst>
              <c:ext xmlns:c16="http://schemas.microsoft.com/office/drawing/2014/chart" uri="{C3380CC4-5D6E-409C-BE32-E72D297353CC}">
                <c16:uniqueId val="{00000001-A29C-446C-B484-B68F2BEE8A08}"/>
              </c:ext>
            </c:extLst>
          </c:dPt>
          <c:dPt>
            <c:idx val="1"/>
            <c:bubble3D val="0"/>
            <c:spPr>
              <a:solidFill>
                <a:schemeClr val="tx2"/>
              </a:solidFill>
              <a:ln w="19050">
                <a:noFill/>
              </a:ln>
              <a:effectLst/>
            </c:spPr>
            <c:extLst>
              <c:ext xmlns:c16="http://schemas.microsoft.com/office/drawing/2014/chart" uri="{C3380CC4-5D6E-409C-BE32-E72D297353CC}">
                <c16:uniqueId val="{00000003-A29C-446C-B484-B68F2BEE8A08}"/>
              </c:ext>
            </c:extLst>
          </c:dPt>
          <c:cat>
            <c:strRef>
              <c:f>Tabelle1!$A$2:$A$3</c:f>
              <c:strCache>
                <c:ptCount val="2"/>
                <c:pt idx="0">
                  <c:v>1. Quartal</c:v>
                </c:pt>
                <c:pt idx="1">
                  <c:v>2. Quartal</c:v>
                </c:pt>
              </c:strCache>
            </c:strRef>
          </c:cat>
          <c:val>
            <c:numRef>
              <c:f>Tabelle1!$B$2:$B$3</c:f>
              <c:numCache>
                <c:formatCode>General</c:formatCode>
                <c:ptCount val="2"/>
                <c:pt idx="0">
                  <c:v>15</c:v>
                </c:pt>
                <c:pt idx="1">
                  <c:v>85</c:v>
                </c:pt>
              </c:numCache>
            </c:numRef>
          </c:val>
          <c:extLst>
            <c:ext xmlns:c16="http://schemas.microsoft.com/office/drawing/2014/chart" uri="{C3380CC4-5D6E-409C-BE32-E72D297353CC}">
              <c16:uniqueId val="{00000004-A29C-446C-B484-B68F2BEE8A08}"/>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807699667604557"/>
          <c:y val="0.13791589028470677"/>
          <c:w val="0.61667898139479671"/>
          <c:h val="0.56564173903647974"/>
        </c:manualLayout>
      </c:layout>
      <c:doughnutChart>
        <c:varyColors val="1"/>
        <c:ser>
          <c:idx val="0"/>
          <c:order val="0"/>
          <c:tx>
            <c:strRef>
              <c:f>Tabelle1!$B$1</c:f>
              <c:strCache>
                <c:ptCount val="1"/>
                <c:pt idx="0">
                  <c:v>Verkauf</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F5B5-4F00-9614-6B3316391306}"/>
              </c:ext>
            </c:extLst>
          </c:dPt>
          <c:dPt>
            <c:idx val="1"/>
            <c:bubble3D val="0"/>
            <c:spPr>
              <a:solidFill>
                <a:schemeClr val="accent2"/>
              </a:solidFill>
              <a:ln w="19050">
                <a:noFill/>
              </a:ln>
              <a:effectLst/>
            </c:spPr>
            <c:extLst>
              <c:ext xmlns:c16="http://schemas.microsoft.com/office/drawing/2014/chart" uri="{C3380CC4-5D6E-409C-BE32-E72D297353CC}">
                <c16:uniqueId val="{00000003-F5B5-4F00-9614-6B3316391306}"/>
              </c:ext>
            </c:extLst>
          </c:dPt>
          <c:dPt>
            <c:idx val="2"/>
            <c:bubble3D val="0"/>
            <c:spPr>
              <a:solidFill>
                <a:schemeClr val="accent3"/>
              </a:solidFill>
              <a:ln w="19050">
                <a:noFill/>
              </a:ln>
              <a:effectLst/>
            </c:spPr>
            <c:extLst>
              <c:ext xmlns:c16="http://schemas.microsoft.com/office/drawing/2014/chart" uri="{C3380CC4-5D6E-409C-BE32-E72D297353CC}">
                <c16:uniqueId val="{00000005-F5B5-4F00-9614-6B3316391306}"/>
              </c:ext>
            </c:extLst>
          </c:dPt>
          <c:dPt>
            <c:idx val="3"/>
            <c:bubble3D val="0"/>
            <c:spPr>
              <a:solidFill>
                <a:schemeClr val="accent4"/>
              </a:solidFill>
              <a:ln w="19050">
                <a:noFill/>
              </a:ln>
              <a:effectLst/>
            </c:spPr>
            <c:extLst>
              <c:ext xmlns:c16="http://schemas.microsoft.com/office/drawing/2014/chart" uri="{C3380CC4-5D6E-409C-BE32-E72D297353CC}">
                <c16:uniqueId val="{00000007-F5B5-4F00-9614-6B3316391306}"/>
              </c:ext>
            </c:extLst>
          </c:dPt>
          <c:dPt>
            <c:idx val="4"/>
            <c:bubble3D val="0"/>
            <c:spPr>
              <a:solidFill>
                <a:schemeClr val="accent5"/>
              </a:solidFill>
              <a:ln w="19050">
                <a:noFill/>
              </a:ln>
              <a:effectLst/>
            </c:spPr>
            <c:extLst>
              <c:ext xmlns:c16="http://schemas.microsoft.com/office/drawing/2014/chart" uri="{C3380CC4-5D6E-409C-BE32-E72D297353CC}">
                <c16:uniqueId val="{00000009-F5B5-4F00-9614-6B3316391306}"/>
              </c:ext>
            </c:extLst>
          </c:dPt>
          <c:dPt>
            <c:idx val="5"/>
            <c:bubble3D val="0"/>
            <c:spPr>
              <a:solidFill>
                <a:schemeClr val="accent6"/>
              </a:solidFill>
              <a:ln w="19050">
                <a:noFill/>
              </a:ln>
              <a:effectLst/>
            </c:spPr>
            <c:extLst>
              <c:ext xmlns:c16="http://schemas.microsoft.com/office/drawing/2014/chart" uri="{C3380CC4-5D6E-409C-BE32-E72D297353CC}">
                <c16:uniqueId val="{0000000B-F5B5-4F00-9614-6B3316391306}"/>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1!$A$2:$A$7</c:f>
              <c:strCache>
                <c:ptCount val="6"/>
                <c:pt idx="0">
                  <c:v>1. Quartal</c:v>
                </c:pt>
                <c:pt idx="1">
                  <c:v>2. Quartal</c:v>
                </c:pt>
                <c:pt idx="2">
                  <c:v>3. Quartal</c:v>
                </c:pt>
                <c:pt idx="3">
                  <c:v>4. Quartal</c:v>
                </c:pt>
                <c:pt idx="4">
                  <c:v>5. Quartal</c:v>
                </c:pt>
                <c:pt idx="5">
                  <c:v>6. Quartal</c:v>
                </c:pt>
              </c:strCache>
            </c:strRef>
          </c:cat>
          <c:val>
            <c:numRef>
              <c:f>Tabelle1!$B$2:$B$7</c:f>
              <c:numCache>
                <c:formatCode>General</c:formatCode>
                <c:ptCount val="6"/>
                <c:pt idx="0">
                  <c:v>6.2</c:v>
                </c:pt>
                <c:pt idx="1">
                  <c:v>3.2</c:v>
                </c:pt>
                <c:pt idx="2">
                  <c:v>1.4</c:v>
                </c:pt>
                <c:pt idx="3">
                  <c:v>1.2</c:v>
                </c:pt>
                <c:pt idx="4">
                  <c:v>1</c:v>
                </c:pt>
                <c:pt idx="5">
                  <c:v>0.8</c:v>
                </c:pt>
              </c:numCache>
            </c:numRef>
          </c:val>
          <c:extLst>
            <c:ext xmlns:c16="http://schemas.microsoft.com/office/drawing/2014/chart" uri="{C3380CC4-5D6E-409C-BE32-E72D297353CC}">
              <c16:uniqueId val="{0000000E-F5B5-4F00-9614-6B3316391306}"/>
            </c:ext>
          </c:extLst>
        </c:ser>
        <c:dLbls>
          <c:showLegendKey val="0"/>
          <c:showVal val="1"/>
          <c:showCatName val="0"/>
          <c:showSerName val="0"/>
          <c:showPercent val="0"/>
          <c:showBubbleSize val="0"/>
          <c:showLeaderLines val="1"/>
        </c:dLbls>
        <c:firstSliceAng val="0"/>
        <c:holeSize val="70"/>
      </c:doughnutChart>
      <c:spPr>
        <a:noFill/>
        <a:ln>
          <a:noFill/>
        </a:ln>
        <a:effectLst/>
      </c:spPr>
    </c:plotArea>
    <c:legend>
      <c:legendPos val="b"/>
      <c:legendEntry>
        <c:idx val="0"/>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de-DE"/>
          </a:p>
        </c:txPr>
      </c:legendEntry>
      <c:legendEntry>
        <c:idx val="1"/>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de-DE"/>
          </a:p>
        </c:txPr>
      </c:legendEntry>
      <c:legendEntry>
        <c:idx val="2"/>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de-DE"/>
          </a:p>
        </c:txPr>
      </c:legendEntry>
      <c:legendEntry>
        <c:idx val="3"/>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de-DE"/>
          </a:p>
        </c:txPr>
      </c:legendEntry>
      <c:legendEntry>
        <c:idx val="4"/>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de-DE"/>
          </a:p>
        </c:txPr>
      </c:legendEntry>
      <c:legendEntry>
        <c:idx val="5"/>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de-DE"/>
          </a:p>
        </c:txPr>
      </c:legendEntry>
      <c:layout>
        <c:manualLayout>
          <c:xMode val="edge"/>
          <c:yMode val="edge"/>
          <c:x val="0.10081008100810081"/>
          <c:y val="0.80695664950278156"/>
          <c:w val="0.81446947844390738"/>
          <c:h val="0.1147087148457587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bg1"/>
            </a:solidFill>
            <a:ln>
              <a:noFill/>
            </a:ln>
          </c:spPr>
          <c:dPt>
            <c:idx val="0"/>
            <c:bubble3D val="0"/>
            <c:spPr>
              <a:solidFill>
                <a:schemeClr val="bg1"/>
              </a:solidFill>
              <a:ln w="19050">
                <a:noFill/>
              </a:ln>
              <a:effectLst/>
            </c:spPr>
            <c:extLst>
              <c:ext xmlns:c16="http://schemas.microsoft.com/office/drawing/2014/chart" uri="{C3380CC4-5D6E-409C-BE32-E72D297353CC}">
                <c16:uniqueId val="{00000001-4C33-42F8-8AEA-ACA834502575}"/>
              </c:ext>
            </c:extLst>
          </c:dPt>
          <c:dPt>
            <c:idx val="1"/>
            <c:bubble3D val="0"/>
            <c:spPr>
              <a:solidFill>
                <a:schemeClr val="tx2"/>
              </a:solidFill>
              <a:ln w="19050">
                <a:noFill/>
              </a:ln>
              <a:effectLst/>
            </c:spPr>
            <c:extLst>
              <c:ext xmlns:c16="http://schemas.microsoft.com/office/drawing/2014/chart" uri="{C3380CC4-5D6E-409C-BE32-E72D297353CC}">
                <c16:uniqueId val="{00000003-4C33-42F8-8AEA-ACA834502575}"/>
              </c:ext>
            </c:extLst>
          </c:dPt>
          <c:cat>
            <c:strRef>
              <c:f>Tabelle1!$A$2:$A$3</c:f>
              <c:strCache>
                <c:ptCount val="2"/>
                <c:pt idx="0">
                  <c:v>1. Quartal</c:v>
                </c:pt>
                <c:pt idx="1">
                  <c:v>2. Quartal</c:v>
                </c:pt>
              </c:strCache>
            </c:strRef>
          </c:cat>
          <c:val>
            <c:numRef>
              <c:f>Tabelle1!$B$2:$B$3</c:f>
              <c:numCache>
                <c:formatCode>General</c:formatCode>
                <c:ptCount val="2"/>
                <c:pt idx="0">
                  <c:v>56</c:v>
                </c:pt>
                <c:pt idx="1">
                  <c:v>44</c:v>
                </c:pt>
              </c:numCache>
            </c:numRef>
          </c:val>
          <c:extLst>
            <c:ext xmlns:c16="http://schemas.microsoft.com/office/drawing/2014/chart" uri="{C3380CC4-5D6E-409C-BE32-E72D297353CC}">
              <c16:uniqueId val="{00000004-4C33-42F8-8AEA-ACA834502575}"/>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807699667604557"/>
          <c:y val="0.13791589028470677"/>
          <c:w val="0.61667898139479671"/>
          <c:h val="0.56564173903647974"/>
        </c:manualLayout>
      </c:layout>
      <c:doughnutChart>
        <c:varyColors val="1"/>
        <c:ser>
          <c:idx val="0"/>
          <c:order val="0"/>
          <c:tx>
            <c:strRef>
              <c:f>Tabelle1!$B$1</c:f>
              <c:strCache>
                <c:ptCount val="1"/>
                <c:pt idx="0">
                  <c:v>Verkauf</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F5B5-4F00-9614-6B3316391306}"/>
              </c:ext>
            </c:extLst>
          </c:dPt>
          <c:dPt>
            <c:idx val="1"/>
            <c:bubble3D val="0"/>
            <c:spPr>
              <a:solidFill>
                <a:schemeClr val="accent2"/>
              </a:solidFill>
              <a:ln w="19050">
                <a:noFill/>
              </a:ln>
              <a:effectLst/>
            </c:spPr>
            <c:extLst>
              <c:ext xmlns:c16="http://schemas.microsoft.com/office/drawing/2014/chart" uri="{C3380CC4-5D6E-409C-BE32-E72D297353CC}">
                <c16:uniqueId val="{00000003-F5B5-4F00-9614-6B3316391306}"/>
              </c:ext>
            </c:extLst>
          </c:dPt>
          <c:dPt>
            <c:idx val="2"/>
            <c:bubble3D val="0"/>
            <c:spPr>
              <a:solidFill>
                <a:schemeClr val="accent3"/>
              </a:solidFill>
              <a:ln w="19050">
                <a:noFill/>
              </a:ln>
              <a:effectLst/>
            </c:spPr>
            <c:extLst>
              <c:ext xmlns:c16="http://schemas.microsoft.com/office/drawing/2014/chart" uri="{C3380CC4-5D6E-409C-BE32-E72D297353CC}">
                <c16:uniqueId val="{00000005-F5B5-4F00-9614-6B3316391306}"/>
              </c:ext>
            </c:extLst>
          </c:dPt>
          <c:dPt>
            <c:idx val="3"/>
            <c:bubble3D val="0"/>
            <c:spPr>
              <a:solidFill>
                <a:schemeClr val="accent4"/>
              </a:solidFill>
              <a:ln w="19050">
                <a:noFill/>
              </a:ln>
              <a:effectLst/>
            </c:spPr>
            <c:extLst>
              <c:ext xmlns:c16="http://schemas.microsoft.com/office/drawing/2014/chart" uri="{C3380CC4-5D6E-409C-BE32-E72D297353CC}">
                <c16:uniqueId val="{00000007-F5B5-4F00-9614-6B3316391306}"/>
              </c:ext>
            </c:extLst>
          </c:dPt>
          <c:dPt>
            <c:idx val="4"/>
            <c:bubble3D val="0"/>
            <c:spPr>
              <a:solidFill>
                <a:schemeClr val="accent5"/>
              </a:solidFill>
              <a:ln w="19050">
                <a:noFill/>
              </a:ln>
              <a:effectLst/>
            </c:spPr>
            <c:extLst>
              <c:ext xmlns:c16="http://schemas.microsoft.com/office/drawing/2014/chart" uri="{C3380CC4-5D6E-409C-BE32-E72D297353CC}">
                <c16:uniqueId val="{00000009-F5B5-4F00-9614-6B3316391306}"/>
              </c:ext>
            </c:extLst>
          </c:dPt>
          <c:dPt>
            <c:idx val="5"/>
            <c:bubble3D val="0"/>
            <c:spPr>
              <a:solidFill>
                <a:schemeClr val="accent6"/>
              </a:solidFill>
              <a:ln w="19050">
                <a:noFill/>
              </a:ln>
              <a:effectLst/>
            </c:spPr>
            <c:extLst>
              <c:ext xmlns:c16="http://schemas.microsoft.com/office/drawing/2014/chart" uri="{C3380CC4-5D6E-409C-BE32-E72D297353CC}">
                <c16:uniqueId val="{0000000B-F5B5-4F00-9614-6B3316391306}"/>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1!$A$2:$A$7</c:f>
              <c:strCache>
                <c:ptCount val="6"/>
                <c:pt idx="0">
                  <c:v>1. Quartal</c:v>
                </c:pt>
                <c:pt idx="1">
                  <c:v>2. Quartal</c:v>
                </c:pt>
                <c:pt idx="2">
                  <c:v>3. Quartal</c:v>
                </c:pt>
                <c:pt idx="3">
                  <c:v>4. Quartal</c:v>
                </c:pt>
                <c:pt idx="4">
                  <c:v>5. Quartal</c:v>
                </c:pt>
                <c:pt idx="5">
                  <c:v>6. Quartal</c:v>
                </c:pt>
              </c:strCache>
            </c:strRef>
          </c:cat>
          <c:val>
            <c:numRef>
              <c:f>Tabelle1!$B$2:$B$7</c:f>
              <c:numCache>
                <c:formatCode>General</c:formatCode>
                <c:ptCount val="6"/>
                <c:pt idx="0">
                  <c:v>6.2</c:v>
                </c:pt>
                <c:pt idx="1">
                  <c:v>3.2</c:v>
                </c:pt>
                <c:pt idx="2">
                  <c:v>1.4</c:v>
                </c:pt>
                <c:pt idx="3">
                  <c:v>1.2</c:v>
                </c:pt>
                <c:pt idx="4">
                  <c:v>1</c:v>
                </c:pt>
                <c:pt idx="5">
                  <c:v>0.8</c:v>
                </c:pt>
              </c:numCache>
            </c:numRef>
          </c:val>
          <c:extLst>
            <c:ext xmlns:c16="http://schemas.microsoft.com/office/drawing/2014/chart" uri="{C3380CC4-5D6E-409C-BE32-E72D297353CC}">
              <c16:uniqueId val="{0000000E-F5B5-4F00-9614-6B3316391306}"/>
            </c:ext>
          </c:extLst>
        </c:ser>
        <c:dLbls>
          <c:showLegendKey val="0"/>
          <c:showVal val="1"/>
          <c:showCatName val="0"/>
          <c:showSerName val="0"/>
          <c:showPercent val="0"/>
          <c:showBubbleSize val="0"/>
          <c:showLeaderLines val="1"/>
        </c:dLbls>
        <c:firstSliceAng val="0"/>
        <c:holeSize val="70"/>
      </c:doughnutChart>
      <c:spPr>
        <a:noFill/>
        <a:ln>
          <a:noFill/>
        </a:ln>
        <a:effectLst/>
      </c:spPr>
    </c:plotArea>
    <c:legend>
      <c:legendPos val="b"/>
      <c:layout>
        <c:manualLayout>
          <c:xMode val="edge"/>
          <c:yMode val="edge"/>
          <c:x val="0.10081008100810081"/>
          <c:y val="0.80695664950278156"/>
          <c:w val="0.81446947844390738"/>
          <c:h val="0.1147087148457587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50992887881599E-2"/>
          <c:y val="0.17938277440877301"/>
          <c:w val="0.94030882671031402"/>
          <c:h val="0.73803271160573203"/>
        </c:manualLayout>
      </c:layout>
      <c:barChart>
        <c:barDir val="col"/>
        <c:grouping val="clustered"/>
        <c:varyColors val="0"/>
        <c:ser>
          <c:idx val="0"/>
          <c:order val="0"/>
          <c:tx>
            <c:strRef>
              <c:f>Tabelle1!$B$1</c:f>
              <c:strCache>
                <c:ptCount val="1"/>
                <c:pt idx="0">
                  <c:v>Datenreihe 1</c:v>
                </c:pt>
              </c:strCache>
            </c:strRef>
          </c:tx>
          <c:spPr>
            <a:solidFill>
              <a:schemeClr val="tx2">
                <a:lumMod val="20000"/>
                <a:lumOff val="80000"/>
              </a:schemeClr>
            </a:solidFill>
            <a:ln>
              <a:noFill/>
            </a:ln>
            <a:effectLst/>
          </c:spPr>
          <c:invertIfNegative val="0"/>
          <c:dPt>
            <c:idx val="0"/>
            <c:invertIfNegative val="0"/>
            <c:bubble3D val="0"/>
            <c:spPr>
              <a:solidFill>
                <a:schemeClr val="tx2">
                  <a:lumMod val="20000"/>
                  <a:lumOff val="80000"/>
                </a:schemeClr>
              </a:solidFill>
              <a:ln>
                <a:noFill/>
              </a:ln>
              <a:effectLst/>
            </c:spPr>
            <c:extLst>
              <c:ext xmlns:c16="http://schemas.microsoft.com/office/drawing/2014/chart" uri="{C3380CC4-5D6E-409C-BE32-E72D297353CC}">
                <c16:uniqueId val="{00000000-B584-824C-AF54-1FFFD0504320}"/>
              </c:ext>
            </c:extLst>
          </c:dPt>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BE45-450B-B1ED-C3D511BCC92C}"/>
            </c:ext>
          </c:extLst>
        </c:ser>
        <c:ser>
          <c:idx val="1"/>
          <c:order val="1"/>
          <c:tx>
            <c:strRef>
              <c:f>Tabelle1!$C$1</c:f>
              <c:strCache>
                <c:ptCount val="1"/>
                <c:pt idx="0">
                  <c:v>Datenreihe 2</c:v>
                </c:pt>
              </c:strCache>
            </c:strRef>
          </c:tx>
          <c:spPr>
            <a:solidFill>
              <a:schemeClr val="tx2">
                <a:lumMod val="40000"/>
                <a:lumOff val="60000"/>
              </a:schemeClr>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BE45-450B-B1ED-C3D511BCC92C}"/>
            </c:ext>
          </c:extLst>
        </c:ser>
        <c:ser>
          <c:idx val="2"/>
          <c:order val="2"/>
          <c:tx>
            <c:strRef>
              <c:f>Tabelle1!$D$1</c:f>
              <c:strCache>
                <c:ptCount val="1"/>
                <c:pt idx="0">
                  <c:v>Datenreihe 3</c:v>
                </c:pt>
              </c:strCache>
            </c:strRef>
          </c:tx>
          <c:spPr>
            <a:solidFill>
              <a:schemeClr val="tx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BE45-450B-B1ED-C3D511BCC92C}"/>
            </c:ext>
          </c:extLst>
        </c:ser>
        <c:dLbls>
          <c:showLegendKey val="0"/>
          <c:showVal val="0"/>
          <c:showCatName val="0"/>
          <c:showSerName val="0"/>
          <c:showPercent val="0"/>
          <c:showBubbleSize val="0"/>
        </c:dLbls>
        <c:gapWidth val="300"/>
        <c:overlap val="-50"/>
        <c:axId val="-2136189424"/>
        <c:axId val="-2136186048"/>
      </c:barChart>
      <c:catAx>
        <c:axId val="-2136189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2136186048"/>
        <c:crosses val="autoZero"/>
        <c:auto val="1"/>
        <c:lblAlgn val="ctr"/>
        <c:lblOffset val="100"/>
        <c:noMultiLvlLbl val="0"/>
      </c:catAx>
      <c:valAx>
        <c:axId val="-2136186048"/>
        <c:scaling>
          <c:orientation val="minMax"/>
        </c:scaling>
        <c:delete val="0"/>
        <c:axPos val="l"/>
        <c:majorGridlines>
          <c:spPr>
            <a:ln w="3175" cap="flat" cmpd="sng" algn="ctr">
              <a:solidFill>
                <a:schemeClr val="tx1"/>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2136189424"/>
        <c:crosses val="autoZero"/>
        <c:crossBetween val="between"/>
      </c:valAx>
      <c:spPr>
        <a:noFill/>
        <a:ln>
          <a:noFill/>
        </a:ln>
        <a:effectLst/>
      </c:spPr>
    </c:plotArea>
    <c:legend>
      <c:legendPos val="b"/>
      <c:layout>
        <c:manualLayout>
          <c:xMode val="edge"/>
          <c:yMode val="edge"/>
          <c:x val="0.53968884885699298"/>
          <c:y val="3.2475250199213997E-2"/>
          <c:w val="0.44870745400367401"/>
          <c:h val="6.18643724422955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50992887881599E-2"/>
          <c:y val="0.17938277440877301"/>
          <c:w val="0.94030882671031402"/>
          <c:h val="0.73803271160573203"/>
        </c:manualLayout>
      </c:layout>
      <c:barChart>
        <c:barDir val="col"/>
        <c:grouping val="clustered"/>
        <c:varyColors val="0"/>
        <c:ser>
          <c:idx val="0"/>
          <c:order val="0"/>
          <c:tx>
            <c:strRef>
              <c:f>Tabelle1!$B$1</c:f>
              <c:strCache>
                <c:ptCount val="1"/>
                <c:pt idx="0">
                  <c:v>Datenreihe 1</c:v>
                </c:pt>
              </c:strCache>
            </c:strRef>
          </c:tx>
          <c:spPr>
            <a:solidFill>
              <a:schemeClr val="tx2">
                <a:lumMod val="20000"/>
                <a:lumOff val="80000"/>
              </a:schemeClr>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BE45-450B-B1ED-C3D511BCC92C}"/>
            </c:ext>
          </c:extLst>
        </c:ser>
        <c:ser>
          <c:idx val="1"/>
          <c:order val="1"/>
          <c:tx>
            <c:strRef>
              <c:f>Tabelle1!$C$1</c:f>
              <c:strCache>
                <c:ptCount val="1"/>
                <c:pt idx="0">
                  <c:v>Datenreihe 2</c:v>
                </c:pt>
              </c:strCache>
            </c:strRef>
          </c:tx>
          <c:spPr>
            <a:solidFill>
              <a:schemeClr val="tx2">
                <a:lumMod val="60000"/>
                <a:lumOff val="40000"/>
              </a:schemeClr>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BE45-450B-B1ED-C3D511BCC92C}"/>
            </c:ext>
          </c:extLst>
        </c:ser>
        <c:ser>
          <c:idx val="2"/>
          <c:order val="2"/>
          <c:tx>
            <c:strRef>
              <c:f>Tabelle1!$D$1</c:f>
              <c:strCache>
                <c:ptCount val="1"/>
                <c:pt idx="0">
                  <c:v>Datenreihe 3</c:v>
                </c:pt>
              </c:strCache>
            </c:strRef>
          </c:tx>
          <c:spPr>
            <a:solidFill>
              <a:schemeClr val="tx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BE45-450B-B1ED-C3D511BCC92C}"/>
            </c:ext>
          </c:extLst>
        </c:ser>
        <c:dLbls>
          <c:showLegendKey val="0"/>
          <c:showVal val="0"/>
          <c:showCatName val="0"/>
          <c:showSerName val="0"/>
          <c:showPercent val="0"/>
          <c:showBubbleSize val="0"/>
        </c:dLbls>
        <c:gapWidth val="300"/>
        <c:overlap val="-50"/>
        <c:axId val="-2136189424"/>
        <c:axId val="-2136186048"/>
      </c:barChart>
      <c:catAx>
        <c:axId val="-2136189424"/>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de-DE"/>
          </a:p>
        </c:txPr>
        <c:crossAx val="-2136186048"/>
        <c:crosses val="autoZero"/>
        <c:auto val="1"/>
        <c:lblAlgn val="ctr"/>
        <c:lblOffset val="100"/>
        <c:noMultiLvlLbl val="0"/>
      </c:catAx>
      <c:valAx>
        <c:axId val="-2136186048"/>
        <c:scaling>
          <c:orientation val="minMax"/>
        </c:scaling>
        <c:delete val="0"/>
        <c:axPos val="l"/>
        <c:majorGridlines>
          <c:spPr>
            <a:ln w="3175" cap="flat" cmpd="sng" algn="ctr">
              <a:solidFill>
                <a:schemeClr val="bg1"/>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de-DE"/>
          </a:p>
        </c:txPr>
        <c:crossAx val="-2136189424"/>
        <c:crosses val="autoZero"/>
        <c:crossBetween val="between"/>
      </c:valAx>
      <c:spPr>
        <a:noFill/>
        <a:ln>
          <a:noFill/>
        </a:ln>
        <a:effectLst/>
      </c:spPr>
    </c:plotArea>
    <c:legend>
      <c:legendPos val="b"/>
      <c:layout>
        <c:manualLayout>
          <c:xMode val="edge"/>
          <c:yMode val="edge"/>
          <c:x val="0.53968884885699298"/>
          <c:y val="3.2475250199213997E-2"/>
          <c:w val="0.44870745400367401"/>
          <c:h val="6.18643724422955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50992887881599E-2"/>
          <c:y val="0.17938277440877301"/>
          <c:w val="0.94030882671031402"/>
          <c:h val="0.73803271160573203"/>
        </c:manualLayout>
      </c:layout>
      <c:barChart>
        <c:barDir val="col"/>
        <c:grouping val="clustered"/>
        <c:varyColors val="0"/>
        <c:ser>
          <c:idx val="0"/>
          <c:order val="0"/>
          <c:tx>
            <c:strRef>
              <c:f>Tabelle1!$B$1</c:f>
              <c:strCache>
                <c:ptCount val="1"/>
                <c:pt idx="0">
                  <c:v>Datenreihe 1</c:v>
                </c:pt>
              </c:strCache>
            </c:strRef>
          </c:tx>
          <c:spPr>
            <a:solidFill>
              <a:schemeClr val="tx2">
                <a:lumMod val="20000"/>
                <a:lumOff val="80000"/>
              </a:schemeClr>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BE45-450B-B1ED-C3D511BCC92C}"/>
            </c:ext>
          </c:extLst>
        </c:ser>
        <c:ser>
          <c:idx val="1"/>
          <c:order val="1"/>
          <c:tx>
            <c:strRef>
              <c:f>Tabelle1!$C$1</c:f>
              <c:strCache>
                <c:ptCount val="1"/>
                <c:pt idx="0">
                  <c:v>Datenreihe 2</c:v>
                </c:pt>
              </c:strCache>
            </c:strRef>
          </c:tx>
          <c:spPr>
            <a:solidFill>
              <a:schemeClr val="tx2">
                <a:lumMod val="60000"/>
                <a:lumOff val="40000"/>
              </a:schemeClr>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BE45-450B-B1ED-C3D511BCC92C}"/>
            </c:ext>
          </c:extLst>
        </c:ser>
        <c:ser>
          <c:idx val="2"/>
          <c:order val="2"/>
          <c:tx>
            <c:strRef>
              <c:f>Tabelle1!$D$1</c:f>
              <c:strCache>
                <c:ptCount val="1"/>
                <c:pt idx="0">
                  <c:v>Datenreihe 3</c:v>
                </c:pt>
              </c:strCache>
            </c:strRef>
          </c:tx>
          <c:spPr>
            <a:solidFill>
              <a:schemeClr val="tx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BE45-450B-B1ED-C3D511BCC92C}"/>
            </c:ext>
          </c:extLst>
        </c:ser>
        <c:dLbls>
          <c:showLegendKey val="0"/>
          <c:showVal val="0"/>
          <c:showCatName val="0"/>
          <c:showSerName val="0"/>
          <c:showPercent val="0"/>
          <c:showBubbleSize val="0"/>
        </c:dLbls>
        <c:gapWidth val="300"/>
        <c:overlap val="-50"/>
        <c:axId val="-2136189424"/>
        <c:axId val="-2136186048"/>
      </c:barChart>
      <c:catAx>
        <c:axId val="-2136189424"/>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de-DE"/>
          </a:p>
        </c:txPr>
        <c:crossAx val="-2136186048"/>
        <c:crosses val="autoZero"/>
        <c:auto val="1"/>
        <c:lblAlgn val="ctr"/>
        <c:lblOffset val="100"/>
        <c:noMultiLvlLbl val="0"/>
      </c:catAx>
      <c:valAx>
        <c:axId val="-2136186048"/>
        <c:scaling>
          <c:orientation val="minMax"/>
        </c:scaling>
        <c:delete val="0"/>
        <c:axPos val="l"/>
        <c:majorGridlines>
          <c:spPr>
            <a:ln w="3175" cap="flat" cmpd="sng" algn="ctr">
              <a:solidFill>
                <a:schemeClr val="bg1"/>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de-DE"/>
          </a:p>
        </c:txPr>
        <c:crossAx val="-2136189424"/>
        <c:crosses val="autoZero"/>
        <c:crossBetween val="between"/>
      </c:valAx>
      <c:spPr>
        <a:noFill/>
        <a:ln>
          <a:noFill/>
        </a:ln>
        <a:effectLst/>
      </c:spPr>
    </c:plotArea>
    <c:legend>
      <c:legendPos val="b"/>
      <c:layout>
        <c:manualLayout>
          <c:xMode val="edge"/>
          <c:yMode val="edge"/>
          <c:x val="0.53968884885699298"/>
          <c:y val="3.2475250199213997E-2"/>
          <c:w val="0.44870745400367401"/>
          <c:h val="6.18643724422955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GB" dirty="0"/>
              <a:t>Diagrammtitel</a:t>
            </a:r>
          </a:p>
        </c:rich>
      </c:tx>
      <c:layout>
        <c:manualLayout>
          <c:xMode val="edge"/>
          <c:yMode val="edge"/>
          <c:x val="4.1413642482882198E-4"/>
          <c:y val="2.0583190394511099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4.1650992887881599E-2"/>
          <c:y val="0.17938277440877301"/>
          <c:w val="0.94030882671031402"/>
          <c:h val="0.73803271160573203"/>
        </c:manualLayout>
      </c:layout>
      <c:barChart>
        <c:barDir val="col"/>
        <c:grouping val="clustered"/>
        <c:varyColors val="0"/>
        <c:ser>
          <c:idx val="0"/>
          <c:order val="0"/>
          <c:tx>
            <c:strRef>
              <c:f>Tabelle1!$B$1</c:f>
              <c:strCache>
                <c:ptCount val="1"/>
                <c:pt idx="0">
                  <c:v>Datenreihe 1</c:v>
                </c:pt>
              </c:strCache>
            </c:strRef>
          </c:tx>
          <c:spPr>
            <a:solidFill>
              <a:schemeClr val="accent1"/>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4A7F-4B5E-8AAF-5CEF5C3DC90A}"/>
            </c:ext>
          </c:extLst>
        </c:ser>
        <c:ser>
          <c:idx val="1"/>
          <c:order val="1"/>
          <c:tx>
            <c:strRef>
              <c:f>Tabelle1!$C$1</c:f>
              <c:strCache>
                <c:ptCount val="1"/>
                <c:pt idx="0">
                  <c:v>Datenreihe 2</c:v>
                </c:pt>
              </c:strCache>
            </c:strRef>
          </c:tx>
          <c:spPr>
            <a:solidFill>
              <a:schemeClr val="accent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4A7F-4B5E-8AAF-5CEF5C3DC90A}"/>
            </c:ext>
          </c:extLst>
        </c:ser>
        <c:ser>
          <c:idx val="2"/>
          <c:order val="2"/>
          <c:tx>
            <c:strRef>
              <c:f>Tabelle1!$D$1</c:f>
              <c:strCache>
                <c:ptCount val="1"/>
                <c:pt idx="0">
                  <c:v>Datenreihe 3</c:v>
                </c:pt>
              </c:strCache>
            </c:strRef>
          </c:tx>
          <c:spPr>
            <a:solidFill>
              <a:schemeClr val="accent3"/>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4A7F-4B5E-8AAF-5CEF5C3DC90A}"/>
            </c:ext>
          </c:extLst>
        </c:ser>
        <c:dLbls>
          <c:showLegendKey val="0"/>
          <c:showVal val="0"/>
          <c:showCatName val="0"/>
          <c:showSerName val="0"/>
          <c:showPercent val="0"/>
          <c:showBubbleSize val="0"/>
        </c:dLbls>
        <c:gapWidth val="300"/>
        <c:overlap val="-50"/>
        <c:axId val="-2136189424"/>
        <c:axId val="-2136186048"/>
      </c:barChart>
      <c:catAx>
        <c:axId val="-2136189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de-DE"/>
          </a:p>
        </c:txPr>
        <c:crossAx val="-2136186048"/>
        <c:crosses val="autoZero"/>
        <c:auto val="1"/>
        <c:lblAlgn val="ctr"/>
        <c:lblOffset val="100"/>
        <c:noMultiLvlLbl val="0"/>
      </c:catAx>
      <c:valAx>
        <c:axId val="-2136186048"/>
        <c:scaling>
          <c:orientation val="minMax"/>
        </c:scaling>
        <c:delete val="0"/>
        <c:axPos val="l"/>
        <c:majorGridlines>
          <c:spPr>
            <a:ln w="3175" cap="flat" cmpd="sng" algn="ctr">
              <a:solidFill>
                <a:schemeClr val="tx1"/>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de-DE"/>
          </a:p>
        </c:txPr>
        <c:crossAx val="-2136189424"/>
        <c:crosses val="autoZero"/>
        <c:crossBetween val="between"/>
      </c:valAx>
      <c:spPr>
        <a:noFill/>
        <a:ln>
          <a:noFill/>
        </a:ln>
        <a:effectLst/>
      </c:spPr>
    </c:plotArea>
    <c:legend>
      <c:legendPos val="b"/>
      <c:layout>
        <c:manualLayout>
          <c:xMode val="edge"/>
          <c:yMode val="edge"/>
          <c:x val="0.53968884885699298"/>
          <c:y val="3.2475250199213997E-2"/>
          <c:w val="0.44870745400367401"/>
          <c:h val="6.18643724422955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sz="1400" dirty="0">
                <a:solidFill>
                  <a:schemeClr val="tx1"/>
                </a:solidFill>
              </a:rPr>
              <a:t>Diagrammtite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0.19166036205595199"/>
          <c:y val="0.19559190178414662"/>
          <c:w val="0.61667898139479671"/>
          <c:h val="0.56564173903647974"/>
        </c:manualLayout>
      </c:layout>
      <c:doughnutChart>
        <c:varyColors val="1"/>
        <c:ser>
          <c:idx val="0"/>
          <c:order val="0"/>
          <c:tx>
            <c:strRef>
              <c:f>Tabelle1!$B$1</c:f>
              <c:strCache>
                <c:ptCount val="1"/>
                <c:pt idx="0">
                  <c:v>Verkauf</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D792-45CC-963D-6EBC233DCA75}"/>
              </c:ext>
            </c:extLst>
          </c:dPt>
          <c:dPt>
            <c:idx val="1"/>
            <c:bubble3D val="0"/>
            <c:spPr>
              <a:solidFill>
                <a:schemeClr val="accent2"/>
              </a:solidFill>
              <a:ln w="19050">
                <a:noFill/>
              </a:ln>
              <a:effectLst/>
            </c:spPr>
            <c:extLst>
              <c:ext xmlns:c16="http://schemas.microsoft.com/office/drawing/2014/chart" uri="{C3380CC4-5D6E-409C-BE32-E72D297353CC}">
                <c16:uniqueId val="{00000003-D792-45CC-963D-6EBC233DCA75}"/>
              </c:ext>
            </c:extLst>
          </c:dPt>
          <c:dPt>
            <c:idx val="2"/>
            <c:bubble3D val="0"/>
            <c:spPr>
              <a:solidFill>
                <a:schemeClr val="accent3"/>
              </a:solidFill>
              <a:ln w="19050">
                <a:noFill/>
              </a:ln>
              <a:effectLst/>
            </c:spPr>
            <c:extLst>
              <c:ext xmlns:c16="http://schemas.microsoft.com/office/drawing/2014/chart" uri="{C3380CC4-5D6E-409C-BE32-E72D297353CC}">
                <c16:uniqueId val="{00000005-D792-45CC-963D-6EBC233DCA75}"/>
              </c:ext>
            </c:extLst>
          </c:dPt>
          <c:dPt>
            <c:idx val="3"/>
            <c:bubble3D val="0"/>
            <c:spPr>
              <a:solidFill>
                <a:schemeClr val="accent4"/>
              </a:solidFill>
              <a:ln w="19050">
                <a:noFill/>
              </a:ln>
              <a:effectLst/>
            </c:spPr>
            <c:extLst>
              <c:ext xmlns:c16="http://schemas.microsoft.com/office/drawing/2014/chart" uri="{C3380CC4-5D6E-409C-BE32-E72D297353CC}">
                <c16:uniqueId val="{00000007-D792-45CC-963D-6EBC233DCA75}"/>
              </c:ext>
            </c:extLst>
          </c:dPt>
          <c:dPt>
            <c:idx val="4"/>
            <c:bubble3D val="0"/>
            <c:spPr>
              <a:solidFill>
                <a:schemeClr val="accent5"/>
              </a:solidFill>
              <a:ln w="19050">
                <a:noFill/>
              </a:ln>
              <a:effectLst/>
            </c:spPr>
            <c:extLst>
              <c:ext xmlns:c16="http://schemas.microsoft.com/office/drawing/2014/chart" uri="{C3380CC4-5D6E-409C-BE32-E72D297353CC}">
                <c16:uniqueId val="{0000000A-6125-4200-AB49-B32C83FE5E36}"/>
              </c:ext>
            </c:extLst>
          </c:dPt>
          <c:dPt>
            <c:idx val="5"/>
            <c:bubble3D val="0"/>
            <c:spPr>
              <a:solidFill>
                <a:schemeClr val="accent6"/>
              </a:solidFill>
              <a:ln w="19050">
                <a:noFill/>
              </a:ln>
              <a:effectLst/>
            </c:spPr>
            <c:extLst>
              <c:ext xmlns:c16="http://schemas.microsoft.com/office/drawing/2014/chart" uri="{C3380CC4-5D6E-409C-BE32-E72D297353CC}">
                <c16:uniqueId val="{00000009-6125-4200-AB49-B32C83FE5E36}"/>
              </c:ext>
            </c:extLst>
          </c:dPt>
          <c:dPt>
            <c:idx val="6"/>
            <c:bubble3D val="0"/>
            <c:spPr>
              <a:solidFill>
                <a:schemeClr val="accent1">
                  <a:lumMod val="60000"/>
                </a:schemeClr>
              </a:solidFill>
              <a:ln w="19050">
                <a:noFill/>
              </a:ln>
              <a:effectLst/>
            </c:spPr>
            <c:extLst>
              <c:ext xmlns:c16="http://schemas.microsoft.com/office/drawing/2014/chart" uri="{C3380CC4-5D6E-409C-BE32-E72D297353CC}">
                <c16:uniqueId val="{0000000D-AB7F-42A7-B4E3-AA16101D4227}"/>
              </c:ext>
            </c:extLst>
          </c:dPt>
          <c:dLbls>
            <c:delete val="1"/>
          </c:dLbls>
          <c:cat>
            <c:strRef>
              <c:f>Tabelle1!$A$2:$A$8</c:f>
              <c:strCache>
                <c:ptCount val="6"/>
                <c:pt idx="0">
                  <c:v>1. Quartal</c:v>
                </c:pt>
                <c:pt idx="1">
                  <c:v>2. Quartal</c:v>
                </c:pt>
                <c:pt idx="2">
                  <c:v>3. Quartal</c:v>
                </c:pt>
                <c:pt idx="3">
                  <c:v>4. Quartal</c:v>
                </c:pt>
                <c:pt idx="4">
                  <c:v>5. Quartal</c:v>
                </c:pt>
                <c:pt idx="5">
                  <c:v>6. Quartal</c:v>
                </c:pt>
              </c:strCache>
            </c:strRef>
          </c:cat>
          <c:val>
            <c:numRef>
              <c:f>Tabelle1!$B$2:$B$8</c:f>
              <c:numCache>
                <c:formatCode>General</c:formatCode>
                <c:ptCount val="7"/>
                <c:pt idx="0">
                  <c:v>8.1999999999999993</c:v>
                </c:pt>
                <c:pt idx="1">
                  <c:v>3.2</c:v>
                </c:pt>
                <c:pt idx="2">
                  <c:v>1.4</c:v>
                </c:pt>
                <c:pt idx="3">
                  <c:v>1.2</c:v>
                </c:pt>
                <c:pt idx="4">
                  <c:v>1</c:v>
                </c:pt>
                <c:pt idx="5">
                  <c:v>0.6</c:v>
                </c:pt>
              </c:numCache>
            </c:numRef>
          </c:val>
          <c:extLst>
            <c:ext xmlns:c16="http://schemas.microsoft.com/office/drawing/2014/chart" uri="{C3380CC4-5D6E-409C-BE32-E72D297353CC}">
              <c16:uniqueId val="{00000000-93ED-4AC1-A26C-7C7FB0565AF5}"/>
            </c:ext>
          </c:extLst>
        </c:ser>
        <c:dLbls>
          <c:showLegendKey val="0"/>
          <c:showVal val="1"/>
          <c:showCatName val="0"/>
          <c:showSerName val="0"/>
          <c:showPercent val="0"/>
          <c:showBubbleSize val="0"/>
          <c:showLeaderLines val="1"/>
        </c:dLbls>
        <c:firstSliceAng val="0"/>
        <c:holeSize val="70"/>
      </c:doughnutChart>
      <c:spPr>
        <a:noFill/>
        <a:ln>
          <a:noFill/>
        </a:ln>
        <a:effectLst/>
      </c:spPr>
    </c:plotArea>
    <c:legend>
      <c:legendPos val="b"/>
      <c:layout>
        <c:manualLayout>
          <c:xMode val="edge"/>
          <c:yMode val="edge"/>
          <c:x val="0.17204298541993099"/>
          <c:y val="0.84766899420591302"/>
          <c:w val="0.65965409406057096"/>
          <c:h val="0.12488675193473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Kopfzeilenplatzhalter 1">
            <a:extLst>
              <a:ext uri="{FF2B5EF4-FFF2-40B4-BE49-F238E27FC236}">
                <a16:creationId xmlns:a16="http://schemas.microsoft.com/office/drawing/2014/main" id="{2877F29E-9461-4542-B66F-9F0F44D15659}"/>
              </a:ext>
            </a:extLst>
          </p:cNvPr>
          <p:cNvSpPr>
            <a:spLocks noGrp="1"/>
          </p:cNvSpPr>
          <p:nvPr>
            <p:ph type="hdr" sz="quarter"/>
          </p:nvPr>
        </p:nvSpPr>
        <p:spPr bwMode="gray">
          <a:xfrm>
            <a:off x="0" y="0"/>
            <a:ext cx="6858000" cy="756000"/>
          </a:xfrm>
          <a:prstGeom prst="rect">
            <a:avLst/>
          </a:prstGeom>
        </p:spPr>
        <p:txBody>
          <a:bodyPr vert="horz" lIns="288000" tIns="288000" rIns="288000" bIns="0" rtlCol="0"/>
          <a:lstStyle>
            <a:lvl1pPr algn="l">
              <a:defRPr sz="1000" b="1" cap="all" baseline="0">
                <a:solidFill>
                  <a:schemeClr val="tx2"/>
                </a:solidFill>
              </a:defRPr>
            </a:lvl1pPr>
          </a:lstStyle>
          <a:p>
            <a:endParaRPr lang="de-DE" b="1" dirty="0"/>
          </a:p>
        </p:txBody>
      </p:sp>
      <p:sp>
        <p:nvSpPr>
          <p:cNvPr id="7" name="Datumsplatzhalter 2">
            <a:extLst>
              <a:ext uri="{FF2B5EF4-FFF2-40B4-BE49-F238E27FC236}">
                <a16:creationId xmlns:a16="http://schemas.microsoft.com/office/drawing/2014/main" id="{C105D813-8EB8-4148-A9DA-F78F82AFE49A}"/>
              </a:ext>
            </a:extLst>
          </p:cNvPr>
          <p:cNvSpPr>
            <a:spLocks noGrp="1"/>
          </p:cNvSpPr>
          <p:nvPr>
            <p:ph type="dt" idx="1"/>
          </p:nvPr>
        </p:nvSpPr>
        <p:spPr bwMode="gray">
          <a:xfrm>
            <a:off x="4876200" y="8316001"/>
            <a:ext cx="1296000" cy="828000"/>
          </a:xfrm>
          <a:prstGeom prst="rect">
            <a:avLst/>
          </a:prstGeom>
        </p:spPr>
        <p:txBody>
          <a:bodyPr vert="horz" lIns="0" tIns="0" rIns="0" bIns="288000" rtlCol="0" anchor="b"/>
          <a:lstStyle>
            <a:lvl1pPr algn="r">
              <a:defRPr sz="1000"/>
            </a:lvl1pPr>
          </a:lstStyle>
          <a:p>
            <a:fld id="{C71A0B7E-3B2E-4763-999B-73B64B53BF2F}" type="datetimeFigureOut">
              <a:rPr lang="de-DE" smtClean="0"/>
              <a:pPr/>
              <a:t>29.09.25</a:t>
            </a:fld>
            <a:endParaRPr lang="de-DE" sz="1000" dirty="0"/>
          </a:p>
        </p:txBody>
      </p:sp>
      <p:sp>
        <p:nvSpPr>
          <p:cNvPr id="8" name="Fußzeilenplatzhalter 5">
            <a:extLst>
              <a:ext uri="{FF2B5EF4-FFF2-40B4-BE49-F238E27FC236}">
                <a16:creationId xmlns:a16="http://schemas.microsoft.com/office/drawing/2014/main" id="{0B3E8A53-49A0-4F23-9F8B-A7531EC4D1E6}"/>
              </a:ext>
            </a:extLst>
          </p:cNvPr>
          <p:cNvSpPr>
            <a:spLocks noGrp="1"/>
          </p:cNvSpPr>
          <p:nvPr>
            <p:ph type="ftr" sz="quarter" idx="2"/>
          </p:nvPr>
        </p:nvSpPr>
        <p:spPr bwMode="gray">
          <a:xfrm>
            <a:off x="0" y="8316001"/>
            <a:ext cx="4653000" cy="828000"/>
          </a:xfrm>
          <a:prstGeom prst="rect">
            <a:avLst/>
          </a:prstGeom>
        </p:spPr>
        <p:txBody>
          <a:bodyPr vert="horz" lIns="288000" tIns="0" rIns="0" bIns="288000" rtlCol="0" anchor="b"/>
          <a:lstStyle>
            <a:lvl1pPr algn="l">
              <a:defRPr sz="1000"/>
            </a:lvl1pPr>
          </a:lstStyle>
          <a:p>
            <a:endParaRPr lang="de-DE" sz="1000" dirty="0"/>
          </a:p>
        </p:txBody>
      </p:sp>
      <p:sp>
        <p:nvSpPr>
          <p:cNvPr id="9" name="Foliennummernplatzhalter 6">
            <a:extLst>
              <a:ext uri="{FF2B5EF4-FFF2-40B4-BE49-F238E27FC236}">
                <a16:creationId xmlns:a16="http://schemas.microsoft.com/office/drawing/2014/main" id="{6CD34C60-E16E-4EA9-8625-17293AA9E663}"/>
              </a:ext>
            </a:extLst>
          </p:cNvPr>
          <p:cNvSpPr>
            <a:spLocks noGrp="1"/>
          </p:cNvSpPr>
          <p:nvPr>
            <p:ph type="sldNum" sz="quarter" idx="3"/>
          </p:nvPr>
        </p:nvSpPr>
        <p:spPr bwMode="gray">
          <a:xfrm>
            <a:off x="6192000" y="8316001"/>
            <a:ext cx="666000" cy="828000"/>
          </a:xfrm>
          <a:prstGeom prst="rect">
            <a:avLst/>
          </a:prstGeom>
        </p:spPr>
        <p:txBody>
          <a:bodyPr vert="horz" lIns="0" tIns="0" rIns="288000" bIns="288000" rtlCol="0" anchor="b"/>
          <a:lstStyle>
            <a:lvl1pPr algn="r">
              <a:defRPr sz="1000"/>
            </a:lvl1pPr>
          </a:lstStyle>
          <a:p>
            <a:fld id="{692AF0E4-6C31-4385-B6FA-2583C0DD0FDF}" type="slidenum">
              <a:rPr lang="de-DE" smtClean="0"/>
              <a:pPr/>
              <a:t>‹Nr.›</a:t>
            </a:fld>
            <a:endParaRPr lang="de-DE" sz="1000" dirty="0"/>
          </a:p>
        </p:txBody>
      </p:sp>
    </p:spTree>
    <p:extLst>
      <p:ext uri="{BB962C8B-B14F-4D97-AF65-F5344CB8AC3E}">
        <p14:creationId xmlns:p14="http://schemas.microsoft.com/office/powerpoint/2010/main" val="3539178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0" y="0"/>
            <a:ext cx="6858000" cy="756000"/>
          </a:xfrm>
          <a:prstGeom prst="rect">
            <a:avLst/>
          </a:prstGeom>
        </p:spPr>
        <p:txBody>
          <a:bodyPr vert="horz" lIns="288000" tIns="288000" rIns="288000" bIns="0" rtlCol="0"/>
          <a:lstStyle>
            <a:lvl1pPr algn="l">
              <a:defRPr sz="1000" b="1" cap="all" baseline="0">
                <a:solidFill>
                  <a:schemeClr val="tx2"/>
                </a:solidFill>
              </a:defRPr>
            </a:lvl1pPr>
          </a:lstStyle>
          <a:p>
            <a:endParaRPr lang="de-DE" b="1" dirty="0"/>
          </a:p>
        </p:txBody>
      </p:sp>
      <p:sp>
        <p:nvSpPr>
          <p:cNvPr id="3" name="Datumsplatzhalter 2"/>
          <p:cNvSpPr>
            <a:spLocks noGrp="1"/>
          </p:cNvSpPr>
          <p:nvPr>
            <p:ph type="dt" idx="1"/>
          </p:nvPr>
        </p:nvSpPr>
        <p:spPr bwMode="gray">
          <a:xfrm>
            <a:off x="4876200" y="8316001"/>
            <a:ext cx="1296000" cy="828000"/>
          </a:xfrm>
          <a:prstGeom prst="rect">
            <a:avLst/>
          </a:prstGeom>
        </p:spPr>
        <p:txBody>
          <a:bodyPr vert="horz" lIns="0" tIns="0" rIns="0" bIns="288000" rtlCol="0" anchor="b"/>
          <a:lstStyle>
            <a:lvl1pPr algn="r">
              <a:defRPr sz="1000"/>
            </a:lvl1pPr>
          </a:lstStyle>
          <a:p>
            <a:fld id="{C71A0B7E-3B2E-4763-999B-73B64B53BF2F}" type="datetimeFigureOut">
              <a:rPr lang="de-DE" smtClean="0"/>
              <a:pPr/>
              <a:t>29.09.25</a:t>
            </a:fld>
            <a:endParaRPr lang="de-DE" sz="1000" dirty="0"/>
          </a:p>
        </p:txBody>
      </p:sp>
      <p:sp>
        <p:nvSpPr>
          <p:cNvPr id="4" name="Folienbildplatzhalter 3"/>
          <p:cNvSpPr>
            <a:spLocks noGrp="1" noRot="1" noChangeAspect="1"/>
          </p:cNvSpPr>
          <p:nvPr>
            <p:ph type="sldImg" idx="2"/>
          </p:nvPr>
        </p:nvSpPr>
        <p:spPr bwMode="gray">
          <a:xfrm>
            <a:off x="685800" y="1143000"/>
            <a:ext cx="5486400" cy="3086100"/>
          </a:xfrm>
          <a:prstGeom prst="rect">
            <a:avLst/>
          </a:prstGeom>
          <a:noFill/>
          <a:ln w="12700">
            <a:solidFill>
              <a:schemeClr val="bg2"/>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bwMode="gray">
          <a:xfrm>
            <a:off x="685800" y="4400550"/>
            <a:ext cx="5486400" cy="3600450"/>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a:t>
            </a:r>
          </a:p>
          <a:p>
            <a:pPr lvl="6"/>
            <a:r>
              <a:rPr lang="de-DE" dirty="0"/>
              <a:t>Sieben </a:t>
            </a:r>
          </a:p>
          <a:p>
            <a:pPr lvl="7"/>
            <a:r>
              <a:rPr lang="de-DE" dirty="0"/>
              <a:t>Acht</a:t>
            </a:r>
          </a:p>
          <a:p>
            <a:pPr lvl="8"/>
            <a:r>
              <a:rPr lang="de-DE" dirty="0"/>
              <a:t>Neun</a:t>
            </a:r>
          </a:p>
        </p:txBody>
      </p:sp>
      <p:sp>
        <p:nvSpPr>
          <p:cNvPr id="6" name="Fußzeilenplatzhalter 5"/>
          <p:cNvSpPr>
            <a:spLocks noGrp="1"/>
          </p:cNvSpPr>
          <p:nvPr>
            <p:ph type="ftr" sz="quarter" idx="4"/>
          </p:nvPr>
        </p:nvSpPr>
        <p:spPr bwMode="gray">
          <a:xfrm>
            <a:off x="0" y="8316001"/>
            <a:ext cx="4653000" cy="828000"/>
          </a:xfrm>
          <a:prstGeom prst="rect">
            <a:avLst/>
          </a:prstGeom>
        </p:spPr>
        <p:txBody>
          <a:bodyPr vert="horz" lIns="288000" tIns="0" rIns="0" bIns="288000" rtlCol="0" anchor="b"/>
          <a:lstStyle>
            <a:lvl1pPr algn="l">
              <a:defRPr sz="1000"/>
            </a:lvl1pPr>
          </a:lstStyle>
          <a:p>
            <a:endParaRPr lang="de-DE" sz="1000" dirty="0"/>
          </a:p>
        </p:txBody>
      </p:sp>
      <p:sp>
        <p:nvSpPr>
          <p:cNvPr id="7" name="Foliennummernplatzhalter 6"/>
          <p:cNvSpPr>
            <a:spLocks noGrp="1"/>
          </p:cNvSpPr>
          <p:nvPr>
            <p:ph type="sldNum" sz="quarter" idx="5"/>
          </p:nvPr>
        </p:nvSpPr>
        <p:spPr bwMode="gray">
          <a:xfrm>
            <a:off x="6192000" y="8316001"/>
            <a:ext cx="666000" cy="828000"/>
          </a:xfrm>
          <a:prstGeom prst="rect">
            <a:avLst/>
          </a:prstGeom>
        </p:spPr>
        <p:txBody>
          <a:bodyPr vert="horz" lIns="0" tIns="0" rIns="288000" bIns="288000" rtlCol="0" anchor="b"/>
          <a:lstStyle>
            <a:lvl1pPr algn="r">
              <a:defRPr sz="1000"/>
            </a:lvl1pPr>
          </a:lstStyle>
          <a:p>
            <a:fld id="{692AF0E4-6C31-4385-B6FA-2583C0DD0FDF}" type="slidenum">
              <a:rPr lang="de-DE" smtClean="0"/>
              <a:pPr/>
              <a:t>‹Nr.›</a:t>
            </a:fld>
            <a:endParaRPr lang="de-DE" sz="1000" dirty="0"/>
          </a:p>
        </p:txBody>
      </p:sp>
    </p:spTree>
    <p:extLst>
      <p:ext uri="{BB962C8B-B14F-4D97-AF65-F5344CB8AC3E}">
        <p14:creationId xmlns:p14="http://schemas.microsoft.com/office/powerpoint/2010/main" val="1111251238"/>
      </p:ext>
    </p:extLst>
  </p:cSld>
  <p:clrMap bg1="lt1" tx1="dk1" bg2="lt2" tx2="dk2" accent1="accent1" accent2="accent2" accent3="accent3" accent4="accent4" accent5="accent5" accent6="accent6" hlink="hlink" folHlink="folHlink"/>
  <p:notesStyle>
    <a:lvl1pPr marL="144000" indent="-144000" algn="l" defTabSz="914400" rtl="0" eaLnBrk="1" latinLnBrk="0" hangingPunct="1">
      <a:lnSpc>
        <a:spcPct val="112000"/>
      </a:lnSpc>
      <a:spcBef>
        <a:spcPts val="200"/>
      </a:spcBef>
      <a:spcAft>
        <a:spcPts val="200"/>
      </a:spcAft>
      <a:buFont typeface="Wingdings" panose="05000000000000000000" pitchFamily="2" charset="2"/>
      <a:buChar char=""/>
      <a:defRPr sz="1200" kern="1200">
        <a:solidFill>
          <a:schemeClr val="tx1"/>
        </a:solidFill>
        <a:latin typeface="+mn-lt"/>
        <a:ea typeface="+mn-ea"/>
        <a:cs typeface="+mn-cs"/>
      </a:defRPr>
    </a:lvl1pPr>
    <a:lvl2pPr marL="0" indent="0" algn="l" defTabSz="914400" rtl="0" eaLnBrk="1" latinLnBrk="0" hangingPunct="1">
      <a:lnSpc>
        <a:spcPct val="112000"/>
      </a:lnSpc>
      <a:spcBef>
        <a:spcPts val="200"/>
      </a:spcBef>
      <a:spcAft>
        <a:spcPts val="200"/>
      </a:spcAft>
      <a:buFont typeface="Wingdings" panose="05000000000000000000" pitchFamily="2" charset="2"/>
      <a:buNone/>
      <a:defRPr sz="1200" kern="1200">
        <a:solidFill>
          <a:schemeClr val="tx1"/>
        </a:solidFill>
        <a:latin typeface="+mn-lt"/>
        <a:ea typeface="+mn-ea"/>
        <a:cs typeface="+mn-cs"/>
      </a:defRPr>
    </a:lvl2pPr>
    <a:lvl3pPr marL="0" indent="0" algn="l" defTabSz="914400" rtl="0" eaLnBrk="1" latinLnBrk="0" hangingPunct="1">
      <a:lnSpc>
        <a:spcPct val="112000"/>
      </a:lnSpc>
      <a:spcBef>
        <a:spcPts val="800"/>
      </a:spcBef>
      <a:spcAft>
        <a:spcPts val="200"/>
      </a:spcAft>
      <a:buSzPct val="115000"/>
      <a:buFont typeface="Wingdings" panose="05000000000000000000" pitchFamily="2" charset="2"/>
      <a:buNone/>
      <a:defRPr sz="1200" b="1" kern="1200">
        <a:solidFill>
          <a:schemeClr val="tx1"/>
        </a:solidFill>
        <a:latin typeface="+mn-lt"/>
        <a:ea typeface="+mn-ea"/>
        <a:cs typeface="+mn-cs"/>
      </a:defRPr>
    </a:lvl3pPr>
    <a:lvl4pPr marL="288000" indent="-144000" algn="l" defTabSz="914400" rtl="0" eaLnBrk="1" latinLnBrk="0" hangingPunct="1">
      <a:lnSpc>
        <a:spcPct val="112000"/>
      </a:lnSpc>
      <a:spcBef>
        <a:spcPts val="200"/>
      </a:spcBef>
      <a:spcAft>
        <a:spcPts val="200"/>
      </a:spcAft>
      <a:buSzPct val="115000"/>
      <a:buFont typeface="Wingdings" panose="05000000000000000000" pitchFamily="2" charset="2"/>
      <a:buChar char=""/>
      <a:defRPr sz="1200" kern="1200">
        <a:solidFill>
          <a:schemeClr val="tx1"/>
        </a:solidFill>
        <a:latin typeface="+mn-lt"/>
        <a:ea typeface="+mn-ea"/>
        <a:cs typeface="+mn-cs"/>
      </a:defRPr>
    </a:lvl4pPr>
    <a:lvl5pPr marL="432000" indent="-144000" algn="l" defTabSz="914400" rtl="0" eaLnBrk="1" latinLnBrk="0" hangingPunct="1">
      <a:lnSpc>
        <a:spcPct val="112000"/>
      </a:lnSpc>
      <a:spcBef>
        <a:spcPts val="200"/>
      </a:spcBef>
      <a:spcAft>
        <a:spcPts val="200"/>
      </a:spcAft>
      <a:buSzPct val="115000"/>
      <a:buFont typeface="Wingdings" panose="05000000000000000000" pitchFamily="2" charset="2"/>
      <a:buChar char=""/>
      <a:defRPr sz="1200" kern="1200">
        <a:solidFill>
          <a:schemeClr val="tx1"/>
        </a:solidFill>
        <a:latin typeface="+mn-lt"/>
        <a:ea typeface="+mn-ea"/>
        <a:cs typeface="+mn-cs"/>
      </a:defRPr>
    </a:lvl5pPr>
    <a:lvl6pPr marL="432000" indent="-144000" algn="l" defTabSz="914400" rtl="0" eaLnBrk="1" latinLnBrk="0" hangingPunct="1">
      <a:lnSpc>
        <a:spcPct val="112000"/>
      </a:lnSpc>
      <a:spcBef>
        <a:spcPts val="200"/>
      </a:spcBef>
      <a:spcAft>
        <a:spcPts val="200"/>
      </a:spcAft>
      <a:buSzPct val="115000"/>
      <a:buFont typeface="Wingdings" panose="05000000000000000000" pitchFamily="2" charset="2"/>
      <a:buChar char=""/>
      <a:defRPr sz="1200" kern="1200">
        <a:solidFill>
          <a:schemeClr val="tx1"/>
        </a:solidFill>
        <a:latin typeface="+mn-lt"/>
        <a:ea typeface="+mn-ea"/>
        <a:cs typeface="+mn-cs"/>
      </a:defRPr>
    </a:lvl6pPr>
    <a:lvl7pPr marL="432000" indent="-144000" algn="l" defTabSz="914400" rtl="0" eaLnBrk="1" latinLnBrk="0" hangingPunct="1">
      <a:lnSpc>
        <a:spcPct val="112000"/>
      </a:lnSpc>
      <a:spcBef>
        <a:spcPts val="200"/>
      </a:spcBef>
      <a:spcAft>
        <a:spcPts val="200"/>
      </a:spcAft>
      <a:buSzPct val="115000"/>
      <a:buFont typeface="Wingdings" panose="05000000000000000000" pitchFamily="2" charset="2"/>
      <a:buChar char=""/>
      <a:defRPr sz="1200" kern="1200">
        <a:solidFill>
          <a:schemeClr val="tx1"/>
        </a:solidFill>
        <a:latin typeface="+mn-lt"/>
        <a:ea typeface="+mn-ea"/>
        <a:cs typeface="+mn-cs"/>
      </a:defRPr>
    </a:lvl7pPr>
    <a:lvl8pPr marL="432000" indent="-144000" algn="l" defTabSz="914400" rtl="0" eaLnBrk="1" latinLnBrk="0" hangingPunct="1">
      <a:lnSpc>
        <a:spcPct val="112000"/>
      </a:lnSpc>
      <a:spcBef>
        <a:spcPts val="200"/>
      </a:spcBef>
      <a:spcAft>
        <a:spcPts val="200"/>
      </a:spcAft>
      <a:buSzPct val="115000"/>
      <a:buFont typeface="Wingdings" panose="05000000000000000000" pitchFamily="2" charset="2"/>
      <a:buChar char=""/>
      <a:defRPr sz="1200" kern="1200">
        <a:solidFill>
          <a:schemeClr val="tx1"/>
        </a:solidFill>
        <a:latin typeface="+mn-lt"/>
        <a:ea typeface="+mn-ea"/>
        <a:cs typeface="+mn-cs"/>
      </a:defRPr>
    </a:lvl8pPr>
    <a:lvl9pPr marL="432000" indent="-144000" algn="l" defTabSz="914400" rtl="0" eaLnBrk="1" latinLnBrk="0" hangingPunct="1">
      <a:lnSpc>
        <a:spcPct val="112000"/>
      </a:lnSpc>
      <a:spcBef>
        <a:spcPts val="200"/>
      </a:spcBef>
      <a:spcAft>
        <a:spcPts val="200"/>
      </a:spcAft>
      <a:buSzPct val="115000"/>
      <a:buFont typeface="Wingdings" panose="05000000000000000000" pitchFamily="2" charset="2"/>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92" name="Rectangle 8"/>
          <p:cNvSpPr>
            <a:spLocks noGrp="1" noRot="1" noChangeAspect="1" noChangeArrowheads="1" noTextEdit="1"/>
          </p:cNvSpPr>
          <p:nvPr>
            <p:ph type="sldImg"/>
          </p:nvPr>
        </p:nvSpPr>
        <p:spPr>
          <a:xfrm>
            <a:off x="2303463" y="306388"/>
            <a:ext cx="5627687" cy="3165475"/>
          </a:xfrm>
          <a:ln/>
        </p:spPr>
      </p:sp>
      <p:sp>
        <p:nvSpPr>
          <p:cNvPr id="169993" name="Rectangle 9"/>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Tree>
    <p:extLst>
      <p:ext uri="{BB962C8B-B14F-4D97-AF65-F5344CB8AC3E}">
        <p14:creationId xmlns:p14="http://schemas.microsoft.com/office/powerpoint/2010/main" val="21223458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92AF0E4-6C31-4385-B6FA-2583C0DD0FDF}" type="slidenum">
              <a:rPr lang="de-DE" smtClean="0"/>
              <a:pPr/>
              <a:t>69</a:t>
            </a:fld>
            <a:endParaRPr lang="de-DE" sz="1000" dirty="0"/>
          </a:p>
        </p:txBody>
      </p:sp>
    </p:spTree>
    <p:extLst>
      <p:ext uri="{BB962C8B-B14F-4D97-AF65-F5344CB8AC3E}">
        <p14:creationId xmlns:p14="http://schemas.microsoft.com/office/powerpoint/2010/main" val="2085364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49550" y="531813"/>
            <a:ext cx="4735513" cy="26638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499120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49550" y="531813"/>
            <a:ext cx="4735513" cy="26638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834409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49550" y="531813"/>
            <a:ext cx="4735513" cy="26638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217678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49550" y="531813"/>
            <a:ext cx="4735513" cy="26638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549270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49550" y="531813"/>
            <a:ext cx="4735513" cy="26638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165901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49550" y="531813"/>
            <a:ext cx="4735513" cy="26638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896405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49550" y="531813"/>
            <a:ext cx="4735513" cy="26638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42527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49550" y="531813"/>
            <a:ext cx="4735513" cy="26638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341984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49550" y="531813"/>
            <a:ext cx="4735513" cy="26638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331195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92" name="Rectangle 8"/>
          <p:cNvSpPr>
            <a:spLocks noGrp="1" noRot="1" noChangeAspect="1" noChangeArrowheads="1" noTextEdit="1"/>
          </p:cNvSpPr>
          <p:nvPr>
            <p:ph type="sldImg"/>
          </p:nvPr>
        </p:nvSpPr>
        <p:spPr>
          <a:xfrm>
            <a:off x="2303463" y="306388"/>
            <a:ext cx="5627687" cy="3165475"/>
          </a:xfrm>
          <a:ln/>
        </p:spPr>
      </p:sp>
      <p:sp>
        <p:nvSpPr>
          <p:cNvPr id="169993" name="Rectangle 9"/>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Tree>
    <p:extLst>
      <p:ext uri="{BB962C8B-B14F-4D97-AF65-F5344CB8AC3E}">
        <p14:creationId xmlns:p14="http://schemas.microsoft.com/office/powerpoint/2010/main" val="42532167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49550" y="531813"/>
            <a:ext cx="4735513" cy="26638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25879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303463" y="306388"/>
            <a:ext cx="5627687" cy="316547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132203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303463" y="306388"/>
            <a:ext cx="5627687" cy="316547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860044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303463" y="306388"/>
            <a:ext cx="5627687" cy="316547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031522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51138" y="533400"/>
            <a:ext cx="4733925" cy="2662238"/>
          </a:xfrm>
        </p:spPr>
      </p:sp>
      <p:sp>
        <p:nvSpPr>
          <p:cNvPr id="3" name="Notizenplatzhalt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501837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51138" y="533400"/>
            <a:ext cx="4733925" cy="2662238"/>
          </a:xfrm>
        </p:spPr>
      </p:sp>
      <p:sp>
        <p:nvSpPr>
          <p:cNvPr id="3" name="Notizenplatzhalt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891587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51138" y="533400"/>
            <a:ext cx="4733925" cy="2662238"/>
          </a:xfrm>
        </p:spPr>
      </p:sp>
      <p:sp>
        <p:nvSpPr>
          <p:cNvPr id="3" name="Notizenplatzhalt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5750632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92" name="Rectangle 8"/>
          <p:cNvSpPr>
            <a:spLocks noGrp="1" noRot="1" noChangeAspect="1" noChangeArrowheads="1" noTextEdit="1"/>
          </p:cNvSpPr>
          <p:nvPr>
            <p:ph type="sldImg"/>
          </p:nvPr>
        </p:nvSpPr>
        <p:spPr>
          <a:xfrm>
            <a:off x="2303463" y="306388"/>
            <a:ext cx="5627687" cy="3165475"/>
          </a:xfrm>
          <a:ln/>
        </p:spPr>
      </p:sp>
      <p:sp>
        <p:nvSpPr>
          <p:cNvPr id="169993" name="Rectangle 9"/>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Tree>
    <p:extLst>
      <p:ext uri="{BB962C8B-B14F-4D97-AF65-F5344CB8AC3E}">
        <p14:creationId xmlns:p14="http://schemas.microsoft.com/office/powerpoint/2010/main" val="41794656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92" name="Rectangle 8"/>
          <p:cNvSpPr>
            <a:spLocks noGrp="1" noRot="1" noChangeAspect="1" noChangeArrowheads="1" noTextEdit="1"/>
          </p:cNvSpPr>
          <p:nvPr>
            <p:ph type="sldImg"/>
          </p:nvPr>
        </p:nvSpPr>
        <p:spPr>
          <a:xfrm>
            <a:off x="2303463" y="306388"/>
            <a:ext cx="5627687" cy="3165475"/>
          </a:xfrm>
          <a:ln/>
        </p:spPr>
      </p:sp>
      <p:sp>
        <p:nvSpPr>
          <p:cNvPr id="169993" name="Rectangle 9"/>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Tree>
    <p:extLst>
      <p:ext uri="{BB962C8B-B14F-4D97-AF65-F5344CB8AC3E}">
        <p14:creationId xmlns:p14="http://schemas.microsoft.com/office/powerpoint/2010/main" val="31951066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92" name="Rectangle 8"/>
          <p:cNvSpPr>
            <a:spLocks noGrp="1" noRot="1" noChangeAspect="1" noChangeArrowheads="1" noTextEdit="1"/>
          </p:cNvSpPr>
          <p:nvPr>
            <p:ph type="sldImg"/>
          </p:nvPr>
        </p:nvSpPr>
        <p:spPr>
          <a:xfrm>
            <a:off x="2303463" y="306388"/>
            <a:ext cx="5627687" cy="3165475"/>
          </a:xfrm>
          <a:ln/>
        </p:spPr>
      </p:sp>
      <p:sp>
        <p:nvSpPr>
          <p:cNvPr id="169993" name="Rectangle 9"/>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Tree>
    <p:extLst>
      <p:ext uri="{BB962C8B-B14F-4D97-AF65-F5344CB8AC3E}">
        <p14:creationId xmlns:p14="http://schemas.microsoft.com/office/powerpoint/2010/main" val="22419174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303463" y="306388"/>
            <a:ext cx="5627687" cy="316547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308172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5" name="Rectangle 2"/>
          <p:cNvSpPr>
            <a:spLocks noGrp="1" noRot="1" noChangeAspect="1" noChangeArrowheads="1" noTextEdit="1"/>
          </p:cNvSpPr>
          <p:nvPr>
            <p:ph type="sldImg"/>
          </p:nvPr>
        </p:nvSpPr>
        <p:spPr>
          <a:xfrm>
            <a:off x="2749550" y="531813"/>
            <a:ext cx="4735513" cy="2663825"/>
          </a:xfrm>
          <a:ln/>
        </p:spPr>
      </p:sp>
      <p:sp>
        <p:nvSpPr>
          <p:cNvPr id="49156" name="Rectangle 3"/>
          <p:cNvSpPr>
            <a:spLocks noGrp="1" noChangeArrowheads="1"/>
          </p:cNvSpPr>
          <p:nvPr>
            <p:ph type="body" idx="1"/>
          </p:nvPr>
        </p:nvSpPr>
        <p:spPr>
          <a:noFill/>
          <a:ln/>
        </p:spPr>
        <p:txBody>
          <a:bodyPr/>
          <a:lstStyle/>
          <a:p>
            <a:pPr eaLnBrk="1" hangingPunct="1"/>
            <a:endParaRPr lang="de-DE" dirty="0">
              <a:ea typeface="Geneva" pitchFamily="-1" charset="0"/>
              <a:cs typeface="Geneva" pitchFamily="-1" charset="0"/>
            </a:endParaRPr>
          </a:p>
        </p:txBody>
      </p:sp>
    </p:spTree>
    <p:extLst>
      <p:ext uri="{BB962C8B-B14F-4D97-AF65-F5344CB8AC3E}">
        <p14:creationId xmlns:p14="http://schemas.microsoft.com/office/powerpoint/2010/main" val="35441830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5" name="Rectangle 2"/>
          <p:cNvSpPr>
            <a:spLocks noGrp="1" noRot="1" noChangeAspect="1" noChangeArrowheads="1" noTextEdit="1"/>
          </p:cNvSpPr>
          <p:nvPr>
            <p:ph type="sldImg"/>
          </p:nvPr>
        </p:nvSpPr>
        <p:spPr>
          <a:xfrm>
            <a:off x="2749550" y="531813"/>
            <a:ext cx="4735513" cy="2663825"/>
          </a:xfrm>
          <a:ln/>
        </p:spPr>
      </p:sp>
      <p:sp>
        <p:nvSpPr>
          <p:cNvPr id="49156" name="Rectangle 3"/>
          <p:cNvSpPr>
            <a:spLocks noGrp="1" noChangeArrowheads="1"/>
          </p:cNvSpPr>
          <p:nvPr>
            <p:ph type="body" idx="1"/>
          </p:nvPr>
        </p:nvSpPr>
        <p:spPr>
          <a:noFill/>
          <a:ln/>
        </p:spPr>
        <p:txBody>
          <a:bodyPr/>
          <a:lstStyle/>
          <a:p>
            <a:pPr eaLnBrk="1" hangingPunct="1"/>
            <a:endParaRPr lang="de-DE" dirty="0">
              <a:ea typeface="Geneva" pitchFamily="-1" charset="0"/>
              <a:cs typeface="Geneva" pitchFamily="-1" charset="0"/>
            </a:endParaRPr>
          </a:p>
        </p:txBody>
      </p:sp>
    </p:spTree>
    <p:extLst>
      <p:ext uri="{BB962C8B-B14F-4D97-AF65-F5344CB8AC3E}">
        <p14:creationId xmlns:p14="http://schemas.microsoft.com/office/powerpoint/2010/main" val="8762050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49550" y="531813"/>
            <a:ext cx="4735513" cy="26638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752400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tro">
    <p:bg>
      <p:bgPr>
        <a:solidFill>
          <a:schemeClr val="tx2"/>
        </a:solidFill>
        <a:effectLst/>
      </p:bgPr>
    </p:bg>
    <p:spTree>
      <p:nvGrpSpPr>
        <p:cNvPr id="1" name=""/>
        <p:cNvGrpSpPr/>
        <p:nvPr/>
      </p:nvGrpSpPr>
      <p:grpSpPr>
        <a:xfrm>
          <a:off x="0" y="0"/>
          <a:ext cx="0" cy="0"/>
          <a:chOff x="0" y="0"/>
          <a:chExt cx="0" cy="0"/>
        </a:xfrm>
      </p:grpSpPr>
      <p:grpSp>
        <p:nvGrpSpPr>
          <p:cNvPr id="67" name="Graphic 3">
            <a:extLst>
              <a:ext uri="{FF2B5EF4-FFF2-40B4-BE49-F238E27FC236}">
                <a16:creationId xmlns:a16="http://schemas.microsoft.com/office/drawing/2014/main" id="{278388FC-E754-41C0-BCB2-85E05ED28B70}"/>
              </a:ext>
            </a:extLst>
          </p:cNvPr>
          <p:cNvGrpSpPr>
            <a:grpSpLocks noChangeAspect="1"/>
          </p:cNvGrpSpPr>
          <p:nvPr userDrawn="1"/>
        </p:nvGrpSpPr>
        <p:grpSpPr bwMode="gray">
          <a:xfrm>
            <a:off x="4095950" y="1989000"/>
            <a:ext cx="4032000" cy="1916732"/>
            <a:chOff x="0" y="531083"/>
            <a:chExt cx="12192000" cy="5795833"/>
          </a:xfrm>
        </p:grpSpPr>
        <p:sp>
          <p:nvSpPr>
            <p:cNvPr id="68" name="Freeform: Shape 67">
              <a:extLst>
                <a:ext uri="{FF2B5EF4-FFF2-40B4-BE49-F238E27FC236}">
                  <a16:creationId xmlns:a16="http://schemas.microsoft.com/office/drawing/2014/main" id="{982C52A7-4AA7-468C-B382-0C7D2EEE5685}"/>
                </a:ext>
              </a:extLst>
            </p:cNvPr>
            <p:cNvSpPr/>
            <p:nvPr/>
          </p:nvSpPr>
          <p:spPr bwMode="gray">
            <a:xfrm>
              <a:off x="0" y="531083"/>
              <a:ext cx="12191569" cy="5795676"/>
            </a:xfrm>
            <a:custGeom>
              <a:avLst/>
              <a:gdLst>
                <a:gd name="connsiteX0" fmla="*/ 0 w 12191569"/>
                <a:gd name="connsiteY0" fmla="*/ 0 h 5795676"/>
                <a:gd name="connsiteX1" fmla="*/ 12191569 w 12191569"/>
                <a:gd name="connsiteY1" fmla="*/ 0 h 5795676"/>
                <a:gd name="connsiteX2" fmla="*/ 12191569 w 12191569"/>
                <a:gd name="connsiteY2" fmla="*/ 5795676 h 5795676"/>
                <a:gd name="connsiteX3" fmla="*/ 0 w 12191569"/>
                <a:gd name="connsiteY3" fmla="*/ 5795676 h 5795676"/>
              </a:gdLst>
              <a:ahLst/>
              <a:cxnLst>
                <a:cxn ang="0">
                  <a:pos x="connsiteX0" y="connsiteY0"/>
                </a:cxn>
                <a:cxn ang="0">
                  <a:pos x="connsiteX1" y="connsiteY1"/>
                </a:cxn>
                <a:cxn ang="0">
                  <a:pos x="connsiteX2" y="connsiteY2"/>
                </a:cxn>
                <a:cxn ang="0">
                  <a:pos x="connsiteX3" y="connsiteY3"/>
                </a:cxn>
              </a:cxnLst>
              <a:rect l="l" t="t" r="r" b="b"/>
              <a:pathLst>
                <a:path w="12191569" h="5795676">
                  <a:moveTo>
                    <a:pt x="0" y="0"/>
                  </a:moveTo>
                  <a:lnTo>
                    <a:pt x="12191569" y="0"/>
                  </a:lnTo>
                  <a:lnTo>
                    <a:pt x="12191569" y="5795676"/>
                  </a:lnTo>
                  <a:lnTo>
                    <a:pt x="0" y="5795676"/>
                  </a:lnTo>
                  <a:close/>
                </a:path>
              </a:pathLst>
            </a:custGeom>
            <a:noFill/>
            <a:ln w="1305" cap="flat">
              <a:noFill/>
              <a:prstDash val="solid"/>
              <a:miter/>
            </a:ln>
          </p:spPr>
          <p:txBody>
            <a:bodyPr rtlCol="0" anchor="ctr"/>
            <a:lstStyle/>
            <a:p>
              <a:endParaRPr lang="de-DE" dirty="0"/>
            </a:p>
          </p:txBody>
        </p:sp>
        <p:grpSp>
          <p:nvGrpSpPr>
            <p:cNvPr id="69" name="Graphic 3">
              <a:extLst>
                <a:ext uri="{FF2B5EF4-FFF2-40B4-BE49-F238E27FC236}">
                  <a16:creationId xmlns:a16="http://schemas.microsoft.com/office/drawing/2014/main" id="{D1F6D4DD-92AF-4D18-95E0-BC5A3CC9EED2}"/>
                </a:ext>
              </a:extLst>
            </p:cNvPr>
            <p:cNvGrpSpPr/>
            <p:nvPr/>
          </p:nvGrpSpPr>
          <p:grpSpPr bwMode="gray">
            <a:xfrm>
              <a:off x="3221757" y="3362649"/>
              <a:ext cx="7389002" cy="737823"/>
              <a:chOff x="3221757" y="3362649"/>
              <a:chExt cx="7389002" cy="737823"/>
            </a:xfrm>
            <a:solidFill>
              <a:srgbClr val="3D434B"/>
            </a:solidFill>
          </p:grpSpPr>
          <p:sp>
            <p:nvSpPr>
              <p:cNvPr id="113" name="Freeform: Shape 112">
                <a:extLst>
                  <a:ext uri="{FF2B5EF4-FFF2-40B4-BE49-F238E27FC236}">
                    <a16:creationId xmlns:a16="http://schemas.microsoft.com/office/drawing/2014/main" id="{FAA73705-28ED-42E7-8B04-9146C0EE4770}"/>
                  </a:ext>
                </a:extLst>
              </p:cNvPr>
              <p:cNvSpPr/>
              <p:nvPr/>
            </p:nvSpPr>
            <p:spPr bwMode="gray">
              <a:xfrm>
                <a:off x="8575523" y="3374643"/>
                <a:ext cx="283266" cy="713313"/>
              </a:xfrm>
              <a:custGeom>
                <a:avLst/>
                <a:gdLst>
                  <a:gd name="connsiteX0" fmla="*/ 283266 w 283266"/>
                  <a:gd name="connsiteY0" fmla="*/ 75851 h 713313"/>
                  <a:gd name="connsiteX1" fmla="*/ 283266 w 283266"/>
                  <a:gd name="connsiteY1" fmla="*/ 0 h 713313"/>
                  <a:gd name="connsiteX2" fmla="*/ 0 w 283266"/>
                  <a:gd name="connsiteY2" fmla="*/ 0 h 713313"/>
                  <a:gd name="connsiteX3" fmla="*/ 0 w 283266"/>
                  <a:gd name="connsiteY3" fmla="*/ 75851 h 713313"/>
                  <a:gd name="connsiteX4" fmla="*/ 92895 w 283266"/>
                  <a:gd name="connsiteY4" fmla="*/ 75851 h 713313"/>
                  <a:gd name="connsiteX5" fmla="*/ 92895 w 283266"/>
                  <a:gd name="connsiteY5" fmla="*/ 637450 h 713313"/>
                  <a:gd name="connsiteX6" fmla="*/ 0 w 283266"/>
                  <a:gd name="connsiteY6" fmla="*/ 637450 h 713313"/>
                  <a:gd name="connsiteX7" fmla="*/ 0 w 283266"/>
                  <a:gd name="connsiteY7" fmla="*/ 713314 h 713313"/>
                  <a:gd name="connsiteX8" fmla="*/ 283266 w 283266"/>
                  <a:gd name="connsiteY8" fmla="*/ 713314 h 713313"/>
                  <a:gd name="connsiteX9" fmla="*/ 283266 w 283266"/>
                  <a:gd name="connsiteY9" fmla="*/ 637450 h 713313"/>
                  <a:gd name="connsiteX10" fmla="*/ 190371 w 283266"/>
                  <a:gd name="connsiteY10" fmla="*/ 637450 h 713313"/>
                  <a:gd name="connsiteX11" fmla="*/ 190371 w 283266"/>
                  <a:gd name="connsiteY11" fmla="*/ 75851 h 71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3266" h="713313">
                    <a:moveTo>
                      <a:pt x="283266" y="75851"/>
                    </a:moveTo>
                    <a:lnTo>
                      <a:pt x="283266" y="0"/>
                    </a:lnTo>
                    <a:lnTo>
                      <a:pt x="0" y="0"/>
                    </a:lnTo>
                    <a:lnTo>
                      <a:pt x="0" y="75851"/>
                    </a:lnTo>
                    <a:lnTo>
                      <a:pt x="92895" y="75851"/>
                    </a:lnTo>
                    <a:lnTo>
                      <a:pt x="92895" y="637450"/>
                    </a:lnTo>
                    <a:lnTo>
                      <a:pt x="0" y="637450"/>
                    </a:lnTo>
                    <a:lnTo>
                      <a:pt x="0" y="713314"/>
                    </a:lnTo>
                    <a:lnTo>
                      <a:pt x="283266" y="713314"/>
                    </a:lnTo>
                    <a:lnTo>
                      <a:pt x="283266" y="637450"/>
                    </a:lnTo>
                    <a:lnTo>
                      <a:pt x="190371" y="637450"/>
                    </a:lnTo>
                    <a:lnTo>
                      <a:pt x="190371" y="75851"/>
                    </a:lnTo>
                    <a:close/>
                  </a:path>
                </a:pathLst>
              </a:custGeom>
              <a:solidFill>
                <a:schemeClr val="bg1"/>
              </a:solidFill>
              <a:ln w="1305" cap="flat">
                <a:noFill/>
                <a:prstDash val="solid"/>
                <a:miter/>
              </a:ln>
            </p:spPr>
            <p:txBody>
              <a:bodyPr rtlCol="0" anchor="ctr"/>
              <a:lstStyle/>
              <a:p>
                <a:endParaRPr lang="de-DE" dirty="0"/>
              </a:p>
            </p:txBody>
          </p:sp>
          <p:grpSp>
            <p:nvGrpSpPr>
              <p:cNvPr id="114" name="Graphic 3">
                <a:extLst>
                  <a:ext uri="{FF2B5EF4-FFF2-40B4-BE49-F238E27FC236}">
                    <a16:creationId xmlns:a16="http://schemas.microsoft.com/office/drawing/2014/main" id="{7748EAF8-EAFF-44A8-BEEC-78A4DEEE4FF8}"/>
                  </a:ext>
                </a:extLst>
              </p:cNvPr>
              <p:cNvGrpSpPr/>
              <p:nvPr/>
            </p:nvGrpSpPr>
            <p:grpSpPr bwMode="gray">
              <a:xfrm>
                <a:off x="3221757" y="3362649"/>
                <a:ext cx="7389002" cy="737823"/>
                <a:chOff x="3221757" y="3362649"/>
                <a:chExt cx="7389002" cy="737823"/>
              </a:xfrm>
              <a:solidFill>
                <a:srgbClr val="3D434B"/>
              </a:solidFill>
            </p:grpSpPr>
            <p:sp>
              <p:nvSpPr>
                <p:cNvPr id="115" name="Freeform: Shape 114">
                  <a:extLst>
                    <a:ext uri="{FF2B5EF4-FFF2-40B4-BE49-F238E27FC236}">
                      <a16:creationId xmlns:a16="http://schemas.microsoft.com/office/drawing/2014/main" id="{89CF40D5-424D-4B3D-8E00-12DCE0288E38}"/>
                    </a:ext>
                  </a:extLst>
                </p:cNvPr>
                <p:cNvSpPr/>
                <p:nvPr/>
              </p:nvSpPr>
              <p:spPr bwMode="gray">
                <a:xfrm>
                  <a:off x="3221757" y="3375165"/>
                  <a:ext cx="474746" cy="712792"/>
                </a:xfrm>
                <a:custGeom>
                  <a:avLst/>
                  <a:gdLst>
                    <a:gd name="connsiteX0" fmla="*/ 0 w 474746"/>
                    <a:gd name="connsiteY0" fmla="*/ 712792 h 712792"/>
                    <a:gd name="connsiteX1" fmla="*/ 97450 w 474746"/>
                    <a:gd name="connsiteY1" fmla="*/ 712792 h 712792"/>
                    <a:gd name="connsiteX2" fmla="*/ 97450 w 474746"/>
                    <a:gd name="connsiteY2" fmla="*/ 396808 h 712792"/>
                    <a:gd name="connsiteX3" fmla="*/ 435138 w 474746"/>
                    <a:gd name="connsiteY3" fmla="*/ 396808 h 712792"/>
                    <a:gd name="connsiteX4" fmla="*/ 435138 w 474746"/>
                    <a:gd name="connsiteY4" fmla="*/ 309733 h 712792"/>
                    <a:gd name="connsiteX5" fmla="*/ 97450 w 474746"/>
                    <a:gd name="connsiteY5" fmla="*/ 309733 h 712792"/>
                    <a:gd name="connsiteX6" fmla="*/ 97450 w 474746"/>
                    <a:gd name="connsiteY6" fmla="*/ 87074 h 712792"/>
                    <a:gd name="connsiteX7" fmla="*/ 474747 w 474746"/>
                    <a:gd name="connsiteY7" fmla="*/ 87074 h 712792"/>
                    <a:gd name="connsiteX8" fmla="*/ 474747 w 474746"/>
                    <a:gd name="connsiteY8" fmla="*/ 0 h 712792"/>
                    <a:gd name="connsiteX9" fmla="*/ 0 w 474746"/>
                    <a:gd name="connsiteY9" fmla="*/ 0 h 71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4746" h="712792">
                      <a:moveTo>
                        <a:pt x="0" y="712792"/>
                      </a:moveTo>
                      <a:lnTo>
                        <a:pt x="97450" y="712792"/>
                      </a:lnTo>
                      <a:lnTo>
                        <a:pt x="97450" y="396808"/>
                      </a:lnTo>
                      <a:lnTo>
                        <a:pt x="435138" y="396808"/>
                      </a:lnTo>
                      <a:lnTo>
                        <a:pt x="435138" y="309733"/>
                      </a:lnTo>
                      <a:lnTo>
                        <a:pt x="97450" y="309733"/>
                      </a:lnTo>
                      <a:lnTo>
                        <a:pt x="97450" y="87074"/>
                      </a:lnTo>
                      <a:lnTo>
                        <a:pt x="474747" y="87074"/>
                      </a:lnTo>
                      <a:lnTo>
                        <a:pt x="474747" y="0"/>
                      </a:lnTo>
                      <a:lnTo>
                        <a:pt x="0" y="0"/>
                      </a:lnTo>
                      <a:close/>
                    </a:path>
                  </a:pathLst>
                </a:custGeom>
                <a:solidFill>
                  <a:schemeClr val="bg1"/>
                </a:solidFill>
                <a:ln w="1305" cap="flat">
                  <a:noFill/>
                  <a:prstDash val="solid"/>
                  <a:miter/>
                </a:ln>
              </p:spPr>
              <p:txBody>
                <a:bodyPr rtlCol="0" anchor="ctr"/>
                <a:lstStyle/>
                <a:p>
                  <a:endParaRPr lang="de-DE" dirty="0"/>
                </a:p>
              </p:txBody>
            </p:sp>
            <p:sp>
              <p:nvSpPr>
                <p:cNvPr id="116" name="Freeform: Shape 115">
                  <a:extLst>
                    <a:ext uri="{FF2B5EF4-FFF2-40B4-BE49-F238E27FC236}">
                      <a16:creationId xmlns:a16="http://schemas.microsoft.com/office/drawing/2014/main" id="{14731F8E-0335-4CA6-9702-574356EE340E}"/>
                    </a:ext>
                  </a:extLst>
                </p:cNvPr>
                <p:cNvSpPr/>
                <p:nvPr/>
              </p:nvSpPr>
              <p:spPr bwMode="gray">
                <a:xfrm>
                  <a:off x="4068150" y="3375178"/>
                  <a:ext cx="564836" cy="712792"/>
                </a:xfrm>
                <a:custGeom>
                  <a:avLst/>
                  <a:gdLst>
                    <a:gd name="connsiteX0" fmla="*/ 483243 w 564836"/>
                    <a:gd name="connsiteY0" fmla="*/ 345505 h 712792"/>
                    <a:gd name="connsiteX1" fmla="*/ 519563 w 564836"/>
                    <a:gd name="connsiteY1" fmla="*/ 209347 h 712792"/>
                    <a:gd name="connsiteX2" fmla="*/ 462140 w 564836"/>
                    <a:gd name="connsiteY2" fmla="*/ 49984 h 712792"/>
                    <a:gd name="connsiteX3" fmla="*/ 280108 w 564836"/>
                    <a:gd name="connsiteY3" fmla="*/ 0 h 712792"/>
                    <a:gd name="connsiteX4" fmla="*/ 0 w 564836"/>
                    <a:gd name="connsiteY4" fmla="*/ 0 h 712792"/>
                    <a:gd name="connsiteX5" fmla="*/ 0 w 564836"/>
                    <a:gd name="connsiteY5" fmla="*/ 712792 h 712792"/>
                    <a:gd name="connsiteX6" fmla="*/ 97450 w 564836"/>
                    <a:gd name="connsiteY6" fmla="*/ 712792 h 712792"/>
                    <a:gd name="connsiteX7" fmla="*/ 97450 w 564836"/>
                    <a:gd name="connsiteY7" fmla="*/ 418707 h 712792"/>
                    <a:gd name="connsiteX8" fmla="*/ 261263 w 564836"/>
                    <a:gd name="connsiteY8" fmla="*/ 418707 h 712792"/>
                    <a:gd name="connsiteX9" fmla="*/ 448463 w 564836"/>
                    <a:gd name="connsiteY9" fmla="*/ 711957 h 712792"/>
                    <a:gd name="connsiteX10" fmla="*/ 448998 w 564836"/>
                    <a:gd name="connsiteY10" fmla="*/ 712792 h 712792"/>
                    <a:gd name="connsiteX11" fmla="*/ 564836 w 564836"/>
                    <a:gd name="connsiteY11" fmla="*/ 712792 h 712792"/>
                    <a:gd name="connsiteX12" fmla="*/ 372677 w 564836"/>
                    <a:gd name="connsiteY12" fmla="*/ 409793 h 712792"/>
                    <a:gd name="connsiteX13" fmla="*/ 483243 w 564836"/>
                    <a:gd name="connsiteY13" fmla="*/ 345505 h 712792"/>
                    <a:gd name="connsiteX14" fmla="*/ 97450 w 564836"/>
                    <a:gd name="connsiteY14" fmla="*/ 87061 h 712792"/>
                    <a:gd name="connsiteX15" fmla="*/ 275932 w 564836"/>
                    <a:gd name="connsiteY15" fmla="*/ 87061 h 712792"/>
                    <a:gd name="connsiteX16" fmla="*/ 387855 w 564836"/>
                    <a:gd name="connsiteY16" fmla="*/ 114807 h 712792"/>
                    <a:gd name="connsiteX17" fmla="*/ 421082 w 564836"/>
                    <a:gd name="connsiteY17" fmla="*/ 209347 h 712792"/>
                    <a:gd name="connsiteX18" fmla="*/ 387868 w 564836"/>
                    <a:gd name="connsiteY18" fmla="*/ 303887 h 712792"/>
                    <a:gd name="connsiteX19" fmla="*/ 275945 w 564836"/>
                    <a:gd name="connsiteY19" fmla="*/ 331619 h 712792"/>
                    <a:gd name="connsiteX20" fmla="*/ 97463 w 564836"/>
                    <a:gd name="connsiteY20" fmla="*/ 331619 h 712792"/>
                    <a:gd name="connsiteX21" fmla="*/ 97463 w 564836"/>
                    <a:gd name="connsiteY21" fmla="*/ 87061 h 71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4836" h="712792">
                      <a:moveTo>
                        <a:pt x="483243" y="345505"/>
                      </a:moveTo>
                      <a:cubicBezTo>
                        <a:pt x="507347" y="313009"/>
                        <a:pt x="519563" y="267201"/>
                        <a:pt x="519563" y="209347"/>
                      </a:cubicBezTo>
                      <a:cubicBezTo>
                        <a:pt x="519563" y="136837"/>
                        <a:pt x="500248" y="83225"/>
                        <a:pt x="462140" y="49984"/>
                      </a:cubicBezTo>
                      <a:cubicBezTo>
                        <a:pt x="424084" y="16809"/>
                        <a:pt x="362837" y="0"/>
                        <a:pt x="280108" y="0"/>
                      </a:cubicBezTo>
                      <a:lnTo>
                        <a:pt x="0" y="0"/>
                      </a:lnTo>
                      <a:lnTo>
                        <a:pt x="0" y="712792"/>
                      </a:lnTo>
                      <a:lnTo>
                        <a:pt x="97450" y="712792"/>
                      </a:lnTo>
                      <a:lnTo>
                        <a:pt x="97450" y="418707"/>
                      </a:lnTo>
                      <a:lnTo>
                        <a:pt x="261263" y="418707"/>
                      </a:lnTo>
                      <a:lnTo>
                        <a:pt x="448463" y="711957"/>
                      </a:lnTo>
                      <a:lnTo>
                        <a:pt x="448998" y="712792"/>
                      </a:lnTo>
                      <a:lnTo>
                        <a:pt x="564836" y="712792"/>
                      </a:lnTo>
                      <a:lnTo>
                        <a:pt x="372677" y="409793"/>
                      </a:lnTo>
                      <a:cubicBezTo>
                        <a:pt x="422322" y="399118"/>
                        <a:pt x="459517" y="377493"/>
                        <a:pt x="483243" y="345505"/>
                      </a:cubicBezTo>
                      <a:close/>
                      <a:moveTo>
                        <a:pt x="97450" y="87061"/>
                      </a:moveTo>
                      <a:lnTo>
                        <a:pt x="275932" y="87061"/>
                      </a:lnTo>
                      <a:cubicBezTo>
                        <a:pt x="328057" y="87061"/>
                        <a:pt x="365708" y="96393"/>
                        <a:pt x="387855" y="114807"/>
                      </a:cubicBezTo>
                      <a:cubicBezTo>
                        <a:pt x="409898" y="133144"/>
                        <a:pt x="421082" y="164948"/>
                        <a:pt x="421082" y="209347"/>
                      </a:cubicBezTo>
                      <a:cubicBezTo>
                        <a:pt x="421082" y="253745"/>
                        <a:pt x="409911" y="285550"/>
                        <a:pt x="387868" y="303887"/>
                      </a:cubicBezTo>
                      <a:cubicBezTo>
                        <a:pt x="365721" y="322288"/>
                        <a:pt x="328057" y="331619"/>
                        <a:pt x="275945" y="331619"/>
                      </a:cubicBezTo>
                      <a:lnTo>
                        <a:pt x="97463" y="331619"/>
                      </a:lnTo>
                      <a:lnTo>
                        <a:pt x="97463" y="87061"/>
                      </a:lnTo>
                      <a:close/>
                    </a:path>
                  </a:pathLst>
                </a:custGeom>
                <a:solidFill>
                  <a:schemeClr val="bg1"/>
                </a:solidFill>
                <a:ln w="1305" cap="flat">
                  <a:noFill/>
                  <a:prstDash val="solid"/>
                  <a:miter/>
                </a:ln>
              </p:spPr>
              <p:txBody>
                <a:bodyPr rtlCol="0" anchor="ctr"/>
                <a:lstStyle/>
                <a:p>
                  <a:endParaRPr lang="de-DE" dirty="0"/>
                </a:p>
              </p:txBody>
            </p:sp>
            <p:sp>
              <p:nvSpPr>
                <p:cNvPr id="117" name="Freeform: Shape 116">
                  <a:extLst>
                    <a:ext uri="{FF2B5EF4-FFF2-40B4-BE49-F238E27FC236}">
                      <a16:creationId xmlns:a16="http://schemas.microsoft.com/office/drawing/2014/main" id="{2A2421A1-B366-497D-AC6C-90CF0E504649}"/>
                    </a:ext>
                  </a:extLst>
                </p:cNvPr>
                <p:cNvSpPr/>
                <p:nvPr/>
              </p:nvSpPr>
              <p:spPr bwMode="gray">
                <a:xfrm>
                  <a:off x="5004188" y="3375165"/>
                  <a:ext cx="516417" cy="712792"/>
                </a:xfrm>
                <a:custGeom>
                  <a:avLst/>
                  <a:gdLst>
                    <a:gd name="connsiteX0" fmla="*/ 97437 w 516417"/>
                    <a:gd name="connsiteY0" fmla="*/ 393675 h 712792"/>
                    <a:gd name="connsiteX1" fmla="*/ 451804 w 516417"/>
                    <a:gd name="connsiteY1" fmla="*/ 393675 h 712792"/>
                    <a:gd name="connsiteX2" fmla="*/ 451804 w 516417"/>
                    <a:gd name="connsiteY2" fmla="*/ 306601 h 712792"/>
                    <a:gd name="connsiteX3" fmla="*/ 97437 w 516417"/>
                    <a:gd name="connsiteY3" fmla="*/ 306601 h 712792"/>
                    <a:gd name="connsiteX4" fmla="*/ 97437 w 516417"/>
                    <a:gd name="connsiteY4" fmla="*/ 87074 h 712792"/>
                    <a:gd name="connsiteX5" fmla="*/ 510180 w 516417"/>
                    <a:gd name="connsiteY5" fmla="*/ 87074 h 712792"/>
                    <a:gd name="connsiteX6" fmla="*/ 510180 w 516417"/>
                    <a:gd name="connsiteY6" fmla="*/ 0 h 712792"/>
                    <a:gd name="connsiteX7" fmla="*/ 0 w 516417"/>
                    <a:gd name="connsiteY7" fmla="*/ 0 h 712792"/>
                    <a:gd name="connsiteX8" fmla="*/ 0 w 516417"/>
                    <a:gd name="connsiteY8" fmla="*/ 712792 h 712792"/>
                    <a:gd name="connsiteX9" fmla="*/ 516418 w 516417"/>
                    <a:gd name="connsiteY9" fmla="*/ 712792 h 712792"/>
                    <a:gd name="connsiteX10" fmla="*/ 516418 w 516417"/>
                    <a:gd name="connsiteY10" fmla="*/ 625718 h 712792"/>
                    <a:gd name="connsiteX11" fmla="*/ 97437 w 516417"/>
                    <a:gd name="connsiteY11" fmla="*/ 625718 h 71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6417" h="712792">
                      <a:moveTo>
                        <a:pt x="97437" y="393675"/>
                      </a:moveTo>
                      <a:lnTo>
                        <a:pt x="451804" y="393675"/>
                      </a:lnTo>
                      <a:lnTo>
                        <a:pt x="451804" y="306601"/>
                      </a:lnTo>
                      <a:lnTo>
                        <a:pt x="97437" y="306601"/>
                      </a:lnTo>
                      <a:lnTo>
                        <a:pt x="97437" y="87074"/>
                      </a:lnTo>
                      <a:lnTo>
                        <a:pt x="510180" y="87074"/>
                      </a:lnTo>
                      <a:lnTo>
                        <a:pt x="510180" y="0"/>
                      </a:lnTo>
                      <a:lnTo>
                        <a:pt x="0" y="0"/>
                      </a:lnTo>
                      <a:lnTo>
                        <a:pt x="0" y="712792"/>
                      </a:lnTo>
                      <a:lnTo>
                        <a:pt x="516418" y="712792"/>
                      </a:lnTo>
                      <a:lnTo>
                        <a:pt x="516418" y="625718"/>
                      </a:lnTo>
                      <a:lnTo>
                        <a:pt x="97437" y="625718"/>
                      </a:lnTo>
                      <a:close/>
                    </a:path>
                  </a:pathLst>
                </a:custGeom>
                <a:solidFill>
                  <a:schemeClr val="bg1"/>
                </a:solidFill>
                <a:ln w="1305" cap="flat">
                  <a:noFill/>
                  <a:prstDash val="solid"/>
                  <a:miter/>
                </a:ln>
              </p:spPr>
              <p:txBody>
                <a:bodyPr rtlCol="0" anchor="ctr"/>
                <a:lstStyle/>
                <a:p>
                  <a:endParaRPr lang="de-DE" dirty="0"/>
                </a:p>
              </p:txBody>
            </p:sp>
            <p:sp>
              <p:nvSpPr>
                <p:cNvPr id="118" name="Freeform: Shape 117">
                  <a:extLst>
                    <a:ext uri="{FF2B5EF4-FFF2-40B4-BE49-F238E27FC236}">
                      <a16:creationId xmlns:a16="http://schemas.microsoft.com/office/drawing/2014/main" id="{1EAC4AD3-6FAE-4A44-BF9A-6B7486E71411}"/>
                    </a:ext>
                  </a:extLst>
                </p:cNvPr>
                <p:cNvSpPr/>
                <p:nvPr/>
              </p:nvSpPr>
              <p:spPr bwMode="gray">
                <a:xfrm>
                  <a:off x="5880715" y="3362649"/>
                  <a:ext cx="501827" cy="737823"/>
                </a:xfrm>
                <a:custGeom>
                  <a:avLst/>
                  <a:gdLst>
                    <a:gd name="connsiteX0" fmla="*/ 314927 w 501827"/>
                    <a:gd name="connsiteY0" fmla="*/ 327273 h 737823"/>
                    <a:gd name="connsiteX1" fmla="*/ 234665 w 501827"/>
                    <a:gd name="connsiteY1" fmla="*/ 309538 h 737823"/>
                    <a:gd name="connsiteX2" fmla="*/ 134880 w 501827"/>
                    <a:gd name="connsiteY2" fmla="*/ 269381 h 737823"/>
                    <a:gd name="connsiteX3" fmla="*/ 107864 w 501827"/>
                    <a:gd name="connsiteY3" fmla="*/ 203096 h 737823"/>
                    <a:gd name="connsiteX4" fmla="*/ 265504 w 501827"/>
                    <a:gd name="connsiteY4" fmla="*/ 87074 h 737823"/>
                    <a:gd name="connsiteX5" fmla="*/ 460391 w 501827"/>
                    <a:gd name="connsiteY5" fmla="*/ 142018 h 737823"/>
                    <a:gd name="connsiteX6" fmla="*/ 463262 w 501827"/>
                    <a:gd name="connsiteY6" fmla="*/ 144054 h 737823"/>
                    <a:gd name="connsiteX7" fmla="*/ 463262 w 501827"/>
                    <a:gd name="connsiteY7" fmla="*/ 44686 h 737823"/>
                    <a:gd name="connsiteX8" fmla="*/ 462505 w 501827"/>
                    <a:gd name="connsiteY8" fmla="*/ 44138 h 737823"/>
                    <a:gd name="connsiteX9" fmla="*/ 262385 w 501827"/>
                    <a:gd name="connsiteY9" fmla="*/ 0 h 737823"/>
                    <a:gd name="connsiteX10" fmla="*/ 10427 w 501827"/>
                    <a:gd name="connsiteY10" fmla="*/ 209360 h 737823"/>
                    <a:gd name="connsiteX11" fmla="*/ 50480 w 501827"/>
                    <a:gd name="connsiteY11" fmla="*/ 331006 h 737823"/>
                    <a:gd name="connsiteX12" fmla="*/ 186926 w 501827"/>
                    <a:gd name="connsiteY12" fmla="*/ 398844 h 737823"/>
                    <a:gd name="connsiteX13" fmla="*/ 264969 w 501827"/>
                    <a:gd name="connsiteY13" fmla="*/ 417154 h 737823"/>
                    <a:gd name="connsiteX14" fmla="*/ 375313 w 501827"/>
                    <a:gd name="connsiteY14" fmla="*/ 459856 h 737823"/>
                    <a:gd name="connsiteX15" fmla="*/ 404390 w 501827"/>
                    <a:gd name="connsiteY15" fmla="*/ 529508 h 737823"/>
                    <a:gd name="connsiteX16" fmla="*/ 240486 w 501827"/>
                    <a:gd name="connsiteY16" fmla="*/ 650749 h 737823"/>
                    <a:gd name="connsiteX17" fmla="*/ 2910 w 501827"/>
                    <a:gd name="connsiteY17" fmla="*/ 578109 h 737823"/>
                    <a:gd name="connsiteX18" fmla="*/ 0 w 501827"/>
                    <a:gd name="connsiteY18" fmla="*/ 575929 h 737823"/>
                    <a:gd name="connsiteX19" fmla="*/ 0 w 501827"/>
                    <a:gd name="connsiteY19" fmla="*/ 676394 h 737823"/>
                    <a:gd name="connsiteX20" fmla="*/ 691 w 501827"/>
                    <a:gd name="connsiteY20" fmla="*/ 676942 h 737823"/>
                    <a:gd name="connsiteX21" fmla="*/ 238398 w 501827"/>
                    <a:gd name="connsiteY21" fmla="*/ 737824 h 737823"/>
                    <a:gd name="connsiteX22" fmla="*/ 501827 w 501827"/>
                    <a:gd name="connsiteY22" fmla="*/ 526389 h 737823"/>
                    <a:gd name="connsiteX23" fmla="*/ 458629 w 501827"/>
                    <a:gd name="connsiteY23" fmla="*/ 397800 h 737823"/>
                    <a:gd name="connsiteX24" fmla="*/ 314927 w 501827"/>
                    <a:gd name="connsiteY24" fmla="*/ 327273 h 73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1827" h="737823">
                      <a:moveTo>
                        <a:pt x="314927" y="327273"/>
                      </a:moveTo>
                      <a:lnTo>
                        <a:pt x="234665" y="309538"/>
                      </a:lnTo>
                      <a:cubicBezTo>
                        <a:pt x="186573" y="299267"/>
                        <a:pt x="152994" y="285759"/>
                        <a:pt x="134880" y="269381"/>
                      </a:cubicBezTo>
                      <a:cubicBezTo>
                        <a:pt x="116961" y="253171"/>
                        <a:pt x="107864" y="230868"/>
                        <a:pt x="107864" y="203096"/>
                      </a:cubicBezTo>
                      <a:cubicBezTo>
                        <a:pt x="107864" y="126109"/>
                        <a:pt x="160903" y="87074"/>
                        <a:pt x="265504" y="87074"/>
                      </a:cubicBezTo>
                      <a:cubicBezTo>
                        <a:pt x="343261" y="87074"/>
                        <a:pt x="408827" y="105555"/>
                        <a:pt x="460391" y="142018"/>
                      </a:cubicBezTo>
                      <a:lnTo>
                        <a:pt x="463262" y="144054"/>
                      </a:lnTo>
                      <a:lnTo>
                        <a:pt x="463262" y="44686"/>
                      </a:lnTo>
                      <a:lnTo>
                        <a:pt x="462505" y="44138"/>
                      </a:lnTo>
                      <a:cubicBezTo>
                        <a:pt x="421369" y="14852"/>
                        <a:pt x="354040" y="0"/>
                        <a:pt x="262385" y="0"/>
                      </a:cubicBezTo>
                      <a:cubicBezTo>
                        <a:pt x="95205" y="0"/>
                        <a:pt x="10427" y="70435"/>
                        <a:pt x="10427" y="209360"/>
                      </a:cubicBezTo>
                      <a:cubicBezTo>
                        <a:pt x="10427" y="259645"/>
                        <a:pt x="23909" y="300585"/>
                        <a:pt x="50480" y="331006"/>
                      </a:cubicBezTo>
                      <a:cubicBezTo>
                        <a:pt x="76999" y="361401"/>
                        <a:pt x="122912" y="384227"/>
                        <a:pt x="186926" y="398844"/>
                      </a:cubicBezTo>
                      <a:lnTo>
                        <a:pt x="264969" y="417154"/>
                      </a:lnTo>
                      <a:cubicBezTo>
                        <a:pt x="318686" y="429487"/>
                        <a:pt x="355802" y="443856"/>
                        <a:pt x="375313" y="459856"/>
                      </a:cubicBezTo>
                      <a:cubicBezTo>
                        <a:pt x="394615" y="475686"/>
                        <a:pt x="404390" y="499126"/>
                        <a:pt x="404390" y="529508"/>
                      </a:cubicBezTo>
                      <a:cubicBezTo>
                        <a:pt x="404390" y="609953"/>
                        <a:pt x="349251" y="650749"/>
                        <a:pt x="240486" y="650749"/>
                      </a:cubicBezTo>
                      <a:cubicBezTo>
                        <a:pt x="147512" y="650749"/>
                        <a:pt x="67576" y="626305"/>
                        <a:pt x="2910" y="578109"/>
                      </a:cubicBezTo>
                      <a:lnTo>
                        <a:pt x="0" y="575929"/>
                      </a:lnTo>
                      <a:lnTo>
                        <a:pt x="0" y="676394"/>
                      </a:lnTo>
                      <a:lnTo>
                        <a:pt x="691" y="676942"/>
                      </a:lnTo>
                      <a:cubicBezTo>
                        <a:pt x="52190" y="717334"/>
                        <a:pt x="132165" y="737824"/>
                        <a:pt x="238398" y="737824"/>
                      </a:cubicBezTo>
                      <a:cubicBezTo>
                        <a:pt x="413199" y="737824"/>
                        <a:pt x="501827" y="666684"/>
                        <a:pt x="501827" y="526389"/>
                      </a:cubicBezTo>
                      <a:cubicBezTo>
                        <a:pt x="501827" y="473272"/>
                        <a:pt x="487288" y="430022"/>
                        <a:pt x="458629" y="397800"/>
                      </a:cubicBezTo>
                      <a:cubicBezTo>
                        <a:pt x="430022" y="365643"/>
                        <a:pt x="381669" y="341916"/>
                        <a:pt x="314927" y="327273"/>
                      </a:cubicBezTo>
                      <a:close/>
                    </a:path>
                  </a:pathLst>
                </a:custGeom>
                <a:solidFill>
                  <a:schemeClr val="bg1"/>
                </a:solidFill>
                <a:ln w="1305" cap="flat">
                  <a:noFill/>
                  <a:prstDash val="solid"/>
                  <a:miter/>
                </a:ln>
              </p:spPr>
              <p:txBody>
                <a:bodyPr rtlCol="0" anchor="ctr"/>
                <a:lstStyle/>
                <a:p>
                  <a:endParaRPr lang="de-DE" dirty="0"/>
                </a:p>
              </p:txBody>
            </p:sp>
            <p:sp>
              <p:nvSpPr>
                <p:cNvPr id="119" name="Freeform: Shape 118">
                  <a:extLst>
                    <a:ext uri="{FF2B5EF4-FFF2-40B4-BE49-F238E27FC236}">
                      <a16:creationId xmlns:a16="http://schemas.microsoft.com/office/drawing/2014/main" id="{1669AF63-71D3-4BD3-89F9-2AB6EF77698C}"/>
                    </a:ext>
                  </a:extLst>
                </p:cNvPr>
                <p:cNvSpPr/>
                <p:nvPr/>
              </p:nvSpPr>
              <p:spPr bwMode="gray">
                <a:xfrm>
                  <a:off x="6766912" y="3375165"/>
                  <a:ext cx="516430" cy="712792"/>
                </a:xfrm>
                <a:custGeom>
                  <a:avLst/>
                  <a:gdLst>
                    <a:gd name="connsiteX0" fmla="*/ 97450 w 516430"/>
                    <a:gd name="connsiteY0" fmla="*/ 393675 h 712792"/>
                    <a:gd name="connsiteX1" fmla="*/ 451803 w 516430"/>
                    <a:gd name="connsiteY1" fmla="*/ 393675 h 712792"/>
                    <a:gd name="connsiteX2" fmla="*/ 451803 w 516430"/>
                    <a:gd name="connsiteY2" fmla="*/ 306601 h 712792"/>
                    <a:gd name="connsiteX3" fmla="*/ 97450 w 516430"/>
                    <a:gd name="connsiteY3" fmla="*/ 306601 h 712792"/>
                    <a:gd name="connsiteX4" fmla="*/ 97450 w 516430"/>
                    <a:gd name="connsiteY4" fmla="*/ 87074 h 712792"/>
                    <a:gd name="connsiteX5" fmla="*/ 510179 w 516430"/>
                    <a:gd name="connsiteY5" fmla="*/ 87074 h 712792"/>
                    <a:gd name="connsiteX6" fmla="*/ 510179 w 516430"/>
                    <a:gd name="connsiteY6" fmla="*/ 0 h 712792"/>
                    <a:gd name="connsiteX7" fmla="*/ 0 w 516430"/>
                    <a:gd name="connsiteY7" fmla="*/ 0 h 712792"/>
                    <a:gd name="connsiteX8" fmla="*/ 0 w 516430"/>
                    <a:gd name="connsiteY8" fmla="*/ 712792 h 712792"/>
                    <a:gd name="connsiteX9" fmla="*/ 516431 w 516430"/>
                    <a:gd name="connsiteY9" fmla="*/ 712792 h 712792"/>
                    <a:gd name="connsiteX10" fmla="*/ 516431 w 516430"/>
                    <a:gd name="connsiteY10" fmla="*/ 625718 h 712792"/>
                    <a:gd name="connsiteX11" fmla="*/ 97450 w 516430"/>
                    <a:gd name="connsiteY11" fmla="*/ 625718 h 71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6430" h="712792">
                      <a:moveTo>
                        <a:pt x="97450" y="393675"/>
                      </a:moveTo>
                      <a:lnTo>
                        <a:pt x="451803" y="393675"/>
                      </a:lnTo>
                      <a:lnTo>
                        <a:pt x="451803" y="306601"/>
                      </a:lnTo>
                      <a:lnTo>
                        <a:pt x="97450" y="306601"/>
                      </a:lnTo>
                      <a:lnTo>
                        <a:pt x="97450" y="87074"/>
                      </a:lnTo>
                      <a:lnTo>
                        <a:pt x="510179" y="87074"/>
                      </a:lnTo>
                      <a:lnTo>
                        <a:pt x="510179" y="0"/>
                      </a:lnTo>
                      <a:lnTo>
                        <a:pt x="0" y="0"/>
                      </a:lnTo>
                      <a:lnTo>
                        <a:pt x="0" y="712792"/>
                      </a:lnTo>
                      <a:lnTo>
                        <a:pt x="516431" y="712792"/>
                      </a:lnTo>
                      <a:lnTo>
                        <a:pt x="516431" y="625718"/>
                      </a:lnTo>
                      <a:lnTo>
                        <a:pt x="97450" y="625718"/>
                      </a:lnTo>
                      <a:close/>
                    </a:path>
                  </a:pathLst>
                </a:custGeom>
                <a:solidFill>
                  <a:schemeClr val="bg1"/>
                </a:solidFill>
                <a:ln w="1305" cap="flat">
                  <a:noFill/>
                  <a:prstDash val="solid"/>
                  <a:miter/>
                </a:ln>
              </p:spPr>
              <p:txBody>
                <a:bodyPr rtlCol="0" anchor="ctr"/>
                <a:lstStyle/>
                <a:p>
                  <a:endParaRPr lang="de-DE" dirty="0"/>
                </a:p>
              </p:txBody>
            </p:sp>
            <p:sp>
              <p:nvSpPr>
                <p:cNvPr id="120" name="Freeform: Shape 119">
                  <a:extLst>
                    <a:ext uri="{FF2B5EF4-FFF2-40B4-BE49-F238E27FC236}">
                      <a16:creationId xmlns:a16="http://schemas.microsoft.com/office/drawing/2014/main" id="{85905F20-CD9F-4ED4-8969-3F353B256A41}"/>
                    </a:ext>
                  </a:extLst>
                </p:cNvPr>
                <p:cNvSpPr/>
                <p:nvPr/>
              </p:nvSpPr>
              <p:spPr bwMode="gray">
                <a:xfrm>
                  <a:off x="7666368" y="3375165"/>
                  <a:ext cx="565410" cy="712792"/>
                </a:xfrm>
                <a:custGeom>
                  <a:avLst/>
                  <a:gdLst>
                    <a:gd name="connsiteX0" fmla="*/ 472124 w 565410"/>
                    <a:gd name="connsiteY0" fmla="*/ 535955 h 712792"/>
                    <a:gd name="connsiteX1" fmla="*/ 121294 w 565410"/>
                    <a:gd name="connsiteY1" fmla="*/ 822 h 712792"/>
                    <a:gd name="connsiteX2" fmla="*/ 120759 w 565410"/>
                    <a:gd name="connsiteY2" fmla="*/ 0 h 712792"/>
                    <a:gd name="connsiteX3" fmla="*/ 0 w 565410"/>
                    <a:gd name="connsiteY3" fmla="*/ 0 h 712792"/>
                    <a:gd name="connsiteX4" fmla="*/ 0 w 565410"/>
                    <a:gd name="connsiteY4" fmla="*/ 712792 h 712792"/>
                    <a:gd name="connsiteX5" fmla="*/ 93274 w 565410"/>
                    <a:gd name="connsiteY5" fmla="*/ 712792 h 712792"/>
                    <a:gd name="connsiteX6" fmla="*/ 93274 w 565410"/>
                    <a:gd name="connsiteY6" fmla="*/ 132034 h 712792"/>
                    <a:gd name="connsiteX7" fmla="*/ 473468 w 565410"/>
                    <a:gd name="connsiteY7" fmla="*/ 711983 h 712792"/>
                    <a:gd name="connsiteX8" fmla="*/ 474016 w 565410"/>
                    <a:gd name="connsiteY8" fmla="*/ 712792 h 712792"/>
                    <a:gd name="connsiteX9" fmla="*/ 565411 w 565410"/>
                    <a:gd name="connsiteY9" fmla="*/ 712792 h 712792"/>
                    <a:gd name="connsiteX10" fmla="*/ 565411 w 565410"/>
                    <a:gd name="connsiteY10" fmla="*/ 0 h 712792"/>
                    <a:gd name="connsiteX11" fmla="*/ 472124 w 565410"/>
                    <a:gd name="connsiteY11" fmla="*/ 0 h 71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5410" h="712792">
                      <a:moveTo>
                        <a:pt x="472124" y="535955"/>
                      </a:moveTo>
                      <a:lnTo>
                        <a:pt x="121294" y="822"/>
                      </a:lnTo>
                      <a:lnTo>
                        <a:pt x="120759" y="0"/>
                      </a:lnTo>
                      <a:lnTo>
                        <a:pt x="0" y="0"/>
                      </a:lnTo>
                      <a:lnTo>
                        <a:pt x="0" y="712792"/>
                      </a:lnTo>
                      <a:lnTo>
                        <a:pt x="93274" y="712792"/>
                      </a:lnTo>
                      <a:lnTo>
                        <a:pt x="93274" y="132034"/>
                      </a:lnTo>
                      <a:lnTo>
                        <a:pt x="473468" y="711983"/>
                      </a:lnTo>
                      <a:lnTo>
                        <a:pt x="474016" y="712792"/>
                      </a:lnTo>
                      <a:lnTo>
                        <a:pt x="565411" y="712792"/>
                      </a:lnTo>
                      <a:lnTo>
                        <a:pt x="565411" y="0"/>
                      </a:lnTo>
                      <a:lnTo>
                        <a:pt x="472124" y="0"/>
                      </a:lnTo>
                      <a:close/>
                    </a:path>
                  </a:pathLst>
                </a:custGeom>
                <a:solidFill>
                  <a:schemeClr val="bg1"/>
                </a:solidFill>
                <a:ln w="1305" cap="flat">
                  <a:noFill/>
                  <a:prstDash val="solid"/>
                  <a:miter/>
                </a:ln>
              </p:spPr>
              <p:txBody>
                <a:bodyPr rtlCol="0" anchor="ctr"/>
                <a:lstStyle/>
                <a:p>
                  <a:endParaRPr lang="de-DE" dirty="0"/>
                </a:p>
              </p:txBody>
            </p:sp>
            <p:sp>
              <p:nvSpPr>
                <p:cNvPr id="121" name="Freeform: Shape 120">
                  <a:extLst>
                    <a:ext uri="{FF2B5EF4-FFF2-40B4-BE49-F238E27FC236}">
                      <a16:creationId xmlns:a16="http://schemas.microsoft.com/office/drawing/2014/main" id="{839D59F9-5CFE-444B-A494-91612B8B71C4}"/>
                    </a:ext>
                  </a:extLst>
                </p:cNvPr>
                <p:cNvSpPr/>
                <p:nvPr/>
              </p:nvSpPr>
              <p:spPr bwMode="gray">
                <a:xfrm>
                  <a:off x="9190317" y="3375165"/>
                  <a:ext cx="538316" cy="725307"/>
                </a:xfrm>
                <a:custGeom>
                  <a:avLst/>
                  <a:gdLst>
                    <a:gd name="connsiteX0" fmla="*/ 445030 w 538316"/>
                    <a:gd name="connsiteY0" fmla="*/ 457559 h 725307"/>
                    <a:gd name="connsiteX1" fmla="*/ 403855 w 538316"/>
                    <a:gd name="connsiteY1" fmla="*/ 594474 h 725307"/>
                    <a:gd name="connsiteX2" fmla="*/ 270711 w 538316"/>
                    <a:gd name="connsiteY2" fmla="*/ 637202 h 725307"/>
                    <a:gd name="connsiteX3" fmla="*/ 138625 w 538316"/>
                    <a:gd name="connsiteY3" fmla="*/ 594474 h 725307"/>
                    <a:gd name="connsiteX4" fmla="*/ 97450 w 538316"/>
                    <a:gd name="connsiteY4" fmla="*/ 457559 h 725307"/>
                    <a:gd name="connsiteX5" fmla="*/ 97450 w 538316"/>
                    <a:gd name="connsiteY5" fmla="*/ 0 h 725307"/>
                    <a:gd name="connsiteX6" fmla="*/ 0 w 538316"/>
                    <a:gd name="connsiteY6" fmla="*/ 0 h 725307"/>
                    <a:gd name="connsiteX7" fmla="*/ 0 w 538316"/>
                    <a:gd name="connsiteY7" fmla="*/ 449206 h 725307"/>
                    <a:gd name="connsiteX8" fmla="*/ 64627 w 538316"/>
                    <a:gd name="connsiteY8" fmla="*/ 659584 h 725307"/>
                    <a:gd name="connsiteX9" fmla="*/ 269680 w 538316"/>
                    <a:gd name="connsiteY9" fmla="*/ 725308 h 725307"/>
                    <a:gd name="connsiteX10" fmla="*/ 474224 w 538316"/>
                    <a:gd name="connsiteY10" fmla="*/ 659584 h 725307"/>
                    <a:gd name="connsiteX11" fmla="*/ 538317 w 538316"/>
                    <a:gd name="connsiteY11" fmla="*/ 449219 h 725307"/>
                    <a:gd name="connsiteX12" fmla="*/ 538317 w 538316"/>
                    <a:gd name="connsiteY12" fmla="*/ 13 h 725307"/>
                    <a:gd name="connsiteX13" fmla="*/ 445043 w 538316"/>
                    <a:gd name="connsiteY13" fmla="*/ 13 h 725307"/>
                    <a:gd name="connsiteX14" fmla="*/ 445043 w 538316"/>
                    <a:gd name="connsiteY14" fmla="*/ 457559 h 725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8316" h="725307">
                      <a:moveTo>
                        <a:pt x="445030" y="457559"/>
                      </a:moveTo>
                      <a:cubicBezTo>
                        <a:pt x="445030" y="520046"/>
                        <a:pt x="431183" y="566102"/>
                        <a:pt x="403855" y="594474"/>
                      </a:cubicBezTo>
                      <a:cubicBezTo>
                        <a:pt x="376553" y="622820"/>
                        <a:pt x="331749" y="637202"/>
                        <a:pt x="270711" y="637202"/>
                      </a:cubicBezTo>
                      <a:cubicBezTo>
                        <a:pt x="210351" y="637202"/>
                        <a:pt x="165914" y="622833"/>
                        <a:pt x="138625" y="594474"/>
                      </a:cubicBezTo>
                      <a:cubicBezTo>
                        <a:pt x="111296" y="566115"/>
                        <a:pt x="97450" y="520059"/>
                        <a:pt x="97450" y="457559"/>
                      </a:cubicBezTo>
                      <a:lnTo>
                        <a:pt x="97450" y="0"/>
                      </a:lnTo>
                      <a:lnTo>
                        <a:pt x="0" y="0"/>
                      </a:lnTo>
                      <a:lnTo>
                        <a:pt x="0" y="449206"/>
                      </a:lnTo>
                      <a:cubicBezTo>
                        <a:pt x="0" y="545208"/>
                        <a:pt x="21742" y="615995"/>
                        <a:pt x="64627" y="659584"/>
                      </a:cubicBezTo>
                      <a:cubicBezTo>
                        <a:pt x="107512" y="703200"/>
                        <a:pt x="176511" y="725308"/>
                        <a:pt x="269680" y="725308"/>
                      </a:cubicBezTo>
                      <a:cubicBezTo>
                        <a:pt x="362862" y="725308"/>
                        <a:pt x="431679" y="703187"/>
                        <a:pt x="474224" y="659584"/>
                      </a:cubicBezTo>
                      <a:cubicBezTo>
                        <a:pt x="516757" y="615982"/>
                        <a:pt x="538317" y="545195"/>
                        <a:pt x="538317" y="449219"/>
                      </a:cubicBezTo>
                      <a:lnTo>
                        <a:pt x="538317" y="13"/>
                      </a:lnTo>
                      <a:lnTo>
                        <a:pt x="445043" y="13"/>
                      </a:lnTo>
                      <a:lnTo>
                        <a:pt x="445043" y="457559"/>
                      </a:lnTo>
                      <a:close/>
                    </a:path>
                  </a:pathLst>
                </a:custGeom>
                <a:solidFill>
                  <a:schemeClr val="bg1"/>
                </a:solidFill>
                <a:ln w="1305" cap="flat">
                  <a:noFill/>
                  <a:prstDash val="solid"/>
                  <a:miter/>
                </a:ln>
              </p:spPr>
              <p:txBody>
                <a:bodyPr rtlCol="0" anchor="ctr"/>
                <a:lstStyle/>
                <a:p>
                  <a:endParaRPr lang="de-DE" dirty="0"/>
                </a:p>
              </p:txBody>
            </p:sp>
            <p:sp>
              <p:nvSpPr>
                <p:cNvPr id="122" name="Freeform: Shape 121">
                  <a:extLst>
                    <a:ext uri="{FF2B5EF4-FFF2-40B4-BE49-F238E27FC236}">
                      <a16:creationId xmlns:a16="http://schemas.microsoft.com/office/drawing/2014/main" id="{97D1A1EC-7221-4D9F-9EA9-CCAE5FBF7A66}"/>
                    </a:ext>
                  </a:extLst>
                </p:cNvPr>
                <p:cNvSpPr/>
                <p:nvPr/>
              </p:nvSpPr>
              <p:spPr bwMode="gray">
                <a:xfrm>
                  <a:off x="10108932" y="3362649"/>
                  <a:ext cx="501827" cy="737823"/>
                </a:xfrm>
                <a:custGeom>
                  <a:avLst/>
                  <a:gdLst>
                    <a:gd name="connsiteX0" fmla="*/ 458629 w 501827"/>
                    <a:gd name="connsiteY0" fmla="*/ 397800 h 737823"/>
                    <a:gd name="connsiteX1" fmla="*/ 314927 w 501827"/>
                    <a:gd name="connsiteY1" fmla="*/ 327273 h 737823"/>
                    <a:gd name="connsiteX2" fmla="*/ 234665 w 501827"/>
                    <a:gd name="connsiteY2" fmla="*/ 309538 h 737823"/>
                    <a:gd name="connsiteX3" fmla="*/ 134880 w 501827"/>
                    <a:gd name="connsiteY3" fmla="*/ 269381 h 737823"/>
                    <a:gd name="connsiteX4" fmla="*/ 107864 w 501827"/>
                    <a:gd name="connsiteY4" fmla="*/ 203096 h 737823"/>
                    <a:gd name="connsiteX5" fmla="*/ 265504 w 501827"/>
                    <a:gd name="connsiteY5" fmla="*/ 87074 h 737823"/>
                    <a:gd name="connsiteX6" fmla="*/ 460391 w 501827"/>
                    <a:gd name="connsiteY6" fmla="*/ 142018 h 737823"/>
                    <a:gd name="connsiteX7" fmla="*/ 463262 w 501827"/>
                    <a:gd name="connsiteY7" fmla="*/ 144054 h 737823"/>
                    <a:gd name="connsiteX8" fmla="*/ 463262 w 501827"/>
                    <a:gd name="connsiteY8" fmla="*/ 44686 h 737823"/>
                    <a:gd name="connsiteX9" fmla="*/ 462505 w 501827"/>
                    <a:gd name="connsiteY9" fmla="*/ 44138 h 737823"/>
                    <a:gd name="connsiteX10" fmla="*/ 262385 w 501827"/>
                    <a:gd name="connsiteY10" fmla="*/ 0 h 737823"/>
                    <a:gd name="connsiteX11" fmla="*/ 10427 w 501827"/>
                    <a:gd name="connsiteY11" fmla="*/ 209360 h 737823"/>
                    <a:gd name="connsiteX12" fmla="*/ 50480 w 501827"/>
                    <a:gd name="connsiteY12" fmla="*/ 331006 h 737823"/>
                    <a:gd name="connsiteX13" fmla="*/ 186926 w 501827"/>
                    <a:gd name="connsiteY13" fmla="*/ 398844 h 737823"/>
                    <a:gd name="connsiteX14" fmla="*/ 264969 w 501827"/>
                    <a:gd name="connsiteY14" fmla="*/ 417154 h 737823"/>
                    <a:gd name="connsiteX15" fmla="*/ 375313 w 501827"/>
                    <a:gd name="connsiteY15" fmla="*/ 459856 h 737823"/>
                    <a:gd name="connsiteX16" fmla="*/ 404390 w 501827"/>
                    <a:gd name="connsiteY16" fmla="*/ 529508 h 737823"/>
                    <a:gd name="connsiteX17" fmla="*/ 240486 w 501827"/>
                    <a:gd name="connsiteY17" fmla="*/ 650749 h 737823"/>
                    <a:gd name="connsiteX18" fmla="*/ 2910 w 501827"/>
                    <a:gd name="connsiteY18" fmla="*/ 578109 h 737823"/>
                    <a:gd name="connsiteX19" fmla="*/ 0 w 501827"/>
                    <a:gd name="connsiteY19" fmla="*/ 575929 h 737823"/>
                    <a:gd name="connsiteX20" fmla="*/ 0 w 501827"/>
                    <a:gd name="connsiteY20" fmla="*/ 676394 h 737823"/>
                    <a:gd name="connsiteX21" fmla="*/ 691 w 501827"/>
                    <a:gd name="connsiteY21" fmla="*/ 676942 h 737823"/>
                    <a:gd name="connsiteX22" fmla="*/ 238398 w 501827"/>
                    <a:gd name="connsiteY22" fmla="*/ 737824 h 737823"/>
                    <a:gd name="connsiteX23" fmla="*/ 501827 w 501827"/>
                    <a:gd name="connsiteY23" fmla="*/ 526389 h 737823"/>
                    <a:gd name="connsiteX24" fmla="*/ 458629 w 501827"/>
                    <a:gd name="connsiteY24" fmla="*/ 397800 h 73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1827" h="737823">
                      <a:moveTo>
                        <a:pt x="458629" y="397800"/>
                      </a:moveTo>
                      <a:cubicBezTo>
                        <a:pt x="430022" y="365643"/>
                        <a:pt x="381656" y="341929"/>
                        <a:pt x="314927" y="327273"/>
                      </a:cubicBezTo>
                      <a:lnTo>
                        <a:pt x="234665" y="309538"/>
                      </a:lnTo>
                      <a:cubicBezTo>
                        <a:pt x="186573" y="299267"/>
                        <a:pt x="152994" y="285759"/>
                        <a:pt x="134880" y="269381"/>
                      </a:cubicBezTo>
                      <a:cubicBezTo>
                        <a:pt x="116961" y="253171"/>
                        <a:pt x="107864" y="230868"/>
                        <a:pt x="107864" y="203096"/>
                      </a:cubicBezTo>
                      <a:cubicBezTo>
                        <a:pt x="107864" y="126109"/>
                        <a:pt x="160903" y="87074"/>
                        <a:pt x="265504" y="87074"/>
                      </a:cubicBezTo>
                      <a:cubicBezTo>
                        <a:pt x="343261" y="87074"/>
                        <a:pt x="408827" y="105555"/>
                        <a:pt x="460391" y="142018"/>
                      </a:cubicBezTo>
                      <a:lnTo>
                        <a:pt x="463262" y="144054"/>
                      </a:lnTo>
                      <a:lnTo>
                        <a:pt x="463262" y="44686"/>
                      </a:lnTo>
                      <a:lnTo>
                        <a:pt x="462505" y="44138"/>
                      </a:lnTo>
                      <a:cubicBezTo>
                        <a:pt x="421369" y="14852"/>
                        <a:pt x="354040" y="0"/>
                        <a:pt x="262385" y="0"/>
                      </a:cubicBezTo>
                      <a:cubicBezTo>
                        <a:pt x="95205" y="0"/>
                        <a:pt x="10427" y="70435"/>
                        <a:pt x="10427" y="209360"/>
                      </a:cubicBezTo>
                      <a:cubicBezTo>
                        <a:pt x="10427" y="259645"/>
                        <a:pt x="23909" y="300585"/>
                        <a:pt x="50480" y="331006"/>
                      </a:cubicBezTo>
                      <a:cubicBezTo>
                        <a:pt x="76999" y="361401"/>
                        <a:pt x="122911" y="384227"/>
                        <a:pt x="186926" y="398844"/>
                      </a:cubicBezTo>
                      <a:lnTo>
                        <a:pt x="264969" y="417154"/>
                      </a:lnTo>
                      <a:cubicBezTo>
                        <a:pt x="318686" y="429487"/>
                        <a:pt x="355802" y="443856"/>
                        <a:pt x="375313" y="459856"/>
                      </a:cubicBezTo>
                      <a:cubicBezTo>
                        <a:pt x="394615" y="475686"/>
                        <a:pt x="404390" y="499126"/>
                        <a:pt x="404390" y="529508"/>
                      </a:cubicBezTo>
                      <a:cubicBezTo>
                        <a:pt x="404390" y="609953"/>
                        <a:pt x="349251" y="650749"/>
                        <a:pt x="240486" y="650749"/>
                      </a:cubicBezTo>
                      <a:cubicBezTo>
                        <a:pt x="147512" y="650749"/>
                        <a:pt x="67576" y="626305"/>
                        <a:pt x="2910" y="578109"/>
                      </a:cubicBezTo>
                      <a:lnTo>
                        <a:pt x="0" y="575929"/>
                      </a:lnTo>
                      <a:lnTo>
                        <a:pt x="0" y="676394"/>
                      </a:lnTo>
                      <a:lnTo>
                        <a:pt x="691" y="676942"/>
                      </a:lnTo>
                      <a:cubicBezTo>
                        <a:pt x="52190" y="717334"/>
                        <a:pt x="132165" y="737824"/>
                        <a:pt x="238398" y="737824"/>
                      </a:cubicBezTo>
                      <a:cubicBezTo>
                        <a:pt x="413199" y="737824"/>
                        <a:pt x="501827" y="666684"/>
                        <a:pt x="501827" y="526389"/>
                      </a:cubicBezTo>
                      <a:cubicBezTo>
                        <a:pt x="501827" y="473272"/>
                        <a:pt x="487301" y="430022"/>
                        <a:pt x="458629" y="397800"/>
                      </a:cubicBezTo>
                      <a:close/>
                    </a:path>
                  </a:pathLst>
                </a:custGeom>
                <a:solidFill>
                  <a:schemeClr val="bg1"/>
                </a:solidFill>
                <a:ln w="1305" cap="flat">
                  <a:noFill/>
                  <a:prstDash val="solid"/>
                  <a:miter/>
                </a:ln>
              </p:spPr>
              <p:txBody>
                <a:bodyPr rtlCol="0" anchor="ctr"/>
                <a:lstStyle/>
                <a:p>
                  <a:endParaRPr lang="de-DE" dirty="0"/>
                </a:p>
              </p:txBody>
            </p:sp>
          </p:grpSp>
        </p:grpSp>
        <p:grpSp>
          <p:nvGrpSpPr>
            <p:cNvPr id="70" name="Graphic 3">
              <a:extLst>
                <a:ext uri="{FF2B5EF4-FFF2-40B4-BE49-F238E27FC236}">
                  <a16:creationId xmlns:a16="http://schemas.microsoft.com/office/drawing/2014/main" id="{61E224C3-53A5-4C3D-87DB-73EE8D475903}"/>
                </a:ext>
              </a:extLst>
            </p:cNvPr>
            <p:cNvGrpSpPr/>
            <p:nvPr/>
          </p:nvGrpSpPr>
          <p:grpSpPr bwMode="gray">
            <a:xfrm>
              <a:off x="3221874" y="2498768"/>
              <a:ext cx="7385412" cy="488828"/>
              <a:chOff x="3221874" y="2498768"/>
              <a:chExt cx="7385412" cy="488828"/>
            </a:xfrm>
            <a:solidFill>
              <a:srgbClr val="3D434B"/>
            </a:solidFill>
          </p:grpSpPr>
          <p:sp>
            <p:nvSpPr>
              <p:cNvPr id="103" name="Freeform: Shape 102">
                <a:extLst>
                  <a:ext uri="{FF2B5EF4-FFF2-40B4-BE49-F238E27FC236}">
                    <a16:creationId xmlns:a16="http://schemas.microsoft.com/office/drawing/2014/main" id="{2F274C42-E433-40F2-A155-2325B78FD3F6}"/>
                  </a:ext>
                </a:extLst>
              </p:cNvPr>
              <p:cNvSpPr/>
              <p:nvPr/>
            </p:nvSpPr>
            <p:spPr bwMode="gray">
              <a:xfrm>
                <a:off x="3221874" y="2507095"/>
                <a:ext cx="384448" cy="472162"/>
              </a:xfrm>
              <a:custGeom>
                <a:avLst/>
                <a:gdLst>
                  <a:gd name="connsiteX0" fmla="*/ 0 w 384448"/>
                  <a:gd name="connsiteY0" fmla="*/ 472163 h 472162"/>
                  <a:gd name="connsiteX1" fmla="*/ 0 w 384448"/>
                  <a:gd name="connsiteY1" fmla="*/ 0 h 472162"/>
                  <a:gd name="connsiteX2" fmla="*/ 72875 w 384448"/>
                  <a:gd name="connsiteY2" fmla="*/ 0 h 472162"/>
                  <a:gd name="connsiteX3" fmla="*/ 72875 w 384448"/>
                  <a:gd name="connsiteY3" fmla="*/ 202756 h 472162"/>
                  <a:gd name="connsiteX4" fmla="*/ 322001 w 384448"/>
                  <a:gd name="connsiteY4" fmla="*/ 202756 h 472162"/>
                  <a:gd name="connsiteX5" fmla="*/ 322001 w 384448"/>
                  <a:gd name="connsiteY5" fmla="*/ 0 h 472162"/>
                  <a:gd name="connsiteX6" fmla="*/ 384449 w 384448"/>
                  <a:gd name="connsiteY6" fmla="*/ 0 h 472162"/>
                  <a:gd name="connsiteX7" fmla="*/ 384449 w 384448"/>
                  <a:gd name="connsiteY7" fmla="*/ 472163 h 472162"/>
                  <a:gd name="connsiteX8" fmla="*/ 322001 w 384448"/>
                  <a:gd name="connsiteY8" fmla="*/ 472163 h 472162"/>
                  <a:gd name="connsiteX9" fmla="*/ 322001 w 384448"/>
                  <a:gd name="connsiteY9" fmla="*/ 260375 h 472162"/>
                  <a:gd name="connsiteX10" fmla="*/ 72875 w 384448"/>
                  <a:gd name="connsiteY10" fmla="*/ 260375 h 472162"/>
                  <a:gd name="connsiteX11" fmla="*/ 72875 w 384448"/>
                  <a:gd name="connsiteY11" fmla="*/ 472163 h 472162"/>
                  <a:gd name="connsiteX12" fmla="*/ 0 w 384448"/>
                  <a:gd name="connsiteY12" fmla="*/ 472163 h 47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4448" h="472162">
                    <a:moveTo>
                      <a:pt x="0" y="472163"/>
                    </a:moveTo>
                    <a:lnTo>
                      <a:pt x="0" y="0"/>
                    </a:lnTo>
                    <a:lnTo>
                      <a:pt x="72875" y="0"/>
                    </a:lnTo>
                    <a:lnTo>
                      <a:pt x="72875" y="202756"/>
                    </a:lnTo>
                    <a:lnTo>
                      <a:pt x="322001" y="202756"/>
                    </a:lnTo>
                    <a:lnTo>
                      <a:pt x="322001" y="0"/>
                    </a:lnTo>
                    <a:lnTo>
                      <a:pt x="384449" y="0"/>
                    </a:lnTo>
                    <a:lnTo>
                      <a:pt x="384449" y="472163"/>
                    </a:lnTo>
                    <a:lnTo>
                      <a:pt x="322001" y="472163"/>
                    </a:lnTo>
                    <a:lnTo>
                      <a:pt x="322001" y="260375"/>
                    </a:lnTo>
                    <a:lnTo>
                      <a:pt x="72875" y="260375"/>
                    </a:lnTo>
                    <a:lnTo>
                      <a:pt x="72875" y="472163"/>
                    </a:lnTo>
                    <a:lnTo>
                      <a:pt x="0" y="472163"/>
                    </a:lnTo>
                    <a:close/>
                  </a:path>
                </a:pathLst>
              </a:custGeom>
              <a:solidFill>
                <a:schemeClr val="bg1"/>
              </a:solidFill>
              <a:ln w="1305" cap="flat">
                <a:noFill/>
                <a:prstDash val="solid"/>
                <a:miter/>
              </a:ln>
            </p:spPr>
            <p:txBody>
              <a:bodyPr rtlCol="0" anchor="ctr"/>
              <a:lstStyle/>
              <a:p>
                <a:endParaRPr lang="de-DE" dirty="0"/>
              </a:p>
            </p:txBody>
          </p:sp>
          <p:sp>
            <p:nvSpPr>
              <p:cNvPr id="104" name="Freeform: Shape 103">
                <a:extLst>
                  <a:ext uri="{FF2B5EF4-FFF2-40B4-BE49-F238E27FC236}">
                    <a16:creationId xmlns:a16="http://schemas.microsoft.com/office/drawing/2014/main" id="{FD4E9EF7-625C-42AF-B88A-23EB589C22F4}"/>
                  </a:ext>
                </a:extLst>
              </p:cNvPr>
              <p:cNvSpPr/>
              <p:nvPr/>
            </p:nvSpPr>
            <p:spPr bwMode="gray">
              <a:xfrm>
                <a:off x="4051614" y="2498768"/>
                <a:ext cx="413577" cy="488828"/>
              </a:xfrm>
              <a:custGeom>
                <a:avLst/>
                <a:gdLst>
                  <a:gd name="connsiteX0" fmla="*/ 362915 w 413577"/>
                  <a:gd name="connsiteY0" fmla="*/ 428769 h 488828"/>
                  <a:gd name="connsiteX1" fmla="*/ 206789 w 413577"/>
                  <a:gd name="connsiteY1" fmla="*/ 488829 h 488828"/>
                  <a:gd name="connsiteX2" fmla="*/ 50650 w 413577"/>
                  <a:gd name="connsiteY2" fmla="*/ 428769 h 488828"/>
                  <a:gd name="connsiteX3" fmla="*/ 0 w 413577"/>
                  <a:gd name="connsiteY3" fmla="*/ 244414 h 488828"/>
                  <a:gd name="connsiteX4" fmla="*/ 50650 w 413577"/>
                  <a:gd name="connsiteY4" fmla="*/ 60060 h 488828"/>
                  <a:gd name="connsiteX5" fmla="*/ 206789 w 413577"/>
                  <a:gd name="connsiteY5" fmla="*/ 0 h 488828"/>
                  <a:gd name="connsiteX6" fmla="*/ 362915 w 413577"/>
                  <a:gd name="connsiteY6" fmla="*/ 60060 h 488828"/>
                  <a:gd name="connsiteX7" fmla="*/ 413578 w 413577"/>
                  <a:gd name="connsiteY7" fmla="*/ 244414 h 488828"/>
                  <a:gd name="connsiteX8" fmla="*/ 362915 w 413577"/>
                  <a:gd name="connsiteY8" fmla="*/ 428769 h 488828"/>
                  <a:gd name="connsiteX9" fmla="*/ 98181 w 413577"/>
                  <a:gd name="connsiteY9" fmla="*/ 387803 h 488828"/>
                  <a:gd name="connsiteX10" fmla="*/ 206789 w 413577"/>
                  <a:gd name="connsiteY10" fmla="*/ 433285 h 488828"/>
                  <a:gd name="connsiteX11" fmla="*/ 315384 w 413577"/>
                  <a:gd name="connsiteY11" fmla="*/ 387803 h 488828"/>
                  <a:gd name="connsiteX12" fmla="*/ 349734 w 413577"/>
                  <a:gd name="connsiteY12" fmla="*/ 244414 h 488828"/>
                  <a:gd name="connsiteX13" fmla="*/ 315384 w 413577"/>
                  <a:gd name="connsiteY13" fmla="*/ 101026 h 488828"/>
                  <a:gd name="connsiteX14" fmla="*/ 206789 w 413577"/>
                  <a:gd name="connsiteY14" fmla="*/ 55544 h 488828"/>
                  <a:gd name="connsiteX15" fmla="*/ 98181 w 413577"/>
                  <a:gd name="connsiteY15" fmla="*/ 101026 h 488828"/>
                  <a:gd name="connsiteX16" fmla="*/ 63831 w 413577"/>
                  <a:gd name="connsiteY16" fmla="*/ 244414 h 488828"/>
                  <a:gd name="connsiteX17" fmla="*/ 98181 w 413577"/>
                  <a:gd name="connsiteY17" fmla="*/ 387803 h 4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3577" h="488828">
                    <a:moveTo>
                      <a:pt x="362915" y="428769"/>
                    </a:moveTo>
                    <a:cubicBezTo>
                      <a:pt x="329140" y="468809"/>
                      <a:pt x="277093" y="488829"/>
                      <a:pt x="206789" y="488829"/>
                    </a:cubicBezTo>
                    <a:cubicBezTo>
                      <a:pt x="136459" y="488829"/>
                      <a:pt x="84412" y="468809"/>
                      <a:pt x="50650" y="428769"/>
                    </a:cubicBezTo>
                    <a:cubicBezTo>
                      <a:pt x="16875" y="388729"/>
                      <a:pt x="0" y="327286"/>
                      <a:pt x="0" y="244414"/>
                    </a:cubicBezTo>
                    <a:cubicBezTo>
                      <a:pt x="0" y="161555"/>
                      <a:pt x="16888" y="100112"/>
                      <a:pt x="50650" y="60060"/>
                    </a:cubicBezTo>
                    <a:cubicBezTo>
                      <a:pt x="84412" y="20020"/>
                      <a:pt x="136459" y="0"/>
                      <a:pt x="206789" y="0"/>
                    </a:cubicBezTo>
                    <a:cubicBezTo>
                      <a:pt x="277093" y="0"/>
                      <a:pt x="329153" y="20033"/>
                      <a:pt x="362915" y="60060"/>
                    </a:cubicBezTo>
                    <a:cubicBezTo>
                      <a:pt x="396690" y="100099"/>
                      <a:pt x="413578" y="161555"/>
                      <a:pt x="413578" y="244414"/>
                    </a:cubicBezTo>
                    <a:cubicBezTo>
                      <a:pt x="413578" y="327273"/>
                      <a:pt x="396690" y="388729"/>
                      <a:pt x="362915" y="428769"/>
                    </a:cubicBezTo>
                    <a:close/>
                    <a:moveTo>
                      <a:pt x="98181" y="387803"/>
                    </a:moveTo>
                    <a:cubicBezTo>
                      <a:pt x="121085" y="418133"/>
                      <a:pt x="157274" y="433285"/>
                      <a:pt x="206789" y="433285"/>
                    </a:cubicBezTo>
                    <a:cubicBezTo>
                      <a:pt x="256290" y="433285"/>
                      <a:pt x="292493" y="418133"/>
                      <a:pt x="315384" y="387803"/>
                    </a:cubicBezTo>
                    <a:cubicBezTo>
                      <a:pt x="338288" y="357486"/>
                      <a:pt x="349734" y="309681"/>
                      <a:pt x="349734" y="244414"/>
                    </a:cubicBezTo>
                    <a:cubicBezTo>
                      <a:pt x="349734" y="179148"/>
                      <a:pt x="338288" y="131356"/>
                      <a:pt x="315384" y="101026"/>
                    </a:cubicBezTo>
                    <a:cubicBezTo>
                      <a:pt x="292480" y="70709"/>
                      <a:pt x="256277" y="55544"/>
                      <a:pt x="206789" y="55544"/>
                    </a:cubicBezTo>
                    <a:cubicBezTo>
                      <a:pt x="157274" y="55544"/>
                      <a:pt x="121085" y="70709"/>
                      <a:pt x="98181" y="101026"/>
                    </a:cubicBezTo>
                    <a:cubicBezTo>
                      <a:pt x="75277" y="131356"/>
                      <a:pt x="63831" y="179148"/>
                      <a:pt x="63831" y="244414"/>
                    </a:cubicBezTo>
                    <a:cubicBezTo>
                      <a:pt x="63831" y="309681"/>
                      <a:pt x="75277" y="357486"/>
                      <a:pt x="98181" y="387803"/>
                    </a:cubicBezTo>
                    <a:close/>
                  </a:path>
                </a:pathLst>
              </a:custGeom>
              <a:solidFill>
                <a:schemeClr val="bg1"/>
              </a:solidFill>
              <a:ln w="1305" cap="flat">
                <a:noFill/>
                <a:prstDash val="solid"/>
                <a:miter/>
              </a:ln>
            </p:spPr>
            <p:txBody>
              <a:bodyPr rtlCol="0" anchor="ctr"/>
              <a:lstStyle/>
              <a:p>
                <a:endParaRPr lang="de-DE" dirty="0"/>
              </a:p>
            </p:txBody>
          </p:sp>
          <p:sp>
            <p:nvSpPr>
              <p:cNvPr id="105" name="Freeform: Shape 104">
                <a:extLst>
                  <a:ext uri="{FF2B5EF4-FFF2-40B4-BE49-F238E27FC236}">
                    <a16:creationId xmlns:a16="http://schemas.microsoft.com/office/drawing/2014/main" id="{F0311A13-6C14-4ED9-9E8E-1BEA1A31F91C}"/>
                  </a:ext>
                </a:extLst>
              </p:cNvPr>
              <p:cNvSpPr/>
              <p:nvPr/>
            </p:nvSpPr>
            <p:spPr bwMode="gray">
              <a:xfrm>
                <a:off x="4879488" y="2498768"/>
                <a:ext cx="333093" cy="488828"/>
              </a:xfrm>
              <a:custGeom>
                <a:avLst/>
                <a:gdLst>
                  <a:gd name="connsiteX0" fmla="*/ 217882 w 333093"/>
                  <a:gd name="connsiteY0" fmla="*/ 488829 h 488828"/>
                  <a:gd name="connsiteX1" fmla="*/ 53430 w 333093"/>
                  <a:gd name="connsiteY1" fmla="*/ 428769 h 488828"/>
                  <a:gd name="connsiteX2" fmla="*/ 0 w 333093"/>
                  <a:gd name="connsiteY2" fmla="*/ 244414 h 488828"/>
                  <a:gd name="connsiteX3" fmla="*/ 53090 w 333093"/>
                  <a:gd name="connsiteY3" fmla="*/ 60060 h 488828"/>
                  <a:gd name="connsiteX4" fmla="*/ 216512 w 333093"/>
                  <a:gd name="connsiteY4" fmla="*/ 0 h 488828"/>
                  <a:gd name="connsiteX5" fmla="*/ 333094 w 333093"/>
                  <a:gd name="connsiteY5" fmla="*/ 24300 h 488828"/>
                  <a:gd name="connsiteX6" fmla="*/ 333094 w 333093"/>
                  <a:gd name="connsiteY6" fmla="*/ 85404 h 488828"/>
                  <a:gd name="connsiteX7" fmla="*/ 218600 w 333093"/>
                  <a:gd name="connsiteY7" fmla="*/ 55544 h 488828"/>
                  <a:gd name="connsiteX8" fmla="*/ 100621 w 333093"/>
                  <a:gd name="connsiteY8" fmla="*/ 100334 h 488828"/>
                  <a:gd name="connsiteX9" fmla="*/ 63831 w 333093"/>
                  <a:gd name="connsiteY9" fmla="*/ 243723 h 488828"/>
                  <a:gd name="connsiteX10" fmla="*/ 100960 w 333093"/>
                  <a:gd name="connsiteY10" fmla="*/ 388155 h 488828"/>
                  <a:gd name="connsiteX11" fmla="*/ 220662 w 333093"/>
                  <a:gd name="connsiteY11" fmla="*/ 433285 h 488828"/>
                  <a:gd name="connsiteX12" fmla="*/ 333081 w 333093"/>
                  <a:gd name="connsiteY12" fmla="*/ 403424 h 488828"/>
                  <a:gd name="connsiteX13" fmla="*/ 333081 w 333093"/>
                  <a:gd name="connsiteY13" fmla="*/ 464528 h 488828"/>
                  <a:gd name="connsiteX14" fmla="*/ 217882 w 333093"/>
                  <a:gd name="connsiteY14" fmla="*/ 488829 h 4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3093" h="488828">
                    <a:moveTo>
                      <a:pt x="217882" y="488829"/>
                    </a:moveTo>
                    <a:cubicBezTo>
                      <a:pt x="143871" y="488829"/>
                      <a:pt x="89032" y="468809"/>
                      <a:pt x="53430" y="428769"/>
                    </a:cubicBezTo>
                    <a:cubicBezTo>
                      <a:pt x="17801" y="388729"/>
                      <a:pt x="0" y="327286"/>
                      <a:pt x="0" y="244414"/>
                    </a:cubicBezTo>
                    <a:cubicBezTo>
                      <a:pt x="0" y="161555"/>
                      <a:pt x="17697" y="100112"/>
                      <a:pt x="53090" y="60060"/>
                    </a:cubicBezTo>
                    <a:cubicBezTo>
                      <a:pt x="88484" y="20020"/>
                      <a:pt x="142958" y="0"/>
                      <a:pt x="216512" y="0"/>
                    </a:cubicBezTo>
                    <a:cubicBezTo>
                      <a:pt x="265543" y="0"/>
                      <a:pt x="304408" y="8105"/>
                      <a:pt x="333094" y="24300"/>
                    </a:cubicBezTo>
                    <a:lnTo>
                      <a:pt x="333094" y="85404"/>
                    </a:lnTo>
                    <a:cubicBezTo>
                      <a:pt x="300245" y="65502"/>
                      <a:pt x="262085" y="55544"/>
                      <a:pt x="218600" y="55544"/>
                    </a:cubicBezTo>
                    <a:cubicBezTo>
                      <a:pt x="164478" y="55544"/>
                      <a:pt x="125143" y="70474"/>
                      <a:pt x="100621" y="100334"/>
                    </a:cubicBezTo>
                    <a:cubicBezTo>
                      <a:pt x="76086" y="130194"/>
                      <a:pt x="63831" y="177999"/>
                      <a:pt x="63831" y="243723"/>
                    </a:cubicBezTo>
                    <a:cubicBezTo>
                      <a:pt x="63831" y="309929"/>
                      <a:pt x="76203" y="358060"/>
                      <a:pt x="100960" y="388155"/>
                    </a:cubicBezTo>
                    <a:cubicBezTo>
                      <a:pt x="125704" y="418250"/>
                      <a:pt x="165614" y="433285"/>
                      <a:pt x="220662" y="433285"/>
                    </a:cubicBezTo>
                    <a:cubicBezTo>
                      <a:pt x="263690" y="433285"/>
                      <a:pt x="301159" y="423340"/>
                      <a:pt x="333081" y="403424"/>
                    </a:cubicBezTo>
                    <a:lnTo>
                      <a:pt x="333081" y="464528"/>
                    </a:lnTo>
                    <a:cubicBezTo>
                      <a:pt x="304852" y="480724"/>
                      <a:pt x="266457" y="488829"/>
                      <a:pt x="217882" y="488829"/>
                    </a:cubicBezTo>
                    <a:close/>
                  </a:path>
                </a:pathLst>
              </a:custGeom>
              <a:solidFill>
                <a:schemeClr val="bg1"/>
              </a:solidFill>
              <a:ln w="1305" cap="flat">
                <a:noFill/>
                <a:prstDash val="solid"/>
                <a:miter/>
              </a:ln>
            </p:spPr>
            <p:txBody>
              <a:bodyPr rtlCol="0" anchor="ctr"/>
              <a:lstStyle/>
              <a:p>
                <a:endParaRPr lang="de-DE" dirty="0"/>
              </a:p>
            </p:txBody>
          </p:sp>
          <p:sp>
            <p:nvSpPr>
              <p:cNvPr id="106" name="Freeform: Shape 105">
                <a:extLst>
                  <a:ext uri="{FF2B5EF4-FFF2-40B4-BE49-F238E27FC236}">
                    <a16:creationId xmlns:a16="http://schemas.microsoft.com/office/drawing/2014/main" id="{35E0F0D6-1875-40DD-90F0-D4F3ADCF7A69}"/>
                  </a:ext>
                </a:extLst>
              </p:cNvPr>
              <p:cNvSpPr/>
              <p:nvPr/>
            </p:nvSpPr>
            <p:spPr bwMode="gray">
              <a:xfrm>
                <a:off x="5636352" y="2507095"/>
                <a:ext cx="374021" cy="472162"/>
              </a:xfrm>
              <a:custGeom>
                <a:avLst/>
                <a:gdLst>
                  <a:gd name="connsiteX0" fmla="*/ 0 w 374021"/>
                  <a:gd name="connsiteY0" fmla="*/ 472163 h 472162"/>
                  <a:gd name="connsiteX1" fmla="*/ 0 w 374021"/>
                  <a:gd name="connsiteY1" fmla="*/ 0 h 472162"/>
                  <a:gd name="connsiteX2" fmla="*/ 62448 w 374021"/>
                  <a:gd name="connsiteY2" fmla="*/ 0 h 472162"/>
                  <a:gd name="connsiteX3" fmla="*/ 62448 w 374021"/>
                  <a:gd name="connsiteY3" fmla="*/ 202756 h 472162"/>
                  <a:gd name="connsiteX4" fmla="*/ 311574 w 374021"/>
                  <a:gd name="connsiteY4" fmla="*/ 202756 h 472162"/>
                  <a:gd name="connsiteX5" fmla="*/ 311574 w 374021"/>
                  <a:gd name="connsiteY5" fmla="*/ 0 h 472162"/>
                  <a:gd name="connsiteX6" fmla="*/ 374022 w 374021"/>
                  <a:gd name="connsiteY6" fmla="*/ 0 h 472162"/>
                  <a:gd name="connsiteX7" fmla="*/ 374022 w 374021"/>
                  <a:gd name="connsiteY7" fmla="*/ 472163 h 472162"/>
                  <a:gd name="connsiteX8" fmla="*/ 311574 w 374021"/>
                  <a:gd name="connsiteY8" fmla="*/ 472163 h 472162"/>
                  <a:gd name="connsiteX9" fmla="*/ 311574 w 374021"/>
                  <a:gd name="connsiteY9" fmla="*/ 260375 h 472162"/>
                  <a:gd name="connsiteX10" fmla="*/ 62448 w 374021"/>
                  <a:gd name="connsiteY10" fmla="*/ 260375 h 472162"/>
                  <a:gd name="connsiteX11" fmla="*/ 62448 w 374021"/>
                  <a:gd name="connsiteY11" fmla="*/ 472163 h 472162"/>
                  <a:gd name="connsiteX12" fmla="*/ 0 w 374021"/>
                  <a:gd name="connsiteY12" fmla="*/ 472163 h 47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4021" h="472162">
                    <a:moveTo>
                      <a:pt x="0" y="472163"/>
                    </a:moveTo>
                    <a:lnTo>
                      <a:pt x="0" y="0"/>
                    </a:lnTo>
                    <a:lnTo>
                      <a:pt x="62448" y="0"/>
                    </a:lnTo>
                    <a:lnTo>
                      <a:pt x="62448" y="202756"/>
                    </a:lnTo>
                    <a:lnTo>
                      <a:pt x="311574" y="202756"/>
                    </a:lnTo>
                    <a:lnTo>
                      <a:pt x="311574" y="0"/>
                    </a:lnTo>
                    <a:lnTo>
                      <a:pt x="374022" y="0"/>
                    </a:lnTo>
                    <a:lnTo>
                      <a:pt x="374022" y="472163"/>
                    </a:lnTo>
                    <a:lnTo>
                      <a:pt x="311574" y="472163"/>
                    </a:lnTo>
                    <a:lnTo>
                      <a:pt x="311574" y="260375"/>
                    </a:lnTo>
                    <a:lnTo>
                      <a:pt x="62448" y="260375"/>
                    </a:lnTo>
                    <a:lnTo>
                      <a:pt x="62448" y="472163"/>
                    </a:lnTo>
                    <a:lnTo>
                      <a:pt x="0" y="472163"/>
                    </a:lnTo>
                    <a:close/>
                  </a:path>
                </a:pathLst>
              </a:custGeom>
              <a:solidFill>
                <a:schemeClr val="bg1"/>
              </a:solidFill>
              <a:ln w="1305" cap="flat">
                <a:noFill/>
                <a:prstDash val="solid"/>
                <a:miter/>
              </a:ln>
            </p:spPr>
            <p:txBody>
              <a:bodyPr rtlCol="0" anchor="ctr"/>
              <a:lstStyle/>
              <a:p>
                <a:endParaRPr lang="de-DE" dirty="0"/>
              </a:p>
            </p:txBody>
          </p:sp>
          <p:sp>
            <p:nvSpPr>
              <p:cNvPr id="107" name="Freeform: Shape 106">
                <a:extLst>
                  <a:ext uri="{FF2B5EF4-FFF2-40B4-BE49-F238E27FC236}">
                    <a16:creationId xmlns:a16="http://schemas.microsoft.com/office/drawing/2014/main" id="{30DD663B-848D-4E69-81D8-8F4C6CBB8E49}"/>
                  </a:ext>
                </a:extLst>
              </p:cNvPr>
              <p:cNvSpPr/>
              <p:nvPr/>
            </p:nvSpPr>
            <p:spPr bwMode="gray">
              <a:xfrm>
                <a:off x="6440565" y="2498768"/>
                <a:ext cx="331697" cy="488828"/>
              </a:xfrm>
              <a:custGeom>
                <a:avLst/>
                <a:gdLst>
                  <a:gd name="connsiteX0" fmla="*/ 157523 w 331697"/>
                  <a:gd name="connsiteY0" fmla="*/ 488829 h 488828"/>
                  <a:gd name="connsiteX1" fmla="*/ 0 w 331697"/>
                  <a:gd name="connsiteY1" fmla="*/ 448554 h 488828"/>
                  <a:gd name="connsiteX2" fmla="*/ 0 w 331697"/>
                  <a:gd name="connsiteY2" fmla="*/ 384671 h 488828"/>
                  <a:gd name="connsiteX3" fmla="*/ 158905 w 331697"/>
                  <a:gd name="connsiteY3" fmla="*/ 433271 h 488828"/>
                  <a:gd name="connsiteX4" fmla="*/ 269250 w 331697"/>
                  <a:gd name="connsiteY4" fmla="*/ 351339 h 488828"/>
                  <a:gd name="connsiteX5" fmla="*/ 249452 w 331697"/>
                  <a:gd name="connsiteY5" fmla="*/ 304017 h 488828"/>
                  <a:gd name="connsiteX6" fmla="*/ 175480 w 331697"/>
                  <a:gd name="connsiteY6" fmla="*/ 275344 h 488828"/>
                  <a:gd name="connsiteX7" fmla="*/ 123525 w 331697"/>
                  <a:gd name="connsiteY7" fmla="*/ 263155 h 488828"/>
                  <a:gd name="connsiteX8" fmla="*/ 33318 w 331697"/>
                  <a:gd name="connsiteY8" fmla="*/ 218365 h 488828"/>
                  <a:gd name="connsiteX9" fmla="*/ 6943 w 331697"/>
                  <a:gd name="connsiteY9" fmla="*/ 138168 h 488828"/>
                  <a:gd name="connsiteX10" fmla="*/ 173484 w 331697"/>
                  <a:gd name="connsiteY10" fmla="*/ 0 h 488828"/>
                  <a:gd name="connsiteX11" fmla="*/ 306026 w 331697"/>
                  <a:gd name="connsiteY11" fmla="*/ 29168 h 488828"/>
                  <a:gd name="connsiteX12" fmla="*/ 306026 w 331697"/>
                  <a:gd name="connsiteY12" fmla="*/ 92360 h 488828"/>
                  <a:gd name="connsiteX13" fmla="*/ 175571 w 331697"/>
                  <a:gd name="connsiteY13" fmla="*/ 55557 h 488828"/>
                  <a:gd name="connsiteX14" fmla="*/ 69391 w 331697"/>
                  <a:gd name="connsiteY14" fmla="*/ 134018 h 488828"/>
                  <a:gd name="connsiteX15" fmla="*/ 87779 w 331697"/>
                  <a:gd name="connsiteY15" fmla="*/ 179056 h 488828"/>
                  <a:gd name="connsiteX16" fmla="*/ 154769 w 331697"/>
                  <a:gd name="connsiteY16" fmla="*/ 206084 h 488828"/>
                  <a:gd name="connsiteX17" fmla="*/ 208198 w 331697"/>
                  <a:gd name="connsiteY17" fmla="*/ 217882 h 488828"/>
                  <a:gd name="connsiteX18" fmla="*/ 303247 w 331697"/>
                  <a:gd name="connsiteY18" fmla="*/ 264460 h 488828"/>
                  <a:gd name="connsiteX19" fmla="*/ 331698 w 331697"/>
                  <a:gd name="connsiteY19" fmla="*/ 349264 h 488828"/>
                  <a:gd name="connsiteX20" fmla="*/ 157523 w 331697"/>
                  <a:gd name="connsiteY20" fmla="*/ 488829 h 4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1697" h="488828">
                    <a:moveTo>
                      <a:pt x="157523" y="488829"/>
                    </a:moveTo>
                    <a:cubicBezTo>
                      <a:pt x="86735" y="488829"/>
                      <a:pt x="34219" y="475412"/>
                      <a:pt x="0" y="448554"/>
                    </a:cubicBezTo>
                    <a:lnTo>
                      <a:pt x="0" y="384671"/>
                    </a:lnTo>
                    <a:cubicBezTo>
                      <a:pt x="43485" y="417076"/>
                      <a:pt x="96458" y="433271"/>
                      <a:pt x="158905" y="433271"/>
                    </a:cubicBezTo>
                    <a:cubicBezTo>
                      <a:pt x="232460" y="433271"/>
                      <a:pt x="269250" y="405969"/>
                      <a:pt x="269250" y="351339"/>
                    </a:cubicBezTo>
                    <a:cubicBezTo>
                      <a:pt x="269250" y="330614"/>
                      <a:pt x="262646" y="314849"/>
                      <a:pt x="249452" y="304017"/>
                    </a:cubicBezTo>
                    <a:cubicBezTo>
                      <a:pt x="236245" y="293185"/>
                      <a:pt x="211605" y="283632"/>
                      <a:pt x="175480" y="275344"/>
                    </a:cubicBezTo>
                    <a:lnTo>
                      <a:pt x="123525" y="263155"/>
                    </a:lnTo>
                    <a:cubicBezTo>
                      <a:pt x="80953" y="253432"/>
                      <a:pt x="50885" y="238502"/>
                      <a:pt x="33318" y="218365"/>
                    </a:cubicBezTo>
                    <a:cubicBezTo>
                      <a:pt x="15726" y="198228"/>
                      <a:pt x="6943" y="171500"/>
                      <a:pt x="6943" y="138168"/>
                    </a:cubicBezTo>
                    <a:cubicBezTo>
                      <a:pt x="6943" y="46056"/>
                      <a:pt x="62461" y="0"/>
                      <a:pt x="173484" y="0"/>
                    </a:cubicBezTo>
                    <a:cubicBezTo>
                      <a:pt x="234548" y="0"/>
                      <a:pt x="278724" y="9723"/>
                      <a:pt x="306026" y="29168"/>
                    </a:cubicBezTo>
                    <a:lnTo>
                      <a:pt x="306026" y="92360"/>
                    </a:lnTo>
                    <a:cubicBezTo>
                      <a:pt x="271325" y="67825"/>
                      <a:pt x="227840" y="55557"/>
                      <a:pt x="175571" y="55557"/>
                    </a:cubicBezTo>
                    <a:cubicBezTo>
                      <a:pt x="104784" y="55557"/>
                      <a:pt x="69391" y="81711"/>
                      <a:pt x="69391" y="134018"/>
                    </a:cubicBezTo>
                    <a:cubicBezTo>
                      <a:pt x="69391" y="152955"/>
                      <a:pt x="75511" y="167963"/>
                      <a:pt x="87779" y="179056"/>
                    </a:cubicBezTo>
                    <a:cubicBezTo>
                      <a:pt x="100047" y="190149"/>
                      <a:pt x="122377" y="199154"/>
                      <a:pt x="154769" y="206084"/>
                    </a:cubicBezTo>
                    <a:lnTo>
                      <a:pt x="208198" y="217882"/>
                    </a:lnTo>
                    <a:cubicBezTo>
                      <a:pt x="252597" y="227618"/>
                      <a:pt x="284271" y="243148"/>
                      <a:pt x="303247" y="264460"/>
                    </a:cubicBezTo>
                    <a:cubicBezTo>
                      <a:pt x="322210" y="285772"/>
                      <a:pt x="331698" y="314053"/>
                      <a:pt x="331698" y="349264"/>
                    </a:cubicBezTo>
                    <a:cubicBezTo>
                      <a:pt x="331698" y="442303"/>
                      <a:pt x="273635" y="488829"/>
                      <a:pt x="157523" y="488829"/>
                    </a:cubicBezTo>
                    <a:close/>
                  </a:path>
                </a:pathLst>
              </a:custGeom>
              <a:solidFill>
                <a:schemeClr val="bg1"/>
              </a:solidFill>
              <a:ln w="1305" cap="flat">
                <a:noFill/>
                <a:prstDash val="solid"/>
                <a:miter/>
              </a:ln>
            </p:spPr>
            <p:txBody>
              <a:bodyPr rtlCol="0" anchor="ctr"/>
              <a:lstStyle/>
              <a:p>
                <a:endParaRPr lang="de-DE" dirty="0"/>
              </a:p>
            </p:txBody>
          </p:sp>
          <p:sp>
            <p:nvSpPr>
              <p:cNvPr id="108" name="Freeform: Shape 107">
                <a:extLst>
                  <a:ext uri="{FF2B5EF4-FFF2-40B4-BE49-F238E27FC236}">
                    <a16:creationId xmlns:a16="http://schemas.microsoft.com/office/drawing/2014/main" id="{D6109692-95CC-49A7-A01F-A9FCB0568A94}"/>
                  </a:ext>
                </a:extLst>
              </p:cNvPr>
              <p:cNvSpPr/>
              <p:nvPr/>
            </p:nvSpPr>
            <p:spPr bwMode="gray">
              <a:xfrm>
                <a:off x="7176575" y="2498768"/>
                <a:ext cx="333093" cy="488828"/>
              </a:xfrm>
              <a:custGeom>
                <a:avLst/>
                <a:gdLst>
                  <a:gd name="connsiteX0" fmla="*/ 217882 w 333093"/>
                  <a:gd name="connsiteY0" fmla="*/ 488829 h 488828"/>
                  <a:gd name="connsiteX1" fmla="*/ 53430 w 333093"/>
                  <a:gd name="connsiteY1" fmla="*/ 428769 h 488828"/>
                  <a:gd name="connsiteX2" fmla="*/ 0 w 333093"/>
                  <a:gd name="connsiteY2" fmla="*/ 244414 h 488828"/>
                  <a:gd name="connsiteX3" fmla="*/ 53091 w 333093"/>
                  <a:gd name="connsiteY3" fmla="*/ 60060 h 488828"/>
                  <a:gd name="connsiteX4" fmla="*/ 216512 w 333093"/>
                  <a:gd name="connsiteY4" fmla="*/ 0 h 488828"/>
                  <a:gd name="connsiteX5" fmla="*/ 333094 w 333093"/>
                  <a:gd name="connsiteY5" fmla="*/ 24300 h 488828"/>
                  <a:gd name="connsiteX6" fmla="*/ 333094 w 333093"/>
                  <a:gd name="connsiteY6" fmla="*/ 85404 h 488828"/>
                  <a:gd name="connsiteX7" fmla="*/ 218600 w 333093"/>
                  <a:gd name="connsiteY7" fmla="*/ 55544 h 488828"/>
                  <a:gd name="connsiteX8" fmla="*/ 100621 w 333093"/>
                  <a:gd name="connsiteY8" fmla="*/ 100334 h 488828"/>
                  <a:gd name="connsiteX9" fmla="*/ 63831 w 333093"/>
                  <a:gd name="connsiteY9" fmla="*/ 243723 h 488828"/>
                  <a:gd name="connsiteX10" fmla="*/ 100960 w 333093"/>
                  <a:gd name="connsiteY10" fmla="*/ 388155 h 488828"/>
                  <a:gd name="connsiteX11" fmla="*/ 220662 w 333093"/>
                  <a:gd name="connsiteY11" fmla="*/ 433285 h 488828"/>
                  <a:gd name="connsiteX12" fmla="*/ 333081 w 333093"/>
                  <a:gd name="connsiteY12" fmla="*/ 403424 h 488828"/>
                  <a:gd name="connsiteX13" fmla="*/ 333081 w 333093"/>
                  <a:gd name="connsiteY13" fmla="*/ 464528 h 488828"/>
                  <a:gd name="connsiteX14" fmla="*/ 217882 w 333093"/>
                  <a:gd name="connsiteY14" fmla="*/ 488829 h 4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3093" h="488828">
                    <a:moveTo>
                      <a:pt x="217882" y="488829"/>
                    </a:moveTo>
                    <a:cubicBezTo>
                      <a:pt x="143872" y="488829"/>
                      <a:pt x="89032" y="468809"/>
                      <a:pt x="53430" y="428769"/>
                    </a:cubicBezTo>
                    <a:cubicBezTo>
                      <a:pt x="17801" y="388729"/>
                      <a:pt x="0" y="327286"/>
                      <a:pt x="0" y="244414"/>
                    </a:cubicBezTo>
                    <a:cubicBezTo>
                      <a:pt x="0" y="161555"/>
                      <a:pt x="17697" y="100112"/>
                      <a:pt x="53091" y="60060"/>
                    </a:cubicBezTo>
                    <a:cubicBezTo>
                      <a:pt x="88484" y="20020"/>
                      <a:pt x="142958" y="0"/>
                      <a:pt x="216512" y="0"/>
                    </a:cubicBezTo>
                    <a:cubicBezTo>
                      <a:pt x="265544" y="0"/>
                      <a:pt x="304408" y="8105"/>
                      <a:pt x="333094" y="24300"/>
                    </a:cubicBezTo>
                    <a:lnTo>
                      <a:pt x="333094" y="85404"/>
                    </a:lnTo>
                    <a:cubicBezTo>
                      <a:pt x="300245" y="65502"/>
                      <a:pt x="262085" y="55544"/>
                      <a:pt x="218600" y="55544"/>
                    </a:cubicBezTo>
                    <a:cubicBezTo>
                      <a:pt x="164478" y="55544"/>
                      <a:pt x="125144" y="70474"/>
                      <a:pt x="100621" y="100334"/>
                    </a:cubicBezTo>
                    <a:cubicBezTo>
                      <a:pt x="76099" y="130194"/>
                      <a:pt x="63831" y="177999"/>
                      <a:pt x="63831" y="243723"/>
                    </a:cubicBezTo>
                    <a:cubicBezTo>
                      <a:pt x="63831" y="309929"/>
                      <a:pt x="76203" y="358060"/>
                      <a:pt x="100960" y="388155"/>
                    </a:cubicBezTo>
                    <a:cubicBezTo>
                      <a:pt x="125704" y="418250"/>
                      <a:pt x="165614" y="433285"/>
                      <a:pt x="220662" y="433285"/>
                    </a:cubicBezTo>
                    <a:cubicBezTo>
                      <a:pt x="263690" y="433285"/>
                      <a:pt x="301159" y="423340"/>
                      <a:pt x="333081" y="403424"/>
                    </a:cubicBezTo>
                    <a:lnTo>
                      <a:pt x="333081" y="464528"/>
                    </a:lnTo>
                    <a:cubicBezTo>
                      <a:pt x="304852" y="480724"/>
                      <a:pt x="266457" y="488829"/>
                      <a:pt x="217882" y="488829"/>
                    </a:cubicBezTo>
                    <a:close/>
                  </a:path>
                </a:pathLst>
              </a:custGeom>
              <a:solidFill>
                <a:schemeClr val="bg1"/>
              </a:solidFill>
              <a:ln w="1305" cap="flat">
                <a:noFill/>
                <a:prstDash val="solid"/>
                <a:miter/>
              </a:ln>
            </p:spPr>
            <p:txBody>
              <a:bodyPr rtlCol="0" anchor="ctr"/>
              <a:lstStyle/>
              <a:p>
                <a:endParaRPr lang="de-DE" dirty="0"/>
              </a:p>
            </p:txBody>
          </p:sp>
          <p:sp>
            <p:nvSpPr>
              <p:cNvPr id="109" name="Freeform: Shape 108">
                <a:extLst>
                  <a:ext uri="{FF2B5EF4-FFF2-40B4-BE49-F238E27FC236}">
                    <a16:creationId xmlns:a16="http://schemas.microsoft.com/office/drawing/2014/main" id="{A59A3523-C4B6-48A4-8E10-1EDD19966DB4}"/>
                  </a:ext>
                </a:extLst>
              </p:cNvPr>
              <p:cNvSpPr/>
              <p:nvPr/>
            </p:nvSpPr>
            <p:spPr bwMode="gray">
              <a:xfrm>
                <a:off x="7933439" y="2507095"/>
                <a:ext cx="374020" cy="472162"/>
              </a:xfrm>
              <a:custGeom>
                <a:avLst/>
                <a:gdLst>
                  <a:gd name="connsiteX0" fmla="*/ 0 w 374020"/>
                  <a:gd name="connsiteY0" fmla="*/ 472163 h 472162"/>
                  <a:gd name="connsiteX1" fmla="*/ 0 w 374020"/>
                  <a:gd name="connsiteY1" fmla="*/ 0 h 472162"/>
                  <a:gd name="connsiteX2" fmla="*/ 62448 w 374020"/>
                  <a:gd name="connsiteY2" fmla="*/ 0 h 472162"/>
                  <a:gd name="connsiteX3" fmla="*/ 62448 w 374020"/>
                  <a:gd name="connsiteY3" fmla="*/ 202756 h 472162"/>
                  <a:gd name="connsiteX4" fmla="*/ 311574 w 374020"/>
                  <a:gd name="connsiteY4" fmla="*/ 202756 h 472162"/>
                  <a:gd name="connsiteX5" fmla="*/ 311574 w 374020"/>
                  <a:gd name="connsiteY5" fmla="*/ 0 h 472162"/>
                  <a:gd name="connsiteX6" fmla="*/ 374021 w 374020"/>
                  <a:gd name="connsiteY6" fmla="*/ 0 h 472162"/>
                  <a:gd name="connsiteX7" fmla="*/ 374021 w 374020"/>
                  <a:gd name="connsiteY7" fmla="*/ 472163 h 472162"/>
                  <a:gd name="connsiteX8" fmla="*/ 311574 w 374020"/>
                  <a:gd name="connsiteY8" fmla="*/ 472163 h 472162"/>
                  <a:gd name="connsiteX9" fmla="*/ 311574 w 374020"/>
                  <a:gd name="connsiteY9" fmla="*/ 260375 h 472162"/>
                  <a:gd name="connsiteX10" fmla="*/ 62448 w 374020"/>
                  <a:gd name="connsiteY10" fmla="*/ 260375 h 472162"/>
                  <a:gd name="connsiteX11" fmla="*/ 62448 w 374020"/>
                  <a:gd name="connsiteY11" fmla="*/ 472163 h 472162"/>
                  <a:gd name="connsiteX12" fmla="*/ 0 w 374020"/>
                  <a:gd name="connsiteY12" fmla="*/ 472163 h 47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4020" h="472162">
                    <a:moveTo>
                      <a:pt x="0" y="472163"/>
                    </a:moveTo>
                    <a:lnTo>
                      <a:pt x="0" y="0"/>
                    </a:lnTo>
                    <a:lnTo>
                      <a:pt x="62448" y="0"/>
                    </a:lnTo>
                    <a:lnTo>
                      <a:pt x="62448" y="202756"/>
                    </a:lnTo>
                    <a:lnTo>
                      <a:pt x="311574" y="202756"/>
                    </a:lnTo>
                    <a:lnTo>
                      <a:pt x="311574" y="0"/>
                    </a:lnTo>
                    <a:lnTo>
                      <a:pt x="374021" y="0"/>
                    </a:lnTo>
                    <a:lnTo>
                      <a:pt x="374021" y="472163"/>
                    </a:lnTo>
                    <a:lnTo>
                      <a:pt x="311574" y="472163"/>
                    </a:lnTo>
                    <a:lnTo>
                      <a:pt x="311574" y="260375"/>
                    </a:lnTo>
                    <a:lnTo>
                      <a:pt x="62448" y="260375"/>
                    </a:lnTo>
                    <a:lnTo>
                      <a:pt x="62448" y="472163"/>
                    </a:lnTo>
                    <a:lnTo>
                      <a:pt x="0" y="472163"/>
                    </a:lnTo>
                    <a:close/>
                  </a:path>
                </a:pathLst>
              </a:custGeom>
              <a:solidFill>
                <a:schemeClr val="bg1"/>
              </a:solidFill>
              <a:ln w="1305" cap="flat">
                <a:noFill/>
                <a:prstDash val="solid"/>
                <a:miter/>
              </a:ln>
            </p:spPr>
            <p:txBody>
              <a:bodyPr rtlCol="0" anchor="ctr"/>
              <a:lstStyle/>
              <a:p>
                <a:endParaRPr lang="de-DE" dirty="0"/>
              </a:p>
            </p:txBody>
          </p:sp>
          <p:sp>
            <p:nvSpPr>
              <p:cNvPr id="110" name="Freeform: Shape 109">
                <a:extLst>
                  <a:ext uri="{FF2B5EF4-FFF2-40B4-BE49-F238E27FC236}">
                    <a16:creationId xmlns:a16="http://schemas.microsoft.com/office/drawing/2014/main" id="{EC13E4FE-4C7D-4374-AE95-F732BA88DD43}"/>
                  </a:ext>
                </a:extLst>
              </p:cNvPr>
              <p:cNvSpPr/>
              <p:nvPr/>
            </p:nvSpPr>
            <p:spPr bwMode="gray">
              <a:xfrm>
                <a:off x="8759917" y="2507095"/>
                <a:ext cx="355997" cy="480502"/>
              </a:xfrm>
              <a:custGeom>
                <a:avLst/>
                <a:gdLst>
                  <a:gd name="connsiteX0" fmla="*/ 313661 w 355997"/>
                  <a:gd name="connsiteY0" fmla="*/ 437108 h 480502"/>
                  <a:gd name="connsiteX1" fmla="*/ 178338 w 355997"/>
                  <a:gd name="connsiteY1" fmla="*/ 480502 h 480502"/>
                  <a:gd name="connsiteX2" fmla="*/ 42676 w 355997"/>
                  <a:gd name="connsiteY2" fmla="*/ 437108 h 480502"/>
                  <a:gd name="connsiteX3" fmla="*/ 0 w 355997"/>
                  <a:gd name="connsiteY3" fmla="*/ 297896 h 480502"/>
                  <a:gd name="connsiteX4" fmla="*/ 0 w 355997"/>
                  <a:gd name="connsiteY4" fmla="*/ 0 h 480502"/>
                  <a:gd name="connsiteX5" fmla="*/ 62447 w 355997"/>
                  <a:gd name="connsiteY5" fmla="*/ 0 h 480502"/>
                  <a:gd name="connsiteX6" fmla="*/ 62447 w 355997"/>
                  <a:gd name="connsiteY6" fmla="*/ 303430 h 480502"/>
                  <a:gd name="connsiteX7" fmla="*/ 90206 w 355997"/>
                  <a:gd name="connsiteY7" fmla="*/ 395437 h 480502"/>
                  <a:gd name="connsiteX8" fmla="*/ 179030 w 355997"/>
                  <a:gd name="connsiteY8" fmla="*/ 424254 h 480502"/>
                  <a:gd name="connsiteX9" fmla="*/ 268558 w 355997"/>
                  <a:gd name="connsiteY9" fmla="*/ 395437 h 480502"/>
                  <a:gd name="connsiteX10" fmla="*/ 296317 w 355997"/>
                  <a:gd name="connsiteY10" fmla="*/ 303430 h 480502"/>
                  <a:gd name="connsiteX11" fmla="*/ 296317 w 355997"/>
                  <a:gd name="connsiteY11" fmla="*/ 0 h 480502"/>
                  <a:gd name="connsiteX12" fmla="*/ 355998 w 355997"/>
                  <a:gd name="connsiteY12" fmla="*/ 0 h 480502"/>
                  <a:gd name="connsiteX13" fmla="*/ 355998 w 355997"/>
                  <a:gd name="connsiteY13" fmla="*/ 297883 h 480502"/>
                  <a:gd name="connsiteX14" fmla="*/ 313661 w 355997"/>
                  <a:gd name="connsiteY14" fmla="*/ 437108 h 48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5997" h="480502">
                    <a:moveTo>
                      <a:pt x="313661" y="437108"/>
                    </a:moveTo>
                    <a:cubicBezTo>
                      <a:pt x="285433" y="466042"/>
                      <a:pt x="240342" y="480502"/>
                      <a:pt x="178338" y="480502"/>
                    </a:cubicBezTo>
                    <a:cubicBezTo>
                      <a:pt x="116334" y="480502"/>
                      <a:pt x="71127" y="466042"/>
                      <a:pt x="42676" y="437108"/>
                    </a:cubicBezTo>
                    <a:cubicBezTo>
                      <a:pt x="14225" y="408188"/>
                      <a:pt x="0" y="361767"/>
                      <a:pt x="0" y="297896"/>
                    </a:cubicBezTo>
                    <a:lnTo>
                      <a:pt x="0" y="0"/>
                    </a:lnTo>
                    <a:lnTo>
                      <a:pt x="62447" y="0"/>
                    </a:lnTo>
                    <a:lnTo>
                      <a:pt x="62447" y="303430"/>
                    </a:lnTo>
                    <a:cubicBezTo>
                      <a:pt x="62447" y="345558"/>
                      <a:pt x="71701" y="376227"/>
                      <a:pt x="90206" y="395437"/>
                    </a:cubicBezTo>
                    <a:cubicBezTo>
                      <a:pt x="108712" y="414661"/>
                      <a:pt x="138324" y="424254"/>
                      <a:pt x="179030" y="424254"/>
                    </a:cubicBezTo>
                    <a:cubicBezTo>
                      <a:pt x="220205" y="424254"/>
                      <a:pt x="250039" y="414661"/>
                      <a:pt x="268558" y="395437"/>
                    </a:cubicBezTo>
                    <a:cubicBezTo>
                      <a:pt x="287051" y="376240"/>
                      <a:pt x="296317" y="345571"/>
                      <a:pt x="296317" y="303430"/>
                    </a:cubicBezTo>
                    <a:lnTo>
                      <a:pt x="296317" y="0"/>
                    </a:lnTo>
                    <a:lnTo>
                      <a:pt x="355998" y="0"/>
                    </a:lnTo>
                    <a:lnTo>
                      <a:pt x="355998" y="297883"/>
                    </a:lnTo>
                    <a:cubicBezTo>
                      <a:pt x="355998" y="361767"/>
                      <a:pt x="341877" y="408175"/>
                      <a:pt x="313661" y="437108"/>
                    </a:cubicBezTo>
                    <a:close/>
                  </a:path>
                </a:pathLst>
              </a:custGeom>
              <a:solidFill>
                <a:schemeClr val="bg1"/>
              </a:solidFill>
              <a:ln w="1305" cap="flat">
                <a:noFill/>
                <a:prstDash val="solid"/>
                <a:miter/>
              </a:ln>
            </p:spPr>
            <p:txBody>
              <a:bodyPr rtlCol="0" anchor="ctr"/>
              <a:lstStyle/>
              <a:p>
                <a:endParaRPr lang="de-DE" dirty="0"/>
              </a:p>
            </p:txBody>
          </p:sp>
          <p:sp>
            <p:nvSpPr>
              <p:cNvPr id="111" name="Freeform: Shape 110">
                <a:extLst>
                  <a:ext uri="{FF2B5EF4-FFF2-40B4-BE49-F238E27FC236}">
                    <a16:creationId xmlns:a16="http://schemas.microsoft.com/office/drawing/2014/main" id="{5685AD66-CCAC-4ED7-A842-1185006B0C4E}"/>
                  </a:ext>
                </a:extLst>
              </p:cNvPr>
              <p:cNvSpPr/>
              <p:nvPr/>
            </p:nvSpPr>
            <p:spPr bwMode="gray">
              <a:xfrm>
                <a:off x="9568358" y="2507095"/>
                <a:ext cx="299083" cy="472175"/>
              </a:xfrm>
              <a:custGeom>
                <a:avLst/>
                <a:gdLst>
                  <a:gd name="connsiteX0" fmla="*/ 0 w 299083"/>
                  <a:gd name="connsiteY0" fmla="*/ 472163 h 472175"/>
                  <a:gd name="connsiteX1" fmla="*/ 0 w 299083"/>
                  <a:gd name="connsiteY1" fmla="*/ 0 h 472175"/>
                  <a:gd name="connsiteX2" fmla="*/ 62447 w 299083"/>
                  <a:gd name="connsiteY2" fmla="*/ 0 h 472175"/>
                  <a:gd name="connsiteX3" fmla="*/ 62447 w 299083"/>
                  <a:gd name="connsiteY3" fmla="*/ 415927 h 472175"/>
                  <a:gd name="connsiteX4" fmla="*/ 299084 w 299083"/>
                  <a:gd name="connsiteY4" fmla="*/ 415927 h 472175"/>
                  <a:gd name="connsiteX5" fmla="*/ 299084 w 299083"/>
                  <a:gd name="connsiteY5" fmla="*/ 472176 h 472175"/>
                  <a:gd name="connsiteX6" fmla="*/ 0 w 299083"/>
                  <a:gd name="connsiteY6" fmla="*/ 472176 h 472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083" h="472175">
                    <a:moveTo>
                      <a:pt x="0" y="472163"/>
                    </a:moveTo>
                    <a:lnTo>
                      <a:pt x="0" y="0"/>
                    </a:lnTo>
                    <a:lnTo>
                      <a:pt x="62447" y="0"/>
                    </a:lnTo>
                    <a:lnTo>
                      <a:pt x="62447" y="415927"/>
                    </a:lnTo>
                    <a:lnTo>
                      <a:pt x="299084" y="415927"/>
                    </a:lnTo>
                    <a:lnTo>
                      <a:pt x="299084" y="472176"/>
                    </a:lnTo>
                    <a:lnTo>
                      <a:pt x="0" y="472176"/>
                    </a:lnTo>
                    <a:close/>
                  </a:path>
                </a:pathLst>
              </a:custGeom>
              <a:solidFill>
                <a:schemeClr val="bg1"/>
              </a:solidFill>
              <a:ln w="1305" cap="flat">
                <a:noFill/>
                <a:prstDash val="solid"/>
                <a:miter/>
              </a:ln>
            </p:spPr>
            <p:txBody>
              <a:bodyPr rtlCol="0" anchor="ctr"/>
              <a:lstStyle/>
              <a:p>
                <a:endParaRPr lang="de-DE" dirty="0"/>
              </a:p>
            </p:txBody>
          </p:sp>
          <p:sp>
            <p:nvSpPr>
              <p:cNvPr id="112" name="Freeform: Shape 111">
                <a:extLst>
                  <a:ext uri="{FF2B5EF4-FFF2-40B4-BE49-F238E27FC236}">
                    <a16:creationId xmlns:a16="http://schemas.microsoft.com/office/drawing/2014/main" id="{0FE0C8CB-5636-47AC-A931-665D66D885B6}"/>
                  </a:ext>
                </a:extLst>
              </p:cNvPr>
              <p:cNvSpPr/>
              <p:nvPr/>
            </p:nvSpPr>
            <p:spPr bwMode="gray">
              <a:xfrm>
                <a:off x="10265867" y="2507095"/>
                <a:ext cx="341420" cy="472162"/>
              </a:xfrm>
              <a:custGeom>
                <a:avLst/>
                <a:gdLst>
                  <a:gd name="connsiteX0" fmla="*/ 0 w 341420"/>
                  <a:gd name="connsiteY0" fmla="*/ 472163 h 472162"/>
                  <a:gd name="connsiteX1" fmla="*/ 0 w 341420"/>
                  <a:gd name="connsiteY1" fmla="*/ 0 h 472162"/>
                  <a:gd name="connsiteX2" fmla="*/ 337257 w 341420"/>
                  <a:gd name="connsiteY2" fmla="*/ 0 h 472162"/>
                  <a:gd name="connsiteX3" fmla="*/ 337257 w 341420"/>
                  <a:gd name="connsiteY3" fmla="*/ 55544 h 472162"/>
                  <a:gd name="connsiteX4" fmla="*/ 62461 w 341420"/>
                  <a:gd name="connsiteY4" fmla="*/ 55544 h 472162"/>
                  <a:gd name="connsiteX5" fmla="*/ 62461 w 341420"/>
                  <a:gd name="connsiteY5" fmla="*/ 204140 h 472162"/>
                  <a:gd name="connsiteX6" fmla="*/ 298405 w 341420"/>
                  <a:gd name="connsiteY6" fmla="*/ 204140 h 472162"/>
                  <a:gd name="connsiteX7" fmla="*/ 298405 w 341420"/>
                  <a:gd name="connsiteY7" fmla="*/ 259684 h 472162"/>
                  <a:gd name="connsiteX8" fmla="*/ 62461 w 341420"/>
                  <a:gd name="connsiteY8" fmla="*/ 259684 h 472162"/>
                  <a:gd name="connsiteX9" fmla="*/ 62461 w 341420"/>
                  <a:gd name="connsiteY9" fmla="*/ 416606 h 472162"/>
                  <a:gd name="connsiteX10" fmla="*/ 341420 w 341420"/>
                  <a:gd name="connsiteY10" fmla="*/ 416606 h 472162"/>
                  <a:gd name="connsiteX11" fmla="*/ 341420 w 341420"/>
                  <a:gd name="connsiteY11" fmla="*/ 472150 h 472162"/>
                  <a:gd name="connsiteX12" fmla="*/ 0 w 341420"/>
                  <a:gd name="connsiteY12" fmla="*/ 472150 h 47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1420" h="472162">
                    <a:moveTo>
                      <a:pt x="0" y="472163"/>
                    </a:moveTo>
                    <a:lnTo>
                      <a:pt x="0" y="0"/>
                    </a:lnTo>
                    <a:lnTo>
                      <a:pt x="337257" y="0"/>
                    </a:lnTo>
                    <a:lnTo>
                      <a:pt x="337257" y="55544"/>
                    </a:lnTo>
                    <a:lnTo>
                      <a:pt x="62461" y="55544"/>
                    </a:lnTo>
                    <a:lnTo>
                      <a:pt x="62461" y="204140"/>
                    </a:lnTo>
                    <a:lnTo>
                      <a:pt x="298405" y="204140"/>
                    </a:lnTo>
                    <a:lnTo>
                      <a:pt x="298405" y="259684"/>
                    </a:lnTo>
                    <a:lnTo>
                      <a:pt x="62461" y="259684"/>
                    </a:lnTo>
                    <a:lnTo>
                      <a:pt x="62461" y="416606"/>
                    </a:lnTo>
                    <a:lnTo>
                      <a:pt x="341420" y="416606"/>
                    </a:lnTo>
                    <a:lnTo>
                      <a:pt x="341420" y="472150"/>
                    </a:lnTo>
                    <a:lnTo>
                      <a:pt x="0" y="472150"/>
                    </a:lnTo>
                    <a:close/>
                  </a:path>
                </a:pathLst>
              </a:custGeom>
              <a:solidFill>
                <a:schemeClr val="bg1"/>
              </a:solidFill>
              <a:ln w="1305" cap="flat">
                <a:noFill/>
                <a:prstDash val="solid"/>
                <a:miter/>
              </a:ln>
            </p:spPr>
            <p:txBody>
              <a:bodyPr rtlCol="0" anchor="ctr"/>
              <a:lstStyle/>
              <a:p>
                <a:endParaRPr lang="de-DE" dirty="0"/>
              </a:p>
            </p:txBody>
          </p:sp>
        </p:grpSp>
        <p:grpSp>
          <p:nvGrpSpPr>
            <p:cNvPr id="71" name="Graphic 3">
              <a:extLst>
                <a:ext uri="{FF2B5EF4-FFF2-40B4-BE49-F238E27FC236}">
                  <a16:creationId xmlns:a16="http://schemas.microsoft.com/office/drawing/2014/main" id="{97DFAA98-5396-4375-820C-6DF5E25A7155}"/>
                </a:ext>
              </a:extLst>
            </p:cNvPr>
            <p:cNvGrpSpPr/>
            <p:nvPr/>
          </p:nvGrpSpPr>
          <p:grpSpPr bwMode="gray">
            <a:xfrm>
              <a:off x="3221861" y="4478474"/>
              <a:ext cx="7388088" cy="271651"/>
              <a:chOff x="3221861" y="4478474"/>
              <a:chExt cx="7388088" cy="271651"/>
            </a:xfrm>
            <a:solidFill>
              <a:srgbClr val="3D434B"/>
            </a:solidFill>
          </p:grpSpPr>
          <p:sp>
            <p:nvSpPr>
              <p:cNvPr id="76" name="Freeform: Shape 75">
                <a:extLst>
                  <a:ext uri="{FF2B5EF4-FFF2-40B4-BE49-F238E27FC236}">
                    <a16:creationId xmlns:a16="http://schemas.microsoft.com/office/drawing/2014/main" id="{ECF68121-C691-4B83-9165-182155658653}"/>
                  </a:ext>
                </a:extLst>
              </p:cNvPr>
              <p:cNvSpPr/>
              <p:nvPr/>
            </p:nvSpPr>
            <p:spPr bwMode="gray">
              <a:xfrm>
                <a:off x="3221861" y="4483107"/>
                <a:ext cx="197810" cy="267018"/>
              </a:xfrm>
              <a:custGeom>
                <a:avLst/>
                <a:gdLst>
                  <a:gd name="connsiteX0" fmla="*/ 174319 w 197810"/>
                  <a:gd name="connsiteY0" fmla="*/ 242901 h 267018"/>
                  <a:gd name="connsiteX1" fmla="*/ 99120 w 197810"/>
                  <a:gd name="connsiteY1" fmla="*/ 267018 h 267018"/>
                  <a:gd name="connsiteX2" fmla="*/ 23726 w 197810"/>
                  <a:gd name="connsiteY2" fmla="*/ 242901 h 267018"/>
                  <a:gd name="connsiteX3" fmla="*/ 0 w 197810"/>
                  <a:gd name="connsiteY3" fmla="*/ 165536 h 267018"/>
                  <a:gd name="connsiteX4" fmla="*/ 0 w 197810"/>
                  <a:gd name="connsiteY4" fmla="*/ 0 h 267018"/>
                  <a:gd name="connsiteX5" fmla="*/ 34702 w 197810"/>
                  <a:gd name="connsiteY5" fmla="*/ 0 h 267018"/>
                  <a:gd name="connsiteX6" fmla="*/ 34702 w 197810"/>
                  <a:gd name="connsiteY6" fmla="*/ 168615 h 267018"/>
                  <a:gd name="connsiteX7" fmla="*/ 50128 w 197810"/>
                  <a:gd name="connsiteY7" fmla="*/ 219735 h 267018"/>
                  <a:gd name="connsiteX8" fmla="*/ 99486 w 197810"/>
                  <a:gd name="connsiteY8" fmla="*/ 235749 h 267018"/>
                  <a:gd name="connsiteX9" fmla="*/ 149222 w 197810"/>
                  <a:gd name="connsiteY9" fmla="*/ 219735 h 267018"/>
                  <a:gd name="connsiteX10" fmla="*/ 164648 w 197810"/>
                  <a:gd name="connsiteY10" fmla="*/ 168615 h 267018"/>
                  <a:gd name="connsiteX11" fmla="*/ 164648 w 197810"/>
                  <a:gd name="connsiteY11" fmla="*/ 0 h 267018"/>
                  <a:gd name="connsiteX12" fmla="*/ 197810 w 197810"/>
                  <a:gd name="connsiteY12" fmla="*/ 0 h 267018"/>
                  <a:gd name="connsiteX13" fmla="*/ 197810 w 197810"/>
                  <a:gd name="connsiteY13" fmla="*/ 165536 h 267018"/>
                  <a:gd name="connsiteX14" fmla="*/ 174319 w 197810"/>
                  <a:gd name="connsiteY14" fmla="*/ 242901 h 267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7810" h="267018">
                    <a:moveTo>
                      <a:pt x="174319" y="242901"/>
                    </a:moveTo>
                    <a:cubicBezTo>
                      <a:pt x="158632" y="258979"/>
                      <a:pt x="133561" y="267018"/>
                      <a:pt x="99120" y="267018"/>
                    </a:cubicBezTo>
                    <a:cubicBezTo>
                      <a:pt x="64666" y="267018"/>
                      <a:pt x="39544" y="258979"/>
                      <a:pt x="23726" y="242901"/>
                    </a:cubicBezTo>
                    <a:cubicBezTo>
                      <a:pt x="7909" y="226822"/>
                      <a:pt x="0" y="201034"/>
                      <a:pt x="0" y="165536"/>
                    </a:cubicBezTo>
                    <a:lnTo>
                      <a:pt x="0" y="0"/>
                    </a:lnTo>
                    <a:lnTo>
                      <a:pt x="34702" y="0"/>
                    </a:lnTo>
                    <a:lnTo>
                      <a:pt x="34702" y="168615"/>
                    </a:lnTo>
                    <a:cubicBezTo>
                      <a:pt x="34702" y="192029"/>
                      <a:pt x="39844" y="209073"/>
                      <a:pt x="50128" y="219735"/>
                    </a:cubicBezTo>
                    <a:cubicBezTo>
                      <a:pt x="60412" y="230424"/>
                      <a:pt x="76869" y="235749"/>
                      <a:pt x="99486" y="235749"/>
                    </a:cubicBezTo>
                    <a:cubicBezTo>
                      <a:pt x="122351" y="235749"/>
                      <a:pt x="138951" y="230411"/>
                      <a:pt x="149222" y="219735"/>
                    </a:cubicBezTo>
                    <a:cubicBezTo>
                      <a:pt x="159506" y="209073"/>
                      <a:pt x="164648" y="192029"/>
                      <a:pt x="164648" y="168615"/>
                    </a:cubicBezTo>
                    <a:lnTo>
                      <a:pt x="164648" y="0"/>
                    </a:lnTo>
                    <a:lnTo>
                      <a:pt x="197810" y="0"/>
                    </a:lnTo>
                    <a:lnTo>
                      <a:pt x="197810" y="165536"/>
                    </a:lnTo>
                    <a:cubicBezTo>
                      <a:pt x="197836" y="201034"/>
                      <a:pt x="189993" y="226822"/>
                      <a:pt x="174319" y="242901"/>
                    </a:cubicBezTo>
                    <a:close/>
                  </a:path>
                </a:pathLst>
              </a:custGeom>
              <a:solidFill>
                <a:schemeClr val="bg1"/>
              </a:solidFill>
              <a:ln w="1305" cap="flat">
                <a:noFill/>
                <a:prstDash val="solid"/>
                <a:miter/>
              </a:ln>
            </p:spPr>
            <p:txBody>
              <a:bodyPr rtlCol="0" anchor="ctr"/>
              <a:lstStyle/>
              <a:p>
                <a:endParaRPr lang="de-DE" dirty="0"/>
              </a:p>
            </p:txBody>
          </p:sp>
          <p:sp>
            <p:nvSpPr>
              <p:cNvPr id="77" name="Freeform: Shape 76">
                <a:extLst>
                  <a:ext uri="{FF2B5EF4-FFF2-40B4-BE49-F238E27FC236}">
                    <a16:creationId xmlns:a16="http://schemas.microsoft.com/office/drawing/2014/main" id="{FAD459A1-38EA-4CC1-8D3D-1DC905FFEC0D}"/>
                  </a:ext>
                </a:extLst>
              </p:cNvPr>
              <p:cNvSpPr/>
              <p:nvPr/>
            </p:nvSpPr>
            <p:spPr bwMode="gray">
              <a:xfrm>
                <a:off x="3525970" y="4483107"/>
                <a:ext cx="207859" cy="262385"/>
              </a:xfrm>
              <a:custGeom>
                <a:avLst/>
                <a:gdLst>
                  <a:gd name="connsiteX0" fmla="*/ 0 w 207859"/>
                  <a:gd name="connsiteY0" fmla="*/ 262385 h 262385"/>
                  <a:gd name="connsiteX1" fmla="*/ 0 w 207859"/>
                  <a:gd name="connsiteY1" fmla="*/ 0 h 262385"/>
                  <a:gd name="connsiteX2" fmla="*/ 43642 w 207859"/>
                  <a:gd name="connsiteY2" fmla="*/ 0 h 262385"/>
                  <a:gd name="connsiteX3" fmla="*/ 174697 w 207859"/>
                  <a:gd name="connsiteY3" fmla="*/ 199885 h 262385"/>
                  <a:gd name="connsiteX4" fmla="*/ 174697 w 207859"/>
                  <a:gd name="connsiteY4" fmla="*/ 0 h 262385"/>
                  <a:gd name="connsiteX5" fmla="*/ 207859 w 207859"/>
                  <a:gd name="connsiteY5" fmla="*/ 0 h 262385"/>
                  <a:gd name="connsiteX6" fmla="*/ 207859 w 207859"/>
                  <a:gd name="connsiteY6" fmla="*/ 262385 h 262385"/>
                  <a:gd name="connsiteX7" fmla="*/ 175076 w 207859"/>
                  <a:gd name="connsiteY7" fmla="*/ 262385 h 262385"/>
                  <a:gd name="connsiteX8" fmla="*/ 33175 w 207859"/>
                  <a:gd name="connsiteY8" fmla="*/ 45925 h 262385"/>
                  <a:gd name="connsiteX9" fmla="*/ 33175 w 207859"/>
                  <a:gd name="connsiteY9" fmla="*/ 262385 h 262385"/>
                  <a:gd name="connsiteX10" fmla="*/ 0 w 207859"/>
                  <a:gd name="connsiteY10"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859" h="262385">
                    <a:moveTo>
                      <a:pt x="0" y="262385"/>
                    </a:moveTo>
                    <a:lnTo>
                      <a:pt x="0" y="0"/>
                    </a:lnTo>
                    <a:lnTo>
                      <a:pt x="43642" y="0"/>
                    </a:lnTo>
                    <a:lnTo>
                      <a:pt x="174697" y="199885"/>
                    </a:lnTo>
                    <a:lnTo>
                      <a:pt x="174697" y="0"/>
                    </a:lnTo>
                    <a:lnTo>
                      <a:pt x="207859" y="0"/>
                    </a:lnTo>
                    <a:lnTo>
                      <a:pt x="207859" y="262385"/>
                    </a:lnTo>
                    <a:lnTo>
                      <a:pt x="175076" y="262385"/>
                    </a:lnTo>
                    <a:lnTo>
                      <a:pt x="33175" y="45925"/>
                    </a:lnTo>
                    <a:lnTo>
                      <a:pt x="33175" y="262385"/>
                    </a:lnTo>
                    <a:lnTo>
                      <a:pt x="0" y="262385"/>
                    </a:lnTo>
                    <a:close/>
                  </a:path>
                </a:pathLst>
              </a:custGeom>
              <a:solidFill>
                <a:schemeClr val="bg1"/>
              </a:solidFill>
              <a:ln w="1305" cap="flat">
                <a:noFill/>
                <a:prstDash val="solid"/>
                <a:miter/>
              </a:ln>
            </p:spPr>
            <p:txBody>
              <a:bodyPr rtlCol="0" anchor="ctr"/>
              <a:lstStyle/>
              <a:p>
                <a:endParaRPr lang="de-DE" dirty="0"/>
              </a:p>
            </p:txBody>
          </p:sp>
          <p:sp>
            <p:nvSpPr>
              <p:cNvPr id="78" name="Freeform: Shape 77">
                <a:extLst>
                  <a:ext uri="{FF2B5EF4-FFF2-40B4-BE49-F238E27FC236}">
                    <a16:creationId xmlns:a16="http://schemas.microsoft.com/office/drawing/2014/main" id="{6159C676-420F-40E7-88C4-0EA68335B833}"/>
                  </a:ext>
                </a:extLst>
              </p:cNvPr>
              <p:cNvSpPr/>
              <p:nvPr/>
            </p:nvSpPr>
            <p:spPr bwMode="gray">
              <a:xfrm>
                <a:off x="3842463" y="4483107"/>
                <a:ext cx="34702" cy="262385"/>
              </a:xfrm>
              <a:custGeom>
                <a:avLst/>
                <a:gdLst>
                  <a:gd name="connsiteX0" fmla="*/ 0 w 34702"/>
                  <a:gd name="connsiteY0" fmla="*/ 262385 h 262385"/>
                  <a:gd name="connsiteX1" fmla="*/ 0 w 34702"/>
                  <a:gd name="connsiteY1" fmla="*/ 0 h 262385"/>
                  <a:gd name="connsiteX2" fmla="*/ 34702 w 34702"/>
                  <a:gd name="connsiteY2" fmla="*/ 0 h 262385"/>
                  <a:gd name="connsiteX3" fmla="*/ 34702 w 34702"/>
                  <a:gd name="connsiteY3" fmla="*/ 262385 h 262385"/>
                  <a:gd name="connsiteX4" fmla="*/ 0 w 34702"/>
                  <a:gd name="connsiteY4" fmla="*/ 262385 h 262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2" h="262385">
                    <a:moveTo>
                      <a:pt x="0" y="262385"/>
                    </a:moveTo>
                    <a:lnTo>
                      <a:pt x="0" y="0"/>
                    </a:lnTo>
                    <a:lnTo>
                      <a:pt x="34702" y="0"/>
                    </a:lnTo>
                    <a:lnTo>
                      <a:pt x="34702" y="262385"/>
                    </a:lnTo>
                    <a:lnTo>
                      <a:pt x="0" y="262385"/>
                    </a:lnTo>
                    <a:close/>
                  </a:path>
                </a:pathLst>
              </a:custGeom>
              <a:solidFill>
                <a:schemeClr val="bg1"/>
              </a:solidFill>
              <a:ln w="1305" cap="flat">
                <a:noFill/>
                <a:prstDash val="solid"/>
                <a:miter/>
              </a:ln>
            </p:spPr>
            <p:txBody>
              <a:bodyPr rtlCol="0" anchor="ctr"/>
              <a:lstStyle/>
              <a:p>
                <a:endParaRPr lang="de-DE" dirty="0"/>
              </a:p>
            </p:txBody>
          </p:sp>
          <p:sp>
            <p:nvSpPr>
              <p:cNvPr id="79" name="Freeform: Shape 78">
                <a:extLst>
                  <a:ext uri="{FF2B5EF4-FFF2-40B4-BE49-F238E27FC236}">
                    <a16:creationId xmlns:a16="http://schemas.microsoft.com/office/drawing/2014/main" id="{E572CB92-8607-46C6-A240-F01EB381362C}"/>
                  </a:ext>
                </a:extLst>
              </p:cNvPr>
              <p:cNvSpPr/>
              <p:nvPr/>
            </p:nvSpPr>
            <p:spPr bwMode="gray">
              <a:xfrm>
                <a:off x="3960377" y="4483107"/>
                <a:ext cx="224825" cy="262385"/>
              </a:xfrm>
              <a:custGeom>
                <a:avLst/>
                <a:gdLst>
                  <a:gd name="connsiteX0" fmla="*/ 94070 w 224825"/>
                  <a:gd name="connsiteY0" fmla="*/ 262385 h 262385"/>
                  <a:gd name="connsiteX1" fmla="*/ 0 w 224825"/>
                  <a:gd name="connsiteY1" fmla="*/ 0 h 262385"/>
                  <a:gd name="connsiteX2" fmla="*/ 37025 w 224825"/>
                  <a:gd name="connsiteY2" fmla="*/ 0 h 262385"/>
                  <a:gd name="connsiteX3" fmla="*/ 113385 w 224825"/>
                  <a:gd name="connsiteY3" fmla="*/ 214306 h 262385"/>
                  <a:gd name="connsiteX4" fmla="*/ 189731 w 224825"/>
                  <a:gd name="connsiteY4" fmla="*/ 0 h 262385"/>
                  <a:gd name="connsiteX5" fmla="*/ 224825 w 224825"/>
                  <a:gd name="connsiteY5" fmla="*/ 0 h 262385"/>
                  <a:gd name="connsiteX6" fmla="*/ 130742 w 224825"/>
                  <a:gd name="connsiteY6" fmla="*/ 262385 h 262385"/>
                  <a:gd name="connsiteX7" fmla="*/ 94070 w 224825"/>
                  <a:gd name="connsiteY7"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825" h="262385">
                    <a:moveTo>
                      <a:pt x="94070" y="262385"/>
                    </a:moveTo>
                    <a:lnTo>
                      <a:pt x="0" y="0"/>
                    </a:lnTo>
                    <a:lnTo>
                      <a:pt x="37025" y="0"/>
                    </a:lnTo>
                    <a:lnTo>
                      <a:pt x="113385" y="214306"/>
                    </a:lnTo>
                    <a:lnTo>
                      <a:pt x="189731" y="0"/>
                    </a:lnTo>
                    <a:lnTo>
                      <a:pt x="224825" y="0"/>
                    </a:lnTo>
                    <a:lnTo>
                      <a:pt x="130742" y="262385"/>
                    </a:lnTo>
                    <a:lnTo>
                      <a:pt x="94070" y="262385"/>
                    </a:lnTo>
                    <a:close/>
                  </a:path>
                </a:pathLst>
              </a:custGeom>
              <a:solidFill>
                <a:schemeClr val="bg1"/>
              </a:solidFill>
              <a:ln w="1305" cap="flat">
                <a:noFill/>
                <a:prstDash val="solid"/>
                <a:miter/>
              </a:ln>
            </p:spPr>
            <p:txBody>
              <a:bodyPr rtlCol="0" anchor="ctr"/>
              <a:lstStyle/>
              <a:p>
                <a:endParaRPr lang="de-DE" dirty="0"/>
              </a:p>
            </p:txBody>
          </p:sp>
          <p:sp>
            <p:nvSpPr>
              <p:cNvPr id="80" name="Freeform: Shape 79">
                <a:extLst>
                  <a:ext uri="{FF2B5EF4-FFF2-40B4-BE49-F238E27FC236}">
                    <a16:creationId xmlns:a16="http://schemas.microsoft.com/office/drawing/2014/main" id="{BF0B4C67-29C5-4395-8CFC-D69E4FC5CFC7}"/>
                  </a:ext>
                </a:extLst>
              </p:cNvPr>
              <p:cNvSpPr/>
              <p:nvPr/>
            </p:nvSpPr>
            <p:spPr bwMode="gray">
              <a:xfrm>
                <a:off x="4268413" y="4483107"/>
                <a:ext cx="189731" cy="262385"/>
              </a:xfrm>
              <a:custGeom>
                <a:avLst/>
                <a:gdLst>
                  <a:gd name="connsiteX0" fmla="*/ 0 w 189731"/>
                  <a:gd name="connsiteY0" fmla="*/ 262385 h 262385"/>
                  <a:gd name="connsiteX1" fmla="*/ 0 w 189731"/>
                  <a:gd name="connsiteY1" fmla="*/ 0 h 262385"/>
                  <a:gd name="connsiteX2" fmla="*/ 187422 w 189731"/>
                  <a:gd name="connsiteY2" fmla="*/ 0 h 262385"/>
                  <a:gd name="connsiteX3" fmla="*/ 187422 w 189731"/>
                  <a:gd name="connsiteY3" fmla="*/ 30865 h 262385"/>
                  <a:gd name="connsiteX4" fmla="*/ 34715 w 189731"/>
                  <a:gd name="connsiteY4" fmla="*/ 30865 h 262385"/>
                  <a:gd name="connsiteX5" fmla="*/ 34715 w 189731"/>
                  <a:gd name="connsiteY5" fmla="*/ 113437 h 262385"/>
                  <a:gd name="connsiteX6" fmla="*/ 165836 w 189731"/>
                  <a:gd name="connsiteY6" fmla="*/ 113437 h 262385"/>
                  <a:gd name="connsiteX7" fmla="*/ 165836 w 189731"/>
                  <a:gd name="connsiteY7" fmla="*/ 144302 h 262385"/>
                  <a:gd name="connsiteX8" fmla="*/ 34715 w 189731"/>
                  <a:gd name="connsiteY8" fmla="*/ 144302 h 262385"/>
                  <a:gd name="connsiteX9" fmla="*/ 34715 w 189731"/>
                  <a:gd name="connsiteY9" fmla="*/ 231507 h 262385"/>
                  <a:gd name="connsiteX10" fmla="*/ 189732 w 189731"/>
                  <a:gd name="connsiteY10" fmla="*/ 231507 h 262385"/>
                  <a:gd name="connsiteX11" fmla="*/ 189732 w 189731"/>
                  <a:gd name="connsiteY11" fmla="*/ 262372 h 262385"/>
                  <a:gd name="connsiteX12" fmla="*/ 0 w 189731"/>
                  <a:gd name="connsiteY12" fmla="*/ 262372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731" h="262385">
                    <a:moveTo>
                      <a:pt x="0" y="262385"/>
                    </a:moveTo>
                    <a:lnTo>
                      <a:pt x="0" y="0"/>
                    </a:lnTo>
                    <a:lnTo>
                      <a:pt x="187422" y="0"/>
                    </a:lnTo>
                    <a:lnTo>
                      <a:pt x="187422" y="30865"/>
                    </a:lnTo>
                    <a:lnTo>
                      <a:pt x="34715" y="30865"/>
                    </a:lnTo>
                    <a:lnTo>
                      <a:pt x="34715" y="113437"/>
                    </a:lnTo>
                    <a:lnTo>
                      <a:pt x="165836" y="113437"/>
                    </a:lnTo>
                    <a:lnTo>
                      <a:pt x="165836" y="144302"/>
                    </a:lnTo>
                    <a:lnTo>
                      <a:pt x="34715" y="144302"/>
                    </a:lnTo>
                    <a:lnTo>
                      <a:pt x="34715" y="231507"/>
                    </a:lnTo>
                    <a:lnTo>
                      <a:pt x="189732" y="231507"/>
                    </a:lnTo>
                    <a:lnTo>
                      <a:pt x="189732" y="262372"/>
                    </a:lnTo>
                    <a:lnTo>
                      <a:pt x="0" y="262372"/>
                    </a:lnTo>
                    <a:close/>
                  </a:path>
                </a:pathLst>
              </a:custGeom>
              <a:solidFill>
                <a:schemeClr val="bg1"/>
              </a:solidFill>
              <a:ln w="1305" cap="flat">
                <a:noFill/>
                <a:prstDash val="solid"/>
                <a:miter/>
              </a:ln>
            </p:spPr>
            <p:txBody>
              <a:bodyPr rtlCol="0" anchor="ctr"/>
              <a:lstStyle/>
              <a:p>
                <a:endParaRPr lang="de-DE" dirty="0"/>
              </a:p>
            </p:txBody>
          </p:sp>
          <p:sp>
            <p:nvSpPr>
              <p:cNvPr id="81" name="Freeform: Shape 80">
                <a:extLst>
                  <a:ext uri="{FF2B5EF4-FFF2-40B4-BE49-F238E27FC236}">
                    <a16:creationId xmlns:a16="http://schemas.microsoft.com/office/drawing/2014/main" id="{26456A85-CC97-448D-9D5F-83E872BAFEDE}"/>
                  </a:ext>
                </a:extLst>
              </p:cNvPr>
              <p:cNvSpPr/>
              <p:nvPr/>
            </p:nvSpPr>
            <p:spPr bwMode="gray">
              <a:xfrm>
                <a:off x="4548195" y="4483107"/>
                <a:ext cx="207062" cy="262385"/>
              </a:xfrm>
              <a:custGeom>
                <a:avLst/>
                <a:gdLst>
                  <a:gd name="connsiteX0" fmla="*/ 0 w 207062"/>
                  <a:gd name="connsiteY0" fmla="*/ 262385 h 262385"/>
                  <a:gd name="connsiteX1" fmla="*/ 0 w 207062"/>
                  <a:gd name="connsiteY1" fmla="*/ 0 h 262385"/>
                  <a:gd name="connsiteX2" fmla="*/ 102957 w 207062"/>
                  <a:gd name="connsiteY2" fmla="*/ 0 h 262385"/>
                  <a:gd name="connsiteX3" fmla="*/ 169855 w 207062"/>
                  <a:gd name="connsiteY3" fmla="*/ 18336 h 262385"/>
                  <a:gd name="connsiteX4" fmla="*/ 190867 w 207062"/>
                  <a:gd name="connsiteY4" fmla="*/ 76791 h 262385"/>
                  <a:gd name="connsiteX5" fmla="*/ 177568 w 207062"/>
                  <a:gd name="connsiteY5" fmla="*/ 126762 h 262385"/>
                  <a:gd name="connsiteX6" fmla="*/ 136106 w 207062"/>
                  <a:gd name="connsiteY6" fmla="*/ 150488 h 262385"/>
                  <a:gd name="connsiteX7" fmla="*/ 207063 w 207062"/>
                  <a:gd name="connsiteY7" fmla="*/ 262385 h 262385"/>
                  <a:gd name="connsiteX8" fmla="*/ 165797 w 207062"/>
                  <a:gd name="connsiteY8" fmla="*/ 262385 h 262385"/>
                  <a:gd name="connsiteX9" fmla="*/ 96341 w 207062"/>
                  <a:gd name="connsiteY9" fmla="*/ 153581 h 262385"/>
                  <a:gd name="connsiteX10" fmla="*/ 34689 w 207062"/>
                  <a:gd name="connsiteY10" fmla="*/ 153581 h 262385"/>
                  <a:gd name="connsiteX11" fmla="*/ 34689 w 207062"/>
                  <a:gd name="connsiteY11" fmla="*/ 262385 h 262385"/>
                  <a:gd name="connsiteX12" fmla="*/ 0 w 207062"/>
                  <a:gd name="connsiteY12" fmla="*/ 262385 h 262385"/>
                  <a:gd name="connsiteX13" fmla="*/ 34702 w 207062"/>
                  <a:gd name="connsiteY13" fmla="*/ 122703 h 262385"/>
                  <a:gd name="connsiteX14" fmla="*/ 101404 w 207062"/>
                  <a:gd name="connsiteY14" fmla="*/ 122703 h 262385"/>
                  <a:gd name="connsiteX15" fmla="*/ 143245 w 207062"/>
                  <a:gd name="connsiteY15" fmla="*/ 112289 h 262385"/>
                  <a:gd name="connsiteX16" fmla="*/ 155774 w 207062"/>
                  <a:gd name="connsiteY16" fmla="*/ 76791 h 262385"/>
                  <a:gd name="connsiteX17" fmla="*/ 143245 w 207062"/>
                  <a:gd name="connsiteY17" fmla="*/ 41293 h 262385"/>
                  <a:gd name="connsiteX18" fmla="*/ 101404 w 207062"/>
                  <a:gd name="connsiteY18" fmla="*/ 30878 h 262385"/>
                  <a:gd name="connsiteX19" fmla="*/ 34702 w 207062"/>
                  <a:gd name="connsiteY19" fmla="*/ 30878 h 262385"/>
                  <a:gd name="connsiteX20" fmla="*/ 34702 w 207062"/>
                  <a:gd name="connsiteY20" fmla="*/ 122703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7062" h="262385">
                    <a:moveTo>
                      <a:pt x="0" y="262385"/>
                    </a:moveTo>
                    <a:lnTo>
                      <a:pt x="0" y="0"/>
                    </a:lnTo>
                    <a:lnTo>
                      <a:pt x="102957" y="0"/>
                    </a:lnTo>
                    <a:cubicBezTo>
                      <a:pt x="133548" y="0"/>
                      <a:pt x="155839" y="6108"/>
                      <a:pt x="169855" y="18336"/>
                    </a:cubicBezTo>
                    <a:cubicBezTo>
                      <a:pt x="183872" y="30565"/>
                      <a:pt x="190867" y="50037"/>
                      <a:pt x="190867" y="76791"/>
                    </a:cubicBezTo>
                    <a:cubicBezTo>
                      <a:pt x="190867" y="98141"/>
                      <a:pt x="186430" y="114794"/>
                      <a:pt x="177568" y="126762"/>
                    </a:cubicBezTo>
                    <a:cubicBezTo>
                      <a:pt x="168707" y="138716"/>
                      <a:pt x="154886" y="146625"/>
                      <a:pt x="136106" y="150488"/>
                    </a:cubicBezTo>
                    <a:lnTo>
                      <a:pt x="207063" y="262385"/>
                    </a:lnTo>
                    <a:lnTo>
                      <a:pt x="165797" y="262385"/>
                    </a:lnTo>
                    <a:lnTo>
                      <a:pt x="96341" y="153581"/>
                    </a:lnTo>
                    <a:lnTo>
                      <a:pt x="34689" y="153581"/>
                    </a:lnTo>
                    <a:lnTo>
                      <a:pt x="34689" y="262385"/>
                    </a:lnTo>
                    <a:lnTo>
                      <a:pt x="0" y="262385"/>
                    </a:lnTo>
                    <a:close/>
                    <a:moveTo>
                      <a:pt x="34702" y="122703"/>
                    </a:moveTo>
                    <a:lnTo>
                      <a:pt x="101404" y="122703"/>
                    </a:lnTo>
                    <a:cubicBezTo>
                      <a:pt x="120941" y="122703"/>
                      <a:pt x="134893" y="119232"/>
                      <a:pt x="143245" y="112289"/>
                    </a:cubicBezTo>
                    <a:cubicBezTo>
                      <a:pt x="151597" y="105346"/>
                      <a:pt x="155774" y="93509"/>
                      <a:pt x="155774" y="76791"/>
                    </a:cubicBezTo>
                    <a:cubicBezTo>
                      <a:pt x="155774" y="60073"/>
                      <a:pt x="151584" y="48235"/>
                      <a:pt x="143245" y="41293"/>
                    </a:cubicBezTo>
                    <a:cubicBezTo>
                      <a:pt x="134893" y="34350"/>
                      <a:pt x="120928" y="30878"/>
                      <a:pt x="101404" y="30878"/>
                    </a:cubicBezTo>
                    <a:lnTo>
                      <a:pt x="34702" y="30878"/>
                    </a:lnTo>
                    <a:lnTo>
                      <a:pt x="34702" y="122703"/>
                    </a:lnTo>
                    <a:close/>
                  </a:path>
                </a:pathLst>
              </a:custGeom>
              <a:solidFill>
                <a:schemeClr val="bg1"/>
              </a:solidFill>
              <a:ln w="1305" cap="flat">
                <a:noFill/>
                <a:prstDash val="solid"/>
                <a:miter/>
              </a:ln>
            </p:spPr>
            <p:txBody>
              <a:bodyPr rtlCol="0" anchor="ctr"/>
              <a:lstStyle/>
              <a:p>
                <a:endParaRPr lang="de-DE" dirty="0"/>
              </a:p>
            </p:txBody>
          </p:sp>
          <p:sp>
            <p:nvSpPr>
              <p:cNvPr id="82" name="Freeform: Shape 81">
                <a:extLst>
                  <a:ext uri="{FF2B5EF4-FFF2-40B4-BE49-F238E27FC236}">
                    <a16:creationId xmlns:a16="http://schemas.microsoft.com/office/drawing/2014/main" id="{641EAC59-B737-4942-964B-9646E69A888A}"/>
                  </a:ext>
                </a:extLst>
              </p:cNvPr>
              <p:cNvSpPr/>
              <p:nvPr/>
            </p:nvSpPr>
            <p:spPr bwMode="gray">
              <a:xfrm>
                <a:off x="4828186" y="4478487"/>
                <a:ext cx="184341" cy="271638"/>
              </a:xfrm>
              <a:custGeom>
                <a:avLst/>
                <a:gdLst>
                  <a:gd name="connsiteX0" fmla="*/ 87544 w 184341"/>
                  <a:gd name="connsiteY0" fmla="*/ 271638 h 271638"/>
                  <a:gd name="connsiteX1" fmla="*/ 0 w 184341"/>
                  <a:gd name="connsiteY1" fmla="*/ 249256 h 271638"/>
                  <a:gd name="connsiteX2" fmla="*/ 0 w 184341"/>
                  <a:gd name="connsiteY2" fmla="*/ 213758 h 271638"/>
                  <a:gd name="connsiteX3" fmla="*/ 88301 w 184341"/>
                  <a:gd name="connsiteY3" fmla="*/ 240773 h 271638"/>
                  <a:gd name="connsiteX4" fmla="*/ 149627 w 184341"/>
                  <a:gd name="connsiteY4" fmla="*/ 195239 h 271638"/>
                  <a:gd name="connsiteX5" fmla="*/ 138625 w 184341"/>
                  <a:gd name="connsiteY5" fmla="*/ 168942 h 271638"/>
                  <a:gd name="connsiteX6" fmla="*/ 97515 w 184341"/>
                  <a:gd name="connsiteY6" fmla="*/ 153007 h 271638"/>
                  <a:gd name="connsiteX7" fmla="*/ 68634 w 184341"/>
                  <a:gd name="connsiteY7" fmla="*/ 146234 h 271638"/>
                  <a:gd name="connsiteX8" fmla="*/ 18506 w 184341"/>
                  <a:gd name="connsiteY8" fmla="*/ 121346 h 271638"/>
                  <a:gd name="connsiteX9" fmla="*/ 3850 w 184341"/>
                  <a:gd name="connsiteY9" fmla="*/ 76778 h 271638"/>
                  <a:gd name="connsiteX10" fmla="*/ 96406 w 184341"/>
                  <a:gd name="connsiteY10" fmla="*/ 0 h 271638"/>
                  <a:gd name="connsiteX11" fmla="*/ 170064 w 184341"/>
                  <a:gd name="connsiteY11" fmla="*/ 16209 h 271638"/>
                  <a:gd name="connsiteX12" fmla="*/ 170064 w 184341"/>
                  <a:gd name="connsiteY12" fmla="*/ 51329 h 271638"/>
                  <a:gd name="connsiteX13" fmla="*/ 97567 w 184341"/>
                  <a:gd name="connsiteY13" fmla="*/ 30878 h 271638"/>
                  <a:gd name="connsiteX14" fmla="*/ 38565 w 184341"/>
                  <a:gd name="connsiteY14" fmla="*/ 74481 h 271638"/>
                  <a:gd name="connsiteX15" fmla="*/ 48784 w 184341"/>
                  <a:gd name="connsiteY15" fmla="*/ 99499 h 271638"/>
                  <a:gd name="connsiteX16" fmla="*/ 86017 w 184341"/>
                  <a:gd name="connsiteY16" fmla="*/ 114520 h 271638"/>
                  <a:gd name="connsiteX17" fmla="*/ 115708 w 184341"/>
                  <a:gd name="connsiteY17" fmla="*/ 121085 h 271638"/>
                  <a:gd name="connsiteX18" fmla="*/ 168524 w 184341"/>
                  <a:gd name="connsiteY18" fmla="*/ 146978 h 271638"/>
                  <a:gd name="connsiteX19" fmla="*/ 184342 w 184341"/>
                  <a:gd name="connsiteY19" fmla="*/ 194104 h 271638"/>
                  <a:gd name="connsiteX20" fmla="*/ 87544 w 184341"/>
                  <a:gd name="connsiteY20" fmla="*/ 271638 h 27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4341" h="271638">
                    <a:moveTo>
                      <a:pt x="87544" y="271638"/>
                    </a:moveTo>
                    <a:cubicBezTo>
                      <a:pt x="48209" y="271638"/>
                      <a:pt x="19028" y="264173"/>
                      <a:pt x="0" y="249256"/>
                    </a:cubicBezTo>
                    <a:lnTo>
                      <a:pt x="0" y="213758"/>
                    </a:lnTo>
                    <a:cubicBezTo>
                      <a:pt x="24157" y="231768"/>
                      <a:pt x="53612" y="240773"/>
                      <a:pt x="88301" y="240773"/>
                    </a:cubicBezTo>
                    <a:cubicBezTo>
                      <a:pt x="129189" y="240773"/>
                      <a:pt x="149627" y="225595"/>
                      <a:pt x="149627" y="195239"/>
                    </a:cubicBezTo>
                    <a:cubicBezTo>
                      <a:pt x="149627" y="183715"/>
                      <a:pt x="145946" y="174958"/>
                      <a:pt x="138625" y="168942"/>
                    </a:cubicBezTo>
                    <a:cubicBezTo>
                      <a:pt x="131290" y="162926"/>
                      <a:pt x="117587" y="157614"/>
                      <a:pt x="97515" y="153007"/>
                    </a:cubicBezTo>
                    <a:lnTo>
                      <a:pt x="68634" y="146234"/>
                    </a:lnTo>
                    <a:cubicBezTo>
                      <a:pt x="44986" y="140831"/>
                      <a:pt x="28268" y="132530"/>
                      <a:pt x="18506" y="121346"/>
                    </a:cubicBezTo>
                    <a:cubicBezTo>
                      <a:pt x="8731" y="110161"/>
                      <a:pt x="3850" y="95310"/>
                      <a:pt x="3850" y="76778"/>
                    </a:cubicBezTo>
                    <a:cubicBezTo>
                      <a:pt x="3850" y="25593"/>
                      <a:pt x="34702" y="0"/>
                      <a:pt x="96406" y="0"/>
                    </a:cubicBezTo>
                    <a:cubicBezTo>
                      <a:pt x="130338" y="0"/>
                      <a:pt x="154886" y="5403"/>
                      <a:pt x="170064" y="16209"/>
                    </a:cubicBezTo>
                    <a:lnTo>
                      <a:pt x="170064" y="51329"/>
                    </a:lnTo>
                    <a:cubicBezTo>
                      <a:pt x="150775" y="37691"/>
                      <a:pt x="126618" y="30878"/>
                      <a:pt x="97567" y="30878"/>
                    </a:cubicBezTo>
                    <a:cubicBezTo>
                      <a:pt x="58232" y="30878"/>
                      <a:pt x="38565" y="45417"/>
                      <a:pt x="38565" y="74481"/>
                    </a:cubicBezTo>
                    <a:cubicBezTo>
                      <a:pt x="38565" y="85013"/>
                      <a:pt x="41958" y="93339"/>
                      <a:pt x="48784" y="99499"/>
                    </a:cubicBezTo>
                    <a:cubicBezTo>
                      <a:pt x="55596" y="105659"/>
                      <a:pt x="68007" y="110670"/>
                      <a:pt x="86017" y="114520"/>
                    </a:cubicBezTo>
                    <a:lnTo>
                      <a:pt x="115708" y="121085"/>
                    </a:lnTo>
                    <a:cubicBezTo>
                      <a:pt x="140374" y="126501"/>
                      <a:pt x="157992" y="135127"/>
                      <a:pt x="168524" y="146978"/>
                    </a:cubicBezTo>
                    <a:cubicBezTo>
                      <a:pt x="179069" y="158828"/>
                      <a:pt x="184342" y="174541"/>
                      <a:pt x="184342" y="194104"/>
                    </a:cubicBezTo>
                    <a:cubicBezTo>
                      <a:pt x="184342" y="245785"/>
                      <a:pt x="152067" y="271638"/>
                      <a:pt x="87544" y="271638"/>
                    </a:cubicBezTo>
                    <a:close/>
                  </a:path>
                </a:pathLst>
              </a:custGeom>
              <a:solidFill>
                <a:schemeClr val="bg1"/>
              </a:solidFill>
              <a:ln w="1305" cap="flat">
                <a:noFill/>
                <a:prstDash val="solid"/>
                <a:miter/>
              </a:ln>
            </p:spPr>
            <p:txBody>
              <a:bodyPr rtlCol="0" anchor="ctr"/>
              <a:lstStyle/>
              <a:p>
                <a:endParaRPr lang="de-DE" dirty="0"/>
              </a:p>
            </p:txBody>
          </p:sp>
          <p:sp>
            <p:nvSpPr>
              <p:cNvPr id="83" name="Freeform: Shape 82">
                <a:extLst>
                  <a:ext uri="{FF2B5EF4-FFF2-40B4-BE49-F238E27FC236}">
                    <a16:creationId xmlns:a16="http://schemas.microsoft.com/office/drawing/2014/main" id="{E6255FB0-431B-4F54-86BA-E0A636955086}"/>
                  </a:ext>
                </a:extLst>
              </p:cNvPr>
              <p:cNvSpPr/>
              <p:nvPr/>
            </p:nvSpPr>
            <p:spPr bwMode="gray">
              <a:xfrm>
                <a:off x="5103334" y="4483107"/>
                <a:ext cx="34702" cy="262385"/>
              </a:xfrm>
              <a:custGeom>
                <a:avLst/>
                <a:gdLst>
                  <a:gd name="connsiteX0" fmla="*/ 0 w 34702"/>
                  <a:gd name="connsiteY0" fmla="*/ 262385 h 262385"/>
                  <a:gd name="connsiteX1" fmla="*/ 0 w 34702"/>
                  <a:gd name="connsiteY1" fmla="*/ 0 h 262385"/>
                  <a:gd name="connsiteX2" fmla="*/ 34702 w 34702"/>
                  <a:gd name="connsiteY2" fmla="*/ 0 h 262385"/>
                  <a:gd name="connsiteX3" fmla="*/ 34702 w 34702"/>
                  <a:gd name="connsiteY3" fmla="*/ 262385 h 262385"/>
                  <a:gd name="connsiteX4" fmla="*/ 0 w 34702"/>
                  <a:gd name="connsiteY4" fmla="*/ 262385 h 262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2" h="262385">
                    <a:moveTo>
                      <a:pt x="0" y="262385"/>
                    </a:moveTo>
                    <a:lnTo>
                      <a:pt x="0" y="0"/>
                    </a:lnTo>
                    <a:lnTo>
                      <a:pt x="34702" y="0"/>
                    </a:lnTo>
                    <a:lnTo>
                      <a:pt x="34702" y="262385"/>
                    </a:lnTo>
                    <a:lnTo>
                      <a:pt x="0" y="262385"/>
                    </a:lnTo>
                    <a:close/>
                  </a:path>
                </a:pathLst>
              </a:custGeom>
              <a:solidFill>
                <a:schemeClr val="bg1"/>
              </a:solidFill>
              <a:ln w="1305" cap="flat">
                <a:noFill/>
                <a:prstDash val="solid"/>
                <a:miter/>
              </a:ln>
            </p:spPr>
            <p:txBody>
              <a:bodyPr rtlCol="0" anchor="ctr"/>
              <a:lstStyle/>
              <a:p>
                <a:endParaRPr lang="de-DE" dirty="0"/>
              </a:p>
            </p:txBody>
          </p:sp>
          <p:sp>
            <p:nvSpPr>
              <p:cNvPr id="84" name="Freeform: Shape 83">
                <a:extLst>
                  <a:ext uri="{FF2B5EF4-FFF2-40B4-BE49-F238E27FC236}">
                    <a16:creationId xmlns:a16="http://schemas.microsoft.com/office/drawing/2014/main" id="{A0398A66-2D55-4638-9852-936B5A05F8AB}"/>
                  </a:ext>
                </a:extLst>
              </p:cNvPr>
              <p:cNvSpPr/>
              <p:nvPr/>
            </p:nvSpPr>
            <p:spPr bwMode="gray">
              <a:xfrm>
                <a:off x="5222174" y="4483107"/>
                <a:ext cx="202834" cy="262385"/>
              </a:xfrm>
              <a:custGeom>
                <a:avLst/>
                <a:gdLst>
                  <a:gd name="connsiteX0" fmla="*/ 84060 w 202834"/>
                  <a:gd name="connsiteY0" fmla="*/ 262385 h 262385"/>
                  <a:gd name="connsiteX1" fmla="*/ 84060 w 202834"/>
                  <a:gd name="connsiteY1" fmla="*/ 31256 h 262385"/>
                  <a:gd name="connsiteX2" fmla="*/ 0 w 202834"/>
                  <a:gd name="connsiteY2" fmla="*/ 31256 h 262385"/>
                  <a:gd name="connsiteX3" fmla="*/ 0 w 202834"/>
                  <a:gd name="connsiteY3" fmla="*/ 0 h 262385"/>
                  <a:gd name="connsiteX4" fmla="*/ 202834 w 202834"/>
                  <a:gd name="connsiteY4" fmla="*/ 0 h 262385"/>
                  <a:gd name="connsiteX5" fmla="*/ 202834 w 202834"/>
                  <a:gd name="connsiteY5" fmla="*/ 31256 h 262385"/>
                  <a:gd name="connsiteX6" fmla="*/ 118762 w 202834"/>
                  <a:gd name="connsiteY6" fmla="*/ 31256 h 262385"/>
                  <a:gd name="connsiteX7" fmla="*/ 118762 w 202834"/>
                  <a:gd name="connsiteY7" fmla="*/ 262385 h 262385"/>
                  <a:gd name="connsiteX8" fmla="*/ 84060 w 202834"/>
                  <a:gd name="connsiteY8"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834" h="262385">
                    <a:moveTo>
                      <a:pt x="84060" y="262385"/>
                    </a:moveTo>
                    <a:lnTo>
                      <a:pt x="84060" y="31256"/>
                    </a:lnTo>
                    <a:lnTo>
                      <a:pt x="0" y="31256"/>
                    </a:lnTo>
                    <a:lnTo>
                      <a:pt x="0" y="0"/>
                    </a:lnTo>
                    <a:lnTo>
                      <a:pt x="202834" y="0"/>
                    </a:lnTo>
                    <a:lnTo>
                      <a:pt x="202834" y="31256"/>
                    </a:lnTo>
                    <a:lnTo>
                      <a:pt x="118762" y="31256"/>
                    </a:lnTo>
                    <a:lnTo>
                      <a:pt x="118762" y="262385"/>
                    </a:lnTo>
                    <a:lnTo>
                      <a:pt x="84060" y="262385"/>
                    </a:lnTo>
                    <a:close/>
                  </a:path>
                </a:pathLst>
              </a:custGeom>
              <a:solidFill>
                <a:schemeClr val="bg1"/>
              </a:solidFill>
              <a:ln w="1305" cap="flat">
                <a:noFill/>
                <a:prstDash val="solid"/>
                <a:miter/>
              </a:ln>
            </p:spPr>
            <p:txBody>
              <a:bodyPr rtlCol="0" anchor="ctr"/>
              <a:lstStyle/>
              <a:p>
                <a:endParaRPr lang="de-DE" dirty="0"/>
              </a:p>
            </p:txBody>
          </p:sp>
          <p:sp>
            <p:nvSpPr>
              <p:cNvPr id="85" name="Freeform: Shape 84">
                <a:extLst>
                  <a:ext uri="{FF2B5EF4-FFF2-40B4-BE49-F238E27FC236}">
                    <a16:creationId xmlns:a16="http://schemas.microsoft.com/office/drawing/2014/main" id="{3C09E0A4-3854-4316-BEE7-6E01D04FC618}"/>
                  </a:ext>
                </a:extLst>
              </p:cNvPr>
              <p:cNvSpPr/>
              <p:nvPr/>
            </p:nvSpPr>
            <p:spPr bwMode="gray">
              <a:xfrm>
                <a:off x="5488644" y="4483107"/>
                <a:ext cx="225582" cy="262385"/>
              </a:xfrm>
              <a:custGeom>
                <a:avLst/>
                <a:gdLst>
                  <a:gd name="connsiteX0" fmla="*/ 95636 w 225582"/>
                  <a:gd name="connsiteY0" fmla="*/ 262385 h 262385"/>
                  <a:gd name="connsiteX1" fmla="*/ 95636 w 225582"/>
                  <a:gd name="connsiteY1" fmla="*/ 152420 h 262385"/>
                  <a:gd name="connsiteX2" fmla="*/ 0 w 225582"/>
                  <a:gd name="connsiteY2" fmla="*/ 0 h 262385"/>
                  <a:gd name="connsiteX3" fmla="*/ 40875 w 225582"/>
                  <a:gd name="connsiteY3" fmla="*/ 0 h 262385"/>
                  <a:gd name="connsiteX4" fmla="*/ 114142 w 225582"/>
                  <a:gd name="connsiteY4" fmla="*/ 117496 h 262385"/>
                  <a:gd name="connsiteX5" fmla="*/ 187030 w 225582"/>
                  <a:gd name="connsiteY5" fmla="*/ 0 h 262385"/>
                  <a:gd name="connsiteX6" fmla="*/ 225582 w 225582"/>
                  <a:gd name="connsiteY6" fmla="*/ 0 h 262385"/>
                  <a:gd name="connsiteX7" fmla="*/ 130338 w 225582"/>
                  <a:gd name="connsiteY7" fmla="*/ 151650 h 262385"/>
                  <a:gd name="connsiteX8" fmla="*/ 130338 w 225582"/>
                  <a:gd name="connsiteY8" fmla="*/ 262385 h 262385"/>
                  <a:gd name="connsiteX9" fmla="*/ 95636 w 225582"/>
                  <a:gd name="connsiteY9"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582" h="262385">
                    <a:moveTo>
                      <a:pt x="95636" y="262385"/>
                    </a:moveTo>
                    <a:lnTo>
                      <a:pt x="95636" y="152420"/>
                    </a:lnTo>
                    <a:lnTo>
                      <a:pt x="0" y="0"/>
                    </a:lnTo>
                    <a:lnTo>
                      <a:pt x="40875" y="0"/>
                    </a:lnTo>
                    <a:lnTo>
                      <a:pt x="114142" y="117496"/>
                    </a:lnTo>
                    <a:lnTo>
                      <a:pt x="187030" y="0"/>
                    </a:lnTo>
                    <a:lnTo>
                      <a:pt x="225582" y="0"/>
                    </a:lnTo>
                    <a:lnTo>
                      <a:pt x="130338" y="151650"/>
                    </a:lnTo>
                    <a:lnTo>
                      <a:pt x="130338" y="262385"/>
                    </a:lnTo>
                    <a:lnTo>
                      <a:pt x="95636" y="262385"/>
                    </a:lnTo>
                    <a:close/>
                  </a:path>
                </a:pathLst>
              </a:custGeom>
              <a:solidFill>
                <a:schemeClr val="bg1"/>
              </a:solidFill>
              <a:ln w="1305" cap="flat">
                <a:noFill/>
                <a:prstDash val="solid"/>
                <a:miter/>
              </a:ln>
            </p:spPr>
            <p:txBody>
              <a:bodyPr rtlCol="0" anchor="ctr"/>
              <a:lstStyle/>
              <a:p>
                <a:endParaRPr lang="de-DE" dirty="0"/>
              </a:p>
            </p:txBody>
          </p:sp>
          <p:sp>
            <p:nvSpPr>
              <p:cNvPr id="86" name="Freeform: Shape 85">
                <a:extLst>
                  <a:ext uri="{FF2B5EF4-FFF2-40B4-BE49-F238E27FC236}">
                    <a16:creationId xmlns:a16="http://schemas.microsoft.com/office/drawing/2014/main" id="{F9C6AA30-CD53-4964-AAC1-6202FCFB7B7A}"/>
                  </a:ext>
                </a:extLst>
              </p:cNvPr>
              <p:cNvSpPr/>
              <p:nvPr/>
            </p:nvSpPr>
            <p:spPr bwMode="gray">
              <a:xfrm>
                <a:off x="5917452" y="4478474"/>
                <a:ext cx="229836" cy="271651"/>
              </a:xfrm>
              <a:custGeom>
                <a:avLst/>
                <a:gdLst>
                  <a:gd name="connsiteX0" fmla="*/ 201686 w 229836"/>
                  <a:gd name="connsiteY0" fmla="*/ 238267 h 271651"/>
                  <a:gd name="connsiteX1" fmla="*/ 114912 w 229836"/>
                  <a:gd name="connsiteY1" fmla="*/ 271651 h 271651"/>
                  <a:gd name="connsiteX2" fmla="*/ 28150 w 229836"/>
                  <a:gd name="connsiteY2" fmla="*/ 238267 h 271651"/>
                  <a:gd name="connsiteX3" fmla="*/ 0 w 229836"/>
                  <a:gd name="connsiteY3" fmla="*/ 135819 h 271651"/>
                  <a:gd name="connsiteX4" fmla="*/ 28150 w 229836"/>
                  <a:gd name="connsiteY4" fmla="*/ 33371 h 271651"/>
                  <a:gd name="connsiteX5" fmla="*/ 114912 w 229836"/>
                  <a:gd name="connsiteY5" fmla="*/ 0 h 271651"/>
                  <a:gd name="connsiteX6" fmla="*/ 201686 w 229836"/>
                  <a:gd name="connsiteY6" fmla="*/ 33371 h 271651"/>
                  <a:gd name="connsiteX7" fmla="*/ 229836 w 229836"/>
                  <a:gd name="connsiteY7" fmla="*/ 135819 h 271651"/>
                  <a:gd name="connsiteX8" fmla="*/ 201686 w 229836"/>
                  <a:gd name="connsiteY8" fmla="*/ 238267 h 271651"/>
                  <a:gd name="connsiteX9" fmla="*/ 54578 w 229836"/>
                  <a:gd name="connsiteY9" fmla="*/ 215507 h 271651"/>
                  <a:gd name="connsiteX10" fmla="*/ 114925 w 229836"/>
                  <a:gd name="connsiteY10" fmla="*/ 240786 h 271651"/>
                  <a:gd name="connsiteX11" fmla="*/ 175285 w 229836"/>
                  <a:gd name="connsiteY11" fmla="*/ 215507 h 271651"/>
                  <a:gd name="connsiteX12" fmla="*/ 194365 w 229836"/>
                  <a:gd name="connsiteY12" fmla="*/ 135819 h 271651"/>
                  <a:gd name="connsiteX13" fmla="*/ 175285 w 229836"/>
                  <a:gd name="connsiteY13" fmla="*/ 56131 h 271651"/>
                  <a:gd name="connsiteX14" fmla="*/ 114925 w 229836"/>
                  <a:gd name="connsiteY14" fmla="*/ 30865 h 271651"/>
                  <a:gd name="connsiteX15" fmla="*/ 54578 w 229836"/>
                  <a:gd name="connsiteY15" fmla="*/ 56131 h 271651"/>
                  <a:gd name="connsiteX16" fmla="*/ 35498 w 229836"/>
                  <a:gd name="connsiteY16" fmla="*/ 135819 h 271651"/>
                  <a:gd name="connsiteX17" fmla="*/ 54578 w 229836"/>
                  <a:gd name="connsiteY17" fmla="*/ 215507 h 27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836" h="271651">
                    <a:moveTo>
                      <a:pt x="201686" y="238267"/>
                    </a:moveTo>
                    <a:cubicBezTo>
                      <a:pt x="182919" y="260519"/>
                      <a:pt x="153999" y="271651"/>
                      <a:pt x="114912" y="271651"/>
                    </a:cubicBezTo>
                    <a:cubicBezTo>
                      <a:pt x="75838" y="271651"/>
                      <a:pt x="46918" y="260519"/>
                      <a:pt x="28150" y="238267"/>
                    </a:cubicBezTo>
                    <a:cubicBezTo>
                      <a:pt x="9383" y="216029"/>
                      <a:pt x="0" y="181875"/>
                      <a:pt x="0" y="135819"/>
                    </a:cubicBezTo>
                    <a:cubicBezTo>
                      <a:pt x="0" y="89776"/>
                      <a:pt x="9383" y="55622"/>
                      <a:pt x="28150" y="33371"/>
                    </a:cubicBezTo>
                    <a:cubicBezTo>
                      <a:pt x="46904" y="11119"/>
                      <a:pt x="75838" y="0"/>
                      <a:pt x="114912" y="0"/>
                    </a:cubicBezTo>
                    <a:cubicBezTo>
                      <a:pt x="153999" y="0"/>
                      <a:pt x="182906" y="11119"/>
                      <a:pt x="201686" y="33371"/>
                    </a:cubicBezTo>
                    <a:cubicBezTo>
                      <a:pt x="220453" y="55622"/>
                      <a:pt x="229836" y="89776"/>
                      <a:pt x="229836" y="135819"/>
                    </a:cubicBezTo>
                    <a:cubicBezTo>
                      <a:pt x="229850" y="181875"/>
                      <a:pt x="220466" y="216029"/>
                      <a:pt x="201686" y="238267"/>
                    </a:cubicBezTo>
                    <a:close/>
                    <a:moveTo>
                      <a:pt x="54578" y="215507"/>
                    </a:moveTo>
                    <a:cubicBezTo>
                      <a:pt x="67302" y="232355"/>
                      <a:pt x="87414" y="240786"/>
                      <a:pt x="114925" y="240786"/>
                    </a:cubicBezTo>
                    <a:cubicBezTo>
                      <a:pt x="142436" y="240786"/>
                      <a:pt x="162560" y="232368"/>
                      <a:pt x="175285" y="215507"/>
                    </a:cubicBezTo>
                    <a:cubicBezTo>
                      <a:pt x="188009" y="198659"/>
                      <a:pt x="194365" y="172100"/>
                      <a:pt x="194365" y="135819"/>
                    </a:cubicBezTo>
                    <a:cubicBezTo>
                      <a:pt x="194365" y="99551"/>
                      <a:pt x="188009" y="72993"/>
                      <a:pt x="175285" y="56131"/>
                    </a:cubicBezTo>
                    <a:cubicBezTo>
                      <a:pt x="162560" y="39283"/>
                      <a:pt x="142436" y="30865"/>
                      <a:pt x="114925" y="30865"/>
                    </a:cubicBezTo>
                    <a:cubicBezTo>
                      <a:pt x="87414" y="30865"/>
                      <a:pt x="67302" y="39283"/>
                      <a:pt x="54578" y="56131"/>
                    </a:cubicBezTo>
                    <a:cubicBezTo>
                      <a:pt x="41853" y="72980"/>
                      <a:pt x="35498" y="99551"/>
                      <a:pt x="35498" y="135819"/>
                    </a:cubicBezTo>
                    <a:cubicBezTo>
                      <a:pt x="35498" y="172100"/>
                      <a:pt x="41853" y="198659"/>
                      <a:pt x="54578" y="215507"/>
                    </a:cubicBezTo>
                    <a:close/>
                  </a:path>
                </a:pathLst>
              </a:custGeom>
              <a:solidFill>
                <a:schemeClr val="bg1"/>
              </a:solidFill>
              <a:ln w="1305" cap="flat">
                <a:noFill/>
                <a:prstDash val="solid"/>
                <a:miter/>
              </a:ln>
            </p:spPr>
            <p:txBody>
              <a:bodyPr rtlCol="0" anchor="ctr"/>
              <a:lstStyle/>
              <a:p>
                <a:endParaRPr lang="de-DE" dirty="0"/>
              </a:p>
            </p:txBody>
          </p:sp>
          <p:sp>
            <p:nvSpPr>
              <p:cNvPr id="87" name="Freeform: Shape 86">
                <a:extLst>
                  <a:ext uri="{FF2B5EF4-FFF2-40B4-BE49-F238E27FC236}">
                    <a16:creationId xmlns:a16="http://schemas.microsoft.com/office/drawing/2014/main" id="{50C0D342-767B-44D0-A77D-00012093E0B5}"/>
                  </a:ext>
                </a:extLst>
              </p:cNvPr>
              <p:cNvSpPr/>
              <p:nvPr/>
            </p:nvSpPr>
            <p:spPr bwMode="gray">
              <a:xfrm>
                <a:off x="6244399" y="4483107"/>
                <a:ext cx="174305" cy="262385"/>
              </a:xfrm>
              <a:custGeom>
                <a:avLst/>
                <a:gdLst>
                  <a:gd name="connsiteX0" fmla="*/ 0 w 174305"/>
                  <a:gd name="connsiteY0" fmla="*/ 262385 h 262385"/>
                  <a:gd name="connsiteX1" fmla="*/ 0 w 174305"/>
                  <a:gd name="connsiteY1" fmla="*/ 0 h 262385"/>
                  <a:gd name="connsiteX2" fmla="*/ 174306 w 174305"/>
                  <a:gd name="connsiteY2" fmla="*/ 0 h 262385"/>
                  <a:gd name="connsiteX3" fmla="*/ 174306 w 174305"/>
                  <a:gd name="connsiteY3" fmla="*/ 30865 h 262385"/>
                  <a:gd name="connsiteX4" fmla="*/ 34702 w 174305"/>
                  <a:gd name="connsiteY4" fmla="*/ 30865 h 262385"/>
                  <a:gd name="connsiteX5" fmla="*/ 34702 w 174305"/>
                  <a:gd name="connsiteY5" fmla="*/ 114599 h 262385"/>
                  <a:gd name="connsiteX6" fmla="*/ 159636 w 174305"/>
                  <a:gd name="connsiteY6" fmla="*/ 114599 h 262385"/>
                  <a:gd name="connsiteX7" fmla="*/ 159636 w 174305"/>
                  <a:gd name="connsiteY7" fmla="*/ 145463 h 262385"/>
                  <a:gd name="connsiteX8" fmla="*/ 34702 w 174305"/>
                  <a:gd name="connsiteY8" fmla="*/ 145463 h 262385"/>
                  <a:gd name="connsiteX9" fmla="*/ 34702 w 174305"/>
                  <a:gd name="connsiteY9" fmla="*/ 262372 h 262385"/>
                  <a:gd name="connsiteX10" fmla="*/ 0 w 174305"/>
                  <a:gd name="connsiteY10" fmla="*/ 262372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5" h="262385">
                    <a:moveTo>
                      <a:pt x="0" y="262385"/>
                    </a:moveTo>
                    <a:lnTo>
                      <a:pt x="0" y="0"/>
                    </a:lnTo>
                    <a:lnTo>
                      <a:pt x="174306" y="0"/>
                    </a:lnTo>
                    <a:lnTo>
                      <a:pt x="174306" y="30865"/>
                    </a:lnTo>
                    <a:lnTo>
                      <a:pt x="34702" y="30865"/>
                    </a:lnTo>
                    <a:lnTo>
                      <a:pt x="34702" y="114599"/>
                    </a:lnTo>
                    <a:lnTo>
                      <a:pt x="159636" y="114599"/>
                    </a:lnTo>
                    <a:lnTo>
                      <a:pt x="159636" y="145463"/>
                    </a:lnTo>
                    <a:lnTo>
                      <a:pt x="34702" y="145463"/>
                    </a:lnTo>
                    <a:lnTo>
                      <a:pt x="34702" y="262372"/>
                    </a:lnTo>
                    <a:lnTo>
                      <a:pt x="0" y="262372"/>
                    </a:lnTo>
                    <a:close/>
                  </a:path>
                </a:pathLst>
              </a:custGeom>
              <a:solidFill>
                <a:schemeClr val="bg1"/>
              </a:solidFill>
              <a:ln w="1305" cap="flat">
                <a:noFill/>
                <a:prstDash val="solid"/>
                <a:miter/>
              </a:ln>
            </p:spPr>
            <p:txBody>
              <a:bodyPr rtlCol="0" anchor="ctr"/>
              <a:lstStyle/>
              <a:p>
                <a:endParaRPr lang="de-DE" dirty="0"/>
              </a:p>
            </p:txBody>
          </p:sp>
          <p:sp>
            <p:nvSpPr>
              <p:cNvPr id="88" name="Freeform: Shape 87">
                <a:extLst>
                  <a:ext uri="{FF2B5EF4-FFF2-40B4-BE49-F238E27FC236}">
                    <a16:creationId xmlns:a16="http://schemas.microsoft.com/office/drawing/2014/main" id="{AF1CF741-F46A-4A7F-BA40-7EB1C04D20A1}"/>
                  </a:ext>
                </a:extLst>
              </p:cNvPr>
              <p:cNvSpPr/>
              <p:nvPr/>
            </p:nvSpPr>
            <p:spPr bwMode="gray">
              <a:xfrm>
                <a:off x="6618446" y="4483107"/>
                <a:ext cx="243344" cy="262385"/>
              </a:xfrm>
              <a:custGeom>
                <a:avLst/>
                <a:gdLst>
                  <a:gd name="connsiteX0" fmla="*/ 0 w 243344"/>
                  <a:gd name="connsiteY0" fmla="*/ 262385 h 262385"/>
                  <a:gd name="connsiteX1" fmla="*/ 103741 w 243344"/>
                  <a:gd name="connsiteY1" fmla="*/ 0 h 262385"/>
                  <a:gd name="connsiteX2" fmla="*/ 139604 w 243344"/>
                  <a:gd name="connsiteY2" fmla="*/ 0 h 262385"/>
                  <a:gd name="connsiteX3" fmla="*/ 243344 w 243344"/>
                  <a:gd name="connsiteY3" fmla="*/ 262385 h 262385"/>
                  <a:gd name="connsiteX4" fmla="*/ 206320 w 243344"/>
                  <a:gd name="connsiteY4" fmla="*/ 262385 h 262385"/>
                  <a:gd name="connsiteX5" fmla="*/ 181562 w 243344"/>
                  <a:gd name="connsiteY5" fmla="*/ 197954 h 262385"/>
                  <a:gd name="connsiteX6" fmla="*/ 59864 w 243344"/>
                  <a:gd name="connsiteY6" fmla="*/ 197954 h 262385"/>
                  <a:gd name="connsiteX7" fmla="*/ 35107 w 243344"/>
                  <a:gd name="connsiteY7" fmla="*/ 262385 h 262385"/>
                  <a:gd name="connsiteX8" fmla="*/ 0 w 243344"/>
                  <a:gd name="connsiteY8" fmla="*/ 262385 h 262385"/>
                  <a:gd name="connsiteX9" fmla="*/ 72014 w 243344"/>
                  <a:gd name="connsiteY9" fmla="*/ 166305 h 262385"/>
                  <a:gd name="connsiteX10" fmla="*/ 169412 w 243344"/>
                  <a:gd name="connsiteY10" fmla="*/ 166305 h 262385"/>
                  <a:gd name="connsiteX11" fmla="*/ 120707 w 243344"/>
                  <a:gd name="connsiteY11" fmla="*/ 39557 h 262385"/>
                  <a:gd name="connsiteX12" fmla="*/ 72014 w 243344"/>
                  <a:gd name="connsiteY12" fmla="*/ 16630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344" h="262385">
                    <a:moveTo>
                      <a:pt x="0" y="262385"/>
                    </a:moveTo>
                    <a:lnTo>
                      <a:pt x="103741" y="0"/>
                    </a:lnTo>
                    <a:lnTo>
                      <a:pt x="139604" y="0"/>
                    </a:lnTo>
                    <a:lnTo>
                      <a:pt x="243344" y="262385"/>
                    </a:lnTo>
                    <a:lnTo>
                      <a:pt x="206320" y="262385"/>
                    </a:lnTo>
                    <a:lnTo>
                      <a:pt x="181562" y="197954"/>
                    </a:lnTo>
                    <a:lnTo>
                      <a:pt x="59864" y="197954"/>
                    </a:lnTo>
                    <a:lnTo>
                      <a:pt x="35107" y="262385"/>
                    </a:lnTo>
                    <a:lnTo>
                      <a:pt x="0" y="262385"/>
                    </a:lnTo>
                    <a:close/>
                    <a:moveTo>
                      <a:pt x="72014" y="166305"/>
                    </a:moveTo>
                    <a:lnTo>
                      <a:pt x="169412" y="166305"/>
                    </a:lnTo>
                    <a:lnTo>
                      <a:pt x="120707" y="39557"/>
                    </a:lnTo>
                    <a:lnTo>
                      <a:pt x="72014" y="166305"/>
                    </a:lnTo>
                    <a:close/>
                  </a:path>
                </a:pathLst>
              </a:custGeom>
              <a:solidFill>
                <a:schemeClr val="bg1"/>
              </a:solidFill>
              <a:ln w="1305" cap="flat">
                <a:noFill/>
                <a:prstDash val="solid"/>
                <a:miter/>
              </a:ln>
            </p:spPr>
            <p:txBody>
              <a:bodyPr rtlCol="0" anchor="ctr"/>
              <a:lstStyle/>
              <a:p>
                <a:endParaRPr lang="de-DE" dirty="0"/>
              </a:p>
            </p:txBody>
          </p:sp>
          <p:sp>
            <p:nvSpPr>
              <p:cNvPr id="89" name="Freeform: Shape 88">
                <a:extLst>
                  <a:ext uri="{FF2B5EF4-FFF2-40B4-BE49-F238E27FC236}">
                    <a16:creationId xmlns:a16="http://schemas.microsoft.com/office/drawing/2014/main" id="{647DBFB4-9767-46CF-84AE-A3BF4E72EE9A}"/>
                  </a:ext>
                </a:extLst>
              </p:cNvPr>
              <p:cNvSpPr/>
              <p:nvPr/>
            </p:nvSpPr>
            <p:spPr bwMode="gray">
              <a:xfrm>
                <a:off x="6944819" y="4483107"/>
                <a:ext cx="195526" cy="262385"/>
              </a:xfrm>
              <a:custGeom>
                <a:avLst/>
                <a:gdLst>
                  <a:gd name="connsiteX0" fmla="*/ 0 w 195526"/>
                  <a:gd name="connsiteY0" fmla="*/ 262385 h 262385"/>
                  <a:gd name="connsiteX1" fmla="*/ 0 w 195526"/>
                  <a:gd name="connsiteY1" fmla="*/ 0 h 262385"/>
                  <a:gd name="connsiteX2" fmla="*/ 106051 w 195526"/>
                  <a:gd name="connsiteY2" fmla="*/ 0 h 262385"/>
                  <a:gd name="connsiteX3" fmla="*/ 174697 w 195526"/>
                  <a:gd name="connsiteY3" fmla="*/ 18715 h 262385"/>
                  <a:gd name="connsiteX4" fmla="*/ 195527 w 195526"/>
                  <a:gd name="connsiteY4" fmla="*/ 79870 h 262385"/>
                  <a:gd name="connsiteX5" fmla="*/ 174697 w 195526"/>
                  <a:gd name="connsiteY5" fmla="*/ 140831 h 262385"/>
                  <a:gd name="connsiteX6" fmla="*/ 106051 w 195526"/>
                  <a:gd name="connsiteY6" fmla="*/ 159350 h 262385"/>
                  <a:gd name="connsiteX7" fmla="*/ 34715 w 195526"/>
                  <a:gd name="connsiteY7" fmla="*/ 159350 h 262385"/>
                  <a:gd name="connsiteX8" fmla="*/ 34715 w 195526"/>
                  <a:gd name="connsiteY8" fmla="*/ 262372 h 262385"/>
                  <a:gd name="connsiteX9" fmla="*/ 0 w 195526"/>
                  <a:gd name="connsiteY9" fmla="*/ 262372 h 262385"/>
                  <a:gd name="connsiteX10" fmla="*/ 34702 w 195526"/>
                  <a:gd name="connsiteY10" fmla="*/ 128498 h 262385"/>
                  <a:gd name="connsiteX11" fmla="*/ 103715 w 195526"/>
                  <a:gd name="connsiteY11" fmla="*/ 128498 h 262385"/>
                  <a:gd name="connsiteX12" fmla="*/ 147487 w 195526"/>
                  <a:gd name="connsiteY12" fmla="*/ 117496 h 262385"/>
                  <a:gd name="connsiteX13" fmla="*/ 160407 w 195526"/>
                  <a:gd name="connsiteY13" fmla="*/ 79870 h 262385"/>
                  <a:gd name="connsiteX14" fmla="*/ 147487 w 195526"/>
                  <a:gd name="connsiteY14" fmla="*/ 42063 h 262385"/>
                  <a:gd name="connsiteX15" fmla="*/ 103715 w 195526"/>
                  <a:gd name="connsiteY15" fmla="*/ 30865 h 262385"/>
                  <a:gd name="connsiteX16" fmla="*/ 34702 w 195526"/>
                  <a:gd name="connsiteY16" fmla="*/ 30865 h 262385"/>
                  <a:gd name="connsiteX17" fmla="*/ 34702 w 195526"/>
                  <a:gd name="connsiteY17" fmla="*/ 128498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5526" h="262385">
                    <a:moveTo>
                      <a:pt x="0" y="262385"/>
                    </a:moveTo>
                    <a:lnTo>
                      <a:pt x="0" y="0"/>
                    </a:lnTo>
                    <a:lnTo>
                      <a:pt x="106051" y="0"/>
                    </a:lnTo>
                    <a:cubicBezTo>
                      <a:pt x="137920" y="0"/>
                      <a:pt x="160811" y="6238"/>
                      <a:pt x="174697" y="18715"/>
                    </a:cubicBezTo>
                    <a:cubicBezTo>
                      <a:pt x="188583" y="31191"/>
                      <a:pt x="195527" y="51577"/>
                      <a:pt x="195527" y="79870"/>
                    </a:cubicBezTo>
                    <a:cubicBezTo>
                      <a:pt x="195527" y="108178"/>
                      <a:pt x="188583" y="128484"/>
                      <a:pt x="174697" y="140831"/>
                    </a:cubicBezTo>
                    <a:cubicBezTo>
                      <a:pt x="160811" y="153190"/>
                      <a:pt x="137920" y="159350"/>
                      <a:pt x="106051" y="159350"/>
                    </a:cubicBezTo>
                    <a:lnTo>
                      <a:pt x="34715" y="159350"/>
                    </a:lnTo>
                    <a:lnTo>
                      <a:pt x="34715" y="262372"/>
                    </a:lnTo>
                    <a:lnTo>
                      <a:pt x="0" y="262372"/>
                    </a:lnTo>
                    <a:close/>
                    <a:moveTo>
                      <a:pt x="34702" y="128498"/>
                    </a:moveTo>
                    <a:lnTo>
                      <a:pt x="103715" y="128498"/>
                    </a:lnTo>
                    <a:cubicBezTo>
                      <a:pt x="124282" y="128498"/>
                      <a:pt x="138873" y="124831"/>
                      <a:pt x="147487" y="117496"/>
                    </a:cubicBezTo>
                    <a:cubicBezTo>
                      <a:pt x="156100" y="110161"/>
                      <a:pt x="160407" y="97633"/>
                      <a:pt x="160407" y="79870"/>
                    </a:cubicBezTo>
                    <a:cubicBezTo>
                      <a:pt x="160407" y="62109"/>
                      <a:pt x="156100" y="49527"/>
                      <a:pt x="147487" y="42063"/>
                    </a:cubicBezTo>
                    <a:cubicBezTo>
                      <a:pt x="138860" y="34611"/>
                      <a:pt x="124282" y="30865"/>
                      <a:pt x="103715" y="30865"/>
                    </a:cubicBezTo>
                    <a:lnTo>
                      <a:pt x="34702" y="30865"/>
                    </a:lnTo>
                    <a:lnTo>
                      <a:pt x="34702" y="128498"/>
                    </a:lnTo>
                    <a:close/>
                  </a:path>
                </a:pathLst>
              </a:custGeom>
              <a:solidFill>
                <a:schemeClr val="bg1"/>
              </a:solidFill>
              <a:ln w="1305" cap="flat">
                <a:noFill/>
                <a:prstDash val="solid"/>
                <a:miter/>
              </a:ln>
            </p:spPr>
            <p:txBody>
              <a:bodyPr rtlCol="0" anchor="ctr"/>
              <a:lstStyle/>
              <a:p>
                <a:endParaRPr lang="de-DE" dirty="0"/>
              </a:p>
            </p:txBody>
          </p:sp>
          <p:sp>
            <p:nvSpPr>
              <p:cNvPr id="90" name="Freeform: Shape 89">
                <a:extLst>
                  <a:ext uri="{FF2B5EF4-FFF2-40B4-BE49-F238E27FC236}">
                    <a16:creationId xmlns:a16="http://schemas.microsoft.com/office/drawing/2014/main" id="{6C071BD5-D105-42F0-A351-8EE98EE77473}"/>
                  </a:ext>
                </a:extLst>
              </p:cNvPr>
              <p:cNvSpPr/>
              <p:nvPr/>
            </p:nvSpPr>
            <p:spPr bwMode="gray">
              <a:xfrm>
                <a:off x="7227394" y="4483107"/>
                <a:ext cx="195526" cy="262385"/>
              </a:xfrm>
              <a:custGeom>
                <a:avLst/>
                <a:gdLst>
                  <a:gd name="connsiteX0" fmla="*/ 0 w 195526"/>
                  <a:gd name="connsiteY0" fmla="*/ 262385 h 262385"/>
                  <a:gd name="connsiteX1" fmla="*/ 0 w 195526"/>
                  <a:gd name="connsiteY1" fmla="*/ 0 h 262385"/>
                  <a:gd name="connsiteX2" fmla="*/ 106051 w 195526"/>
                  <a:gd name="connsiteY2" fmla="*/ 0 h 262385"/>
                  <a:gd name="connsiteX3" fmla="*/ 174697 w 195526"/>
                  <a:gd name="connsiteY3" fmla="*/ 18715 h 262385"/>
                  <a:gd name="connsiteX4" fmla="*/ 195527 w 195526"/>
                  <a:gd name="connsiteY4" fmla="*/ 79870 h 262385"/>
                  <a:gd name="connsiteX5" fmla="*/ 174697 w 195526"/>
                  <a:gd name="connsiteY5" fmla="*/ 140831 h 262385"/>
                  <a:gd name="connsiteX6" fmla="*/ 106051 w 195526"/>
                  <a:gd name="connsiteY6" fmla="*/ 159350 h 262385"/>
                  <a:gd name="connsiteX7" fmla="*/ 34715 w 195526"/>
                  <a:gd name="connsiteY7" fmla="*/ 159350 h 262385"/>
                  <a:gd name="connsiteX8" fmla="*/ 34715 w 195526"/>
                  <a:gd name="connsiteY8" fmla="*/ 262372 h 262385"/>
                  <a:gd name="connsiteX9" fmla="*/ 0 w 195526"/>
                  <a:gd name="connsiteY9" fmla="*/ 262372 h 262385"/>
                  <a:gd name="connsiteX10" fmla="*/ 34715 w 195526"/>
                  <a:gd name="connsiteY10" fmla="*/ 128498 h 262385"/>
                  <a:gd name="connsiteX11" fmla="*/ 103727 w 195526"/>
                  <a:gd name="connsiteY11" fmla="*/ 128498 h 262385"/>
                  <a:gd name="connsiteX12" fmla="*/ 147499 w 195526"/>
                  <a:gd name="connsiteY12" fmla="*/ 117496 h 262385"/>
                  <a:gd name="connsiteX13" fmla="*/ 160420 w 195526"/>
                  <a:gd name="connsiteY13" fmla="*/ 79870 h 262385"/>
                  <a:gd name="connsiteX14" fmla="*/ 147499 w 195526"/>
                  <a:gd name="connsiteY14" fmla="*/ 42063 h 262385"/>
                  <a:gd name="connsiteX15" fmla="*/ 103727 w 195526"/>
                  <a:gd name="connsiteY15" fmla="*/ 30865 h 262385"/>
                  <a:gd name="connsiteX16" fmla="*/ 34715 w 195526"/>
                  <a:gd name="connsiteY16" fmla="*/ 30865 h 262385"/>
                  <a:gd name="connsiteX17" fmla="*/ 34715 w 195526"/>
                  <a:gd name="connsiteY17" fmla="*/ 128498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5526" h="262385">
                    <a:moveTo>
                      <a:pt x="0" y="262385"/>
                    </a:moveTo>
                    <a:lnTo>
                      <a:pt x="0" y="0"/>
                    </a:lnTo>
                    <a:lnTo>
                      <a:pt x="106051" y="0"/>
                    </a:lnTo>
                    <a:cubicBezTo>
                      <a:pt x="137920" y="0"/>
                      <a:pt x="160811" y="6238"/>
                      <a:pt x="174697" y="18715"/>
                    </a:cubicBezTo>
                    <a:cubicBezTo>
                      <a:pt x="188583" y="31191"/>
                      <a:pt x="195527" y="51577"/>
                      <a:pt x="195527" y="79870"/>
                    </a:cubicBezTo>
                    <a:cubicBezTo>
                      <a:pt x="195527" y="108178"/>
                      <a:pt x="188583" y="128484"/>
                      <a:pt x="174697" y="140831"/>
                    </a:cubicBezTo>
                    <a:cubicBezTo>
                      <a:pt x="160811" y="153190"/>
                      <a:pt x="137920" y="159350"/>
                      <a:pt x="106051" y="159350"/>
                    </a:cubicBezTo>
                    <a:lnTo>
                      <a:pt x="34715" y="159350"/>
                    </a:lnTo>
                    <a:lnTo>
                      <a:pt x="34715" y="262372"/>
                    </a:lnTo>
                    <a:lnTo>
                      <a:pt x="0" y="262372"/>
                    </a:lnTo>
                    <a:close/>
                    <a:moveTo>
                      <a:pt x="34715" y="128498"/>
                    </a:moveTo>
                    <a:lnTo>
                      <a:pt x="103727" y="128498"/>
                    </a:lnTo>
                    <a:cubicBezTo>
                      <a:pt x="124296" y="128498"/>
                      <a:pt x="138886" y="124831"/>
                      <a:pt x="147499" y="117496"/>
                    </a:cubicBezTo>
                    <a:cubicBezTo>
                      <a:pt x="156113" y="110161"/>
                      <a:pt x="160420" y="97633"/>
                      <a:pt x="160420" y="79870"/>
                    </a:cubicBezTo>
                    <a:cubicBezTo>
                      <a:pt x="160420" y="62109"/>
                      <a:pt x="156113" y="49527"/>
                      <a:pt x="147499" y="42063"/>
                    </a:cubicBezTo>
                    <a:cubicBezTo>
                      <a:pt x="138873" y="34611"/>
                      <a:pt x="124296" y="30865"/>
                      <a:pt x="103727" y="30865"/>
                    </a:cubicBezTo>
                    <a:lnTo>
                      <a:pt x="34715" y="30865"/>
                    </a:lnTo>
                    <a:lnTo>
                      <a:pt x="34715" y="128498"/>
                    </a:lnTo>
                    <a:close/>
                  </a:path>
                </a:pathLst>
              </a:custGeom>
              <a:solidFill>
                <a:schemeClr val="bg1"/>
              </a:solidFill>
              <a:ln w="1305" cap="flat">
                <a:noFill/>
                <a:prstDash val="solid"/>
                <a:miter/>
              </a:ln>
            </p:spPr>
            <p:txBody>
              <a:bodyPr rtlCol="0" anchor="ctr"/>
              <a:lstStyle/>
              <a:p>
                <a:endParaRPr lang="de-DE" dirty="0"/>
              </a:p>
            </p:txBody>
          </p:sp>
          <p:sp>
            <p:nvSpPr>
              <p:cNvPr id="91" name="Freeform: Shape 90">
                <a:extLst>
                  <a:ext uri="{FF2B5EF4-FFF2-40B4-BE49-F238E27FC236}">
                    <a16:creationId xmlns:a16="http://schemas.microsoft.com/office/drawing/2014/main" id="{F816E1DD-703B-4BC8-A6FC-21F1DAC33CEB}"/>
                  </a:ext>
                </a:extLst>
              </p:cNvPr>
              <p:cNvSpPr/>
              <p:nvPr/>
            </p:nvSpPr>
            <p:spPr bwMode="gray">
              <a:xfrm>
                <a:off x="7509982" y="4483107"/>
                <a:ext cx="166187" cy="262385"/>
              </a:xfrm>
              <a:custGeom>
                <a:avLst/>
                <a:gdLst>
                  <a:gd name="connsiteX0" fmla="*/ 0 w 166187"/>
                  <a:gd name="connsiteY0" fmla="*/ 262385 h 262385"/>
                  <a:gd name="connsiteX1" fmla="*/ 0 w 166187"/>
                  <a:gd name="connsiteY1" fmla="*/ 0 h 262385"/>
                  <a:gd name="connsiteX2" fmla="*/ 34702 w 166187"/>
                  <a:gd name="connsiteY2" fmla="*/ 0 h 262385"/>
                  <a:gd name="connsiteX3" fmla="*/ 34702 w 166187"/>
                  <a:gd name="connsiteY3" fmla="*/ 231129 h 262385"/>
                  <a:gd name="connsiteX4" fmla="*/ 166188 w 166187"/>
                  <a:gd name="connsiteY4" fmla="*/ 231129 h 262385"/>
                  <a:gd name="connsiteX5" fmla="*/ 166188 w 166187"/>
                  <a:gd name="connsiteY5" fmla="*/ 262385 h 262385"/>
                  <a:gd name="connsiteX6" fmla="*/ 0 w 166187"/>
                  <a:gd name="connsiteY6"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187" h="262385">
                    <a:moveTo>
                      <a:pt x="0" y="262385"/>
                    </a:moveTo>
                    <a:lnTo>
                      <a:pt x="0" y="0"/>
                    </a:lnTo>
                    <a:lnTo>
                      <a:pt x="34702" y="0"/>
                    </a:lnTo>
                    <a:lnTo>
                      <a:pt x="34702" y="231129"/>
                    </a:lnTo>
                    <a:lnTo>
                      <a:pt x="166188" y="231129"/>
                    </a:lnTo>
                    <a:lnTo>
                      <a:pt x="166188" y="262385"/>
                    </a:lnTo>
                    <a:lnTo>
                      <a:pt x="0" y="262385"/>
                    </a:lnTo>
                    <a:close/>
                  </a:path>
                </a:pathLst>
              </a:custGeom>
              <a:solidFill>
                <a:schemeClr val="bg1"/>
              </a:solidFill>
              <a:ln w="1305" cap="flat">
                <a:noFill/>
                <a:prstDash val="solid"/>
                <a:miter/>
              </a:ln>
            </p:spPr>
            <p:txBody>
              <a:bodyPr rtlCol="0" anchor="ctr"/>
              <a:lstStyle/>
              <a:p>
                <a:endParaRPr lang="de-DE" dirty="0"/>
              </a:p>
            </p:txBody>
          </p:sp>
          <p:sp>
            <p:nvSpPr>
              <p:cNvPr id="92" name="Freeform: Shape 91">
                <a:extLst>
                  <a:ext uri="{FF2B5EF4-FFF2-40B4-BE49-F238E27FC236}">
                    <a16:creationId xmlns:a16="http://schemas.microsoft.com/office/drawing/2014/main" id="{23D87BE7-D5AC-4751-B2A9-745C76BAC8E3}"/>
                  </a:ext>
                </a:extLst>
              </p:cNvPr>
              <p:cNvSpPr/>
              <p:nvPr/>
            </p:nvSpPr>
            <p:spPr bwMode="gray">
              <a:xfrm>
                <a:off x="7760334" y="4483107"/>
                <a:ext cx="34702" cy="262385"/>
              </a:xfrm>
              <a:custGeom>
                <a:avLst/>
                <a:gdLst>
                  <a:gd name="connsiteX0" fmla="*/ 0 w 34702"/>
                  <a:gd name="connsiteY0" fmla="*/ 262385 h 262385"/>
                  <a:gd name="connsiteX1" fmla="*/ 0 w 34702"/>
                  <a:gd name="connsiteY1" fmla="*/ 0 h 262385"/>
                  <a:gd name="connsiteX2" fmla="*/ 34702 w 34702"/>
                  <a:gd name="connsiteY2" fmla="*/ 0 h 262385"/>
                  <a:gd name="connsiteX3" fmla="*/ 34702 w 34702"/>
                  <a:gd name="connsiteY3" fmla="*/ 262385 h 262385"/>
                  <a:gd name="connsiteX4" fmla="*/ 0 w 34702"/>
                  <a:gd name="connsiteY4" fmla="*/ 262385 h 262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2" h="262385">
                    <a:moveTo>
                      <a:pt x="0" y="262385"/>
                    </a:moveTo>
                    <a:lnTo>
                      <a:pt x="0" y="0"/>
                    </a:lnTo>
                    <a:lnTo>
                      <a:pt x="34702" y="0"/>
                    </a:lnTo>
                    <a:lnTo>
                      <a:pt x="34702" y="262385"/>
                    </a:lnTo>
                    <a:lnTo>
                      <a:pt x="0" y="262385"/>
                    </a:lnTo>
                    <a:close/>
                  </a:path>
                </a:pathLst>
              </a:custGeom>
              <a:solidFill>
                <a:schemeClr val="bg1"/>
              </a:solidFill>
              <a:ln w="1305" cap="flat">
                <a:noFill/>
                <a:prstDash val="solid"/>
                <a:miter/>
              </a:ln>
            </p:spPr>
            <p:txBody>
              <a:bodyPr rtlCol="0" anchor="ctr"/>
              <a:lstStyle/>
              <a:p>
                <a:endParaRPr lang="de-DE" dirty="0"/>
              </a:p>
            </p:txBody>
          </p:sp>
          <p:sp>
            <p:nvSpPr>
              <p:cNvPr id="93" name="Freeform: Shape 92">
                <a:extLst>
                  <a:ext uri="{FF2B5EF4-FFF2-40B4-BE49-F238E27FC236}">
                    <a16:creationId xmlns:a16="http://schemas.microsoft.com/office/drawing/2014/main" id="{9241735D-EB98-4930-ACA4-E8AE8003316A}"/>
                  </a:ext>
                </a:extLst>
              </p:cNvPr>
              <p:cNvSpPr/>
              <p:nvPr/>
            </p:nvSpPr>
            <p:spPr bwMode="gray">
              <a:xfrm>
                <a:off x="7903853" y="4483107"/>
                <a:ext cx="189718" cy="262385"/>
              </a:xfrm>
              <a:custGeom>
                <a:avLst/>
                <a:gdLst>
                  <a:gd name="connsiteX0" fmla="*/ 0 w 189718"/>
                  <a:gd name="connsiteY0" fmla="*/ 262385 h 262385"/>
                  <a:gd name="connsiteX1" fmla="*/ 0 w 189718"/>
                  <a:gd name="connsiteY1" fmla="*/ 0 h 262385"/>
                  <a:gd name="connsiteX2" fmla="*/ 187409 w 189718"/>
                  <a:gd name="connsiteY2" fmla="*/ 0 h 262385"/>
                  <a:gd name="connsiteX3" fmla="*/ 187409 w 189718"/>
                  <a:gd name="connsiteY3" fmla="*/ 30865 h 262385"/>
                  <a:gd name="connsiteX4" fmla="*/ 34702 w 189718"/>
                  <a:gd name="connsiteY4" fmla="*/ 30865 h 262385"/>
                  <a:gd name="connsiteX5" fmla="*/ 34702 w 189718"/>
                  <a:gd name="connsiteY5" fmla="*/ 113437 h 262385"/>
                  <a:gd name="connsiteX6" fmla="*/ 165809 w 189718"/>
                  <a:gd name="connsiteY6" fmla="*/ 113437 h 262385"/>
                  <a:gd name="connsiteX7" fmla="*/ 165809 w 189718"/>
                  <a:gd name="connsiteY7" fmla="*/ 144302 h 262385"/>
                  <a:gd name="connsiteX8" fmla="*/ 34702 w 189718"/>
                  <a:gd name="connsiteY8" fmla="*/ 144302 h 262385"/>
                  <a:gd name="connsiteX9" fmla="*/ 34702 w 189718"/>
                  <a:gd name="connsiteY9" fmla="*/ 231507 h 262385"/>
                  <a:gd name="connsiteX10" fmla="*/ 189719 w 189718"/>
                  <a:gd name="connsiteY10" fmla="*/ 231507 h 262385"/>
                  <a:gd name="connsiteX11" fmla="*/ 189719 w 189718"/>
                  <a:gd name="connsiteY11" fmla="*/ 262372 h 262385"/>
                  <a:gd name="connsiteX12" fmla="*/ 0 w 189718"/>
                  <a:gd name="connsiteY12" fmla="*/ 262372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718" h="262385">
                    <a:moveTo>
                      <a:pt x="0" y="262385"/>
                    </a:moveTo>
                    <a:lnTo>
                      <a:pt x="0" y="0"/>
                    </a:lnTo>
                    <a:lnTo>
                      <a:pt x="187409" y="0"/>
                    </a:lnTo>
                    <a:lnTo>
                      <a:pt x="187409" y="30865"/>
                    </a:lnTo>
                    <a:lnTo>
                      <a:pt x="34702" y="30865"/>
                    </a:lnTo>
                    <a:lnTo>
                      <a:pt x="34702" y="113437"/>
                    </a:lnTo>
                    <a:lnTo>
                      <a:pt x="165809" y="113437"/>
                    </a:lnTo>
                    <a:lnTo>
                      <a:pt x="165809" y="144302"/>
                    </a:lnTo>
                    <a:lnTo>
                      <a:pt x="34702" y="144302"/>
                    </a:lnTo>
                    <a:lnTo>
                      <a:pt x="34702" y="231507"/>
                    </a:lnTo>
                    <a:lnTo>
                      <a:pt x="189719" y="231507"/>
                    </a:lnTo>
                    <a:lnTo>
                      <a:pt x="189719" y="262372"/>
                    </a:lnTo>
                    <a:lnTo>
                      <a:pt x="0" y="262372"/>
                    </a:lnTo>
                    <a:close/>
                  </a:path>
                </a:pathLst>
              </a:custGeom>
              <a:solidFill>
                <a:schemeClr val="bg1"/>
              </a:solidFill>
              <a:ln w="1305" cap="flat">
                <a:noFill/>
                <a:prstDash val="solid"/>
                <a:miter/>
              </a:ln>
            </p:spPr>
            <p:txBody>
              <a:bodyPr rtlCol="0" anchor="ctr"/>
              <a:lstStyle/>
              <a:p>
                <a:endParaRPr lang="de-DE" dirty="0"/>
              </a:p>
            </p:txBody>
          </p:sp>
          <p:sp>
            <p:nvSpPr>
              <p:cNvPr id="94" name="Freeform: Shape 93">
                <a:extLst>
                  <a:ext uri="{FF2B5EF4-FFF2-40B4-BE49-F238E27FC236}">
                    <a16:creationId xmlns:a16="http://schemas.microsoft.com/office/drawing/2014/main" id="{13F1F849-BB51-42E8-A536-B7442C3ED738}"/>
                  </a:ext>
                </a:extLst>
              </p:cNvPr>
              <p:cNvSpPr/>
              <p:nvPr/>
            </p:nvSpPr>
            <p:spPr bwMode="gray">
              <a:xfrm>
                <a:off x="8183635" y="4483107"/>
                <a:ext cx="201673" cy="262385"/>
              </a:xfrm>
              <a:custGeom>
                <a:avLst/>
                <a:gdLst>
                  <a:gd name="connsiteX0" fmla="*/ 0 w 201673"/>
                  <a:gd name="connsiteY0" fmla="*/ 262385 h 262385"/>
                  <a:gd name="connsiteX1" fmla="*/ 0 w 201673"/>
                  <a:gd name="connsiteY1" fmla="*/ 0 h 262385"/>
                  <a:gd name="connsiteX2" fmla="*/ 81750 w 201673"/>
                  <a:gd name="connsiteY2" fmla="*/ 0 h 262385"/>
                  <a:gd name="connsiteX3" fmla="*/ 173719 w 201673"/>
                  <a:gd name="connsiteY3" fmla="*/ 30669 h 262385"/>
                  <a:gd name="connsiteX4" fmla="*/ 201673 w 201673"/>
                  <a:gd name="connsiteY4" fmla="*/ 131186 h 262385"/>
                  <a:gd name="connsiteX5" fmla="*/ 173719 w 201673"/>
                  <a:gd name="connsiteY5" fmla="*/ 231703 h 262385"/>
                  <a:gd name="connsiteX6" fmla="*/ 81750 w 201673"/>
                  <a:gd name="connsiteY6" fmla="*/ 262372 h 262385"/>
                  <a:gd name="connsiteX7" fmla="*/ 0 w 201673"/>
                  <a:gd name="connsiteY7" fmla="*/ 262372 h 262385"/>
                  <a:gd name="connsiteX8" fmla="*/ 34702 w 201673"/>
                  <a:gd name="connsiteY8" fmla="*/ 231520 h 262385"/>
                  <a:gd name="connsiteX9" fmla="*/ 79440 w 201673"/>
                  <a:gd name="connsiteY9" fmla="*/ 231520 h 262385"/>
                  <a:gd name="connsiteX10" fmla="*/ 147108 w 201673"/>
                  <a:gd name="connsiteY10" fmla="*/ 209334 h 262385"/>
                  <a:gd name="connsiteX11" fmla="*/ 166189 w 201673"/>
                  <a:gd name="connsiteY11" fmla="*/ 131199 h 262385"/>
                  <a:gd name="connsiteX12" fmla="*/ 147108 w 201673"/>
                  <a:gd name="connsiteY12" fmla="*/ 53065 h 262385"/>
                  <a:gd name="connsiteX13" fmla="*/ 79440 w 201673"/>
                  <a:gd name="connsiteY13" fmla="*/ 30878 h 262385"/>
                  <a:gd name="connsiteX14" fmla="*/ 34702 w 201673"/>
                  <a:gd name="connsiteY14" fmla="*/ 30878 h 262385"/>
                  <a:gd name="connsiteX15" fmla="*/ 34702 w 201673"/>
                  <a:gd name="connsiteY15" fmla="*/ 231520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1673" h="262385">
                    <a:moveTo>
                      <a:pt x="0" y="262385"/>
                    </a:moveTo>
                    <a:lnTo>
                      <a:pt x="0" y="0"/>
                    </a:lnTo>
                    <a:lnTo>
                      <a:pt x="81750" y="0"/>
                    </a:lnTo>
                    <a:cubicBezTo>
                      <a:pt x="124413" y="0"/>
                      <a:pt x="155069" y="10219"/>
                      <a:pt x="173719" y="30669"/>
                    </a:cubicBezTo>
                    <a:cubicBezTo>
                      <a:pt x="192355" y="51120"/>
                      <a:pt x="201673" y="84634"/>
                      <a:pt x="201673" y="131186"/>
                    </a:cubicBezTo>
                    <a:cubicBezTo>
                      <a:pt x="201673" y="177751"/>
                      <a:pt x="192355" y="211252"/>
                      <a:pt x="173719" y="231703"/>
                    </a:cubicBezTo>
                    <a:cubicBezTo>
                      <a:pt x="155069" y="252153"/>
                      <a:pt x="124413" y="262372"/>
                      <a:pt x="81750" y="262372"/>
                    </a:cubicBezTo>
                    <a:lnTo>
                      <a:pt x="0" y="262372"/>
                    </a:lnTo>
                    <a:close/>
                    <a:moveTo>
                      <a:pt x="34702" y="231520"/>
                    </a:moveTo>
                    <a:lnTo>
                      <a:pt x="79440" y="231520"/>
                    </a:lnTo>
                    <a:cubicBezTo>
                      <a:pt x="111832" y="231520"/>
                      <a:pt x="134396" y="224120"/>
                      <a:pt x="147108" y="209334"/>
                    </a:cubicBezTo>
                    <a:cubicBezTo>
                      <a:pt x="159833" y="194547"/>
                      <a:pt x="166189" y="168511"/>
                      <a:pt x="166189" y="131199"/>
                    </a:cubicBezTo>
                    <a:cubicBezTo>
                      <a:pt x="166189" y="93900"/>
                      <a:pt x="159833" y="67864"/>
                      <a:pt x="147108" y="53065"/>
                    </a:cubicBezTo>
                    <a:cubicBezTo>
                      <a:pt x="134384" y="38278"/>
                      <a:pt x="111819" y="30878"/>
                      <a:pt x="79440" y="30878"/>
                    </a:cubicBezTo>
                    <a:lnTo>
                      <a:pt x="34702" y="30878"/>
                    </a:lnTo>
                    <a:lnTo>
                      <a:pt x="34702" y="231520"/>
                    </a:lnTo>
                    <a:close/>
                  </a:path>
                </a:pathLst>
              </a:custGeom>
              <a:solidFill>
                <a:schemeClr val="bg1"/>
              </a:solidFill>
              <a:ln w="1305" cap="flat">
                <a:noFill/>
                <a:prstDash val="solid"/>
                <a:miter/>
              </a:ln>
            </p:spPr>
            <p:txBody>
              <a:bodyPr rtlCol="0" anchor="ctr"/>
              <a:lstStyle/>
              <a:p>
                <a:endParaRPr lang="de-DE" dirty="0"/>
              </a:p>
            </p:txBody>
          </p:sp>
          <p:sp>
            <p:nvSpPr>
              <p:cNvPr id="95" name="Freeform: Shape 94">
                <a:extLst>
                  <a:ext uri="{FF2B5EF4-FFF2-40B4-BE49-F238E27FC236}">
                    <a16:creationId xmlns:a16="http://schemas.microsoft.com/office/drawing/2014/main" id="{205AAB17-A4A2-4771-BEDC-14990B6135F4}"/>
                  </a:ext>
                </a:extLst>
              </p:cNvPr>
              <p:cNvSpPr/>
              <p:nvPr/>
            </p:nvSpPr>
            <p:spPr bwMode="gray">
              <a:xfrm>
                <a:off x="8612430" y="4478487"/>
                <a:ext cx="184341" cy="271638"/>
              </a:xfrm>
              <a:custGeom>
                <a:avLst/>
                <a:gdLst>
                  <a:gd name="connsiteX0" fmla="*/ 87544 w 184341"/>
                  <a:gd name="connsiteY0" fmla="*/ 271638 h 271638"/>
                  <a:gd name="connsiteX1" fmla="*/ 0 w 184341"/>
                  <a:gd name="connsiteY1" fmla="*/ 249256 h 271638"/>
                  <a:gd name="connsiteX2" fmla="*/ 0 w 184341"/>
                  <a:gd name="connsiteY2" fmla="*/ 213758 h 271638"/>
                  <a:gd name="connsiteX3" fmla="*/ 88302 w 184341"/>
                  <a:gd name="connsiteY3" fmla="*/ 240773 h 271638"/>
                  <a:gd name="connsiteX4" fmla="*/ 149627 w 184341"/>
                  <a:gd name="connsiteY4" fmla="*/ 195239 h 271638"/>
                  <a:gd name="connsiteX5" fmla="*/ 138625 w 184341"/>
                  <a:gd name="connsiteY5" fmla="*/ 168942 h 271638"/>
                  <a:gd name="connsiteX6" fmla="*/ 97515 w 184341"/>
                  <a:gd name="connsiteY6" fmla="*/ 153007 h 271638"/>
                  <a:gd name="connsiteX7" fmla="*/ 68634 w 184341"/>
                  <a:gd name="connsiteY7" fmla="*/ 146234 h 271638"/>
                  <a:gd name="connsiteX8" fmla="*/ 18506 w 184341"/>
                  <a:gd name="connsiteY8" fmla="*/ 121346 h 271638"/>
                  <a:gd name="connsiteX9" fmla="*/ 3850 w 184341"/>
                  <a:gd name="connsiteY9" fmla="*/ 76778 h 271638"/>
                  <a:gd name="connsiteX10" fmla="*/ 96406 w 184341"/>
                  <a:gd name="connsiteY10" fmla="*/ 0 h 271638"/>
                  <a:gd name="connsiteX11" fmla="*/ 170064 w 184341"/>
                  <a:gd name="connsiteY11" fmla="*/ 16209 h 271638"/>
                  <a:gd name="connsiteX12" fmla="*/ 170064 w 184341"/>
                  <a:gd name="connsiteY12" fmla="*/ 51329 h 271638"/>
                  <a:gd name="connsiteX13" fmla="*/ 97568 w 184341"/>
                  <a:gd name="connsiteY13" fmla="*/ 30878 h 271638"/>
                  <a:gd name="connsiteX14" fmla="*/ 38565 w 184341"/>
                  <a:gd name="connsiteY14" fmla="*/ 74481 h 271638"/>
                  <a:gd name="connsiteX15" fmla="*/ 48784 w 184341"/>
                  <a:gd name="connsiteY15" fmla="*/ 99499 h 271638"/>
                  <a:gd name="connsiteX16" fmla="*/ 86018 w 184341"/>
                  <a:gd name="connsiteY16" fmla="*/ 114520 h 271638"/>
                  <a:gd name="connsiteX17" fmla="*/ 115708 w 184341"/>
                  <a:gd name="connsiteY17" fmla="*/ 121085 h 271638"/>
                  <a:gd name="connsiteX18" fmla="*/ 168524 w 184341"/>
                  <a:gd name="connsiteY18" fmla="*/ 146978 h 271638"/>
                  <a:gd name="connsiteX19" fmla="*/ 184342 w 184341"/>
                  <a:gd name="connsiteY19" fmla="*/ 194104 h 271638"/>
                  <a:gd name="connsiteX20" fmla="*/ 87544 w 184341"/>
                  <a:gd name="connsiteY20" fmla="*/ 271638 h 27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4341" h="271638">
                    <a:moveTo>
                      <a:pt x="87544" y="271638"/>
                    </a:moveTo>
                    <a:cubicBezTo>
                      <a:pt x="48209" y="271638"/>
                      <a:pt x="19028" y="264173"/>
                      <a:pt x="0" y="249256"/>
                    </a:cubicBezTo>
                    <a:lnTo>
                      <a:pt x="0" y="213758"/>
                    </a:lnTo>
                    <a:cubicBezTo>
                      <a:pt x="24157" y="231768"/>
                      <a:pt x="53613" y="240773"/>
                      <a:pt x="88302" y="240773"/>
                    </a:cubicBezTo>
                    <a:cubicBezTo>
                      <a:pt x="129190" y="240773"/>
                      <a:pt x="149627" y="225595"/>
                      <a:pt x="149627" y="195239"/>
                    </a:cubicBezTo>
                    <a:cubicBezTo>
                      <a:pt x="149627" y="183715"/>
                      <a:pt x="145947" y="174958"/>
                      <a:pt x="138625" y="168942"/>
                    </a:cubicBezTo>
                    <a:cubicBezTo>
                      <a:pt x="131291" y="162926"/>
                      <a:pt x="117587" y="157614"/>
                      <a:pt x="97515" y="153007"/>
                    </a:cubicBezTo>
                    <a:lnTo>
                      <a:pt x="68634" y="146234"/>
                    </a:lnTo>
                    <a:cubicBezTo>
                      <a:pt x="44973" y="140831"/>
                      <a:pt x="28268" y="132530"/>
                      <a:pt x="18506" y="121346"/>
                    </a:cubicBezTo>
                    <a:cubicBezTo>
                      <a:pt x="8731" y="110161"/>
                      <a:pt x="3850" y="95310"/>
                      <a:pt x="3850" y="76778"/>
                    </a:cubicBezTo>
                    <a:cubicBezTo>
                      <a:pt x="3850" y="25593"/>
                      <a:pt x="34702" y="0"/>
                      <a:pt x="96406" y="0"/>
                    </a:cubicBezTo>
                    <a:cubicBezTo>
                      <a:pt x="130338" y="0"/>
                      <a:pt x="154886" y="5403"/>
                      <a:pt x="170064" y="16209"/>
                    </a:cubicBezTo>
                    <a:lnTo>
                      <a:pt x="170064" y="51329"/>
                    </a:lnTo>
                    <a:cubicBezTo>
                      <a:pt x="150776" y="37691"/>
                      <a:pt x="126618" y="30878"/>
                      <a:pt x="97568" y="30878"/>
                    </a:cubicBezTo>
                    <a:cubicBezTo>
                      <a:pt x="58233" y="30878"/>
                      <a:pt x="38565" y="45417"/>
                      <a:pt x="38565" y="74481"/>
                    </a:cubicBezTo>
                    <a:cubicBezTo>
                      <a:pt x="38565" y="85013"/>
                      <a:pt x="41958" y="93339"/>
                      <a:pt x="48784" y="99499"/>
                    </a:cubicBezTo>
                    <a:cubicBezTo>
                      <a:pt x="55596" y="105659"/>
                      <a:pt x="68007" y="110670"/>
                      <a:pt x="86018" y="114520"/>
                    </a:cubicBezTo>
                    <a:lnTo>
                      <a:pt x="115708" y="121085"/>
                    </a:lnTo>
                    <a:cubicBezTo>
                      <a:pt x="140374" y="126501"/>
                      <a:pt x="157992" y="135127"/>
                      <a:pt x="168524" y="146978"/>
                    </a:cubicBezTo>
                    <a:cubicBezTo>
                      <a:pt x="179069" y="158828"/>
                      <a:pt x="184342" y="174541"/>
                      <a:pt x="184342" y="194104"/>
                    </a:cubicBezTo>
                    <a:cubicBezTo>
                      <a:pt x="184342" y="245785"/>
                      <a:pt x="152067" y="271638"/>
                      <a:pt x="87544" y="271638"/>
                    </a:cubicBezTo>
                    <a:close/>
                  </a:path>
                </a:pathLst>
              </a:custGeom>
              <a:solidFill>
                <a:schemeClr val="bg1"/>
              </a:solidFill>
              <a:ln w="1305" cap="flat">
                <a:noFill/>
                <a:prstDash val="solid"/>
                <a:miter/>
              </a:ln>
            </p:spPr>
            <p:txBody>
              <a:bodyPr rtlCol="0" anchor="ctr"/>
              <a:lstStyle/>
              <a:p>
                <a:endParaRPr lang="de-DE" dirty="0"/>
              </a:p>
            </p:txBody>
          </p:sp>
          <p:sp>
            <p:nvSpPr>
              <p:cNvPr id="96" name="Freeform: Shape 95">
                <a:extLst>
                  <a:ext uri="{FF2B5EF4-FFF2-40B4-BE49-F238E27FC236}">
                    <a16:creationId xmlns:a16="http://schemas.microsoft.com/office/drawing/2014/main" id="{6C22EDA1-C31F-4A9E-A1F5-4179440826BA}"/>
                  </a:ext>
                </a:extLst>
              </p:cNvPr>
              <p:cNvSpPr/>
              <p:nvPr/>
            </p:nvSpPr>
            <p:spPr bwMode="gray">
              <a:xfrm>
                <a:off x="8875950" y="4478474"/>
                <a:ext cx="185112" cy="271651"/>
              </a:xfrm>
              <a:custGeom>
                <a:avLst/>
                <a:gdLst>
                  <a:gd name="connsiteX0" fmla="*/ 121085 w 185112"/>
                  <a:gd name="connsiteY0" fmla="*/ 271651 h 271651"/>
                  <a:gd name="connsiteX1" fmla="*/ 29690 w 185112"/>
                  <a:gd name="connsiteY1" fmla="*/ 238267 h 271651"/>
                  <a:gd name="connsiteX2" fmla="*/ 0 w 185112"/>
                  <a:gd name="connsiteY2" fmla="*/ 135819 h 271651"/>
                  <a:gd name="connsiteX3" fmla="*/ 29495 w 185112"/>
                  <a:gd name="connsiteY3" fmla="*/ 33371 h 271651"/>
                  <a:gd name="connsiteX4" fmla="*/ 120315 w 185112"/>
                  <a:gd name="connsiteY4" fmla="*/ 0 h 271651"/>
                  <a:gd name="connsiteX5" fmla="*/ 185099 w 185112"/>
                  <a:gd name="connsiteY5" fmla="*/ 13508 h 271651"/>
                  <a:gd name="connsiteX6" fmla="*/ 185099 w 185112"/>
                  <a:gd name="connsiteY6" fmla="*/ 47466 h 271651"/>
                  <a:gd name="connsiteX7" fmla="*/ 121476 w 185112"/>
                  <a:gd name="connsiteY7" fmla="*/ 30878 h 271651"/>
                  <a:gd name="connsiteX8" fmla="*/ 55923 w 185112"/>
                  <a:gd name="connsiteY8" fmla="*/ 55753 h 271651"/>
                  <a:gd name="connsiteX9" fmla="*/ 35485 w 185112"/>
                  <a:gd name="connsiteY9" fmla="*/ 135441 h 271651"/>
                  <a:gd name="connsiteX10" fmla="*/ 56118 w 185112"/>
                  <a:gd name="connsiteY10" fmla="*/ 215703 h 271651"/>
                  <a:gd name="connsiteX11" fmla="*/ 122638 w 185112"/>
                  <a:gd name="connsiteY11" fmla="*/ 240786 h 271651"/>
                  <a:gd name="connsiteX12" fmla="*/ 185112 w 185112"/>
                  <a:gd name="connsiteY12" fmla="*/ 224186 h 271651"/>
                  <a:gd name="connsiteX13" fmla="*/ 185112 w 185112"/>
                  <a:gd name="connsiteY13" fmla="*/ 258144 h 271651"/>
                  <a:gd name="connsiteX14" fmla="*/ 121085 w 185112"/>
                  <a:gd name="connsiteY14" fmla="*/ 271651 h 27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5112" h="271651">
                    <a:moveTo>
                      <a:pt x="121085" y="271651"/>
                    </a:moveTo>
                    <a:cubicBezTo>
                      <a:pt x="79949" y="271651"/>
                      <a:pt x="49476" y="260519"/>
                      <a:pt x="29690" y="238267"/>
                    </a:cubicBezTo>
                    <a:cubicBezTo>
                      <a:pt x="9893" y="216029"/>
                      <a:pt x="0" y="181875"/>
                      <a:pt x="0" y="135819"/>
                    </a:cubicBezTo>
                    <a:cubicBezTo>
                      <a:pt x="0" y="89776"/>
                      <a:pt x="9828" y="55622"/>
                      <a:pt x="29495" y="33371"/>
                    </a:cubicBezTo>
                    <a:cubicBezTo>
                      <a:pt x="49175" y="11119"/>
                      <a:pt x="79440" y="0"/>
                      <a:pt x="120315" y="0"/>
                    </a:cubicBezTo>
                    <a:cubicBezTo>
                      <a:pt x="147565" y="0"/>
                      <a:pt x="169164" y="4503"/>
                      <a:pt x="185099" y="13508"/>
                    </a:cubicBezTo>
                    <a:lnTo>
                      <a:pt x="185099" y="47466"/>
                    </a:lnTo>
                    <a:cubicBezTo>
                      <a:pt x="166841" y="36412"/>
                      <a:pt x="145634" y="30878"/>
                      <a:pt x="121476" y="30878"/>
                    </a:cubicBezTo>
                    <a:cubicBezTo>
                      <a:pt x="91395" y="30878"/>
                      <a:pt x="69535" y="39165"/>
                      <a:pt x="55923" y="55753"/>
                    </a:cubicBezTo>
                    <a:cubicBezTo>
                      <a:pt x="42284" y="72354"/>
                      <a:pt x="35485" y="98912"/>
                      <a:pt x="35485" y="135441"/>
                    </a:cubicBezTo>
                    <a:cubicBezTo>
                      <a:pt x="35485" y="172231"/>
                      <a:pt x="42350" y="198985"/>
                      <a:pt x="56118" y="215703"/>
                    </a:cubicBezTo>
                    <a:cubicBezTo>
                      <a:pt x="69861" y="232421"/>
                      <a:pt x="92034" y="240786"/>
                      <a:pt x="122638" y="240786"/>
                    </a:cubicBezTo>
                    <a:cubicBezTo>
                      <a:pt x="146547" y="240786"/>
                      <a:pt x="167376" y="235253"/>
                      <a:pt x="185112" y="224186"/>
                    </a:cubicBezTo>
                    <a:lnTo>
                      <a:pt x="185112" y="258144"/>
                    </a:lnTo>
                    <a:cubicBezTo>
                      <a:pt x="169399" y="267136"/>
                      <a:pt x="148074" y="271651"/>
                      <a:pt x="121085" y="271651"/>
                    </a:cubicBezTo>
                    <a:close/>
                  </a:path>
                </a:pathLst>
              </a:custGeom>
              <a:solidFill>
                <a:schemeClr val="bg1"/>
              </a:solidFill>
              <a:ln w="1305" cap="flat">
                <a:noFill/>
                <a:prstDash val="solid"/>
                <a:miter/>
              </a:ln>
            </p:spPr>
            <p:txBody>
              <a:bodyPr rtlCol="0" anchor="ctr"/>
              <a:lstStyle/>
              <a:p>
                <a:endParaRPr lang="de-DE" dirty="0"/>
              </a:p>
            </p:txBody>
          </p:sp>
          <p:sp>
            <p:nvSpPr>
              <p:cNvPr id="97" name="Freeform: Shape 96">
                <a:extLst>
                  <a:ext uri="{FF2B5EF4-FFF2-40B4-BE49-F238E27FC236}">
                    <a16:creationId xmlns:a16="http://schemas.microsoft.com/office/drawing/2014/main" id="{F417496E-75F9-44BD-BA90-BDD349EB5386}"/>
                  </a:ext>
                </a:extLst>
              </p:cNvPr>
              <p:cNvSpPr/>
              <p:nvPr/>
            </p:nvSpPr>
            <p:spPr bwMode="gray">
              <a:xfrm>
                <a:off x="9151856" y="4483107"/>
                <a:ext cx="34701" cy="262385"/>
              </a:xfrm>
              <a:custGeom>
                <a:avLst/>
                <a:gdLst>
                  <a:gd name="connsiteX0" fmla="*/ 0 w 34701"/>
                  <a:gd name="connsiteY0" fmla="*/ 262385 h 262385"/>
                  <a:gd name="connsiteX1" fmla="*/ 0 w 34701"/>
                  <a:gd name="connsiteY1" fmla="*/ 0 h 262385"/>
                  <a:gd name="connsiteX2" fmla="*/ 34702 w 34701"/>
                  <a:gd name="connsiteY2" fmla="*/ 0 h 262385"/>
                  <a:gd name="connsiteX3" fmla="*/ 34702 w 34701"/>
                  <a:gd name="connsiteY3" fmla="*/ 262385 h 262385"/>
                  <a:gd name="connsiteX4" fmla="*/ 0 w 34701"/>
                  <a:gd name="connsiteY4" fmla="*/ 262385 h 262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1" h="262385">
                    <a:moveTo>
                      <a:pt x="0" y="262385"/>
                    </a:moveTo>
                    <a:lnTo>
                      <a:pt x="0" y="0"/>
                    </a:lnTo>
                    <a:lnTo>
                      <a:pt x="34702" y="0"/>
                    </a:lnTo>
                    <a:lnTo>
                      <a:pt x="34702" y="262385"/>
                    </a:lnTo>
                    <a:lnTo>
                      <a:pt x="0" y="262385"/>
                    </a:lnTo>
                    <a:close/>
                  </a:path>
                </a:pathLst>
              </a:custGeom>
              <a:solidFill>
                <a:schemeClr val="bg1"/>
              </a:solidFill>
              <a:ln w="1305" cap="flat">
                <a:noFill/>
                <a:prstDash val="solid"/>
                <a:miter/>
              </a:ln>
            </p:spPr>
            <p:txBody>
              <a:bodyPr rtlCol="0" anchor="ctr"/>
              <a:lstStyle/>
              <a:p>
                <a:endParaRPr lang="de-DE" dirty="0"/>
              </a:p>
            </p:txBody>
          </p:sp>
          <p:sp>
            <p:nvSpPr>
              <p:cNvPr id="98" name="Freeform: Shape 97">
                <a:extLst>
                  <a:ext uri="{FF2B5EF4-FFF2-40B4-BE49-F238E27FC236}">
                    <a16:creationId xmlns:a16="http://schemas.microsoft.com/office/drawing/2014/main" id="{E2DAA13D-C8DC-4C30-9209-8D40C20606EF}"/>
                  </a:ext>
                </a:extLst>
              </p:cNvPr>
              <p:cNvSpPr/>
              <p:nvPr/>
            </p:nvSpPr>
            <p:spPr bwMode="gray">
              <a:xfrm>
                <a:off x="9295375" y="4483107"/>
                <a:ext cx="189718" cy="262385"/>
              </a:xfrm>
              <a:custGeom>
                <a:avLst/>
                <a:gdLst>
                  <a:gd name="connsiteX0" fmla="*/ 0 w 189718"/>
                  <a:gd name="connsiteY0" fmla="*/ 262385 h 262385"/>
                  <a:gd name="connsiteX1" fmla="*/ 0 w 189718"/>
                  <a:gd name="connsiteY1" fmla="*/ 0 h 262385"/>
                  <a:gd name="connsiteX2" fmla="*/ 187408 w 189718"/>
                  <a:gd name="connsiteY2" fmla="*/ 0 h 262385"/>
                  <a:gd name="connsiteX3" fmla="*/ 187408 w 189718"/>
                  <a:gd name="connsiteY3" fmla="*/ 30865 h 262385"/>
                  <a:gd name="connsiteX4" fmla="*/ 34702 w 189718"/>
                  <a:gd name="connsiteY4" fmla="*/ 30865 h 262385"/>
                  <a:gd name="connsiteX5" fmla="*/ 34702 w 189718"/>
                  <a:gd name="connsiteY5" fmla="*/ 113437 h 262385"/>
                  <a:gd name="connsiteX6" fmla="*/ 165809 w 189718"/>
                  <a:gd name="connsiteY6" fmla="*/ 113437 h 262385"/>
                  <a:gd name="connsiteX7" fmla="*/ 165809 w 189718"/>
                  <a:gd name="connsiteY7" fmla="*/ 144302 h 262385"/>
                  <a:gd name="connsiteX8" fmla="*/ 34702 w 189718"/>
                  <a:gd name="connsiteY8" fmla="*/ 144302 h 262385"/>
                  <a:gd name="connsiteX9" fmla="*/ 34702 w 189718"/>
                  <a:gd name="connsiteY9" fmla="*/ 231507 h 262385"/>
                  <a:gd name="connsiteX10" fmla="*/ 189718 w 189718"/>
                  <a:gd name="connsiteY10" fmla="*/ 231507 h 262385"/>
                  <a:gd name="connsiteX11" fmla="*/ 189718 w 189718"/>
                  <a:gd name="connsiteY11" fmla="*/ 262372 h 262385"/>
                  <a:gd name="connsiteX12" fmla="*/ 0 w 189718"/>
                  <a:gd name="connsiteY12" fmla="*/ 262372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718" h="262385">
                    <a:moveTo>
                      <a:pt x="0" y="262385"/>
                    </a:moveTo>
                    <a:lnTo>
                      <a:pt x="0" y="0"/>
                    </a:lnTo>
                    <a:lnTo>
                      <a:pt x="187408" y="0"/>
                    </a:lnTo>
                    <a:lnTo>
                      <a:pt x="187408" y="30865"/>
                    </a:lnTo>
                    <a:lnTo>
                      <a:pt x="34702" y="30865"/>
                    </a:lnTo>
                    <a:lnTo>
                      <a:pt x="34702" y="113437"/>
                    </a:lnTo>
                    <a:lnTo>
                      <a:pt x="165809" y="113437"/>
                    </a:lnTo>
                    <a:lnTo>
                      <a:pt x="165809" y="144302"/>
                    </a:lnTo>
                    <a:lnTo>
                      <a:pt x="34702" y="144302"/>
                    </a:lnTo>
                    <a:lnTo>
                      <a:pt x="34702" y="231507"/>
                    </a:lnTo>
                    <a:lnTo>
                      <a:pt x="189718" y="231507"/>
                    </a:lnTo>
                    <a:lnTo>
                      <a:pt x="189718" y="262372"/>
                    </a:lnTo>
                    <a:lnTo>
                      <a:pt x="0" y="262372"/>
                    </a:lnTo>
                    <a:close/>
                  </a:path>
                </a:pathLst>
              </a:custGeom>
              <a:solidFill>
                <a:schemeClr val="bg1"/>
              </a:solidFill>
              <a:ln w="1305" cap="flat">
                <a:noFill/>
                <a:prstDash val="solid"/>
                <a:miter/>
              </a:ln>
            </p:spPr>
            <p:txBody>
              <a:bodyPr rtlCol="0" anchor="ctr"/>
              <a:lstStyle/>
              <a:p>
                <a:endParaRPr lang="de-DE" dirty="0"/>
              </a:p>
            </p:txBody>
          </p:sp>
          <p:sp>
            <p:nvSpPr>
              <p:cNvPr id="99" name="Freeform: Shape 98">
                <a:extLst>
                  <a:ext uri="{FF2B5EF4-FFF2-40B4-BE49-F238E27FC236}">
                    <a16:creationId xmlns:a16="http://schemas.microsoft.com/office/drawing/2014/main" id="{3FB72776-CB03-4DD2-8FB3-C9F4AE246D69}"/>
                  </a:ext>
                </a:extLst>
              </p:cNvPr>
              <p:cNvSpPr/>
              <p:nvPr/>
            </p:nvSpPr>
            <p:spPr bwMode="gray">
              <a:xfrm>
                <a:off x="9575157" y="4483107"/>
                <a:ext cx="207845" cy="262385"/>
              </a:xfrm>
              <a:custGeom>
                <a:avLst/>
                <a:gdLst>
                  <a:gd name="connsiteX0" fmla="*/ 0 w 207845"/>
                  <a:gd name="connsiteY0" fmla="*/ 262385 h 262385"/>
                  <a:gd name="connsiteX1" fmla="*/ 0 w 207845"/>
                  <a:gd name="connsiteY1" fmla="*/ 0 h 262385"/>
                  <a:gd name="connsiteX2" fmla="*/ 43628 w 207845"/>
                  <a:gd name="connsiteY2" fmla="*/ 0 h 262385"/>
                  <a:gd name="connsiteX3" fmla="*/ 174684 w 207845"/>
                  <a:gd name="connsiteY3" fmla="*/ 199885 h 262385"/>
                  <a:gd name="connsiteX4" fmla="*/ 174684 w 207845"/>
                  <a:gd name="connsiteY4" fmla="*/ 0 h 262385"/>
                  <a:gd name="connsiteX5" fmla="*/ 207846 w 207845"/>
                  <a:gd name="connsiteY5" fmla="*/ 0 h 262385"/>
                  <a:gd name="connsiteX6" fmla="*/ 207846 w 207845"/>
                  <a:gd name="connsiteY6" fmla="*/ 262385 h 262385"/>
                  <a:gd name="connsiteX7" fmla="*/ 175076 w 207845"/>
                  <a:gd name="connsiteY7" fmla="*/ 262385 h 262385"/>
                  <a:gd name="connsiteX8" fmla="*/ 33161 w 207845"/>
                  <a:gd name="connsiteY8" fmla="*/ 45925 h 262385"/>
                  <a:gd name="connsiteX9" fmla="*/ 33161 w 207845"/>
                  <a:gd name="connsiteY9" fmla="*/ 262385 h 262385"/>
                  <a:gd name="connsiteX10" fmla="*/ 0 w 207845"/>
                  <a:gd name="connsiteY10"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845" h="262385">
                    <a:moveTo>
                      <a:pt x="0" y="262385"/>
                    </a:moveTo>
                    <a:lnTo>
                      <a:pt x="0" y="0"/>
                    </a:lnTo>
                    <a:lnTo>
                      <a:pt x="43628" y="0"/>
                    </a:lnTo>
                    <a:lnTo>
                      <a:pt x="174684" y="199885"/>
                    </a:lnTo>
                    <a:lnTo>
                      <a:pt x="174684" y="0"/>
                    </a:lnTo>
                    <a:lnTo>
                      <a:pt x="207846" y="0"/>
                    </a:lnTo>
                    <a:lnTo>
                      <a:pt x="207846" y="262385"/>
                    </a:lnTo>
                    <a:lnTo>
                      <a:pt x="175076" y="262385"/>
                    </a:lnTo>
                    <a:lnTo>
                      <a:pt x="33161" y="45925"/>
                    </a:lnTo>
                    <a:lnTo>
                      <a:pt x="33161" y="262385"/>
                    </a:lnTo>
                    <a:lnTo>
                      <a:pt x="0" y="262385"/>
                    </a:lnTo>
                    <a:close/>
                  </a:path>
                </a:pathLst>
              </a:custGeom>
              <a:solidFill>
                <a:schemeClr val="bg1"/>
              </a:solidFill>
              <a:ln w="1305" cap="flat">
                <a:noFill/>
                <a:prstDash val="solid"/>
                <a:miter/>
              </a:ln>
            </p:spPr>
            <p:txBody>
              <a:bodyPr rtlCol="0" anchor="ctr"/>
              <a:lstStyle/>
              <a:p>
                <a:endParaRPr lang="de-DE" dirty="0"/>
              </a:p>
            </p:txBody>
          </p:sp>
          <p:sp>
            <p:nvSpPr>
              <p:cNvPr id="100" name="Freeform: Shape 99">
                <a:extLst>
                  <a:ext uri="{FF2B5EF4-FFF2-40B4-BE49-F238E27FC236}">
                    <a16:creationId xmlns:a16="http://schemas.microsoft.com/office/drawing/2014/main" id="{B4A36F59-462A-41D9-A304-1316F8252B43}"/>
                  </a:ext>
                </a:extLst>
              </p:cNvPr>
              <p:cNvSpPr/>
              <p:nvPr/>
            </p:nvSpPr>
            <p:spPr bwMode="gray">
              <a:xfrm>
                <a:off x="9879500" y="4478474"/>
                <a:ext cx="185112" cy="271651"/>
              </a:xfrm>
              <a:custGeom>
                <a:avLst/>
                <a:gdLst>
                  <a:gd name="connsiteX0" fmla="*/ 121085 w 185112"/>
                  <a:gd name="connsiteY0" fmla="*/ 271651 h 271651"/>
                  <a:gd name="connsiteX1" fmla="*/ 29690 w 185112"/>
                  <a:gd name="connsiteY1" fmla="*/ 238267 h 271651"/>
                  <a:gd name="connsiteX2" fmla="*/ 0 w 185112"/>
                  <a:gd name="connsiteY2" fmla="*/ 135819 h 271651"/>
                  <a:gd name="connsiteX3" fmla="*/ 29495 w 185112"/>
                  <a:gd name="connsiteY3" fmla="*/ 33371 h 271651"/>
                  <a:gd name="connsiteX4" fmla="*/ 120315 w 185112"/>
                  <a:gd name="connsiteY4" fmla="*/ 0 h 271651"/>
                  <a:gd name="connsiteX5" fmla="*/ 185099 w 185112"/>
                  <a:gd name="connsiteY5" fmla="*/ 13508 h 271651"/>
                  <a:gd name="connsiteX6" fmla="*/ 185099 w 185112"/>
                  <a:gd name="connsiteY6" fmla="*/ 47466 h 271651"/>
                  <a:gd name="connsiteX7" fmla="*/ 121476 w 185112"/>
                  <a:gd name="connsiteY7" fmla="*/ 30878 h 271651"/>
                  <a:gd name="connsiteX8" fmla="*/ 55923 w 185112"/>
                  <a:gd name="connsiteY8" fmla="*/ 55753 h 271651"/>
                  <a:gd name="connsiteX9" fmla="*/ 35485 w 185112"/>
                  <a:gd name="connsiteY9" fmla="*/ 135441 h 271651"/>
                  <a:gd name="connsiteX10" fmla="*/ 56118 w 185112"/>
                  <a:gd name="connsiteY10" fmla="*/ 215703 h 271651"/>
                  <a:gd name="connsiteX11" fmla="*/ 122638 w 185112"/>
                  <a:gd name="connsiteY11" fmla="*/ 240786 h 271651"/>
                  <a:gd name="connsiteX12" fmla="*/ 185112 w 185112"/>
                  <a:gd name="connsiteY12" fmla="*/ 224186 h 271651"/>
                  <a:gd name="connsiteX13" fmla="*/ 185112 w 185112"/>
                  <a:gd name="connsiteY13" fmla="*/ 258144 h 271651"/>
                  <a:gd name="connsiteX14" fmla="*/ 121085 w 185112"/>
                  <a:gd name="connsiteY14" fmla="*/ 271651 h 27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5112" h="271651">
                    <a:moveTo>
                      <a:pt x="121085" y="271651"/>
                    </a:moveTo>
                    <a:cubicBezTo>
                      <a:pt x="79949" y="271651"/>
                      <a:pt x="49476" y="260519"/>
                      <a:pt x="29690" y="238267"/>
                    </a:cubicBezTo>
                    <a:cubicBezTo>
                      <a:pt x="9893" y="216029"/>
                      <a:pt x="0" y="181875"/>
                      <a:pt x="0" y="135819"/>
                    </a:cubicBezTo>
                    <a:cubicBezTo>
                      <a:pt x="0" y="89776"/>
                      <a:pt x="9828" y="55622"/>
                      <a:pt x="29495" y="33371"/>
                    </a:cubicBezTo>
                    <a:cubicBezTo>
                      <a:pt x="49175" y="11119"/>
                      <a:pt x="79440" y="0"/>
                      <a:pt x="120315" y="0"/>
                    </a:cubicBezTo>
                    <a:cubicBezTo>
                      <a:pt x="147565" y="0"/>
                      <a:pt x="169164" y="4503"/>
                      <a:pt x="185099" y="13508"/>
                    </a:cubicBezTo>
                    <a:lnTo>
                      <a:pt x="185099" y="47466"/>
                    </a:lnTo>
                    <a:cubicBezTo>
                      <a:pt x="166841" y="36412"/>
                      <a:pt x="145634" y="30878"/>
                      <a:pt x="121476" y="30878"/>
                    </a:cubicBezTo>
                    <a:cubicBezTo>
                      <a:pt x="91395" y="30878"/>
                      <a:pt x="69535" y="39165"/>
                      <a:pt x="55923" y="55753"/>
                    </a:cubicBezTo>
                    <a:cubicBezTo>
                      <a:pt x="42285" y="72354"/>
                      <a:pt x="35485" y="98912"/>
                      <a:pt x="35485" y="135441"/>
                    </a:cubicBezTo>
                    <a:cubicBezTo>
                      <a:pt x="35485" y="172231"/>
                      <a:pt x="42350" y="198985"/>
                      <a:pt x="56118" y="215703"/>
                    </a:cubicBezTo>
                    <a:cubicBezTo>
                      <a:pt x="69861" y="232421"/>
                      <a:pt x="92034" y="240786"/>
                      <a:pt x="122638" y="240786"/>
                    </a:cubicBezTo>
                    <a:cubicBezTo>
                      <a:pt x="146547" y="240786"/>
                      <a:pt x="167376" y="235253"/>
                      <a:pt x="185112" y="224186"/>
                    </a:cubicBezTo>
                    <a:lnTo>
                      <a:pt x="185112" y="258144"/>
                    </a:lnTo>
                    <a:cubicBezTo>
                      <a:pt x="169412" y="267136"/>
                      <a:pt x="148074" y="271651"/>
                      <a:pt x="121085" y="271651"/>
                    </a:cubicBezTo>
                    <a:close/>
                  </a:path>
                </a:pathLst>
              </a:custGeom>
              <a:solidFill>
                <a:schemeClr val="bg1"/>
              </a:solidFill>
              <a:ln w="1305" cap="flat">
                <a:noFill/>
                <a:prstDash val="solid"/>
                <a:miter/>
              </a:ln>
            </p:spPr>
            <p:txBody>
              <a:bodyPr rtlCol="0" anchor="ctr"/>
              <a:lstStyle/>
              <a:p>
                <a:endParaRPr lang="de-DE" dirty="0"/>
              </a:p>
            </p:txBody>
          </p:sp>
          <p:sp>
            <p:nvSpPr>
              <p:cNvPr id="101" name="Freeform: Shape 100">
                <a:extLst>
                  <a:ext uri="{FF2B5EF4-FFF2-40B4-BE49-F238E27FC236}">
                    <a16:creationId xmlns:a16="http://schemas.microsoft.com/office/drawing/2014/main" id="{A5239872-5C3D-4338-AC97-4B5532C2E44C}"/>
                  </a:ext>
                </a:extLst>
              </p:cNvPr>
              <p:cNvSpPr/>
              <p:nvPr/>
            </p:nvSpPr>
            <p:spPr bwMode="gray">
              <a:xfrm>
                <a:off x="10154858" y="4483107"/>
                <a:ext cx="189718" cy="262385"/>
              </a:xfrm>
              <a:custGeom>
                <a:avLst/>
                <a:gdLst>
                  <a:gd name="connsiteX0" fmla="*/ 0 w 189718"/>
                  <a:gd name="connsiteY0" fmla="*/ 262385 h 262385"/>
                  <a:gd name="connsiteX1" fmla="*/ 0 w 189718"/>
                  <a:gd name="connsiteY1" fmla="*/ 0 h 262385"/>
                  <a:gd name="connsiteX2" fmla="*/ 187409 w 189718"/>
                  <a:gd name="connsiteY2" fmla="*/ 0 h 262385"/>
                  <a:gd name="connsiteX3" fmla="*/ 187409 w 189718"/>
                  <a:gd name="connsiteY3" fmla="*/ 30865 h 262385"/>
                  <a:gd name="connsiteX4" fmla="*/ 34702 w 189718"/>
                  <a:gd name="connsiteY4" fmla="*/ 30865 h 262385"/>
                  <a:gd name="connsiteX5" fmla="*/ 34702 w 189718"/>
                  <a:gd name="connsiteY5" fmla="*/ 113437 h 262385"/>
                  <a:gd name="connsiteX6" fmla="*/ 165809 w 189718"/>
                  <a:gd name="connsiteY6" fmla="*/ 113437 h 262385"/>
                  <a:gd name="connsiteX7" fmla="*/ 165809 w 189718"/>
                  <a:gd name="connsiteY7" fmla="*/ 144302 h 262385"/>
                  <a:gd name="connsiteX8" fmla="*/ 34702 w 189718"/>
                  <a:gd name="connsiteY8" fmla="*/ 144302 h 262385"/>
                  <a:gd name="connsiteX9" fmla="*/ 34702 w 189718"/>
                  <a:gd name="connsiteY9" fmla="*/ 231507 h 262385"/>
                  <a:gd name="connsiteX10" fmla="*/ 189719 w 189718"/>
                  <a:gd name="connsiteY10" fmla="*/ 231507 h 262385"/>
                  <a:gd name="connsiteX11" fmla="*/ 189719 w 189718"/>
                  <a:gd name="connsiteY11" fmla="*/ 262372 h 262385"/>
                  <a:gd name="connsiteX12" fmla="*/ 0 w 189718"/>
                  <a:gd name="connsiteY12" fmla="*/ 262372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718" h="262385">
                    <a:moveTo>
                      <a:pt x="0" y="262385"/>
                    </a:moveTo>
                    <a:lnTo>
                      <a:pt x="0" y="0"/>
                    </a:lnTo>
                    <a:lnTo>
                      <a:pt x="187409" y="0"/>
                    </a:lnTo>
                    <a:lnTo>
                      <a:pt x="187409" y="30865"/>
                    </a:lnTo>
                    <a:lnTo>
                      <a:pt x="34702" y="30865"/>
                    </a:lnTo>
                    <a:lnTo>
                      <a:pt x="34702" y="113437"/>
                    </a:lnTo>
                    <a:lnTo>
                      <a:pt x="165809" y="113437"/>
                    </a:lnTo>
                    <a:lnTo>
                      <a:pt x="165809" y="144302"/>
                    </a:lnTo>
                    <a:lnTo>
                      <a:pt x="34702" y="144302"/>
                    </a:lnTo>
                    <a:lnTo>
                      <a:pt x="34702" y="231507"/>
                    </a:lnTo>
                    <a:lnTo>
                      <a:pt x="189719" y="231507"/>
                    </a:lnTo>
                    <a:lnTo>
                      <a:pt x="189719" y="262372"/>
                    </a:lnTo>
                    <a:lnTo>
                      <a:pt x="0" y="262372"/>
                    </a:lnTo>
                    <a:close/>
                  </a:path>
                </a:pathLst>
              </a:custGeom>
              <a:solidFill>
                <a:schemeClr val="bg1"/>
              </a:solidFill>
              <a:ln w="1305" cap="flat">
                <a:noFill/>
                <a:prstDash val="solid"/>
                <a:miter/>
              </a:ln>
            </p:spPr>
            <p:txBody>
              <a:bodyPr rtlCol="0" anchor="ctr"/>
              <a:lstStyle/>
              <a:p>
                <a:endParaRPr lang="de-DE" dirty="0"/>
              </a:p>
            </p:txBody>
          </p:sp>
          <p:sp>
            <p:nvSpPr>
              <p:cNvPr id="102" name="Freeform: Shape 101">
                <a:extLst>
                  <a:ext uri="{FF2B5EF4-FFF2-40B4-BE49-F238E27FC236}">
                    <a16:creationId xmlns:a16="http://schemas.microsoft.com/office/drawing/2014/main" id="{81B376E2-CD72-4606-AB83-C6D26765B79B}"/>
                  </a:ext>
                </a:extLst>
              </p:cNvPr>
              <p:cNvSpPr/>
              <p:nvPr/>
            </p:nvSpPr>
            <p:spPr bwMode="gray">
              <a:xfrm>
                <a:off x="10425608" y="4478487"/>
                <a:ext cx="184341" cy="271638"/>
              </a:xfrm>
              <a:custGeom>
                <a:avLst/>
                <a:gdLst>
                  <a:gd name="connsiteX0" fmla="*/ 87544 w 184341"/>
                  <a:gd name="connsiteY0" fmla="*/ 271638 h 271638"/>
                  <a:gd name="connsiteX1" fmla="*/ 0 w 184341"/>
                  <a:gd name="connsiteY1" fmla="*/ 249256 h 271638"/>
                  <a:gd name="connsiteX2" fmla="*/ 0 w 184341"/>
                  <a:gd name="connsiteY2" fmla="*/ 213758 h 271638"/>
                  <a:gd name="connsiteX3" fmla="*/ 88302 w 184341"/>
                  <a:gd name="connsiteY3" fmla="*/ 240773 h 271638"/>
                  <a:gd name="connsiteX4" fmla="*/ 149627 w 184341"/>
                  <a:gd name="connsiteY4" fmla="*/ 195239 h 271638"/>
                  <a:gd name="connsiteX5" fmla="*/ 138625 w 184341"/>
                  <a:gd name="connsiteY5" fmla="*/ 168942 h 271638"/>
                  <a:gd name="connsiteX6" fmla="*/ 97515 w 184341"/>
                  <a:gd name="connsiteY6" fmla="*/ 153007 h 271638"/>
                  <a:gd name="connsiteX7" fmla="*/ 68634 w 184341"/>
                  <a:gd name="connsiteY7" fmla="*/ 146234 h 271638"/>
                  <a:gd name="connsiteX8" fmla="*/ 18506 w 184341"/>
                  <a:gd name="connsiteY8" fmla="*/ 121346 h 271638"/>
                  <a:gd name="connsiteX9" fmla="*/ 3850 w 184341"/>
                  <a:gd name="connsiteY9" fmla="*/ 76778 h 271638"/>
                  <a:gd name="connsiteX10" fmla="*/ 96406 w 184341"/>
                  <a:gd name="connsiteY10" fmla="*/ 0 h 271638"/>
                  <a:gd name="connsiteX11" fmla="*/ 170064 w 184341"/>
                  <a:gd name="connsiteY11" fmla="*/ 16209 h 271638"/>
                  <a:gd name="connsiteX12" fmla="*/ 170064 w 184341"/>
                  <a:gd name="connsiteY12" fmla="*/ 51329 h 271638"/>
                  <a:gd name="connsiteX13" fmla="*/ 97567 w 184341"/>
                  <a:gd name="connsiteY13" fmla="*/ 30878 h 271638"/>
                  <a:gd name="connsiteX14" fmla="*/ 38565 w 184341"/>
                  <a:gd name="connsiteY14" fmla="*/ 74481 h 271638"/>
                  <a:gd name="connsiteX15" fmla="*/ 48784 w 184341"/>
                  <a:gd name="connsiteY15" fmla="*/ 99499 h 271638"/>
                  <a:gd name="connsiteX16" fmla="*/ 86018 w 184341"/>
                  <a:gd name="connsiteY16" fmla="*/ 114520 h 271638"/>
                  <a:gd name="connsiteX17" fmla="*/ 115708 w 184341"/>
                  <a:gd name="connsiteY17" fmla="*/ 121085 h 271638"/>
                  <a:gd name="connsiteX18" fmla="*/ 168524 w 184341"/>
                  <a:gd name="connsiteY18" fmla="*/ 146978 h 271638"/>
                  <a:gd name="connsiteX19" fmla="*/ 184342 w 184341"/>
                  <a:gd name="connsiteY19" fmla="*/ 194104 h 271638"/>
                  <a:gd name="connsiteX20" fmla="*/ 87544 w 184341"/>
                  <a:gd name="connsiteY20" fmla="*/ 271638 h 27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4341" h="271638">
                    <a:moveTo>
                      <a:pt x="87544" y="271638"/>
                    </a:moveTo>
                    <a:cubicBezTo>
                      <a:pt x="48209" y="271638"/>
                      <a:pt x="19028" y="264173"/>
                      <a:pt x="0" y="249256"/>
                    </a:cubicBezTo>
                    <a:lnTo>
                      <a:pt x="0" y="213758"/>
                    </a:lnTo>
                    <a:cubicBezTo>
                      <a:pt x="24157" y="231768"/>
                      <a:pt x="53613" y="240773"/>
                      <a:pt x="88302" y="240773"/>
                    </a:cubicBezTo>
                    <a:cubicBezTo>
                      <a:pt x="129189" y="240773"/>
                      <a:pt x="149627" y="225595"/>
                      <a:pt x="149627" y="195239"/>
                    </a:cubicBezTo>
                    <a:cubicBezTo>
                      <a:pt x="149627" y="183715"/>
                      <a:pt x="145947" y="174958"/>
                      <a:pt x="138625" y="168942"/>
                    </a:cubicBezTo>
                    <a:cubicBezTo>
                      <a:pt x="131291" y="162926"/>
                      <a:pt x="117587" y="157614"/>
                      <a:pt x="97515" y="153007"/>
                    </a:cubicBezTo>
                    <a:lnTo>
                      <a:pt x="68634" y="146234"/>
                    </a:lnTo>
                    <a:cubicBezTo>
                      <a:pt x="44986" y="140831"/>
                      <a:pt x="28268" y="132530"/>
                      <a:pt x="18506" y="121346"/>
                    </a:cubicBezTo>
                    <a:cubicBezTo>
                      <a:pt x="8731" y="110161"/>
                      <a:pt x="3850" y="95310"/>
                      <a:pt x="3850" y="76778"/>
                    </a:cubicBezTo>
                    <a:cubicBezTo>
                      <a:pt x="3850" y="25593"/>
                      <a:pt x="34702" y="0"/>
                      <a:pt x="96406" y="0"/>
                    </a:cubicBezTo>
                    <a:cubicBezTo>
                      <a:pt x="130338" y="0"/>
                      <a:pt x="154886" y="5403"/>
                      <a:pt x="170064" y="16209"/>
                    </a:cubicBezTo>
                    <a:lnTo>
                      <a:pt x="170064" y="51329"/>
                    </a:lnTo>
                    <a:cubicBezTo>
                      <a:pt x="150775" y="37691"/>
                      <a:pt x="126618" y="30878"/>
                      <a:pt x="97567" y="30878"/>
                    </a:cubicBezTo>
                    <a:cubicBezTo>
                      <a:pt x="58233" y="30878"/>
                      <a:pt x="38565" y="45417"/>
                      <a:pt x="38565" y="74481"/>
                    </a:cubicBezTo>
                    <a:cubicBezTo>
                      <a:pt x="38565" y="85013"/>
                      <a:pt x="41958" y="93339"/>
                      <a:pt x="48784" y="99499"/>
                    </a:cubicBezTo>
                    <a:cubicBezTo>
                      <a:pt x="55596" y="105659"/>
                      <a:pt x="68007" y="110670"/>
                      <a:pt x="86018" y="114520"/>
                    </a:cubicBezTo>
                    <a:lnTo>
                      <a:pt x="115708" y="121085"/>
                    </a:lnTo>
                    <a:cubicBezTo>
                      <a:pt x="140374" y="126501"/>
                      <a:pt x="157992" y="135127"/>
                      <a:pt x="168524" y="146978"/>
                    </a:cubicBezTo>
                    <a:cubicBezTo>
                      <a:pt x="179069" y="158828"/>
                      <a:pt x="184342" y="174541"/>
                      <a:pt x="184342" y="194104"/>
                    </a:cubicBezTo>
                    <a:cubicBezTo>
                      <a:pt x="184342" y="245785"/>
                      <a:pt x="152067" y="271638"/>
                      <a:pt x="87544" y="271638"/>
                    </a:cubicBezTo>
                    <a:close/>
                  </a:path>
                </a:pathLst>
              </a:custGeom>
              <a:solidFill>
                <a:schemeClr val="bg1"/>
              </a:solidFill>
              <a:ln w="1305" cap="flat">
                <a:noFill/>
                <a:prstDash val="solid"/>
                <a:miter/>
              </a:ln>
            </p:spPr>
            <p:txBody>
              <a:bodyPr rtlCol="0" anchor="ctr"/>
              <a:lstStyle/>
              <a:p>
                <a:endParaRPr lang="de-DE" dirty="0"/>
              </a:p>
            </p:txBody>
          </p:sp>
        </p:grpSp>
        <p:grpSp>
          <p:nvGrpSpPr>
            <p:cNvPr id="72" name="Graphic 3">
              <a:extLst>
                <a:ext uri="{FF2B5EF4-FFF2-40B4-BE49-F238E27FC236}">
                  <a16:creationId xmlns:a16="http://schemas.microsoft.com/office/drawing/2014/main" id="{7BF2C23B-C8F8-49A2-BAE2-3F1F9C86D53C}"/>
                </a:ext>
              </a:extLst>
            </p:cNvPr>
            <p:cNvGrpSpPr/>
            <p:nvPr/>
          </p:nvGrpSpPr>
          <p:grpSpPr bwMode="gray">
            <a:xfrm>
              <a:off x="1225830" y="2481785"/>
              <a:ext cx="1609205" cy="1626009"/>
              <a:chOff x="1225830" y="2481785"/>
              <a:chExt cx="1609205" cy="1626009"/>
            </a:xfrm>
          </p:grpSpPr>
          <p:sp>
            <p:nvSpPr>
              <p:cNvPr id="73" name="Freeform: Shape 72">
                <a:extLst>
                  <a:ext uri="{FF2B5EF4-FFF2-40B4-BE49-F238E27FC236}">
                    <a16:creationId xmlns:a16="http://schemas.microsoft.com/office/drawing/2014/main" id="{EB24F67A-7B7F-402A-845B-1128480A2F9E}"/>
                  </a:ext>
                </a:extLst>
              </p:cNvPr>
              <p:cNvSpPr/>
              <p:nvPr/>
            </p:nvSpPr>
            <p:spPr bwMode="gray">
              <a:xfrm>
                <a:off x="1225830" y="3224285"/>
                <a:ext cx="1147028" cy="713117"/>
              </a:xfrm>
              <a:custGeom>
                <a:avLst/>
                <a:gdLst>
                  <a:gd name="connsiteX0" fmla="*/ 801276 w 1147028"/>
                  <a:gd name="connsiteY0" fmla="*/ 441233 h 713117"/>
                  <a:gd name="connsiteX1" fmla="*/ 271677 w 1147028"/>
                  <a:gd name="connsiteY1" fmla="*/ 223168 h 713117"/>
                  <a:gd name="connsiteX2" fmla="*/ 246163 w 1147028"/>
                  <a:gd name="connsiteY2" fmla="*/ 0 h 713117"/>
                  <a:gd name="connsiteX3" fmla="*/ 3549 w 1147028"/>
                  <a:gd name="connsiteY3" fmla="*/ 78 h 713117"/>
                  <a:gd name="connsiteX4" fmla="*/ 49827 w 1147028"/>
                  <a:gd name="connsiteY4" fmla="*/ 315737 h 713117"/>
                  <a:gd name="connsiteX5" fmla="*/ 893792 w 1147028"/>
                  <a:gd name="connsiteY5" fmla="*/ 663213 h 713117"/>
                  <a:gd name="connsiteX6" fmla="*/ 1147029 w 1147028"/>
                  <a:gd name="connsiteY6" fmla="*/ 473690 h 713117"/>
                  <a:gd name="connsiteX7" fmla="*/ 975412 w 1147028"/>
                  <a:gd name="connsiteY7" fmla="*/ 302060 h 713117"/>
                  <a:gd name="connsiteX8" fmla="*/ 801276 w 1147028"/>
                  <a:gd name="connsiteY8" fmla="*/ 441233 h 71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7028" h="713117">
                    <a:moveTo>
                      <a:pt x="801276" y="441233"/>
                    </a:moveTo>
                    <a:cubicBezTo>
                      <a:pt x="594865" y="527354"/>
                      <a:pt x="357759" y="429722"/>
                      <a:pt x="271677" y="223168"/>
                    </a:cubicBezTo>
                    <a:cubicBezTo>
                      <a:pt x="241164" y="149940"/>
                      <a:pt x="233843" y="72875"/>
                      <a:pt x="246163" y="0"/>
                    </a:cubicBezTo>
                    <a:lnTo>
                      <a:pt x="3549" y="78"/>
                    </a:lnTo>
                    <a:cubicBezTo>
                      <a:pt x="-7413" y="104132"/>
                      <a:pt x="6747" y="212362"/>
                      <a:pt x="49827" y="315737"/>
                    </a:cubicBezTo>
                    <a:cubicBezTo>
                      <a:pt x="186964" y="644876"/>
                      <a:pt x="564835" y="800467"/>
                      <a:pt x="893792" y="663213"/>
                    </a:cubicBezTo>
                    <a:cubicBezTo>
                      <a:pt x="996241" y="620485"/>
                      <a:pt x="1081840" y="554369"/>
                      <a:pt x="1147029" y="473690"/>
                    </a:cubicBezTo>
                    <a:lnTo>
                      <a:pt x="975412" y="302060"/>
                    </a:lnTo>
                    <a:cubicBezTo>
                      <a:pt x="933023" y="361858"/>
                      <a:pt x="873942" y="410929"/>
                      <a:pt x="801276" y="441233"/>
                    </a:cubicBezTo>
                    <a:close/>
                  </a:path>
                </a:pathLst>
              </a:custGeom>
              <a:solidFill>
                <a:schemeClr val="bg1"/>
              </a:solidFill>
              <a:ln w="1305" cap="flat">
                <a:noFill/>
                <a:prstDash val="solid"/>
                <a:miter/>
              </a:ln>
            </p:spPr>
            <p:txBody>
              <a:bodyPr rtlCol="0" anchor="ctr"/>
              <a:lstStyle/>
              <a:p>
                <a:endParaRPr lang="de-DE" dirty="0"/>
              </a:p>
            </p:txBody>
          </p:sp>
          <p:sp>
            <p:nvSpPr>
              <p:cNvPr id="74" name="Freeform: Shape 73">
                <a:extLst>
                  <a:ext uri="{FF2B5EF4-FFF2-40B4-BE49-F238E27FC236}">
                    <a16:creationId xmlns:a16="http://schemas.microsoft.com/office/drawing/2014/main" id="{3C1CDBE5-3B45-4673-9BB2-E8E4C4F33849}"/>
                  </a:ext>
                </a:extLst>
              </p:cNvPr>
              <p:cNvSpPr/>
              <p:nvPr/>
            </p:nvSpPr>
            <p:spPr bwMode="gray">
              <a:xfrm>
                <a:off x="1580809" y="2481785"/>
                <a:ext cx="1026584" cy="874769"/>
              </a:xfrm>
              <a:custGeom>
                <a:avLst/>
                <a:gdLst>
                  <a:gd name="connsiteX0" fmla="*/ 243997 w 1026584"/>
                  <a:gd name="connsiteY0" fmla="*/ 592208 h 874769"/>
                  <a:gd name="connsiteX1" fmla="*/ 698945 w 1026584"/>
                  <a:gd name="connsiteY1" fmla="*/ 244158 h 874769"/>
                  <a:gd name="connsiteX2" fmla="*/ 904481 w 1026584"/>
                  <a:gd name="connsiteY2" fmla="*/ 334469 h 874769"/>
                  <a:gd name="connsiteX3" fmla="*/ 1026584 w 1026584"/>
                  <a:gd name="connsiteY3" fmla="*/ 124665 h 874769"/>
                  <a:gd name="connsiteX4" fmla="*/ 730737 w 1026584"/>
                  <a:gd name="connsiteY4" fmla="*/ 5747 h 874769"/>
                  <a:gd name="connsiteX5" fmla="*/ 5742 w 1026584"/>
                  <a:gd name="connsiteY5" fmla="*/ 560416 h 874769"/>
                  <a:gd name="connsiteX6" fmla="*/ 41893 w 1026584"/>
                  <a:gd name="connsiteY6" fmla="*/ 874770 h 874769"/>
                  <a:gd name="connsiteX7" fmla="*/ 276493 w 1026584"/>
                  <a:gd name="connsiteY7" fmla="*/ 812818 h 874769"/>
                  <a:gd name="connsiteX8" fmla="*/ 243997 w 1026584"/>
                  <a:gd name="connsiteY8" fmla="*/ 592208 h 87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6584" h="874769">
                    <a:moveTo>
                      <a:pt x="243997" y="592208"/>
                    </a:moveTo>
                    <a:cubicBezTo>
                      <a:pt x="273570" y="370398"/>
                      <a:pt x="477252" y="214559"/>
                      <a:pt x="698945" y="244158"/>
                    </a:cubicBezTo>
                    <a:cubicBezTo>
                      <a:pt x="777537" y="254651"/>
                      <a:pt x="847776" y="287121"/>
                      <a:pt x="904481" y="334469"/>
                    </a:cubicBezTo>
                    <a:lnTo>
                      <a:pt x="1026584" y="124665"/>
                    </a:lnTo>
                    <a:cubicBezTo>
                      <a:pt x="942263" y="62792"/>
                      <a:pt x="841681" y="20546"/>
                      <a:pt x="730737" y="5747"/>
                    </a:cubicBezTo>
                    <a:cubicBezTo>
                      <a:pt x="377480" y="-41418"/>
                      <a:pt x="52869" y="206911"/>
                      <a:pt x="5742" y="560416"/>
                    </a:cubicBezTo>
                    <a:cubicBezTo>
                      <a:pt x="-8940" y="670486"/>
                      <a:pt x="5038" y="777789"/>
                      <a:pt x="41893" y="874770"/>
                    </a:cubicBezTo>
                    <a:lnTo>
                      <a:pt x="276493" y="812818"/>
                    </a:lnTo>
                    <a:cubicBezTo>
                      <a:pt x="246215" y="746050"/>
                      <a:pt x="233582" y="670278"/>
                      <a:pt x="243997" y="592208"/>
                    </a:cubicBezTo>
                    <a:close/>
                  </a:path>
                </a:pathLst>
              </a:custGeom>
              <a:solidFill>
                <a:schemeClr val="bg1"/>
              </a:solidFill>
              <a:ln w="1305" cap="flat">
                <a:noFill/>
                <a:prstDash val="solid"/>
                <a:miter/>
              </a:ln>
            </p:spPr>
            <p:txBody>
              <a:bodyPr rtlCol="0" anchor="ctr"/>
              <a:lstStyle/>
              <a:p>
                <a:endParaRPr lang="de-DE" dirty="0"/>
              </a:p>
            </p:txBody>
          </p:sp>
          <p:sp>
            <p:nvSpPr>
              <p:cNvPr id="75" name="Freeform: Shape 74">
                <a:extLst>
                  <a:ext uri="{FF2B5EF4-FFF2-40B4-BE49-F238E27FC236}">
                    <a16:creationId xmlns:a16="http://schemas.microsoft.com/office/drawing/2014/main" id="{DF95941B-2528-4E7D-8836-D5B7A7996997}"/>
                  </a:ext>
                </a:extLst>
              </p:cNvPr>
              <p:cNvSpPr/>
              <p:nvPr/>
            </p:nvSpPr>
            <p:spPr bwMode="gray">
              <a:xfrm>
                <a:off x="2229927" y="2879315"/>
                <a:ext cx="605107" cy="1228479"/>
              </a:xfrm>
              <a:custGeom>
                <a:avLst/>
                <a:gdLst>
                  <a:gd name="connsiteX0" fmla="*/ 207128 w 605107"/>
                  <a:gd name="connsiteY0" fmla="*/ 316559 h 1228479"/>
                  <a:gd name="connsiteX1" fmla="*/ 280369 w 605107"/>
                  <a:gd name="connsiteY1" fmla="*/ 884879 h 1228479"/>
                  <a:gd name="connsiteX2" fmla="*/ 99316 w 605107"/>
                  <a:gd name="connsiteY2" fmla="*/ 1017671 h 1228479"/>
                  <a:gd name="connsiteX3" fmla="*/ 219644 w 605107"/>
                  <a:gd name="connsiteY3" fmla="*/ 1228479 h 1228479"/>
                  <a:gd name="connsiteX4" fmla="*/ 470675 w 605107"/>
                  <a:gd name="connsiteY4" fmla="*/ 1031804 h 1228479"/>
                  <a:gd name="connsiteX5" fmla="*/ 353949 w 605107"/>
                  <a:gd name="connsiteY5" fmla="*/ 126122 h 1228479"/>
                  <a:gd name="connsiteX6" fmla="*/ 63922 w 605107"/>
                  <a:gd name="connsiteY6" fmla="*/ 0 h 1228479"/>
                  <a:gd name="connsiteX7" fmla="*/ 0 w 605107"/>
                  <a:gd name="connsiteY7" fmla="*/ 234209 h 1228479"/>
                  <a:gd name="connsiteX8" fmla="*/ 207128 w 605107"/>
                  <a:gd name="connsiteY8" fmla="*/ 316559 h 122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5107" h="1228479">
                    <a:moveTo>
                      <a:pt x="207128" y="316559"/>
                    </a:moveTo>
                    <a:cubicBezTo>
                      <a:pt x="384201" y="453239"/>
                      <a:pt x="417010" y="707702"/>
                      <a:pt x="280369" y="884879"/>
                    </a:cubicBezTo>
                    <a:cubicBezTo>
                      <a:pt x="231938" y="947679"/>
                      <a:pt x="168668" y="992261"/>
                      <a:pt x="99316" y="1017671"/>
                    </a:cubicBezTo>
                    <a:lnTo>
                      <a:pt x="219644" y="1228479"/>
                    </a:lnTo>
                    <a:cubicBezTo>
                      <a:pt x="315384" y="1186429"/>
                      <a:pt x="402302" y="1120471"/>
                      <a:pt x="470675" y="1031804"/>
                    </a:cubicBezTo>
                    <a:cubicBezTo>
                      <a:pt x="688387" y="749478"/>
                      <a:pt x="636145" y="343978"/>
                      <a:pt x="353949" y="126122"/>
                    </a:cubicBezTo>
                    <a:cubicBezTo>
                      <a:pt x="266092" y="58284"/>
                      <a:pt x="166266" y="16653"/>
                      <a:pt x="63922" y="0"/>
                    </a:cubicBezTo>
                    <a:lnTo>
                      <a:pt x="0" y="234209"/>
                    </a:lnTo>
                    <a:cubicBezTo>
                      <a:pt x="72954" y="241426"/>
                      <a:pt x="144824" y="268441"/>
                      <a:pt x="207128" y="316559"/>
                    </a:cubicBezTo>
                    <a:close/>
                  </a:path>
                </a:pathLst>
              </a:custGeom>
              <a:solidFill>
                <a:schemeClr val="bg1"/>
              </a:solidFill>
              <a:ln w="1305" cap="flat">
                <a:noFill/>
                <a:prstDash val="solid"/>
                <a:miter/>
              </a:ln>
            </p:spPr>
            <p:txBody>
              <a:bodyPr rtlCol="0" anchor="ctr"/>
              <a:lstStyle/>
              <a:p>
                <a:endParaRPr lang="de-DE" dirty="0"/>
              </a:p>
            </p:txBody>
          </p:sp>
        </p:grpSp>
      </p:grpSp>
    </p:spTree>
    <p:extLst>
      <p:ext uri="{BB962C8B-B14F-4D97-AF65-F5344CB8AC3E}">
        <p14:creationId xmlns:p14="http://schemas.microsoft.com/office/powerpoint/2010/main" val="3250921405"/>
      </p:ext>
    </p:extLst>
  </p:cSld>
  <p:clrMapOvr>
    <a:masterClrMapping/>
  </p:clrMapOvr>
  <p:extLst>
    <p:ext uri="{DCECCB84-F9BA-43D5-87BE-67443E8EF086}">
      <p15:sldGuideLst xmlns:p15="http://schemas.microsoft.com/office/powerpoint/2012/main">
        <p15:guide id="3" orient="horz" pos="482">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in Inhalt | zwei Bilder">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8B67234-0712-4425-8585-450192DDB616}"/>
              </a:ext>
            </a:extLst>
          </p:cNvPr>
          <p:cNvGraphicFramePr>
            <a:graphicFrameLocks noChangeAspect="1"/>
          </p:cNvGraphicFramePr>
          <p:nvPr userDrawn="1">
            <p:custDataLst>
              <p:tags r:id="rId1"/>
            </p:custDataLst>
            <p:extLst>
              <p:ext uri="{D42A27DB-BD31-4B8C-83A1-F6EECF244321}">
                <p14:modId xmlns:p14="http://schemas.microsoft.com/office/powerpoint/2010/main" val="419790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56F41336-991E-4EF1-80C4-C55A7EE615CC}"/>
              </a:ext>
            </a:extLst>
          </p:cNvPr>
          <p:cNvSpPr>
            <a:spLocks noGrp="1"/>
          </p:cNvSpPr>
          <p:nvPr>
            <p:ph type="title"/>
          </p:nvPr>
        </p:nvSpPr>
        <p:spPr bwMode="gray"/>
        <p:txBody>
          <a:bodyPr vert="horz" lIns="144000"/>
          <a:lstStyle/>
          <a:p>
            <a:r>
              <a:rPr lang="de-DE" dirty="0"/>
              <a:t>Mastertitelformat bearbeiten</a:t>
            </a:r>
          </a:p>
        </p:txBody>
      </p:sp>
      <p:sp>
        <p:nvSpPr>
          <p:cNvPr id="11" name="Textplatzhalter 11">
            <a:extLst>
              <a:ext uri="{FF2B5EF4-FFF2-40B4-BE49-F238E27FC236}">
                <a16:creationId xmlns:a16="http://schemas.microsoft.com/office/drawing/2014/main" id="{5C699F27-BF2B-43BB-BEAA-FE9731733924}"/>
              </a:ext>
            </a:extLst>
          </p:cNvPr>
          <p:cNvSpPr>
            <a:spLocks noGrp="1"/>
          </p:cNvSpPr>
          <p:nvPr>
            <p:ph type="body" sz="quarter" idx="14"/>
          </p:nvPr>
        </p:nvSpPr>
        <p:spPr bwMode="gray">
          <a:xfrm>
            <a:off x="6096000" y="5445000"/>
            <a:ext cx="2592000" cy="288000"/>
          </a:xfrm>
        </p:spPr>
        <p:txBody>
          <a:bodyPr lIns="144000" tIns="0" rIns="0">
            <a:noAutofit/>
          </a:bodyPr>
          <a:lstStyle>
            <a:lvl1pPr marL="0" indent="0">
              <a:lnSpc>
                <a:spcPct val="100000"/>
              </a:lnSpc>
              <a:spcBef>
                <a:spcPts val="0"/>
              </a:spcBef>
              <a:spcAft>
                <a:spcPts val="0"/>
              </a:spcAft>
              <a:buFont typeface="Arial" panose="020B0604020202020204" pitchFamily="34" charset="0"/>
              <a:buNone/>
              <a:defRPr sz="900"/>
            </a:lvl1pPr>
            <a:lvl2pPr marL="0" indent="0">
              <a:lnSpc>
                <a:spcPct val="100000"/>
              </a:lnSpc>
              <a:spcBef>
                <a:spcPts val="0"/>
              </a:spcBef>
              <a:spcAft>
                <a:spcPts val="0"/>
              </a:spcAft>
              <a:buNone/>
              <a:defRPr sz="900"/>
            </a:lvl2pPr>
            <a:lvl3pPr marL="0" indent="0">
              <a:lnSpc>
                <a:spcPct val="100000"/>
              </a:lnSpc>
              <a:spcBef>
                <a:spcPts val="0"/>
              </a:spcBef>
              <a:spcAft>
                <a:spcPts val="0"/>
              </a:spcAft>
              <a:buNone/>
              <a:defRPr sz="900" b="0"/>
            </a:lvl3pPr>
            <a:lvl4pPr marL="0" indent="0">
              <a:lnSpc>
                <a:spcPct val="100000"/>
              </a:lnSpc>
              <a:spcBef>
                <a:spcPts val="0"/>
              </a:spcBef>
              <a:spcAft>
                <a:spcPts val="0"/>
              </a:spcAft>
              <a:buNone/>
              <a:defRPr sz="900"/>
            </a:lvl4pPr>
            <a:lvl5pPr marL="0" indent="0">
              <a:lnSpc>
                <a:spcPct val="100000"/>
              </a:lnSpc>
              <a:spcBef>
                <a:spcPts val="0"/>
              </a:spcBef>
              <a:spcAft>
                <a:spcPts val="0"/>
              </a:spcAft>
              <a:buNone/>
              <a:defRPr sz="900"/>
            </a:lvl5pPr>
            <a:lvl6pPr marL="0" indent="0">
              <a:lnSpc>
                <a:spcPct val="100000"/>
              </a:lnSpc>
              <a:spcBef>
                <a:spcPts val="0"/>
              </a:spcBef>
              <a:spcAft>
                <a:spcPts val="0"/>
              </a:spcAft>
              <a:buNone/>
              <a:defRPr sz="900"/>
            </a:lvl6pPr>
            <a:lvl7pPr marL="0" indent="0">
              <a:lnSpc>
                <a:spcPct val="100000"/>
              </a:lnSpc>
              <a:spcBef>
                <a:spcPts val="0"/>
              </a:spcBef>
              <a:spcAft>
                <a:spcPts val="0"/>
              </a:spcAft>
              <a:buNone/>
              <a:defRPr sz="900"/>
            </a:lvl7pPr>
            <a:lvl8pPr marL="0" indent="0">
              <a:lnSpc>
                <a:spcPct val="100000"/>
              </a:lnSpc>
              <a:spcBef>
                <a:spcPts val="0"/>
              </a:spcBef>
              <a:spcAft>
                <a:spcPts val="0"/>
              </a:spcAft>
              <a:buNone/>
              <a:defRPr sz="900"/>
            </a:lvl8pPr>
            <a:lvl9pPr marL="0" indent="0">
              <a:lnSpc>
                <a:spcPct val="100000"/>
              </a:lnSpc>
              <a:spcBef>
                <a:spcPts val="0"/>
              </a:spcBef>
              <a:spcAft>
                <a:spcPts val="0"/>
              </a:spcAft>
              <a:buNone/>
              <a:defRPr sz="900"/>
            </a:lvl9pPr>
          </a:lstStyle>
          <a:p>
            <a:pPr lvl="0"/>
            <a:r>
              <a:rPr lang="de-DE" dirty="0"/>
              <a:t>Mastertextformat bearbeiten</a:t>
            </a:r>
          </a:p>
        </p:txBody>
      </p:sp>
      <p:sp>
        <p:nvSpPr>
          <p:cNvPr id="13" name="Bildplatzhalter 2">
            <a:extLst>
              <a:ext uri="{FF2B5EF4-FFF2-40B4-BE49-F238E27FC236}">
                <a16:creationId xmlns:a16="http://schemas.microsoft.com/office/drawing/2014/main" id="{3A242B68-DC9E-4243-BA66-D7B2B811AEF1}"/>
              </a:ext>
            </a:extLst>
          </p:cNvPr>
          <p:cNvSpPr>
            <a:spLocks noGrp="1"/>
          </p:cNvSpPr>
          <p:nvPr>
            <p:ph type="pic" sz="quarter" idx="15" hasCustomPrompt="1"/>
          </p:nvPr>
        </p:nvSpPr>
        <p:spPr bwMode="gray">
          <a:xfrm>
            <a:off x="6096000" y="1989000"/>
            <a:ext cx="2592000" cy="3311525"/>
          </a:xfrm>
        </p:spPr>
        <p:txBody>
          <a:bodyPr lIns="1512000" tIns="0" rIns="0" bIns="0" anchor="ctr"/>
          <a:lstStyle>
            <a:lvl1pPr marL="0" indent="0" algn="l">
              <a:spcBef>
                <a:spcPts val="0"/>
              </a:spcBef>
              <a:spcAft>
                <a:spcPts val="0"/>
              </a:spcAft>
              <a:buNone/>
              <a:defRPr sz="800" b="0"/>
            </a:lvl1pPr>
            <a:lvl2pPr marL="0" indent="0" algn="ctr">
              <a:spcBef>
                <a:spcPts val="0"/>
              </a:spcBef>
              <a:spcAft>
                <a:spcPts val="0"/>
              </a:spcAft>
              <a:buFont typeface="Arial" panose="020B0604020202020204" pitchFamily="34" charset="0"/>
              <a:buNone/>
              <a:defRPr sz="1200" b="0"/>
            </a:lvl2pPr>
            <a:lvl3pPr marL="0" indent="0" algn="ctr">
              <a:spcBef>
                <a:spcPts val="0"/>
              </a:spcBef>
              <a:spcAft>
                <a:spcPts val="0"/>
              </a:spcAft>
              <a:buFont typeface="Arial" panose="020B0604020202020204" pitchFamily="34" charset="0"/>
              <a:buNone/>
              <a:defRPr sz="1200" b="0"/>
            </a:lvl3pPr>
            <a:lvl4pPr marL="0" indent="0" algn="ctr">
              <a:spcBef>
                <a:spcPts val="0"/>
              </a:spcBef>
              <a:spcAft>
                <a:spcPts val="0"/>
              </a:spcAft>
              <a:buNone/>
              <a:defRPr sz="1200" b="0"/>
            </a:lvl4pPr>
            <a:lvl5pPr marL="0" indent="0" algn="ctr">
              <a:spcBef>
                <a:spcPts val="0"/>
              </a:spcBef>
              <a:spcAft>
                <a:spcPts val="0"/>
              </a:spcAft>
              <a:buNone/>
              <a:defRPr sz="1200" b="0"/>
            </a:lvl5pPr>
            <a:lvl6pPr marL="0" indent="0" algn="ctr">
              <a:spcBef>
                <a:spcPts val="0"/>
              </a:spcBef>
              <a:spcAft>
                <a:spcPts val="0"/>
              </a:spcAft>
              <a:buNone/>
              <a:defRPr sz="1200" b="0"/>
            </a:lvl6pPr>
            <a:lvl7pPr marL="0" indent="0" algn="ctr">
              <a:spcBef>
                <a:spcPts val="0"/>
              </a:spcBef>
              <a:spcAft>
                <a:spcPts val="0"/>
              </a:spcAft>
              <a:buNone/>
              <a:defRPr sz="1200" b="0"/>
            </a:lvl7pPr>
            <a:lvl8pPr marL="0" indent="0" algn="ctr">
              <a:spcBef>
                <a:spcPts val="0"/>
              </a:spcBef>
              <a:spcAft>
                <a:spcPts val="0"/>
              </a:spcAft>
              <a:buNone/>
              <a:defRPr sz="1200" b="0"/>
            </a:lvl8pPr>
            <a:lvl9pPr marL="0" indent="0" algn="ctr">
              <a:spcBef>
                <a:spcPts val="0"/>
              </a:spcBef>
              <a:spcAft>
                <a:spcPts val="0"/>
              </a:spcAft>
              <a:buNone/>
              <a:defRPr sz="1200" b="0"/>
            </a:lvl9pPr>
          </a:lstStyle>
          <a:p>
            <a:pPr lvl="0"/>
            <a:r>
              <a:rPr lang="de-DE" dirty="0"/>
              <a:t>Bild durch Klick </a:t>
            </a:r>
            <a:br>
              <a:rPr lang="de-DE" dirty="0"/>
            </a:br>
            <a:r>
              <a:rPr lang="de-DE" dirty="0"/>
              <a:t>auf Symbol hinzufügen </a:t>
            </a:r>
          </a:p>
        </p:txBody>
      </p:sp>
      <p:sp>
        <p:nvSpPr>
          <p:cNvPr id="10" name="Textplatzhalter 11">
            <a:extLst>
              <a:ext uri="{FF2B5EF4-FFF2-40B4-BE49-F238E27FC236}">
                <a16:creationId xmlns:a16="http://schemas.microsoft.com/office/drawing/2014/main" id="{3084A402-1C5A-4F5D-AA80-924C98F8453A}"/>
              </a:ext>
            </a:extLst>
          </p:cNvPr>
          <p:cNvSpPr>
            <a:spLocks noGrp="1"/>
          </p:cNvSpPr>
          <p:nvPr>
            <p:ph type="body" sz="quarter" idx="19"/>
          </p:nvPr>
        </p:nvSpPr>
        <p:spPr bwMode="gray">
          <a:xfrm>
            <a:off x="8976000" y="5445000"/>
            <a:ext cx="2592000" cy="288000"/>
          </a:xfrm>
        </p:spPr>
        <p:txBody>
          <a:bodyPr lIns="144000" tIns="0" rIns="0">
            <a:noAutofit/>
          </a:bodyPr>
          <a:lstStyle>
            <a:lvl1pPr marL="0" indent="0">
              <a:lnSpc>
                <a:spcPct val="100000"/>
              </a:lnSpc>
              <a:spcBef>
                <a:spcPts val="0"/>
              </a:spcBef>
              <a:spcAft>
                <a:spcPts val="0"/>
              </a:spcAft>
              <a:buFont typeface="Arial" panose="020B0604020202020204" pitchFamily="34" charset="0"/>
              <a:buNone/>
              <a:defRPr sz="900"/>
            </a:lvl1pPr>
            <a:lvl2pPr marL="0" indent="0">
              <a:lnSpc>
                <a:spcPct val="100000"/>
              </a:lnSpc>
              <a:spcBef>
                <a:spcPts val="0"/>
              </a:spcBef>
              <a:spcAft>
                <a:spcPts val="0"/>
              </a:spcAft>
              <a:buNone/>
              <a:defRPr sz="900"/>
            </a:lvl2pPr>
            <a:lvl3pPr marL="0" indent="0">
              <a:lnSpc>
                <a:spcPct val="100000"/>
              </a:lnSpc>
              <a:spcBef>
                <a:spcPts val="0"/>
              </a:spcBef>
              <a:spcAft>
                <a:spcPts val="0"/>
              </a:spcAft>
              <a:buNone/>
              <a:defRPr sz="900" b="0"/>
            </a:lvl3pPr>
            <a:lvl4pPr marL="0" indent="0">
              <a:lnSpc>
                <a:spcPct val="100000"/>
              </a:lnSpc>
              <a:spcBef>
                <a:spcPts val="0"/>
              </a:spcBef>
              <a:spcAft>
                <a:spcPts val="0"/>
              </a:spcAft>
              <a:buNone/>
              <a:defRPr sz="900"/>
            </a:lvl4pPr>
            <a:lvl5pPr marL="0" indent="0">
              <a:lnSpc>
                <a:spcPct val="100000"/>
              </a:lnSpc>
              <a:spcBef>
                <a:spcPts val="0"/>
              </a:spcBef>
              <a:spcAft>
                <a:spcPts val="0"/>
              </a:spcAft>
              <a:buNone/>
              <a:defRPr sz="900"/>
            </a:lvl5pPr>
            <a:lvl6pPr marL="0" indent="0">
              <a:lnSpc>
                <a:spcPct val="100000"/>
              </a:lnSpc>
              <a:spcBef>
                <a:spcPts val="0"/>
              </a:spcBef>
              <a:spcAft>
                <a:spcPts val="0"/>
              </a:spcAft>
              <a:buNone/>
              <a:defRPr sz="900"/>
            </a:lvl6pPr>
            <a:lvl7pPr marL="0" indent="0">
              <a:lnSpc>
                <a:spcPct val="100000"/>
              </a:lnSpc>
              <a:spcBef>
                <a:spcPts val="0"/>
              </a:spcBef>
              <a:spcAft>
                <a:spcPts val="0"/>
              </a:spcAft>
              <a:buNone/>
              <a:defRPr sz="900"/>
            </a:lvl7pPr>
            <a:lvl8pPr marL="0" indent="0">
              <a:lnSpc>
                <a:spcPct val="100000"/>
              </a:lnSpc>
              <a:spcBef>
                <a:spcPts val="0"/>
              </a:spcBef>
              <a:spcAft>
                <a:spcPts val="0"/>
              </a:spcAft>
              <a:buNone/>
              <a:defRPr sz="900"/>
            </a:lvl8pPr>
            <a:lvl9pPr marL="0" indent="0">
              <a:lnSpc>
                <a:spcPct val="100000"/>
              </a:lnSpc>
              <a:spcBef>
                <a:spcPts val="0"/>
              </a:spcBef>
              <a:spcAft>
                <a:spcPts val="0"/>
              </a:spcAft>
              <a:buNone/>
              <a:defRPr sz="900"/>
            </a:lvl9pPr>
          </a:lstStyle>
          <a:p>
            <a:pPr lvl="0"/>
            <a:r>
              <a:rPr lang="de-DE" dirty="0"/>
              <a:t>Mastertextformat bearbeiten</a:t>
            </a:r>
          </a:p>
        </p:txBody>
      </p:sp>
      <p:sp>
        <p:nvSpPr>
          <p:cNvPr id="14" name="Bildplatzhalter 2">
            <a:extLst>
              <a:ext uri="{FF2B5EF4-FFF2-40B4-BE49-F238E27FC236}">
                <a16:creationId xmlns:a16="http://schemas.microsoft.com/office/drawing/2014/main" id="{E02D2D9C-191A-4E4A-8005-471BF7593FD1}"/>
              </a:ext>
            </a:extLst>
          </p:cNvPr>
          <p:cNvSpPr>
            <a:spLocks noGrp="1"/>
          </p:cNvSpPr>
          <p:nvPr>
            <p:ph type="pic" sz="quarter" idx="20" hasCustomPrompt="1"/>
          </p:nvPr>
        </p:nvSpPr>
        <p:spPr bwMode="gray">
          <a:xfrm>
            <a:off x="8976000" y="1989000"/>
            <a:ext cx="2592000" cy="3311525"/>
          </a:xfrm>
        </p:spPr>
        <p:txBody>
          <a:bodyPr lIns="1512000" tIns="0" rIns="0" bIns="0" anchor="ctr"/>
          <a:lstStyle>
            <a:lvl1pPr marL="0" indent="0" algn="l">
              <a:spcBef>
                <a:spcPts val="0"/>
              </a:spcBef>
              <a:spcAft>
                <a:spcPts val="0"/>
              </a:spcAft>
              <a:buNone/>
              <a:defRPr sz="800" b="0"/>
            </a:lvl1pPr>
            <a:lvl2pPr marL="0" indent="0" algn="ctr">
              <a:spcBef>
                <a:spcPts val="0"/>
              </a:spcBef>
              <a:spcAft>
                <a:spcPts val="0"/>
              </a:spcAft>
              <a:buFont typeface="Arial" panose="020B0604020202020204" pitchFamily="34" charset="0"/>
              <a:buNone/>
              <a:defRPr sz="1200" b="0"/>
            </a:lvl2pPr>
            <a:lvl3pPr marL="0" indent="0" algn="ctr">
              <a:spcBef>
                <a:spcPts val="0"/>
              </a:spcBef>
              <a:spcAft>
                <a:spcPts val="0"/>
              </a:spcAft>
              <a:buFont typeface="Arial" panose="020B0604020202020204" pitchFamily="34" charset="0"/>
              <a:buNone/>
              <a:defRPr sz="1200" b="0"/>
            </a:lvl3pPr>
            <a:lvl4pPr marL="0" indent="0" algn="ctr">
              <a:spcBef>
                <a:spcPts val="0"/>
              </a:spcBef>
              <a:spcAft>
                <a:spcPts val="0"/>
              </a:spcAft>
              <a:buNone/>
              <a:defRPr sz="1200" b="0"/>
            </a:lvl4pPr>
            <a:lvl5pPr marL="0" indent="0" algn="ctr">
              <a:spcBef>
                <a:spcPts val="0"/>
              </a:spcBef>
              <a:spcAft>
                <a:spcPts val="0"/>
              </a:spcAft>
              <a:buNone/>
              <a:defRPr sz="1200" b="0"/>
            </a:lvl5pPr>
            <a:lvl6pPr marL="0" indent="0" algn="ctr">
              <a:spcBef>
                <a:spcPts val="0"/>
              </a:spcBef>
              <a:spcAft>
                <a:spcPts val="0"/>
              </a:spcAft>
              <a:buNone/>
              <a:defRPr sz="1200" b="0"/>
            </a:lvl6pPr>
            <a:lvl7pPr marL="0" indent="0" algn="ctr">
              <a:spcBef>
                <a:spcPts val="0"/>
              </a:spcBef>
              <a:spcAft>
                <a:spcPts val="0"/>
              </a:spcAft>
              <a:buNone/>
              <a:defRPr sz="1200" b="0"/>
            </a:lvl7pPr>
            <a:lvl8pPr marL="0" indent="0" algn="ctr">
              <a:spcBef>
                <a:spcPts val="0"/>
              </a:spcBef>
              <a:spcAft>
                <a:spcPts val="0"/>
              </a:spcAft>
              <a:buNone/>
              <a:defRPr sz="1200" b="0"/>
            </a:lvl8pPr>
            <a:lvl9pPr marL="0" indent="0" algn="ctr">
              <a:spcBef>
                <a:spcPts val="0"/>
              </a:spcBef>
              <a:spcAft>
                <a:spcPts val="0"/>
              </a:spcAft>
              <a:buNone/>
              <a:defRPr sz="1200" b="0"/>
            </a:lvl9pPr>
          </a:lstStyle>
          <a:p>
            <a:pPr lvl="0"/>
            <a:r>
              <a:rPr lang="de-DE" dirty="0"/>
              <a:t>Bild durch Klick </a:t>
            </a:r>
            <a:br>
              <a:rPr lang="de-DE" dirty="0"/>
            </a:br>
            <a:r>
              <a:rPr lang="de-DE" dirty="0"/>
              <a:t>auf Symbol hinzufügen </a:t>
            </a:r>
          </a:p>
        </p:txBody>
      </p:sp>
      <p:sp>
        <p:nvSpPr>
          <p:cNvPr id="5" name="Date Placeholder 4">
            <a:extLst>
              <a:ext uri="{FF2B5EF4-FFF2-40B4-BE49-F238E27FC236}">
                <a16:creationId xmlns:a16="http://schemas.microsoft.com/office/drawing/2014/main" id="{C90C50FA-C4B1-420A-B1CF-D156EECB2AA9}"/>
              </a:ext>
            </a:extLst>
          </p:cNvPr>
          <p:cNvSpPr>
            <a:spLocks noGrp="1"/>
          </p:cNvSpPr>
          <p:nvPr>
            <p:ph type="dt" sz="half" idx="21"/>
          </p:nvPr>
        </p:nvSpPr>
        <p:spPr bwMode="gray"/>
        <p:txBody>
          <a:bodyPr/>
          <a:lstStyle/>
          <a:p>
            <a:fld id="{4A76DF72-5573-43FE-925E-A94E072FF793}" type="datetime1">
              <a:rPr lang="de-DE" smtClean="0"/>
              <a:t>29.09.25</a:t>
            </a:fld>
            <a:endParaRPr lang="de-DE" dirty="0"/>
          </a:p>
        </p:txBody>
      </p:sp>
      <p:sp>
        <p:nvSpPr>
          <p:cNvPr id="7" name="Footer Placeholder 6">
            <a:extLst>
              <a:ext uri="{FF2B5EF4-FFF2-40B4-BE49-F238E27FC236}">
                <a16:creationId xmlns:a16="http://schemas.microsoft.com/office/drawing/2014/main" id="{75297CD2-A9A8-47AD-987C-1BD340110733}"/>
              </a:ext>
            </a:extLst>
          </p:cNvPr>
          <p:cNvSpPr>
            <a:spLocks noGrp="1"/>
          </p:cNvSpPr>
          <p:nvPr>
            <p:ph type="ftr" sz="quarter" idx="22"/>
          </p:nvPr>
        </p:nvSpPr>
        <p:spPr bwMode="gray"/>
        <p:txBody>
          <a:bodyPr/>
          <a:lstStyle/>
          <a:p>
            <a:r>
              <a:rPr lang="de-DE" dirty="0"/>
              <a:t>TITEL DER PRÄSENTATION | TITEL VORNAME NAME</a:t>
            </a:r>
          </a:p>
        </p:txBody>
      </p:sp>
      <p:sp>
        <p:nvSpPr>
          <p:cNvPr id="8" name="Slide Number Placeholder 7">
            <a:extLst>
              <a:ext uri="{FF2B5EF4-FFF2-40B4-BE49-F238E27FC236}">
                <a16:creationId xmlns:a16="http://schemas.microsoft.com/office/drawing/2014/main" id="{6169AE45-19B6-4E82-9C25-68DBBF868CD3}"/>
              </a:ext>
            </a:extLst>
          </p:cNvPr>
          <p:cNvSpPr>
            <a:spLocks noGrp="1"/>
          </p:cNvSpPr>
          <p:nvPr>
            <p:ph type="sldNum" sz="quarter" idx="23"/>
          </p:nvPr>
        </p:nvSpPr>
        <p:spPr bwMode="gray"/>
        <p:txBody>
          <a:bodyPr/>
          <a:lstStyle/>
          <a:p>
            <a:fld id="{09E9C37E-8A19-4E30-BE2B-5A966AD23C7A}" type="slidenum">
              <a:rPr lang="de-DE" smtClean="0"/>
              <a:pPr/>
              <a:t>‹Nr.›</a:t>
            </a:fld>
            <a:endParaRPr lang="de-DE" dirty="0"/>
          </a:p>
        </p:txBody>
      </p:sp>
      <p:sp>
        <p:nvSpPr>
          <p:cNvPr id="15" name="Content Placeholder 14">
            <a:extLst>
              <a:ext uri="{FF2B5EF4-FFF2-40B4-BE49-F238E27FC236}">
                <a16:creationId xmlns:a16="http://schemas.microsoft.com/office/drawing/2014/main" id="{30164BEE-1EB6-47AB-944C-FB20F3D92769}"/>
              </a:ext>
            </a:extLst>
          </p:cNvPr>
          <p:cNvSpPr>
            <a:spLocks noGrp="1"/>
          </p:cNvSpPr>
          <p:nvPr>
            <p:ph sz="quarter" idx="24" hasCustomPrompt="1"/>
          </p:nvPr>
        </p:nvSpPr>
        <p:spPr bwMode="gray">
          <a:xfrm>
            <a:off x="336550" y="1989138"/>
            <a:ext cx="5472113" cy="3743325"/>
          </a:xfrm>
        </p:spPr>
        <p:txBody>
          <a:bodyPr lIns="144000"/>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Tree>
    <p:extLst>
      <p:ext uri="{BB962C8B-B14F-4D97-AF65-F5344CB8AC3E}">
        <p14:creationId xmlns:p14="http://schemas.microsoft.com/office/powerpoint/2010/main" val="3786967508"/>
      </p:ext>
    </p:extLst>
  </p:cSld>
  <p:clrMapOvr>
    <a:masterClrMapping/>
  </p:clrMapOvr>
  <p:extLst>
    <p:ext uri="{DCECCB84-F9BA-43D5-87BE-67443E8EF086}">
      <p15:sldGuideLst xmlns:p15="http://schemas.microsoft.com/office/powerpoint/2012/main">
        <p15:guide id="1" orient="horz" pos="1253">
          <p15:clr>
            <a:srgbClr val="F26B43"/>
          </p15:clr>
        </p15:guide>
        <p15:guide id="2" pos="3840">
          <p15:clr>
            <a:srgbClr val="F26B43"/>
          </p15:clr>
        </p15:guide>
        <p15:guide id="3" pos="3659">
          <p15:clr>
            <a:srgbClr val="F26B43"/>
          </p15:clr>
        </p15:guide>
        <p15:guide id="4" pos="5473">
          <p15:clr>
            <a:srgbClr val="F26B43"/>
          </p15:clr>
        </p15:guide>
        <p15:guide id="5" pos="5654">
          <p15:clr>
            <a:srgbClr val="F26B43"/>
          </p15:clr>
        </p15:guide>
        <p15:guide id="6" orient="horz" pos="482">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Zwei Texte | zwei Bilde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872F27A-3AD7-4124-8A5D-9C60358B1208}"/>
              </a:ext>
            </a:extLst>
          </p:cNvPr>
          <p:cNvGraphicFramePr>
            <a:graphicFrameLocks noChangeAspect="1"/>
          </p:cNvGraphicFramePr>
          <p:nvPr userDrawn="1">
            <p:custDataLst>
              <p:tags r:id="rId1"/>
            </p:custDataLst>
            <p:extLst>
              <p:ext uri="{D42A27DB-BD31-4B8C-83A1-F6EECF244321}">
                <p14:modId xmlns:p14="http://schemas.microsoft.com/office/powerpoint/2010/main" val="268889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56F41336-991E-4EF1-80C4-C55A7EE615CC}"/>
              </a:ext>
            </a:extLst>
          </p:cNvPr>
          <p:cNvSpPr>
            <a:spLocks noGrp="1"/>
          </p:cNvSpPr>
          <p:nvPr>
            <p:ph type="title"/>
          </p:nvPr>
        </p:nvSpPr>
        <p:spPr bwMode="gray"/>
        <p:txBody>
          <a:bodyPr vert="horz" lIns="144000"/>
          <a:lstStyle/>
          <a:p>
            <a:r>
              <a:rPr lang="de-DE" dirty="0"/>
              <a:t>Mastertitelformat bearbeiten</a:t>
            </a:r>
          </a:p>
        </p:txBody>
      </p:sp>
      <p:sp>
        <p:nvSpPr>
          <p:cNvPr id="11" name="Textplatzhalter 11">
            <a:extLst>
              <a:ext uri="{FF2B5EF4-FFF2-40B4-BE49-F238E27FC236}">
                <a16:creationId xmlns:a16="http://schemas.microsoft.com/office/drawing/2014/main" id="{5C699F27-BF2B-43BB-BEAA-FE9731733924}"/>
              </a:ext>
            </a:extLst>
          </p:cNvPr>
          <p:cNvSpPr>
            <a:spLocks noGrp="1"/>
          </p:cNvSpPr>
          <p:nvPr>
            <p:ph type="body" sz="quarter" idx="14"/>
          </p:nvPr>
        </p:nvSpPr>
        <p:spPr bwMode="gray">
          <a:xfrm>
            <a:off x="336000" y="5445000"/>
            <a:ext cx="5472000" cy="288000"/>
          </a:xfrm>
        </p:spPr>
        <p:txBody>
          <a:bodyPr lIns="144000" tIns="0" rIns="0">
            <a:noAutofit/>
          </a:bodyPr>
          <a:lstStyle>
            <a:lvl1pPr marL="0" indent="0">
              <a:lnSpc>
                <a:spcPct val="100000"/>
              </a:lnSpc>
              <a:spcBef>
                <a:spcPts val="0"/>
              </a:spcBef>
              <a:spcAft>
                <a:spcPts val="0"/>
              </a:spcAft>
              <a:buFont typeface="Arial" panose="020B0604020202020204" pitchFamily="34" charset="0"/>
              <a:buNone/>
              <a:defRPr sz="900"/>
            </a:lvl1pPr>
            <a:lvl2pPr marL="0" indent="0">
              <a:lnSpc>
                <a:spcPct val="100000"/>
              </a:lnSpc>
              <a:spcBef>
                <a:spcPts val="0"/>
              </a:spcBef>
              <a:spcAft>
                <a:spcPts val="0"/>
              </a:spcAft>
              <a:buNone/>
              <a:defRPr sz="900"/>
            </a:lvl2pPr>
            <a:lvl3pPr marL="0" indent="0">
              <a:lnSpc>
                <a:spcPct val="100000"/>
              </a:lnSpc>
              <a:spcBef>
                <a:spcPts val="0"/>
              </a:spcBef>
              <a:spcAft>
                <a:spcPts val="0"/>
              </a:spcAft>
              <a:buNone/>
              <a:defRPr sz="900" b="0"/>
            </a:lvl3pPr>
            <a:lvl4pPr marL="0" indent="0">
              <a:lnSpc>
                <a:spcPct val="100000"/>
              </a:lnSpc>
              <a:spcBef>
                <a:spcPts val="0"/>
              </a:spcBef>
              <a:spcAft>
                <a:spcPts val="0"/>
              </a:spcAft>
              <a:buNone/>
              <a:defRPr sz="900"/>
            </a:lvl4pPr>
            <a:lvl5pPr marL="0" indent="0">
              <a:lnSpc>
                <a:spcPct val="100000"/>
              </a:lnSpc>
              <a:spcBef>
                <a:spcPts val="0"/>
              </a:spcBef>
              <a:spcAft>
                <a:spcPts val="0"/>
              </a:spcAft>
              <a:buNone/>
              <a:defRPr sz="900"/>
            </a:lvl5pPr>
            <a:lvl6pPr marL="0" indent="0">
              <a:lnSpc>
                <a:spcPct val="100000"/>
              </a:lnSpc>
              <a:spcBef>
                <a:spcPts val="0"/>
              </a:spcBef>
              <a:spcAft>
                <a:spcPts val="0"/>
              </a:spcAft>
              <a:buNone/>
              <a:defRPr sz="900"/>
            </a:lvl6pPr>
            <a:lvl7pPr marL="0" indent="0">
              <a:lnSpc>
                <a:spcPct val="100000"/>
              </a:lnSpc>
              <a:spcBef>
                <a:spcPts val="0"/>
              </a:spcBef>
              <a:spcAft>
                <a:spcPts val="0"/>
              </a:spcAft>
              <a:buNone/>
              <a:defRPr sz="900"/>
            </a:lvl7pPr>
            <a:lvl8pPr marL="0" indent="0">
              <a:lnSpc>
                <a:spcPct val="100000"/>
              </a:lnSpc>
              <a:spcBef>
                <a:spcPts val="0"/>
              </a:spcBef>
              <a:spcAft>
                <a:spcPts val="0"/>
              </a:spcAft>
              <a:buNone/>
              <a:defRPr sz="900"/>
            </a:lvl8pPr>
            <a:lvl9pPr marL="0" indent="0">
              <a:lnSpc>
                <a:spcPct val="100000"/>
              </a:lnSpc>
              <a:spcBef>
                <a:spcPts val="0"/>
              </a:spcBef>
              <a:spcAft>
                <a:spcPts val="0"/>
              </a:spcAft>
              <a:buNone/>
              <a:defRPr sz="900"/>
            </a:lvl9pPr>
          </a:lstStyle>
          <a:p>
            <a:pPr lvl="0"/>
            <a:r>
              <a:rPr lang="de-DE" dirty="0"/>
              <a:t>Mastertextformat bearbeiten</a:t>
            </a:r>
          </a:p>
        </p:txBody>
      </p:sp>
      <p:sp>
        <p:nvSpPr>
          <p:cNvPr id="13" name="Bildplatzhalter 2">
            <a:extLst>
              <a:ext uri="{FF2B5EF4-FFF2-40B4-BE49-F238E27FC236}">
                <a16:creationId xmlns:a16="http://schemas.microsoft.com/office/drawing/2014/main" id="{3A242B68-DC9E-4243-BA66-D7B2B811AEF1}"/>
              </a:ext>
            </a:extLst>
          </p:cNvPr>
          <p:cNvSpPr>
            <a:spLocks noGrp="1"/>
          </p:cNvSpPr>
          <p:nvPr>
            <p:ph type="pic" sz="quarter" idx="15" hasCustomPrompt="1"/>
          </p:nvPr>
        </p:nvSpPr>
        <p:spPr bwMode="gray">
          <a:xfrm>
            <a:off x="336000" y="3212999"/>
            <a:ext cx="5472000" cy="2088000"/>
          </a:xfrm>
        </p:spPr>
        <p:txBody>
          <a:bodyPr bIns="936000" anchor="ctr"/>
          <a:lstStyle>
            <a:lvl1pPr marL="0" indent="0" algn="ctr">
              <a:spcBef>
                <a:spcPts val="0"/>
              </a:spcBef>
              <a:spcAft>
                <a:spcPts val="0"/>
              </a:spcAft>
              <a:buNone/>
              <a:defRPr sz="1200" b="0"/>
            </a:lvl1pPr>
            <a:lvl2pPr marL="0" indent="0" algn="ctr">
              <a:spcBef>
                <a:spcPts val="0"/>
              </a:spcBef>
              <a:spcAft>
                <a:spcPts val="0"/>
              </a:spcAft>
              <a:buFont typeface="Arial" panose="020B0604020202020204" pitchFamily="34" charset="0"/>
              <a:buNone/>
              <a:defRPr sz="1200" b="0"/>
            </a:lvl2pPr>
            <a:lvl3pPr marL="0" indent="0" algn="ctr">
              <a:spcBef>
                <a:spcPts val="0"/>
              </a:spcBef>
              <a:spcAft>
                <a:spcPts val="0"/>
              </a:spcAft>
              <a:buFont typeface="Arial" panose="020B0604020202020204" pitchFamily="34" charset="0"/>
              <a:buNone/>
              <a:defRPr sz="1200" b="0"/>
            </a:lvl3pPr>
            <a:lvl4pPr marL="0" indent="0" algn="ctr">
              <a:spcBef>
                <a:spcPts val="0"/>
              </a:spcBef>
              <a:spcAft>
                <a:spcPts val="0"/>
              </a:spcAft>
              <a:buNone/>
              <a:defRPr sz="1200" b="0"/>
            </a:lvl4pPr>
            <a:lvl5pPr marL="0" indent="0" algn="ctr">
              <a:spcBef>
                <a:spcPts val="0"/>
              </a:spcBef>
              <a:spcAft>
                <a:spcPts val="0"/>
              </a:spcAft>
              <a:buNone/>
              <a:defRPr sz="1200" b="0"/>
            </a:lvl5pPr>
            <a:lvl6pPr marL="0" indent="0" algn="ctr">
              <a:spcBef>
                <a:spcPts val="0"/>
              </a:spcBef>
              <a:spcAft>
                <a:spcPts val="0"/>
              </a:spcAft>
              <a:buNone/>
              <a:defRPr sz="1200" b="0"/>
            </a:lvl6pPr>
            <a:lvl7pPr marL="0" indent="0" algn="ctr">
              <a:spcBef>
                <a:spcPts val="0"/>
              </a:spcBef>
              <a:spcAft>
                <a:spcPts val="0"/>
              </a:spcAft>
              <a:buNone/>
              <a:defRPr sz="1200" b="0"/>
            </a:lvl7pPr>
            <a:lvl8pPr marL="0" indent="0" algn="ctr">
              <a:spcBef>
                <a:spcPts val="0"/>
              </a:spcBef>
              <a:spcAft>
                <a:spcPts val="0"/>
              </a:spcAft>
              <a:buNone/>
              <a:defRPr sz="1200" b="0"/>
            </a:lvl8pPr>
            <a:lvl9pPr marL="0" indent="0" algn="ctr">
              <a:spcBef>
                <a:spcPts val="0"/>
              </a:spcBef>
              <a:spcAft>
                <a:spcPts val="0"/>
              </a:spcAft>
              <a:buNone/>
              <a:defRPr sz="1200" b="0"/>
            </a:lvl9pPr>
          </a:lstStyle>
          <a:p>
            <a:pPr lvl="0"/>
            <a:r>
              <a:rPr lang="de-DE" dirty="0"/>
              <a:t>Bild durch Klick </a:t>
            </a:r>
            <a:br>
              <a:rPr lang="de-DE" dirty="0"/>
            </a:br>
            <a:r>
              <a:rPr lang="de-DE" dirty="0"/>
              <a:t>auf Symbol hinzufügen </a:t>
            </a:r>
          </a:p>
        </p:txBody>
      </p:sp>
      <p:sp>
        <p:nvSpPr>
          <p:cNvPr id="14" name="Textplatzhalter 11">
            <a:extLst>
              <a:ext uri="{FF2B5EF4-FFF2-40B4-BE49-F238E27FC236}">
                <a16:creationId xmlns:a16="http://schemas.microsoft.com/office/drawing/2014/main" id="{0C3C00DF-FFCD-46EB-87C0-EE646374B61D}"/>
              </a:ext>
            </a:extLst>
          </p:cNvPr>
          <p:cNvSpPr>
            <a:spLocks noGrp="1"/>
          </p:cNvSpPr>
          <p:nvPr>
            <p:ph type="body" sz="quarter" idx="20"/>
          </p:nvPr>
        </p:nvSpPr>
        <p:spPr bwMode="gray">
          <a:xfrm>
            <a:off x="6096000" y="5445000"/>
            <a:ext cx="5472000" cy="288000"/>
          </a:xfrm>
        </p:spPr>
        <p:txBody>
          <a:bodyPr lIns="144000" tIns="0" rIns="0">
            <a:noAutofit/>
          </a:bodyPr>
          <a:lstStyle>
            <a:lvl1pPr marL="0" indent="0">
              <a:lnSpc>
                <a:spcPct val="100000"/>
              </a:lnSpc>
              <a:spcBef>
                <a:spcPts val="0"/>
              </a:spcBef>
              <a:spcAft>
                <a:spcPts val="0"/>
              </a:spcAft>
              <a:buFont typeface="Arial" panose="020B0604020202020204" pitchFamily="34" charset="0"/>
              <a:buNone/>
              <a:defRPr sz="900"/>
            </a:lvl1pPr>
            <a:lvl2pPr marL="0" indent="0">
              <a:lnSpc>
                <a:spcPct val="100000"/>
              </a:lnSpc>
              <a:spcBef>
                <a:spcPts val="0"/>
              </a:spcBef>
              <a:spcAft>
                <a:spcPts val="0"/>
              </a:spcAft>
              <a:buNone/>
              <a:defRPr sz="900"/>
            </a:lvl2pPr>
            <a:lvl3pPr marL="0" indent="0">
              <a:lnSpc>
                <a:spcPct val="100000"/>
              </a:lnSpc>
              <a:spcBef>
                <a:spcPts val="0"/>
              </a:spcBef>
              <a:spcAft>
                <a:spcPts val="0"/>
              </a:spcAft>
              <a:buNone/>
              <a:defRPr sz="900" b="0"/>
            </a:lvl3pPr>
            <a:lvl4pPr marL="0" indent="0">
              <a:lnSpc>
                <a:spcPct val="100000"/>
              </a:lnSpc>
              <a:spcBef>
                <a:spcPts val="0"/>
              </a:spcBef>
              <a:spcAft>
                <a:spcPts val="0"/>
              </a:spcAft>
              <a:buNone/>
              <a:defRPr sz="900"/>
            </a:lvl4pPr>
            <a:lvl5pPr marL="0" indent="0">
              <a:lnSpc>
                <a:spcPct val="100000"/>
              </a:lnSpc>
              <a:spcBef>
                <a:spcPts val="0"/>
              </a:spcBef>
              <a:spcAft>
                <a:spcPts val="0"/>
              </a:spcAft>
              <a:buNone/>
              <a:defRPr sz="900"/>
            </a:lvl5pPr>
            <a:lvl6pPr marL="0" indent="0">
              <a:lnSpc>
                <a:spcPct val="100000"/>
              </a:lnSpc>
              <a:spcBef>
                <a:spcPts val="0"/>
              </a:spcBef>
              <a:spcAft>
                <a:spcPts val="0"/>
              </a:spcAft>
              <a:buNone/>
              <a:defRPr sz="900"/>
            </a:lvl6pPr>
            <a:lvl7pPr marL="0" indent="0">
              <a:lnSpc>
                <a:spcPct val="100000"/>
              </a:lnSpc>
              <a:spcBef>
                <a:spcPts val="0"/>
              </a:spcBef>
              <a:spcAft>
                <a:spcPts val="0"/>
              </a:spcAft>
              <a:buNone/>
              <a:defRPr sz="900"/>
            </a:lvl7pPr>
            <a:lvl8pPr marL="0" indent="0">
              <a:lnSpc>
                <a:spcPct val="100000"/>
              </a:lnSpc>
              <a:spcBef>
                <a:spcPts val="0"/>
              </a:spcBef>
              <a:spcAft>
                <a:spcPts val="0"/>
              </a:spcAft>
              <a:buNone/>
              <a:defRPr sz="900"/>
            </a:lvl8pPr>
            <a:lvl9pPr marL="0" indent="0">
              <a:lnSpc>
                <a:spcPct val="100000"/>
              </a:lnSpc>
              <a:spcBef>
                <a:spcPts val="0"/>
              </a:spcBef>
              <a:spcAft>
                <a:spcPts val="0"/>
              </a:spcAft>
              <a:buNone/>
              <a:defRPr sz="900"/>
            </a:lvl9pPr>
          </a:lstStyle>
          <a:p>
            <a:pPr lvl="0"/>
            <a:r>
              <a:rPr lang="de-DE" dirty="0"/>
              <a:t>Mastertextformat bearbeiten</a:t>
            </a:r>
          </a:p>
        </p:txBody>
      </p:sp>
      <p:sp>
        <p:nvSpPr>
          <p:cNvPr id="15" name="Bildplatzhalter 2">
            <a:extLst>
              <a:ext uri="{FF2B5EF4-FFF2-40B4-BE49-F238E27FC236}">
                <a16:creationId xmlns:a16="http://schemas.microsoft.com/office/drawing/2014/main" id="{71D0CFB9-A77C-41F0-9D20-CA84E7F57E17}"/>
              </a:ext>
            </a:extLst>
          </p:cNvPr>
          <p:cNvSpPr>
            <a:spLocks noGrp="1"/>
          </p:cNvSpPr>
          <p:nvPr>
            <p:ph type="pic" sz="quarter" idx="21" hasCustomPrompt="1"/>
          </p:nvPr>
        </p:nvSpPr>
        <p:spPr bwMode="gray">
          <a:xfrm>
            <a:off x="6096000" y="3213000"/>
            <a:ext cx="5472000" cy="2088000"/>
          </a:xfrm>
        </p:spPr>
        <p:txBody>
          <a:bodyPr bIns="936000" anchor="ctr"/>
          <a:lstStyle>
            <a:lvl1pPr marL="0" indent="0" algn="ctr">
              <a:spcBef>
                <a:spcPts val="0"/>
              </a:spcBef>
              <a:spcAft>
                <a:spcPts val="0"/>
              </a:spcAft>
              <a:buNone/>
              <a:defRPr sz="1200" b="0"/>
            </a:lvl1pPr>
            <a:lvl2pPr marL="0" indent="0" algn="ctr">
              <a:spcBef>
                <a:spcPts val="0"/>
              </a:spcBef>
              <a:spcAft>
                <a:spcPts val="0"/>
              </a:spcAft>
              <a:buFont typeface="Arial" panose="020B0604020202020204" pitchFamily="34" charset="0"/>
              <a:buNone/>
              <a:defRPr sz="1200" b="0"/>
            </a:lvl2pPr>
            <a:lvl3pPr marL="0" indent="0" algn="ctr">
              <a:spcBef>
                <a:spcPts val="0"/>
              </a:spcBef>
              <a:spcAft>
                <a:spcPts val="0"/>
              </a:spcAft>
              <a:buFont typeface="Arial" panose="020B0604020202020204" pitchFamily="34" charset="0"/>
              <a:buNone/>
              <a:defRPr sz="1200" b="0"/>
            </a:lvl3pPr>
            <a:lvl4pPr marL="0" indent="0" algn="ctr">
              <a:spcBef>
                <a:spcPts val="0"/>
              </a:spcBef>
              <a:spcAft>
                <a:spcPts val="0"/>
              </a:spcAft>
              <a:buNone/>
              <a:defRPr sz="1200" b="0"/>
            </a:lvl4pPr>
            <a:lvl5pPr marL="0" indent="0" algn="ctr">
              <a:spcBef>
                <a:spcPts val="0"/>
              </a:spcBef>
              <a:spcAft>
                <a:spcPts val="0"/>
              </a:spcAft>
              <a:buNone/>
              <a:defRPr sz="1200" b="0"/>
            </a:lvl5pPr>
            <a:lvl6pPr marL="0" indent="0" algn="ctr">
              <a:spcBef>
                <a:spcPts val="0"/>
              </a:spcBef>
              <a:spcAft>
                <a:spcPts val="0"/>
              </a:spcAft>
              <a:buNone/>
              <a:defRPr sz="1200" b="0"/>
            </a:lvl6pPr>
            <a:lvl7pPr marL="0" indent="0" algn="ctr">
              <a:spcBef>
                <a:spcPts val="0"/>
              </a:spcBef>
              <a:spcAft>
                <a:spcPts val="0"/>
              </a:spcAft>
              <a:buNone/>
              <a:defRPr sz="1200" b="0"/>
            </a:lvl7pPr>
            <a:lvl8pPr marL="0" indent="0" algn="ctr">
              <a:spcBef>
                <a:spcPts val="0"/>
              </a:spcBef>
              <a:spcAft>
                <a:spcPts val="0"/>
              </a:spcAft>
              <a:buNone/>
              <a:defRPr sz="1200" b="0"/>
            </a:lvl8pPr>
            <a:lvl9pPr marL="0" indent="0" algn="ctr">
              <a:spcBef>
                <a:spcPts val="0"/>
              </a:spcBef>
              <a:spcAft>
                <a:spcPts val="0"/>
              </a:spcAft>
              <a:buNone/>
              <a:defRPr sz="1200" b="0"/>
            </a:lvl9pPr>
          </a:lstStyle>
          <a:p>
            <a:pPr lvl="0"/>
            <a:r>
              <a:rPr lang="de-DE" dirty="0"/>
              <a:t>Bild durch Klick </a:t>
            </a:r>
            <a:br>
              <a:rPr lang="de-DE" dirty="0"/>
            </a:br>
            <a:r>
              <a:rPr lang="de-DE" dirty="0"/>
              <a:t>auf Symbol hinzufügen </a:t>
            </a:r>
          </a:p>
        </p:txBody>
      </p:sp>
      <p:sp>
        <p:nvSpPr>
          <p:cNvPr id="5" name="Date Placeholder 4">
            <a:extLst>
              <a:ext uri="{FF2B5EF4-FFF2-40B4-BE49-F238E27FC236}">
                <a16:creationId xmlns:a16="http://schemas.microsoft.com/office/drawing/2014/main" id="{2B7F8848-C81C-41D2-873F-ADF1D23F9886}"/>
              </a:ext>
            </a:extLst>
          </p:cNvPr>
          <p:cNvSpPr>
            <a:spLocks noGrp="1"/>
          </p:cNvSpPr>
          <p:nvPr>
            <p:ph type="dt" sz="half" idx="22"/>
          </p:nvPr>
        </p:nvSpPr>
        <p:spPr bwMode="gray"/>
        <p:txBody>
          <a:bodyPr/>
          <a:lstStyle/>
          <a:p>
            <a:fld id="{2CB2E7B8-69CA-4BB2-8BED-53A5285BA2D5}" type="datetime1">
              <a:rPr lang="de-DE" smtClean="0"/>
              <a:t>29.09.25</a:t>
            </a:fld>
            <a:endParaRPr lang="de-DE" dirty="0"/>
          </a:p>
        </p:txBody>
      </p:sp>
      <p:sp>
        <p:nvSpPr>
          <p:cNvPr id="7" name="Footer Placeholder 6">
            <a:extLst>
              <a:ext uri="{FF2B5EF4-FFF2-40B4-BE49-F238E27FC236}">
                <a16:creationId xmlns:a16="http://schemas.microsoft.com/office/drawing/2014/main" id="{A709F83B-5F7E-484B-8B5A-E9554B1AECF6}"/>
              </a:ext>
            </a:extLst>
          </p:cNvPr>
          <p:cNvSpPr>
            <a:spLocks noGrp="1"/>
          </p:cNvSpPr>
          <p:nvPr>
            <p:ph type="ftr" sz="quarter" idx="23"/>
          </p:nvPr>
        </p:nvSpPr>
        <p:spPr bwMode="gray"/>
        <p:txBody>
          <a:bodyPr/>
          <a:lstStyle/>
          <a:p>
            <a:r>
              <a:rPr lang="de-DE" dirty="0"/>
              <a:t>TITEL DER PRÄSENTATION | TITEL VORNAME NAME</a:t>
            </a:r>
          </a:p>
        </p:txBody>
      </p:sp>
      <p:sp>
        <p:nvSpPr>
          <p:cNvPr id="8" name="Slide Number Placeholder 7">
            <a:extLst>
              <a:ext uri="{FF2B5EF4-FFF2-40B4-BE49-F238E27FC236}">
                <a16:creationId xmlns:a16="http://schemas.microsoft.com/office/drawing/2014/main" id="{FB30984C-911D-4ABD-B7EB-3FCED2B5D00C}"/>
              </a:ext>
            </a:extLst>
          </p:cNvPr>
          <p:cNvSpPr>
            <a:spLocks noGrp="1"/>
          </p:cNvSpPr>
          <p:nvPr>
            <p:ph type="sldNum" sz="quarter" idx="24"/>
          </p:nvPr>
        </p:nvSpPr>
        <p:spPr bwMode="gray"/>
        <p:txBody>
          <a:bodyPr/>
          <a:lstStyle/>
          <a:p>
            <a:fld id="{09E9C37E-8A19-4E30-BE2B-5A966AD23C7A}" type="slidenum">
              <a:rPr lang="de-DE" smtClean="0"/>
              <a:pPr/>
              <a:t>‹Nr.›</a:t>
            </a:fld>
            <a:endParaRPr lang="de-DE" dirty="0"/>
          </a:p>
        </p:txBody>
      </p:sp>
      <p:sp>
        <p:nvSpPr>
          <p:cNvPr id="3" name="Text Placeholder 2">
            <a:extLst>
              <a:ext uri="{FF2B5EF4-FFF2-40B4-BE49-F238E27FC236}">
                <a16:creationId xmlns:a16="http://schemas.microsoft.com/office/drawing/2014/main" id="{9624EA16-752E-487F-A4FE-730C1FBBC27C}"/>
              </a:ext>
            </a:extLst>
          </p:cNvPr>
          <p:cNvSpPr>
            <a:spLocks noGrp="1"/>
          </p:cNvSpPr>
          <p:nvPr>
            <p:ph type="body" sz="quarter" idx="25" hasCustomPrompt="1"/>
          </p:nvPr>
        </p:nvSpPr>
        <p:spPr bwMode="gray">
          <a:xfrm>
            <a:off x="336000" y="1989000"/>
            <a:ext cx="5472113" cy="1080000"/>
          </a:xfrm>
        </p:spPr>
        <p:txBody>
          <a:bodyPr lIns="144000"/>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endParaRPr lang="de-DE" dirty="0"/>
          </a:p>
        </p:txBody>
      </p:sp>
      <p:sp>
        <p:nvSpPr>
          <p:cNvPr id="9" name="Text Placeholder 8">
            <a:extLst>
              <a:ext uri="{FF2B5EF4-FFF2-40B4-BE49-F238E27FC236}">
                <a16:creationId xmlns:a16="http://schemas.microsoft.com/office/drawing/2014/main" id="{1CDD2B5C-D591-4F2F-ACC7-0487513CA31B}"/>
              </a:ext>
            </a:extLst>
          </p:cNvPr>
          <p:cNvSpPr>
            <a:spLocks noGrp="1"/>
          </p:cNvSpPr>
          <p:nvPr>
            <p:ph type="body" sz="quarter" idx="26" hasCustomPrompt="1"/>
          </p:nvPr>
        </p:nvSpPr>
        <p:spPr bwMode="gray">
          <a:xfrm>
            <a:off x="6096000" y="1989000"/>
            <a:ext cx="5472113" cy="1079500"/>
          </a:xfrm>
        </p:spPr>
        <p:txBody>
          <a:bodyPr lIns="144000"/>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777445575"/>
      </p:ext>
    </p:extLst>
  </p:cSld>
  <p:clrMapOvr>
    <a:masterClrMapping/>
  </p:clrMapOvr>
  <p:extLst>
    <p:ext uri="{DCECCB84-F9BA-43D5-87BE-67443E8EF086}">
      <p15:sldGuideLst xmlns:p15="http://schemas.microsoft.com/office/powerpoint/2012/main">
        <p15:guide id="1" pos="3840">
          <p15:clr>
            <a:srgbClr val="F26B43"/>
          </p15:clr>
        </p15:guide>
        <p15:guide id="2" orient="horz" pos="1253">
          <p15:clr>
            <a:srgbClr val="F26B43"/>
          </p15:clr>
        </p15:guide>
        <p15:guide id="3" pos="3659">
          <p15:clr>
            <a:srgbClr val="F26B43"/>
          </p15:clr>
        </p15:guide>
        <p15:guide id="4" orient="horz" pos="482">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811B876-8A53-4F6B-B284-6D8C905DB20A}"/>
              </a:ext>
            </a:extLst>
          </p:cNvPr>
          <p:cNvGraphicFramePr>
            <a:graphicFrameLocks noChangeAspect="1"/>
          </p:cNvGraphicFramePr>
          <p:nvPr userDrawn="1">
            <p:custDataLst>
              <p:tags r:id="rId1"/>
            </p:custDataLst>
            <p:extLst>
              <p:ext uri="{D42A27DB-BD31-4B8C-83A1-F6EECF244321}">
                <p14:modId xmlns:p14="http://schemas.microsoft.com/office/powerpoint/2010/main" val="198000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56F41336-991E-4EF1-80C4-C55A7EE615CC}"/>
              </a:ext>
            </a:extLst>
          </p:cNvPr>
          <p:cNvSpPr>
            <a:spLocks noGrp="1"/>
          </p:cNvSpPr>
          <p:nvPr>
            <p:ph type="title"/>
          </p:nvPr>
        </p:nvSpPr>
        <p:spPr bwMode="gray"/>
        <p:txBody>
          <a:bodyPr vert="horz" lIns="144000"/>
          <a:lstStyle/>
          <a:p>
            <a:r>
              <a:rPr lang="de-DE" dirty="0"/>
              <a:t>Mastertitelformat bearbeiten</a:t>
            </a:r>
          </a:p>
        </p:txBody>
      </p:sp>
      <p:sp>
        <p:nvSpPr>
          <p:cNvPr id="5" name="Date Placeholder 4">
            <a:extLst>
              <a:ext uri="{FF2B5EF4-FFF2-40B4-BE49-F238E27FC236}">
                <a16:creationId xmlns:a16="http://schemas.microsoft.com/office/drawing/2014/main" id="{D5FFEE51-FE6C-4FAE-BB25-69C6C8105DCC}"/>
              </a:ext>
            </a:extLst>
          </p:cNvPr>
          <p:cNvSpPr>
            <a:spLocks noGrp="1"/>
          </p:cNvSpPr>
          <p:nvPr>
            <p:ph type="dt" sz="half" idx="10"/>
          </p:nvPr>
        </p:nvSpPr>
        <p:spPr bwMode="gray"/>
        <p:txBody>
          <a:bodyPr/>
          <a:lstStyle/>
          <a:p>
            <a:fld id="{0BE9D042-1E78-43F4-9F05-BFDE42727B97}" type="datetime1">
              <a:rPr lang="de-DE" smtClean="0"/>
              <a:t>29.09.25</a:t>
            </a:fld>
            <a:endParaRPr lang="de-DE" dirty="0"/>
          </a:p>
        </p:txBody>
      </p:sp>
      <p:sp>
        <p:nvSpPr>
          <p:cNvPr id="7" name="Footer Placeholder 6">
            <a:extLst>
              <a:ext uri="{FF2B5EF4-FFF2-40B4-BE49-F238E27FC236}">
                <a16:creationId xmlns:a16="http://schemas.microsoft.com/office/drawing/2014/main" id="{A5E7CF65-42A6-4D55-97B9-D17B96AC9EC3}"/>
              </a:ext>
            </a:extLst>
          </p:cNvPr>
          <p:cNvSpPr>
            <a:spLocks noGrp="1"/>
          </p:cNvSpPr>
          <p:nvPr>
            <p:ph type="ftr" sz="quarter" idx="11"/>
          </p:nvPr>
        </p:nvSpPr>
        <p:spPr bwMode="gray"/>
        <p:txBody>
          <a:bodyPr/>
          <a:lstStyle/>
          <a:p>
            <a:r>
              <a:rPr lang="de-DE" dirty="0"/>
              <a:t>TITEL DER PRÄSENTATION | TITEL VORNAME NAME</a:t>
            </a:r>
          </a:p>
        </p:txBody>
      </p:sp>
      <p:sp>
        <p:nvSpPr>
          <p:cNvPr id="8" name="Slide Number Placeholder 7">
            <a:extLst>
              <a:ext uri="{FF2B5EF4-FFF2-40B4-BE49-F238E27FC236}">
                <a16:creationId xmlns:a16="http://schemas.microsoft.com/office/drawing/2014/main" id="{2B84793E-9977-4E4D-8DDA-B83A949C0F56}"/>
              </a:ext>
            </a:extLst>
          </p:cNvPr>
          <p:cNvSpPr>
            <a:spLocks noGrp="1"/>
          </p:cNvSpPr>
          <p:nvPr>
            <p:ph type="sldNum" sz="quarter" idx="12"/>
          </p:nvPr>
        </p:nvSpPr>
        <p:spPr bwMode="gray"/>
        <p:txBody>
          <a:bodyPr/>
          <a:lstStyle/>
          <a:p>
            <a:fld id="{09E9C37E-8A19-4E30-BE2B-5A966AD23C7A}" type="slidenum">
              <a:rPr lang="de-DE" smtClean="0"/>
              <a:pPr/>
              <a:t>‹Nr.›</a:t>
            </a:fld>
            <a:endParaRPr lang="de-DE" dirty="0"/>
          </a:p>
        </p:txBody>
      </p:sp>
    </p:spTree>
    <p:extLst>
      <p:ext uri="{BB962C8B-B14F-4D97-AF65-F5344CB8AC3E}">
        <p14:creationId xmlns:p14="http://schemas.microsoft.com/office/powerpoint/2010/main" val="2896994938"/>
      </p:ext>
    </p:extLst>
  </p:cSld>
  <p:clrMapOvr>
    <a:masterClrMapping/>
  </p:clrMapOvr>
  <p:extLst>
    <p:ext uri="{DCECCB84-F9BA-43D5-87BE-67443E8EF086}">
      <p15:sldGuideLst xmlns:p15="http://schemas.microsoft.com/office/powerpoint/2012/main">
        <p15:guide id="2" orient="horz" pos="1253">
          <p15:clr>
            <a:srgbClr val="F26B43"/>
          </p15:clr>
        </p15:guide>
        <p15:guide id="3" orient="horz" pos="482">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ur Titel | Farbe dunkel">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B1E8131-9FC6-48B7-B646-FE3FE64DFE0F}"/>
              </a:ext>
            </a:extLst>
          </p:cNvPr>
          <p:cNvGraphicFramePr>
            <a:graphicFrameLocks noChangeAspect="1"/>
          </p:cNvGraphicFramePr>
          <p:nvPr userDrawn="1">
            <p:custDataLst>
              <p:tags r:id="rId1"/>
            </p:custDataLst>
            <p:extLst>
              <p:ext uri="{D42A27DB-BD31-4B8C-83A1-F6EECF244321}">
                <p14:modId xmlns:p14="http://schemas.microsoft.com/office/powerpoint/2010/main" val="1747246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56F41336-991E-4EF1-80C4-C55A7EE615CC}"/>
              </a:ext>
            </a:extLst>
          </p:cNvPr>
          <p:cNvSpPr>
            <a:spLocks noGrp="1"/>
          </p:cNvSpPr>
          <p:nvPr>
            <p:ph type="title"/>
          </p:nvPr>
        </p:nvSpPr>
        <p:spPr bwMode="gray"/>
        <p:txBody>
          <a:bodyPr vert="horz" lIns="144000"/>
          <a:lstStyle>
            <a:lvl1pPr>
              <a:defRPr>
                <a:solidFill>
                  <a:schemeClr val="bg1"/>
                </a:solidFill>
              </a:defRPr>
            </a:lvl1pPr>
          </a:lstStyle>
          <a:p>
            <a:r>
              <a:rPr lang="de-DE" dirty="0"/>
              <a:t>Mastertitelformat bearbeiten</a:t>
            </a:r>
          </a:p>
        </p:txBody>
      </p:sp>
      <p:sp>
        <p:nvSpPr>
          <p:cNvPr id="5" name="Date Placeholder 4">
            <a:extLst>
              <a:ext uri="{FF2B5EF4-FFF2-40B4-BE49-F238E27FC236}">
                <a16:creationId xmlns:a16="http://schemas.microsoft.com/office/drawing/2014/main" id="{D5FFEE51-FE6C-4FAE-BB25-69C6C8105DCC}"/>
              </a:ext>
            </a:extLst>
          </p:cNvPr>
          <p:cNvSpPr>
            <a:spLocks noGrp="1"/>
          </p:cNvSpPr>
          <p:nvPr>
            <p:ph type="dt" sz="half" idx="10"/>
          </p:nvPr>
        </p:nvSpPr>
        <p:spPr bwMode="gray"/>
        <p:txBody>
          <a:bodyPr/>
          <a:lstStyle>
            <a:lvl1pPr>
              <a:defRPr>
                <a:solidFill>
                  <a:schemeClr val="bg1"/>
                </a:solidFill>
              </a:defRPr>
            </a:lvl1pPr>
          </a:lstStyle>
          <a:p>
            <a:fld id="{4D19A0D7-2E29-4000-AA36-D170E7357A13}" type="datetime1">
              <a:rPr lang="de-DE" smtClean="0"/>
              <a:t>29.09.25</a:t>
            </a:fld>
            <a:endParaRPr lang="de-DE" dirty="0"/>
          </a:p>
        </p:txBody>
      </p:sp>
      <p:sp>
        <p:nvSpPr>
          <p:cNvPr id="7" name="Footer Placeholder 6">
            <a:extLst>
              <a:ext uri="{FF2B5EF4-FFF2-40B4-BE49-F238E27FC236}">
                <a16:creationId xmlns:a16="http://schemas.microsoft.com/office/drawing/2014/main" id="{A5E7CF65-42A6-4D55-97B9-D17B96AC9EC3}"/>
              </a:ext>
            </a:extLst>
          </p:cNvPr>
          <p:cNvSpPr>
            <a:spLocks noGrp="1"/>
          </p:cNvSpPr>
          <p:nvPr>
            <p:ph type="ftr" sz="quarter" idx="11"/>
          </p:nvPr>
        </p:nvSpPr>
        <p:spPr bwMode="gray"/>
        <p:txBody>
          <a:bodyPr/>
          <a:lstStyle>
            <a:lvl1pPr>
              <a:defRPr>
                <a:solidFill>
                  <a:schemeClr val="bg1"/>
                </a:solidFill>
              </a:defRPr>
            </a:lvl1pPr>
          </a:lstStyle>
          <a:p>
            <a:r>
              <a:rPr lang="de-DE" dirty="0"/>
              <a:t>TITEL DER PRÄSENTATION | TITEL VORNAME NAME</a:t>
            </a:r>
          </a:p>
        </p:txBody>
      </p:sp>
      <p:sp>
        <p:nvSpPr>
          <p:cNvPr id="8" name="Slide Number Placeholder 7">
            <a:extLst>
              <a:ext uri="{FF2B5EF4-FFF2-40B4-BE49-F238E27FC236}">
                <a16:creationId xmlns:a16="http://schemas.microsoft.com/office/drawing/2014/main" id="{2B84793E-9977-4E4D-8DDA-B83A949C0F56}"/>
              </a:ext>
            </a:extLst>
          </p:cNvPr>
          <p:cNvSpPr>
            <a:spLocks noGrp="1"/>
          </p:cNvSpPr>
          <p:nvPr>
            <p:ph type="sldNum" sz="quarter" idx="12"/>
          </p:nvPr>
        </p:nvSpPr>
        <p:spPr bwMode="gray"/>
        <p:txBody>
          <a:bodyPr/>
          <a:lstStyle>
            <a:lvl1pPr>
              <a:defRPr>
                <a:solidFill>
                  <a:schemeClr val="bg1"/>
                </a:solidFill>
              </a:defRPr>
            </a:lvl1pPr>
          </a:lstStyle>
          <a:p>
            <a:fld id="{09E9C37E-8A19-4E30-BE2B-5A966AD23C7A}" type="slidenum">
              <a:rPr lang="de-DE" smtClean="0"/>
              <a:pPr/>
              <a:t>‹Nr.›</a:t>
            </a:fld>
            <a:endParaRPr lang="de-DE" dirty="0"/>
          </a:p>
        </p:txBody>
      </p:sp>
    </p:spTree>
    <p:extLst>
      <p:ext uri="{BB962C8B-B14F-4D97-AF65-F5344CB8AC3E}">
        <p14:creationId xmlns:p14="http://schemas.microsoft.com/office/powerpoint/2010/main" val="102025551"/>
      </p:ext>
    </p:extLst>
  </p:cSld>
  <p:clrMapOvr>
    <a:masterClrMapping/>
  </p:clrMapOvr>
  <p:extLst>
    <p:ext uri="{DCECCB84-F9BA-43D5-87BE-67443E8EF086}">
      <p15:sldGuideLst xmlns:p15="http://schemas.microsoft.com/office/powerpoint/2012/main">
        <p15:guide id="2" orient="horz" pos="1253">
          <p15:clr>
            <a:srgbClr val="F26B43"/>
          </p15:clr>
        </p15:guide>
        <p15:guide id="3" orient="horz" pos="482">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D5FFEE51-FE6C-4FAE-BB25-69C6C8105DCC}"/>
              </a:ext>
            </a:extLst>
          </p:cNvPr>
          <p:cNvSpPr>
            <a:spLocks noGrp="1"/>
          </p:cNvSpPr>
          <p:nvPr>
            <p:ph type="dt" sz="half" idx="10"/>
          </p:nvPr>
        </p:nvSpPr>
        <p:spPr bwMode="gray"/>
        <p:txBody>
          <a:bodyPr/>
          <a:lstStyle/>
          <a:p>
            <a:fld id="{8DBD24FA-80DF-41A6-ABC3-2AE3E7A0ADDD}" type="datetime1">
              <a:rPr lang="de-DE" smtClean="0"/>
              <a:t>29.09.25</a:t>
            </a:fld>
            <a:endParaRPr lang="de-DE" dirty="0"/>
          </a:p>
        </p:txBody>
      </p:sp>
      <p:sp>
        <p:nvSpPr>
          <p:cNvPr id="7" name="Footer Placeholder 6">
            <a:extLst>
              <a:ext uri="{FF2B5EF4-FFF2-40B4-BE49-F238E27FC236}">
                <a16:creationId xmlns:a16="http://schemas.microsoft.com/office/drawing/2014/main" id="{A5E7CF65-42A6-4D55-97B9-D17B96AC9EC3}"/>
              </a:ext>
            </a:extLst>
          </p:cNvPr>
          <p:cNvSpPr>
            <a:spLocks noGrp="1"/>
          </p:cNvSpPr>
          <p:nvPr>
            <p:ph type="ftr" sz="quarter" idx="11"/>
          </p:nvPr>
        </p:nvSpPr>
        <p:spPr bwMode="gray"/>
        <p:txBody>
          <a:bodyPr/>
          <a:lstStyle/>
          <a:p>
            <a:r>
              <a:rPr lang="de-DE" dirty="0"/>
              <a:t>TITEL DER PRÄSENTATION | TITEL VORNAME NAME</a:t>
            </a:r>
          </a:p>
        </p:txBody>
      </p:sp>
      <p:sp>
        <p:nvSpPr>
          <p:cNvPr id="8" name="Slide Number Placeholder 7">
            <a:extLst>
              <a:ext uri="{FF2B5EF4-FFF2-40B4-BE49-F238E27FC236}">
                <a16:creationId xmlns:a16="http://schemas.microsoft.com/office/drawing/2014/main" id="{2B84793E-9977-4E4D-8DDA-B83A949C0F56}"/>
              </a:ext>
            </a:extLst>
          </p:cNvPr>
          <p:cNvSpPr>
            <a:spLocks noGrp="1"/>
          </p:cNvSpPr>
          <p:nvPr>
            <p:ph type="sldNum" sz="quarter" idx="12"/>
          </p:nvPr>
        </p:nvSpPr>
        <p:spPr bwMode="gray"/>
        <p:txBody>
          <a:bodyPr/>
          <a:lstStyle/>
          <a:p>
            <a:fld id="{09E9C37E-8A19-4E30-BE2B-5A966AD23C7A}" type="slidenum">
              <a:rPr lang="de-DE" smtClean="0"/>
              <a:pPr/>
              <a:t>‹Nr.›</a:t>
            </a:fld>
            <a:endParaRPr lang="de-DE" dirty="0"/>
          </a:p>
        </p:txBody>
      </p:sp>
    </p:spTree>
    <p:extLst>
      <p:ext uri="{BB962C8B-B14F-4D97-AF65-F5344CB8AC3E}">
        <p14:creationId xmlns:p14="http://schemas.microsoft.com/office/powerpoint/2010/main" val="1589707843"/>
      </p:ext>
    </p:extLst>
  </p:cSld>
  <p:clrMapOvr>
    <a:masterClrMapping/>
  </p:clrMapOvr>
  <p:extLst>
    <p:ext uri="{DCECCB84-F9BA-43D5-87BE-67443E8EF086}">
      <p15:sldGuideLst xmlns:p15="http://schemas.microsoft.com/office/powerpoint/2012/main">
        <p15:guide id="2" orient="horz" pos="1253">
          <p15:clr>
            <a:srgbClr val="F26B43"/>
          </p15:clr>
        </p15:guide>
        <p15:guide id="3" orient="horz" pos="482">
          <p15:clr>
            <a:srgbClr val="F26B43"/>
          </p15:clr>
        </p15:guide>
        <p15:guide id="7" orient="horz" pos="210"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eer | Farbe dunkel">
    <p:bg>
      <p:bgPr>
        <a:solidFill>
          <a:schemeClr val="tx2"/>
        </a:solid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D5FFEE51-FE6C-4FAE-BB25-69C6C8105DCC}"/>
              </a:ext>
            </a:extLst>
          </p:cNvPr>
          <p:cNvSpPr>
            <a:spLocks noGrp="1"/>
          </p:cNvSpPr>
          <p:nvPr>
            <p:ph type="dt" sz="half" idx="10"/>
          </p:nvPr>
        </p:nvSpPr>
        <p:spPr bwMode="gray"/>
        <p:txBody>
          <a:bodyPr/>
          <a:lstStyle>
            <a:lvl1pPr>
              <a:defRPr>
                <a:solidFill>
                  <a:schemeClr val="bg1"/>
                </a:solidFill>
              </a:defRPr>
            </a:lvl1pPr>
          </a:lstStyle>
          <a:p>
            <a:fld id="{6AF9780A-6212-4D87-8095-8FAAFE4A57AD}" type="datetime1">
              <a:rPr lang="de-DE" smtClean="0"/>
              <a:t>29.09.25</a:t>
            </a:fld>
            <a:endParaRPr lang="de-DE" dirty="0"/>
          </a:p>
        </p:txBody>
      </p:sp>
      <p:sp>
        <p:nvSpPr>
          <p:cNvPr id="7" name="Footer Placeholder 6">
            <a:extLst>
              <a:ext uri="{FF2B5EF4-FFF2-40B4-BE49-F238E27FC236}">
                <a16:creationId xmlns:a16="http://schemas.microsoft.com/office/drawing/2014/main" id="{A5E7CF65-42A6-4D55-97B9-D17B96AC9EC3}"/>
              </a:ext>
            </a:extLst>
          </p:cNvPr>
          <p:cNvSpPr>
            <a:spLocks noGrp="1"/>
          </p:cNvSpPr>
          <p:nvPr>
            <p:ph type="ftr" sz="quarter" idx="11"/>
          </p:nvPr>
        </p:nvSpPr>
        <p:spPr bwMode="gray"/>
        <p:txBody>
          <a:bodyPr/>
          <a:lstStyle>
            <a:lvl1pPr>
              <a:defRPr>
                <a:solidFill>
                  <a:schemeClr val="bg1"/>
                </a:solidFill>
              </a:defRPr>
            </a:lvl1pPr>
          </a:lstStyle>
          <a:p>
            <a:r>
              <a:rPr lang="de-DE" dirty="0"/>
              <a:t>TITEL DER PRÄSENTATION | TITEL VORNAME NAME</a:t>
            </a:r>
          </a:p>
        </p:txBody>
      </p:sp>
      <p:sp>
        <p:nvSpPr>
          <p:cNvPr id="8" name="Slide Number Placeholder 7">
            <a:extLst>
              <a:ext uri="{FF2B5EF4-FFF2-40B4-BE49-F238E27FC236}">
                <a16:creationId xmlns:a16="http://schemas.microsoft.com/office/drawing/2014/main" id="{2B84793E-9977-4E4D-8DDA-B83A949C0F56}"/>
              </a:ext>
            </a:extLst>
          </p:cNvPr>
          <p:cNvSpPr>
            <a:spLocks noGrp="1"/>
          </p:cNvSpPr>
          <p:nvPr>
            <p:ph type="sldNum" sz="quarter" idx="12"/>
          </p:nvPr>
        </p:nvSpPr>
        <p:spPr bwMode="gray"/>
        <p:txBody>
          <a:bodyPr/>
          <a:lstStyle>
            <a:lvl1pPr>
              <a:defRPr>
                <a:solidFill>
                  <a:schemeClr val="bg1"/>
                </a:solidFill>
              </a:defRPr>
            </a:lvl1pPr>
          </a:lstStyle>
          <a:p>
            <a:fld id="{09E9C37E-8A19-4E30-BE2B-5A966AD23C7A}" type="slidenum">
              <a:rPr lang="de-DE" smtClean="0"/>
              <a:pPr/>
              <a:t>‹Nr.›</a:t>
            </a:fld>
            <a:endParaRPr lang="de-DE" dirty="0"/>
          </a:p>
        </p:txBody>
      </p:sp>
    </p:spTree>
    <p:extLst>
      <p:ext uri="{BB962C8B-B14F-4D97-AF65-F5344CB8AC3E}">
        <p14:creationId xmlns:p14="http://schemas.microsoft.com/office/powerpoint/2010/main" val="2398959511"/>
      </p:ext>
    </p:extLst>
  </p:cSld>
  <p:clrMapOvr>
    <a:masterClrMapping/>
  </p:clrMapOvr>
  <p:extLst>
    <p:ext uri="{DCECCB84-F9BA-43D5-87BE-67443E8EF086}">
      <p15:sldGuideLst xmlns:p15="http://schemas.microsoft.com/office/powerpoint/2012/main">
        <p15:guide id="2" orient="horz" pos="1253">
          <p15:clr>
            <a:srgbClr val="F26B43"/>
          </p15:clr>
        </p15:guide>
        <p15:guide id="3" orient="horz" pos="482">
          <p15:clr>
            <a:srgbClr val="F26B43"/>
          </p15:clr>
        </p15:guide>
        <p15:guide id="7" orient="horz" pos="210"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Zitat">
    <p:bg>
      <p:bgPr>
        <a:solidFill>
          <a:schemeClr val="tx1"/>
        </a:solidFill>
        <a:effectLst/>
      </p:bgPr>
    </p:bg>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F85D6776-03D0-1549-BC54-85771BFEE60F}"/>
              </a:ext>
            </a:extLst>
          </p:cNvPr>
          <p:cNvPicPr>
            <a:picLocks noChangeAspect="1"/>
          </p:cNvPicPr>
          <p:nvPr userDrawn="1"/>
        </p:nvPicPr>
        <p:blipFill>
          <a:blip r:embed="rId3">
            <a:alphaModFix amt="33000"/>
            <a:extLst>
              <a:ext uri="{28A0092B-C50C-407E-A947-70E740481C1C}">
                <a14:useLocalDpi xmlns:a14="http://schemas.microsoft.com/office/drawing/2010/main"/>
              </a:ext>
            </a:extLst>
          </a:blip>
          <a:stretch>
            <a:fillRect/>
          </a:stretch>
        </p:blipFill>
        <p:spPr>
          <a:xfrm>
            <a:off x="4310824" y="1608033"/>
            <a:ext cx="3570349" cy="3208795"/>
          </a:xfrm>
          <a:prstGeom prst="rect">
            <a:avLst/>
          </a:prstGeom>
        </p:spPr>
      </p:pic>
      <p:graphicFrame>
        <p:nvGraphicFramePr>
          <p:cNvPr id="3" name="Objekt 2" hidden="1">
            <a:extLst>
              <a:ext uri="{FF2B5EF4-FFF2-40B4-BE49-F238E27FC236}">
                <a16:creationId xmlns:a16="http://schemas.microsoft.com/office/drawing/2014/main" id="{0C7B03EE-4E5C-47CE-B8C3-52044604BF76}"/>
              </a:ext>
            </a:extLst>
          </p:cNvPr>
          <p:cNvGraphicFramePr>
            <a:graphicFrameLocks noChangeAspect="1"/>
          </p:cNvGraphicFramePr>
          <p:nvPr userDrawn="1">
            <p:custDataLst>
              <p:tags r:id="rId1"/>
            </p:custDataLst>
            <p:extLst>
              <p:ext uri="{D42A27DB-BD31-4B8C-83A1-F6EECF244321}">
                <p14:modId xmlns:p14="http://schemas.microsoft.com/office/powerpoint/2010/main" val="1627523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3" name="Objekt 2" hidden="1">
                        <a:extLst>
                          <a:ext uri="{FF2B5EF4-FFF2-40B4-BE49-F238E27FC236}">
                            <a16:creationId xmlns:a16="http://schemas.microsoft.com/office/drawing/2014/main" id="{0C7B03EE-4E5C-47CE-B8C3-52044604BF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F9D8D8E-2933-4174-A049-5D8B5ADB45F1}"/>
              </a:ext>
            </a:extLst>
          </p:cNvPr>
          <p:cNvSpPr>
            <a:spLocks noGrp="1"/>
          </p:cNvSpPr>
          <p:nvPr>
            <p:ph type="title"/>
          </p:nvPr>
        </p:nvSpPr>
        <p:spPr bwMode="gray"/>
        <p:txBody>
          <a:bodyPr vert="horz" lIns="144000"/>
          <a:lstStyle/>
          <a:p>
            <a:r>
              <a:rPr lang="de-DE" dirty="0"/>
              <a:t>Mastertitelformat bearbeiten</a:t>
            </a:r>
          </a:p>
        </p:txBody>
      </p:sp>
      <p:sp>
        <p:nvSpPr>
          <p:cNvPr id="7" name="Date Placeholder 6">
            <a:extLst>
              <a:ext uri="{FF2B5EF4-FFF2-40B4-BE49-F238E27FC236}">
                <a16:creationId xmlns:a16="http://schemas.microsoft.com/office/drawing/2014/main" id="{74E28E5F-2D7F-496A-8CE6-BCCA8384777E}"/>
              </a:ext>
            </a:extLst>
          </p:cNvPr>
          <p:cNvSpPr>
            <a:spLocks noGrp="1"/>
          </p:cNvSpPr>
          <p:nvPr>
            <p:ph type="dt" sz="half" idx="14"/>
          </p:nvPr>
        </p:nvSpPr>
        <p:spPr bwMode="gray"/>
        <p:txBody>
          <a:bodyPr/>
          <a:lstStyle>
            <a:lvl1pPr>
              <a:defRPr>
                <a:solidFill>
                  <a:schemeClr val="bg1"/>
                </a:solidFill>
              </a:defRPr>
            </a:lvl1pPr>
          </a:lstStyle>
          <a:p>
            <a:fld id="{B374E66D-E309-46E1-9668-1F0B6B2ECF6A}" type="datetime1">
              <a:rPr lang="de-DE" smtClean="0"/>
              <a:pPr/>
              <a:t>29.09.25</a:t>
            </a:fld>
            <a:endParaRPr lang="de-DE" dirty="0"/>
          </a:p>
        </p:txBody>
      </p:sp>
      <p:sp>
        <p:nvSpPr>
          <p:cNvPr id="8" name="Footer Placeholder 7">
            <a:extLst>
              <a:ext uri="{FF2B5EF4-FFF2-40B4-BE49-F238E27FC236}">
                <a16:creationId xmlns:a16="http://schemas.microsoft.com/office/drawing/2014/main" id="{5496AF01-7465-4E04-8733-36B9FCCCFCC9}"/>
              </a:ext>
            </a:extLst>
          </p:cNvPr>
          <p:cNvSpPr>
            <a:spLocks noGrp="1"/>
          </p:cNvSpPr>
          <p:nvPr>
            <p:ph type="ftr" sz="quarter" idx="15"/>
          </p:nvPr>
        </p:nvSpPr>
        <p:spPr bwMode="gray"/>
        <p:txBody>
          <a:bodyPr/>
          <a:lstStyle>
            <a:lvl1pPr>
              <a:defRPr>
                <a:solidFill>
                  <a:schemeClr val="bg1"/>
                </a:solidFill>
              </a:defRPr>
            </a:lvl1pPr>
          </a:lstStyle>
          <a:p>
            <a:r>
              <a:rPr lang="de-DE"/>
              <a:t>TITEL DER PRÄSENTATION | TITEL VORNAME NAME</a:t>
            </a:r>
            <a:endParaRPr lang="de-DE" dirty="0"/>
          </a:p>
        </p:txBody>
      </p:sp>
      <p:sp>
        <p:nvSpPr>
          <p:cNvPr id="9" name="Slide Number Placeholder 8">
            <a:extLst>
              <a:ext uri="{FF2B5EF4-FFF2-40B4-BE49-F238E27FC236}">
                <a16:creationId xmlns:a16="http://schemas.microsoft.com/office/drawing/2014/main" id="{6F11FEA8-EC2D-4515-BE4A-D26B4D0AD36A}"/>
              </a:ext>
            </a:extLst>
          </p:cNvPr>
          <p:cNvSpPr>
            <a:spLocks noGrp="1"/>
          </p:cNvSpPr>
          <p:nvPr>
            <p:ph type="sldNum" sz="quarter" idx="16"/>
          </p:nvPr>
        </p:nvSpPr>
        <p:spPr bwMode="gray"/>
        <p:txBody>
          <a:bodyPr/>
          <a:lstStyle>
            <a:lvl1pPr>
              <a:defRPr>
                <a:solidFill>
                  <a:schemeClr val="bg1"/>
                </a:solidFill>
              </a:defRPr>
            </a:lvl1pPr>
          </a:lstStyle>
          <a:p>
            <a:fld id="{09E9C37E-8A19-4E30-BE2B-5A966AD23C7A}" type="slidenum">
              <a:rPr lang="de-DE" smtClean="0"/>
              <a:pPr/>
              <a:t>‹Nr.›</a:t>
            </a:fld>
            <a:endParaRPr lang="de-DE" dirty="0"/>
          </a:p>
        </p:txBody>
      </p:sp>
      <p:sp>
        <p:nvSpPr>
          <p:cNvPr id="12" name="Textplatzhalter 2">
            <a:extLst>
              <a:ext uri="{FF2B5EF4-FFF2-40B4-BE49-F238E27FC236}">
                <a16:creationId xmlns:a16="http://schemas.microsoft.com/office/drawing/2014/main" id="{7ACB6A1D-B4E4-D24E-8C19-25AB08B3FAC3}"/>
              </a:ext>
            </a:extLst>
          </p:cNvPr>
          <p:cNvSpPr>
            <a:spLocks noGrp="1"/>
          </p:cNvSpPr>
          <p:nvPr>
            <p:ph type="body" sz="quarter" idx="13" hasCustomPrompt="1"/>
          </p:nvPr>
        </p:nvSpPr>
        <p:spPr bwMode="gray">
          <a:xfrm>
            <a:off x="2135998" y="2110253"/>
            <a:ext cx="7920000" cy="3708000"/>
          </a:xfrm>
        </p:spPr>
        <p:txBody>
          <a:bodyPr anchor="ctr"/>
          <a:lstStyle>
            <a:lvl2pPr>
              <a:defRPr>
                <a:solidFill>
                  <a:schemeClr val="bg1"/>
                </a:solidFill>
              </a:defRPr>
            </a:lvl2pPr>
          </a:lstStyle>
          <a:p>
            <a:pPr marL="0" lvl="1" indent="0" algn="ctr">
              <a:buNone/>
            </a:pPr>
            <a:r>
              <a:rPr lang="de-DE" altLang="de-DE" i="1" dirty="0">
                <a:solidFill>
                  <a:schemeClr val="bg1"/>
                </a:solidFill>
              </a:rPr>
              <a:t>„(…) das franz. seit dem 15. </a:t>
            </a:r>
            <a:r>
              <a:rPr lang="de-DE" altLang="de-DE" i="1" dirty="0" err="1">
                <a:solidFill>
                  <a:schemeClr val="bg1"/>
                </a:solidFill>
              </a:rPr>
              <a:t>jahrh</a:t>
            </a:r>
            <a:r>
              <a:rPr lang="de-DE" altLang="de-DE" i="1" dirty="0">
                <a:solidFill>
                  <a:schemeClr val="bg1"/>
                </a:solidFill>
              </a:rPr>
              <a:t>. häufig erscheinende fem. </a:t>
            </a:r>
            <a:r>
              <a:rPr lang="de-DE" altLang="de-DE" i="1" dirty="0" err="1">
                <a:solidFill>
                  <a:schemeClr val="bg1"/>
                </a:solidFill>
              </a:rPr>
              <a:t>mode</a:t>
            </a:r>
            <a:r>
              <a:rPr lang="de-DE" altLang="de-DE" i="1" dirty="0">
                <a:solidFill>
                  <a:schemeClr val="bg1"/>
                </a:solidFill>
              </a:rPr>
              <a:t>, … das die zeitgenössische </a:t>
            </a:r>
            <a:r>
              <a:rPr lang="de-DE" altLang="de-DE" i="1" dirty="0" err="1">
                <a:solidFill>
                  <a:schemeClr val="bg1"/>
                </a:solidFill>
              </a:rPr>
              <a:t>art</a:t>
            </a:r>
            <a:r>
              <a:rPr lang="de-DE" altLang="de-DE" i="1" dirty="0">
                <a:solidFill>
                  <a:schemeClr val="bg1"/>
                </a:solidFill>
              </a:rPr>
              <a:t> und brauch im allgemeinen, auch die dem wechselnden </a:t>
            </a:r>
            <a:r>
              <a:rPr lang="de-DE" altLang="de-DE" i="1" dirty="0" err="1">
                <a:solidFill>
                  <a:schemeClr val="bg1"/>
                </a:solidFill>
              </a:rPr>
              <a:t>geschmack</a:t>
            </a:r>
            <a:r>
              <a:rPr lang="de-DE" altLang="de-DE" i="1" dirty="0">
                <a:solidFill>
                  <a:schemeClr val="bg1"/>
                </a:solidFill>
              </a:rPr>
              <a:t> unterworfene </a:t>
            </a:r>
            <a:r>
              <a:rPr lang="de-DE" altLang="de-DE" i="1" dirty="0" err="1">
                <a:solidFill>
                  <a:schemeClr val="bg1"/>
                </a:solidFill>
              </a:rPr>
              <a:t>art</a:t>
            </a:r>
            <a:r>
              <a:rPr lang="de-DE" altLang="de-DE" i="1" dirty="0">
                <a:solidFill>
                  <a:schemeClr val="bg1"/>
                </a:solidFill>
              </a:rPr>
              <a:t> sich zu kleiden ausdrückt (…), erscheint vor den zwanziger </a:t>
            </a:r>
            <a:r>
              <a:rPr lang="de-DE" altLang="de-DE" i="1" dirty="0" err="1">
                <a:solidFill>
                  <a:schemeClr val="bg1"/>
                </a:solidFill>
              </a:rPr>
              <a:t>jahren</a:t>
            </a:r>
            <a:r>
              <a:rPr lang="de-DE" altLang="de-DE" i="1" dirty="0">
                <a:solidFill>
                  <a:schemeClr val="bg1"/>
                </a:solidFill>
              </a:rPr>
              <a:t> des 17. </a:t>
            </a:r>
            <a:r>
              <a:rPr lang="de-DE" altLang="de-DE" i="1" dirty="0" err="1">
                <a:solidFill>
                  <a:schemeClr val="bg1"/>
                </a:solidFill>
              </a:rPr>
              <a:t>jahrh</a:t>
            </a:r>
            <a:r>
              <a:rPr lang="de-DE" altLang="de-DE" i="1" dirty="0">
                <a:solidFill>
                  <a:schemeClr val="bg1"/>
                </a:solidFill>
              </a:rPr>
              <a:t>. in deutscher </a:t>
            </a:r>
            <a:r>
              <a:rPr lang="de-DE" altLang="de-DE" i="1" dirty="0" err="1">
                <a:solidFill>
                  <a:schemeClr val="bg1"/>
                </a:solidFill>
              </a:rPr>
              <a:t>sprache</a:t>
            </a:r>
            <a:r>
              <a:rPr lang="de-DE" altLang="de-DE" i="1" dirty="0">
                <a:solidFill>
                  <a:schemeClr val="bg1"/>
                </a:solidFill>
              </a:rPr>
              <a:t> nicht (…); </a:t>
            </a:r>
            <a:r>
              <a:rPr lang="de-DE" altLang="de-DE" i="1" dirty="0" err="1">
                <a:solidFill>
                  <a:schemeClr val="bg1"/>
                </a:solidFill>
              </a:rPr>
              <a:t>mode</a:t>
            </a:r>
            <a:r>
              <a:rPr lang="de-DE" altLang="de-DE" i="1" dirty="0">
                <a:solidFill>
                  <a:schemeClr val="bg1"/>
                </a:solidFill>
              </a:rPr>
              <a:t> erweitert seine </a:t>
            </a:r>
            <a:r>
              <a:rPr lang="de-DE" altLang="de-DE" i="1" dirty="0" err="1">
                <a:solidFill>
                  <a:schemeClr val="bg1"/>
                </a:solidFill>
              </a:rPr>
              <a:t>bedeutung</a:t>
            </a:r>
            <a:r>
              <a:rPr lang="de-DE" altLang="de-DE" i="1" dirty="0">
                <a:solidFill>
                  <a:schemeClr val="bg1"/>
                </a:solidFill>
              </a:rPr>
              <a:t> aber bald auch auf den augenblicklichen </a:t>
            </a:r>
            <a:r>
              <a:rPr lang="de-DE" altLang="de-DE" i="1" dirty="0" err="1">
                <a:solidFill>
                  <a:schemeClr val="bg1"/>
                </a:solidFill>
              </a:rPr>
              <a:t>zeitgeschmack</a:t>
            </a:r>
            <a:r>
              <a:rPr lang="de-DE" altLang="de-DE" i="1" dirty="0">
                <a:solidFill>
                  <a:schemeClr val="bg1"/>
                </a:solidFill>
              </a:rPr>
              <a:t> im benehmen und </a:t>
            </a:r>
            <a:r>
              <a:rPr lang="de-DE" altLang="de-DE" i="1" dirty="0" err="1">
                <a:solidFill>
                  <a:schemeClr val="bg1"/>
                </a:solidFill>
              </a:rPr>
              <a:t>thun</a:t>
            </a:r>
            <a:r>
              <a:rPr lang="de-DE" altLang="de-DE" i="1" dirty="0">
                <a:solidFill>
                  <a:schemeClr val="bg1"/>
                </a:solidFill>
              </a:rPr>
              <a:t> der </a:t>
            </a:r>
            <a:r>
              <a:rPr lang="de-DE" altLang="de-DE" i="1" dirty="0" err="1">
                <a:solidFill>
                  <a:schemeClr val="bg1"/>
                </a:solidFill>
              </a:rPr>
              <a:t>gesellschaft</a:t>
            </a:r>
            <a:r>
              <a:rPr lang="de-DE" altLang="de-DE" i="1" dirty="0">
                <a:solidFill>
                  <a:schemeClr val="bg1"/>
                </a:solidFill>
              </a:rPr>
              <a:t>…“ </a:t>
            </a:r>
          </a:p>
          <a:p>
            <a:pPr marL="0" lvl="1" indent="0" algn="ctr">
              <a:buNone/>
            </a:pPr>
            <a:endParaRPr lang="de-DE" altLang="de-DE" i="1" dirty="0">
              <a:solidFill>
                <a:schemeClr val="bg1"/>
              </a:solidFill>
            </a:endParaRPr>
          </a:p>
          <a:p>
            <a:pPr marL="0" lvl="1" indent="0" algn="ctr">
              <a:buNone/>
            </a:pPr>
            <a:endParaRPr lang="de-DE" altLang="de-DE" i="1" dirty="0">
              <a:solidFill>
                <a:schemeClr val="bg1"/>
              </a:solidFill>
            </a:endParaRPr>
          </a:p>
          <a:p>
            <a:pPr marL="0" lvl="1" indent="0" algn="ctr">
              <a:buNone/>
            </a:pPr>
            <a:r>
              <a:rPr lang="de-DE" altLang="de-DE" dirty="0">
                <a:solidFill>
                  <a:schemeClr val="bg1"/>
                </a:solidFill>
              </a:rPr>
              <a:t>(Grimm, Deutsches Wörterbuch, 1885)</a:t>
            </a:r>
            <a:endParaRPr lang="de-DE" altLang="de-DE" i="1" dirty="0">
              <a:solidFill>
                <a:schemeClr val="bg1"/>
              </a:solidFill>
            </a:endParaRPr>
          </a:p>
          <a:p>
            <a:pPr lvl="1"/>
            <a:endParaRPr lang="de-DE" dirty="0">
              <a:solidFill>
                <a:schemeClr val="bg1"/>
              </a:solidFill>
            </a:endParaRPr>
          </a:p>
        </p:txBody>
      </p:sp>
    </p:spTree>
    <p:extLst>
      <p:ext uri="{BB962C8B-B14F-4D97-AF65-F5344CB8AC3E}">
        <p14:creationId xmlns:p14="http://schemas.microsoft.com/office/powerpoint/2010/main" val="141809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53">
          <p15:clr>
            <a:srgbClr val="F26B43"/>
          </p15:clr>
        </p15:guide>
        <p15:guide id="2" orient="horz" pos="482">
          <p15:clr>
            <a:srgbClr val="F26B43"/>
          </p15:clr>
        </p15:guide>
        <p15:guide id="3" pos="5065">
          <p15:clr>
            <a:srgbClr val="F26B43"/>
          </p15:clr>
        </p15:guide>
        <p15:guide id="4" pos="4883">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bbildun (1)">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7E66481-7D3B-464B-87E3-C895046F2B27}"/>
              </a:ext>
            </a:extLst>
          </p:cNvPr>
          <p:cNvSpPr>
            <a:spLocks noGrp="1"/>
          </p:cNvSpPr>
          <p:nvPr>
            <p:ph type="title"/>
          </p:nvPr>
        </p:nvSpPr>
        <p:spPr>
          <a:xfrm>
            <a:off x="8112001" y="2565000"/>
            <a:ext cx="3743450" cy="1329390"/>
          </a:xfrm>
        </p:spPr>
        <p:txBody>
          <a:bodyPr/>
          <a:lstStyle/>
          <a:p>
            <a:r>
              <a:rPr lang="de-DE" dirty="0"/>
              <a:t>Mastertitelformat bearbeiten</a:t>
            </a:r>
          </a:p>
        </p:txBody>
      </p:sp>
      <p:sp>
        <p:nvSpPr>
          <p:cNvPr id="3" name="Datumsplatzhalter 2">
            <a:extLst>
              <a:ext uri="{FF2B5EF4-FFF2-40B4-BE49-F238E27FC236}">
                <a16:creationId xmlns:a16="http://schemas.microsoft.com/office/drawing/2014/main" id="{6AA7C755-455F-E64F-858D-F09F34EDFE1B}"/>
              </a:ext>
            </a:extLst>
          </p:cNvPr>
          <p:cNvSpPr>
            <a:spLocks noGrp="1"/>
          </p:cNvSpPr>
          <p:nvPr>
            <p:ph type="dt" sz="half" idx="10"/>
          </p:nvPr>
        </p:nvSpPr>
        <p:spPr/>
        <p:txBody>
          <a:bodyPr/>
          <a:lstStyle>
            <a:lvl1pPr>
              <a:defRPr>
                <a:solidFill>
                  <a:schemeClr val="bg1"/>
                </a:solidFill>
              </a:defRPr>
            </a:lvl1pPr>
          </a:lstStyle>
          <a:p>
            <a:fld id="{B52ABA71-AAD9-4CC1-80AF-004D4F11852E}" type="datetime1">
              <a:rPr lang="de-DE" smtClean="0"/>
              <a:pPr/>
              <a:t>29.09.25</a:t>
            </a:fld>
            <a:endParaRPr lang="de-DE" dirty="0"/>
          </a:p>
        </p:txBody>
      </p:sp>
      <p:sp>
        <p:nvSpPr>
          <p:cNvPr id="4" name="Fußzeilenplatzhalter 3">
            <a:extLst>
              <a:ext uri="{FF2B5EF4-FFF2-40B4-BE49-F238E27FC236}">
                <a16:creationId xmlns:a16="http://schemas.microsoft.com/office/drawing/2014/main" id="{3FA67B90-8116-1543-AA20-29A5F12E7A47}"/>
              </a:ext>
            </a:extLst>
          </p:cNvPr>
          <p:cNvSpPr>
            <a:spLocks noGrp="1"/>
          </p:cNvSpPr>
          <p:nvPr>
            <p:ph type="ftr" sz="quarter" idx="11"/>
          </p:nvPr>
        </p:nvSpPr>
        <p:spPr/>
        <p:txBody>
          <a:bodyPr/>
          <a:lstStyle>
            <a:lvl1pPr>
              <a:defRPr>
                <a:solidFill>
                  <a:schemeClr val="bg1"/>
                </a:solidFill>
              </a:defRPr>
            </a:lvl1pPr>
          </a:lstStyle>
          <a:p>
            <a:r>
              <a:rPr lang="de-DE"/>
              <a:t>TITEL DER PRÄSENTATION | TITEL VORNAME NAME</a:t>
            </a:r>
            <a:endParaRPr lang="de-DE" dirty="0"/>
          </a:p>
        </p:txBody>
      </p:sp>
      <p:sp>
        <p:nvSpPr>
          <p:cNvPr id="5" name="Foliennummernplatzhalter 4">
            <a:extLst>
              <a:ext uri="{FF2B5EF4-FFF2-40B4-BE49-F238E27FC236}">
                <a16:creationId xmlns:a16="http://schemas.microsoft.com/office/drawing/2014/main" id="{54938C95-87E2-EB43-9C02-3030F7DC11EA}"/>
              </a:ext>
            </a:extLst>
          </p:cNvPr>
          <p:cNvSpPr>
            <a:spLocks noGrp="1"/>
          </p:cNvSpPr>
          <p:nvPr>
            <p:ph type="sldNum" sz="quarter" idx="12"/>
          </p:nvPr>
        </p:nvSpPr>
        <p:spPr/>
        <p:txBody>
          <a:bodyPr/>
          <a:lstStyle>
            <a:lvl1pPr>
              <a:defRPr>
                <a:solidFill>
                  <a:schemeClr val="bg1"/>
                </a:solidFill>
              </a:defRPr>
            </a:lvl1pPr>
          </a:lstStyle>
          <a:p>
            <a:fld id="{09E9C37E-8A19-4E30-BE2B-5A966AD23C7A}" type="slidenum">
              <a:rPr lang="de-DE" smtClean="0"/>
              <a:pPr/>
              <a:t>‹Nr.›</a:t>
            </a:fld>
            <a:endParaRPr lang="de-DE" dirty="0"/>
          </a:p>
        </p:txBody>
      </p:sp>
      <p:sp>
        <p:nvSpPr>
          <p:cNvPr id="7" name="Bildplatzhalter 6">
            <a:extLst>
              <a:ext uri="{FF2B5EF4-FFF2-40B4-BE49-F238E27FC236}">
                <a16:creationId xmlns:a16="http://schemas.microsoft.com/office/drawing/2014/main" id="{3E30F3D6-A6B1-9647-8984-8C02B8807803}"/>
              </a:ext>
            </a:extLst>
          </p:cNvPr>
          <p:cNvSpPr>
            <a:spLocks noGrp="1"/>
          </p:cNvSpPr>
          <p:nvPr>
            <p:ph type="pic" sz="quarter" idx="13"/>
          </p:nvPr>
        </p:nvSpPr>
        <p:spPr>
          <a:xfrm>
            <a:off x="0" y="0"/>
            <a:ext cx="7752000" cy="6237288"/>
          </a:xfrm>
        </p:spPr>
        <p:txBody>
          <a:bodyPr/>
          <a:lstStyle/>
          <a:p>
            <a:endParaRPr lang="de-DE" dirty="0"/>
          </a:p>
        </p:txBody>
      </p:sp>
      <p:sp>
        <p:nvSpPr>
          <p:cNvPr id="9" name="Textplatzhalter 8">
            <a:extLst>
              <a:ext uri="{FF2B5EF4-FFF2-40B4-BE49-F238E27FC236}">
                <a16:creationId xmlns:a16="http://schemas.microsoft.com/office/drawing/2014/main" id="{93BA1E38-9BA5-4E4C-9AF6-1D08B277B629}"/>
              </a:ext>
            </a:extLst>
          </p:cNvPr>
          <p:cNvSpPr>
            <a:spLocks noGrp="1"/>
          </p:cNvSpPr>
          <p:nvPr>
            <p:ph type="body" sz="quarter" idx="14" hasCustomPrompt="1"/>
          </p:nvPr>
        </p:nvSpPr>
        <p:spPr>
          <a:xfrm>
            <a:off x="8112001" y="4941000"/>
            <a:ext cx="3743450" cy="1296288"/>
          </a:xfrm>
        </p:spPr>
        <p:txBody>
          <a:bodyPr/>
          <a:lstStyle>
            <a:lvl1pPr marL="0" indent="0">
              <a:buNone/>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ext</a:t>
            </a:r>
          </a:p>
        </p:txBody>
      </p:sp>
      <p:sp>
        <p:nvSpPr>
          <p:cNvPr id="10" name="Textplatzhalter 8">
            <a:extLst>
              <a:ext uri="{FF2B5EF4-FFF2-40B4-BE49-F238E27FC236}">
                <a16:creationId xmlns:a16="http://schemas.microsoft.com/office/drawing/2014/main" id="{FC473E64-C17C-394B-BCE7-BC039A033713}"/>
              </a:ext>
            </a:extLst>
          </p:cNvPr>
          <p:cNvSpPr>
            <a:spLocks noGrp="1"/>
          </p:cNvSpPr>
          <p:nvPr>
            <p:ph type="body" sz="quarter" idx="15" hasCustomPrompt="1"/>
          </p:nvPr>
        </p:nvSpPr>
        <p:spPr>
          <a:xfrm>
            <a:off x="8112001" y="4394362"/>
            <a:ext cx="3743450" cy="438782"/>
          </a:xfrm>
        </p:spPr>
        <p:txBody>
          <a:bodyPr/>
          <a:lstStyle>
            <a:lvl1pPr marL="0" indent="0">
              <a:buNone/>
              <a:defRPr sz="9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bb. Titel</a:t>
            </a:r>
          </a:p>
        </p:txBody>
      </p:sp>
      <p:sp>
        <p:nvSpPr>
          <p:cNvPr id="11" name="Textfeld 10">
            <a:extLst>
              <a:ext uri="{FF2B5EF4-FFF2-40B4-BE49-F238E27FC236}">
                <a16:creationId xmlns:a16="http://schemas.microsoft.com/office/drawing/2014/main" id="{847D661F-99F9-CE4D-9507-476C46CD638D}"/>
              </a:ext>
            </a:extLst>
          </p:cNvPr>
          <p:cNvSpPr txBox="1"/>
          <p:nvPr userDrawn="1"/>
        </p:nvSpPr>
        <p:spPr bwMode="gray">
          <a:xfrm>
            <a:off x="9359153" y="4374776"/>
            <a:ext cx="0" cy="0"/>
          </a:xfrm>
          <a:prstGeom prst="rect">
            <a:avLst/>
          </a:prstGeom>
          <a:noFill/>
        </p:spPr>
        <p:txBody>
          <a:bodyPr wrap="none" lIns="144000" tIns="144000" rIns="144000" bIns="0" rtlCol="0">
            <a:noAutofit/>
          </a:bodyPr>
          <a:lstStyle/>
          <a:p>
            <a:pPr marL="180000" indent="-180000" algn="l">
              <a:lnSpc>
                <a:spcPct val="112000"/>
              </a:lnSpc>
              <a:spcBef>
                <a:spcPts val="300"/>
              </a:spcBef>
              <a:spcAft>
                <a:spcPts val="300"/>
              </a:spcAft>
              <a:buFont typeface="Wingdings" panose="05000000000000000000" pitchFamily="2" charset="2"/>
              <a:buChar char=""/>
            </a:pPr>
            <a:endParaRPr lang="de-DE" sz="1400" dirty="0" err="1">
              <a:solidFill>
                <a:schemeClr val="tx1"/>
              </a:solidFill>
            </a:endParaRPr>
          </a:p>
        </p:txBody>
      </p:sp>
    </p:spTree>
    <p:extLst>
      <p:ext uri="{BB962C8B-B14F-4D97-AF65-F5344CB8AC3E}">
        <p14:creationId xmlns:p14="http://schemas.microsoft.com/office/powerpoint/2010/main" val="16390966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bbildung (1-Vollbild)">
    <p:bg>
      <p:bgPr>
        <a:solidFill>
          <a:schemeClr val="tx1"/>
        </a:solidFill>
        <a:effectLst/>
      </p:bgPr>
    </p:bg>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3E30F3D6-A6B1-9647-8984-8C02B8807803}"/>
              </a:ext>
            </a:extLst>
          </p:cNvPr>
          <p:cNvSpPr>
            <a:spLocks noGrp="1"/>
          </p:cNvSpPr>
          <p:nvPr>
            <p:ph type="pic" sz="quarter" idx="13"/>
          </p:nvPr>
        </p:nvSpPr>
        <p:spPr>
          <a:xfrm>
            <a:off x="0" y="0"/>
            <a:ext cx="12192000" cy="6237288"/>
          </a:xfrm>
        </p:spPr>
        <p:txBody>
          <a:bodyPr/>
          <a:lstStyle/>
          <a:p>
            <a:endParaRPr lang="de-DE" dirty="0"/>
          </a:p>
        </p:txBody>
      </p:sp>
      <p:sp>
        <p:nvSpPr>
          <p:cNvPr id="3" name="Datumsplatzhalter 2">
            <a:extLst>
              <a:ext uri="{FF2B5EF4-FFF2-40B4-BE49-F238E27FC236}">
                <a16:creationId xmlns:a16="http://schemas.microsoft.com/office/drawing/2014/main" id="{6AA7C755-455F-E64F-858D-F09F34EDFE1B}"/>
              </a:ext>
            </a:extLst>
          </p:cNvPr>
          <p:cNvSpPr>
            <a:spLocks noGrp="1"/>
          </p:cNvSpPr>
          <p:nvPr>
            <p:ph type="dt" sz="half" idx="10"/>
          </p:nvPr>
        </p:nvSpPr>
        <p:spPr/>
        <p:txBody>
          <a:bodyPr/>
          <a:lstStyle>
            <a:lvl1pPr>
              <a:defRPr>
                <a:solidFill>
                  <a:schemeClr val="bg1"/>
                </a:solidFill>
              </a:defRPr>
            </a:lvl1pPr>
          </a:lstStyle>
          <a:p>
            <a:fld id="{B52ABA71-AAD9-4CC1-80AF-004D4F11852E}" type="datetime1">
              <a:rPr lang="de-DE" smtClean="0"/>
              <a:pPr/>
              <a:t>29.09.25</a:t>
            </a:fld>
            <a:endParaRPr lang="de-DE" dirty="0"/>
          </a:p>
        </p:txBody>
      </p:sp>
      <p:sp>
        <p:nvSpPr>
          <p:cNvPr id="4" name="Fußzeilenplatzhalter 3">
            <a:extLst>
              <a:ext uri="{FF2B5EF4-FFF2-40B4-BE49-F238E27FC236}">
                <a16:creationId xmlns:a16="http://schemas.microsoft.com/office/drawing/2014/main" id="{3FA67B90-8116-1543-AA20-29A5F12E7A47}"/>
              </a:ext>
            </a:extLst>
          </p:cNvPr>
          <p:cNvSpPr>
            <a:spLocks noGrp="1"/>
          </p:cNvSpPr>
          <p:nvPr>
            <p:ph type="ftr" sz="quarter" idx="11"/>
          </p:nvPr>
        </p:nvSpPr>
        <p:spPr/>
        <p:txBody>
          <a:bodyPr/>
          <a:lstStyle>
            <a:lvl1pPr>
              <a:defRPr>
                <a:solidFill>
                  <a:schemeClr val="bg1"/>
                </a:solidFill>
              </a:defRPr>
            </a:lvl1pPr>
          </a:lstStyle>
          <a:p>
            <a:r>
              <a:rPr lang="de-DE"/>
              <a:t>TITEL DER PRÄSENTATION | TITEL VORNAME NAME</a:t>
            </a:r>
            <a:endParaRPr lang="de-DE" dirty="0"/>
          </a:p>
        </p:txBody>
      </p:sp>
      <p:sp>
        <p:nvSpPr>
          <p:cNvPr id="5" name="Foliennummernplatzhalter 4">
            <a:extLst>
              <a:ext uri="{FF2B5EF4-FFF2-40B4-BE49-F238E27FC236}">
                <a16:creationId xmlns:a16="http://schemas.microsoft.com/office/drawing/2014/main" id="{54938C95-87E2-EB43-9C02-3030F7DC11EA}"/>
              </a:ext>
            </a:extLst>
          </p:cNvPr>
          <p:cNvSpPr>
            <a:spLocks noGrp="1"/>
          </p:cNvSpPr>
          <p:nvPr>
            <p:ph type="sldNum" sz="quarter" idx="12"/>
          </p:nvPr>
        </p:nvSpPr>
        <p:spPr/>
        <p:txBody>
          <a:bodyPr/>
          <a:lstStyle>
            <a:lvl1pPr>
              <a:defRPr>
                <a:solidFill>
                  <a:schemeClr val="bg1"/>
                </a:solidFill>
              </a:defRPr>
            </a:lvl1pPr>
          </a:lstStyle>
          <a:p>
            <a:fld id="{09E9C37E-8A19-4E30-BE2B-5A966AD23C7A}" type="slidenum">
              <a:rPr lang="de-DE" smtClean="0"/>
              <a:pPr/>
              <a:t>‹Nr.›</a:t>
            </a:fld>
            <a:endParaRPr lang="de-DE" dirty="0"/>
          </a:p>
        </p:txBody>
      </p:sp>
      <p:sp>
        <p:nvSpPr>
          <p:cNvPr id="11" name="Textfeld 10">
            <a:extLst>
              <a:ext uri="{FF2B5EF4-FFF2-40B4-BE49-F238E27FC236}">
                <a16:creationId xmlns:a16="http://schemas.microsoft.com/office/drawing/2014/main" id="{847D661F-99F9-CE4D-9507-476C46CD638D}"/>
              </a:ext>
            </a:extLst>
          </p:cNvPr>
          <p:cNvSpPr txBox="1"/>
          <p:nvPr userDrawn="1"/>
        </p:nvSpPr>
        <p:spPr bwMode="gray">
          <a:xfrm>
            <a:off x="9359153" y="4374776"/>
            <a:ext cx="0" cy="0"/>
          </a:xfrm>
          <a:prstGeom prst="rect">
            <a:avLst/>
          </a:prstGeom>
          <a:noFill/>
        </p:spPr>
        <p:txBody>
          <a:bodyPr wrap="none" lIns="144000" tIns="144000" rIns="144000" bIns="0" rtlCol="0">
            <a:noAutofit/>
          </a:bodyPr>
          <a:lstStyle/>
          <a:p>
            <a:pPr marL="180000" indent="-180000" algn="l">
              <a:lnSpc>
                <a:spcPct val="112000"/>
              </a:lnSpc>
              <a:spcBef>
                <a:spcPts val="300"/>
              </a:spcBef>
              <a:spcAft>
                <a:spcPts val="300"/>
              </a:spcAft>
              <a:buFont typeface="Wingdings" panose="05000000000000000000" pitchFamily="2" charset="2"/>
              <a:buChar char=""/>
            </a:pPr>
            <a:endParaRPr lang="de-DE" sz="1400" dirty="0" err="1">
              <a:solidFill>
                <a:schemeClr val="tx1"/>
              </a:solidFill>
            </a:endParaRPr>
          </a:p>
        </p:txBody>
      </p:sp>
      <p:sp>
        <p:nvSpPr>
          <p:cNvPr id="16" name="Textplatzhalter 8">
            <a:extLst>
              <a:ext uri="{FF2B5EF4-FFF2-40B4-BE49-F238E27FC236}">
                <a16:creationId xmlns:a16="http://schemas.microsoft.com/office/drawing/2014/main" id="{C2E0E341-A728-7448-9E7B-D88F63DE43E4}"/>
              </a:ext>
            </a:extLst>
          </p:cNvPr>
          <p:cNvSpPr>
            <a:spLocks noGrp="1"/>
          </p:cNvSpPr>
          <p:nvPr>
            <p:ph type="body" sz="quarter" idx="16" hasCustomPrompt="1"/>
          </p:nvPr>
        </p:nvSpPr>
        <p:spPr>
          <a:xfrm>
            <a:off x="340992" y="4725000"/>
            <a:ext cx="3743450" cy="1296288"/>
          </a:xfrm>
          <a:solidFill>
            <a:schemeClr val="bg2"/>
          </a:solidFill>
        </p:spPr>
        <p:txBody>
          <a:bodyPr/>
          <a:lstStyle>
            <a:lvl1pPr marL="0" indent="0">
              <a:buNone/>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ext</a:t>
            </a:r>
          </a:p>
        </p:txBody>
      </p:sp>
      <p:sp>
        <p:nvSpPr>
          <p:cNvPr id="17" name="Textplatzhalter 8">
            <a:extLst>
              <a:ext uri="{FF2B5EF4-FFF2-40B4-BE49-F238E27FC236}">
                <a16:creationId xmlns:a16="http://schemas.microsoft.com/office/drawing/2014/main" id="{D627F505-B0DB-9D4F-ADAF-2D401B7368D0}"/>
              </a:ext>
            </a:extLst>
          </p:cNvPr>
          <p:cNvSpPr>
            <a:spLocks noGrp="1"/>
          </p:cNvSpPr>
          <p:nvPr>
            <p:ph type="body" sz="quarter" idx="17" hasCustomPrompt="1"/>
          </p:nvPr>
        </p:nvSpPr>
        <p:spPr>
          <a:xfrm>
            <a:off x="340992" y="4161024"/>
            <a:ext cx="3743450" cy="438782"/>
          </a:xfrm>
          <a:solidFill>
            <a:schemeClr val="bg2"/>
          </a:solidFill>
        </p:spPr>
        <p:txBody>
          <a:bodyPr/>
          <a:lstStyle>
            <a:lvl1pPr marL="0" indent="0">
              <a:buNone/>
              <a:defRPr sz="9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bb. Titel</a:t>
            </a:r>
          </a:p>
        </p:txBody>
      </p:sp>
    </p:spTree>
    <p:extLst>
      <p:ext uri="{BB962C8B-B14F-4D97-AF65-F5344CB8AC3E}">
        <p14:creationId xmlns:p14="http://schemas.microsoft.com/office/powerpoint/2010/main" val="19656095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bg/>
                                          </p:spTgt>
                                        </p:tgtEl>
                                        <p:attrNameLst>
                                          <p:attrName>style.visibility</p:attrName>
                                        </p:attrNameLst>
                                      </p:cBhvr>
                                      <p:to>
                                        <p:strVal val="visible"/>
                                      </p:to>
                                    </p:set>
                                    <p:animEffect transition="in" filter="fade">
                                      <p:cBhvr>
                                        <p:cTn id="7" dur="500"/>
                                        <p:tgtEl>
                                          <p:spTgt spid="17">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xEl>
                                              <p:pRg st="0" end="0"/>
                                            </p:txEl>
                                          </p:spTgt>
                                        </p:tgtEl>
                                        <p:attrNameLst>
                                          <p:attrName>style.visibility</p:attrName>
                                        </p:attrNameLst>
                                      </p:cBhvr>
                                      <p:to>
                                        <p:strVal val="visible"/>
                                      </p:to>
                                    </p:set>
                                    <p:animEffect transition="in" filter="fade">
                                      <p:cBhvr>
                                        <p:cTn id="10" dur="500"/>
                                        <p:tgtEl>
                                          <p:spTgt spid="17">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bg/>
                                          </p:spTgt>
                                        </p:tgtEl>
                                        <p:attrNameLst>
                                          <p:attrName>style.visibility</p:attrName>
                                        </p:attrNameLst>
                                      </p:cBhvr>
                                      <p:to>
                                        <p:strVal val="visible"/>
                                      </p:to>
                                    </p:set>
                                    <p:animEffect transition="in" filter="fade">
                                      <p:cBhvr>
                                        <p:cTn id="13" dur="500"/>
                                        <p:tgtEl>
                                          <p:spTgt spid="16">
                                            <p:bg/>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p" animBg="1">
        <p:tmplLst>
          <p:tmpl>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build="p" animBg="1">
        <p:tmplLst>
          <p:tmpl>
            <p:tnLst>
              <p:par>
                <p:cTn presetID="10" presetClass="entr" presetSubtype="0" fill="hold" nodeType="click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bbildung (2)">
    <p:bg>
      <p:bgPr>
        <a:solidFill>
          <a:schemeClr val="tx1"/>
        </a:solidFill>
        <a:effectLst/>
      </p:bgPr>
    </p:bg>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3E30F3D6-A6B1-9647-8984-8C02B8807803}"/>
              </a:ext>
            </a:extLst>
          </p:cNvPr>
          <p:cNvSpPr>
            <a:spLocks noGrp="1"/>
          </p:cNvSpPr>
          <p:nvPr>
            <p:ph type="pic" sz="quarter" idx="13"/>
          </p:nvPr>
        </p:nvSpPr>
        <p:spPr>
          <a:xfrm>
            <a:off x="0" y="0"/>
            <a:ext cx="5808000" cy="6237288"/>
          </a:xfrm>
        </p:spPr>
        <p:txBody>
          <a:bodyPr/>
          <a:lstStyle/>
          <a:p>
            <a:endParaRPr lang="de-DE" dirty="0"/>
          </a:p>
        </p:txBody>
      </p:sp>
      <p:sp>
        <p:nvSpPr>
          <p:cNvPr id="3" name="Datumsplatzhalter 2">
            <a:extLst>
              <a:ext uri="{FF2B5EF4-FFF2-40B4-BE49-F238E27FC236}">
                <a16:creationId xmlns:a16="http://schemas.microsoft.com/office/drawing/2014/main" id="{6AA7C755-455F-E64F-858D-F09F34EDFE1B}"/>
              </a:ext>
            </a:extLst>
          </p:cNvPr>
          <p:cNvSpPr>
            <a:spLocks noGrp="1"/>
          </p:cNvSpPr>
          <p:nvPr>
            <p:ph type="dt" sz="half" idx="10"/>
          </p:nvPr>
        </p:nvSpPr>
        <p:spPr/>
        <p:txBody>
          <a:bodyPr/>
          <a:lstStyle>
            <a:lvl1pPr>
              <a:defRPr>
                <a:solidFill>
                  <a:schemeClr val="bg1"/>
                </a:solidFill>
              </a:defRPr>
            </a:lvl1pPr>
          </a:lstStyle>
          <a:p>
            <a:fld id="{B52ABA71-AAD9-4CC1-80AF-004D4F11852E}" type="datetime1">
              <a:rPr lang="de-DE" smtClean="0"/>
              <a:pPr/>
              <a:t>29.09.25</a:t>
            </a:fld>
            <a:endParaRPr lang="de-DE" dirty="0"/>
          </a:p>
        </p:txBody>
      </p:sp>
      <p:sp>
        <p:nvSpPr>
          <p:cNvPr id="4" name="Fußzeilenplatzhalter 3">
            <a:extLst>
              <a:ext uri="{FF2B5EF4-FFF2-40B4-BE49-F238E27FC236}">
                <a16:creationId xmlns:a16="http://schemas.microsoft.com/office/drawing/2014/main" id="{3FA67B90-8116-1543-AA20-29A5F12E7A47}"/>
              </a:ext>
            </a:extLst>
          </p:cNvPr>
          <p:cNvSpPr>
            <a:spLocks noGrp="1"/>
          </p:cNvSpPr>
          <p:nvPr>
            <p:ph type="ftr" sz="quarter" idx="11"/>
          </p:nvPr>
        </p:nvSpPr>
        <p:spPr/>
        <p:txBody>
          <a:bodyPr/>
          <a:lstStyle>
            <a:lvl1pPr>
              <a:defRPr>
                <a:solidFill>
                  <a:schemeClr val="bg1"/>
                </a:solidFill>
              </a:defRPr>
            </a:lvl1pPr>
          </a:lstStyle>
          <a:p>
            <a:r>
              <a:rPr lang="de-DE"/>
              <a:t>TITEL DER PRÄSENTATION | TITEL VORNAME NAME</a:t>
            </a:r>
            <a:endParaRPr lang="de-DE" dirty="0"/>
          </a:p>
        </p:txBody>
      </p:sp>
      <p:sp>
        <p:nvSpPr>
          <p:cNvPr id="5" name="Foliennummernplatzhalter 4">
            <a:extLst>
              <a:ext uri="{FF2B5EF4-FFF2-40B4-BE49-F238E27FC236}">
                <a16:creationId xmlns:a16="http://schemas.microsoft.com/office/drawing/2014/main" id="{54938C95-87E2-EB43-9C02-3030F7DC11EA}"/>
              </a:ext>
            </a:extLst>
          </p:cNvPr>
          <p:cNvSpPr>
            <a:spLocks noGrp="1"/>
          </p:cNvSpPr>
          <p:nvPr>
            <p:ph type="sldNum" sz="quarter" idx="12"/>
          </p:nvPr>
        </p:nvSpPr>
        <p:spPr/>
        <p:txBody>
          <a:bodyPr/>
          <a:lstStyle>
            <a:lvl1pPr>
              <a:defRPr>
                <a:solidFill>
                  <a:schemeClr val="bg1"/>
                </a:solidFill>
              </a:defRPr>
            </a:lvl1pPr>
          </a:lstStyle>
          <a:p>
            <a:fld id="{09E9C37E-8A19-4E30-BE2B-5A966AD23C7A}" type="slidenum">
              <a:rPr lang="de-DE" smtClean="0"/>
              <a:pPr/>
              <a:t>‹Nr.›</a:t>
            </a:fld>
            <a:endParaRPr lang="de-DE" dirty="0"/>
          </a:p>
        </p:txBody>
      </p:sp>
      <p:sp>
        <p:nvSpPr>
          <p:cNvPr id="11" name="Textfeld 10">
            <a:extLst>
              <a:ext uri="{FF2B5EF4-FFF2-40B4-BE49-F238E27FC236}">
                <a16:creationId xmlns:a16="http://schemas.microsoft.com/office/drawing/2014/main" id="{847D661F-99F9-CE4D-9507-476C46CD638D}"/>
              </a:ext>
            </a:extLst>
          </p:cNvPr>
          <p:cNvSpPr txBox="1"/>
          <p:nvPr userDrawn="1"/>
        </p:nvSpPr>
        <p:spPr bwMode="gray">
          <a:xfrm>
            <a:off x="9359153" y="4374776"/>
            <a:ext cx="0" cy="0"/>
          </a:xfrm>
          <a:prstGeom prst="rect">
            <a:avLst/>
          </a:prstGeom>
          <a:noFill/>
        </p:spPr>
        <p:txBody>
          <a:bodyPr wrap="none" lIns="144000" tIns="144000" rIns="144000" bIns="0" rtlCol="0">
            <a:noAutofit/>
          </a:bodyPr>
          <a:lstStyle/>
          <a:p>
            <a:pPr marL="180000" indent="-180000" algn="l">
              <a:lnSpc>
                <a:spcPct val="112000"/>
              </a:lnSpc>
              <a:spcBef>
                <a:spcPts val="300"/>
              </a:spcBef>
              <a:spcAft>
                <a:spcPts val="300"/>
              </a:spcAft>
              <a:buFont typeface="Wingdings" panose="05000000000000000000" pitchFamily="2" charset="2"/>
              <a:buChar char=""/>
            </a:pPr>
            <a:endParaRPr lang="de-DE" sz="1400" dirty="0" err="1">
              <a:solidFill>
                <a:schemeClr val="tx1"/>
              </a:solidFill>
            </a:endParaRPr>
          </a:p>
        </p:txBody>
      </p:sp>
      <p:sp>
        <p:nvSpPr>
          <p:cNvPr id="13" name="Bildplatzhalter 6">
            <a:extLst>
              <a:ext uri="{FF2B5EF4-FFF2-40B4-BE49-F238E27FC236}">
                <a16:creationId xmlns:a16="http://schemas.microsoft.com/office/drawing/2014/main" id="{7934EBEA-1F19-BB4F-997A-56FA4FCBDA22}"/>
              </a:ext>
            </a:extLst>
          </p:cNvPr>
          <p:cNvSpPr>
            <a:spLocks noGrp="1"/>
          </p:cNvSpPr>
          <p:nvPr>
            <p:ph type="pic" sz="quarter" idx="16"/>
          </p:nvPr>
        </p:nvSpPr>
        <p:spPr>
          <a:xfrm>
            <a:off x="6384002" y="0"/>
            <a:ext cx="5808000" cy="6237288"/>
          </a:xfrm>
        </p:spPr>
        <p:txBody>
          <a:bodyPr/>
          <a:lstStyle/>
          <a:p>
            <a:endParaRPr lang="de-DE" dirty="0"/>
          </a:p>
        </p:txBody>
      </p:sp>
      <p:sp>
        <p:nvSpPr>
          <p:cNvPr id="16" name="Textplatzhalter 8">
            <a:extLst>
              <a:ext uri="{FF2B5EF4-FFF2-40B4-BE49-F238E27FC236}">
                <a16:creationId xmlns:a16="http://schemas.microsoft.com/office/drawing/2014/main" id="{0CEB31BB-3D69-8341-91CA-A347AF7DF874}"/>
              </a:ext>
            </a:extLst>
          </p:cNvPr>
          <p:cNvSpPr>
            <a:spLocks noGrp="1"/>
          </p:cNvSpPr>
          <p:nvPr>
            <p:ph type="body" sz="quarter" idx="19" hasCustomPrompt="1"/>
          </p:nvPr>
        </p:nvSpPr>
        <p:spPr>
          <a:xfrm>
            <a:off x="340992" y="4725000"/>
            <a:ext cx="3743450" cy="1296288"/>
          </a:xfrm>
          <a:solidFill>
            <a:schemeClr val="bg2"/>
          </a:solidFill>
        </p:spPr>
        <p:txBody>
          <a:bodyPr/>
          <a:lstStyle>
            <a:lvl1pPr marL="0" indent="0">
              <a:buNone/>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ext</a:t>
            </a:r>
          </a:p>
        </p:txBody>
      </p:sp>
      <p:sp>
        <p:nvSpPr>
          <p:cNvPr id="17" name="Textplatzhalter 8">
            <a:extLst>
              <a:ext uri="{FF2B5EF4-FFF2-40B4-BE49-F238E27FC236}">
                <a16:creationId xmlns:a16="http://schemas.microsoft.com/office/drawing/2014/main" id="{035DC0FA-B5F0-E44C-8627-283BA2118755}"/>
              </a:ext>
            </a:extLst>
          </p:cNvPr>
          <p:cNvSpPr>
            <a:spLocks noGrp="1"/>
          </p:cNvSpPr>
          <p:nvPr>
            <p:ph type="body" sz="quarter" idx="20" hasCustomPrompt="1"/>
          </p:nvPr>
        </p:nvSpPr>
        <p:spPr>
          <a:xfrm>
            <a:off x="340992" y="4161024"/>
            <a:ext cx="3743450" cy="438782"/>
          </a:xfrm>
          <a:solidFill>
            <a:schemeClr val="bg2"/>
          </a:solidFill>
        </p:spPr>
        <p:txBody>
          <a:bodyPr/>
          <a:lstStyle>
            <a:lvl1pPr marL="0" indent="0">
              <a:buNone/>
              <a:defRPr sz="9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bb. Titel</a:t>
            </a:r>
          </a:p>
        </p:txBody>
      </p:sp>
      <p:sp>
        <p:nvSpPr>
          <p:cNvPr id="18" name="Textplatzhalter 8">
            <a:extLst>
              <a:ext uri="{FF2B5EF4-FFF2-40B4-BE49-F238E27FC236}">
                <a16:creationId xmlns:a16="http://schemas.microsoft.com/office/drawing/2014/main" id="{FE8B719B-445A-7640-9640-4EA5F1A897C5}"/>
              </a:ext>
            </a:extLst>
          </p:cNvPr>
          <p:cNvSpPr>
            <a:spLocks noGrp="1"/>
          </p:cNvSpPr>
          <p:nvPr>
            <p:ph type="body" sz="quarter" idx="21" hasCustomPrompt="1"/>
          </p:nvPr>
        </p:nvSpPr>
        <p:spPr>
          <a:xfrm>
            <a:off x="6717408" y="4725000"/>
            <a:ext cx="3743450" cy="1296288"/>
          </a:xfrm>
          <a:solidFill>
            <a:schemeClr val="bg2"/>
          </a:solidFill>
        </p:spPr>
        <p:txBody>
          <a:bodyPr/>
          <a:lstStyle>
            <a:lvl1pPr marL="0" indent="0">
              <a:buNone/>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ext</a:t>
            </a:r>
          </a:p>
        </p:txBody>
      </p:sp>
      <p:sp>
        <p:nvSpPr>
          <p:cNvPr id="19" name="Textplatzhalter 8">
            <a:extLst>
              <a:ext uri="{FF2B5EF4-FFF2-40B4-BE49-F238E27FC236}">
                <a16:creationId xmlns:a16="http://schemas.microsoft.com/office/drawing/2014/main" id="{80141347-5534-8541-BA1A-CE3225E60960}"/>
              </a:ext>
            </a:extLst>
          </p:cNvPr>
          <p:cNvSpPr>
            <a:spLocks noGrp="1"/>
          </p:cNvSpPr>
          <p:nvPr>
            <p:ph type="body" sz="quarter" idx="22" hasCustomPrompt="1"/>
          </p:nvPr>
        </p:nvSpPr>
        <p:spPr>
          <a:xfrm>
            <a:off x="6717408" y="4161024"/>
            <a:ext cx="3743450" cy="438782"/>
          </a:xfrm>
          <a:solidFill>
            <a:schemeClr val="bg2"/>
          </a:solidFill>
        </p:spPr>
        <p:txBody>
          <a:bodyPr/>
          <a:lstStyle>
            <a:lvl1pPr marL="0" indent="0">
              <a:buNone/>
              <a:defRPr sz="9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bb. Titel</a:t>
            </a:r>
          </a:p>
        </p:txBody>
      </p:sp>
    </p:spTree>
    <p:extLst>
      <p:ext uri="{BB962C8B-B14F-4D97-AF65-F5344CB8AC3E}">
        <p14:creationId xmlns:p14="http://schemas.microsoft.com/office/powerpoint/2010/main" val="5538567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 Bild | Blöck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B99FDCE-C596-4E93-8C7B-370E6DA38BE0}"/>
              </a:ext>
            </a:extLst>
          </p:cNvPr>
          <p:cNvGraphicFramePr>
            <a:graphicFrameLocks noChangeAspect="1"/>
          </p:cNvGraphicFramePr>
          <p:nvPr userDrawn="1">
            <p:custDataLst>
              <p:tags r:id="rId1"/>
            </p:custDataLst>
            <p:extLst>
              <p:ext uri="{D42A27DB-BD31-4B8C-83A1-F6EECF244321}">
                <p14:modId xmlns:p14="http://schemas.microsoft.com/office/powerpoint/2010/main" val="2197980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Picture Placeholder 20">
            <a:extLst>
              <a:ext uri="{FF2B5EF4-FFF2-40B4-BE49-F238E27FC236}">
                <a16:creationId xmlns:a16="http://schemas.microsoft.com/office/drawing/2014/main" id="{5D50F78F-2303-4BE9-BEA9-8C2CB36DB297}"/>
              </a:ext>
            </a:extLst>
          </p:cNvPr>
          <p:cNvSpPr>
            <a:spLocks noGrp="1"/>
          </p:cNvSpPr>
          <p:nvPr>
            <p:ph type="pic" sz="quarter" idx="13" hasCustomPrompt="1"/>
          </p:nvPr>
        </p:nvSpPr>
        <p:spPr bwMode="gray">
          <a:xfrm>
            <a:off x="-1" y="0"/>
            <a:ext cx="12189159" cy="6858000"/>
          </a:xfrm>
          <a:custGeom>
            <a:avLst/>
            <a:gdLst>
              <a:gd name="connsiteX0" fmla="*/ 0 w 12189159"/>
              <a:gd name="connsiteY0" fmla="*/ 0 h 6858000"/>
              <a:gd name="connsiteX1" fmla="*/ 8661159 w 12189159"/>
              <a:gd name="connsiteY1" fmla="*/ 0 h 6858000"/>
              <a:gd name="connsiteX2" fmla="*/ 9310349 w 12189159"/>
              <a:gd name="connsiteY2" fmla="*/ 0 h 6858000"/>
              <a:gd name="connsiteX3" fmla="*/ 9480002 w 12189159"/>
              <a:gd name="connsiteY3" fmla="*/ 0 h 6858000"/>
              <a:gd name="connsiteX4" fmla="*/ 9480002 w 12189159"/>
              <a:gd name="connsiteY4" fmla="*/ 1125539 h 6858000"/>
              <a:gd name="connsiteX5" fmla="*/ 11856002 w 12189159"/>
              <a:gd name="connsiteY5" fmla="*/ 1125539 h 6858000"/>
              <a:gd name="connsiteX6" fmla="*/ 11856002 w 12189159"/>
              <a:gd name="connsiteY6" fmla="*/ 0 h 6858000"/>
              <a:gd name="connsiteX7" fmla="*/ 12189159 w 12189159"/>
              <a:gd name="connsiteY7" fmla="*/ 0 h 6858000"/>
              <a:gd name="connsiteX8" fmla="*/ 12189159 w 12189159"/>
              <a:gd name="connsiteY8" fmla="*/ 2448000 h 6858000"/>
              <a:gd name="connsiteX9" fmla="*/ 12189159 w 12189159"/>
              <a:gd name="connsiteY9" fmla="*/ 6858000 h 6858000"/>
              <a:gd name="connsiteX10" fmla="*/ 10737044 w 12189159"/>
              <a:gd name="connsiteY10" fmla="*/ 6858000 h 6858000"/>
              <a:gd name="connsiteX11" fmla="*/ 7132559 w 12189159"/>
              <a:gd name="connsiteY11" fmla="*/ 6858000 h 6858000"/>
              <a:gd name="connsiteX12" fmla="*/ 0 w 12189159"/>
              <a:gd name="connsiteY12" fmla="*/ 6858000 h 6858000"/>
              <a:gd name="connsiteX13" fmla="*/ 0 w 12189159"/>
              <a:gd name="connsiteY13" fmla="*/ 3392686 h 6858000"/>
              <a:gd name="connsiteX14" fmla="*/ 0 w 12189159"/>
              <a:gd name="connsiteY14" fmla="*/ 148276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9159" h="6858000">
                <a:moveTo>
                  <a:pt x="0" y="0"/>
                </a:moveTo>
                <a:lnTo>
                  <a:pt x="8661159" y="0"/>
                </a:lnTo>
                <a:lnTo>
                  <a:pt x="9310349" y="0"/>
                </a:lnTo>
                <a:lnTo>
                  <a:pt x="9480002" y="0"/>
                </a:lnTo>
                <a:lnTo>
                  <a:pt x="9480002" y="1125539"/>
                </a:lnTo>
                <a:lnTo>
                  <a:pt x="11856002" y="1125539"/>
                </a:lnTo>
                <a:lnTo>
                  <a:pt x="11856002" y="0"/>
                </a:lnTo>
                <a:lnTo>
                  <a:pt x="12189159" y="0"/>
                </a:lnTo>
                <a:lnTo>
                  <a:pt x="12189159" y="2448000"/>
                </a:lnTo>
                <a:lnTo>
                  <a:pt x="12189159" y="6858000"/>
                </a:lnTo>
                <a:lnTo>
                  <a:pt x="10737044" y="6858000"/>
                </a:lnTo>
                <a:lnTo>
                  <a:pt x="7132559" y="6858000"/>
                </a:lnTo>
                <a:lnTo>
                  <a:pt x="0" y="6858000"/>
                </a:lnTo>
                <a:lnTo>
                  <a:pt x="0" y="3392686"/>
                </a:lnTo>
                <a:lnTo>
                  <a:pt x="0" y="1482766"/>
                </a:lnTo>
                <a:close/>
              </a:path>
            </a:pathLst>
          </a:custGeom>
          <a:noFill/>
        </p:spPr>
        <p:txBody>
          <a:bodyPr wrap="square" lIns="6336000" tIns="0" rIns="0" bIns="0" anchor="ctr" anchorCtr="0">
            <a:noAutofit/>
          </a:bodyPr>
          <a:lstStyle>
            <a:lvl1pPr marL="0" indent="0" algn="l">
              <a:spcBef>
                <a:spcPts val="0"/>
              </a:spcBef>
              <a:spcAft>
                <a:spcPts val="0"/>
              </a:spcAft>
              <a:buNone/>
              <a:defRPr sz="800" b="0"/>
            </a:lvl1pPr>
            <a:lvl2pPr marL="0" indent="0" algn="ctr">
              <a:spcBef>
                <a:spcPts val="0"/>
              </a:spcBef>
              <a:spcAft>
                <a:spcPts val="0"/>
              </a:spcAft>
              <a:buFont typeface="Arial" panose="020B0604020202020204" pitchFamily="34" charset="0"/>
              <a:buNone/>
              <a:defRPr sz="1200" b="0"/>
            </a:lvl2pPr>
            <a:lvl3pPr marL="0" indent="0" algn="ctr">
              <a:spcBef>
                <a:spcPts val="0"/>
              </a:spcBef>
              <a:spcAft>
                <a:spcPts val="0"/>
              </a:spcAft>
              <a:buFont typeface="Arial" panose="020B0604020202020204" pitchFamily="34" charset="0"/>
              <a:buNone/>
              <a:defRPr sz="1200" b="0"/>
            </a:lvl3pPr>
            <a:lvl4pPr marL="0" indent="0" algn="ctr">
              <a:spcBef>
                <a:spcPts val="0"/>
              </a:spcBef>
              <a:spcAft>
                <a:spcPts val="0"/>
              </a:spcAft>
              <a:buNone/>
              <a:defRPr sz="1200" b="0"/>
            </a:lvl4pPr>
            <a:lvl5pPr marL="0" indent="0" algn="ctr">
              <a:spcBef>
                <a:spcPts val="0"/>
              </a:spcBef>
              <a:spcAft>
                <a:spcPts val="0"/>
              </a:spcAft>
              <a:buNone/>
              <a:defRPr sz="1200" b="0"/>
            </a:lvl5pPr>
            <a:lvl6pPr marL="0" indent="0" algn="ctr">
              <a:spcBef>
                <a:spcPts val="0"/>
              </a:spcBef>
              <a:spcAft>
                <a:spcPts val="0"/>
              </a:spcAft>
              <a:buNone/>
              <a:defRPr sz="1200" b="0"/>
            </a:lvl6pPr>
            <a:lvl7pPr marL="0" indent="0" algn="ctr">
              <a:spcBef>
                <a:spcPts val="0"/>
              </a:spcBef>
              <a:spcAft>
                <a:spcPts val="0"/>
              </a:spcAft>
              <a:buNone/>
              <a:defRPr sz="1200" b="0"/>
            </a:lvl7pPr>
            <a:lvl8pPr marL="0" indent="0" algn="ctr">
              <a:spcBef>
                <a:spcPts val="0"/>
              </a:spcBef>
              <a:spcAft>
                <a:spcPts val="0"/>
              </a:spcAft>
              <a:buNone/>
              <a:defRPr sz="1200" b="0"/>
            </a:lvl8pPr>
            <a:lvl9pPr marL="0" indent="0" algn="ctr">
              <a:spcBef>
                <a:spcPts val="0"/>
              </a:spcBef>
              <a:spcAft>
                <a:spcPts val="0"/>
              </a:spcAft>
              <a:buNone/>
              <a:defRPr sz="1200" b="0"/>
            </a:lvl9pPr>
          </a:lstStyle>
          <a:p>
            <a:pPr lvl="0"/>
            <a:r>
              <a:rPr lang="de-DE" dirty="0"/>
              <a:t>Bild durch Klick </a:t>
            </a:r>
            <a:br>
              <a:rPr lang="de-DE" dirty="0"/>
            </a:br>
            <a:r>
              <a:rPr lang="de-DE" dirty="0"/>
              <a:t>auf Symbol hinzufügen </a:t>
            </a:r>
          </a:p>
        </p:txBody>
      </p:sp>
      <p:sp>
        <p:nvSpPr>
          <p:cNvPr id="3" name="Untertitel 2">
            <a:extLst>
              <a:ext uri="{FF2B5EF4-FFF2-40B4-BE49-F238E27FC236}">
                <a16:creationId xmlns:a16="http://schemas.microsoft.com/office/drawing/2014/main" id="{47630F15-288C-4EC6-8912-C37F9B261344}"/>
              </a:ext>
            </a:extLst>
          </p:cNvPr>
          <p:cNvSpPr>
            <a:spLocks noGrp="1"/>
          </p:cNvSpPr>
          <p:nvPr>
            <p:ph type="subTitle" idx="1"/>
          </p:nvPr>
        </p:nvSpPr>
        <p:spPr bwMode="gray">
          <a:xfrm>
            <a:off x="336000" y="332999"/>
            <a:ext cx="7415764" cy="432000"/>
          </a:xfrm>
        </p:spPr>
        <p:txBody>
          <a:bodyPr lIns="144000" tIns="36000" rIns="0">
            <a:noAutofit/>
          </a:bodyPr>
          <a:lstStyle>
            <a:lvl1pPr marL="0" indent="0" algn="l">
              <a:lnSpc>
                <a:spcPct val="112000"/>
              </a:lnSpc>
              <a:spcBef>
                <a:spcPts val="0"/>
              </a:spcBef>
              <a:spcAft>
                <a:spcPts val="0"/>
              </a:spcAft>
              <a:buNone/>
              <a:defRPr sz="800">
                <a:solidFill>
                  <a:schemeClr val="tx1"/>
                </a:solidFill>
              </a:defRPr>
            </a:lvl1pPr>
            <a:lvl2pPr marL="0" indent="0" algn="l">
              <a:lnSpc>
                <a:spcPct val="112000"/>
              </a:lnSpc>
              <a:spcBef>
                <a:spcPts val="0"/>
              </a:spcBef>
              <a:spcAft>
                <a:spcPts val="0"/>
              </a:spcAft>
              <a:buNone/>
              <a:defRPr sz="800">
                <a:solidFill>
                  <a:schemeClr val="tx1"/>
                </a:solidFill>
              </a:defRPr>
            </a:lvl2pPr>
            <a:lvl3pPr marL="0" indent="0" algn="l">
              <a:lnSpc>
                <a:spcPct val="112000"/>
              </a:lnSpc>
              <a:spcBef>
                <a:spcPts val="0"/>
              </a:spcBef>
              <a:spcAft>
                <a:spcPts val="0"/>
              </a:spcAft>
              <a:buNone/>
              <a:defRPr sz="800" b="0">
                <a:solidFill>
                  <a:schemeClr val="tx1"/>
                </a:solidFill>
              </a:defRPr>
            </a:lvl3pPr>
            <a:lvl4pPr marL="0" indent="0" algn="l">
              <a:lnSpc>
                <a:spcPct val="112000"/>
              </a:lnSpc>
              <a:spcBef>
                <a:spcPts val="0"/>
              </a:spcBef>
              <a:spcAft>
                <a:spcPts val="0"/>
              </a:spcAft>
              <a:buNone/>
              <a:defRPr sz="800">
                <a:solidFill>
                  <a:schemeClr val="tx1"/>
                </a:solidFill>
              </a:defRPr>
            </a:lvl4pPr>
            <a:lvl5pPr marL="0" indent="0" algn="l">
              <a:lnSpc>
                <a:spcPct val="112000"/>
              </a:lnSpc>
              <a:spcBef>
                <a:spcPts val="0"/>
              </a:spcBef>
              <a:spcAft>
                <a:spcPts val="0"/>
              </a:spcAft>
              <a:buNone/>
              <a:defRPr sz="800">
                <a:solidFill>
                  <a:schemeClr val="tx1"/>
                </a:solidFill>
              </a:defRPr>
            </a:lvl5pPr>
            <a:lvl6pPr marL="0" indent="0" algn="l">
              <a:lnSpc>
                <a:spcPct val="112000"/>
              </a:lnSpc>
              <a:spcBef>
                <a:spcPts val="0"/>
              </a:spcBef>
              <a:spcAft>
                <a:spcPts val="0"/>
              </a:spcAft>
              <a:buNone/>
              <a:defRPr sz="800">
                <a:solidFill>
                  <a:schemeClr val="tx1"/>
                </a:solidFill>
              </a:defRPr>
            </a:lvl6pPr>
            <a:lvl7pPr marL="0" indent="0" algn="l">
              <a:lnSpc>
                <a:spcPct val="112000"/>
              </a:lnSpc>
              <a:spcBef>
                <a:spcPts val="0"/>
              </a:spcBef>
              <a:spcAft>
                <a:spcPts val="0"/>
              </a:spcAft>
              <a:buNone/>
              <a:defRPr sz="800">
                <a:solidFill>
                  <a:schemeClr val="tx1"/>
                </a:solidFill>
              </a:defRPr>
            </a:lvl7pPr>
            <a:lvl8pPr marL="0" indent="0" algn="l">
              <a:lnSpc>
                <a:spcPct val="112000"/>
              </a:lnSpc>
              <a:spcBef>
                <a:spcPts val="0"/>
              </a:spcBef>
              <a:spcAft>
                <a:spcPts val="0"/>
              </a:spcAft>
              <a:buNone/>
              <a:defRPr sz="800">
                <a:solidFill>
                  <a:schemeClr val="tx1"/>
                </a:solidFill>
              </a:defRPr>
            </a:lvl8pPr>
            <a:lvl9pPr marL="0" indent="0" algn="l">
              <a:lnSpc>
                <a:spcPct val="112000"/>
              </a:lnSpc>
              <a:spcBef>
                <a:spcPts val="0"/>
              </a:spcBef>
              <a:spcAft>
                <a:spcPts val="0"/>
              </a:spcAft>
              <a:buNone/>
              <a:defRPr sz="800">
                <a:solidFill>
                  <a:schemeClr val="tx1"/>
                </a:solidFill>
              </a:defRPr>
            </a:lvl9pPr>
          </a:lstStyle>
          <a:p>
            <a:pPr lvl="0"/>
            <a:r>
              <a:rPr lang="de-DE" dirty="0"/>
              <a:t>Master-Untertitelformat bearbeiten</a:t>
            </a:r>
          </a:p>
        </p:txBody>
      </p:sp>
      <p:sp>
        <p:nvSpPr>
          <p:cNvPr id="9" name="Footer Placeholder 8">
            <a:extLst>
              <a:ext uri="{FF2B5EF4-FFF2-40B4-BE49-F238E27FC236}">
                <a16:creationId xmlns:a16="http://schemas.microsoft.com/office/drawing/2014/main" id="{245EE831-96BA-4FDA-86F1-A67F670F82EE}"/>
              </a:ext>
            </a:extLst>
          </p:cNvPr>
          <p:cNvSpPr>
            <a:spLocks noGrp="1"/>
          </p:cNvSpPr>
          <p:nvPr>
            <p:ph type="ftr" sz="quarter" idx="18"/>
          </p:nvPr>
        </p:nvSpPr>
        <p:spPr bwMode="gray">
          <a:xfrm>
            <a:off x="336000" y="6165000"/>
            <a:ext cx="5472000" cy="432000"/>
          </a:xfrm>
        </p:spPr>
        <p:txBody>
          <a:bodyPr/>
          <a:lstStyle>
            <a:lvl1pPr>
              <a:defRPr>
                <a:solidFill>
                  <a:schemeClr val="tx1"/>
                </a:solidFill>
              </a:defRPr>
            </a:lvl1pPr>
          </a:lstStyle>
          <a:p>
            <a:r>
              <a:rPr lang="de-DE" dirty="0"/>
              <a:t>TITEL DER PRÄSENTATION | TITEL VORNAME NAME</a:t>
            </a:r>
          </a:p>
        </p:txBody>
      </p:sp>
      <p:sp>
        <p:nvSpPr>
          <p:cNvPr id="10" name="Textplatzhalter 29">
            <a:extLst>
              <a:ext uri="{FF2B5EF4-FFF2-40B4-BE49-F238E27FC236}">
                <a16:creationId xmlns:a16="http://schemas.microsoft.com/office/drawing/2014/main" id="{99FC0466-C20B-4F81-A527-8F90BEBF4376}"/>
              </a:ext>
            </a:extLst>
          </p:cNvPr>
          <p:cNvSpPr>
            <a:spLocks noGrp="1"/>
          </p:cNvSpPr>
          <p:nvPr>
            <p:ph type="body" sz="quarter" idx="14" hasCustomPrompt="1"/>
          </p:nvPr>
        </p:nvSpPr>
        <p:spPr bwMode="gray">
          <a:xfrm>
            <a:off x="2" y="1978262"/>
            <a:ext cx="6903352" cy="514738"/>
          </a:xfrm>
          <a:prstGeom prst="rect">
            <a:avLst/>
          </a:prstGeom>
          <a:solidFill>
            <a:srgbClr val="009EE0"/>
          </a:solidFill>
        </p:spPr>
        <p:txBody>
          <a:bodyPr wrap="none" lIns="468000" tIns="72000" rIns="144000" bIns="72000" anchor="t" anchorCtr="0">
            <a:spAutoFit/>
          </a:bodyPr>
          <a:lstStyle>
            <a:lvl1pPr marL="0" indent="0">
              <a:lnSpc>
                <a:spcPct val="100000"/>
              </a:lnSpc>
              <a:spcBef>
                <a:spcPts val="0"/>
              </a:spcBef>
              <a:spcAft>
                <a:spcPts val="0"/>
              </a:spcAft>
              <a:buNone/>
              <a:defRPr sz="2400" b="1" cap="all">
                <a:solidFill>
                  <a:schemeClr val="bg1"/>
                </a:solidFill>
              </a:defRPr>
            </a:lvl1pPr>
            <a:lvl2pPr marL="0" indent="0">
              <a:lnSpc>
                <a:spcPct val="100000"/>
              </a:lnSpc>
              <a:spcBef>
                <a:spcPts val="0"/>
              </a:spcBef>
              <a:spcAft>
                <a:spcPts val="0"/>
              </a:spcAft>
              <a:buFont typeface="Arial" panose="020B0604020202020204" pitchFamily="34" charset="0"/>
              <a:buNone/>
              <a:defRPr sz="2400" b="1" cap="all">
                <a:solidFill>
                  <a:schemeClr val="bg1"/>
                </a:solidFill>
              </a:defRPr>
            </a:lvl2pPr>
            <a:lvl3pPr marL="0" indent="0">
              <a:lnSpc>
                <a:spcPct val="100000"/>
              </a:lnSpc>
              <a:spcBef>
                <a:spcPts val="0"/>
              </a:spcBef>
              <a:spcAft>
                <a:spcPts val="0"/>
              </a:spcAft>
              <a:buFont typeface="Arial" panose="020B0604020202020204" pitchFamily="34" charset="0"/>
              <a:buNone/>
              <a:defRPr sz="2400" b="1" cap="all">
                <a:solidFill>
                  <a:schemeClr val="bg1"/>
                </a:solidFill>
              </a:defRPr>
            </a:lvl3pPr>
            <a:lvl4pPr marL="0" indent="0">
              <a:lnSpc>
                <a:spcPct val="100000"/>
              </a:lnSpc>
              <a:spcBef>
                <a:spcPts val="0"/>
              </a:spcBef>
              <a:spcAft>
                <a:spcPts val="0"/>
              </a:spcAft>
              <a:buNone/>
              <a:defRPr sz="2400" b="1" cap="all">
                <a:solidFill>
                  <a:schemeClr val="bg1"/>
                </a:solidFill>
              </a:defRPr>
            </a:lvl4pPr>
            <a:lvl5pPr marL="0" indent="0">
              <a:lnSpc>
                <a:spcPct val="100000"/>
              </a:lnSpc>
              <a:spcBef>
                <a:spcPts val="0"/>
              </a:spcBef>
              <a:spcAft>
                <a:spcPts val="0"/>
              </a:spcAft>
              <a:buNone/>
              <a:defRPr sz="2400" b="1" cap="all">
                <a:solidFill>
                  <a:schemeClr val="bg1"/>
                </a:solidFill>
              </a:defRPr>
            </a:lvl5pPr>
            <a:lvl6pPr marL="0" indent="0">
              <a:lnSpc>
                <a:spcPct val="100000"/>
              </a:lnSpc>
              <a:spcBef>
                <a:spcPts val="0"/>
              </a:spcBef>
              <a:spcAft>
                <a:spcPts val="0"/>
              </a:spcAft>
              <a:buNone/>
              <a:defRPr sz="2400" b="1" cap="all">
                <a:solidFill>
                  <a:schemeClr val="bg1"/>
                </a:solidFill>
              </a:defRPr>
            </a:lvl6pPr>
            <a:lvl7pPr marL="0" indent="0">
              <a:lnSpc>
                <a:spcPct val="100000"/>
              </a:lnSpc>
              <a:spcBef>
                <a:spcPts val="0"/>
              </a:spcBef>
              <a:spcAft>
                <a:spcPts val="0"/>
              </a:spcAft>
              <a:buNone/>
              <a:defRPr sz="2400" b="1" cap="all">
                <a:solidFill>
                  <a:schemeClr val="bg1"/>
                </a:solidFill>
              </a:defRPr>
            </a:lvl7pPr>
            <a:lvl8pPr marL="0" indent="0">
              <a:lnSpc>
                <a:spcPct val="100000"/>
              </a:lnSpc>
              <a:spcBef>
                <a:spcPts val="0"/>
              </a:spcBef>
              <a:spcAft>
                <a:spcPts val="0"/>
              </a:spcAft>
              <a:buNone/>
              <a:defRPr sz="2400" b="1" cap="all">
                <a:solidFill>
                  <a:schemeClr val="bg1"/>
                </a:solidFill>
              </a:defRPr>
            </a:lvl8pPr>
            <a:lvl9pPr marL="0" indent="0">
              <a:lnSpc>
                <a:spcPct val="100000"/>
              </a:lnSpc>
              <a:spcBef>
                <a:spcPts val="0"/>
              </a:spcBef>
              <a:spcAft>
                <a:spcPts val="0"/>
              </a:spcAft>
              <a:buNone/>
              <a:defRPr sz="2400" b="1" cap="all">
                <a:solidFill>
                  <a:schemeClr val="bg1"/>
                </a:solidFill>
              </a:defRPr>
            </a:lvl9pPr>
          </a:lstStyle>
          <a:p>
            <a:pPr lvl="0"/>
            <a:r>
              <a:rPr lang="de-DE" dirty="0"/>
              <a:t>Mastertextformat zweite Zeile</a:t>
            </a:r>
          </a:p>
        </p:txBody>
      </p:sp>
      <p:sp>
        <p:nvSpPr>
          <p:cNvPr id="11" name="Textplatzhalter 26">
            <a:extLst>
              <a:ext uri="{FF2B5EF4-FFF2-40B4-BE49-F238E27FC236}">
                <a16:creationId xmlns:a16="http://schemas.microsoft.com/office/drawing/2014/main" id="{1878B87D-28F1-4204-9147-5E3FB087C24C}"/>
              </a:ext>
            </a:extLst>
          </p:cNvPr>
          <p:cNvSpPr>
            <a:spLocks noGrp="1"/>
          </p:cNvSpPr>
          <p:nvPr>
            <p:ph type="body" sz="quarter" idx="15" hasCustomPrompt="1"/>
          </p:nvPr>
        </p:nvSpPr>
        <p:spPr bwMode="gray">
          <a:xfrm>
            <a:off x="0" y="3141000"/>
            <a:ext cx="2498300" cy="268517"/>
          </a:xfrm>
          <a:prstGeom prst="rect">
            <a:avLst/>
          </a:prstGeom>
          <a:solidFill>
            <a:schemeClr val="tx2"/>
          </a:solidFill>
        </p:spPr>
        <p:txBody>
          <a:bodyPr wrap="none" lIns="468000" tIns="72000" rIns="144000" bIns="72000">
            <a:spAutoFit/>
          </a:bodyPr>
          <a:lstStyle>
            <a:lvl1pPr marL="0" indent="0">
              <a:lnSpc>
                <a:spcPct val="100000"/>
              </a:lnSpc>
              <a:spcBef>
                <a:spcPts val="0"/>
              </a:spcBef>
              <a:spcAft>
                <a:spcPts val="0"/>
              </a:spcAft>
              <a:buNone/>
              <a:defRPr sz="800" b="0" cap="all">
                <a:solidFill>
                  <a:schemeClr val="bg1"/>
                </a:solidFill>
                <a:latin typeface="+mj-lt"/>
              </a:defRPr>
            </a:lvl1pPr>
            <a:lvl2pPr marL="0" indent="0">
              <a:lnSpc>
                <a:spcPct val="100000"/>
              </a:lnSpc>
              <a:spcBef>
                <a:spcPts val="0"/>
              </a:spcBef>
              <a:spcAft>
                <a:spcPts val="0"/>
              </a:spcAft>
              <a:buFont typeface="Arial" panose="020B0604020202020204" pitchFamily="34" charset="0"/>
              <a:buNone/>
              <a:defRPr sz="800" b="0" cap="all">
                <a:solidFill>
                  <a:schemeClr val="bg1"/>
                </a:solidFill>
                <a:latin typeface="+mj-lt"/>
              </a:defRPr>
            </a:lvl2pPr>
            <a:lvl3pPr marL="0" indent="0">
              <a:lnSpc>
                <a:spcPct val="100000"/>
              </a:lnSpc>
              <a:spcBef>
                <a:spcPts val="0"/>
              </a:spcBef>
              <a:spcAft>
                <a:spcPts val="0"/>
              </a:spcAft>
              <a:buFont typeface="Arial" panose="020B0604020202020204" pitchFamily="34" charset="0"/>
              <a:buNone/>
              <a:defRPr sz="800" b="0" cap="all">
                <a:solidFill>
                  <a:schemeClr val="bg1"/>
                </a:solidFill>
                <a:latin typeface="+mj-lt"/>
              </a:defRPr>
            </a:lvl3pPr>
            <a:lvl4pPr marL="0" indent="0">
              <a:lnSpc>
                <a:spcPct val="100000"/>
              </a:lnSpc>
              <a:spcBef>
                <a:spcPts val="0"/>
              </a:spcBef>
              <a:spcAft>
                <a:spcPts val="0"/>
              </a:spcAft>
              <a:buNone/>
              <a:defRPr sz="800" b="0" cap="all">
                <a:solidFill>
                  <a:schemeClr val="bg1"/>
                </a:solidFill>
                <a:latin typeface="+mj-lt"/>
              </a:defRPr>
            </a:lvl4pPr>
            <a:lvl5pPr marL="0" indent="0">
              <a:lnSpc>
                <a:spcPct val="100000"/>
              </a:lnSpc>
              <a:spcBef>
                <a:spcPts val="0"/>
              </a:spcBef>
              <a:spcAft>
                <a:spcPts val="0"/>
              </a:spcAft>
              <a:buNone/>
              <a:defRPr sz="800" b="0" cap="all">
                <a:solidFill>
                  <a:schemeClr val="bg1"/>
                </a:solidFill>
                <a:latin typeface="+mj-lt"/>
              </a:defRPr>
            </a:lvl5pPr>
            <a:lvl6pPr marL="0" indent="0">
              <a:lnSpc>
                <a:spcPct val="100000"/>
              </a:lnSpc>
              <a:spcBef>
                <a:spcPts val="0"/>
              </a:spcBef>
              <a:spcAft>
                <a:spcPts val="0"/>
              </a:spcAft>
              <a:buNone/>
              <a:defRPr sz="800" b="0" cap="all">
                <a:solidFill>
                  <a:schemeClr val="bg1"/>
                </a:solidFill>
                <a:latin typeface="+mj-lt"/>
              </a:defRPr>
            </a:lvl6pPr>
            <a:lvl7pPr marL="0" indent="0">
              <a:lnSpc>
                <a:spcPct val="100000"/>
              </a:lnSpc>
              <a:spcBef>
                <a:spcPts val="0"/>
              </a:spcBef>
              <a:spcAft>
                <a:spcPts val="0"/>
              </a:spcAft>
              <a:buNone/>
              <a:defRPr sz="800" b="0" cap="all">
                <a:solidFill>
                  <a:schemeClr val="bg1"/>
                </a:solidFill>
                <a:latin typeface="+mj-lt"/>
              </a:defRPr>
            </a:lvl7pPr>
            <a:lvl8pPr marL="0" indent="0">
              <a:lnSpc>
                <a:spcPct val="100000"/>
              </a:lnSpc>
              <a:spcBef>
                <a:spcPts val="0"/>
              </a:spcBef>
              <a:spcAft>
                <a:spcPts val="0"/>
              </a:spcAft>
              <a:buNone/>
              <a:defRPr sz="800" b="0" cap="all">
                <a:solidFill>
                  <a:schemeClr val="bg1"/>
                </a:solidFill>
                <a:latin typeface="+mj-lt"/>
              </a:defRPr>
            </a:lvl8pPr>
            <a:lvl9pPr marL="0" indent="0">
              <a:lnSpc>
                <a:spcPct val="100000"/>
              </a:lnSpc>
              <a:spcBef>
                <a:spcPts val="0"/>
              </a:spcBef>
              <a:spcAft>
                <a:spcPts val="0"/>
              </a:spcAft>
              <a:buNone/>
              <a:defRPr sz="800" b="0" cap="all">
                <a:solidFill>
                  <a:schemeClr val="bg1"/>
                </a:solidFill>
                <a:latin typeface="+mj-lt"/>
              </a:defRPr>
            </a:lvl9pPr>
          </a:lstStyle>
          <a:p>
            <a:pPr lvl="0"/>
            <a:r>
              <a:rPr lang="de-DE" dirty="0"/>
              <a:t>DATUM | ORT | STUDIENGANG ETC.</a:t>
            </a:r>
          </a:p>
        </p:txBody>
      </p:sp>
      <p:sp>
        <p:nvSpPr>
          <p:cNvPr id="12" name="Titel 1">
            <a:extLst>
              <a:ext uri="{FF2B5EF4-FFF2-40B4-BE49-F238E27FC236}">
                <a16:creationId xmlns:a16="http://schemas.microsoft.com/office/drawing/2014/main" id="{E55570A2-23AA-425D-8570-F3A44FB2F692}"/>
              </a:ext>
            </a:extLst>
          </p:cNvPr>
          <p:cNvSpPr>
            <a:spLocks noGrp="1"/>
          </p:cNvSpPr>
          <p:nvPr>
            <p:ph type="ctrTitle"/>
          </p:nvPr>
        </p:nvSpPr>
        <p:spPr bwMode="gray">
          <a:xfrm>
            <a:off x="0" y="1413000"/>
            <a:ext cx="6786332" cy="514738"/>
          </a:xfrm>
          <a:solidFill>
            <a:schemeClr val="tx2"/>
          </a:solidFill>
        </p:spPr>
        <p:txBody>
          <a:bodyPr vert="horz" wrap="none" lIns="468000" tIns="72000" rIns="144000" bIns="72000" anchor="t" anchorCtr="0">
            <a:spAutoFit/>
          </a:bodyPr>
          <a:lstStyle>
            <a:lvl1pPr algn="l">
              <a:lnSpc>
                <a:spcPct val="100000"/>
              </a:lnSpc>
              <a:defRPr sz="2400">
                <a:solidFill>
                  <a:schemeClr val="bg1"/>
                </a:solidFill>
              </a:defRPr>
            </a:lvl1pPr>
          </a:lstStyle>
          <a:p>
            <a:r>
              <a:rPr lang="de-DE" dirty="0"/>
              <a:t>Mastertitelformat bearbeiten</a:t>
            </a:r>
          </a:p>
        </p:txBody>
      </p:sp>
      <p:sp>
        <p:nvSpPr>
          <p:cNvPr id="13" name="Textplatzhalter 6">
            <a:extLst>
              <a:ext uri="{FF2B5EF4-FFF2-40B4-BE49-F238E27FC236}">
                <a16:creationId xmlns:a16="http://schemas.microsoft.com/office/drawing/2014/main" id="{E3C3F616-5696-4D5C-99FA-4097043A5D28}"/>
              </a:ext>
            </a:extLst>
          </p:cNvPr>
          <p:cNvSpPr>
            <a:spLocks noGrp="1"/>
          </p:cNvSpPr>
          <p:nvPr>
            <p:ph type="body" sz="quarter" idx="16" hasCustomPrompt="1"/>
          </p:nvPr>
        </p:nvSpPr>
        <p:spPr bwMode="gray">
          <a:xfrm>
            <a:off x="0" y="2554262"/>
            <a:ext cx="6837628" cy="514738"/>
          </a:xfrm>
          <a:prstGeom prst="rect">
            <a:avLst/>
          </a:prstGeom>
          <a:solidFill>
            <a:schemeClr val="tx2"/>
          </a:solidFill>
        </p:spPr>
        <p:txBody>
          <a:bodyPr wrap="none" lIns="468000" tIns="72000" rIns="144000" bIns="72000" anchor="t" anchorCtr="0">
            <a:spAutoFit/>
          </a:bodyPr>
          <a:lstStyle>
            <a:lvl1pPr marL="0" indent="0" algn="l">
              <a:lnSpc>
                <a:spcPct val="100000"/>
              </a:lnSpc>
              <a:spcBef>
                <a:spcPts val="0"/>
              </a:spcBef>
              <a:spcAft>
                <a:spcPts val="0"/>
              </a:spcAft>
              <a:buFont typeface="Arial" panose="020B0604020202020204" pitchFamily="34" charset="0"/>
              <a:buNone/>
              <a:defRPr sz="2400" b="1" cap="all" baseline="0">
                <a:solidFill>
                  <a:schemeClr val="bg1"/>
                </a:solidFill>
              </a:defRPr>
            </a:lvl1pPr>
            <a:lvl2pPr marL="0" indent="0" algn="l">
              <a:lnSpc>
                <a:spcPct val="100000"/>
              </a:lnSpc>
              <a:spcBef>
                <a:spcPts val="0"/>
              </a:spcBef>
              <a:spcAft>
                <a:spcPts val="0"/>
              </a:spcAft>
              <a:buNone/>
              <a:defRPr sz="2400" b="1" cap="all" baseline="0">
                <a:solidFill>
                  <a:schemeClr val="bg1"/>
                </a:solidFill>
              </a:defRPr>
            </a:lvl2pPr>
            <a:lvl3pPr marL="0" indent="0" algn="l">
              <a:lnSpc>
                <a:spcPct val="100000"/>
              </a:lnSpc>
              <a:spcBef>
                <a:spcPts val="0"/>
              </a:spcBef>
              <a:spcAft>
                <a:spcPts val="0"/>
              </a:spcAft>
              <a:buNone/>
              <a:defRPr sz="2400" b="1" cap="all" baseline="0">
                <a:solidFill>
                  <a:schemeClr val="bg1"/>
                </a:solidFill>
              </a:defRPr>
            </a:lvl3pPr>
            <a:lvl4pPr marL="0" indent="0" algn="l">
              <a:lnSpc>
                <a:spcPct val="100000"/>
              </a:lnSpc>
              <a:spcBef>
                <a:spcPts val="0"/>
              </a:spcBef>
              <a:spcAft>
                <a:spcPts val="0"/>
              </a:spcAft>
              <a:buNone/>
              <a:defRPr sz="2400" b="1" cap="all" baseline="0">
                <a:solidFill>
                  <a:schemeClr val="bg1"/>
                </a:solidFill>
              </a:defRPr>
            </a:lvl4pPr>
            <a:lvl5pPr marL="0" indent="0" algn="l">
              <a:lnSpc>
                <a:spcPct val="100000"/>
              </a:lnSpc>
              <a:spcBef>
                <a:spcPts val="0"/>
              </a:spcBef>
              <a:spcAft>
                <a:spcPts val="0"/>
              </a:spcAft>
              <a:buNone/>
              <a:defRPr sz="2400" b="1" cap="all" baseline="0">
                <a:solidFill>
                  <a:schemeClr val="bg1"/>
                </a:solidFill>
              </a:defRPr>
            </a:lvl5pPr>
            <a:lvl6pPr marL="0" indent="0" algn="l">
              <a:lnSpc>
                <a:spcPct val="100000"/>
              </a:lnSpc>
              <a:spcBef>
                <a:spcPts val="0"/>
              </a:spcBef>
              <a:spcAft>
                <a:spcPts val="0"/>
              </a:spcAft>
              <a:buNone/>
              <a:defRPr sz="2400" b="1" cap="all" baseline="0">
                <a:solidFill>
                  <a:schemeClr val="bg1"/>
                </a:solidFill>
              </a:defRPr>
            </a:lvl6pPr>
            <a:lvl7pPr marL="0" indent="0" algn="l">
              <a:lnSpc>
                <a:spcPct val="100000"/>
              </a:lnSpc>
              <a:spcBef>
                <a:spcPts val="0"/>
              </a:spcBef>
              <a:spcAft>
                <a:spcPts val="0"/>
              </a:spcAft>
              <a:buNone/>
              <a:defRPr sz="2400" b="1" cap="all" baseline="0">
                <a:solidFill>
                  <a:schemeClr val="bg1"/>
                </a:solidFill>
              </a:defRPr>
            </a:lvl7pPr>
            <a:lvl8pPr marL="0" indent="0" algn="l">
              <a:lnSpc>
                <a:spcPct val="100000"/>
              </a:lnSpc>
              <a:spcBef>
                <a:spcPts val="0"/>
              </a:spcBef>
              <a:spcAft>
                <a:spcPts val="0"/>
              </a:spcAft>
              <a:buNone/>
              <a:defRPr sz="2400" b="1" cap="all" baseline="0">
                <a:solidFill>
                  <a:schemeClr val="bg1"/>
                </a:solidFill>
              </a:defRPr>
            </a:lvl8pPr>
            <a:lvl9pPr marL="0" indent="0" algn="l">
              <a:lnSpc>
                <a:spcPct val="100000"/>
              </a:lnSpc>
              <a:spcBef>
                <a:spcPts val="0"/>
              </a:spcBef>
              <a:spcAft>
                <a:spcPts val="0"/>
              </a:spcAft>
              <a:buNone/>
              <a:defRPr sz="2400" b="1" cap="all" baseline="0">
                <a:solidFill>
                  <a:schemeClr val="bg1"/>
                </a:solidFill>
              </a:defRPr>
            </a:lvl9pPr>
          </a:lstStyle>
          <a:p>
            <a:pPr lvl="0"/>
            <a:r>
              <a:rPr lang="de-DE" dirty="0"/>
              <a:t>Mastertextformat DRITTE Zeile</a:t>
            </a:r>
          </a:p>
        </p:txBody>
      </p:sp>
    </p:spTree>
    <p:extLst>
      <p:ext uri="{BB962C8B-B14F-4D97-AF65-F5344CB8AC3E}">
        <p14:creationId xmlns:p14="http://schemas.microsoft.com/office/powerpoint/2010/main" val="1658746634"/>
      </p:ext>
    </p:extLst>
  </p:cSld>
  <p:clrMapOvr>
    <a:masterClrMapping/>
  </p:clrMapOvr>
  <p:extLst>
    <p:ext uri="{DCECCB84-F9BA-43D5-87BE-67443E8EF086}">
      <p15:sldGuideLst xmlns:p15="http://schemas.microsoft.com/office/powerpoint/2012/main">
        <p15:guide id="1" orient="horz" pos="890">
          <p15:clr>
            <a:srgbClr val="F26B43"/>
          </p15:clr>
        </p15:guide>
        <p15:guide id="2" pos="4883">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bbildung (3)">
    <p:bg>
      <p:bgPr>
        <a:solidFill>
          <a:schemeClr val="tx1"/>
        </a:solidFill>
        <a:effectLst/>
      </p:bgPr>
    </p:bg>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3E30F3D6-A6B1-9647-8984-8C02B8807803}"/>
              </a:ext>
            </a:extLst>
          </p:cNvPr>
          <p:cNvSpPr>
            <a:spLocks noGrp="1"/>
          </p:cNvSpPr>
          <p:nvPr>
            <p:ph type="pic" sz="quarter" idx="13"/>
          </p:nvPr>
        </p:nvSpPr>
        <p:spPr>
          <a:xfrm>
            <a:off x="0" y="3429000"/>
            <a:ext cx="5808000" cy="2808288"/>
          </a:xfrm>
        </p:spPr>
        <p:txBody>
          <a:bodyPr/>
          <a:lstStyle/>
          <a:p>
            <a:endParaRPr lang="de-DE" dirty="0"/>
          </a:p>
        </p:txBody>
      </p:sp>
      <p:sp>
        <p:nvSpPr>
          <p:cNvPr id="3" name="Datumsplatzhalter 2">
            <a:extLst>
              <a:ext uri="{FF2B5EF4-FFF2-40B4-BE49-F238E27FC236}">
                <a16:creationId xmlns:a16="http://schemas.microsoft.com/office/drawing/2014/main" id="{6AA7C755-455F-E64F-858D-F09F34EDFE1B}"/>
              </a:ext>
            </a:extLst>
          </p:cNvPr>
          <p:cNvSpPr>
            <a:spLocks noGrp="1"/>
          </p:cNvSpPr>
          <p:nvPr>
            <p:ph type="dt" sz="half" idx="10"/>
          </p:nvPr>
        </p:nvSpPr>
        <p:spPr/>
        <p:txBody>
          <a:bodyPr/>
          <a:lstStyle>
            <a:lvl1pPr>
              <a:defRPr>
                <a:solidFill>
                  <a:schemeClr val="bg1"/>
                </a:solidFill>
              </a:defRPr>
            </a:lvl1pPr>
          </a:lstStyle>
          <a:p>
            <a:fld id="{B52ABA71-AAD9-4CC1-80AF-004D4F11852E}" type="datetime1">
              <a:rPr lang="de-DE" smtClean="0"/>
              <a:pPr/>
              <a:t>29.09.25</a:t>
            </a:fld>
            <a:endParaRPr lang="de-DE" dirty="0"/>
          </a:p>
        </p:txBody>
      </p:sp>
      <p:sp>
        <p:nvSpPr>
          <p:cNvPr id="4" name="Fußzeilenplatzhalter 3">
            <a:extLst>
              <a:ext uri="{FF2B5EF4-FFF2-40B4-BE49-F238E27FC236}">
                <a16:creationId xmlns:a16="http://schemas.microsoft.com/office/drawing/2014/main" id="{3FA67B90-8116-1543-AA20-29A5F12E7A47}"/>
              </a:ext>
            </a:extLst>
          </p:cNvPr>
          <p:cNvSpPr>
            <a:spLocks noGrp="1"/>
          </p:cNvSpPr>
          <p:nvPr>
            <p:ph type="ftr" sz="quarter" idx="11"/>
          </p:nvPr>
        </p:nvSpPr>
        <p:spPr/>
        <p:txBody>
          <a:bodyPr/>
          <a:lstStyle>
            <a:lvl1pPr>
              <a:defRPr>
                <a:solidFill>
                  <a:schemeClr val="bg1"/>
                </a:solidFill>
              </a:defRPr>
            </a:lvl1pPr>
          </a:lstStyle>
          <a:p>
            <a:r>
              <a:rPr lang="de-DE"/>
              <a:t>TITEL DER PRÄSENTATION | TITEL VORNAME NAME</a:t>
            </a:r>
            <a:endParaRPr lang="de-DE" dirty="0"/>
          </a:p>
        </p:txBody>
      </p:sp>
      <p:sp>
        <p:nvSpPr>
          <p:cNvPr id="5" name="Foliennummernplatzhalter 4">
            <a:extLst>
              <a:ext uri="{FF2B5EF4-FFF2-40B4-BE49-F238E27FC236}">
                <a16:creationId xmlns:a16="http://schemas.microsoft.com/office/drawing/2014/main" id="{54938C95-87E2-EB43-9C02-3030F7DC11EA}"/>
              </a:ext>
            </a:extLst>
          </p:cNvPr>
          <p:cNvSpPr>
            <a:spLocks noGrp="1"/>
          </p:cNvSpPr>
          <p:nvPr>
            <p:ph type="sldNum" sz="quarter" idx="12"/>
          </p:nvPr>
        </p:nvSpPr>
        <p:spPr/>
        <p:txBody>
          <a:bodyPr/>
          <a:lstStyle>
            <a:lvl1pPr>
              <a:defRPr>
                <a:solidFill>
                  <a:schemeClr val="bg1"/>
                </a:solidFill>
              </a:defRPr>
            </a:lvl1pPr>
          </a:lstStyle>
          <a:p>
            <a:fld id="{09E9C37E-8A19-4E30-BE2B-5A966AD23C7A}" type="slidenum">
              <a:rPr lang="de-DE" smtClean="0"/>
              <a:pPr/>
              <a:t>‹Nr.›</a:t>
            </a:fld>
            <a:endParaRPr lang="de-DE" dirty="0"/>
          </a:p>
        </p:txBody>
      </p:sp>
      <p:sp>
        <p:nvSpPr>
          <p:cNvPr id="11" name="Textfeld 10">
            <a:extLst>
              <a:ext uri="{FF2B5EF4-FFF2-40B4-BE49-F238E27FC236}">
                <a16:creationId xmlns:a16="http://schemas.microsoft.com/office/drawing/2014/main" id="{847D661F-99F9-CE4D-9507-476C46CD638D}"/>
              </a:ext>
            </a:extLst>
          </p:cNvPr>
          <p:cNvSpPr txBox="1"/>
          <p:nvPr userDrawn="1"/>
        </p:nvSpPr>
        <p:spPr bwMode="gray">
          <a:xfrm>
            <a:off x="9359153" y="4374776"/>
            <a:ext cx="0" cy="0"/>
          </a:xfrm>
          <a:prstGeom prst="rect">
            <a:avLst/>
          </a:prstGeom>
          <a:noFill/>
        </p:spPr>
        <p:txBody>
          <a:bodyPr wrap="none" lIns="144000" tIns="144000" rIns="144000" bIns="0" rtlCol="0">
            <a:noAutofit/>
          </a:bodyPr>
          <a:lstStyle/>
          <a:p>
            <a:pPr marL="180000" indent="-180000" algn="l">
              <a:lnSpc>
                <a:spcPct val="112000"/>
              </a:lnSpc>
              <a:spcBef>
                <a:spcPts val="300"/>
              </a:spcBef>
              <a:spcAft>
                <a:spcPts val="300"/>
              </a:spcAft>
              <a:buFont typeface="Wingdings" panose="05000000000000000000" pitchFamily="2" charset="2"/>
              <a:buChar char=""/>
            </a:pPr>
            <a:endParaRPr lang="de-DE" sz="1400" dirty="0" err="1">
              <a:solidFill>
                <a:schemeClr val="tx1"/>
              </a:solidFill>
            </a:endParaRPr>
          </a:p>
        </p:txBody>
      </p:sp>
      <p:sp>
        <p:nvSpPr>
          <p:cNvPr id="13" name="Bildplatzhalter 6">
            <a:extLst>
              <a:ext uri="{FF2B5EF4-FFF2-40B4-BE49-F238E27FC236}">
                <a16:creationId xmlns:a16="http://schemas.microsoft.com/office/drawing/2014/main" id="{7934EBEA-1F19-BB4F-997A-56FA4FCBDA22}"/>
              </a:ext>
            </a:extLst>
          </p:cNvPr>
          <p:cNvSpPr>
            <a:spLocks noGrp="1"/>
          </p:cNvSpPr>
          <p:nvPr>
            <p:ph type="pic" sz="quarter" idx="16"/>
          </p:nvPr>
        </p:nvSpPr>
        <p:spPr>
          <a:xfrm>
            <a:off x="6384002" y="0"/>
            <a:ext cx="5808000" cy="6237288"/>
          </a:xfrm>
        </p:spPr>
        <p:txBody>
          <a:bodyPr/>
          <a:lstStyle/>
          <a:p>
            <a:endParaRPr lang="de-DE" dirty="0"/>
          </a:p>
        </p:txBody>
      </p:sp>
      <p:sp>
        <p:nvSpPr>
          <p:cNvPr id="16" name="Bildplatzhalter 6">
            <a:extLst>
              <a:ext uri="{FF2B5EF4-FFF2-40B4-BE49-F238E27FC236}">
                <a16:creationId xmlns:a16="http://schemas.microsoft.com/office/drawing/2014/main" id="{58796138-0532-6440-B5B8-1ACD31F207DF}"/>
              </a:ext>
            </a:extLst>
          </p:cNvPr>
          <p:cNvSpPr>
            <a:spLocks noGrp="1"/>
          </p:cNvSpPr>
          <p:nvPr>
            <p:ph type="pic" sz="quarter" idx="19"/>
          </p:nvPr>
        </p:nvSpPr>
        <p:spPr>
          <a:xfrm>
            <a:off x="-1" y="-13447"/>
            <a:ext cx="5807999" cy="2808288"/>
          </a:xfrm>
        </p:spPr>
        <p:txBody>
          <a:bodyPr/>
          <a:lstStyle/>
          <a:p>
            <a:endParaRPr lang="de-DE" dirty="0"/>
          </a:p>
        </p:txBody>
      </p:sp>
      <p:sp>
        <p:nvSpPr>
          <p:cNvPr id="19" name="Textplatzhalter 8">
            <a:extLst>
              <a:ext uri="{FF2B5EF4-FFF2-40B4-BE49-F238E27FC236}">
                <a16:creationId xmlns:a16="http://schemas.microsoft.com/office/drawing/2014/main" id="{5979F73C-6ACE-834A-B2A8-31298363A3A0}"/>
              </a:ext>
            </a:extLst>
          </p:cNvPr>
          <p:cNvSpPr>
            <a:spLocks noGrp="1"/>
          </p:cNvSpPr>
          <p:nvPr>
            <p:ph type="body" sz="quarter" idx="22" hasCustomPrompt="1"/>
          </p:nvPr>
        </p:nvSpPr>
        <p:spPr>
          <a:xfrm>
            <a:off x="340992" y="4725000"/>
            <a:ext cx="3743450" cy="1296288"/>
          </a:xfrm>
          <a:solidFill>
            <a:schemeClr val="bg2"/>
          </a:solidFill>
        </p:spPr>
        <p:txBody>
          <a:bodyPr/>
          <a:lstStyle>
            <a:lvl1pPr marL="0" indent="0">
              <a:buNone/>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ext</a:t>
            </a:r>
          </a:p>
        </p:txBody>
      </p:sp>
      <p:sp>
        <p:nvSpPr>
          <p:cNvPr id="20" name="Textplatzhalter 8">
            <a:extLst>
              <a:ext uri="{FF2B5EF4-FFF2-40B4-BE49-F238E27FC236}">
                <a16:creationId xmlns:a16="http://schemas.microsoft.com/office/drawing/2014/main" id="{45D6653E-8FD7-8B44-A5E8-88524F1FC768}"/>
              </a:ext>
            </a:extLst>
          </p:cNvPr>
          <p:cNvSpPr>
            <a:spLocks noGrp="1"/>
          </p:cNvSpPr>
          <p:nvPr>
            <p:ph type="body" sz="quarter" idx="23" hasCustomPrompt="1"/>
          </p:nvPr>
        </p:nvSpPr>
        <p:spPr>
          <a:xfrm>
            <a:off x="340992" y="4161024"/>
            <a:ext cx="3743450" cy="438782"/>
          </a:xfrm>
          <a:solidFill>
            <a:schemeClr val="bg2"/>
          </a:solidFill>
        </p:spPr>
        <p:txBody>
          <a:bodyPr/>
          <a:lstStyle>
            <a:lvl1pPr marL="0" indent="0">
              <a:buNone/>
              <a:defRPr sz="9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bb. Titel</a:t>
            </a:r>
          </a:p>
        </p:txBody>
      </p:sp>
      <p:sp>
        <p:nvSpPr>
          <p:cNvPr id="21" name="Textplatzhalter 8">
            <a:extLst>
              <a:ext uri="{FF2B5EF4-FFF2-40B4-BE49-F238E27FC236}">
                <a16:creationId xmlns:a16="http://schemas.microsoft.com/office/drawing/2014/main" id="{17C2105A-1C17-334C-860A-5765232058F5}"/>
              </a:ext>
            </a:extLst>
          </p:cNvPr>
          <p:cNvSpPr>
            <a:spLocks noGrp="1"/>
          </p:cNvSpPr>
          <p:nvPr>
            <p:ph type="body" sz="quarter" idx="24" hasCustomPrompt="1"/>
          </p:nvPr>
        </p:nvSpPr>
        <p:spPr>
          <a:xfrm>
            <a:off x="6723504" y="4725000"/>
            <a:ext cx="3743450" cy="1296288"/>
          </a:xfrm>
          <a:solidFill>
            <a:schemeClr val="bg2"/>
          </a:solidFill>
        </p:spPr>
        <p:txBody>
          <a:bodyPr/>
          <a:lstStyle>
            <a:lvl1pPr marL="0" indent="0">
              <a:buNone/>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ext</a:t>
            </a:r>
          </a:p>
        </p:txBody>
      </p:sp>
      <p:sp>
        <p:nvSpPr>
          <p:cNvPr id="22" name="Textplatzhalter 8">
            <a:extLst>
              <a:ext uri="{FF2B5EF4-FFF2-40B4-BE49-F238E27FC236}">
                <a16:creationId xmlns:a16="http://schemas.microsoft.com/office/drawing/2014/main" id="{D23ABA5A-3F5A-AC49-B46B-C2F58224737C}"/>
              </a:ext>
            </a:extLst>
          </p:cNvPr>
          <p:cNvSpPr>
            <a:spLocks noGrp="1"/>
          </p:cNvSpPr>
          <p:nvPr>
            <p:ph type="body" sz="quarter" idx="25" hasCustomPrompt="1"/>
          </p:nvPr>
        </p:nvSpPr>
        <p:spPr>
          <a:xfrm>
            <a:off x="6723504" y="4161024"/>
            <a:ext cx="3743450" cy="438782"/>
          </a:xfrm>
          <a:solidFill>
            <a:schemeClr val="bg2"/>
          </a:solidFill>
        </p:spPr>
        <p:txBody>
          <a:bodyPr/>
          <a:lstStyle>
            <a:lvl1pPr marL="0" indent="0">
              <a:buNone/>
              <a:defRPr sz="9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bb. Titel</a:t>
            </a:r>
          </a:p>
        </p:txBody>
      </p:sp>
      <p:sp>
        <p:nvSpPr>
          <p:cNvPr id="23" name="Textplatzhalter 8">
            <a:extLst>
              <a:ext uri="{FF2B5EF4-FFF2-40B4-BE49-F238E27FC236}">
                <a16:creationId xmlns:a16="http://schemas.microsoft.com/office/drawing/2014/main" id="{AC339AE9-DE8E-A74F-B2C5-BBA5C361502A}"/>
              </a:ext>
            </a:extLst>
          </p:cNvPr>
          <p:cNvSpPr>
            <a:spLocks noGrp="1"/>
          </p:cNvSpPr>
          <p:nvPr>
            <p:ph type="body" sz="quarter" idx="26" hasCustomPrompt="1"/>
          </p:nvPr>
        </p:nvSpPr>
        <p:spPr>
          <a:xfrm>
            <a:off x="340992" y="1292952"/>
            <a:ext cx="3743450" cy="1296288"/>
          </a:xfrm>
          <a:solidFill>
            <a:schemeClr val="bg2"/>
          </a:solidFill>
        </p:spPr>
        <p:txBody>
          <a:bodyPr/>
          <a:lstStyle>
            <a:lvl1pPr marL="0" indent="0">
              <a:buNone/>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ext</a:t>
            </a:r>
          </a:p>
        </p:txBody>
      </p:sp>
      <p:sp>
        <p:nvSpPr>
          <p:cNvPr id="24" name="Textplatzhalter 8">
            <a:extLst>
              <a:ext uri="{FF2B5EF4-FFF2-40B4-BE49-F238E27FC236}">
                <a16:creationId xmlns:a16="http://schemas.microsoft.com/office/drawing/2014/main" id="{0A799854-A65C-864A-A5DB-1AF0B26997AB}"/>
              </a:ext>
            </a:extLst>
          </p:cNvPr>
          <p:cNvSpPr>
            <a:spLocks noGrp="1"/>
          </p:cNvSpPr>
          <p:nvPr>
            <p:ph type="body" sz="quarter" idx="27" hasCustomPrompt="1"/>
          </p:nvPr>
        </p:nvSpPr>
        <p:spPr>
          <a:xfrm>
            <a:off x="340992" y="728976"/>
            <a:ext cx="3743450" cy="438782"/>
          </a:xfrm>
          <a:solidFill>
            <a:schemeClr val="bg2"/>
          </a:solidFill>
        </p:spPr>
        <p:txBody>
          <a:bodyPr/>
          <a:lstStyle>
            <a:lvl1pPr marL="0" indent="0">
              <a:buNone/>
              <a:defRPr sz="9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bb. Titel</a:t>
            </a:r>
          </a:p>
        </p:txBody>
      </p:sp>
    </p:spTree>
    <p:extLst>
      <p:ext uri="{BB962C8B-B14F-4D97-AF65-F5344CB8AC3E}">
        <p14:creationId xmlns:p14="http://schemas.microsoft.com/office/powerpoint/2010/main" val="13555816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bbildung (3 - vertikal)">
    <p:bg>
      <p:bgPr>
        <a:solidFill>
          <a:schemeClr val="tx1"/>
        </a:solidFill>
        <a:effectLst/>
      </p:bgPr>
    </p:bg>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3E30F3D6-A6B1-9647-8984-8C02B8807803}"/>
              </a:ext>
            </a:extLst>
          </p:cNvPr>
          <p:cNvSpPr>
            <a:spLocks noGrp="1"/>
          </p:cNvSpPr>
          <p:nvPr>
            <p:ph type="pic" sz="quarter" idx="13"/>
          </p:nvPr>
        </p:nvSpPr>
        <p:spPr>
          <a:xfrm>
            <a:off x="0" y="0"/>
            <a:ext cx="4008000" cy="6237288"/>
          </a:xfrm>
        </p:spPr>
        <p:txBody>
          <a:bodyPr/>
          <a:lstStyle/>
          <a:p>
            <a:endParaRPr lang="de-DE" dirty="0"/>
          </a:p>
        </p:txBody>
      </p:sp>
      <p:sp>
        <p:nvSpPr>
          <p:cNvPr id="3" name="Datumsplatzhalter 2">
            <a:extLst>
              <a:ext uri="{FF2B5EF4-FFF2-40B4-BE49-F238E27FC236}">
                <a16:creationId xmlns:a16="http://schemas.microsoft.com/office/drawing/2014/main" id="{6AA7C755-455F-E64F-858D-F09F34EDFE1B}"/>
              </a:ext>
            </a:extLst>
          </p:cNvPr>
          <p:cNvSpPr>
            <a:spLocks noGrp="1"/>
          </p:cNvSpPr>
          <p:nvPr>
            <p:ph type="dt" sz="half" idx="10"/>
          </p:nvPr>
        </p:nvSpPr>
        <p:spPr/>
        <p:txBody>
          <a:bodyPr/>
          <a:lstStyle>
            <a:lvl1pPr>
              <a:defRPr>
                <a:solidFill>
                  <a:schemeClr val="bg1"/>
                </a:solidFill>
              </a:defRPr>
            </a:lvl1pPr>
          </a:lstStyle>
          <a:p>
            <a:fld id="{B52ABA71-AAD9-4CC1-80AF-004D4F11852E}" type="datetime1">
              <a:rPr lang="de-DE" smtClean="0"/>
              <a:pPr/>
              <a:t>29.09.25</a:t>
            </a:fld>
            <a:endParaRPr lang="de-DE" dirty="0"/>
          </a:p>
        </p:txBody>
      </p:sp>
      <p:sp>
        <p:nvSpPr>
          <p:cNvPr id="4" name="Fußzeilenplatzhalter 3">
            <a:extLst>
              <a:ext uri="{FF2B5EF4-FFF2-40B4-BE49-F238E27FC236}">
                <a16:creationId xmlns:a16="http://schemas.microsoft.com/office/drawing/2014/main" id="{3FA67B90-8116-1543-AA20-29A5F12E7A47}"/>
              </a:ext>
            </a:extLst>
          </p:cNvPr>
          <p:cNvSpPr>
            <a:spLocks noGrp="1"/>
          </p:cNvSpPr>
          <p:nvPr>
            <p:ph type="ftr" sz="quarter" idx="11"/>
          </p:nvPr>
        </p:nvSpPr>
        <p:spPr/>
        <p:txBody>
          <a:bodyPr/>
          <a:lstStyle>
            <a:lvl1pPr>
              <a:defRPr>
                <a:solidFill>
                  <a:schemeClr val="bg1"/>
                </a:solidFill>
              </a:defRPr>
            </a:lvl1pPr>
          </a:lstStyle>
          <a:p>
            <a:r>
              <a:rPr lang="de-DE"/>
              <a:t>TITEL DER PRÄSENTATION | TITEL VORNAME NAME</a:t>
            </a:r>
            <a:endParaRPr lang="de-DE" dirty="0"/>
          </a:p>
        </p:txBody>
      </p:sp>
      <p:sp>
        <p:nvSpPr>
          <p:cNvPr id="5" name="Foliennummernplatzhalter 4">
            <a:extLst>
              <a:ext uri="{FF2B5EF4-FFF2-40B4-BE49-F238E27FC236}">
                <a16:creationId xmlns:a16="http://schemas.microsoft.com/office/drawing/2014/main" id="{54938C95-87E2-EB43-9C02-3030F7DC11EA}"/>
              </a:ext>
            </a:extLst>
          </p:cNvPr>
          <p:cNvSpPr>
            <a:spLocks noGrp="1"/>
          </p:cNvSpPr>
          <p:nvPr>
            <p:ph type="sldNum" sz="quarter" idx="12"/>
          </p:nvPr>
        </p:nvSpPr>
        <p:spPr/>
        <p:txBody>
          <a:bodyPr/>
          <a:lstStyle>
            <a:lvl1pPr>
              <a:defRPr>
                <a:solidFill>
                  <a:schemeClr val="bg1"/>
                </a:solidFill>
              </a:defRPr>
            </a:lvl1pPr>
          </a:lstStyle>
          <a:p>
            <a:fld id="{09E9C37E-8A19-4E30-BE2B-5A966AD23C7A}" type="slidenum">
              <a:rPr lang="de-DE" smtClean="0"/>
              <a:pPr/>
              <a:t>‹Nr.›</a:t>
            </a:fld>
            <a:endParaRPr lang="de-DE" dirty="0"/>
          </a:p>
        </p:txBody>
      </p:sp>
      <p:sp>
        <p:nvSpPr>
          <p:cNvPr id="11" name="Textfeld 10">
            <a:extLst>
              <a:ext uri="{FF2B5EF4-FFF2-40B4-BE49-F238E27FC236}">
                <a16:creationId xmlns:a16="http://schemas.microsoft.com/office/drawing/2014/main" id="{847D661F-99F9-CE4D-9507-476C46CD638D}"/>
              </a:ext>
            </a:extLst>
          </p:cNvPr>
          <p:cNvSpPr txBox="1"/>
          <p:nvPr userDrawn="1"/>
        </p:nvSpPr>
        <p:spPr bwMode="gray">
          <a:xfrm>
            <a:off x="9359153" y="4374776"/>
            <a:ext cx="0" cy="0"/>
          </a:xfrm>
          <a:prstGeom prst="rect">
            <a:avLst/>
          </a:prstGeom>
          <a:noFill/>
        </p:spPr>
        <p:txBody>
          <a:bodyPr wrap="none" lIns="144000" tIns="144000" rIns="144000" bIns="0" rtlCol="0">
            <a:noAutofit/>
          </a:bodyPr>
          <a:lstStyle/>
          <a:p>
            <a:pPr marL="180000" indent="-180000" algn="l">
              <a:lnSpc>
                <a:spcPct val="112000"/>
              </a:lnSpc>
              <a:spcBef>
                <a:spcPts val="300"/>
              </a:spcBef>
              <a:spcAft>
                <a:spcPts val="300"/>
              </a:spcAft>
              <a:buFont typeface="Wingdings" panose="05000000000000000000" pitchFamily="2" charset="2"/>
              <a:buChar char=""/>
            </a:pPr>
            <a:endParaRPr lang="de-DE" sz="1400" dirty="0" err="1">
              <a:solidFill>
                <a:schemeClr val="tx1"/>
              </a:solidFill>
            </a:endParaRPr>
          </a:p>
        </p:txBody>
      </p:sp>
      <p:sp>
        <p:nvSpPr>
          <p:cNvPr id="31" name="Bildplatzhalter 6">
            <a:extLst>
              <a:ext uri="{FF2B5EF4-FFF2-40B4-BE49-F238E27FC236}">
                <a16:creationId xmlns:a16="http://schemas.microsoft.com/office/drawing/2014/main" id="{4F0E88E0-8F82-1A4B-BD4E-C17407B7D4CA}"/>
              </a:ext>
            </a:extLst>
          </p:cNvPr>
          <p:cNvSpPr>
            <a:spLocks noGrp="1"/>
          </p:cNvSpPr>
          <p:nvPr>
            <p:ph type="pic" sz="quarter" idx="16"/>
          </p:nvPr>
        </p:nvSpPr>
        <p:spPr>
          <a:xfrm>
            <a:off x="4096870" y="0"/>
            <a:ext cx="4008000" cy="6237288"/>
          </a:xfrm>
        </p:spPr>
        <p:txBody>
          <a:bodyPr/>
          <a:lstStyle/>
          <a:p>
            <a:endParaRPr lang="de-DE" dirty="0"/>
          </a:p>
        </p:txBody>
      </p:sp>
      <p:sp>
        <p:nvSpPr>
          <p:cNvPr id="34" name="Bildplatzhalter 6">
            <a:extLst>
              <a:ext uri="{FF2B5EF4-FFF2-40B4-BE49-F238E27FC236}">
                <a16:creationId xmlns:a16="http://schemas.microsoft.com/office/drawing/2014/main" id="{EDC7295B-81EB-7D46-9649-A047E153B4F5}"/>
              </a:ext>
            </a:extLst>
          </p:cNvPr>
          <p:cNvSpPr>
            <a:spLocks noGrp="1"/>
          </p:cNvSpPr>
          <p:nvPr>
            <p:ph type="pic" sz="quarter" idx="19"/>
          </p:nvPr>
        </p:nvSpPr>
        <p:spPr>
          <a:xfrm>
            <a:off x="8193741" y="0"/>
            <a:ext cx="4008000" cy="6237288"/>
          </a:xfrm>
        </p:spPr>
        <p:txBody>
          <a:bodyPr/>
          <a:lstStyle/>
          <a:p>
            <a:endParaRPr lang="de-DE" dirty="0"/>
          </a:p>
        </p:txBody>
      </p:sp>
      <p:sp>
        <p:nvSpPr>
          <p:cNvPr id="15" name="Textplatzhalter 8">
            <a:extLst>
              <a:ext uri="{FF2B5EF4-FFF2-40B4-BE49-F238E27FC236}">
                <a16:creationId xmlns:a16="http://schemas.microsoft.com/office/drawing/2014/main" id="{CAC21A91-7769-284B-9270-1A02F4DB6FEC}"/>
              </a:ext>
            </a:extLst>
          </p:cNvPr>
          <p:cNvSpPr>
            <a:spLocks noGrp="1"/>
          </p:cNvSpPr>
          <p:nvPr>
            <p:ph type="body" sz="quarter" idx="22" hasCustomPrompt="1"/>
          </p:nvPr>
        </p:nvSpPr>
        <p:spPr>
          <a:xfrm>
            <a:off x="340992" y="4725000"/>
            <a:ext cx="3307008" cy="1296288"/>
          </a:xfrm>
          <a:solidFill>
            <a:schemeClr val="bg2"/>
          </a:solidFill>
        </p:spPr>
        <p:txBody>
          <a:bodyPr/>
          <a:lstStyle>
            <a:lvl1pPr marL="0" indent="0">
              <a:buNone/>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ext</a:t>
            </a:r>
          </a:p>
        </p:txBody>
      </p:sp>
      <p:sp>
        <p:nvSpPr>
          <p:cNvPr id="16" name="Textplatzhalter 8">
            <a:extLst>
              <a:ext uri="{FF2B5EF4-FFF2-40B4-BE49-F238E27FC236}">
                <a16:creationId xmlns:a16="http://schemas.microsoft.com/office/drawing/2014/main" id="{E29BB889-F2A9-2A48-84A4-C34D2319A12A}"/>
              </a:ext>
            </a:extLst>
          </p:cNvPr>
          <p:cNvSpPr>
            <a:spLocks noGrp="1"/>
          </p:cNvSpPr>
          <p:nvPr>
            <p:ph type="body" sz="quarter" idx="23" hasCustomPrompt="1"/>
          </p:nvPr>
        </p:nvSpPr>
        <p:spPr>
          <a:xfrm>
            <a:off x="340992" y="4161024"/>
            <a:ext cx="3307008" cy="438782"/>
          </a:xfrm>
          <a:solidFill>
            <a:schemeClr val="bg2"/>
          </a:solidFill>
        </p:spPr>
        <p:txBody>
          <a:bodyPr/>
          <a:lstStyle>
            <a:lvl1pPr marL="0" indent="0">
              <a:buNone/>
              <a:defRPr sz="9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bb. Titel</a:t>
            </a:r>
          </a:p>
        </p:txBody>
      </p:sp>
      <p:sp>
        <p:nvSpPr>
          <p:cNvPr id="17" name="Textplatzhalter 8">
            <a:extLst>
              <a:ext uri="{FF2B5EF4-FFF2-40B4-BE49-F238E27FC236}">
                <a16:creationId xmlns:a16="http://schemas.microsoft.com/office/drawing/2014/main" id="{012CE6A3-6053-2742-B2CA-8439B60ABBDE}"/>
              </a:ext>
            </a:extLst>
          </p:cNvPr>
          <p:cNvSpPr>
            <a:spLocks noGrp="1"/>
          </p:cNvSpPr>
          <p:nvPr>
            <p:ph type="body" sz="quarter" idx="24" hasCustomPrompt="1"/>
          </p:nvPr>
        </p:nvSpPr>
        <p:spPr>
          <a:xfrm>
            <a:off x="4443600" y="4725000"/>
            <a:ext cx="3307008" cy="1296288"/>
          </a:xfrm>
          <a:solidFill>
            <a:schemeClr val="bg2"/>
          </a:solidFill>
        </p:spPr>
        <p:txBody>
          <a:bodyPr/>
          <a:lstStyle>
            <a:lvl1pPr marL="0" indent="0">
              <a:buNone/>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ext</a:t>
            </a:r>
          </a:p>
        </p:txBody>
      </p:sp>
      <p:sp>
        <p:nvSpPr>
          <p:cNvPr id="18" name="Textplatzhalter 8">
            <a:extLst>
              <a:ext uri="{FF2B5EF4-FFF2-40B4-BE49-F238E27FC236}">
                <a16:creationId xmlns:a16="http://schemas.microsoft.com/office/drawing/2014/main" id="{8B3086A5-76A0-2647-8AF3-31EEA3059999}"/>
              </a:ext>
            </a:extLst>
          </p:cNvPr>
          <p:cNvSpPr>
            <a:spLocks noGrp="1"/>
          </p:cNvSpPr>
          <p:nvPr>
            <p:ph type="body" sz="quarter" idx="25" hasCustomPrompt="1"/>
          </p:nvPr>
        </p:nvSpPr>
        <p:spPr>
          <a:xfrm>
            <a:off x="4443600" y="4161024"/>
            <a:ext cx="3307008" cy="438782"/>
          </a:xfrm>
          <a:solidFill>
            <a:schemeClr val="bg2"/>
          </a:solidFill>
        </p:spPr>
        <p:txBody>
          <a:bodyPr/>
          <a:lstStyle>
            <a:lvl1pPr marL="0" indent="0">
              <a:buNone/>
              <a:defRPr sz="9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bb. Titel</a:t>
            </a:r>
          </a:p>
        </p:txBody>
      </p:sp>
      <p:sp>
        <p:nvSpPr>
          <p:cNvPr id="19" name="Textplatzhalter 8">
            <a:extLst>
              <a:ext uri="{FF2B5EF4-FFF2-40B4-BE49-F238E27FC236}">
                <a16:creationId xmlns:a16="http://schemas.microsoft.com/office/drawing/2014/main" id="{418E2DD5-4F06-1E47-8A5D-9196439EBADC}"/>
              </a:ext>
            </a:extLst>
          </p:cNvPr>
          <p:cNvSpPr>
            <a:spLocks noGrp="1"/>
          </p:cNvSpPr>
          <p:nvPr>
            <p:ph type="body" sz="quarter" idx="26" hasCustomPrompt="1"/>
          </p:nvPr>
        </p:nvSpPr>
        <p:spPr>
          <a:xfrm>
            <a:off x="8540112" y="4725000"/>
            <a:ext cx="3307008" cy="1296288"/>
          </a:xfrm>
          <a:solidFill>
            <a:schemeClr val="bg2"/>
          </a:solidFill>
        </p:spPr>
        <p:txBody>
          <a:bodyPr/>
          <a:lstStyle>
            <a:lvl1pPr marL="0" indent="0">
              <a:buNone/>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ext</a:t>
            </a:r>
          </a:p>
        </p:txBody>
      </p:sp>
      <p:sp>
        <p:nvSpPr>
          <p:cNvPr id="20" name="Textplatzhalter 8">
            <a:extLst>
              <a:ext uri="{FF2B5EF4-FFF2-40B4-BE49-F238E27FC236}">
                <a16:creationId xmlns:a16="http://schemas.microsoft.com/office/drawing/2014/main" id="{C932A55E-1580-9B40-9A4F-CA56EBCA97D9}"/>
              </a:ext>
            </a:extLst>
          </p:cNvPr>
          <p:cNvSpPr>
            <a:spLocks noGrp="1"/>
          </p:cNvSpPr>
          <p:nvPr>
            <p:ph type="body" sz="quarter" idx="27" hasCustomPrompt="1"/>
          </p:nvPr>
        </p:nvSpPr>
        <p:spPr>
          <a:xfrm>
            <a:off x="8540112" y="4161024"/>
            <a:ext cx="3307008" cy="438782"/>
          </a:xfrm>
          <a:solidFill>
            <a:schemeClr val="bg2"/>
          </a:solidFill>
        </p:spPr>
        <p:txBody>
          <a:bodyPr/>
          <a:lstStyle>
            <a:lvl1pPr marL="0" indent="0">
              <a:buNone/>
              <a:defRPr sz="9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bb. Titel</a:t>
            </a:r>
          </a:p>
        </p:txBody>
      </p:sp>
    </p:spTree>
    <p:extLst>
      <p:ext uri="{BB962C8B-B14F-4D97-AF65-F5344CB8AC3E}">
        <p14:creationId xmlns:p14="http://schemas.microsoft.com/office/powerpoint/2010/main" val="2243676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bbildung (4)">
    <p:bg>
      <p:bgPr>
        <a:solidFill>
          <a:schemeClr val="tx1"/>
        </a:solidFill>
        <a:effectLst/>
      </p:bgPr>
    </p:bg>
    <p:spTree>
      <p:nvGrpSpPr>
        <p:cNvPr id="1" name=""/>
        <p:cNvGrpSpPr/>
        <p:nvPr/>
      </p:nvGrpSpPr>
      <p:grpSpPr>
        <a:xfrm>
          <a:off x="0" y="0"/>
          <a:ext cx="0" cy="0"/>
          <a:chOff x="0" y="0"/>
          <a:chExt cx="0" cy="0"/>
        </a:xfrm>
      </p:grpSpPr>
      <p:sp>
        <p:nvSpPr>
          <p:cNvPr id="15" name="Bildplatzhalter 6">
            <a:extLst>
              <a:ext uri="{FF2B5EF4-FFF2-40B4-BE49-F238E27FC236}">
                <a16:creationId xmlns:a16="http://schemas.microsoft.com/office/drawing/2014/main" id="{48035A83-36C7-7A4D-A6C5-FA720AE627EE}"/>
              </a:ext>
            </a:extLst>
          </p:cNvPr>
          <p:cNvSpPr>
            <a:spLocks noGrp="1"/>
          </p:cNvSpPr>
          <p:nvPr>
            <p:ph type="pic" sz="quarter" idx="22"/>
          </p:nvPr>
        </p:nvSpPr>
        <p:spPr>
          <a:xfrm>
            <a:off x="0" y="3496236"/>
            <a:ext cx="5808000" cy="3357000"/>
          </a:xfrm>
        </p:spPr>
        <p:txBody>
          <a:bodyPr/>
          <a:lstStyle/>
          <a:p>
            <a:endParaRPr lang="de-DE" dirty="0"/>
          </a:p>
        </p:txBody>
      </p:sp>
      <p:sp>
        <p:nvSpPr>
          <p:cNvPr id="7" name="Bildplatzhalter 6">
            <a:extLst>
              <a:ext uri="{FF2B5EF4-FFF2-40B4-BE49-F238E27FC236}">
                <a16:creationId xmlns:a16="http://schemas.microsoft.com/office/drawing/2014/main" id="{3E30F3D6-A6B1-9647-8984-8C02B8807803}"/>
              </a:ext>
            </a:extLst>
          </p:cNvPr>
          <p:cNvSpPr>
            <a:spLocks noGrp="1"/>
          </p:cNvSpPr>
          <p:nvPr>
            <p:ph type="pic" sz="quarter" idx="13"/>
          </p:nvPr>
        </p:nvSpPr>
        <p:spPr>
          <a:xfrm>
            <a:off x="0" y="0"/>
            <a:ext cx="5808000" cy="3357000"/>
          </a:xfrm>
        </p:spPr>
        <p:txBody>
          <a:bodyPr/>
          <a:lstStyle/>
          <a:p>
            <a:endParaRPr lang="de-DE" dirty="0"/>
          </a:p>
        </p:txBody>
      </p:sp>
      <p:sp>
        <p:nvSpPr>
          <p:cNvPr id="3" name="Datumsplatzhalter 2">
            <a:extLst>
              <a:ext uri="{FF2B5EF4-FFF2-40B4-BE49-F238E27FC236}">
                <a16:creationId xmlns:a16="http://schemas.microsoft.com/office/drawing/2014/main" id="{6AA7C755-455F-E64F-858D-F09F34EDFE1B}"/>
              </a:ext>
            </a:extLst>
          </p:cNvPr>
          <p:cNvSpPr>
            <a:spLocks noGrp="1"/>
          </p:cNvSpPr>
          <p:nvPr>
            <p:ph type="dt" sz="half" idx="10"/>
          </p:nvPr>
        </p:nvSpPr>
        <p:spPr/>
        <p:txBody>
          <a:bodyPr/>
          <a:lstStyle>
            <a:lvl1pPr>
              <a:defRPr>
                <a:solidFill>
                  <a:schemeClr val="bg1"/>
                </a:solidFill>
              </a:defRPr>
            </a:lvl1pPr>
          </a:lstStyle>
          <a:p>
            <a:fld id="{B52ABA71-AAD9-4CC1-80AF-004D4F11852E}" type="datetime1">
              <a:rPr lang="de-DE" smtClean="0"/>
              <a:pPr/>
              <a:t>29.09.25</a:t>
            </a:fld>
            <a:endParaRPr lang="de-DE" dirty="0"/>
          </a:p>
        </p:txBody>
      </p:sp>
      <p:sp>
        <p:nvSpPr>
          <p:cNvPr id="4" name="Fußzeilenplatzhalter 3">
            <a:extLst>
              <a:ext uri="{FF2B5EF4-FFF2-40B4-BE49-F238E27FC236}">
                <a16:creationId xmlns:a16="http://schemas.microsoft.com/office/drawing/2014/main" id="{3FA67B90-8116-1543-AA20-29A5F12E7A47}"/>
              </a:ext>
            </a:extLst>
          </p:cNvPr>
          <p:cNvSpPr>
            <a:spLocks noGrp="1"/>
          </p:cNvSpPr>
          <p:nvPr>
            <p:ph type="ftr" sz="quarter" idx="11"/>
          </p:nvPr>
        </p:nvSpPr>
        <p:spPr/>
        <p:txBody>
          <a:bodyPr/>
          <a:lstStyle>
            <a:lvl1pPr>
              <a:defRPr>
                <a:solidFill>
                  <a:schemeClr val="bg1"/>
                </a:solidFill>
              </a:defRPr>
            </a:lvl1pPr>
          </a:lstStyle>
          <a:p>
            <a:r>
              <a:rPr lang="de-DE"/>
              <a:t>TITEL DER PRÄSENTATION | TITEL VORNAME NAME</a:t>
            </a:r>
            <a:endParaRPr lang="de-DE" dirty="0"/>
          </a:p>
        </p:txBody>
      </p:sp>
      <p:sp>
        <p:nvSpPr>
          <p:cNvPr id="5" name="Foliennummernplatzhalter 4">
            <a:extLst>
              <a:ext uri="{FF2B5EF4-FFF2-40B4-BE49-F238E27FC236}">
                <a16:creationId xmlns:a16="http://schemas.microsoft.com/office/drawing/2014/main" id="{54938C95-87E2-EB43-9C02-3030F7DC11EA}"/>
              </a:ext>
            </a:extLst>
          </p:cNvPr>
          <p:cNvSpPr>
            <a:spLocks noGrp="1"/>
          </p:cNvSpPr>
          <p:nvPr>
            <p:ph type="sldNum" sz="quarter" idx="12"/>
          </p:nvPr>
        </p:nvSpPr>
        <p:spPr/>
        <p:txBody>
          <a:bodyPr/>
          <a:lstStyle>
            <a:lvl1pPr>
              <a:defRPr>
                <a:solidFill>
                  <a:schemeClr val="bg1"/>
                </a:solidFill>
              </a:defRPr>
            </a:lvl1pPr>
          </a:lstStyle>
          <a:p>
            <a:fld id="{09E9C37E-8A19-4E30-BE2B-5A966AD23C7A}" type="slidenum">
              <a:rPr lang="de-DE" smtClean="0"/>
              <a:pPr/>
              <a:t>‹Nr.›</a:t>
            </a:fld>
            <a:endParaRPr lang="de-DE" dirty="0"/>
          </a:p>
        </p:txBody>
      </p:sp>
      <p:sp>
        <p:nvSpPr>
          <p:cNvPr id="11" name="Textfeld 10">
            <a:extLst>
              <a:ext uri="{FF2B5EF4-FFF2-40B4-BE49-F238E27FC236}">
                <a16:creationId xmlns:a16="http://schemas.microsoft.com/office/drawing/2014/main" id="{847D661F-99F9-CE4D-9507-476C46CD638D}"/>
              </a:ext>
            </a:extLst>
          </p:cNvPr>
          <p:cNvSpPr txBox="1"/>
          <p:nvPr userDrawn="1"/>
        </p:nvSpPr>
        <p:spPr bwMode="gray">
          <a:xfrm>
            <a:off x="9359153" y="4374776"/>
            <a:ext cx="0" cy="0"/>
          </a:xfrm>
          <a:prstGeom prst="rect">
            <a:avLst/>
          </a:prstGeom>
          <a:noFill/>
        </p:spPr>
        <p:txBody>
          <a:bodyPr wrap="none" lIns="144000" tIns="144000" rIns="144000" bIns="0" rtlCol="0">
            <a:noAutofit/>
          </a:bodyPr>
          <a:lstStyle/>
          <a:p>
            <a:pPr marL="180000" indent="-180000" algn="l">
              <a:lnSpc>
                <a:spcPct val="112000"/>
              </a:lnSpc>
              <a:spcBef>
                <a:spcPts val="300"/>
              </a:spcBef>
              <a:spcAft>
                <a:spcPts val="300"/>
              </a:spcAft>
              <a:buFont typeface="Wingdings" panose="05000000000000000000" pitchFamily="2" charset="2"/>
              <a:buChar char=""/>
            </a:pPr>
            <a:endParaRPr lang="de-DE" sz="1400" dirty="0" err="1">
              <a:solidFill>
                <a:schemeClr val="tx1"/>
              </a:solidFill>
            </a:endParaRPr>
          </a:p>
        </p:txBody>
      </p:sp>
      <p:sp>
        <p:nvSpPr>
          <p:cNvPr id="18" name="Bildplatzhalter 6">
            <a:extLst>
              <a:ext uri="{FF2B5EF4-FFF2-40B4-BE49-F238E27FC236}">
                <a16:creationId xmlns:a16="http://schemas.microsoft.com/office/drawing/2014/main" id="{8949499D-0E07-324F-B063-34C7DE0DFAA7}"/>
              </a:ext>
            </a:extLst>
          </p:cNvPr>
          <p:cNvSpPr>
            <a:spLocks noGrp="1"/>
          </p:cNvSpPr>
          <p:nvPr>
            <p:ph type="pic" sz="quarter" idx="25"/>
          </p:nvPr>
        </p:nvSpPr>
        <p:spPr>
          <a:xfrm>
            <a:off x="6382871" y="3496236"/>
            <a:ext cx="5808000" cy="3357000"/>
          </a:xfrm>
        </p:spPr>
        <p:txBody>
          <a:bodyPr/>
          <a:lstStyle/>
          <a:p>
            <a:endParaRPr lang="de-DE" dirty="0"/>
          </a:p>
        </p:txBody>
      </p:sp>
      <p:sp>
        <p:nvSpPr>
          <p:cNvPr id="21" name="Bildplatzhalter 6">
            <a:extLst>
              <a:ext uri="{FF2B5EF4-FFF2-40B4-BE49-F238E27FC236}">
                <a16:creationId xmlns:a16="http://schemas.microsoft.com/office/drawing/2014/main" id="{A50938F6-C664-AC4F-9088-47AF69AD8597}"/>
              </a:ext>
            </a:extLst>
          </p:cNvPr>
          <p:cNvSpPr>
            <a:spLocks noGrp="1"/>
          </p:cNvSpPr>
          <p:nvPr>
            <p:ph type="pic" sz="quarter" idx="28"/>
          </p:nvPr>
        </p:nvSpPr>
        <p:spPr>
          <a:xfrm>
            <a:off x="6382871" y="0"/>
            <a:ext cx="5808000" cy="3357000"/>
          </a:xfrm>
        </p:spPr>
        <p:txBody>
          <a:bodyPr/>
          <a:lstStyle/>
          <a:p>
            <a:endParaRPr lang="de-DE" dirty="0"/>
          </a:p>
        </p:txBody>
      </p:sp>
      <p:sp>
        <p:nvSpPr>
          <p:cNvPr id="24" name="Textplatzhalter 8">
            <a:extLst>
              <a:ext uri="{FF2B5EF4-FFF2-40B4-BE49-F238E27FC236}">
                <a16:creationId xmlns:a16="http://schemas.microsoft.com/office/drawing/2014/main" id="{81583A5B-E367-3F4B-824B-C9FA03424314}"/>
              </a:ext>
            </a:extLst>
          </p:cNvPr>
          <p:cNvSpPr>
            <a:spLocks noGrp="1"/>
          </p:cNvSpPr>
          <p:nvPr>
            <p:ph type="body" sz="quarter" idx="16" hasCustomPrompt="1"/>
          </p:nvPr>
        </p:nvSpPr>
        <p:spPr>
          <a:xfrm>
            <a:off x="340992" y="5332603"/>
            <a:ext cx="3743450" cy="1296288"/>
          </a:xfrm>
          <a:solidFill>
            <a:schemeClr val="bg2"/>
          </a:solidFill>
        </p:spPr>
        <p:txBody>
          <a:bodyPr/>
          <a:lstStyle>
            <a:lvl1pPr marL="0" indent="0">
              <a:buNone/>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ext</a:t>
            </a:r>
          </a:p>
        </p:txBody>
      </p:sp>
      <p:sp>
        <p:nvSpPr>
          <p:cNvPr id="25" name="Textplatzhalter 8">
            <a:extLst>
              <a:ext uri="{FF2B5EF4-FFF2-40B4-BE49-F238E27FC236}">
                <a16:creationId xmlns:a16="http://schemas.microsoft.com/office/drawing/2014/main" id="{5F0C5041-110F-9F4C-B349-88BC0B31095C}"/>
              </a:ext>
            </a:extLst>
          </p:cNvPr>
          <p:cNvSpPr>
            <a:spLocks noGrp="1"/>
          </p:cNvSpPr>
          <p:nvPr>
            <p:ph type="body" sz="quarter" idx="17" hasCustomPrompt="1"/>
          </p:nvPr>
        </p:nvSpPr>
        <p:spPr>
          <a:xfrm>
            <a:off x="340992" y="4768627"/>
            <a:ext cx="3743450" cy="438782"/>
          </a:xfrm>
          <a:solidFill>
            <a:schemeClr val="bg2"/>
          </a:solidFill>
        </p:spPr>
        <p:txBody>
          <a:bodyPr/>
          <a:lstStyle>
            <a:lvl1pPr marL="0" indent="0">
              <a:buNone/>
              <a:defRPr sz="9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bb. Titel</a:t>
            </a:r>
          </a:p>
        </p:txBody>
      </p:sp>
      <p:sp>
        <p:nvSpPr>
          <p:cNvPr id="26" name="Textplatzhalter 8">
            <a:extLst>
              <a:ext uri="{FF2B5EF4-FFF2-40B4-BE49-F238E27FC236}">
                <a16:creationId xmlns:a16="http://schemas.microsoft.com/office/drawing/2014/main" id="{76E63CFC-3636-8846-A1B6-AE36E0B937EF}"/>
              </a:ext>
            </a:extLst>
          </p:cNvPr>
          <p:cNvSpPr>
            <a:spLocks noGrp="1"/>
          </p:cNvSpPr>
          <p:nvPr>
            <p:ph type="body" sz="quarter" idx="31" hasCustomPrompt="1"/>
          </p:nvPr>
        </p:nvSpPr>
        <p:spPr>
          <a:xfrm>
            <a:off x="6723504" y="5332603"/>
            <a:ext cx="3743450" cy="1296288"/>
          </a:xfrm>
          <a:solidFill>
            <a:schemeClr val="bg2"/>
          </a:solidFill>
        </p:spPr>
        <p:txBody>
          <a:bodyPr/>
          <a:lstStyle>
            <a:lvl1pPr marL="0" indent="0">
              <a:buNone/>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ext</a:t>
            </a:r>
          </a:p>
        </p:txBody>
      </p:sp>
      <p:sp>
        <p:nvSpPr>
          <p:cNvPr id="27" name="Textplatzhalter 8">
            <a:extLst>
              <a:ext uri="{FF2B5EF4-FFF2-40B4-BE49-F238E27FC236}">
                <a16:creationId xmlns:a16="http://schemas.microsoft.com/office/drawing/2014/main" id="{948089BA-3386-6846-ADAD-5C21C06D352C}"/>
              </a:ext>
            </a:extLst>
          </p:cNvPr>
          <p:cNvSpPr>
            <a:spLocks noGrp="1"/>
          </p:cNvSpPr>
          <p:nvPr>
            <p:ph type="body" sz="quarter" idx="32" hasCustomPrompt="1"/>
          </p:nvPr>
        </p:nvSpPr>
        <p:spPr>
          <a:xfrm>
            <a:off x="6723504" y="4768627"/>
            <a:ext cx="3743450" cy="438782"/>
          </a:xfrm>
          <a:solidFill>
            <a:schemeClr val="bg2"/>
          </a:solidFill>
        </p:spPr>
        <p:txBody>
          <a:bodyPr/>
          <a:lstStyle>
            <a:lvl1pPr marL="0" indent="0">
              <a:buNone/>
              <a:defRPr sz="9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bb. Titel</a:t>
            </a:r>
          </a:p>
        </p:txBody>
      </p:sp>
      <p:sp>
        <p:nvSpPr>
          <p:cNvPr id="28" name="Textplatzhalter 8">
            <a:extLst>
              <a:ext uri="{FF2B5EF4-FFF2-40B4-BE49-F238E27FC236}">
                <a16:creationId xmlns:a16="http://schemas.microsoft.com/office/drawing/2014/main" id="{9EAEF531-5AA9-BA43-99F3-087C1E308DB5}"/>
              </a:ext>
            </a:extLst>
          </p:cNvPr>
          <p:cNvSpPr>
            <a:spLocks noGrp="1"/>
          </p:cNvSpPr>
          <p:nvPr>
            <p:ph type="body" sz="quarter" idx="33" hasCustomPrompt="1"/>
          </p:nvPr>
        </p:nvSpPr>
        <p:spPr>
          <a:xfrm>
            <a:off x="6723504" y="1857883"/>
            <a:ext cx="3743450" cy="1296288"/>
          </a:xfrm>
          <a:solidFill>
            <a:schemeClr val="bg2"/>
          </a:solidFill>
        </p:spPr>
        <p:txBody>
          <a:bodyPr/>
          <a:lstStyle>
            <a:lvl1pPr marL="0" indent="0">
              <a:buNone/>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ext</a:t>
            </a:r>
          </a:p>
        </p:txBody>
      </p:sp>
      <p:sp>
        <p:nvSpPr>
          <p:cNvPr id="29" name="Textplatzhalter 8">
            <a:extLst>
              <a:ext uri="{FF2B5EF4-FFF2-40B4-BE49-F238E27FC236}">
                <a16:creationId xmlns:a16="http://schemas.microsoft.com/office/drawing/2014/main" id="{B45415A9-0EBC-714B-9398-0FCFE0775D39}"/>
              </a:ext>
            </a:extLst>
          </p:cNvPr>
          <p:cNvSpPr>
            <a:spLocks noGrp="1"/>
          </p:cNvSpPr>
          <p:nvPr>
            <p:ph type="body" sz="quarter" idx="34" hasCustomPrompt="1"/>
          </p:nvPr>
        </p:nvSpPr>
        <p:spPr>
          <a:xfrm>
            <a:off x="6723504" y="1293907"/>
            <a:ext cx="3743450" cy="438782"/>
          </a:xfrm>
          <a:solidFill>
            <a:schemeClr val="bg2"/>
          </a:solidFill>
        </p:spPr>
        <p:txBody>
          <a:bodyPr/>
          <a:lstStyle>
            <a:lvl1pPr marL="0" indent="0">
              <a:buNone/>
              <a:defRPr sz="9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bb. Titel</a:t>
            </a:r>
          </a:p>
        </p:txBody>
      </p:sp>
      <p:sp>
        <p:nvSpPr>
          <p:cNvPr id="30" name="Textplatzhalter 8">
            <a:extLst>
              <a:ext uri="{FF2B5EF4-FFF2-40B4-BE49-F238E27FC236}">
                <a16:creationId xmlns:a16="http://schemas.microsoft.com/office/drawing/2014/main" id="{4EFCA29E-52D9-CD42-B820-3D26C731AD6F}"/>
              </a:ext>
            </a:extLst>
          </p:cNvPr>
          <p:cNvSpPr>
            <a:spLocks noGrp="1"/>
          </p:cNvSpPr>
          <p:nvPr>
            <p:ph type="body" sz="quarter" idx="35" hasCustomPrompt="1"/>
          </p:nvPr>
        </p:nvSpPr>
        <p:spPr>
          <a:xfrm>
            <a:off x="340992" y="1857883"/>
            <a:ext cx="3743450" cy="1296288"/>
          </a:xfrm>
          <a:solidFill>
            <a:schemeClr val="bg2"/>
          </a:solidFill>
        </p:spPr>
        <p:txBody>
          <a:bodyPr/>
          <a:lstStyle>
            <a:lvl1pPr marL="0" indent="0">
              <a:buNone/>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ext</a:t>
            </a:r>
          </a:p>
        </p:txBody>
      </p:sp>
      <p:sp>
        <p:nvSpPr>
          <p:cNvPr id="37" name="Textplatzhalter 8">
            <a:extLst>
              <a:ext uri="{FF2B5EF4-FFF2-40B4-BE49-F238E27FC236}">
                <a16:creationId xmlns:a16="http://schemas.microsoft.com/office/drawing/2014/main" id="{8EC9AD77-BEA4-6149-8661-C3EBE96952BE}"/>
              </a:ext>
            </a:extLst>
          </p:cNvPr>
          <p:cNvSpPr>
            <a:spLocks noGrp="1"/>
          </p:cNvSpPr>
          <p:nvPr>
            <p:ph type="body" sz="quarter" idx="36" hasCustomPrompt="1"/>
          </p:nvPr>
        </p:nvSpPr>
        <p:spPr>
          <a:xfrm>
            <a:off x="340992" y="1293907"/>
            <a:ext cx="3743450" cy="438782"/>
          </a:xfrm>
          <a:solidFill>
            <a:schemeClr val="bg2"/>
          </a:solidFill>
        </p:spPr>
        <p:txBody>
          <a:bodyPr/>
          <a:lstStyle>
            <a:lvl1pPr marL="0" indent="0">
              <a:buNone/>
              <a:defRPr sz="9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bb. Titel</a:t>
            </a:r>
          </a:p>
        </p:txBody>
      </p:sp>
    </p:spTree>
    <p:extLst>
      <p:ext uri="{BB962C8B-B14F-4D97-AF65-F5344CB8AC3E}">
        <p14:creationId xmlns:p14="http://schemas.microsoft.com/office/powerpoint/2010/main" val="32777436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ontakt">
    <p:bg>
      <p:bgPr>
        <a:solidFill>
          <a:schemeClr val="tx2"/>
        </a:solidFill>
        <a:effectLst/>
      </p:bgPr>
    </p:bg>
    <p:spTree>
      <p:nvGrpSpPr>
        <p:cNvPr id="1" name=""/>
        <p:cNvGrpSpPr/>
        <p:nvPr/>
      </p:nvGrpSpPr>
      <p:grpSpPr>
        <a:xfrm>
          <a:off x="0" y="0"/>
          <a:ext cx="0" cy="0"/>
          <a:chOff x="0" y="0"/>
          <a:chExt cx="0" cy="0"/>
        </a:xfrm>
      </p:grpSpPr>
      <p:grpSp>
        <p:nvGrpSpPr>
          <p:cNvPr id="67" name="Graphic 3">
            <a:extLst>
              <a:ext uri="{FF2B5EF4-FFF2-40B4-BE49-F238E27FC236}">
                <a16:creationId xmlns:a16="http://schemas.microsoft.com/office/drawing/2014/main" id="{278388FC-E754-41C0-BCB2-85E05ED28B70}"/>
              </a:ext>
            </a:extLst>
          </p:cNvPr>
          <p:cNvGrpSpPr>
            <a:grpSpLocks noChangeAspect="1"/>
          </p:cNvGrpSpPr>
          <p:nvPr userDrawn="1"/>
        </p:nvGrpSpPr>
        <p:grpSpPr bwMode="gray">
          <a:xfrm>
            <a:off x="4095950" y="1989000"/>
            <a:ext cx="4032000" cy="1916732"/>
            <a:chOff x="0" y="531083"/>
            <a:chExt cx="12192000" cy="5795833"/>
          </a:xfrm>
        </p:grpSpPr>
        <p:sp>
          <p:nvSpPr>
            <p:cNvPr id="68" name="Freeform: Shape 67">
              <a:extLst>
                <a:ext uri="{FF2B5EF4-FFF2-40B4-BE49-F238E27FC236}">
                  <a16:creationId xmlns:a16="http://schemas.microsoft.com/office/drawing/2014/main" id="{982C52A7-4AA7-468C-B382-0C7D2EEE5685}"/>
                </a:ext>
              </a:extLst>
            </p:cNvPr>
            <p:cNvSpPr/>
            <p:nvPr/>
          </p:nvSpPr>
          <p:spPr bwMode="gray">
            <a:xfrm>
              <a:off x="0" y="531083"/>
              <a:ext cx="12191569" cy="5795676"/>
            </a:xfrm>
            <a:custGeom>
              <a:avLst/>
              <a:gdLst>
                <a:gd name="connsiteX0" fmla="*/ 0 w 12191569"/>
                <a:gd name="connsiteY0" fmla="*/ 0 h 5795676"/>
                <a:gd name="connsiteX1" fmla="*/ 12191569 w 12191569"/>
                <a:gd name="connsiteY1" fmla="*/ 0 h 5795676"/>
                <a:gd name="connsiteX2" fmla="*/ 12191569 w 12191569"/>
                <a:gd name="connsiteY2" fmla="*/ 5795676 h 5795676"/>
                <a:gd name="connsiteX3" fmla="*/ 0 w 12191569"/>
                <a:gd name="connsiteY3" fmla="*/ 5795676 h 5795676"/>
              </a:gdLst>
              <a:ahLst/>
              <a:cxnLst>
                <a:cxn ang="0">
                  <a:pos x="connsiteX0" y="connsiteY0"/>
                </a:cxn>
                <a:cxn ang="0">
                  <a:pos x="connsiteX1" y="connsiteY1"/>
                </a:cxn>
                <a:cxn ang="0">
                  <a:pos x="connsiteX2" y="connsiteY2"/>
                </a:cxn>
                <a:cxn ang="0">
                  <a:pos x="connsiteX3" y="connsiteY3"/>
                </a:cxn>
              </a:cxnLst>
              <a:rect l="l" t="t" r="r" b="b"/>
              <a:pathLst>
                <a:path w="12191569" h="5795676">
                  <a:moveTo>
                    <a:pt x="0" y="0"/>
                  </a:moveTo>
                  <a:lnTo>
                    <a:pt x="12191569" y="0"/>
                  </a:lnTo>
                  <a:lnTo>
                    <a:pt x="12191569" y="5795676"/>
                  </a:lnTo>
                  <a:lnTo>
                    <a:pt x="0" y="5795676"/>
                  </a:lnTo>
                  <a:close/>
                </a:path>
              </a:pathLst>
            </a:custGeom>
            <a:noFill/>
            <a:ln w="1305" cap="flat">
              <a:noFill/>
              <a:prstDash val="solid"/>
              <a:miter/>
            </a:ln>
          </p:spPr>
          <p:txBody>
            <a:bodyPr rtlCol="0" anchor="ctr"/>
            <a:lstStyle/>
            <a:p>
              <a:endParaRPr lang="de-DE" dirty="0"/>
            </a:p>
          </p:txBody>
        </p:sp>
        <p:grpSp>
          <p:nvGrpSpPr>
            <p:cNvPr id="69" name="Graphic 3">
              <a:extLst>
                <a:ext uri="{FF2B5EF4-FFF2-40B4-BE49-F238E27FC236}">
                  <a16:creationId xmlns:a16="http://schemas.microsoft.com/office/drawing/2014/main" id="{D1F6D4DD-92AF-4D18-95E0-BC5A3CC9EED2}"/>
                </a:ext>
              </a:extLst>
            </p:cNvPr>
            <p:cNvGrpSpPr/>
            <p:nvPr/>
          </p:nvGrpSpPr>
          <p:grpSpPr bwMode="gray">
            <a:xfrm>
              <a:off x="3221757" y="3362649"/>
              <a:ext cx="7389002" cy="737823"/>
              <a:chOff x="3221757" y="3362649"/>
              <a:chExt cx="7389002" cy="737823"/>
            </a:xfrm>
            <a:solidFill>
              <a:srgbClr val="3D434B"/>
            </a:solidFill>
          </p:grpSpPr>
          <p:sp>
            <p:nvSpPr>
              <p:cNvPr id="113" name="Freeform: Shape 112">
                <a:extLst>
                  <a:ext uri="{FF2B5EF4-FFF2-40B4-BE49-F238E27FC236}">
                    <a16:creationId xmlns:a16="http://schemas.microsoft.com/office/drawing/2014/main" id="{FAA73705-28ED-42E7-8B04-9146C0EE4770}"/>
                  </a:ext>
                </a:extLst>
              </p:cNvPr>
              <p:cNvSpPr/>
              <p:nvPr/>
            </p:nvSpPr>
            <p:spPr bwMode="gray">
              <a:xfrm>
                <a:off x="8575523" y="3374643"/>
                <a:ext cx="283266" cy="713313"/>
              </a:xfrm>
              <a:custGeom>
                <a:avLst/>
                <a:gdLst>
                  <a:gd name="connsiteX0" fmla="*/ 283266 w 283266"/>
                  <a:gd name="connsiteY0" fmla="*/ 75851 h 713313"/>
                  <a:gd name="connsiteX1" fmla="*/ 283266 w 283266"/>
                  <a:gd name="connsiteY1" fmla="*/ 0 h 713313"/>
                  <a:gd name="connsiteX2" fmla="*/ 0 w 283266"/>
                  <a:gd name="connsiteY2" fmla="*/ 0 h 713313"/>
                  <a:gd name="connsiteX3" fmla="*/ 0 w 283266"/>
                  <a:gd name="connsiteY3" fmla="*/ 75851 h 713313"/>
                  <a:gd name="connsiteX4" fmla="*/ 92895 w 283266"/>
                  <a:gd name="connsiteY4" fmla="*/ 75851 h 713313"/>
                  <a:gd name="connsiteX5" fmla="*/ 92895 w 283266"/>
                  <a:gd name="connsiteY5" fmla="*/ 637450 h 713313"/>
                  <a:gd name="connsiteX6" fmla="*/ 0 w 283266"/>
                  <a:gd name="connsiteY6" fmla="*/ 637450 h 713313"/>
                  <a:gd name="connsiteX7" fmla="*/ 0 w 283266"/>
                  <a:gd name="connsiteY7" fmla="*/ 713314 h 713313"/>
                  <a:gd name="connsiteX8" fmla="*/ 283266 w 283266"/>
                  <a:gd name="connsiteY8" fmla="*/ 713314 h 713313"/>
                  <a:gd name="connsiteX9" fmla="*/ 283266 w 283266"/>
                  <a:gd name="connsiteY9" fmla="*/ 637450 h 713313"/>
                  <a:gd name="connsiteX10" fmla="*/ 190371 w 283266"/>
                  <a:gd name="connsiteY10" fmla="*/ 637450 h 713313"/>
                  <a:gd name="connsiteX11" fmla="*/ 190371 w 283266"/>
                  <a:gd name="connsiteY11" fmla="*/ 75851 h 71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3266" h="713313">
                    <a:moveTo>
                      <a:pt x="283266" y="75851"/>
                    </a:moveTo>
                    <a:lnTo>
                      <a:pt x="283266" y="0"/>
                    </a:lnTo>
                    <a:lnTo>
                      <a:pt x="0" y="0"/>
                    </a:lnTo>
                    <a:lnTo>
                      <a:pt x="0" y="75851"/>
                    </a:lnTo>
                    <a:lnTo>
                      <a:pt x="92895" y="75851"/>
                    </a:lnTo>
                    <a:lnTo>
                      <a:pt x="92895" y="637450"/>
                    </a:lnTo>
                    <a:lnTo>
                      <a:pt x="0" y="637450"/>
                    </a:lnTo>
                    <a:lnTo>
                      <a:pt x="0" y="713314"/>
                    </a:lnTo>
                    <a:lnTo>
                      <a:pt x="283266" y="713314"/>
                    </a:lnTo>
                    <a:lnTo>
                      <a:pt x="283266" y="637450"/>
                    </a:lnTo>
                    <a:lnTo>
                      <a:pt x="190371" y="637450"/>
                    </a:lnTo>
                    <a:lnTo>
                      <a:pt x="190371" y="75851"/>
                    </a:lnTo>
                    <a:close/>
                  </a:path>
                </a:pathLst>
              </a:custGeom>
              <a:solidFill>
                <a:schemeClr val="bg1"/>
              </a:solidFill>
              <a:ln w="1305" cap="flat">
                <a:noFill/>
                <a:prstDash val="solid"/>
                <a:miter/>
              </a:ln>
            </p:spPr>
            <p:txBody>
              <a:bodyPr rtlCol="0" anchor="ctr"/>
              <a:lstStyle/>
              <a:p>
                <a:endParaRPr lang="de-DE" dirty="0"/>
              </a:p>
            </p:txBody>
          </p:sp>
          <p:grpSp>
            <p:nvGrpSpPr>
              <p:cNvPr id="114" name="Graphic 3">
                <a:extLst>
                  <a:ext uri="{FF2B5EF4-FFF2-40B4-BE49-F238E27FC236}">
                    <a16:creationId xmlns:a16="http://schemas.microsoft.com/office/drawing/2014/main" id="{7748EAF8-EAFF-44A8-BEEC-78A4DEEE4FF8}"/>
                  </a:ext>
                </a:extLst>
              </p:cNvPr>
              <p:cNvGrpSpPr/>
              <p:nvPr/>
            </p:nvGrpSpPr>
            <p:grpSpPr bwMode="gray">
              <a:xfrm>
                <a:off x="3221757" y="3362649"/>
                <a:ext cx="7389002" cy="737823"/>
                <a:chOff x="3221757" y="3362649"/>
                <a:chExt cx="7389002" cy="737823"/>
              </a:xfrm>
              <a:solidFill>
                <a:srgbClr val="3D434B"/>
              </a:solidFill>
            </p:grpSpPr>
            <p:sp>
              <p:nvSpPr>
                <p:cNvPr id="115" name="Freeform: Shape 114">
                  <a:extLst>
                    <a:ext uri="{FF2B5EF4-FFF2-40B4-BE49-F238E27FC236}">
                      <a16:creationId xmlns:a16="http://schemas.microsoft.com/office/drawing/2014/main" id="{89CF40D5-424D-4B3D-8E00-12DCE0288E38}"/>
                    </a:ext>
                  </a:extLst>
                </p:cNvPr>
                <p:cNvSpPr/>
                <p:nvPr/>
              </p:nvSpPr>
              <p:spPr bwMode="gray">
                <a:xfrm>
                  <a:off x="3221757" y="3375165"/>
                  <a:ext cx="474746" cy="712792"/>
                </a:xfrm>
                <a:custGeom>
                  <a:avLst/>
                  <a:gdLst>
                    <a:gd name="connsiteX0" fmla="*/ 0 w 474746"/>
                    <a:gd name="connsiteY0" fmla="*/ 712792 h 712792"/>
                    <a:gd name="connsiteX1" fmla="*/ 97450 w 474746"/>
                    <a:gd name="connsiteY1" fmla="*/ 712792 h 712792"/>
                    <a:gd name="connsiteX2" fmla="*/ 97450 w 474746"/>
                    <a:gd name="connsiteY2" fmla="*/ 396808 h 712792"/>
                    <a:gd name="connsiteX3" fmla="*/ 435138 w 474746"/>
                    <a:gd name="connsiteY3" fmla="*/ 396808 h 712792"/>
                    <a:gd name="connsiteX4" fmla="*/ 435138 w 474746"/>
                    <a:gd name="connsiteY4" fmla="*/ 309733 h 712792"/>
                    <a:gd name="connsiteX5" fmla="*/ 97450 w 474746"/>
                    <a:gd name="connsiteY5" fmla="*/ 309733 h 712792"/>
                    <a:gd name="connsiteX6" fmla="*/ 97450 w 474746"/>
                    <a:gd name="connsiteY6" fmla="*/ 87074 h 712792"/>
                    <a:gd name="connsiteX7" fmla="*/ 474747 w 474746"/>
                    <a:gd name="connsiteY7" fmla="*/ 87074 h 712792"/>
                    <a:gd name="connsiteX8" fmla="*/ 474747 w 474746"/>
                    <a:gd name="connsiteY8" fmla="*/ 0 h 712792"/>
                    <a:gd name="connsiteX9" fmla="*/ 0 w 474746"/>
                    <a:gd name="connsiteY9" fmla="*/ 0 h 71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4746" h="712792">
                      <a:moveTo>
                        <a:pt x="0" y="712792"/>
                      </a:moveTo>
                      <a:lnTo>
                        <a:pt x="97450" y="712792"/>
                      </a:lnTo>
                      <a:lnTo>
                        <a:pt x="97450" y="396808"/>
                      </a:lnTo>
                      <a:lnTo>
                        <a:pt x="435138" y="396808"/>
                      </a:lnTo>
                      <a:lnTo>
                        <a:pt x="435138" y="309733"/>
                      </a:lnTo>
                      <a:lnTo>
                        <a:pt x="97450" y="309733"/>
                      </a:lnTo>
                      <a:lnTo>
                        <a:pt x="97450" y="87074"/>
                      </a:lnTo>
                      <a:lnTo>
                        <a:pt x="474747" y="87074"/>
                      </a:lnTo>
                      <a:lnTo>
                        <a:pt x="474747" y="0"/>
                      </a:lnTo>
                      <a:lnTo>
                        <a:pt x="0" y="0"/>
                      </a:lnTo>
                      <a:close/>
                    </a:path>
                  </a:pathLst>
                </a:custGeom>
                <a:solidFill>
                  <a:schemeClr val="bg1"/>
                </a:solidFill>
                <a:ln w="1305" cap="flat">
                  <a:noFill/>
                  <a:prstDash val="solid"/>
                  <a:miter/>
                </a:ln>
              </p:spPr>
              <p:txBody>
                <a:bodyPr rtlCol="0" anchor="ctr"/>
                <a:lstStyle/>
                <a:p>
                  <a:endParaRPr lang="de-DE" dirty="0"/>
                </a:p>
              </p:txBody>
            </p:sp>
            <p:sp>
              <p:nvSpPr>
                <p:cNvPr id="116" name="Freeform: Shape 115">
                  <a:extLst>
                    <a:ext uri="{FF2B5EF4-FFF2-40B4-BE49-F238E27FC236}">
                      <a16:creationId xmlns:a16="http://schemas.microsoft.com/office/drawing/2014/main" id="{14731F8E-0335-4CA6-9702-574356EE340E}"/>
                    </a:ext>
                  </a:extLst>
                </p:cNvPr>
                <p:cNvSpPr/>
                <p:nvPr/>
              </p:nvSpPr>
              <p:spPr bwMode="gray">
                <a:xfrm>
                  <a:off x="4068150" y="3375178"/>
                  <a:ext cx="564836" cy="712792"/>
                </a:xfrm>
                <a:custGeom>
                  <a:avLst/>
                  <a:gdLst>
                    <a:gd name="connsiteX0" fmla="*/ 483243 w 564836"/>
                    <a:gd name="connsiteY0" fmla="*/ 345505 h 712792"/>
                    <a:gd name="connsiteX1" fmla="*/ 519563 w 564836"/>
                    <a:gd name="connsiteY1" fmla="*/ 209347 h 712792"/>
                    <a:gd name="connsiteX2" fmla="*/ 462140 w 564836"/>
                    <a:gd name="connsiteY2" fmla="*/ 49984 h 712792"/>
                    <a:gd name="connsiteX3" fmla="*/ 280108 w 564836"/>
                    <a:gd name="connsiteY3" fmla="*/ 0 h 712792"/>
                    <a:gd name="connsiteX4" fmla="*/ 0 w 564836"/>
                    <a:gd name="connsiteY4" fmla="*/ 0 h 712792"/>
                    <a:gd name="connsiteX5" fmla="*/ 0 w 564836"/>
                    <a:gd name="connsiteY5" fmla="*/ 712792 h 712792"/>
                    <a:gd name="connsiteX6" fmla="*/ 97450 w 564836"/>
                    <a:gd name="connsiteY6" fmla="*/ 712792 h 712792"/>
                    <a:gd name="connsiteX7" fmla="*/ 97450 w 564836"/>
                    <a:gd name="connsiteY7" fmla="*/ 418707 h 712792"/>
                    <a:gd name="connsiteX8" fmla="*/ 261263 w 564836"/>
                    <a:gd name="connsiteY8" fmla="*/ 418707 h 712792"/>
                    <a:gd name="connsiteX9" fmla="*/ 448463 w 564836"/>
                    <a:gd name="connsiteY9" fmla="*/ 711957 h 712792"/>
                    <a:gd name="connsiteX10" fmla="*/ 448998 w 564836"/>
                    <a:gd name="connsiteY10" fmla="*/ 712792 h 712792"/>
                    <a:gd name="connsiteX11" fmla="*/ 564836 w 564836"/>
                    <a:gd name="connsiteY11" fmla="*/ 712792 h 712792"/>
                    <a:gd name="connsiteX12" fmla="*/ 372677 w 564836"/>
                    <a:gd name="connsiteY12" fmla="*/ 409793 h 712792"/>
                    <a:gd name="connsiteX13" fmla="*/ 483243 w 564836"/>
                    <a:gd name="connsiteY13" fmla="*/ 345505 h 712792"/>
                    <a:gd name="connsiteX14" fmla="*/ 97450 w 564836"/>
                    <a:gd name="connsiteY14" fmla="*/ 87061 h 712792"/>
                    <a:gd name="connsiteX15" fmla="*/ 275932 w 564836"/>
                    <a:gd name="connsiteY15" fmla="*/ 87061 h 712792"/>
                    <a:gd name="connsiteX16" fmla="*/ 387855 w 564836"/>
                    <a:gd name="connsiteY16" fmla="*/ 114807 h 712792"/>
                    <a:gd name="connsiteX17" fmla="*/ 421082 w 564836"/>
                    <a:gd name="connsiteY17" fmla="*/ 209347 h 712792"/>
                    <a:gd name="connsiteX18" fmla="*/ 387868 w 564836"/>
                    <a:gd name="connsiteY18" fmla="*/ 303887 h 712792"/>
                    <a:gd name="connsiteX19" fmla="*/ 275945 w 564836"/>
                    <a:gd name="connsiteY19" fmla="*/ 331619 h 712792"/>
                    <a:gd name="connsiteX20" fmla="*/ 97463 w 564836"/>
                    <a:gd name="connsiteY20" fmla="*/ 331619 h 712792"/>
                    <a:gd name="connsiteX21" fmla="*/ 97463 w 564836"/>
                    <a:gd name="connsiteY21" fmla="*/ 87061 h 71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4836" h="712792">
                      <a:moveTo>
                        <a:pt x="483243" y="345505"/>
                      </a:moveTo>
                      <a:cubicBezTo>
                        <a:pt x="507347" y="313009"/>
                        <a:pt x="519563" y="267201"/>
                        <a:pt x="519563" y="209347"/>
                      </a:cubicBezTo>
                      <a:cubicBezTo>
                        <a:pt x="519563" y="136837"/>
                        <a:pt x="500248" y="83225"/>
                        <a:pt x="462140" y="49984"/>
                      </a:cubicBezTo>
                      <a:cubicBezTo>
                        <a:pt x="424084" y="16809"/>
                        <a:pt x="362837" y="0"/>
                        <a:pt x="280108" y="0"/>
                      </a:cubicBezTo>
                      <a:lnTo>
                        <a:pt x="0" y="0"/>
                      </a:lnTo>
                      <a:lnTo>
                        <a:pt x="0" y="712792"/>
                      </a:lnTo>
                      <a:lnTo>
                        <a:pt x="97450" y="712792"/>
                      </a:lnTo>
                      <a:lnTo>
                        <a:pt x="97450" y="418707"/>
                      </a:lnTo>
                      <a:lnTo>
                        <a:pt x="261263" y="418707"/>
                      </a:lnTo>
                      <a:lnTo>
                        <a:pt x="448463" y="711957"/>
                      </a:lnTo>
                      <a:lnTo>
                        <a:pt x="448998" y="712792"/>
                      </a:lnTo>
                      <a:lnTo>
                        <a:pt x="564836" y="712792"/>
                      </a:lnTo>
                      <a:lnTo>
                        <a:pt x="372677" y="409793"/>
                      </a:lnTo>
                      <a:cubicBezTo>
                        <a:pt x="422322" y="399118"/>
                        <a:pt x="459517" y="377493"/>
                        <a:pt x="483243" y="345505"/>
                      </a:cubicBezTo>
                      <a:close/>
                      <a:moveTo>
                        <a:pt x="97450" y="87061"/>
                      </a:moveTo>
                      <a:lnTo>
                        <a:pt x="275932" y="87061"/>
                      </a:lnTo>
                      <a:cubicBezTo>
                        <a:pt x="328057" y="87061"/>
                        <a:pt x="365708" y="96393"/>
                        <a:pt x="387855" y="114807"/>
                      </a:cubicBezTo>
                      <a:cubicBezTo>
                        <a:pt x="409898" y="133144"/>
                        <a:pt x="421082" y="164948"/>
                        <a:pt x="421082" y="209347"/>
                      </a:cubicBezTo>
                      <a:cubicBezTo>
                        <a:pt x="421082" y="253745"/>
                        <a:pt x="409911" y="285550"/>
                        <a:pt x="387868" y="303887"/>
                      </a:cubicBezTo>
                      <a:cubicBezTo>
                        <a:pt x="365721" y="322288"/>
                        <a:pt x="328057" y="331619"/>
                        <a:pt x="275945" y="331619"/>
                      </a:cubicBezTo>
                      <a:lnTo>
                        <a:pt x="97463" y="331619"/>
                      </a:lnTo>
                      <a:lnTo>
                        <a:pt x="97463" y="87061"/>
                      </a:lnTo>
                      <a:close/>
                    </a:path>
                  </a:pathLst>
                </a:custGeom>
                <a:solidFill>
                  <a:schemeClr val="bg1"/>
                </a:solidFill>
                <a:ln w="1305" cap="flat">
                  <a:noFill/>
                  <a:prstDash val="solid"/>
                  <a:miter/>
                </a:ln>
              </p:spPr>
              <p:txBody>
                <a:bodyPr rtlCol="0" anchor="ctr"/>
                <a:lstStyle/>
                <a:p>
                  <a:endParaRPr lang="de-DE" dirty="0"/>
                </a:p>
              </p:txBody>
            </p:sp>
            <p:sp>
              <p:nvSpPr>
                <p:cNvPr id="117" name="Freeform: Shape 116">
                  <a:extLst>
                    <a:ext uri="{FF2B5EF4-FFF2-40B4-BE49-F238E27FC236}">
                      <a16:creationId xmlns:a16="http://schemas.microsoft.com/office/drawing/2014/main" id="{2A2421A1-B366-497D-AC6C-90CF0E504649}"/>
                    </a:ext>
                  </a:extLst>
                </p:cNvPr>
                <p:cNvSpPr/>
                <p:nvPr/>
              </p:nvSpPr>
              <p:spPr bwMode="gray">
                <a:xfrm>
                  <a:off x="5004188" y="3375165"/>
                  <a:ext cx="516417" cy="712792"/>
                </a:xfrm>
                <a:custGeom>
                  <a:avLst/>
                  <a:gdLst>
                    <a:gd name="connsiteX0" fmla="*/ 97437 w 516417"/>
                    <a:gd name="connsiteY0" fmla="*/ 393675 h 712792"/>
                    <a:gd name="connsiteX1" fmla="*/ 451804 w 516417"/>
                    <a:gd name="connsiteY1" fmla="*/ 393675 h 712792"/>
                    <a:gd name="connsiteX2" fmla="*/ 451804 w 516417"/>
                    <a:gd name="connsiteY2" fmla="*/ 306601 h 712792"/>
                    <a:gd name="connsiteX3" fmla="*/ 97437 w 516417"/>
                    <a:gd name="connsiteY3" fmla="*/ 306601 h 712792"/>
                    <a:gd name="connsiteX4" fmla="*/ 97437 w 516417"/>
                    <a:gd name="connsiteY4" fmla="*/ 87074 h 712792"/>
                    <a:gd name="connsiteX5" fmla="*/ 510180 w 516417"/>
                    <a:gd name="connsiteY5" fmla="*/ 87074 h 712792"/>
                    <a:gd name="connsiteX6" fmla="*/ 510180 w 516417"/>
                    <a:gd name="connsiteY6" fmla="*/ 0 h 712792"/>
                    <a:gd name="connsiteX7" fmla="*/ 0 w 516417"/>
                    <a:gd name="connsiteY7" fmla="*/ 0 h 712792"/>
                    <a:gd name="connsiteX8" fmla="*/ 0 w 516417"/>
                    <a:gd name="connsiteY8" fmla="*/ 712792 h 712792"/>
                    <a:gd name="connsiteX9" fmla="*/ 516418 w 516417"/>
                    <a:gd name="connsiteY9" fmla="*/ 712792 h 712792"/>
                    <a:gd name="connsiteX10" fmla="*/ 516418 w 516417"/>
                    <a:gd name="connsiteY10" fmla="*/ 625718 h 712792"/>
                    <a:gd name="connsiteX11" fmla="*/ 97437 w 516417"/>
                    <a:gd name="connsiteY11" fmla="*/ 625718 h 71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6417" h="712792">
                      <a:moveTo>
                        <a:pt x="97437" y="393675"/>
                      </a:moveTo>
                      <a:lnTo>
                        <a:pt x="451804" y="393675"/>
                      </a:lnTo>
                      <a:lnTo>
                        <a:pt x="451804" y="306601"/>
                      </a:lnTo>
                      <a:lnTo>
                        <a:pt x="97437" y="306601"/>
                      </a:lnTo>
                      <a:lnTo>
                        <a:pt x="97437" y="87074"/>
                      </a:lnTo>
                      <a:lnTo>
                        <a:pt x="510180" y="87074"/>
                      </a:lnTo>
                      <a:lnTo>
                        <a:pt x="510180" y="0"/>
                      </a:lnTo>
                      <a:lnTo>
                        <a:pt x="0" y="0"/>
                      </a:lnTo>
                      <a:lnTo>
                        <a:pt x="0" y="712792"/>
                      </a:lnTo>
                      <a:lnTo>
                        <a:pt x="516418" y="712792"/>
                      </a:lnTo>
                      <a:lnTo>
                        <a:pt x="516418" y="625718"/>
                      </a:lnTo>
                      <a:lnTo>
                        <a:pt x="97437" y="625718"/>
                      </a:lnTo>
                      <a:close/>
                    </a:path>
                  </a:pathLst>
                </a:custGeom>
                <a:solidFill>
                  <a:schemeClr val="bg1"/>
                </a:solidFill>
                <a:ln w="1305" cap="flat">
                  <a:noFill/>
                  <a:prstDash val="solid"/>
                  <a:miter/>
                </a:ln>
              </p:spPr>
              <p:txBody>
                <a:bodyPr rtlCol="0" anchor="ctr"/>
                <a:lstStyle/>
                <a:p>
                  <a:endParaRPr lang="de-DE" dirty="0"/>
                </a:p>
              </p:txBody>
            </p:sp>
            <p:sp>
              <p:nvSpPr>
                <p:cNvPr id="118" name="Freeform: Shape 117">
                  <a:extLst>
                    <a:ext uri="{FF2B5EF4-FFF2-40B4-BE49-F238E27FC236}">
                      <a16:creationId xmlns:a16="http://schemas.microsoft.com/office/drawing/2014/main" id="{1EAC4AD3-6FAE-4A44-BF9A-6B7486E71411}"/>
                    </a:ext>
                  </a:extLst>
                </p:cNvPr>
                <p:cNvSpPr/>
                <p:nvPr/>
              </p:nvSpPr>
              <p:spPr bwMode="gray">
                <a:xfrm>
                  <a:off x="5880715" y="3362649"/>
                  <a:ext cx="501827" cy="737823"/>
                </a:xfrm>
                <a:custGeom>
                  <a:avLst/>
                  <a:gdLst>
                    <a:gd name="connsiteX0" fmla="*/ 314927 w 501827"/>
                    <a:gd name="connsiteY0" fmla="*/ 327273 h 737823"/>
                    <a:gd name="connsiteX1" fmla="*/ 234665 w 501827"/>
                    <a:gd name="connsiteY1" fmla="*/ 309538 h 737823"/>
                    <a:gd name="connsiteX2" fmla="*/ 134880 w 501827"/>
                    <a:gd name="connsiteY2" fmla="*/ 269381 h 737823"/>
                    <a:gd name="connsiteX3" fmla="*/ 107864 w 501827"/>
                    <a:gd name="connsiteY3" fmla="*/ 203096 h 737823"/>
                    <a:gd name="connsiteX4" fmla="*/ 265504 w 501827"/>
                    <a:gd name="connsiteY4" fmla="*/ 87074 h 737823"/>
                    <a:gd name="connsiteX5" fmla="*/ 460391 w 501827"/>
                    <a:gd name="connsiteY5" fmla="*/ 142018 h 737823"/>
                    <a:gd name="connsiteX6" fmla="*/ 463262 w 501827"/>
                    <a:gd name="connsiteY6" fmla="*/ 144054 h 737823"/>
                    <a:gd name="connsiteX7" fmla="*/ 463262 w 501827"/>
                    <a:gd name="connsiteY7" fmla="*/ 44686 h 737823"/>
                    <a:gd name="connsiteX8" fmla="*/ 462505 w 501827"/>
                    <a:gd name="connsiteY8" fmla="*/ 44138 h 737823"/>
                    <a:gd name="connsiteX9" fmla="*/ 262385 w 501827"/>
                    <a:gd name="connsiteY9" fmla="*/ 0 h 737823"/>
                    <a:gd name="connsiteX10" fmla="*/ 10427 w 501827"/>
                    <a:gd name="connsiteY10" fmla="*/ 209360 h 737823"/>
                    <a:gd name="connsiteX11" fmla="*/ 50480 w 501827"/>
                    <a:gd name="connsiteY11" fmla="*/ 331006 h 737823"/>
                    <a:gd name="connsiteX12" fmla="*/ 186926 w 501827"/>
                    <a:gd name="connsiteY12" fmla="*/ 398844 h 737823"/>
                    <a:gd name="connsiteX13" fmla="*/ 264969 w 501827"/>
                    <a:gd name="connsiteY13" fmla="*/ 417154 h 737823"/>
                    <a:gd name="connsiteX14" fmla="*/ 375313 w 501827"/>
                    <a:gd name="connsiteY14" fmla="*/ 459856 h 737823"/>
                    <a:gd name="connsiteX15" fmla="*/ 404390 w 501827"/>
                    <a:gd name="connsiteY15" fmla="*/ 529508 h 737823"/>
                    <a:gd name="connsiteX16" fmla="*/ 240486 w 501827"/>
                    <a:gd name="connsiteY16" fmla="*/ 650749 h 737823"/>
                    <a:gd name="connsiteX17" fmla="*/ 2910 w 501827"/>
                    <a:gd name="connsiteY17" fmla="*/ 578109 h 737823"/>
                    <a:gd name="connsiteX18" fmla="*/ 0 w 501827"/>
                    <a:gd name="connsiteY18" fmla="*/ 575929 h 737823"/>
                    <a:gd name="connsiteX19" fmla="*/ 0 w 501827"/>
                    <a:gd name="connsiteY19" fmla="*/ 676394 h 737823"/>
                    <a:gd name="connsiteX20" fmla="*/ 691 w 501827"/>
                    <a:gd name="connsiteY20" fmla="*/ 676942 h 737823"/>
                    <a:gd name="connsiteX21" fmla="*/ 238398 w 501827"/>
                    <a:gd name="connsiteY21" fmla="*/ 737824 h 737823"/>
                    <a:gd name="connsiteX22" fmla="*/ 501827 w 501827"/>
                    <a:gd name="connsiteY22" fmla="*/ 526389 h 737823"/>
                    <a:gd name="connsiteX23" fmla="*/ 458629 w 501827"/>
                    <a:gd name="connsiteY23" fmla="*/ 397800 h 737823"/>
                    <a:gd name="connsiteX24" fmla="*/ 314927 w 501827"/>
                    <a:gd name="connsiteY24" fmla="*/ 327273 h 73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1827" h="737823">
                      <a:moveTo>
                        <a:pt x="314927" y="327273"/>
                      </a:moveTo>
                      <a:lnTo>
                        <a:pt x="234665" y="309538"/>
                      </a:lnTo>
                      <a:cubicBezTo>
                        <a:pt x="186573" y="299267"/>
                        <a:pt x="152994" y="285759"/>
                        <a:pt x="134880" y="269381"/>
                      </a:cubicBezTo>
                      <a:cubicBezTo>
                        <a:pt x="116961" y="253171"/>
                        <a:pt x="107864" y="230868"/>
                        <a:pt x="107864" y="203096"/>
                      </a:cubicBezTo>
                      <a:cubicBezTo>
                        <a:pt x="107864" y="126109"/>
                        <a:pt x="160903" y="87074"/>
                        <a:pt x="265504" y="87074"/>
                      </a:cubicBezTo>
                      <a:cubicBezTo>
                        <a:pt x="343261" y="87074"/>
                        <a:pt x="408827" y="105555"/>
                        <a:pt x="460391" y="142018"/>
                      </a:cubicBezTo>
                      <a:lnTo>
                        <a:pt x="463262" y="144054"/>
                      </a:lnTo>
                      <a:lnTo>
                        <a:pt x="463262" y="44686"/>
                      </a:lnTo>
                      <a:lnTo>
                        <a:pt x="462505" y="44138"/>
                      </a:lnTo>
                      <a:cubicBezTo>
                        <a:pt x="421369" y="14852"/>
                        <a:pt x="354040" y="0"/>
                        <a:pt x="262385" y="0"/>
                      </a:cubicBezTo>
                      <a:cubicBezTo>
                        <a:pt x="95205" y="0"/>
                        <a:pt x="10427" y="70435"/>
                        <a:pt x="10427" y="209360"/>
                      </a:cubicBezTo>
                      <a:cubicBezTo>
                        <a:pt x="10427" y="259645"/>
                        <a:pt x="23909" y="300585"/>
                        <a:pt x="50480" y="331006"/>
                      </a:cubicBezTo>
                      <a:cubicBezTo>
                        <a:pt x="76999" y="361401"/>
                        <a:pt x="122912" y="384227"/>
                        <a:pt x="186926" y="398844"/>
                      </a:cubicBezTo>
                      <a:lnTo>
                        <a:pt x="264969" y="417154"/>
                      </a:lnTo>
                      <a:cubicBezTo>
                        <a:pt x="318686" y="429487"/>
                        <a:pt x="355802" y="443856"/>
                        <a:pt x="375313" y="459856"/>
                      </a:cubicBezTo>
                      <a:cubicBezTo>
                        <a:pt x="394615" y="475686"/>
                        <a:pt x="404390" y="499126"/>
                        <a:pt x="404390" y="529508"/>
                      </a:cubicBezTo>
                      <a:cubicBezTo>
                        <a:pt x="404390" y="609953"/>
                        <a:pt x="349251" y="650749"/>
                        <a:pt x="240486" y="650749"/>
                      </a:cubicBezTo>
                      <a:cubicBezTo>
                        <a:pt x="147512" y="650749"/>
                        <a:pt x="67576" y="626305"/>
                        <a:pt x="2910" y="578109"/>
                      </a:cubicBezTo>
                      <a:lnTo>
                        <a:pt x="0" y="575929"/>
                      </a:lnTo>
                      <a:lnTo>
                        <a:pt x="0" y="676394"/>
                      </a:lnTo>
                      <a:lnTo>
                        <a:pt x="691" y="676942"/>
                      </a:lnTo>
                      <a:cubicBezTo>
                        <a:pt x="52190" y="717334"/>
                        <a:pt x="132165" y="737824"/>
                        <a:pt x="238398" y="737824"/>
                      </a:cubicBezTo>
                      <a:cubicBezTo>
                        <a:pt x="413199" y="737824"/>
                        <a:pt x="501827" y="666684"/>
                        <a:pt x="501827" y="526389"/>
                      </a:cubicBezTo>
                      <a:cubicBezTo>
                        <a:pt x="501827" y="473272"/>
                        <a:pt x="487288" y="430022"/>
                        <a:pt x="458629" y="397800"/>
                      </a:cubicBezTo>
                      <a:cubicBezTo>
                        <a:pt x="430022" y="365643"/>
                        <a:pt x="381669" y="341916"/>
                        <a:pt x="314927" y="327273"/>
                      </a:cubicBezTo>
                      <a:close/>
                    </a:path>
                  </a:pathLst>
                </a:custGeom>
                <a:solidFill>
                  <a:schemeClr val="bg1"/>
                </a:solidFill>
                <a:ln w="1305" cap="flat">
                  <a:noFill/>
                  <a:prstDash val="solid"/>
                  <a:miter/>
                </a:ln>
              </p:spPr>
              <p:txBody>
                <a:bodyPr rtlCol="0" anchor="ctr"/>
                <a:lstStyle/>
                <a:p>
                  <a:endParaRPr lang="de-DE" dirty="0"/>
                </a:p>
              </p:txBody>
            </p:sp>
            <p:sp>
              <p:nvSpPr>
                <p:cNvPr id="119" name="Freeform: Shape 118">
                  <a:extLst>
                    <a:ext uri="{FF2B5EF4-FFF2-40B4-BE49-F238E27FC236}">
                      <a16:creationId xmlns:a16="http://schemas.microsoft.com/office/drawing/2014/main" id="{1669AF63-71D3-4BD3-89F9-2AB6EF77698C}"/>
                    </a:ext>
                  </a:extLst>
                </p:cNvPr>
                <p:cNvSpPr/>
                <p:nvPr/>
              </p:nvSpPr>
              <p:spPr bwMode="gray">
                <a:xfrm>
                  <a:off x="6766912" y="3375165"/>
                  <a:ext cx="516430" cy="712792"/>
                </a:xfrm>
                <a:custGeom>
                  <a:avLst/>
                  <a:gdLst>
                    <a:gd name="connsiteX0" fmla="*/ 97450 w 516430"/>
                    <a:gd name="connsiteY0" fmla="*/ 393675 h 712792"/>
                    <a:gd name="connsiteX1" fmla="*/ 451803 w 516430"/>
                    <a:gd name="connsiteY1" fmla="*/ 393675 h 712792"/>
                    <a:gd name="connsiteX2" fmla="*/ 451803 w 516430"/>
                    <a:gd name="connsiteY2" fmla="*/ 306601 h 712792"/>
                    <a:gd name="connsiteX3" fmla="*/ 97450 w 516430"/>
                    <a:gd name="connsiteY3" fmla="*/ 306601 h 712792"/>
                    <a:gd name="connsiteX4" fmla="*/ 97450 w 516430"/>
                    <a:gd name="connsiteY4" fmla="*/ 87074 h 712792"/>
                    <a:gd name="connsiteX5" fmla="*/ 510179 w 516430"/>
                    <a:gd name="connsiteY5" fmla="*/ 87074 h 712792"/>
                    <a:gd name="connsiteX6" fmla="*/ 510179 w 516430"/>
                    <a:gd name="connsiteY6" fmla="*/ 0 h 712792"/>
                    <a:gd name="connsiteX7" fmla="*/ 0 w 516430"/>
                    <a:gd name="connsiteY7" fmla="*/ 0 h 712792"/>
                    <a:gd name="connsiteX8" fmla="*/ 0 w 516430"/>
                    <a:gd name="connsiteY8" fmla="*/ 712792 h 712792"/>
                    <a:gd name="connsiteX9" fmla="*/ 516431 w 516430"/>
                    <a:gd name="connsiteY9" fmla="*/ 712792 h 712792"/>
                    <a:gd name="connsiteX10" fmla="*/ 516431 w 516430"/>
                    <a:gd name="connsiteY10" fmla="*/ 625718 h 712792"/>
                    <a:gd name="connsiteX11" fmla="*/ 97450 w 516430"/>
                    <a:gd name="connsiteY11" fmla="*/ 625718 h 71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6430" h="712792">
                      <a:moveTo>
                        <a:pt x="97450" y="393675"/>
                      </a:moveTo>
                      <a:lnTo>
                        <a:pt x="451803" y="393675"/>
                      </a:lnTo>
                      <a:lnTo>
                        <a:pt x="451803" y="306601"/>
                      </a:lnTo>
                      <a:lnTo>
                        <a:pt x="97450" y="306601"/>
                      </a:lnTo>
                      <a:lnTo>
                        <a:pt x="97450" y="87074"/>
                      </a:lnTo>
                      <a:lnTo>
                        <a:pt x="510179" y="87074"/>
                      </a:lnTo>
                      <a:lnTo>
                        <a:pt x="510179" y="0"/>
                      </a:lnTo>
                      <a:lnTo>
                        <a:pt x="0" y="0"/>
                      </a:lnTo>
                      <a:lnTo>
                        <a:pt x="0" y="712792"/>
                      </a:lnTo>
                      <a:lnTo>
                        <a:pt x="516431" y="712792"/>
                      </a:lnTo>
                      <a:lnTo>
                        <a:pt x="516431" y="625718"/>
                      </a:lnTo>
                      <a:lnTo>
                        <a:pt x="97450" y="625718"/>
                      </a:lnTo>
                      <a:close/>
                    </a:path>
                  </a:pathLst>
                </a:custGeom>
                <a:solidFill>
                  <a:schemeClr val="bg1"/>
                </a:solidFill>
                <a:ln w="1305" cap="flat">
                  <a:noFill/>
                  <a:prstDash val="solid"/>
                  <a:miter/>
                </a:ln>
              </p:spPr>
              <p:txBody>
                <a:bodyPr rtlCol="0" anchor="ctr"/>
                <a:lstStyle/>
                <a:p>
                  <a:endParaRPr lang="de-DE" dirty="0"/>
                </a:p>
              </p:txBody>
            </p:sp>
            <p:sp>
              <p:nvSpPr>
                <p:cNvPr id="120" name="Freeform: Shape 119">
                  <a:extLst>
                    <a:ext uri="{FF2B5EF4-FFF2-40B4-BE49-F238E27FC236}">
                      <a16:creationId xmlns:a16="http://schemas.microsoft.com/office/drawing/2014/main" id="{85905F20-CD9F-4ED4-8969-3F353B256A41}"/>
                    </a:ext>
                  </a:extLst>
                </p:cNvPr>
                <p:cNvSpPr/>
                <p:nvPr/>
              </p:nvSpPr>
              <p:spPr bwMode="gray">
                <a:xfrm>
                  <a:off x="7666368" y="3375165"/>
                  <a:ext cx="565410" cy="712792"/>
                </a:xfrm>
                <a:custGeom>
                  <a:avLst/>
                  <a:gdLst>
                    <a:gd name="connsiteX0" fmla="*/ 472124 w 565410"/>
                    <a:gd name="connsiteY0" fmla="*/ 535955 h 712792"/>
                    <a:gd name="connsiteX1" fmla="*/ 121294 w 565410"/>
                    <a:gd name="connsiteY1" fmla="*/ 822 h 712792"/>
                    <a:gd name="connsiteX2" fmla="*/ 120759 w 565410"/>
                    <a:gd name="connsiteY2" fmla="*/ 0 h 712792"/>
                    <a:gd name="connsiteX3" fmla="*/ 0 w 565410"/>
                    <a:gd name="connsiteY3" fmla="*/ 0 h 712792"/>
                    <a:gd name="connsiteX4" fmla="*/ 0 w 565410"/>
                    <a:gd name="connsiteY4" fmla="*/ 712792 h 712792"/>
                    <a:gd name="connsiteX5" fmla="*/ 93274 w 565410"/>
                    <a:gd name="connsiteY5" fmla="*/ 712792 h 712792"/>
                    <a:gd name="connsiteX6" fmla="*/ 93274 w 565410"/>
                    <a:gd name="connsiteY6" fmla="*/ 132034 h 712792"/>
                    <a:gd name="connsiteX7" fmla="*/ 473468 w 565410"/>
                    <a:gd name="connsiteY7" fmla="*/ 711983 h 712792"/>
                    <a:gd name="connsiteX8" fmla="*/ 474016 w 565410"/>
                    <a:gd name="connsiteY8" fmla="*/ 712792 h 712792"/>
                    <a:gd name="connsiteX9" fmla="*/ 565411 w 565410"/>
                    <a:gd name="connsiteY9" fmla="*/ 712792 h 712792"/>
                    <a:gd name="connsiteX10" fmla="*/ 565411 w 565410"/>
                    <a:gd name="connsiteY10" fmla="*/ 0 h 712792"/>
                    <a:gd name="connsiteX11" fmla="*/ 472124 w 565410"/>
                    <a:gd name="connsiteY11" fmla="*/ 0 h 71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5410" h="712792">
                      <a:moveTo>
                        <a:pt x="472124" y="535955"/>
                      </a:moveTo>
                      <a:lnTo>
                        <a:pt x="121294" y="822"/>
                      </a:lnTo>
                      <a:lnTo>
                        <a:pt x="120759" y="0"/>
                      </a:lnTo>
                      <a:lnTo>
                        <a:pt x="0" y="0"/>
                      </a:lnTo>
                      <a:lnTo>
                        <a:pt x="0" y="712792"/>
                      </a:lnTo>
                      <a:lnTo>
                        <a:pt x="93274" y="712792"/>
                      </a:lnTo>
                      <a:lnTo>
                        <a:pt x="93274" y="132034"/>
                      </a:lnTo>
                      <a:lnTo>
                        <a:pt x="473468" y="711983"/>
                      </a:lnTo>
                      <a:lnTo>
                        <a:pt x="474016" y="712792"/>
                      </a:lnTo>
                      <a:lnTo>
                        <a:pt x="565411" y="712792"/>
                      </a:lnTo>
                      <a:lnTo>
                        <a:pt x="565411" y="0"/>
                      </a:lnTo>
                      <a:lnTo>
                        <a:pt x="472124" y="0"/>
                      </a:lnTo>
                      <a:close/>
                    </a:path>
                  </a:pathLst>
                </a:custGeom>
                <a:solidFill>
                  <a:schemeClr val="bg1"/>
                </a:solidFill>
                <a:ln w="1305" cap="flat">
                  <a:noFill/>
                  <a:prstDash val="solid"/>
                  <a:miter/>
                </a:ln>
              </p:spPr>
              <p:txBody>
                <a:bodyPr rtlCol="0" anchor="ctr"/>
                <a:lstStyle/>
                <a:p>
                  <a:endParaRPr lang="de-DE" dirty="0"/>
                </a:p>
              </p:txBody>
            </p:sp>
            <p:sp>
              <p:nvSpPr>
                <p:cNvPr id="121" name="Freeform: Shape 120">
                  <a:extLst>
                    <a:ext uri="{FF2B5EF4-FFF2-40B4-BE49-F238E27FC236}">
                      <a16:creationId xmlns:a16="http://schemas.microsoft.com/office/drawing/2014/main" id="{839D59F9-5CFE-444B-A494-91612B8B71C4}"/>
                    </a:ext>
                  </a:extLst>
                </p:cNvPr>
                <p:cNvSpPr/>
                <p:nvPr/>
              </p:nvSpPr>
              <p:spPr bwMode="gray">
                <a:xfrm>
                  <a:off x="9190317" y="3375165"/>
                  <a:ext cx="538316" cy="725307"/>
                </a:xfrm>
                <a:custGeom>
                  <a:avLst/>
                  <a:gdLst>
                    <a:gd name="connsiteX0" fmla="*/ 445030 w 538316"/>
                    <a:gd name="connsiteY0" fmla="*/ 457559 h 725307"/>
                    <a:gd name="connsiteX1" fmla="*/ 403855 w 538316"/>
                    <a:gd name="connsiteY1" fmla="*/ 594474 h 725307"/>
                    <a:gd name="connsiteX2" fmla="*/ 270711 w 538316"/>
                    <a:gd name="connsiteY2" fmla="*/ 637202 h 725307"/>
                    <a:gd name="connsiteX3" fmla="*/ 138625 w 538316"/>
                    <a:gd name="connsiteY3" fmla="*/ 594474 h 725307"/>
                    <a:gd name="connsiteX4" fmla="*/ 97450 w 538316"/>
                    <a:gd name="connsiteY4" fmla="*/ 457559 h 725307"/>
                    <a:gd name="connsiteX5" fmla="*/ 97450 w 538316"/>
                    <a:gd name="connsiteY5" fmla="*/ 0 h 725307"/>
                    <a:gd name="connsiteX6" fmla="*/ 0 w 538316"/>
                    <a:gd name="connsiteY6" fmla="*/ 0 h 725307"/>
                    <a:gd name="connsiteX7" fmla="*/ 0 w 538316"/>
                    <a:gd name="connsiteY7" fmla="*/ 449206 h 725307"/>
                    <a:gd name="connsiteX8" fmla="*/ 64627 w 538316"/>
                    <a:gd name="connsiteY8" fmla="*/ 659584 h 725307"/>
                    <a:gd name="connsiteX9" fmla="*/ 269680 w 538316"/>
                    <a:gd name="connsiteY9" fmla="*/ 725308 h 725307"/>
                    <a:gd name="connsiteX10" fmla="*/ 474224 w 538316"/>
                    <a:gd name="connsiteY10" fmla="*/ 659584 h 725307"/>
                    <a:gd name="connsiteX11" fmla="*/ 538317 w 538316"/>
                    <a:gd name="connsiteY11" fmla="*/ 449219 h 725307"/>
                    <a:gd name="connsiteX12" fmla="*/ 538317 w 538316"/>
                    <a:gd name="connsiteY12" fmla="*/ 13 h 725307"/>
                    <a:gd name="connsiteX13" fmla="*/ 445043 w 538316"/>
                    <a:gd name="connsiteY13" fmla="*/ 13 h 725307"/>
                    <a:gd name="connsiteX14" fmla="*/ 445043 w 538316"/>
                    <a:gd name="connsiteY14" fmla="*/ 457559 h 725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8316" h="725307">
                      <a:moveTo>
                        <a:pt x="445030" y="457559"/>
                      </a:moveTo>
                      <a:cubicBezTo>
                        <a:pt x="445030" y="520046"/>
                        <a:pt x="431183" y="566102"/>
                        <a:pt x="403855" y="594474"/>
                      </a:cubicBezTo>
                      <a:cubicBezTo>
                        <a:pt x="376553" y="622820"/>
                        <a:pt x="331749" y="637202"/>
                        <a:pt x="270711" y="637202"/>
                      </a:cubicBezTo>
                      <a:cubicBezTo>
                        <a:pt x="210351" y="637202"/>
                        <a:pt x="165914" y="622833"/>
                        <a:pt x="138625" y="594474"/>
                      </a:cubicBezTo>
                      <a:cubicBezTo>
                        <a:pt x="111296" y="566115"/>
                        <a:pt x="97450" y="520059"/>
                        <a:pt x="97450" y="457559"/>
                      </a:cubicBezTo>
                      <a:lnTo>
                        <a:pt x="97450" y="0"/>
                      </a:lnTo>
                      <a:lnTo>
                        <a:pt x="0" y="0"/>
                      </a:lnTo>
                      <a:lnTo>
                        <a:pt x="0" y="449206"/>
                      </a:lnTo>
                      <a:cubicBezTo>
                        <a:pt x="0" y="545208"/>
                        <a:pt x="21742" y="615995"/>
                        <a:pt x="64627" y="659584"/>
                      </a:cubicBezTo>
                      <a:cubicBezTo>
                        <a:pt x="107512" y="703200"/>
                        <a:pt x="176511" y="725308"/>
                        <a:pt x="269680" y="725308"/>
                      </a:cubicBezTo>
                      <a:cubicBezTo>
                        <a:pt x="362862" y="725308"/>
                        <a:pt x="431679" y="703187"/>
                        <a:pt x="474224" y="659584"/>
                      </a:cubicBezTo>
                      <a:cubicBezTo>
                        <a:pt x="516757" y="615982"/>
                        <a:pt x="538317" y="545195"/>
                        <a:pt x="538317" y="449219"/>
                      </a:cubicBezTo>
                      <a:lnTo>
                        <a:pt x="538317" y="13"/>
                      </a:lnTo>
                      <a:lnTo>
                        <a:pt x="445043" y="13"/>
                      </a:lnTo>
                      <a:lnTo>
                        <a:pt x="445043" y="457559"/>
                      </a:lnTo>
                      <a:close/>
                    </a:path>
                  </a:pathLst>
                </a:custGeom>
                <a:solidFill>
                  <a:schemeClr val="bg1"/>
                </a:solidFill>
                <a:ln w="1305" cap="flat">
                  <a:noFill/>
                  <a:prstDash val="solid"/>
                  <a:miter/>
                </a:ln>
              </p:spPr>
              <p:txBody>
                <a:bodyPr rtlCol="0" anchor="ctr"/>
                <a:lstStyle/>
                <a:p>
                  <a:endParaRPr lang="de-DE" dirty="0"/>
                </a:p>
              </p:txBody>
            </p:sp>
            <p:sp>
              <p:nvSpPr>
                <p:cNvPr id="122" name="Freeform: Shape 121">
                  <a:extLst>
                    <a:ext uri="{FF2B5EF4-FFF2-40B4-BE49-F238E27FC236}">
                      <a16:creationId xmlns:a16="http://schemas.microsoft.com/office/drawing/2014/main" id="{97D1A1EC-7221-4D9F-9EA9-CCAE5FBF7A66}"/>
                    </a:ext>
                  </a:extLst>
                </p:cNvPr>
                <p:cNvSpPr/>
                <p:nvPr/>
              </p:nvSpPr>
              <p:spPr bwMode="gray">
                <a:xfrm>
                  <a:off x="10108932" y="3362649"/>
                  <a:ext cx="501827" cy="737823"/>
                </a:xfrm>
                <a:custGeom>
                  <a:avLst/>
                  <a:gdLst>
                    <a:gd name="connsiteX0" fmla="*/ 458629 w 501827"/>
                    <a:gd name="connsiteY0" fmla="*/ 397800 h 737823"/>
                    <a:gd name="connsiteX1" fmla="*/ 314927 w 501827"/>
                    <a:gd name="connsiteY1" fmla="*/ 327273 h 737823"/>
                    <a:gd name="connsiteX2" fmla="*/ 234665 w 501827"/>
                    <a:gd name="connsiteY2" fmla="*/ 309538 h 737823"/>
                    <a:gd name="connsiteX3" fmla="*/ 134880 w 501827"/>
                    <a:gd name="connsiteY3" fmla="*/ 269381 h 737823"/>
                    <a:gd name="connsiteX4" fmla="*/ 107864 w 501827"/>
                    <a:gd name="connsiteY4" fmla="*/ 203096 h 737823"/>
                    <a:gd name="connsiteX5" fmla="*/ 265504 w 501827"/>
                    <a:gd name="connsiteY5" fmla="*/ 87074 h 737823"/>
                    <a:gd name="connsiteX6" fmla="*/ 460391 w 501827"/>
                    <a:gd name="connsiteY6" fmla="*/ 142018 h 737823"/>
                    <a:gd name="connsiteX7" fmla="*/ 463262 w 501827"/>
                    <a:gd name="connsiteY7" fmla="*/ 144054 h 737823"/>
                    <a:gd name="connsiteX8" fmla="*/ 463262 w 501827"/>
                    <a:gd name="connsiteY8" fmla="*/ 44686 h 737823"/>
                    <a:gd name="connsiteX9" fmla="*/ 462505 w 501827"/>
                    <a:gd name="connsiteY9" fmla="*/ 44138 h 737823"/>
                    <a:gd name="connsiteX10" fmla="*/ 262385 w 501827"/>
                    <a:gd name="connsiteY10" fmla="*/ 0 h 737823"/>
                    <a:gd name="connsiteX11" fmla="*/ 10427 w 501827"/>
                    <a:gd name="connsiteY11" fmla="*/ 209360 h 737823"/>
                    <a:gd name="connsiteX12" fmla="*/ 50480 w 501827"/>
                    <a:gd name="connsiteY12" fmla="*/ 331006 h 737823"/>
                    <a:gd name="connsiteX13" fmla="*/ 186926 w 501827"/>
                    <a:gd name="connsiteY13" fmla="*/ 398844 h 737823"/>
                    <a:gd name="connsiteX14" fmla="*/ 264969 w 501827"/>
                    <a:gd name="connsiteY14" fmla="*/ 417154 h 737823"/>
                    <a:gd name="connsiteX15" fmla="*/ 375313 w 501827"/>
                    <a:gd name="connsiteY15" fmla="*/ 459856 h 737823"/>
                    <a:gd name="connsiteX16" fmla="*/ 404390 w 501827"/>
                    <a:gd name="connsiteY16" fmla="*/ 529508 h 737823"/>
                    <a:gd name="connsiteX17" fmla="*/ 240486 w 501827"/>
                    <a:gd name="connsiteY17" fmla="*/ 650749 h 737823"/>
                    <a:gd name="connsiteX18" fmla="*/ 2910 w 501827"/>
                    <a:gd name="connsiteY18" fmla="*/ 578109 h 737823"/>
                    <a:gd name="connsiteX19" fmla="*/ 0 w 501827"/>
                    <a:gd name="connsiteY19" fmla="*/ 575929 h 737823"/>
                    <a:gd name="connsiteX20" fmla="*/ 0 w 501827"/>
                    <a:gd name="connsiteY20" fmla="*/ 676394 h 737823"/>
                    <a:gd name="connsiteX21" fmla="*/ 691 w 501827"/>
                    <a:gd name="connsiteY21" fmla="*/ 676942 h 737823"/>
                    <a:gd name="connsiteX22" fmla="*/ 238398 w 501827"/>
                    <a:gd name="connsiteY22" fmla="*/ 737824 h 737823"/>
                    <a:gd name="connsiteX23" fmla="*/ 501827 w 501827"/>
                    <a:gd name="connsiteY23" fmla="*/ 526389 h 737823"/>
                    <a:gd name="connsiteX24" fmla="*/ 458629 w 501827"/>
                    <a:gd name="connsiteY24" fmla="*/ 397800 h 73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1827" h="737823">
                      <a:moveTo>
                        <a:pt x="458629" y="397800"/>
                      </a:moveTo>
                      <a:cubicBezTo>
                        <a:pt x="430022" y="365643"/>
                        <a:pt x="381656" y="341929"/>
                        <a:pt x="314927" y="327273"/>
                      </a:cubicBezTo>
                      <a:lnTo>
                        <a:pt x="234665" y="309538"/>
                      </a:lnTo>
                      <a:cubicBezTo>
                        <a:pt x="186573" y="299267"/>
                        <a:pt x="152994" y="285759"/>
                        <a:pt x="134880" y="269381"/>
                      </a:cubicBezTo>
                      <a:cubicBezTo>
                        <a:pt x="116961" y="253171"/>
                        <a:pt x="107864" y="230868"/>
                        <a:pt x="107864" y="203096"/>
                      </a:cubicBezTo>
                      <a:cubicBezTo>
                        <a:pt x="107864" y="126109"/>
                        <a:pt x="160903" y="87074"/>
                        <a:pt x="265504" y="87074"/>
                      </a:cubicBezTo>
                      <a:cubicBezTo>
                        <a:pt x="343261" y="87074"/>
                        <a:pt x="408827" y="105555"/>
                        <a:pt x="460391" y="142018"/>
                      </a:cubicBezTo>
                      <a:lnTo>
                        <a:pt x="463262" y="144054"/>
                      </a:lnTo>
                      <a:lnTo>
                        <a:pt x="463262" y="44686"/>
                      </a:lnTo>
                      <a:lnTo>
                        <a:pt x="462505" y="44138"/>
                      </a:lnTo>
                      <a:cubicBezTo>
                        <a:pt x="421369" y="14852"/>
                        <a:pt x="354040" y="0"/>
                        <a:pt x="262385" y="0"/>
                      </a:cubicBezTo>
                      <a:cubicBezTo>
                        <a:pt x="95205" y="0"/>
                        <a:pt x="10427" y="70435"/>
                        <a:pt x="10427" y="209360"/>
                      </a:cubicBezTo>
                      <a:cubicBezTo>
                        <a:pt x="10427" y="259645"/>
                        <a:pt x="23909" y="300585"/>
                        <a:pt x="50480" y="331006"/>
                      </a:cubicBezTo>
                      <a:cubicBezTo>
                        <a:pt x="76999" y="361401"/>
                        <a:pt x="122911" y="384227"/>
                        <a:pt x="186926" y="398844"/>
                      </a:cubicBezTo>
                      <a:lnTo>
                        <a:pt x="264969" y="417154"/>
                      </a:lnTo>
                      <a:cubicBezTo>
                        <a:pt x="318686" y="429487"/>
                        <a:pt x="355802" y="443856"/>
                        <a:pt x="375313" y="459856"/>
                      </a:cubicBezTo>
                      <a:cubicBezTo>
                        <a:pt x="394615" y="475686"/>
                        <a:pt x="404390" y="499126"/>
                        <a:pt x="404390" y="529508"/>
                      </a:cubicBezTo>
                      <a:cubicBezTo>
                        <a:pt x="404390" y="609953"/>
                        <a:pt x="349251" y="650749"/>
                        <a:pt x="240486" y="650749"/>
                      </a:cubicBezTo>
                      <a:cubicBezTo>
                        <a:pt x="147512" y="650749"/>
                        <a:pt x="67576" y="626305"/>
                        <a:pt x="2910" y="578109"/>
                      </a:cubicBezTo>
                      <a:lnTo>
                        <a:pt x="0" y="575929"/>
                      </a:lnTo>
                      <a:lnTo>
                        <a:pt x="0" y="676394"/>
                      </a:lnTo>
                      <a:lnTo>
                        <a:pt x="691" y="676942"/>
                      </a:lnTo>
                      <a:cubicBezTo>
                        <a:pt x="52190" y="717334"/>
                        <a:pt x="132165" y="737824"/>
                        <a:pt x="238398" y="737824"/>
                      </a:cubicBezTo>
                      <a:cubicBezTo>
                        <a:pt x="413199" y="737824"/>
                        <a:pt x="501827" y="666684"/>
                        <a:pt x="501827" y="526389"/>
                      </a:cubicBezTo>
                      <a:cubicBezTo>
                        <a:pt x="501827" y="473272"/>
                        <a:pt x="487301" y="430022"/>
                        <a:pt x="458629" y="397800"/>
                      </a:cubicBezTo>
                      <a:close/>
                    </a:path>
                  </a:pathLst>
                </a:custGeom>
                <a:solidFill>
                  <a:schemeClr val="bg1"/>
                </a:solidFill>
                <a:ln w="1305" cap="flat">
                  <a:noFill/>
                  <a:prstDash val="solid"/>
                  <a:miter/>
                </a:ln>
              </p:spPr>
              <p:txBody>
                <a:bodyPr rtlCol="0" anchor="ctr"/>
                <a:lstStyle/>
                <a:p>
                  <a:endParaRPr lang="de-DE" dirty="0"/>
                </a:p>
              </p:txBody>
            </p:sp>
          </p:grpSp>
        </p:grpSp>
        <p:grpSp>
          <p:nvGrpSpPr>
            <p:cNvPr id="70" name="Graphic 3">
              <a:extLst>
                <a:ext uri="{FF2B5EF4-FFF2-40B4-BE49-F238E27FC236}">
                  <a16:creationId xmlns:a16="http://schemas.microsoft.com/office/drawing/2014/main" id="{61E224C3-53A5-4C3D-87DB-73EE8D475903}"/>
                </a:ext>
              </a:extLst>
            </p:cNvPr>
            <p:cNvGrpSpPr/>
            <p:nvPr/>
          </p:nvGrpSpPr>
          <p:grpSpPr bwMode="gray">
            <a:xfrm>
              <a:off x="3221874" y="2498768"/>
              <a:ext cx="7385412" cy="488828"/>
              <a:chOff x="3221874" y="2498768"/>
              <a:chExt cx="7385412" cy="488828"/>
            </a:xfrm>
            <a:solidFill>
              <a:srgbClr val="3D434B"/>
            </a:solidFill>
          </p:grpSpPr>
          <p:sp>
            <p:nvSpPr>
              <p:cNvPr id="103" name="Freeform: Shape 102">
                <a:extLst>
                  <a:ext uri="{FF2B5EF4-FFF2-40B4-BE49-F238E27FC236}">
                    <a16:creationId xmlns:a16="http://schemas.microsoft.com/office/drawing/2014/main" id="{2F274C42-E433-40F2-A155-2325B78FD3F6}"/>
                  </a:ext>
                </a:extLst>
              </p:cNvPr>
              <p:cNvSpPr/>
              <p:nvPr/>
            </p:nvSpPr>
            <p:spPr bwMode="gray">
              <a:xfrm>
                <a:off x="3221874" y="2507095"/>
                <a:ext cx="384448" cy="472162"/>
              </a:xfrm>
              <a:custGeom>
                <a:avLst/>
                <a:gdLst>
                  <a:gd name="connsiteX0" fmla="*/ 0 w 384448"/>
                  <a:gd name="connsiteY0" fmla="*/ 472163 h 472162"/>
                  <a:gd name="connsiteX1" fmla="*/ 0 w 384448"/>
                  <a:gd name="connsiteY1" fmla="*/ 0 h 472162"/>
                  <a:gd name="connsiteX2" fmla="*/ 72875 w 384448"/>
                  <a:gd name="connsiteY2" fmla="*/ 0 h 472162"/>
                  <a:gd name="connsiteX3" fmla="*/ 72875 w 384448"/>
                  <a:gd name="connsiteY3" fmla="*/ 202756 h 472162"/>
                  <a:gd name="connsiteX4" fmla="*/ 322001 w 384448"/>
                  <a:gd name="connsiteY4" fmla="*/ 202756 h 472162"/>
                  <a:gd name="connsiteX5" fmla="*/ 322001 w 384448"/>
                  <a:gd name="connsiteY5" fmla="*/ 0 h 472162"/>
                  <a:gd name="connsiteX6" fmla="*/ 384449 w 384448"/>
                  <a:gd name="connsiteY6" fmla="*/ 0 h 472162"/>
                  <a:gd name="connsiteX7" fmla="*/ 384449 w 384448"/>
                  <a:gd name="connsiteY7" fmla="*/ 472163 h 472162"/>
                  <a:gd name="connsiteX8" fmla="*/ 322001 w 384448"/>
                  <a:gd name="connsiteY8" fmla="*/ 472163 h 472162"/>
                  <a:gd name="connsiteX9" fmla="*/ 322001 w 384448"/>
                  <a:gd name="connsiteY9" fmla="*/ 260375 h 472162"/>
                  <a:gd name="connsiteX10" fmla="*/ 72875 w 384448"/>
                  <a:gd name="connsiteY10" fmla="*/ 260375 h 472162"/>
                  <a:gd name="connsiteX11" fmla="*/ 72875 w 384448"/>
                  <a:gd name="connsiteY11" fmla="*/ 472163 h 472162"/>
                  <a:gd name="connsiteX12" fmla="*/ 0 w 384448"/>
                  <a:gd name="connsiteY12" fmla="*/ 472163 h 47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4448" h="472162">
                    <a:moveTo>
                      <a:pt x="0" y="472163"/>
                    </a:moveTo>
                    <a:lnTo>
                      <a:pt x="0" y="0"/>
                    </a:lnTo>
                    <a:lnTo>
                      <a:pt x="72875" y="0"/>
                    </a:lnTo>
                    <a:lnTo>
                      <a:pt x="72875" y="202756"/>
                    </a:lnTo>
                    <a:lnTo>
                      <a:pt x="322001" y="202756"/>
                    </a:lnTo>
                    <a:lnTo>
                      <a:pt x="322001" y="0"/>
                    </a:lnTo>
                    <a:lnTo>
                      <a:pt x="384449" y="0"/>
                    </a:lnTo>
                    <a:lnTo>
                      <a:pt x="384449" y="472163"/>
                    </a:lnTo>
                    <a:lnTo>
                      <a:pt x="322001" y="472163"/>
                    </a:lnTo>
                    <a:lnTo>
                      <a:pt x="322001" y="260375"/>
                    </a:lnTo>
                    <a:lnTo>
                      <a:pt x="72875" y="260375"/>
                    </a:lnTo>
                    <a:lnTo>
                      <a:pt x="72875" y="472163"/>
                    </a:lnTo>
                    <a:lnTo>
                      <a:pt x="0" y="472163"/>
                    </a:lnTo>
                    <a:close/>
                  </a:path>
                </a:pathLst>
              </a:custGeom>
              <a:solidFill>
                <a:schemeClr val="bg1"/>
              </a:solidFill>
              <a:ln w="1305" cap="flat">
                <a:noFill/>
                <a:prstDash val="solid"/>
                <a:miter/>
              </a:ln>
            </p:spPr>
            <p:txBody>
              <a:bodyPr rtlCol="0" anchor="ctr"/>
              <a:lstStyle/>
              <a:p>
                <a:endParaRPr lang="de-DE" dirty="0"/>
              </a:p>
            </p:txBody>
          </p:sp>
          <p:sp>
            <p:nvSpPr>
              <p:cNvPr id="104" name="Freeform: Shape 103">
                <a:extLst>
                  <a:ext uri="{FF2B5EF4-FFF2-40B4-BE49-F238E27FC236}">
                    <a16:creationId xmlns:a16="http://schemas.microsoft.com/office/drawing/2014/main" id="{FD4E9EF7-625C-42AF-B88A-23EB589C22F4}"/>
                  </a:ext>
                </a:extLst>
              </p:cNvPr>
              <p:cNvSpPr/>
              <p:nvPr/>
            </p:nvSpPr>
            <p:spPr bwMode="gray">
              <a:xfrm>
                <a:off x="4051614" y="2498768"/>
                <a:ext cx="413577" cy="488828"/>
              </a:xfrm>
              <a:custGeom>
                <a:avLst/>
                <a:gdLst>
                  <a:gd name="connsiteX0" fmla="*/ 362915 w 413577"/>
                  <a:gd name="connsiteY0" fmla="*/ 428769 h 488828"/>
                  <a:gd name="connsiteX1" fmla="*/ 206789 w 413577"/>
                  <a:gd name="connsiteY1" fmla="*/ 488829 h 488828"/>
                  <a:gd name="connsiteX2" fmla="*/ 50650 w 413577"/>
                  <a:gd name="connsiteY2" fmla="*/ 428769 h 488828"/>
                  <a:gd name="connsiteX3" fmla="*/ 0 w 413577"/>
                  <a:gd name="connsiteY3" fmla="*/ 244414 h 488828"/>
                  <a:gd name="connsiteX4" fmla="*/ 50650 w 413577"/>
                  <a:gd name="connsiteY4" fmla="*/ 60060 h 488828"/>
                  <a:gd name="connsiteX5" fmla="*/ 206789 w 413577"/>
                  <a:gd name="connsiteY5" fmla="*/ 0 h 488828"/>
                  <a:gd name="connsiteX6" fmla="*/ 362915 w 413577"/>
                  <a:gd name="connsiteY6" fmla="*/ 60060 h 488828"/>
                  <a:gd name="connsiteX7" fmla="*/ 413578 w 413577"/>
                  <a:gd name="connsiteY7" fmla="*/ 244414 h 488828"/>
                  <a:gd name="connsiteX8" fmla="*/ 362915 w 413577"/>
                  <a:gd name="connsiteY8" fmla="*/ 428769 h 488828"/>
                  <a:gd name="connsiteX9" fmla="*/ 98181 w 413577"/>
                  <a:gd name="connsiteY9" fmla="*/ 387803 h 488828"/>
                  <a:gd name="connsiteX10" fmla="*/ 206789 w 413577"/>
                  <a:gd name="connsiteY10" fmla="*/ 433285 h 488828"/>
                  <a:gd name="connsiteX11" fmla="*/ 315384 w 413577"/>
                  <a:gd name="connsiteY11" fmla="*/ 387803 h 488828"/>
                  <a:gd name="connsiteX12" fmla="*/ 349734 w 413577"/>
                  <a:gd name="connsiteY12" fmla="*/ 244414 h 488828"/>
                  <a:gd name="connsiteX13" fmla="*/ 315384 w 413577"/>
                  <a:gd name="connsiteY13" fmla="*/ 101026 h 488828"/>
                  <a:gd name="connsiteX14" fmla="*/ 206789 w 413577"/>
                  <a:gd name="connsiteY14" fmla="*/ 55544 h 488828"/>
                  <a:gd name="connsiteX15" fmla="*/ 98181 w 413577"/>
                  <a:gd name="connsiteY15" fmla="*/ 101026 h 488828"/>
                  <a:gd name="connsiteX16" fmla="*/ 63831 w 413577"/>
                  <a:gd name="connsiteY16" fmla="*/ 244414 h 488828"/>
                  <a:gd name="connsiteX17" fmla="*/ 98181 w 413577"/>
                  <a:gd name="connsiteY17" fmla="*/ 387803 h 4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3577" h="488828">
                    <a:moveTo>
                      <a:pt x="362915" y="428769"/>
                    </a:moveTo>
                    <a:cubicBezTo>
                      <a:pt x="329140" y="468809"/>
                      <a:pt x="277093" y="488829"/>
                      <a:pt x="206789" y="488829"/>
                    </a:cubicBezTo>
                    <a:cubicBezTo>
                      <a:pt x="136459" y="488829"/>
                      <a:pt x="84412" y="468809"/>
                      <a:pt x="50650" y="428769"/>
                    </a:cubicBezTo>
                    <a:cubicBezTo>
                      <a:pt x="16875" y="388729"/>
                      <a:pt x="0" y="327286"/>
                      <a:pt x="0" y="244414"/>
                    </a:cubicBezTo>
                    <a:cubicBezTo>
                      <a:pt x="0" y="161555"/>
                      <a:pt x="16888" y="100112"/>
                      <a:pt x="50650" y="60060"/>
                    </a:cubicBezTo>
                    <a:cubicBezTo>
                      <a:pt x="84412" y="20020"/>
                      <a:pt x="136459" y="0"/>
                      <a:pt x="206789" y="0"/>
                    </a:cubicBezTo>
                    <a:cubicBezTo>
                      <a:pt x="277093" y="0"/>
                      <a:pt x="329153" y="20033"/>
                      <a:pt x="362915" y="60060"/>
                    </a:cubicBezTo>
                    <a:cubicBezTo>
                      <a:pt x="396690" y="100099"/>
                      <a:pt x="413578" y="161555"/>
                      <a:pt x="413578" y="244414"/>
                    </a:cubicBezTo>
                    <a:cubicBezTo>
                      <a:pt x="413578" y="327273"/>
                      <a:pt x="396690" y="388729"/>
                      <a:pt x="362915" y="428769"/>
                    </a:cubicBezTo>
                    <a:close/>
                    <a:moveTo>
                      <a:pt x="98181" y="387803"/>
                    </a:moveTo>
                    <a:cubicBezTo>
                      <a:pt x="121085" y="418133"/>
                      <a:pt x="157274" y="433285"/>
                      <a:pt x="206789" y="433285"/>
                    </a:cubicBezTo>
                    <a:cubicBezTo>
                      <a:pt x="256290" y="433285"/>
                      <a:pt x="292493" y="418133"/>
                      <a:pt x="315384" y="387803"/>
                    </a:cubicBezTo>
                    <a:cubicBezTo>
                      <a:pt x="338288" y="357486"/>
                      <a:pt x="349734" y="309681"/>
                      <a:pt x="349734" y="244414"/>
                    </a:cubicBezTo>
                    <a:cubicBezTo>
                      <a:pt x="349734" y="179148"/>
                      <a:pt x="338288" y="131356"/>
                      <a:pt x="315384" y="101026"/>
                    </a:cubicBezTo>
                    <a:cubicBezTo>
                      <a:pt x="292480" y="70709"/>
                      <a:pt x="256277" y="55544"/>
                      <a:pt x="206789" y="55544"/>
                    </a:cubicBezTo>
                    <a:cubicBezTo>
                      <a:pt x="157274" y="55544"/>
                      <a:pt x="121085" y="70709"/>
                      <a:pt x="98181" y="101026"/>
                    </a:cubicBezTo>
                    <a:cubicBezTo>
                      <a:pt x="75277" y="131356"/>
                      <a:pt x="63831" y="179148"/>
                      <a:pt x="63831" y="244414"/>
                    </a:cubicBezTo>
                    <a:cubicBezTo>
                      <a:pt x="63831" y="309681"/>
                      <a:pt x="75277" y="357486"/>
                      <a:pt x="98181" y="387803"/>
                    </a:cubicBezTo>
                    <a:close/>
                  </a:path>
                </a:pathLst>
              </a:custGeom>
              <a:solidFill>
                <a:schemeClr val="bg1"/>
              </a:solidFill>
              <a:ln w="1305" cap="flat">
                <a:noFill/>
                <a:prstDash val="solid"/>
                <a:miter/>
              </a:ln>
            </p:spPr>
            <p:txBody>
              <a:bodyPr rtlCol="0" anchor="ctr"/>
              <a:lstStyle/>
              <a:p>
                <a:endParaRPr lang="de-DE" dirty="0"/>
              </a:p>
            </p:txBody>
          </p:sp>
          <p:sp>
            <p:nvSpPr>
              <p:cNvPr id="105" name="Freeform: Shape 104">
                <a:extLst>
                  <a:ext uri="{FF2B5EF4-FFF2-40B4-BE49-F238E27FC236}">
                    <a16:creationId xmlns:a16="http://schemas.microsoft.com/office/drawing/2014/main" id="{F0311A13-6C14-4ED9-9E8E-1BEA1A31F91C}"/>
                  </a:ext>
                </a:extLst>
              </p:cNvPr>
              <p:cNvSpPr/>
              <p:nvPr/>
            </p:nvSpPr>
            <p:spPr bwMode="gray">
              <a:xfrm>
                <a:off x="4879488" y="2498768"/>
                <a:ext cx="333093" cy="488828"/>
              </a:xfrm>
              <a:custGeom>
                <a:avLst/>
                <a:gdLst>
                  <a:gd name="connsiteX0" fmla="*/ 217882 w 333093"/>
                  <a:gd name="connsiteY0" fmla="*/ 488829 h 488828"/>
                  <a:gd name="connsiteX1" fmla="*/ 53430 w 333093"/>
                  <a:gd name="connsiteY1" fmla="*/ 428769 h 488828"/>
                  <a:gd name="connsiteX2" fmla="*/ 0 w 333093"/>
                  <a:gd name="connsiteY2" fmla="*/ 244414 h 488828"/>
                  <a:gd name="connsiteX3" fmla="*/ 53090 w 333093"/>
                  <a:gd name="connsiteY3" fmla="*/ 60060 h 488828"/>
                  <a:gd name="connsiteX4" fmla="*/ 216512 w 333093"/>
                  <a:gd name="connsiteY4" fmla="*/ 0 h 488828"/>
                  <a:gd name="connsiteX5" fmla="*/ 333094 w 333093"/>
                  <a:gd name="connsiteY5" fmla="*/ 24300 h 488828"/>
                  <a:gd name="connsiteX6" fmla="*/ 333094 w 333093"/>
                  <a:gd name="connsiteY6" fmla="*/ 85404 h 488828"/>
                  <a:gd name="connsiteX7" fmla="*/ 218600 w 333093"/>
                  <a:gd name="connsiteY7" fmla="*/ 55544 h 488828"/>
                  <a:gd name="connsiteX8" fmla="*/ 100621 w 333093"/>
                  <a:gd name="connsiteY8" fmla="*/ 100334 h 488828"/>
                  <a:gd name="connsiteX9" fmla="*/ 63831 w 333093"/>
                  <a:gd name="connsiteY9" fmla="*/ 243723 h 488828"/>
                  <a:gd name="connsiteX10" fmla="*/ 100960 w 333093"/>
                  <a:gd name="connsiteY10" fmla="*/ 388155 h 488828"/>
                  <a:gd name="connsiteX11" fmla="*/ 220662 w 333093"/>
                  <a:gd name="connsiteY11" fmla="*/ 433285 h 488828"/>
                  <a:gd name="connsiteX12" fmla="*/ 333081 w 333093"/>
                  <a:gd name="connsiteY12" fmla="*/ 403424 h 488828"/>
                  <a:gd name="connsiteX13" fmla="*/ 333081 w 333093"/>
                  <a:gd name="connsiteY13" fmla="*/ 464528 h 488828"/>
                  <a:gd name="connsiteX14" fmla="*/ 217882 w 333093"/>
                  <a:gd name="connsiteY14" fmla="*/ 488829 h 4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3093" h="488828">
                    <a:moveTo>
                      <a:pt x="217882" y="488829"/>
                    </a:moveTo>
                    <a:cubicBezTo>
                      <a:pt x="143871" y="488829"/>
                      <a:pt x="89032" y="468809"/>
                      <a:pt x="53430" y="428769"/>
                    </a:cubicBezTo>
                    <a:cubicBezTo>
                      <a:pt x="17801" y="388729"/>
                      <a:pt x="0" y="327286"/>
                      <a:pt x="0" y="244414"/>
                    </a:cubicBezTo>
                    <a:cubicBezTo>
                      <a:pt x="0" y="161555"/>
                      <a:pt x="17697" y="100112"/>
                      <a:pt x="53090" y="60060"/>
                    </a:cubicBezTo>
                    <a:cubicBezTo>
                      <a:pt x="88484" y="20020"/>
                      <a:pt x="142958" y="0"/>
                      <a:pt x="216512" y="0"/>
                    </a:cubicBezTo>
                    <a:cubicBezTo>
                      <a:pt x="265543" y="0"/>
                      <a:pt x="304408" y="8105"/>
                      <a:pt x="333094" y="24300"/>
                    </a:cubicBezTo>
                    <a:lnTo>
                      <a:pt x="333094" y="85404"/>
                    </a:lnTo>
                    <a:cubicBezTo>
                      <a:pt x="300245" y="65502"/>
                      <a:pt x="262085" y="55544"/>
                      <a:pt x="218600" y="55544"/>
                    </a:cubicBezTo>
                    <a:cubicBezTo>
                      <a:pt x="164478" y="55544"/>
                      <a:pt x="125143" y="70474"/>
                      <a:pt x="100621" y="100334"/>
                    </a:cubicBezTo>
                    <a:cubicBezTo>
                      <a:pt x="76086" y="130194"/>
                      <a:pt x="63831" y="177999"/>
                      <a:pt x="63831" y="243723"/>
                    </a:cubicBezTo>
                    <a:cubicBezTo>
                      <a:pt x="63831" y="309929"/>
                      <a:pt x="76203" y="358060"/>
                      <a:pt x="100960" y="388155"/>
                    </a:cubicBezTo>
                    <a:cubicBezTo>
                      <a:pt x="125704" y="418250"/>
                      <a:pt x="165614" y="433285"/>
                      <a:pt x="220662" y="433285"/>
                    </a:cubicBezTo>
                    <a:cubicBezTo>
                      <a:pt x="263690" y="433285"/>
                      <a:pt x="301159" y="423340"/>
                      <a:pt x="333081" y="403424"/>
                    </a:cubicBezTo>
                    <a:lnTo>
                      <a:pt x="333081" y="464528"/>
                    </a:lnTo>
                    <a:cubicBezTo>
                      <a:pt x="304852" y="480724"/>
                      <a:pt x="266457" y="488829"/>
                      <a:pt x="217882" y="488829"/>
                    </a:cubicBezTo>
                    <a:close/>
                  </a:path>
                </a:pathLst>
              </a:custGeom>
              <a:solidFill>
                <a:schemeClr val="bg1"/>
              </a:solidFill>
              <a:ln w="1305" cap="flat">
                <a:noFill/>
                <a:prstDash val="solid"/>
                <a:miter/>
              </a:ln>
            </p:spPr>
            <p:txBody>
              <a:bodyPr rtlCol="0" anchor="ctr"/>
              <a:lstStyle/>
              <a:p>
                <a:endParaRPr lang="de-DE" dirty="0"/>
              </a:p>
            </p:txBody>
          </p:sp>
          <p:sp>
            <p:nvSpPr>
              <p:cNvPr id="106" name="Freeform: Shape 105">
                <a:extLst>
                  <a:ext uri="{FF2B5EF4-FFF2-40B4-BE49-F238E27FC236}">
                    <a16:creationId xmlns:a16="http://schemas.microsoft.com/office/drawing/2014/main" id="{35E0F0D6-1875-40DD-90F0-D4F3ADCF7A69}"/>
                  </a:ext>
                </a:extLst>
              </p:cNvPr>
              <p:cNvSpPr/>
              <p:nvPr/>
            </p:nvSpPr>
            <p:spPr bwMode="gray">
              <a:xfrm>
                <a:off x="5636352" y="2507095"/>
                <a:ext cx="374021" cy="472162"/>
              </a:xfrm>
              <a:custGeom>
                <a:avLst/>
                <a:gdLst>
                  <a:gd name="connsiteX0" fmla="*/ 0 w 374021"/>
                  <a:gd name="connsiteY0" fmla="*/ 472163 h 472162"/>
                  <a:gd name="connsiteX1" fmla="*/ 0 w 374021"/>
                  <a:gd name="connsiteY1" fmla="*/ 0 h 472162"/>
                  <a:gd name="connsiteX2" fmla="*/ 62448 w 374021"/>
                  <a:gd name="connsiteY2" fmla="*/ 0 h 472162"/>
                  <a:gd name="connsiteX3" fmla="*/ 62448 w 374021"/>
                  <a:gd name="connsiteY3" fmla="*/ 202756 h 472162"/>
                  <a:gd name="connsiteX4" fmla="*/ 311574 w 374021"/>
                  <a:gd name="connsiteY4" fmla="*/ 202756 h 472162"/>
                  <a:gd name="connsiteX5" fmla="*/ 311574 w 374021"/>
                  <a:gd name="connsiteY5" fmla="*/ 0 h 472162"/>
                  <a:gd name="connsiteX6" fmla="*/ 374022 w 374021"/>
                  <a:gd name="connsiteY6" fmla="*/ 0 h 472162"/>
                  <a:gd name="connsiteX7" fmla="*/ 374022 w 374021"/>
                  <a:gd name="connsiteY7" fmla="*/ 472163 h 472162"/>
                  <a:gd name="connsiteX8" fmla="*/ 311574 w 374021"/>
                  <a:gd name="connsiteY8" fmla="*/ 472163 h 472162"/>
                  <a:gd name="connsiteX9" fmla="*/ 311574 w 374021"/>
                  <a:gd name="connsiteY9" fmla="*/ 260375 h 472162"/>
                  <a:gd name="connsiteX10" fmla="*/ 62448 w 374021"/>
                  <a:gd name="connsiteY10" fmla="*/ 260375 h 472162"/>
                  <a:gd name="connsiteX11" fmla="*/ 62448 w 374021"/>
                  <a:gd name="connsiteY11" fmla="*/ 472163 h 472162"/>
                  <a:gd name="connsiteX12" fmla="*/ 0 w 374021"/>
                  <a:gd name="connsiteY12" fmla="*/ 472163 h 47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4021" h="472162">
                    <a:moveTo>
                      <a:pt x="0" y="472163"/>
                    </a:moveTo>
                    <a:lnTo>
                      <a:pt x="0" y="0"/>
                    </a:lnTo>
                    <a:lnTo>
                      <a:pt x="62448" y="0"/>
                    </a:lnTo>
                    <a:lnTo>
                      <a:pt x="62448" y="202756"/>
                    </a:lnTo>
                    <a:lnTo>
                      <a:pt x="311574" y="202756"/>
                    </a:lnTo>
                    <a:lnTo>
                      <a:pt x="311574" y="0"/>
                    </a:lnTo>
                    <a:lnTo>
                      <a:pt x="374022" y="0"/>
                    </a:lnTo>
                    <a:lnTo>
                      <a:pt x="374022" y="472163"/>
                    </a:lnTo>
                    <a:lnTo>
                      <a:pt x="311574" y="472163"/>
                    </a:lnTo>
                    <a:lnTo>
                      <a:pt x="311574" y="260375"/>
                    </a:lnTo>
                    <a:lnTo>
                      <a:pt x="62448" y="260375"/>
                    </a:lnTo>
                    <a:lnTo>
                      <a:pt x="62448" y="472163"/>
                    </a:lnTo>
                    <a:lnTo>
                      <a:pt x="0" y="472163"/>
                    </a:lnTo>
                    <a:close/>
                  </a:path>
                </a:pathLst>
              </a:custGeom>
              <a:solidFill>
                <a:schemeClr val="bg1"/>
              </a:solidFill>
              <a:ln w="1305" cap="flat">
                <a:noFill/>
                <a:prstDash val="solid"/>
                <a:miter/>
              </a:ln>
            </p:spPr>
            <p:txBody>
              <a:bodyPr rtlCol="0" anchor="ctr"/>
              <a:lstStyle/>
              <a:p>
                <a:endParaRPr lang="de-DE" dirty="0"/>
              </a:p>
            </p:txBody>
          </p:sp>
          <p:sp>
            <p:nvSpPr>
              <p:cNvPr id="107" name="Freeform: Shape 106">
                <a:extLst>
                  <a:ext uri="{FF2B5EF4-FFF2-40B4-BE49-F238E27FC236}">
                    <a16:creationId xmlns:a16="http://schemas.microsoft.com/office/drawing/2014/main" id="{30DD663B-848D-4E69-81D8-8F4C6CBB8E49}"/>
                  </a:ext>
                </a:extLst>
              </p:cNvPr>
              <p:cNvSpPr/>
              <p:nvPr/>
            </p:nvSpPr>
            <p:spPr bwMode="gray">
              <a:xfrm>
                <a:off x="6440565" y="2498768"/>
                <a:ext cx="331697" cy="488828"/>
              </a:xfrm>
              <a:custGeom>
                <a:avLst/>
                <a:gdLst>
                  <a:gd name="connsiteX0" fmla="*/ 157523 w 331697"/>
                  <a:gd name="connsiteY0" fmla="*/ 488829 h 488828"/>
                  <a:gd name="connsiteX1" fmla="*/ 0 w 331697"/>
                  <a:gd name="connsiteY1" fmla="*/ 448554 h 488828"/>
                  <a:gd name="connsiteX2" fmla="*/ 0 w 331697"/>
                  <a:gd name="connsiteY2" fmla="*/ 384671 h 488828"/>
                  <a:gd name="connsiteX3" fmla="*/ 158905 w 331697"/>
                  <a:gd name="connsiteY3" fmla="*/ 433271 h 488828"/>
                  <a:gd name="connsiteX4" fmla="*/ 269250 w 331697"/>
                  <a:gd name="connsiteY4" fmla="*/ 351339 h 488828"/>
                  <a:gd name="connsiteX5" fmla="*/ 249452 w 331697"/>
                  <a:gd name="connsiteY5" fmla="*/ 304017 h 488828"/>
                  <a:gd name="connsiteX6" fmla="*/ 175480 w 331697"/>
                  <a:gd name="connsiteY6" fmla="*/ 275344 h 488828"/>
                  <a:gd name="connsiteX7" fmla="*/ 123525 w 331697"/>
                  <a:gd name="connsiteY7" fmla="*/ 263155 h 488828"/>
                  <a:gd name="connsiteX8" fmla="*/ 33318 w 331697"/>
                  <a:gd name="connsiteY8" fmla="*/ 218365 h 488828"/>
                  <a:gd name="connsiteX9" fmla="*/ 6943 w 331697"/>
                  <a:gd name="connsiteY9" fmla="*/ 138168 h 488828"/>
                  <a:gd name="connsiteX10" fmla="*/ 173484 w 331697"/>
                  <a:gd name="connsiteY10" fmla="*/ 0 h 488828"/>
                  <a:gd name="connsiteX11" fmla="*/ 306026 w 331697"/>
                  <a:gd name="connsiteY11" fmla="*/ 29168 h 488828"/>
                  <a:gd name="connsiteX12" fmla="*/ 306026 w 331697"/>
                  <a:gd name="connsiteY12" fmla="*/ 92360 h 488828"/>
                  <a:gd name="connsiteX13" fmla="*/ 175571 w 331697"/>
                  <a:gd name="connsiteY13" fmla="*/ 55557 h 488828"/>
                  <a:gd name="connsiteX14" fmla="*/ 69391 w 331697"/>
                  <a:gd name="connsiteY14" fmla="*/ 134018 h 488828"/>
                  <a:gd name="connsiteX15" fmla="*/ 87779 w 331697"/>
                  <a:gd name="connsiteY15" fmla="*/ 179056 h 488828"/>
                  <a:gd name="connsiteX16" fmla="*/ 154769 w 331697"/>
                  <a:gd name="connsiteY16" fmla="*/ 206084 h 488828"/>
                  <a:gd name="connsiteX17" fmla="*/ 208198 w 331697"/>
                  <a:gd name="connsiteY17" fmla="*/ 217882 h 488828"/>
                  <a:gd name="connsiteX18" fmla="*/ 303247 w 331697"/>
                  <a:gd name="connsiteY18" fmla="*/ 264460 h 488828"/>
                  <a:gd name="connsiteX19" fmla="*/ 331698 w 331697"/>
                  <a:gd name="connsiteY19" fmla="*/ 349264 h 488828"/>
                  <a:gd name="connsiteX20" fmla="*/ 157523 w 331697"/>
                  <a:gd name="connsiteY20" fmla="*/ 488829 h 4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1697" h="488828">
                    <a:moveTo>
                      <a:pt x="157523" y="488829"/>
                    </a:moveTo>
                    <a:cubicBezTo>
                      <a:pt x="86735" y="488829"/>
                      <a:pt x="34219" y="475412"/>
                      <a:pt x="0" y="448554"/>
                    </a:cubicBezTo>
                    <a:lnTo>
                      <a:pt x="0" y="384671"/>
                    </a:lnTo>
                    <a:cubicBezTo>
                      <a:pt x="43485" y="417076"/>
                      <a:pt x="96458" y="433271"/>
                      <a:pt x="158905" y="433271"/>
                    </a:cubicBezTo>
                    <a:cubicBezTo>
                      <a:pt x="232460" y="433271"/>
                      <a:pt x="269250" y="405969"/>
                      <a:pt x="269250" y="351339"/>
                    </a:cubicBezTo>
                    <a:cubicBezTo>
                      <a:pt x="269250" y="330614"/>
                      <a:pt x="262646" y="314849"/>
                      <a:pt x="249452" y="304017"/>
                    </a:cubicBezTo>
                    <a:cubicBezTo>
                      <a:pt x="236245" y="293185"/>
                      <a:pt x="211605" y="283632"/>
                      <a:pt x="175480" y="275344"/>
                    </a:cubicBezTo>
                    <a:lnTo>
                      <a:pt x="123525" y="263155"/>
                    </a:lnTo>
                    <a:cubicBezTo>
                      <a:pt x="80953" y="253432"/>
                      <a:pt x="50885" y="238502"/>
                      <a:pt x="33318" y="218365"/>
                    </a:cubicBezTo>
                    <a:cubicBezTo>
                      <a:pt x="15726" y="198228"/>
                      <a:pt x="6943" y="171500"/>
                      <a:pt x="6943" y="138168"/>
                    </a:cubicBezTo>
                    <a:cubicBezTo>
                      <a:pt x="6943" y="46056"/>
                      <a:pt x="62461" y="0"/>
                      <a:pt x="173484" y="0"/>
                    </a:cubicBezTo>
                    <a:cubicBezTo>
                      <a:pt x="234548" y="0"/>
                      <a:pt x="278724" y="9723"/>
                      <a:pt x="306026" y="29168"/>
                    </a:cubicBezTo>
                    <a:lnTo>
                      <a:pt x="306026" y="92360"/>
                    </a:lnTo>
                    <a:cubicBezTo>
                      <a:pt x="271325" y="67825"/>
                      <a:pt x="227840" y="55557"/>
                      <a:pt x="175571" y="55557"/>
                    </a:cubicBezTo>
                    <a:cubicBezTo>
                      <a:pt x="104784" y="55557"/>
                      <a:pt x="69391" y="81711"/>
                      <a:pt x="69391" y="134018"/>
                    </a:cubicBezTo>
                    <a:cubicBezTo>
                      <a:pt x="69391" y="152955"/>
                      <a:pt x="75511" y="167963"/>
                      <a:pt x="87779" y="179056"/>
                    </a:cubicBezTo>
                    <a:cubicBezTo>
                      <a:pt x="100047" y="190149"/>
                      <a:pt x="122377" y="199154"/>
                      <a:pt x="154769" y="206084"/>
                    </a:cubicBezTo>
                    <a:lnTo>
                      <a:pt x="208198" y="217882"/>
                    </a:lnTo>
                    <a:cubicBezTo>
                      <a:pt x="252597" y="227618"/>
                      <a:pt x="284271" y="243148"/>
                      <a:pt x="303247" y="264460"/>
                    </a:cubicBezTo>
                    <a:cubicBezTo>
                      <a:pt x="322210" y="285772"/>
                      <a:pt x="331698" y="314053"/>
                      <a:pt x="331698" y="349264"/>
                    </a:cubicBezTo>
                    <a:cubicBezTo>
                      <a:pt x="331698" y="442303"/>
                      <a:pt x="273635" y="488829"/>
                      <a:pt x="157523" y="488829"/>
                    </a:cubicBezTo>
                    <a:close/>
                  </a:path>
                </a:pathLst>
              </a:custGeom>
              <a:solidFill>
                <a:schemeClr val="bg1"/>
              </a:solidFill>
              <a:ln w="1305" cap="flat">
                <a:noFill/>
                <a:prstDash val="solid"/>
                <a:miter/>
              </a:ln>
            </p:spPr>
            <p:txBody>
              <a:bodyPr rtlCol="0" anchor="ctr"/>
              <a:lstStyle/>
              <a:p>
                <a:endParaRPr lang="de-DE" dirty="0"/>
              </a:p>
            </p:txBody>
          </p:sp>
          <p:sp>
            <p:nvSpPr>
              <p:cNvPr id="108" name="Freeform: Shape 107">
                <a:extLst>
                  <a:ext uri="{FF2B5EF4-FFF2-40B4-BE49-F238E27FC236}">
                    <a16:creationId xmlns:a16="http://schemas.microsoft.com/office/drawing/2014/main" id="{D6109692-95CC-49A7-A01F-A9FCB0568A94}"/>
                  </a:ext>
                </a:extLst>
              </p:cNvPr>
              <p:cNvSpPr/>
              <p:nvPr/>
            </p:nvSpPr>
            <p:spPr bwMode="gray">
              <a:xfrm>
                <a:off x="7176575" y="2498768"/>
                <a:ext cx="333093" cy="488828"/>
              </a:xfrm>
              <a:custGeom>
                <a:avLst/>
                <a:gdLst>
                  <a:gd name="connsiteX0" fmla="*/ 217882 w 333093"/>
                  <a:gd name="connsiteY0" fmla="*/ 488829 h 488828"/>
                  <a:gd name="connsiteX1" fmla="*/ 53430 w 333093"/>
                  <a:gd name="connsiteY1" fmla="*/ 428769 h 488828"/>
                  <a:gd name="connsiteX2" fmla="*/ 0 w 333093"/>
                  <a:gd name="connsiteY2" fmla="*/ 244414 h 488828"/>
                  <a:gd name="connsiteX3" fmla="*/ 53091 w 333093"/>
                  <a:gd name="connsiteY3" fmla="*/ 60060 h 488828"/>
                  <a:gd name="connsiteX4" fmla="*/ 216512 w 333093"/>
                  <a:gd name="connsiteY4" fmla="*/ 0 h 488828"/>
                  <a:gd name="connsiteX5" fmla="*/ 333094 w 333093"/>
                  <a:gd name="connsiteY5" fmla="*/ 24300 h 488828"/>
                  <a:gd name="connsiteX6" fmla="*/ 333094 w 333093"/>
                  <a:gd name="connsiteY6" fmla="*/ 85404 h 488828"/>
                  <a:gd name="connsiteX7" fmla="*/ 218600 w 333093"/>
                  <a:gd name="connsiteY7" fmla="*/ 55544 h 488828"/>
                  <a:gd name="connsiteX8" fmla="*/ 100621 w 333093"/>
                  <a:gd name="connsiteY8" fmla="*/ 100334 h 488828"/>
                  <a:gd name="connsiteX9" fmla="*/ 63831 w 333093"/>
                  <a:gd name="connsiteY9" fmla="*/ 243723 h 488828"/>
                  <a:gd name="connsiteX10" fmla="*/ 100960 w 333093"/>
                  <a:gd name="connsiteY10" fmla="*/ 388155 h 488828"/>
                  <a:gd name="connsiteX11" fmla="*/ 220662 w 333093"/>
                  <a:gd name="connsiteY11" fmla="*/ 433285 h 488828"/>
                  <a:gd name="connsiteX12" fmla="*/ 333081 w 333093"/>
                  <a:gd name="connsiteY12" fmla="*/ 403424 h 488828"/>
                  <a:gd name="connsiteX13" fmla="*/ 333081 w 333093"/>
                  <a:gd name="connsiteY13" fmla="*/ 464528 h 488828"/>
                  <a:gd name="connsiteX14" fmla="*/ 217882 w 333093"/>
                  <a:gd name="connsiteY14" fmla="*/ 488829 h 4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3093" h="488828">
                    <a:moveTo>
                      <a:pt x="217882" y="488829"/>
                    </a:moveTo>
                    <a:cubicBezTo>
                      <a:pt x="143872" y="488829"/>
                      <a:pt x="89032" y="468809"/>
                      <a:pt x="53430" y="428769"/>
                    </a:cubicBezTo>
                    <a:cubicBezTo>
                      <a:pt x="17801" y="388729"/>
                      <a:pt x="0" y="327286"/>
                      <a:pt x="0" y="244414"/>
                    </a:cubicBezTo>
                    <a:cubicBezTo>
                      <a:pt x="0" y="161555"/>
                      <a:pt x="17697" y="100112"/>
                      <a:pt x="53091" y="60060"/>
                    </a:cubicBezTo>
                    <a:cubicBezTo>
                      <a:pt x="88484" y="20020"/>
                      <a:pt x="142958" y="0"/>
                      <a:pt x="216512" y="0"/>
                    </a:cubicBezTo>
                    <a:cubicBezTo>
                      <a:pt x="265544" y="0"/>
                      <a:pt x="304408" y="8105"/>
                      <a:pt x="333094" y="24300"/>
                    </a:cubicBezTo>
                    <a:lnTo>
                      <a:pt x="333094" y="85404"/>
                    </a:lnTo>
                    <a:cubicBezTo>
                      <a:pt x="300245" y="65502"/>
                      <a:pt x="262085" y="55544"/>
                      <a:pt x="218600" y="55544"/>
                    </a:cubicBezTo>
                    <a:cubicBezTo>
                      <a:pt x="164478" y="55544"/>
                      <a:pt x="125144" y="70474"/>
                      <a:pt x="100621" y="100334"/>
                    </a:cubicBezTo>
                    <a:cubicBezTo>
                      <a:pt x="76099" y="130194"/>
                      <a:pt x="63831" y="177999"/>
                      <a:pt x="63831" y="243723"/>
                    </a:cubicBezTo>
                    <a:cubicBezTo>
                      <a:pt x="63831" y="309929"/>
                      <a:pt x="76203" y="358060"/>
                      <a:pt x="100960" y="388155"/>
                    </a:cubicBezTo>
                    <a:cubicBezTo>
                      <a:pt x="125704" y="418250"/>
                      <a:pt x="165614" y="433285"/>
                      <a:pt x="220662" y="433285"/>
                    </a:cubicBezTo>
                    <a:cubicBezTo>
                      <a:pt x="263690" y="433285"/>
                      <a:pt x="301159" y="423340"/>
                      <a:pt x="333081" y="403424"/>
                    </a:cubicBezTo>
                    <a:lnTo>
                      <a:pt x="333081" y="464528"/>
                    </a:lnTo>
                    <a:cubicBezTo>
                      <a:pt x="304852" y="480724"/>
                      <a:pt x="266457" y="488829"/>
                      <a:pt x="217882" y="488829"/>
                    </a:cubicBezTo>
                    <a:close/>
                  </a:path>
                </a:pathLst>
              </a:custGeom>
              <a:solidFill>
                <a:schemeClr val="bg1"/>
              </a:solidFill>
              <a:ln w="1305" cap="flat">
                <a:noFill/>
                <a:prstDash val="solid"/>
                <a:miter/>
              </a:ln>
            </p:spPr>
            <p:txBody>
              <a:bodyPr rtlCol="0" anchor="ctr"/>
              <a:lstStyle/>
              <a:p>
                <a:endParaRPr lang="de-DE" dirty="0"/>
              </a:p>
            </p:txBody>
          </p:sp>
          <p:sp>
            <p:nvSpPr>
              <p:cNvPr id="109" name="Freeform: Shape 108">
                <a:extLst>
                  <a:ext uri="{FF2B5EF4-FFF2-40B4-BE49-F238E27FC236}">
                    <a16:creationId xmlns:a16="http://schemas.microsoft.com/office/drawing/2014/main" id="{A59A3523-C4B6-48A4-8E10-1EDD19966DB4}"/>
                  </a:ext>
                </a:extLst>
              </p:cNvPr>
              <p:cNvSpPr/>
              <p:nvPr/>
            </p:nvSpPr>
            <p:spPr bwMode="gray">
              <a:xfrm>
                <a:off x="7933439" y="2507095"/>
                <a:ext cx="374020" cy="472162"/>
              </a:xfrm>
              <a:custGeom>
                <a:avLst/>
                <a:gdLst>
                  <a:gd name="connsiteX0" fmla="*/ 0 w 374020"/>
                  <a:gd name="connsiteY0" fmla="*/ 472163 h 472162"/>
                  <a:gd name="connsiteX1" fmla="*/ 0 w 374020"/>
                  <a:gd name="connsiteY1" fmla="*/ 0 h 472162"/>
                  <a:gd name="connsiteX2" fmla="*/ 62448 w 374020"/>
                  <a:gd name="connsiteY2" fmla="*/ 0 h 472162"/>
                  <a:gd name="connsiteX3" fmla="*/ 62448 w 374020"/>
                  <a:gd name="connsiteY3" fmla="*/ 202756 h 472162"/>
                  <a:gd name="connsiteX4" fmla="*/ 311574 w 374020"/>
                  <a:gd name="connsiteY4" fmla="*/ 202756 h 472162"/>
                  <a:gd name="connsiteX5" fmla="*/ 311574 w 374020"/>
                  <a:gd name="connsiteY5" fmla="*/ 0 h 472162"/>
                  <a:gd name="connsiteX6" fmla="*/ 374021 w 374020"/>
                  <a:gd name="connsiteY6" fmla="*/ 0 h 472162"/>
                  <a:gd name="connsiteX7" fmla="*/ 374021 w 374020"/>
                  <a:gd name="connsiteY7" fmla="*/ 472163 h 472162"/>
                  <a:gd name="connsiteX8" fmla="*/ 311574 w 374020"/>
                  <a:gd name="connsiteY8" fmla="*/ 472163 h 472162"/>
                  <a:gd name="connsiteX9" fmla="*/ 311574 w 374020"/>
                  <a:gd name="connsiteY9" fmla="*/ 260375 h 472162"/>
                  <a:gd name="connsiteX10" fmla="*/ 62448 w 374020"/>
                  <a:gd name="connsiteY10" fmla="*/ 260375 h 472162"/>
                  <a:gd name="connsiteX11" fmla="*/ 62448 w 374020"/>
                  <a:gd name="connsiteY11" fmla="*/ 472163 h 472162"/>
                  <a:gd name="connsiteX12" fmla="*/ 0 w 374020"/>
                  <a:gd name="connsiteY12" fmla="*/ 472163 h 47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4020" h="472162">
                    <a:moveTo>
                      <a:pt x="0" y="472163"/>
                    </a:moveTo>
                    <a:lnTo>
                      <a:pt x="0" y="0"/>
                    </a:lnTo>
                    <a:lnTo>
                      <a:pt x="62448" y="0"/>
                    </a:lnTo>
                    <a:lnTo>
                      <a:pt x="62448" y="202756"/>
                    </a:lnTo>
                    <a:lnTo>
                      <a:pt x="311574" y="202756"/>
                    </a:lnTo>
                    <a:lnTo>
                      <a:pt x="311574" y="0"/>
                    </a:lnTo>
                    <a:lnTo>
                      <a:pt x="374021" y="0"/>
                    </a:lnTo>
                    <a:lnTo>
                      <a:pt x="374021" y="472163"/>
                    </a:lnTo>
                    <a:lnTo>
                      <a:pt x="311574" y="472163"/>
                    </a:lnTo>
                    <a:lnTo>
                      <a:pt x="311574" y="260375"/>
                    </a:lnTo>
                    <a:lnTo>
                      <a:pt x="62448" y="260375"/>
                    </a:lnTo>
                    <a:lnTo>
                      <a:pt x="62448" y="472163"/>
                    </a:lnTo>
                    <a:lnTo>
                      <a:pt x="0" y="472163"/>
                    </a:lnTo>
                    <a:close/>
                  </a:path>
                </a:pathLst>
              </a:custGeom>
              <a:solidFill>
                <a:schemeClr val="bg1"/>
              </a:solidFill>
              <a:ln w="1305" cap="flat">
                <a:noFill/>
                <a:prstDash val="solid"/>
                <a:miter/>
              </a:ln>
            </p:spPr>
            <p:txBody>
              <a:bodyPr rtlCol="0" anchor="ctr"/>
              <a:lstStyle/>
              <a:p>
                <a:endParaRPr lang="de-DE" dirty="0"/>
              </a:p>
            </p:txBody>
          </p:sp>
          <p:sp>
            <p:nvSpPr>
              <p:cNvPr id="110" name="Freeform: Shape 109">
                <a:extLst>
                  <a:ext uri="{FF2B5EF4-FFF2-40B4-BE49-F238E27FC236}">
                    <a16:creationId xmlns:a16="http://schemas.microsoft.com/office/drawing/2014/main" id="{EC13E4FE-4C7D-4374-AE95-F732BA88DD43}"/>
                  </a:ext>
                </a:extLst>
              </p:cNvPr>
              <p:cNvSpPr/>
              <p:nvPr/>
            </p:nvSpPr>
            <p:spPr bwMode="gray">
              <a:xfrm>
                <a:off x="8759917" y="2507095"/>
                <a:ext cx="355997" cy="480502"/>
              </a:xfrm>
              <a:custGeom>
                <a:avLst/>
                <a:gdLst>
                  <a:gd name="connsiteX0" fmla="*/ 313661 w 355997"/>
                  <a:gd name="connsiteY0" fmla="*/ 437108 h 480502"/>
                  <a:gd name="connsiteX1" fmla="*/ 178338 w 355997"/>
                  <a:gd name="connsiteY1" fmla="*/ 480502 h 480502"/>
                  <a:gd name="connsiteX2" fmla="*/ 42676 w 355997"/>
                  <a:gd name="connsiteY2" fmla="*/ 437108 h 480502"/>
                  <a:gd name="connsiteX3" fmla="*/ 0 w 355997"/>
                  <a:gd name="connsiteY3" fmla="*/ 297896 h 480502"/>
                  <a:gd name="connsiteX4" fmla="*/ 0 w 355997"/>
                  <a:gd name="connsiteY4" fmla="*/ 0 h 480502"/>
                  <a:gd name="connsiteX5" fmla="*/ 62447 w 355997"/>
                  <a:gd name="connsiteY5" fmla="*/ 0 h 480502"/>
                  <a:gd name="connsiteX6" fmla="*/ 62447 w 355997"/>
                  <a:gd name="connsiteY6" fmla="*/ 303430 h 480502"/>
                  <a:gd name="connsiteX7" fmla="*/ 90206 w 355997"/>
                  <a:gd name="connsiteY7" fmla="*/ 395437 h 480502"/>
                  <a:gd name="connsiteX8" fmla="*/ 179030 w 355997"/>
                  <a:gd name="connsiteY8" fmla="*/ 424254 h 480502"/>
                  <a:gd name="connsiteX9" fmla="*/ 268558 w 355997"/>
                  <a:gd name="connsiteY9" fmla="*/ 395437 h 480502"/>
                  <a:gd name="connsiteX10" fmla="*/ 296317 w 355997"/>
                  <a:gd name="connsiteY10" fmla="*/ 303430 h 480502"/>
                  <a:gd name="connsiteX11" fmla="*/ 296317 w 355997"/>
                  <a:gd name="connsiteY11" fmla="*/ 0 h 480502"/>
                  <a:gd name="connsiteX12" fmla="*/ 355998 w 355997"/>
                  <a:gd name="connsiteY12" fmla="*/ 0 h 480502"/>
                  <a:gd name="connsiteX13" fmla="*/ 355998 w 355997"/>
                  <a:gd name="connsiteY13" fmla="*/ 297883 h 480502"/>
                  <a:gd name="connsiteX14" fmla="*/ 313661 w 355997"/>
                  <a:gd name="connsiteY14" fmla="*/ 437108 h 48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5997" h="480502">
                    <a:moveTo>
                      <a:pt x="313661" y="437108"/>
                    </a:moveTo>
                    <a:cubicBezTo>
                      <a:pt x="285433" y="466042"/>
                      <a:pt x="240342" y="480502"/>
                      <a:pt x="178338" y="480502"/>
                    </a:cubicBezTo>
                    <a:cubicBezTo>
                      <a:pt x="116334" y="480502"/>
                      <a:pt x="71127" y="466042"/>
                      <a:pt x="42676" y="437108"/>
                    </a:cubicBezTo>
                    <a:cubicBezTo>
                      <a:pt x="14225" y="408188"/>
                      <a:pt x="0" y="361767"/>
                      <a:pt x="0" y="297896"/>
                    </a:cubicBezTo>
                    <a:lnTo>
                      <a:pt x="0" y="0"/>
                    </a:lnTo>
                    <a:lnTo>
                      <a:pt x="62447" y="0"/>
                    </a:lnTo>
                    <a:lnTo>
                      <a:pt x="62447" y="303430"/>
                    </a:lnTo>
                    <a:cubicBezTo>
                      <a:pt x="62447" y="345558"/>
                      <a:pt x="71701" y="376227"/>
                      <a:pt x="90206" y="395437"/>
                    </a:cubicBezTo>
                    <a:cubicBezTo>
                      <a:pt x="108712" y="414661"/>
                      <a:pt x="138324" y="424254"/>
                      <a:pt x="179030" y="424254"/>
                    </a:cubicBezTo>
                    <a:cubicBezTo>
                      <a:pt x="220205" y="424254"/>
                      <a:pt x="250039" y="414661"/>
                      <a:pt x="268558" y="395437"/>
                    </a:cubicBezTo>
                    <a:cubicBezTo>
                      <a:pt x="287051" y="376240"/>
                      <a:pt x="296317" y="345571"/>
                      <a:pt x="296317" y="303430"/>
                    </a:cubicBezTo>
                    <a:lnTo>
                      <a:pt x="296317" y="0"/>
                    </a:lnTo>
                    <a:lnTo>
                      <a:pt x="355998" y="0"/>
                    </a:lnTo>
                    <a:lnTo>
                      <a:pt x="355998" y="297883"/>
                    </a:lnTo>
                    <a:cubicBezTo>
                      <a:pt x="355998" y="361767"/>
                      <a:pt x="341877" y="408175"/>
                      <a:pt x="313661" y="437108"/>
                    </a:cubicBezTo>
                    <a:close/>
                  </a:path>
                </a:pathLst>
              </a:custGeom>
              <a:solidFill>
                <a:schemeClr val="bg1"/>
              </a:solidFill>
              <a:ln w="1305" cap="flat">
                <a:noFill/>
                <a:prstDash val="solid"/>
                <a:miter/>
              </a:ln>
            </p:spPr>
            <p:txBody>
              <a:bodyPr rtlCol="0" anchor="ctr"/>
              <a:lstStyle/>
              <a:p>
                <a:endParaRPr lang="de-DE" dirty="0"/>
              </a:p>
            </p:txBody>
          </p:sp>
          <p:sp>
            <p:nvSpPr>
              <p:cNvPr id="111" name="Freeform: Shape 110">
                <a:extLst>
                  <a:ext uri="{FF2B5EF4-FFF2-40B4-BE49-F238E27FC236}">
                    <a16:creationId xmlns:a16="http://schemas.microsoft.com/office/drawing/2014/main" id="{5685AD66-CCAC-4ED7-A842-1185006B0C4E}"/>
                  </a:ext>
                </a:extLst>
              </p:cNvPr>
              <p:cNvSpPr/>
              <p:nvPr/>
            </p:nvSpPr>
            <p:spPr bwMode="gray">
              <a:xfrm>
                <a:off x="9568358" y="2507095"/>
                <a:ext cx="299083" cy="472175"/>
              </a:xfrm>
              <a:custGeom>
                <a:avLst/>
                <a:gdLst>
                  <a:gd name="connsiteX0" fmla="*/ 0 w 299083"/>
                  <a:gd name="connsiteY0" fmla="*/ 472163 h 472175"/>
                  <a:gd name="connsiteX1" fmla="*/ 0 w 299083"/>
                  <a:gd name="connsiteY1" fmla="*/ 0 h 472175"/>
                  <a:gd name="connsiteX2" fmla="*/ 62447 w 299083"/>
                  <a:gd name="connsiteY2" fmla="*/ 0 h 472175"/>
                  <a:gd name="connsiteX3" fmla="*/ 62447 w 299083"/>
                  <a:gd name="connsiteY3" fmla="*/ 415927 h 472175"/>
                  <a:gd name="connsiteX4" fmla="*/ 299084 w 299083"/>
                  <a:gd name="connsiteY4" fmla="*/ 415927 h 472175"/>
                  <a:gd name="connsiteX5" fmla="*/ 299084 w 299083"/>
                  <a:gd name="connsiteY5" fmla="*/ 472176 h 472175"/>
                  <a:gd name="connsiteX6" fmla="*/ 0 w 299083"/>
                  <a:gd name="connsiteY6" fmla="*/ 472176 h 472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083" h="472175">
                    <a:moveTo>
                      <a:pt x="0" y="472163"/>
                    </a:moveTo>
                    <a:lnTo>
                      <a:pt x="0" y="0"/>
                    </a:lnTo>
                    <a:lnTo>
                      <a:pt x="62447" y="0"/>
                    </a:lnTo>
                    <a:lnTo>
                      <a:pt x="62447" y="415927"/>
                    </a:lnTo>
                    <a:lnTo>
                      <a:pt x="299084" y="415927"/>
                    </a:lnTo>
                    <a:lnTo>
                      <a:pt x="299084" y="472176"/>
                    </a:lnTo>
                    <a:lnTo>
                      <a:pt x="0" y="472176"/>
                    </a:lnTo>
                    <a:close/>
                  </a:path>
                </a:pathLst>
              </a:custGeom>
              <a:solidFill>
                <a:schemeClr val="bg1"/>
              </a:solidFill>
              <a:ln w="1305" cap="flat">
                <a:noFill/>
                <a:prstDash val="solid"/>
                <a:miter/>
              </a:ln>
            </p:spPr>
            <p:txBody>
              <a:bodyPr rtlCol="0" anchor="ctr"/>
              <a:lstStyle/>
              <a:p>
                <a:endParaRPr lang="de-DE" dirty="0"/>
              </a:p>
            </p:txBody>
          </p:sp>
          <p:sp>
            <p:nvSpPr>
              <p:cNvPr id="112" name="Freeform: Shape 111">
                <a:extLst>
                  <a:ext uri="{FF2B5EF4-FFF2-40B4-BE49-F238E27FC236}">
                    <a16:creationId xmlns:a16="http://schemas.microsoft.com/office/drawing/2014/main" id="{0FE0C8CB-5636-47AC-A931-665D66D885B6}"/>
                  </a:ext>
                </a:extLst>
              </p:cNvPr>
              <p:cNvSpPr/>
              <p:nvPr/>
            </p:nvSpPr>
            <p:spPr bwMode="gray">
              <a:xfrm>
                <a:off x="10265867" y="2507095"/>
                <a:ext cx="341420" cy="472162"/>
              </a:xfrm>
              <a:custGeom>
                <a:avLst/>
                <a:gdLst>
                  <a:gd name="connsiteX0" fmla="*/ 0 w 341420"/>
                  <a:gd name="connsiteY0" fmla="*/ 472163 h 472162"/>
                  <a:gd name="connsiteX1" fmla="*/ 0 w 341420"/>
                  <a:gd name="connsiteY1" fmla="*/ 0 h 472162"/>
                  <a:gd name="connsiteX2" fmla="*/ 337257 w 341420"/>
                  <a:gd name="connsiteY2" fmla="*/ 0 h 472162"/>
                  <a:gd name="connsiteX3" fmla="*/ 337257 w 341420"/>
                  <a:gd name="connsiteY3" fmla="*/ 55544 h 472162"/>
                  <a:gd name="connsiteX4" fmla="*/ 62461 w 341420"/>
                  <a:gd name="connsiteY4" fmla="*/ 55544 h 472162"/>
                  <a:gd name="connsiteX5" fmla="*/ 62461 w 341420"/>
                  <a:gd name="connsiteY5" fmla="*/ 204140 h 472162"/>
                  <a:gd name="connsiteX6" fmla="*/ 298405 w 341420"/>
                  <a:gd name="connsiteY6" fmla="*/ 204140 h 472162"/>
                  <a:gd name="connsiteX7" fmla="*/ 298405 w 341420"/>
                  <a:gd name="connsiteY7" fmla="*/ 259684 h 472162"/>
                  <a:gd name="connsiteX8" fmla="*/ 62461 w 341420"/>
                  <a:gd name="connsiteY8" fmla="*/ 259684 h 472162"/>
                  <a:gd name="connsiteX9" fmla="*/ 62461 w 341420"/>
                  <a:gd name="connsiteY9" fmla="*/ 416606 h 472162"/>
                  <a:gd name="connsiteX10" fmla="*/ 341420 w 341420"/>
                  <a:gd name="connsiteY10" fmla="*/ 416606 h 472162"/>
                  <a:gd name="connsiteX11" fmla="*/ 341420 w 341420"/>
                  <a:gd name="connsiteY11" fmla="*/ 472150 h 472162"/>
                  <a:gd name="connsiteX12" fmla="*/ 0 w 341420"/>
                  <a:gd name="connsiteY12" fmla="*/ 472150 h 47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1420" h="472162">
                    <a:moveTo>
                      <a:pt x="0" y="472163"/>
                    </a:moveTo>
                    <a:lnTo>
                      <a:pt x="0" y="0"/>
                    </a:lnTo>
                    <a:lnTo>
                      <a:pt x="337257" y="0"/>
                    </a:lnTo>
                    <a:lnTo>
                      <a:pt x="337257" y="55544"/>
                    </a:lnTo>
                    <a:lnTo>
                      <a:pt x="62461" y="55544"/>
                    </a:lnTo>
                    <a:lnTo>
                      <a:pt x="62461" y="204140"/>
                    </a:lnTo>
                    <a:lnTo>
                      <a:pt x="298405" y="204140"/>
                    </a:lnTo>
                    <a:lnTo>
                      <a:pt x="298405" y="259684"/>
                    </a:lnTo>
                    <a:lnTo>
                      <a:pt x="62461" y="259684"/>
                    </a:lnTo>
                    <a:lnTo>
                      <a:pt x="62461" y="416606"/>
                    </a:lnTo>
                    <a:lnTo>
                      <a:pt x="341420" y="416606"/>
                    </a:lnTo>
                    <a:lnTo>
                      <a:pt x="341420" y="472150"/>
                    </a:lnTo>
                    <a:lnTo>
                      <a:pt x="0" y="472150"/>
                    </a:lnTo>
                    <a:close/>
                  </a:path>
                </a:pathLst>
              </a:custGeom>
              <a:solidFill>
                <a:schemeClr val="bg1"/>
              </a:solidFill>
              <a:ln w="1305" cap="flat">
                <a:noFill/>
                <a:prstDash val="solid"/>
                <a:miter/>
              </a:ln>
            </p:spPr>
            <p:txBody>
              <a:bodyPr rtlCol="0" anchor="ctr"/>
              <a:lstStyle/>
              <a:p>
                <a:endParaRPr lang="de-DE" dirty="0"/>
              </a:p>
            </p:txBody>
          </p:sp>
        </p:grpSp>
        <p:grpSp>
          <p:nvGrpSpPr>
            <p:cNvPr id="71" name="Graphic 3">
              <a:extLst>
                <a:ext uri="{FF2B5EF4-FFF2-40B4-BE49-F238E27FC236}">
                  <a16:creationId xmlns:a16="http://schemas.microsoft.com/office/drawing/2014/main" id="{97DFAA98-5396-4375-820C-6DF5E25A7155}"/>
                </a:ext>
              </a:extLst>
            </p:cNvPr>
            <p:cNvGrpSpPr/>
            <p:nvPr/>
          </p:nvGrpSpPr>
          <p:grpSpPr bwMode="gray">
            <a:xfrm>
              <a:off x="3221861" y="4478474"/>
              <a:ext cx="7388088" cy="271651"/>
              <a:chOff x="3221861" y="4478474"/>
              <a:chExt cx="7388088" cy="271651"/>
            </a:xfrm>
            <a:solidFill>
              <a:srgbClr val="3D434B"/>
            </a:solidFill>
          </p:grpSpPr>
          <p:sp>
            <p:nvSpPr>
              <p:cNvPr id="76" name="Freeform: Shape 75">
                <a:extLst>
                  <a:ext uri="{FF2B5EF4-FFF2-40B4-BE49-F238E27FC236}">
                    <a16:creationId xmlns:a16="http://schemas.microsoft.com/office/drawing/2014/main" id="{ECF68121-C691-4B83-9165-182155658653}"/>
                  </a:ext>
                </a:extLst>
              </p:cNvPr>
              <p:cNvSpPr/>
              <p:nvPr/>
            </p:nvSpPr>
            <p:spPr bwMode="gray">
              <a:xfrm>
                <a:off x="3221861" y="4483107"/>
                <a:ext cx="197810" cy="267018"/>
              </a:xfrm>
              <a:custGeom>
                <a:avLst/>
                <a:gdLst>
                  <a:gd name="connsiteX0" fmla="*/ 174319 w 197810"/>
                  <a:gd name="connsiteY0" fmla="*/ 242901 h 267018"/>
                  <a:gd name="connsiteX1" fmla="*/ 99120 w 197810"/>
                  <a:gd name="connsiteY1" fmla="*/ 267018 h 267018"/>
                  <a:gd name="connsiteX2" fmla="*/ 23726 w 197810"/>
                  <a:gd name="connsiteY2" fmla="*/ 242901 h 267018"/>
                  <a:gd name="connsiteX3" fmla="*/ 0 w 197810"/>
                  <a:gd name="connsiteY3" fmla="*/ 165536 h 267018"/>
                  <a:gd name="connsiteX4" fmla="*/ 0 w 197810"/>
                  <a:gd name="connsiteY4" fmla="*/ 0 h 267018"/>
                  <a:gd name="connsiteX5" fmla="*/ 34702 w 197810"/>
                  <a:gd name="connsiteY5" fmla="*/ 0 h 267018"/>
                  <a:gd name="connsiteX6" fmla="*/ 34702 w 197810"/>
                  <a:gd name="connsiteY6" fmla="*/ 168615 h 267018"/>
                  <a:gd name="connsiteX7" fmla="*/ 50128 w 197810"/>
                  <a:gd name="connsiteY7" fmla="*/ 219735 h 267018"/>
                  <a:gd name="connsiteX8" fmla="*/ 99486 w 197810"/>
                  <a:gd name="connsiteY8" fmla="*/ 235749 h 267018"/>
                  <a:gd name="connsiteX9" fmla="*/ 149222 w 197810"/>
                  <a:gd name="connsiteY9" fmla="*/ 219735 h 267018"/>
                  <a:gd name="connsiteX10" fmla="*/ 164648 w 197810"/>
                  <a:gd name="connsiteY10" fmla="*/ 168615 h 267018"/>
                  <a:gd name="connsiteX11" fmla="*/ 164648 w 197810"/>
                  <a:gd name="connsiteY11" fmla="*/ 0 h 267018"/>
                  <a:gd name="connsiteX12" fmla="*/ 197810 w 197810"/>
                  <a:gd name="connsiteY12" fmla="*/ 0 h 267018"/>
                  <a:gd name="connsiteX13" fmla="*/ 197810 w 197810"/>
                  <a:gd name="connsiteY13" fmla="*/ 165536 h 267018"/>
                  <a:gd name="connsiteX14" fmla="*/ 174319 w 197810"/>
                  <a:gd name="connsiteY14" fmla="*/ 242901 h 267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7810" h="267018">
                    <a:moveTo>
                      <a:pt x="174319" y="242901"/>
                    </a:moveTo>
                    <a:cubicBezTo>
                      <a:pt x="158632" y="258979"/>
                      <a:pt x="133561" y="267018"/>
                      <a:pt x="99120" y="267018"/>
                    </a:cubicBezTo>
                    <a:cubicBezTo>
                      <a:pt x="64666" y="267018"/>
                      <a:pt x="39544" y="258979"/>
                      <a:pt x="23726" y="242901"/>
                    </a:cubicBezTo>
                    <a:cubicBezTo>
                      <a:pt x="7909" y="226822"/>
                      <a:pt x="0" y="201034"/>
                      <a:pt x="0" y="165536"/>
                    </a:cubicBezTo>
                    <a:lnTo>
                      <a:pt x="0" y="0"/>
                    </a:lnTo>
                    <a:lnTo>
                      <a:pt x="34702" y="0"/>
                    </a:lnTo>
                    <a:lnTo>
                      <a:pt x="34702" y="168615"/>
                    </a:lnTo>
                    <a:cubicBezTo>
                      <a:pt x="34702" y="192029"/>
                      <a:pt x="39844" y="209073"/>
                      <a:pt x="50128" y="219735"/>
                    </a:cubicBezTo>
                    <a:cubicBezTo>
                      <a:pt x="60412" y="230424"/>
                      <a:pt x="76869" y="235749"/>
                      <a:pt x="99486" y="235749"/>
                    </a:cubicBezTo>
                    <a:cubicBezTo>
                      <a:pt x="122351" y="235749"/>
                      <a:pt x="138951" y="230411"/>
                      <a:pt x="149222" y="219735"/>
                    </a:cubicBezTo>
                    <a:cubicBezTo>
                      <a:pt x="159506" y="209073"/>
                      <a:pt x="164648" y="192029"/>
                      <a:pt x="164648" y="168615"/>
                    </a:cubicBezTo>
                    <a:lnTo>
                      <a:pt x="164648" y="0"/>
                    </a:lnTo>
                    <a:lnTo>
                      <a:pt x="197810" y="0"/>
                    </a:lnTo>
                    <a:lnTo>
                      <a:pt x="197810" y="165536"/>
                    </a:lnTo>
                    <a:cubicBezTo>
                      <a:pt x="197836" y="201034"/>
                      <a:pt x="189993" y="226822"/>
                      <a:pt x="174319" y="242901"/>
                    </a:cubicBezTo>
                    <a:close/>
                  </a:path>
                </a:pathLst>
              </a:custGeom>
              <a:solidFill>
                <a:schemeClr val="bg1"/>
              </a:solidFill>
              <a:ln w="1305" cap="flat">
                <a:noFill/>
                <a:prstDash val="solid"/>
                <a:miter/>
              </a:ln>
            </p:spPr>
            <p:txBody>
              <a:bodyPr rtlCol="0" anchor="ctr"/>
              <a:lstStyle/>
              <a:p>
                <a:endParaRPr lang="de-DE" dirty="0"/>
              </a:p>
            </p:txBody>
          </p:sp>
          <p:sp>
            <p:nvSpPr>
              <p:cNvPr id="77" name="Freeform: Shape 76">
                <a:extLst>
                  <a:ext uri="{FF2B5EF4-FFF2-40B4-BE49-F238E27FC236}">
                    <a16:creationId xmlns:a16="http://schemas.microsoft.com/office/drawing/2014/main" id="{FAD459A1-38EA-4CC1-8D3D-1DC905FFEC0D}"/>
                  </a:ext>
                </a:extLst>
              </p:cNvPr>
              <p:cNvSpPr/>
              <p:nvPr/>
            </p:nvSpPr>
            <p:spPr bwMode="gray">
              <a:xfrm>
                <a:off x="3525970" y="4483107"/>
                <a:ext cx="207859" cy="262385"/>
              </a:xfrm>
              <a:custGeom>
                <a:avLst/>
                <a:gdLst>
                  <a:gd name="connsiteX0" fmla="*/ 0 w 207859"/>
                  <a:gd name="connsiteY0" fmla="*/ 262385 h 262385"/>
                  <a:gd name="connsiteX1" fmla="*/ 0 w 207859"/>
                  <a:gd name="connsiteY1" fmla="*/ 0 h 262385"/>
                  <a:gd name="connsiteX2" fmla="*/ 43642 w 207859"/>
                  <a:gd name="connsiteY2" fmla="*/ 0 h 262385"/>
                  <a:gd name="connsiteX3" fmla="*/ 174697 w 207859"/>
                  <a:gd name="connsiteY3" fmla="*/ 199885 h 262385"/>
                  <a:gd name="connsiteX4" fmla="*/ 174697 w 207859"/>
                  <a:gd name="connsiteY4" fmla="*/ 0 h 262385"/>
                  <a:gd name="connsiteX5" fmla="*/ 207859 w 207859"/>
                  <a:gd name="connsiteY5" fmla="*/ 0 h 262385"/>
                  <a:gd name="connsiteX6" fmla="*/ 207859 w 207859"/>
                  <a:gd name="connsiteY6" fmla="*/ 262385 h 262385"/>
                  <a:gd name="connsiteX7" fmla="*/ 175076 w 207859"/>
                  <a:gd name="connsiteY7" fmla="*/ 262385 h 262385"/>
                  <a:gd name="connsiteX8" fmla="*/ 33175 w 207859"/>
                  <a:gd name="connsiteY8" fmla="*/ 45925 h 262385"/>
                  <a:gd name="connsiteX9" fmla="*/ 33175 w 207859"/>
                  <a:gd name="connsiteY9" fmla="*/ 262385 h 262385"/>
                  <a:gd name="connsiteX10" fmla="*/ 0 w 207859"/>
                  <a:gd name="connsiteY10"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859" h="262385">
                    <a:moveTo>
                      <a:pt x="0" y="262385"/>
                    </a:moveTo>
                    <a:lnTo>
                      <a:pt x="0" y="0"/>
                    </a:lnTo>
                    <a:lnTo>
                      <a:pt x="43642" y="0"/>
                    </a:lnTo>
                    <a:lnTo>
                      <a:pt x="174697" y="199885"/>
                    </a:lnTo>
                    <a:lnTo>
                      <a:pt x="174697" y="0"/>
                    </a:lnTo>
                    <a:lnTo>
                      <a:pt x="207859" y="0"/>
                    </a:lnTo>
                    <a:lnTo>
                      <a:pt x="207859" y="262385"/>
                    </a:lnTo>
                    <a:lnTo>
                      <a:pt x="175076" y="262385"/>
                    </a:lnTo>
                    <a:lnTo>
                      <a:pt x="33175" y="45925"/>
                    </a:lnTo>
                    <a:lnTo>
                      <a:pt x="33175" y="262385"/>
                    </a:lnTo>
                    <a:lnTo>
                      <a:pt x="0" y="262385"/>
                    </a:lnTo>
                    <a:close/>
                  </a:path>
                </a:pathLst>
              </a:custGeom>
              <a:solidFill>
                <a:schemeClr val="bg1"/>
              </a:solidFill>
              <a:ln w="1305" cap="flat">
                <a:noFill/>
                <a:prstDash val="solid"/>
                <a:miter/>
              </a:ln>
            </p:spPr>
            <p:txBody>
              <a:bodyPr rtlCol="0" anchor="ctr"/>
              <a:lstStyle/>
              <a:p>
                <a:endParaRPr lang="de-DE" dirty="0"/>
              </a:p>
            </p:txBody>
          </p:sp>
          <p:sp>
            <p:nvSpPr>
              <p:cNvPr id="78" name="Freeform: Shape 77">
                <a:extLst>
                  <a:ext uri="{FF2B5EF4-FFF2-40B4-BE49-F238E27FC236}">
                    <a16:creationId xmlns:a16="http://schemas.microsoft.com/office/drawing/2014/main" id="{6159C676-420F-40E7-88C4-0EA68335B833}"/>
                  </a:ext>
                </a:extLst>
              </p:cNvPr>
              <p:cNvSpPr/>
              <p:nvPr/>
            </p:nvSpPr>
            <p:spPr bwMode="gray">
              <a:xfrm>
                <a:off x="3842463" y="4483107"/>
                <a:ext cx="34702" cy="262385"/>
              </a:xfrm>
              <a:custGeom>
                <a:avLst/>
                <a:gdLst>
                  <a:gd name="connsiteX0" fmla="*/ 0 w 34702"/>
                  <a:gd name="connsiteY0" fmla="*/ 262385 h 262385"/>
                  <a:gd name="connsiteX1" fmla="*/ 0 w 34702"/>
                  <a:gd name="connsiteY1" fmla="*/ 0 h 262385"/>
                  <a:gd name="connsiteX2" fmla="*/ 34702 w 34702"/>
                  <a:gd name="connsiteY2" fmla="*/ 0 h 262385"/>
                  <a:gd name="connsiteX3" fmla="*/ 34702 w 34702"/>
                  <a:gd name="connsiteY3" fmla="*/ 262385 h 262385"/>
                  <a:gd name="connsiteX4" fmla="*/ 0 w 34702"/>
                  <a:gd name="connsiteY4" fmla="*/ 262385 h 262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2" h="262385">
                    <a:moveTo>
                      <a:pt x="0" y="262385"/>
                    </a:moveTo>
                    <a:lnTo>
                      <a:pt x="0" y="0"/>
                    </a:lnTo>
                    <a:lnTo>
                      <a:pt x="34702" y="0"/>
                    </a:lnTo>
                    <a:lnTo>
                      <a:pt x="34702" y="262385"/>
                    </a:lnTo>
                    <a:lnTo>
                      <a:pt x="0" y="262385"/>
                    </a:lnTo>
                    <a:close/>
                  </a:path>
                </a:pathLst>
              </a:custGeom>
              <a:solidFill>
                <a:schemeClr val="bg1"/>
              </a:solidFill>
              <a:ln w="1305" cap="flat">
                <a:noFill/>
                <a:prstDash val="solid"/>
                <a:miter/>
              </a:ln>
            </p:spPr>
            <p:txBody>
              <a:bodyPr rtlCol="0" anchor="ctr"/>
              <a:lstStyle/>
              <a:p>
                <a:endParaRPr lang="de-DE" dirty="0"/>
              </a:p>
            </p:txBody>
          </p:sp>
          <p:sp>
            <p:nvSpPr>
              <p:cNvPr id="79" name="Freeform: Shape 78">
                <a:extLst>
                  <a:ext uri="{FF2B5EF4-FFF2-40B4-BE49-F238E27FC236}">
                    <a16:creationId xmlns:a16="http://schemas.microsoft.com/office/drawing/2014/main" id="{E572CB92-8607-46C6-A240-F01EB381362C}"/>
                  </a:ext>
                </a:extLst>
              </p:cNvPr>
              <p:cNvSpPr/>
              <p:nvPr/>
            </p:nvSpPr>
            <p:spPr bwMode="gray">
              <a:xfrm>
                <a:off x="3960377" y="4483107"/>
                <a:ext cx="224825" cy="262385"/>
              </a:xfrm>
              <a:custGeom>
                <a:avLst/>
                <a:gdLst>
                  <a:gd name="connsiteX0" fmla="*/ 94070 w 224825"/>
                  <a:gd name="connsiteY0" fmla="*/ 262385 h 262385"/>
                  <a:gd name="connsiteX1" fmla="*/ 0 w 224825"/>
                  <a:gd name="connsiteY1" fmla="*/ 0 h 262385"/>
                  <a:gd name="connsiteX2" fmla="*/ 37025 w 224825"/>
                  <a:gd name="connsiteY2" fmla="*/ 0 h 262385"/>
                  <a:gd name="connsiteX3" fmla="*/ 113385 w 224825"/>
                  <a:gd name="connsiteY3" fmla="*/ 214306 h 262385"/>
                  <a:gd name="connsiteX4" fmla="*/ 189731 w 224825"/>
                  <a:gd name="connsiteY4" fmla="*/ 0 h 262385"/>
                  <a:gd name="connsiteX5" fmla="*/ 224825 w 224825"/>
                  <a:gd name="connsiteY5" fmla="*/ 0 h 262385"/>
                  <a:gd name="connsiteX6" fmla="*/ 130742 w 224825"/>
                  <a:gd name="connsiteY6" fmla="*/ 262385 h 262385"/>
                  <a:gd name="connsiteX7" fmla="*/ 94070 w 224825"/>
                  <a:gd name="connsiteY7"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825" h="262385">
                    <a:moveTo>
                      <a:pt x="94070" y="262385"/>
                    </a:moveTo>
                    <a:lnTo>
                      <a:pt x="0" y="0"/>
                    </a:lnTo>
                    <a:lnTo>
                      <a:pt x="37025" y="0"/>
                    </a:lnTo>
                    <a:lnTo>
                      <a:pt x="113385" y="214306"/>
                    </a:lnTo>
                    <a:lnTo>
                      <a:pt x="189731" y="0"/>
                    </a:lnTo>
                    <a:lnTo>
                      <a:pt x="224825" y="0"/>
                    </a:lnTo>
                    <a:lnTo>
                      <a:pt x="130742" y="262385"/>
                    </a:lnTo>
                    <a:lnTo>
                      <a:pt x="94070" y="262385"/>
                    </a:lnTo>
                    <a:close/>
                  </a:path>
                </a:pathLst>
              </a:custGeom>
              <a:solidFill>
                <a:schemeClr val="bg1"/>
              </a:solidFill>
              <a:ln w="1305" cap="flat">
                <a:noFill/>
                <a:prstDash val="solid"/>
                <a:miter/>
              </a:ln>
            </p:spPr>
            <p:txBody>
              <a:bodyPr rtlCol="0" anchor="ctr"/>
              <a:lstStyle/>
              <a:p>
                <a:endParaRPr lang="de-DE" dirty="0"/>
              </a:p>
            </p:txBody>
          </p:sp>
          <p:sp>
            <p:nvSpPr>
              <p:cNvPr id="80" name="Freeform: Shape 79">
                <a:extLst>
                  <a:ext uri="{FF2B5EF4-FFF2-40B4-BE49-F238E27FC236}">
                    <a16:creationId xmlns:a16="http://schemas.microsoft.com/office/drawing/2014/main" id="{BF0B4C67-29C5-4395-8CFC-D69E4FC5CFC7}"/>
                  </a:ext>
                </a:extLst>
              </p:cNvPr>
              <p:cNvSpPr/>
              <p:nvPr/>
            </p:nvSpPr>
            <p:spPr bwMode="gray">
              <a:xfrm>
                <a:off x="4268413" y="4483107"/>
                <a:ext cx="189731" cy="262385"/>
              </a:xfrm>
              <a:custGeom>
                <a:avLst/>
                <a:gdLst>
                  <a:gd name="connsiteX0" fmla="*/ 0 w 189731"/>
                  <a:gd name="connsiteY0" fmla="*/ 262385 h 262385"/>
                  <a:gd name="connsiteX1" fmla="*/ 0 w 189731"/>
                  <a:gd name="connsiteY1" fmla="*/ 0 h 262385"/>
                  <a:gd name="connsiteX2" fmla="*/ 187422 w 189731"/>
                  <a:gd name="connsiteY2" fmla="*/ 0 h 262385"/>
                  <a:gd name="connsiteX3" fmla="*/ 187422 w 189731"/>
                  <a:gd name="connsiteY3" fmla="*/ 30865 h 262385"/>
                  <a:gd name="connsiteX4" fmla="*/ 34715 w 189731"/>
                  <a:gd name="connsiteY4" fmla="*/ 30865 h 262385"/>
                  <a:gd name="connsiteX5" fmla="*/ 34715 w 189731"/>
                  <a:gd name="connsiteY5" fmla="*/ 113437 h 262385"/>
                  <a:gd name="connsiteX6" fmla="*/ 165836 w 189731"/>
                  <a:gd name="connsiteY6" fmla="*/ 113437 h 262385"/>
                  <a:gd name="connsiteX7" fmla="*/ 165836 w 189731"/>
                  <a:gd name="connsiteY7" fmla="*/ 144302 h 262385"/>
                  <a:gd name="connsiteX8" fmla="*/ 34715 w 189731"/>
                  <a:gd name="connsiteY8" fmla="*/ 144302 h 262385"/>
                  <a:gd name="connsiteX9" fmla="*/ 34715 w 189731"/>
                  <a:gd name="connsiteY9" fmla="*/ 231507 h 262385"/>
                  <a:gd name="connsiteX10" fmla="*/ 189732 w 189731"/>
                  <a:gd name="connsiteY10" fmla="*/ 231507 h 262385"/>
                  <a:gd name="connsiteX11" fmla="*/ 189732 w 189731"/>
                  <a:gd name="connsiteY11" fmla="*/ 262372 h 262385"/>
                  <a:gd name="connsiteX12" fmla="*/ 0 w 189731"/>
                  <a:gd name="connsiteY12" fmla="*/ 262372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731" h="262385">
                    <a:moveTo>
                      <a:pt x="0" y="262385"/>
                    </a:moveTo>
                    <a:lnTo>
                      <a:pt x="0" y="0"/>
                    </a:lnTo>
                    <a:lnTo>
                      <a:pt x="187422" y="0"/>
                    </a:lnTo>
                    <a:lnTo>
                      <a:pt x="187422" y="30865"/>
                    </a:lnTo>
                    <a:lnTo>
                      <a:pt x="34715" y="30865"/>
                    </a:lnTo>
                    <a:lnTo>
                      <a:pt x="34715" y="113437"/>
                    </a:lnTo>
                    <a:lnTo>
                      <a:pt x="165836" y="113437"/>
                    </a:lnTo>
                    <a:lnTo>
                      <a:pt x="165836" y="144302"/>
                    </a:lnTo>
                    <a:lnTo>
                      <a:pt x="34715" y="144302"/>
                    </a:lnTo>
                    <a:lnTo>
                      <a:pt x="34715" y="231507"/>
                    </a:lnTo>
                    <a:lnTo>
                      <a:pt x="189732" y="231507"/>
                    </a:lnTo>
                    <a:lnTo>
                      <a:pt x="189732" y="262372"/>
                    </a:lnTo>
                    <a:lnTo>
                      <a:pt x="0" y="262372"/>
                    </a:lnTo>
                    <a:close/>
                  </a:path>
                </a:pathLst>
              </a:custGeom>
              <a:solidFill>
                <a:schemeClr val="bg1"/>
              </a:solidFill>
              <a:ln w="1305" cap="flat">
                <a:noFill/>
                <a:prstDash val="solid"/>
                <a:miter/>
              </a:ln>
            </p:spPr>
            <p:txBody>
              <a:bodyPr rtlCol="0" anchor="ctr"/>
              <a:lstStyle/>
              <a:p>
                <a:endParaRPr lang="de-DE" dirty="0"/>
              </a:p>
            </p:txBody>
          </p:sp>
          <p:sp>
            <p:nvSpPr>
              <p:cNvPr id="81" name="Freeform: Shape 80">
                <a:extLst>
                  <a:ext uri="{FF2B5EF4-FFF2-40B4-BE49-F238E27FC236}">
                    <a16:creationId xmlns:a16="http://schemas.microsoft.com/office/drawing/2014/main" id="{26456A85-CC97-448D-9D5F-83E872BAFEDE}"/>
                  </a:ext>
                </a:extLst>
              </p:cNvPr>
              <p:cNvSpPr/>
              <p:nvPr/>
            </p:nvSpPr>
            <p:spPr bwMode="gray">
              <a:xfrm>
                <a:off x="4548195" y="4483107"/>
                <a:ext cx="207062" cy="262385"/>
              </a:xfrm>
              <a:custGeom>
                <a:avLst/>
                <a:gdLst>
                  <a:gd name="connsiteX0" fmla="*/ 0 w 207062"/>
                  <a:gd name="connsiteY0" fmla="*/ 262385 h 262385"/>
                  <a:gd name="connsiteX1" fmla="*/ 0 w 207062"/>
                  <a:gd name="connsiteY1" fmla="*/ 0 h 262385"/>
                  <a:gd name="connsiteX2" fmla="*/ 102957 w 207062"/>
                  <a:gd name="connsiteY2" fmla="*/ 0 h 262385"/>
                  <a:gd name="connsiteX3" fmla="*/ 169855 w 207062"/>
                  <a:gd name="connsiteY3" fmla="*/ 18336 h 262385"/>
                  <a:gd name="connsiteX4" fmla="*/ 190867 w 207062"/>
                  <a:gd name="connsiteY4" fmla="*/ 76791 h 262385"/>
                  <a:gd name="connsiteX5" fmla="*/ 177568 w 207062"/>
                  <a:gd name="connsiteY5" fmla="*/ 126762 h 262385"/>
                  <a:gd name="connsiteX6" fmla="*/ 136106 w 207062"/>
                  <a:gd name="connsiteY6" fmla="*/ 150488 h 262385"/>
                  <a:gd name="connsiteX7" fmla="*/ 207063 w 207062"/>
                  <a:gd name="connsiteY7" fmla="*/ 262385 h 262385"/>
                  <a:gd name="connsiteX8" fmla="*/ 165797 w 207062"/>
                  <a:gd name="connsiteY8" fmla="*/ 262385 h 262385"/>
                  <a:gd name="connsiteX9" fmla="*/ 96341 w 207062"/>
                  <a:gd name="connsiteY9" fmla="*/ 153581 h 262385"/>
                  <a:gd name="connsiteX10" fmla="*/ 34689 w 207062"/>
                  <a:gd name="connsiteY10" fmla="*/ 153581 h 262385"/>
                  <a:gd name="connsiteX11" fmla="*/ 34689 w 207062"/>
                  <a:gd name="connsiteY11" fmla="*/ 262385 h 262385"/>
                  <a:gd name="connsiteX12" fmla="*/ 0 w 207062"/>
                  <a:gd name="connsiteY12" fmla="*/ 262385 h 262385"/>
                  <a:gd name="connsiteX13" fmla="*/ 34702 w 207062"/>
                  <a:gd name="connsiteY13" fmla="*/ 122703 h 262385"/>
                  <a:gd name="connsiteX14" fmla="*/ 101404 w 207062"/>
                  <a:gd name="connsiteY14" fmla="*/ 122703 h 262385"/>
                  <a:gd name="connsiteX15" fmla="*/ 143245 w 207062"/>
                  <a:gd name="connsiteY15" fmla="*/ 112289 h 262385"/>
                  <a:gd name="connsiteX16" fmla="*/ 155774 w 207062"/>
                  <a:gd name="connsiteY16" fmla="*/ 76791 h 262385"/>
                  <a:gd name="connsiteX17" fmla="*/ 143245 w 207062"/>
                  <a:gd name="connsiteY17" fmla="*/ 41293 h 262385"/>
                  <a:gd name="connsiteX18" fmla="*/ 101404 w 207062"/>
                  <a:gd name="connsiteY18" fmla="*/ 30878 h 262385"/>
                  <a:gd name="connsiteX19" fmla="*/ 34702 w 207062"/>
                  <a:gd name="connsiteY19" fmla="*/ 30878 h 262385"/>
                  <a:gd name="connsiteX20" fmla="*/ 34702 w 207062"/>
                  <a:gd name="connsiteY20" fmla="*/ 122703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7062" h="262385">
                    <a:moveTo>
                      <a:pt x="0" y="262385"/>
                    </a:moveTo>
                    <a:lnTo>
                      <a:pt x="0" y="0"/>
                    </a:lnTo>
                    <a:lnTo>
                      <a:pt x="102957" y="0"/>
                    </a:lnTo>
                    <a:cubicBezTo>
                      <a:pt x="133548" y="0"/>
                      <a:pt x="155839" y="6108"/>
                      <a:pt x="169855" y="18336"/>
                    </a:cubicBezTo>
                    <a:cubicBezTo>
                      <a:pt x="183872" y="30565"/>
                      <a:pt x="190867" y="50037"/>
                      <a:pt x="190867" y="76791"/>
                    </a:cubicBezTo>
                    <a:cubicBezTo>
                      <a:pt x="190867" y="98141"/>
                      <a:pt x="186430" y="114794"/>
                      <a:pt x="177568" y="126762"/>
                    </a:cubicBezTo>
                    <a:cubicBezTo>
                      <a:pt x="168707" y="138716"/>
                      <a:pt x="154886" y="146625"/>
                      <a:pt x="136106" y="150488"/>
                    </a:cubicBezTo>
                    <a:lnTo>
                      <a:pt x="207063" y="262385"/>
                    </a:lnTo>
                    <a:lnTo>
                      <a:pt x="165797" y="262385"/>
                    </a:lnTo>
                    <a:lnTo>
                      <a:pt x="96341" y="153581"/>
                    </a:lnTo>
                    <a:lnTo>
                      <a:pt x="34689" y="153581"/>
                    </a:lnTo>
                    <a:lnTo>
                      <a:pt x="34689" y="262385"/>
                    </a:lnTo>
                    <a:lnTo>
                      <a:pt x="0" y="262385"/>
                    </a:lnTo>
                    <a:close/>
                    <a:moveTo>
                      <a:pt x="34702" y="122703"/>
                    </a:moveTo>
                    <a:lnTo>
                      <a:pt x="101404" y="122703"/>
                    </a:lnTo>
                    <a:cubicBezTo>
                      <a:pt x="120941" y="122703"/>
                      <a:pt x="134893" y="119232"/>
                      <a:pt x="143245" y="112289"/>
                    </a:cubicBezTo>
                    <a:cubicBezTo>
                      <a:pt x="151597" y="105346"/>
                      <a:pt x="155774" y="93509"/>
                      <a:pt x="155774" y="76791"/>
                    </a:cubicBezTo>
                    <a:cubicBezTo>
                      <a:pt x="155774" y="60073"/>
                      <a:pt x="151584" y="48235"/>
                      <a:pt x="143245" y="41293"/>
                    </a:cubicBezTo>
                    <a:cubicBezTo>
                      <a:pt x="134893" y="34350"/>
                      <a:pt x="120928" y="30878"/>
                      <a:pt x="101404" y="30878"/>
                    </a:cubicBezTo>
                    <a:lnTo>
                      <a:pt x="34702" y="30878"/>
                    </a:lnTo>
                    <a:lnTo>
                      <a:pt x="34702" y="122703"/>
                    </a:lnTo>
                    <a:close/>
                  </a:path>
                </a:pathLst>
              </a:custGeom>
              <a:solidFill>
                <a:schemeClr val="bg1"/>
              </a:solidFill>
              <a:ln w="1305" cap="flat">
                <a:noFill/>
                <a:prstDash val="solid"/>
                <a:miter/>
              </a:ln>
            </p:spPr>
            <p:txBody>
              <a:bodyPr rtlCol="0" anchor="ctr"/>
              <a:lstStyle/>
              <a:p>
                <a:endParaRPr lang="de-DE" dirty="0"/>
              </a:p>
            </p:txBody>
          </p:sp>
          <p:sp>
            <p:nvSpPr>
              <p:cNvPr id="82" name="Freeform: Shape 81">
                <a:extLst>
                  <a:ext uri="{FF2B5EF4-FFF2-40B4-BE49-F238E27FC236}">
                    <a16:creationId xmlns:a16="http://schemas.microsoft.com/office/drawing/2014/main" id="{641EAC59-B737-4942-964B-9646E69A888A}"/>
                  </a:ext>
                </a:extLst>
              </p:cNvPr>
              <p:cNvSpPr/>
              <p:nvPr/>
            </p:nvSpPr>
            <p:spPr bwMode="gray">
              <a:xfrm>
                <a:off x="4828186" y="4478487"/>
                <a:ext cx="184341" cy="271638"/>
              </a:xfrm>
              <a:custGeom>
                <a:avLst/>
                <a:gdLst>
                  <a:gd name="connsiteX0" fmla="*/ 87544 w 184341"/>
                  <a:gd name="connsiteY0" fmla="*/ 271638 h 271638"/>
                  <a:gd name="connsiteX1" fmla="*/ 0 w 184341"/>
                  <a:gd name="connsiteY1" fmla="*/ 249256 h 271638"/>
                  <a:gd name="connsiteX2" fmla="*/ 0 w 184341"/>
                  <a:gd name="connsiteY2" fmla="*/ 213758 h 271638"/>
                  <a:gd name="connsiteX3" fmla="*/ 88301 w 184341"/>
                  <a:gd name="connsiteY3" fmla="*/ 240773 h 271638"/>
                  <a:gd name="connsiteX4" fmla="*/ 149627 w 184341"/>
                  <a:gd name="connsiteY4" fmla="*/ 195239 h 271638"/>
                  <a:gd name="connsiteX5" fmla="*/ 138625 w 184341"/>
                  <a:gd name="connsiteY5" fmla="*/ 168942 h 271638"/>
                  <a:gd name="connsiteX6" fmla="*/ 97515 w 184341"/>
                  <a:gd name="connsiteY6" fmla="*/ 153007 h 271638"/>
                  <a:gd name="connsiteX7" fmla="*/ 68634 w 184341"/>
                  <a:gd name="connsiteY7" fmla="*/ 146234 h 271638"/>
                  <a:gd name="connsiteX8" fmla="*/ 18506 w 184341"/>
                  <a:gd name="connsiteY8" fmla="*/ 121346 h 271638"/>
                  <a:gd name="connsiteX9" fmla="*/ 3850 w 184341"/>
                  <a:gd name="connsiteY9" fmla="*/ 76778 h 271638"/>
                  <a:gd name="connsiteX10" fmla="*/ 96406 w 184341"/>
                  <a:gd name="connsiteY10" fmla="*/ 0 h 271638"/>
                  <a:gd name="connsiteX11" fmla="*/ 170064 w 184341"/>
                  <a:gd name="connsiteY11" fmla="*/ 16209 h 271638"/>
                  <a:gd name="connsiteX12" fmla="*/ 170064 w 184341"/>
                  <a:gd name="connsiteY12" fmla="*/ 51329 h 271638"/>
                  <a:gd name="connsiteX13" fmla="*/ 97567 w 184341"/>
                  <a:gd name="connsiteY13" fmla="*/ 30878 h 271638"/>
                  <a:gd name="connsiteX14" fmla="*/ 38565 w 184341"/>
                  <a:gd name="connsiteY14" fmla="*/ 74481 h 271638"/>
                  <a:gd name="connsiteX15" fmla="*/ 48784 w 184341"/>
                  <a:gd name="connsiteY15" fmla="*/ 99499 h 271638"/>
                  <a:gd name="connsiteX16" fmla="*/ 86017 w 184341"/>
                  <a:gd name="connsiteY16" fmla="*/ 114520 h 271638"/>
                  <a:gd name="connsiteX17" fmla="*/ 115708 w 184341"/>
                  <a:gd name="connsiteY17" fmla="*/ 121085 h 271638"/>
                  <a:gd name="connsiteX18" fmla="*/ 168524 w 184341"/>
                  <a:gd name="connsiteY18" fmla="*/ 146978 h 271638"/>
                  <a:gd name="connsiteX19" fmla="*/ 184342 w 184341"/>
                  <a:gd name="connsiteY19" fmla="*/ 194104 h 271638"/>
                  <a:gd name="connsiteX20" fmla="*/ 87544 w 184341"/>
                  <a:gd name="connsiteY20" fmla="*/ 271638 h 27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4341" h="271638">
                    <a:moveTo>
                      <a:pt x="87544" y="271638"/>
                    </a:moveTo>
                    <a:cubicBezTo>
                      <a:pt x="48209" y="271638"/>
                      <a:pt x="19028" y="264173"/>
                      <a:pt x="0" y="249256"/>
                    </a:cubicBezTo>
                    <a:lnTo>
                      <a:pt x="0" y="213758"/>
                    </a:lnTo>
                    <a:cubicBezTo>
                      <a:pt x="24157" y="231768"/>
                      <a:pt x="53612" y="240773"/>
                      <a:pt x="88301" y="240773"/>
                    </a:cubicBezTo>
                    <a:cubicBezTo>
                      <a:pt x="129189" y="240773"/>
                      <a:pt x="149627" y="225595"/>
                      <a:pt x="149627" y="195239"/>
                    </a:cubicBezTo>
                    <a:cubicBezTo>
                      <a:pt x="149627" y="183715"/>
                      <a:pt x="145946" y="174958"/>
                      <a:pt x="138625" y="168942"/>
                    </a:cubicBezTo>
                    <a:cubicBezTo>
                      <a:pt x="131290" y="162926"/>
                      <a:pt x="117587" y="157614"/>
                      <a:pt x="97515" y="153007"/>
                    </a:cubicBezTo>
                    <a:lnTo>
                      <a:pt x="68634" y="146234"/>
                    </a:lnTo>
                    <a:cubicBezTo>
                      <a:pt x="44986" y="140831"/>
                      <a:pt x="28268" y="132530"/>
                      <a:pt x="18506" y="121346"/>
                    </a:cubicBezTo>
                    <a:cubicBezTo>
                      <a:pt x="8731" y="110161"/>
                      <a:pt x="3850" y="95310"/>
                      <a:pt x="3850" y="76778"/>
                    </a:cubicBezTo>
                    <a:cubicBezTo>
                      <a:pt x="3850" y="25593"/>
                      <a:pt x="34702" y="0"/>
                      <a:pt x="96406" y="0"/>
                    </a:cubicBezTo>
                    <a:cubicBezTo>
                      <a:pt x="130338" y="0"/>
                      <a:pt x="154886" y="5403"/>
                      <a:pt x="170064" y="16209"/>
                    </a:cubicBezTo>
                    <a:lnTo>
                      <a:pt x="170064" y="51329"/>
                    </a:lnTo>
                    <a:cubicBezTo>
                      <a:pt x="150775" y="37691"/>
                      <a:pt x="126618" y="30878"/>
                      <a:pt x="97567" y="30878"/>
                    </a:cubicBezTo>
                    <a:cubicBezTo>
                      <a:pt x="58232" y="30878"/>
                      <a:pt x="38565" y="45417"/>
                      <a:pt x="38565" y="74481"/>
                    </a:cubicBezTo>
                    <a:cubicBezTo>
                      <a:pt x="38565" y="85013"/>
                      <a:pt x="41958" y="93339"/>
                      <a:pt x="48784" y="99499"/>
                    </a:cubicBezTo>
                    <a:cubicBezTo>
                      <a:pt x="55596" y="105659"/>
                      <a:pt x="68007" y="110670"/>
                      <a:pt x="86017" y="114520"/>
                    </a:cubicBezTo>
                    <a:lnTo>
                      <a:pt x="115708" y="121085"/>
                    </a:lnTo>
                    <a:cubicBezTo>
                      <a:pt x="140374" y="126501"/>
                      <a:pt x="157992" y="135127"/>
                      <a:pt x="168524" y="146978"/>
                    </a:cubicBezTo>
                    <a:cubicBezTo>
                      <a:pt x="179069" y="158828"/>
                      <a:pt x="184342" y="174541"/>
                      <a:pt x="184342" y="194104"/>
                    </a:cubicBezTo>
                    <a:cubicBezTo>
                      <a:pt x="184342" y="245785"/>
                      <a:pt x="152067" y="271638"/>
                      <a:pt x="87544" y="271638"/>
                    </a:cubicBezTo>
                    <a:close/>
                  </a:path>
                </a:pathLst>
              </a:custGeom>
              <a:solidFill>
                <a:schemeClr val="bg1"/>
              </a:solidFill>
              <a:ln w="1305" cap="flat">
                <a:noFill/>
                <a:prstDash val="solid"/>
                <a:miter/>
              </a:ln>
            </p:spPr>
            <p:txBody>
              <a:bodyPr rtlCol="0" anchor="ctr"/>
              <a:lstStyle/>
              <a:p>
                <a:endParaRPr lang="de-DE" dirty="0"/>
              </a:p>
            </p:txBody>
          </p:sp>
          <p:sp>
            <p:nvSpPr>
              <p:cNvPr id="83" name="Freeform: Shape 82">
                <a:extLst>
                  <a:ext uri="{FF2B5EF4-FFF2-40B4-BE49-F238E27FC236}">
                    <a16:creationId xmlns:a16="http://schemas.microsoft.com/office/drawing/2014/main" id="{E6255FB0-431B-4F54-86BA-E0A636955086}"/>
                  </a:ext>
                </a:extLst>
              </p:cNvPr>
              <p:cNvSpPr/>
              <p:nvPr/>
            </p:nvSpPr>
            <p:spPr bwMode="gray">
              <a:xfrm>
                <a:off x="5103334" y="4483107"/>
                <a:ext cx="34702" cy="262385"/>
              </a:xfrm>
              <a:custGeom>
                <a:avLst/>
                <a:gdLst>
                  <a:gd name="connsiteX0" fmla="*/ 0 w 34702"/>
                  <a:gd name="connsiteY0" fmla="*/ 262385 h 262385"/>
                  <a:gd name="connsiteX1" fmla="*/ 0 w 34702"/>
                  <a:gd name="connsiteY1" fmla="*/ 0 h 262385"/>
                  <a:gd name="connsiteX2" fmla="*/ 34702 w 34702"/>
                  <a:gd name="connsiteY2" fmla="*/ 0 h 262385"/>
                  <a:gd name="connsiteX3" fmla="*/ 34702 w 34702"/>
                  <a:gd name="connsiteY3" fmla="*/ 262385 h 262385"/>
                  <a:gd name="connsiteX4" fmla="*/ 0 w 34702"/>
                  <a:gd name="connsiteY4" fmla="*/ 262385 h 262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2" h="262385">
                    <a:moveTo>
                      <a:pt x="0" y="262385"/>
                    </a:moveTo>
                    <a:lnTo>
                      <a:pt x="0" y="0"/>
                    </a:lnTo>
                    <a:lnTo>
                      <a:pt x="34702" y="0"/>
                    </a:lnTo>
                    <a:lnTo>
                      <a:pt x="34702" y="262385"/>
                    </a:lnTo>
                    <a:lnTo>
                      <a:pt x="0" y="262385"/>
                    </a:lnTo>
                    <a:close/>
                  </a:path>
                </a:pathLst>
              </a:custGeom>
              <a:solidFill>
                <a:schemeClr val="bg1"/>
              </a:solidFill>
              <a:ln w="1305" cap="flat">
                <a:noFill/>
                <a:prstDash val="solid"/>
                <a:miter/>
              </a:ln>
            </p:spPr>
            <p:txBody>
              <a:bodyPr rtlCol="0" anchor="ctr"/>
              <a:lstStyle/>
              <a:p>
                <a:endParaRPr lang="de-DE" dirty="0"/>
              </a:p>
            </p:txBody>
          </p:sp>
          <p:sp>
            <p:nvSpPr>
              <p:cNvPr id="84" name="Freeform: Shape 83">
                <a:extLst>
                  <a:ext uri="{FF2B5EF4-FFF2-40B4-BE49-F238E27FC236}">
                    <a16:creationId xmlns:a16="http://schemas.microsoft.com/office/drawing/2014/main" id="{A0398A66-2D55-4638-9852-936B5A05F8AB}"/>
                  </a:ext>
                </a:extLst>
              </p:cNvPr>
              <p:cNvSpPr/>
              <p:nvPr/>
            </p:nvSpPr>
            <p:spPr bwMode="gray">
              <a:xfrm>
                <a:off x="5222174" y="4483107"/>
                <a:ext cx="202834" cy="262385"/>
              </a:xfrm>
              <a:custGeom>
                <a:avLst/>
                <a:gdLst>
                  <a:gd name="connsiteX0" fmla="*/ 84060 w 202834"/>
                  <a:gd name="connsiteY0" fmla="*/ 262385 h 262385"/>
                  <a:gd name="connsiteX1" fmla="*/ 84060 w 202834"/>
                  <a:gd name="connsiteY1" fmla="*/ 31256 h 262385"/>
                  <a:gd name="connsiteX2" fmla="*/ 0 w 202834"/>
                  <a:gd name="connsiteY2" fmla="*/ 31256 h 262385"/>
                  <a:gd name="connsiteX3" fmla="*/ 0 w 202834"/>
                  <a:gd name="connsiteY3" fmla="*/ 0 h 262385"/>
                  <a:gd name="connsiteX4" fmla="*/ 202834 w 202834"/>
                  <a:gd name="connsiteY4" fmla="*/ 0 h 262385"/>
                  <a:gd name="connsiteX5" fmla="*/ 202834 w 202834"/>
                  <a:gd name="connsiteY5" fmla="*/ 31256 h 262385"/>
                  <a:gd name="connsiteX6" fmla="*/ 118762 w 202834"/>
                  <a:gd name="connsiteY6" fmla="*/ 31256 h 262385"/>
                  <a:gd name="connsiteX7" fmla="*/ 118762 w 202834"/>
                  <a:gd name="connsiteY7" fmla="*/ 262385 h 262385"/>
                  <a:gd name="connsiteX8" fmla="*/ 84060 w 202834"/>
                  <a:gd name="connsiteY8"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834" h="262385">
                    <a:moveTo>
                      <a:pt x="84060" y="262385"/>
                    </a:moveTo>
                    <a:lnTo>
                      <a:pt x="84060" y="31256"/>
                    </a:lnTo>
                    <a:lnTo>
                      <a:pt x="0" y="31256"/>
                    </a:lnTo>
                    <a:lnTo>
                      <a:pt x="0" y="0"/>
                    </a:lnTo>
                    <a:lnTo>
                      <a:pt x="202834" y="0"/>
                    </a:lnTo>
                    <a:lnTo>
                      <a:pt x="202834" y="31256"/>
                    </a:lnTo>
                    <a:lnTo>
                      <a:pt x="118762" y="31256"/>
                    </a:lnTo>
                    <a:lnTo>
                      <a:pt x="118762" y="262385"/>
                    </a:lnTo>
                    <a:lnTo>
                      <a:pt x="84060" y="262385"/>
                    </a:lnTo>
                    <a:close/>
                  </a:path>
                </a:pathLst>
              </a:custGeom>
              <a:solidFill>
                <a:schemeClr val="bg1"/>
              </a:solidFill>
              <a:ln w="1305" cap="flat">
                <a:noFill/>
                <a:prstDash val="solid"/>
                <a:miter/>
              </a:ln>
            </p:spPr>
            <p:txBody>
              <a:bodyPr rtlCol="0" anchor="ctr"/>
              <a:lstStyle/>
              <a:p>
                <a:endParaRPr lang="de-DE" dirty="0"/>
              </a:p>
            </p:txBody>
          </p:sp>
          <p:sp>
            <p:nvSpPr>
              <p:cNvPr id="85" name="Freeform: Shape 84">
                <a:extLst>
                  <a:ext uri="{FF2B5EF4-FFF2-40B4-BE49-F238E27FC236}">
                    <a16:creationId xmlns:a16="http://schemas.microsoft.com/office/drawing/2014/main" id="{3C09E0A4-3854-4316-BEE7-6E01D04FC618}"/>
                  </a:ext>
                </a:extLst>
              </p:cNvPr>
              <p:cNvSpPr/>
              <p:nvPr/>
            </p:nvSpPr>
            <p:spPr bwMode="gray">
              <a:xfrm>
                <a:off x="5488644" y="4483107"/>
                <a:ext cx="225582" cy="262385"/>
              </a:xfrm>
              <a:custGeom>
                <a:avLst/>
                <a:gdLst>
                  <a:gd name="connsiteX0" fmla="*/ 95636 w 225582"/>
                  <a:gd name="connsiteY0" fmla="*/ 262385 h 262385"/>
                  <a:gd name="connsiteX1" fmla="*/ 95636 w 225582"/>
                  <a:gd name="connsiteY1" fmla="*/ 152420 h 262385"/>
                  <a:gd name="connsiteX2" fmla="*/ 0 w 225582"/>
                  <a:gd name="connsiteY2" fmla="*/ 0 h 262385"/>
                  <a:gd name="connsiteX3" fmla="*/ 40875 w 225582"/>
                  <a:gd name="connsiteY3" fmla="*/ 0 h 262385"/>
                  <a:gd name="connsiteX4" fmla="*/ 114142 w 225582"/>
                  <a:gd name="connsiteY4" fmla="*/ 117496 h 262385"/>
                  <a:gd name="connsiteX5" fmla="*/ 187030 w 225582"/>
                  <a:gd name="connsiteY5" fmla="*/ 0 h 262385"/>
                  <a:gd name="connsiteX6" fmla="*/ 225582 w 225582"/>
                  <a:gd name="connsiteY6" fmla="*/ 0 h 262385"/>
                  <a:gd name="connsiteX7" fmla="*/ 130338 w 225582"/>
                  <a:gd name="connsiteY7" fmla="*/ 151650 h 262385"/>
                  <a:gd name="connsiteX8" fmla="*/ 130338 w 225582"/>
                  <a:gd name="connsiteY8" fmla="*/ 262385 h 262385"/>
                  <a:gd name="connsiteX9" fmla="*/ 95636 w 225582"/>
                  <a:gd name="connsiteY9"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582" h="262385">
                    <a:moveTo>
                      <a:pt x="95636" y="262385"/>
                    </a:moveTo>
                    <a:lnTo>
                      <a:pt x="95636" y="152420"/>
                    </a:lnTo>
                    <a:lnTo>
                      <a:pt x="0" y="0"/>
                    </a:lnTo>
                    <a:lnTo>
                      <a:pt x="40875" y="0"/>
                    </a:lnTo>
                    <a:lnTo>
                      <a:pt x="114142" y="117496"/>
                    </a:lnTo>
                    <a:lnTo>
                      <a:pt x="187030" y="0"/>
                    </a:lnTo>
                    <a:lnTo>
                      <a:pt x="225582" y="0"/>
                    </a:lnTo>
                    <a:lnTo>
                      <a:pt x="130338" y="151650"/>
                    </a:lnTo>
                    <a:lnTo>
                      <a:pt x="130338" y="262385"/>
                    </a:lnTo>
                    <a:lnTo>
                      <a:pt x="95636" y="262385"/>
                    </a:lnTo>
                    <a:close/>
                  </a:path>
                </a:pathLst>
              </a:custGeom>
              <a:solidFill>
                <a:schemeClr val="bg1"/>
              </a:solidFill>
              <a:ln w="1305" cap="flat">
                <a:noFill/>
                <a:prstDash val="solid"/>
                <a:miter/>
              </a:ln>
            </p:spPr>
            <p:txBody>
              <a:bodyPr rtlCol="0" anchor="ctr"/>
              <a:lstStyle/>
              <a:p>
                <a:endParaRPr lang="de-DE" dirty="0"/>
              </a:p>
            </p:txBody>
          </p:sp>
          <p:sp>
            <p:nvSpPr>
              <p:cNvPr id="86" name="Freeform: Shape 85">
                <a:extLst>
                  <a:ext uri="{FF2B5EF4-FFF2-40B4-BE49-F238E27FC236}">
                    <a16:creationId xmlns:a16="http://schemas.microsoft.com/office/drawing/2014/main" id="{F9C6AA30-CD53-4964-AAC1-6202FCFB7B7A}"/>
                  </a:ext>
                </a:extLst>
              </p:cNvPr>
              <p:cNvSpPr/>
              <p:nvPr/>
            </p:nvSpPr>
            <p:spPr bwMode="gray">
              <a:xfrm>
                <a:off x="5917452" y="4478474"/>
                <a:ext cx="229836" cy="271651"/>
              </a:xfrm>
              <a:custGeom>
                <a:avLst/>
                <a:gdLst>
                  <a:gd name="connsiteX0" fmla="*/ 201686 w 229836"/>
                  <a:gd name="connsiteY0" fmla="*/ 238267 h 271651"/>
                  <a:gd name="connsiteX1" fmla="*/ 114912 w 229836"/>
                  <a:gd name="connsiteY1" fmla="*/ 271651 h 271651"/>
                  <a:gd name="connsiteX2" fmla="*/ 28150 w 229836"/>
                  <a:gd name="connsiteY2" fmla="*/ 238267 h 271651"/>
                  <a:gd name="connsiteX3" fmla="*/ 0 w 229836"/>
                  <a:gd name="connsiteY3" fmla="*/ 135819 h 271651"/>
                  <a:gd name="connsiteX4" fmla="*/ 28150 w 229836"/>
                  <a:gd name="connsiteY4" fmla="*/ 33371 h 271651"/>
                  <a:gd name="connsiteX5" fmla="*/ 114912 w 229836"/>
                  <a:gd name="connsiteY5" fmla="*/ 0 h 271651"/>
                  <a:gd name="connsiteX6" fmla="*/ 201686 w 229836"/>
                  <a:gd name="connsiteY6" fmla="*/ 33371 h 271651"/>
                  <a:gd name="connsiteX7" fmla="*/ 229836 w 229836"/>
                  <a:gd name="connsiteY7" fmla="*/ 135819 h 271651"/>
                  <a:gd name="connsiteX8" fmla="*/ 201686 w 229836"/>
                  <a:gd name="connsiteY8" fmla="*/ 238267 h 271651"/>
                  <a:gd name="connsiteX9" fmla="*/ 54578 w 229836"/>
                  <a:gd name="connsiteY9" fmla="*/ 215507 h 271651"/>
                  <a:gd name="connsiteX10" fmla="*/ 114925 w 229836"/>
                  <a:gd name="connsiteY10" fmla="*/ 240786 h 271651"/>
                  <a:gd name="connsiteX11" fmla="*/ 175285 w 229836"/>
                  <a:gd name="connsiteY11" fmla="*/ 215507 h 271651"/>
                  <a:gd name="connsiteX12" fmla="*/ 194365 w 229836"/>
                  <a:gd name="connsiteY12" fmla="*/ 135819 h 271651"/>
                  <a:gd name="connsiteX13" fmla="*/ 175285 w 229836"/>
                  <a:gd name="connsiteY13" fmla="*/ 56131 h 271651"/>
                  <a:gd name="connsiteX14" fmla="*/ 114925 w 229836"/>
                  <a:gd name="connsiteY14" fmla="*/ 30865 h 271651"/>
                  <a:gd name="connsiteX15" fmla="*/ 54578 w 229836"/>
                  <a:gd name="connsiteY15" fmla="*/ 56131 h 271651"/>
                  <a:gd name="connsiteX16" fmla="*/ 35498 w 229836"/>
                  <a:gd name="connsiteY16" fmla="*/ 135819 h 271651"/>
                  <a:gd name="connsiteX17" fmla="*/ 54578 w 229836"/>
                  <a:gd name="connsiteY17" fmla="*/ 215507 h 27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836" h="271651">
                    <a:moveTo>
                      <a:pt x="201686" y="238267"/>
                    </a:moveTo>
                    <a:cubicBezTo>
                      <a:pt x="182919" y="260519"/>
                      <a:pt x="153999" y="271651"/>
                      <a:pt x="114912" y="271651"/>
                    </a:cubicBezTo>
                    <a:cubicBezTo>
                      <a:pt x="75838" y="271651"/>
                      <a:pt x="46918" y="260519"/>
                      <a:pt x="28150" y="238267"/>
                    </a:cubicBezTo>
                    <a:cubicBezTo>
                      <a:pt x="9383" y="216029"/>
                      <a:pt x="0" y="181875"/>
                      <a:pt x="0" y="135819"/>
                    </a:cubicBezTo>
                    <a:cubicBezTo>
                      <a:pt x="0" y="89776"/>
                      <a:pt x="9383" y="55622"/>
                      <a:pt x="28150" y="33371"/>
                    </a:cubicBezTo>
                    <a:cubicBezTo>
                      <a:pt x="46904" y="11119"/>
                      <a:pt x="75838" y="0"/>
                      <a:pt x="114912" y="0"/>
                    </a:cubicBezTo>
                    <a:cubicBezTo>
                      <a:pt x="153999" y="0"/>
                      <a:pt x="182906" y="11119"/>
                      <a:pt x="201686" y="33371"/>
                    </a:cubicBezTo>
                    <a:cubicBezTo>
                      <a:pt x="220453" y="55622"/>
                      <a:pt x="229836" y="89776"/>
                      <a:pt x="229836" y="135819"/>
                    </a:cubicBezTo>
                    <a:cubicBezTo>
                      <a:pt x="229850" y="181875"/>
                      <a:pt x="220466" y="216029"/>
                      <a:pt x="201686" y="238267"/>
                    </a:cubicBezTo>
                    <a:close/>
                    <a:moveTo>
                      <a:pt x="54578" y="215507"/>
                    </a:moveTo>
                    <a:cubicBezTo>
                      <a:pt x="67302" y="232355"/>
                      <a:pt x="87414" y="240786"/>
                      <a:pt x="114925" y="240786"/>
                    </a:cubicBezTo>
                    <a:cubicBezTo>
                      <a:pt x="142436" y="240786"/>
                      <a:pt x="162560" y="232368"/>
                      <a:pt x="175285" y="215507"/>
                    </a:cubicBezTo>
                    <a:cubicBezTo>
                      <a:pt x="188009" y="198659"/>
                      <a:pt x="194365" y="172100"/>
                      <a:pt x="194365" y="135819"/>
                    </a:cubicBezTo>
                    <a:cubicBezTo>
                      <a:pt x="194365" y="99551"/>
                      <a:pt x="188009" y="72993"/>
                      <a:pt x="175285" y="56131"/>
                    </a:cubicBezTo>
                    <a:cubicBezTo>
                      <a:pt x="162560" y="39283"/>
                      <a:pt x="142436" y="30865"/>
                      <a:pt x="114925" y="30865"/>
                    </a:cubicBezTo>
                    <a:cubicBezTo>
                      <a:pt x="87414" y="30865"/>
                      <a:pt x="67302" y="39283"/>
                      <a:pt x="54578" y="56131"/>
                    </a:cubicBezTo>
                    <a:cubicBezTo>
                      <a:pt x="41853" y="72980"/>
                      <a:pt x="35498" y="99551"/>
                      <a:pt x="35498" y="135819"/>
                    </a:cubicBezTo>
                    <a:cubicBezTo>
                      <a:pt x="35498" y="172100"/>
                      <a:pt x="41853" y="198659"/>
                      <a:pt x="54578" y="215507"/>
                    </a:cubicBezTo>
                    <a:close/>
                  </a:path>
                </a:pathLst>
              </a:custGeom>
              <a:solidFill>
                <a:schemeClr val="bg1"/>
              </a:solidFill>
              <a:ln w="1305" cap="flat">
                <a:noFill/>
                <a:prstDash val="solid"/>
                <a:miter/>
              </a:ln>
            </p:spPr>
            <p:txBody>
              <a:bodyPr rtlCol="0" anchor="ctr"/>
              <a:lstStyle/>
              <a:p>
                <a:endParaRPr lang="de-DE" dirty="0"/>
              </a:p>
            </p:txBody>
          </p:sp>
          <p:sp>
            <p:nvSpPr>
              <p:cNvPr id="87" name="Freeform: Shape 86">
                <a:extLst>
                  <a:ext uri="{FF2B5EF4-FFF2-40B4-BE49-F238E27FC236}">
                    <a16:creationId xmlns:a16="http://schemas.microsoft.com/office/drawing/2014/main" id="{50C0D342-767B-44D0-A77D-00012093E0B5}"/>
                  </a:ext>
                </a:extLst>
              </p:cNvPr>
              <p:cNvSpPr/>
              <p:nvPr/>
            </p:nvSpPr>
            <p:spPr bwMode="gray">
              <a:xfrm>
                <a:off x="6244399" y="4483107"/>
                <a:ext cx="174305" cy="262385"/>
              </a:xfrm>
              <a:custGeom>
                <a:avLst/>
                <a:gdLst>
                  <a:gd name="connsiteX0" fmla="*/ 0 w 174305"/>
                  <a:gd name="connsiteY0" fmla="*/ 262385 h 262385"/>
                  <a:gd name="connsiteX1" fmla="*/ 0 w 174305"/>
                  <a:gd name="connsiteY1" fmla="*/ 0 h 262385"/>
                  <a:gd name="connsiteX2" fmla="*/ 174306 w 174305"/>
                  <a:gd name="connsiteY2" fmla="*/ 0 h 262385"/>
                  <a:gd name="connsiteX3" fmla="*/ 174306 w 174305"/>
                  <a:gd name="connsiteY3" fmla="*/ 30865 h 262385"/>
                  <a:gd name="connsiteX4" fmla="*/ 34702 w 174305"/>
                  <a:gd name="connsiteY4" fmla="*/ 30865 h 262385"/>
                  <a:gd name="connsiteX5" fmla="*/ 34702 w 174305"/>
                  <a:gd name="connsiteY5" fmla="*/ 114599 h 262385"/>
                  <a:gd name="connsiteX6" fmla="*/ 159636 w 174305"/>
                  <a:gd name="connsiteY6" fmla="*/ 114599 h 262385"/>
                  <a:gd name="connsiteX7" fmla="*/ 159636 w 174305"/>
                  <a:gd name="connsiteY7" fmla="*/ 145463 h 262385"/>
                  <a:gd name="connsiteX8" fmla="*/ 34702 w 174305"/>
                  <a:gd name="connsiteY8" fmla="*/ 145463 h 262385"/>
                  <a:gd name="connsiteX9" fmla="*/ 34702 w 174305"/>
                  <a:gd name="connsiteY9" fmla="*/ 262372 h 262385"/>
                  <a:gd name="connsiteX10" fmla="*/ 0 w 174305"/>
                  <a:gd name="connsiteY10" fmla="*/ 262372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5" h="262385">
                    <a:moveTo>
                      <a:pt x="0" y="262385"/>
                    </a:moveTo>
                    <a:lnTo>
                      <a:pt x="0" y="0"/>
                    </a:lnTo>
                    <a:lnTo>
                      <a:pt x="174306" y="0"/>
                    </a:lnTo>
                    <a:lnTo>
                      <a:pt x="174306" y="30865"/>
                    </a:lnTo>
                    <a:lnTo>
                      <a:pt x="34702" y="30865"/>
                    </a:lnTo>
                    <a:lnTo>
                      <a:pt x="34702" y="114599"/>
                    </a:lnTo>
                    <a:lnTo>
                      <a:pt x="159636" y="114599"/>
                    </a:lnTo>
                    <a:lnTo>
                      <a:pt x="159636" y="145463"/>
                    </a:lnTo>
                    <a:lnTo>
                      <a:pt x="34702" y="145463"/>
                    </a:lnTo>
                    <a:lnTo>
                      <a:pt x="34702" y="262372"/>
                    </a:lnTo>
                    <a:lnTo>
                      <a:pt x="0" y="262372"/>
                    </a:lnTo>
                    <a:close/>
                  </a:path>
                </a:pathLst>
              </a:custGeom>
              <a:solidFill>
                <a:schemeClr val="bg1"/>
              </a:solidFill>
              <a:ln w="1305" cap="flat">
                <a:noFill/>
                <a:prstDash val="solid"/>
                <a:miter/>
              </a:ln>
            </p:spPr>
            <p:txBody>
              <a:bodyPr rtlCol="0" anchor="ctr"/>
              <a:lstStyle/>
              <a:p>
                <a:endParaRPr lang="de-DE" dirty="0"/>
              </a:p>
            </p:txBody>
          </p:sp>
          <p:sp>
            <p:nvSpPr>
              <p:cNvPr id="88" name="Freeform: Shape 87">
                <a:extLst>
                  <a:ext uri="{FF2B5EF4-FFF2-40B4-BE49-F238E27FC236}">
                    <a16:creationId xmlns:a16="http://schemas.microsoft.com/office/drawing/2014/main" id="{AF1CF741-F46A-4A7F-BA40-7EB1C04D20A1}"/>
                  </a:ext>
                </a:extLst>
              </p:cNvPr>
              <p:cNvSpPr/>
              <p:nvPr/>
            </p:nvSpPr>
            <p:spPr bwMode="gray">
              <a:xfrm>
                <a:off x="6618446" y="4483107"/>
                <a:ext cx="243344" cy="262385"/>
              </a:xfrm>
              <a:custGeom>
                <a:avLst/>
                <a:gdLst>
                  <a:gd name="connsiteX0" fmla="*/ 0 w 243344"/>
                  <a:gd name="connsiteY0" fmla="*/ 262385 h 262385"/>
                  <a:gd name="connsiteX1" fmla="*/ 103741 w 243344"/>
                  <a:gd name="connsiteY1" fmla="*/ 0 h 262385"/>
                  <a:gd name="connsiteX2" fmla="*/ 139604 w 243344"/>
                  <a:gd name="connsiteY2" fmla="*/ 0 h 262385"/>
                  <a:gd name="connsiteX3" fmla="*/ 243344 w 243344"/>
                  <a:gd name="connsiteY3" fmla="*/ 262385 h 262385"/>
                  <a:gd name="connsiteX4" fmla="*/ 206320 w 243344"/>
                  <a:gd name="connsiteY4" fmla="*/ 262385 h 262385"/>
                  <a:gd name="connsiteX5" fmla="*/ 181562 w 243344"/>
                  <a:gd name="connsiteY5" fmla="*/ 197954 h 262385"/>
                  <a:gd name="connsiteX6" fmla="*/ 59864 w 243344"/>
                  <a:gd name="connsiteY6" fmla="*/ 197954 h 262385"/>
                  <a:gd name="connsiteX7" fmla="*/ 35107 w 243344"/>
                  <a:gd name="connsiteY7" fmla="*/ 262385 h 262385"/>
                  <a:gd name="connsiteX8" fmla="*/ 0 w 243344"/>
                  <a:gd name="connsiteY8" fmla="*/ 262385 h 262385"/>
                  <a:gd name="connsiteX9" fmla="*/ 72014 w 243344"/>
                  <a:gd name="connsiteY9" fmla="*/ 166305 h 262385"/>
                  <a:gd name="connsiteX10" fmla="*/ 169412 w 243344"/>
                  <a:gd name="connsiteY10" fmla="*/ 166305 h 262385"/>
                  <a:gd name="connsiteX11" fmla="*/ 120707 w 243344"/>
                  <a:gd name="connsiteY11" fmla="*/ 39557 h 262385"/>
                  <a:gd name="connsiteX12" fmla="*/ 72014 w 243344"/>
                  <a:gd name="connsiteY12" fmla="*/ 16630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344" h="262385">
                    <a:moveTo>
                      <a:pt x="0" y="262385"/>
                    </a:moveTo>
                    <a:lnTo>
                      <a:pt x="103741" y="0"/>
                    </a:lnTo>
                    <a:lnTo>
                      <a:pt x="139604" y="0"/>
                    </a:lnTo>
                    <a:lnTo>
                      <a:pt x="243344" y="262385"/>
                    </a:lnTo>
                    <a:lnTo>
                      <a:pt x="206320" y="262385"/>
                    </a:lnTo>
                    <a:lnTo>
                      <a:pt x="181562" y="197954"/>
                    </a:lnTo>
                    <a:lnTo>
                      <a:pt x="59864" y="197954"/>
                    </a:lnTo>
                    <a:lnTo>
                      <a:pt x="35107" y="262385"/>
                    </a:lnTo>
                    <a:lnTo>
                      <a:pt x="0" y="262385"/>
                    </a:lnTo>
                    <a:close/>
                    <a:moveTo>
                      <a:pt x="72014" y="166305"/>
                    </a:moveTo>
                    <a:lnTo>
                      <a:pt x="169412" y="166305"/>
                    </a:lnTo>
                    <a:lnTo>
                      <a:pt x="120707" y="39557"/>
                    </a:lnTo>
                    <a:lnTo>
                      <a:pt x="72014" y="166305"/>
                    </a:lnTo>
                    <a:close/>
                  </a:path>
                </a:pathLst>
              </a:custGeom>
              <a:solidFill>
                <a:schemeClr val="bg1"/>
              </a:solidFill>
              <a:ln w="1305" cap="flat">
                <a:noFill/>
                <a:prstDash val="solid"/>
                <a:miter/>
              </a:ln>
            </p:spPr>
            <p:txBody>
              <a:bodyPr rtlCol="0" anchor="ctr"/>
              <a:lstStyle/>
              <a:p>
                <a:endParaRPr lang="de-DE" dirty="0"/>
              </a:p>
            </p:txBody>
          </p:sp>
          <p:sp>
            <p:nvSpPr>
              <p:cNvPr id="89" name="Freeform: Shape 88">
                <a:extLst>
                  <a:ext uri="{FF2B5EF4-FFF2-40B4-BE49-F238E27FC236}">
                    <a16:creationId xmlns:a16="http://schemas.microsoft.com/office/drawing/2014/main" id="{647DBFB4-9767-46CF-84AE-A3BF4E72EE9A}"/>
                  </a:ext>
                </a:extLst>
              </p:cNvPr>
              <p:cNvSpPr/>
              <p:nvPr/>
            </p:nvSpPr>
            <p:spPr bwMode="gray">
              <a:xfrm>
                <a:off x="6944819" y="4483107"/>
                <a:ext cx="195526" cy="262385"/>
              </a:xfrm>
              <a:custGeom>
                <a:avLst/>
                <a:gdLst>
                  <a:gd name="connsiteX0" fmla="*/ 0 w 195526"/>
                  <a:gd name="connsiteY0" fmla="*/ 262385 h 262385"/>
                  <a:gd name="connsiteX1" fmla="*/ 0 w 195526"/>
                  <a:gd name="connsiteY1" fmla="*/ 0 h 262385"/>
                  <a:gd name="connsiteX2" fmla="*/ 106051 w 195526"/>
                  <a:gd name="connsiteY2" fmla="*/ 0 h 262385"/>
                  <a:gd name="connsiteX3" fmla="*/ 174697 w 195526"/>
                  <a:gd name="connsiteY3" fmla="*/ 18715 h 262385"/>
                  <a:gd name="connsiteX4" fmla="*/ 195527 w 195526"/>
                  <a:gd name="connsiteY4" fmla="*/ 79870 h 262385"/>
                  <a:gd name="connsiteX5" fmla="*/ 174697 w 195526"/>
                  <a:gd name="connsiteY5" fmla="*/ 140831 h 262385"/>
                  <a:gd name="connsiteX6" fmla="*/ 106051 w 195526"/>
                  <a:gd name="connsiteY6" fmla="*/ 159350 h 262385"/>
                  <a:gd name="connsiteX7" fmla="*/ 34715 w 195526"/>
                  <a:gd name="connsiteY7" fmla="*/ 159350 h 262385"/>
                  <a:gd name="connsiteX8" fmla="*/ 34715 w 195526"/>
                  <a:gd name="connsiteY8" fmla="*/ 262372 h 262385"/>
                  <a:gd name="connsiteX9" fmla="*/ 0 w 195526"/>
                  <a:gd name="connsiteY9" fmla="*/ 262372 h 262385"/>
                  <a:gd name="connsiteX10" fmla="*/ 34702 w 195526"/>
                  <a:gd name="connsiteY10" fmla="*/ 128498 h 262385"/>
                  <a:gd name="connsiteX11" fmla="*/ 103715 w 195526"/>
                  <a:gd name="connsiteY11" fmla="*/ 128498 h 262385"/>
                  <a:gd name="connsiteX12" fmla="*/ 147487 w 195526"/>
                  <a:gd name="connsiteY12" fmla="*/ 117496 h 262385"/>
                  <a:gd name="connsiteX13" fmla="*/ 160407 w 195526"/>
                  <a:gd name="connsiteY13" fmla="*/ 79870 h 262385"/>
                  <a:gd name="connsiteX14" fmla="*/ 147487 w 195526"/>
                  <a:gd name="connsiteY14" fmla="*/ 42063 h 262385"/>
                  <a:gd name="connsiteX15" fmla="*/ 103715 w 195526"/>
                  <a:gd name="connsiteY15" fmla="*/ 30865 h 262385"/>
                  <a:gd name="connsiteX16" fmla="*/ 34702 w 195526"/>
                  <a:gd name="connsiteY16" fmla="*/ 30865 h 262385"/>
                  <a:gd name="connsiteX17" fmla="*/ 34702 w 195526"/>
                  <a:gd name="connsiteY17" fmla="*/ 128498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5526" h="262385">
                    <a:moveTo>
                      <a:pt x="0" y="262385"/>
                    </a:moveTo>
                    <a:lnTo>
                      <a:pt x="0" y="0"/>
                    </a:lnTo>
                    <a:lnTo>
                      <a:pt x="106051" y="0"/>
                    </a:lnTo>
                    <a:cubicBezTo>
                      <a:pt x="137920" y="0"/>
                      <a:pt x="160811" y="6238"/>
                      <a:pt x="174697" y="18715"/>
                    </a:cubicBezTo>
                    <a:cubicBezTo>
                      <a:pt x="188583" y="31191"/>
                      <a:pt x="195527" y="51577"/>
                      <a:pt x="195527" y="79870"/>
                    </a:cubicBezTo>
                    <a:cubicBezTo>
                      <a:pt x="195527" y="108178"/>
                      <a:pt x="188583" y="128484"/>
                      <a:pt x="174697" y="140831"/>
                    </a:cubicBezTo>
                    <a:cubicBezTo>
                      <a:pt x="160811" y="153190"/>
                      <a:pt x="137920" y="159350"/>
                      <a:pt x="106051" y="159350"/>
                    </a:cubicBezTo>
                    <a:lnTo>
                      <a:pt x="34715" y="159350"/>
                    </a:lnTo>
                    <a:lnTo>
                      <a:pt x="34715" y="262372"/>
                    </a:lnTo>
                    <a:lnTo>
                      <a:pt x="0" y="262372"/>
                    </a:lnTo>
                    <a:close/>
                    <a:moveTo>
                      <a:pt x="34702" y="128498"/>
                    </a:moveTo>
                    <a:lnTo>
                      <a:pt x="103715" y="128498"/>
                    </a:lnTo>
                    <a:cubicBezTo>
                      <a:pt x="124282" y="128498"/>
                      <a:pt x="138873" y="124831"/>
                      <a:pt x="147487" y="117496"/>
                    </a:cubicBezTo>
                    <a:cubicBezTo>
                      <a:pt x="156100" y="110161"/>
                      <a:pt x="160407" y="97633"/>
                      <a:pt x="160407" y="79870"/>
                    </a:cubicBezTo>
                    <a:cubicBezTo>
                      <a:pt x="160407" y="62109"/>
                      <a:pt x="156100" y="49527"/>
                      <a:pt x="147487" y="42063"/>
                    </a:cubicBezTo>
                    <a:cubicBezTo>
                      <a:pt x="138860" y="34611"/>
                      <a:pt x="124282" y="30865"/>
                      <a:pt x="103715" y="30865"/>
                    </a:cubicBezTo>
                    <a:lnTo>
                      <a:pt x="34702" y="30865"/>
                    </a:lnTo>
                    <a:lnTo>
                      <a:pt x="34702" y="128498"/>
                    </a:lnTo>
                    <a:close/>
                  </a:path>
                </a:pathLst>
              </a:custGeom>
              <a:solidFill>
                <a:schemeClr val="bg1"/>
              </a:solidFill>
              <a:ln w="1305" cap="flat">
                <a:noFill/>
                <a:prstDash val="solid"/>
                <a:miter/>
              </a:ln>
            </p:spPr>
            <p:txBody>
              <a:bodyPr rtlCol="0" anchor="ctr"/>
              <a:lstStyle/>
              <a:p>
                <a:endParaRPr lang="de-DE" dirty="0"/>
              </a:p>
            </p:txBody>
          </p:sp>
          <p:sp>
            <p:nvSpPr>
              <p:cNvPr id="90" name="Freeform: Shape 89">
                <a:extLst>
                  <a:ext uri="{FF2B5EF4-FFF2-40B4-BE49-F238E27FC236}">
                    <a16:creationId xmlns:a16="http://schemas.microsoft.com/office/drawing/2014/main" id="{6C071BD5-D105-42F0-A351-8EE98EE77473}"/>
                  </a:ext>
                </a:extLst>
              </p:cNvPr>
              <p:cNvSpPr/>
              <p:nvPr/>
            </p:nvSpPr>
            <p:spPr bwMode="gray">
              <a:xfrm>
                <a:off x="7227394" y="4483107"/>
                <a:ext cx="195526" cy="262385"/>
              </a:xfrm>
              <a:custGeom>
                <a:avLst/>
                <a:gdLst>
                  <a:gd name="connsiteX0" fmla="*/ 0 w 195526"/>
                  <a:gd name="connsiteY0" fmla="*/ 262385 h 262385"/>
                  <a:gd name="connsiteX1" fmla="*/ 0 w 195526"/>
                  <a:gd name="connsiteY1" fmla="*/ 0 h 262385"/>
                  <a:gd name="connsiteX2" fmla="*/ 106051 w 195526"/>
                  <a:gd name="connsiteY2" fmla="*/ 0 h 262385"/>
                  <a:gd name="connsiteX3" fmla="*/ 174697 w 195526"/>
                  <a:gd name="connsiteY3" fmla="*/ 18715 h 262385"/>
                  <a:gd name="connsiteX4" fmla="*/ 195527 w 195526"/>
                  <a:gd name="connsiteY4" fmla="*/ 79870 h 262385"/>
                  <a:gd name="connsiteX5" fmla="*/ 174697 w 195526"/>
                  <a:gd name="connsiteY5" fmla="*/ 140831 h 262385"/>
                  <a:gd name="connsiteX6" fmla="*/ 106051 w 195526"/>
                  <a:gd name="connsiteY6" fmla="*/ 159350 h 262385"/>
                  <a:gd name="connsiteX7" fmla="*/ 34715 w 195526"/>
                  <a:gd name="connsiteY7" fmla="*/ 159350 h 262385"/>
                  <a:gd name="connsiteX8" fmla="*/ 34715 w 195526"/>
                  <a:gd name="connsiteY8" fmla="*/ 262372 h 262385"/>
                  <a:gd name="connsiteX9" fmla="*/ 0 w 195526"/>
                  <a:gd name="connsiteY9" fmla="*/ 262372 h 262385"/>
                  <a:gd name="connsiteX10" fmla="*/ 34715 w 195526"/>
                  <a:gd name="connsiteY10" fmla="*/ 128498 h 262385"/>
                  <a:gd name="connsiteX11" fmla="*/ 103727 w 195526"/>
                  <a:gd name="connsiteY11" fmla="*/ 128498 h 262385"/>
                  <a:gd name="connsiteX12" fmla="*/ 147499 w 195526"/>
                  <a:gd name="connsiteY12" fmla="*/ 117496 h 262385"/>
                  <a:gd name="connsiteX13" fmla="*/ 160420 w 195526"/>
                  <a:gd name="connsiteY13" fmla="*/ 79870 h 262385"/>
                  <a:gd name="connsiteX14" fmla="*/ 147499 w 195526"/>
                  <a:gd name="connsiteY14" fmla="*/ 42063 h 262385"/>
                  <a:gd name="connsiteX15" fmla="*/ 103727 w 195526"/>
                  <a:gd name="connsiteY15" fmla="*/ 30865 h 262385"/>
                  <a:gd name="connsiteX16" fmla="*/ 34715 w 195526"/>
                  <a:gd name="connsiteY16" fmla="*/ 30865 h 262385"/>
                  <a:gd name="connsiteX17" fmla="*/ 34715 w 195526"/>
                  <a:gd name="connsiteY17" fmla="*/ 128498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5526" h="262385">
                    <a:moveTo>
                      <a:pt x="0" y="262385"/>
                    </a:moveTo>
                    <a:lnTo>
                      <a:pt x="0" y="0"/>
                    </a:lnTo>
                    <a:lnTo>
                      <a:pt x="106051" y="0"/>
                    </a:lnTo>
                    <a:cubicBezTo>
                      <a:pt x="137920" y="0"/>
                      <a:pt x="160811" y="6238"/>
                      <a:pt x="174697" y="18715"/>
                    </a:cubicBezTo>
                    <a:cubicBezTo>
                      <a:pt x="188583" y="31191"/>
                      <a:pt x="195527" y="51577"/>
                      <a:pt x="195527" y="79870"/>
                    </a:cubicBezTo>
                    <a:cubicBezTo>
                      <a:pt x="195527" y="108178"/>
                      <a:pt x="188583" y="128484"/>
                      <a:pt x="174697" y="140831"/>
                    </a:cubicBezTo>
                    <a:cubicBezTo>
                      <a:pt x="160811" y="153190"/>
                      <a:pt x="137920" y="159350"/>
                      <a:pt x="106051" y="159350"/>
                    </a:cubicBezTo>
                    <a:lnTo>
                      <a:pt x="34715" y="159350"/>
                    </a:lnTo>
                    <a:lnTo>
                      <a:pt x="34715" y="262372"/>
                    </a:lnTo>
                    <a:lnTo>
                      <a:pt x="0" y="262372"/>
                    </a:lnTo>
                    <a:close/>
                    <a:moveTo>
                      <a:pt x="34715" y="128498"/>
                    </a:moveTo>
                    <a:lnTo>
                      <a:pt x="103727" y="128498"/>
                    </a:lnTo>
                    <a:cubicBezTo>
                      <a:pt x="124296" y="128498"/>
                      <a:pt x="138886" y="124831"/>
                      <a:pt x="147499" y="117496"/>
                    </a:cubicBezTo>
                    <a:cubicBezTo>
                      <a:pt x="156113" y="110161"/>
                      <a:pt x="160420" y="97633"/>
                      <a:pt x="160420" y="79870"/>
                    </a:cubicBezTo>
                    <a:cubicBezTo>
                      <a:pt x="160420" y="62109"/>
                      <a:pt x="156113" y="49527"/>
                      <a:pt x="147499" y="42063"/>
                    </a:cubicBezTo>
                    <a:cubicBezTo>
                      <a:pt x="138873" y="34611"/>
                      <a:pt x="124296" y="30865"/>
                      <a:pt x="103727" y="30865"/>
                    </a:cubicBezTo>
                    <a:lnTo>
                      <a:pt x="34715" y="30865"/>
                    </a:lnTo>
                    <a:lnTo>
                      <a:pt x="34715" y="128498"/>
                    </a:lnTo>
                    <a:close/>
                  </a:path>
                </a:pathLst>
              </a:custGeom>
              <a:solidFill>
                <a:schemeClr val="bg1"/>
              </a:solidFill>
              <a:ln w="1305" cap="flat">
                <a:noFill/>
                <a:prstDash val="solid"/>
                <a:miter/>
              </a:ln>
            </p:spPr>
            <p:txBody>
              <a:bodyPr rtlCol="0" anchor="ctr"/>
              <a:lstStyle/>
              <a:p>
                <a:endParaRPr lang="de-DE" dirty="0"/>
              </a:p>
            </p:txBody>
          </p:sp>
          <p:sp>
            <p:nvSpPr>
              <p:cNvPr id="91" name="Freeform: Shape 90">
                <a:extLst>
                  <a:ext uri="{FF2B5EF4-FFF2-40B4-BE49-F238E27FC236}">
                    <a16:creationId xmlns:a16="http://schemas.microsoft.com/office/drawing/2014/main" id="{F816E1DD-703B-4BC8-A6FC-21F1DAC33CEB}"/>
                  </a:ext>
                </a:extLst>
              </p:cNvPr>
              <p:cNvSpPr/>
              <p:nvPr/>
            </p:nvSpPr>
            <p:spPr bwMode="gray">
              <a:xfrm>
                <a:off x="7509982" y="4483107"/>
                <a:ext cx="166187" cy="262385"/>
              </a:xfrm>
              <a:custGeom>
                <a:avLst/>
                <a:gdLst>
                  <a:gd name="connsiteX0" fmla="*/ 0 w 166187"/>
                  <a:gd name="connsiteY0" fmla="*/ 262385 h 262385"/>
                  <a:gd name="connsiteX1" fmla="*/ 0 w 166187"/>
                  <a:gd name="connsiteY1" fmla="*/ 0 h 262385"/>
                  <a:gd name="connsiteX2" fmla="*/ 34702 w 166187"/>
                  <a:gd name="connsiteY2" fmla="*/ 0 h 262385"/>
                  <a:gd name="connsiteX3" fmla="*/ 34702 w 166187"/>
                  <a:gd name="connsiteY3" fmla="*/ 231129 h 262385"/>
                  <a:gd name="connsiteX4" fmla="*/ 166188 w 166187"/>
                  <a:gd name="connsiteY4" fmla="*/ 231129 h 262385"/>
                  <a:gd name="connsiteX5" fmla="*/ 166188 w 166187"/>
                  <a:gd name="connsiteY5" fmla="*/ 262385 h 262385"/>
                  <a:gd name="connsiteX6" fmla="*/ 0 w 166187"/>
                  <a:gd name="connsiteY6"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187" h="262385">
                    <a:moveTo>
                      <a:pt x="0" y="262385"/>
                    </a:moveTo>
                    <a:lnTo>
                      <a:pt x="0" y="0"/>
                    </a:lnTo>
                    <a:lnTo>
                      <a:pt x="34702" y="0"/>
                    </a:lnTo>
                    <a:lnTo>
                      <a:pt x="34702" y="231129"/>
                    </a:lnTo>
                    <a:lnTo>
                      <a:pt x="166188" y="231129"/>
                    </a:lnTo>
                    <a:lnTo>
                      <a:pt x="166188" y="262385"/>
                    </a:lnTo>
                    <a:lnTo>
                      <a:pt x="0" y="262385"/>
                    </a:lnTo>
                    <a:close/>
                  </a:path>
                </a:pathLst>
              </a:custGeom>
              <a:solidFill>
                <a:schemeClr val="bg1"/>
              </a:solidFill>
              <a:ln w="1305" cap="flat">
                <a:noFill/>
                <a:prstDash val="solid"/>
                <a:miter/>
              </a:ln>
            </p:spPr>
            <p:txBody>
              <a:bodyPr rtlCol="0" anchor="ctr"/>
              <a:lstStyle/>
              <a:p>
                <a:endParaRPr lang="de-DE" dirty="0"/>
              </a:p>
            </p:txBody>
          </p:sp>
          <p:sp>
            <p:nvSpPr>
              <p:cNvPr id="92" name="Freeform: Shape 91">
                <a:extLst>
                  <a:ext uri="{FF2B5EF4-FFF2-40B4-BE49-F238E27FC236}">
                    <a16:creationId xmlns:a16="http://schemas.microsoft.com/office/drawing/2014/main" id="{23D87BE7-D5AC-4751-B2A9-745C76BAC8E3}"/>
                  </a:ext>
                </a:extLst>
              </p:cNvPr>
              <p:cNvSpPr/>
              <p:nvPr/>
            </p:nvSpPr>
            <p:spPr bwMode="gray">
              <a:xfrm>
                <a:off x="7760334" y="4483107"/>
                <a:ext cx="34702" cy="262385"/>
              </a:xfrm>
              <a:custGeom>
                <a:avLst/>
                <a:gdLst>
                  <a:gd name="connsiteX0" fmla="*/ 0 w 34702"/>
                  <a:gd name="connsiteY0" fmla="*/ 262385 h 262385"/>
                  <a:gd name="connsiteX1" fmla="*/ 0 w 34702"/>
                  <a:gd name="connsiteY1" fmla="*/ 0 h 262385"/>
                  <a:gd name="connsiteX2" fmla="*/ 34702 w 34702"/>
                  <a:gd name="connsiteY2" fmla="*/ 0 h 262385"/>
                  <a:gd name="connsiteX3" fmla="*/ 34702 w 34702"/>
                  <a:gd name="connsiteY3" fmla="*/ 262385 h 262385"/>
                  <a:gd name="connsiteX4" fmla="*/ 0 w 34702"/>
                  <a:gd name="connsiteY4" fmla="*/ 262385 h 262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2" h="262385">
                    <a:moveTo>
                      <a:pt x="0" y="262385"/>
                    </a:moveTo>
                    <a:lnTo>
                      <a:pt x="0" y="0"/>
                    </a:lnTo>
                    <a:lnTo>
                      <a:pt x="34702" y="0"/>
                    </a:lnTo>
                    <a:lnTo>
                      <a:pt x="34702" y="262385"/>
                    </a:lnTo>
                    <a:lnTo>
                      <a:pt x="0" y="262385"/>
                    </a:lnTo>
                    <a:close/>
                  </a:path>
                </a:pathLst>
              </a:custGeom>
              <a:solidFill>
                <a:schemeClr val="bg1"/>
              </a:solidFill>
              <a:ln w="1305" cap="flat">
                <a:noFill/>
                <a:prstDash val="solid"/>
                <a:miter/>
              </a:ln>
            </p:spPr>
            <p:txBody>
              <a:bodyPr rtlCol="0" anchor="ctr"/>
              <a:lstStyle/>
              <a:p>
                <a:endParaRPr lang="de-DE" dirty="0"/>
              </a:p>
            </p:txBody>
          </p:sp>
          <p:sp>
            <p:nvSpPr>
              <p:cNvPr id="93" name="Freeform: Shape 92">
                <a:extLst>
                  <a:ext uri="{FF2B5EF4-FFF2-40B4-BE49-F238E27FC236}">
                    <a16:creationId xmlns:a16="http://schemas.microsoft.com/office/drawing/2014/main" id="{9241735D-EB98-4930-ACA4-E8AE8003316A}"/>
                  </a:ext>
                </a:extLst>
              </p:cNvPr>
              <p:cNvSpPr/>
              <p:nvPr/>
            </p:nvSpPr>
            <p:spPr bwMode="gray">
              <a:xfrm>
                <a:off x="7903853" y="4483107"/>
                <a:ext cx="189718" cy="262385"/>
              </a:xfrm>
              <a:custGeom>
                <a:avLst/>
                <a:gdLst>
                  <a:gd name="connsiteX0" fmla="*/ 0 w 189718"/>
                  <a:gd name="connsiteY0" fmla="*/ 262385 h 262385"/>
                  <a:gd name="connsiteX1" fmla="*/ 0 w 189718"/>
                  <a:gd name="connsiteY1" fmla="*/ 0 h 262385"/>
                  <a:gd name="connsiteX2" fmla="*/ 187409 w 189718"/>
                  <a:gd name="connsiteY2" fmla="*/ 0 h 262385"/>
                  <a:gd name="connsiteX3" fmla="*/ 187409 w 189718"/>
                  <a:gd name="connsiteY3" fmla="*/ 30865 h 262385"/>
                  <a:gd name="connsiteX4" fmla="*/ 34702 w 189718"/>
                  <a:gd name="connsiteY4" fmla="*/ 30865 h 262385"/>
                  <a:gd name="connsiteX5" fmla="*/ 34702 w 189718"/>
                  <a:gd name="connsiteY5" fmla="*/ 113437 h 262385"/>
                  <a:gd name="connsiteX6" fmla="*/ 165809 w 189718"/>
                  <a:gd name="connsiteY6" fmla="*/ 113437 h 262385"/>
                  <a:gd name="connsiteX7" fmla="*/ 165809 w 189718"/>
                  <a:gd name="connsiteY7" fmla="*/ 144302 h 262385"/>
                  <a:gd name="connsiteX8" fmla="*/ 34702 w 189718"/>
                  <a:gd name="connsiteY8" fmla="*/ 144302 h 262385"/>
                  <a:gd name="connsiteX9" fmla="*/ 34702 w 189718"/>
                  <a:gd name="connsiteY9" fmla="*/ 231507 h 262385"/>
                  <a:gd name="connsiteX10" fmla="*/ 189719 w 189718"/>
                  <a:gd name="connsiteY10" fmla="*/ 231507 h 262385"/>
                  <a:gd name="connsiteX11" fmla="*/ 189719 w 189718"/>
                  <a:gd name="connsiteY11" fmla="*/ 262372 h 262385"/>
                  <a:gd name="connsiteX12" fmla="*/ 0 w 189718"/>
                  <a:gd name="connsiteY12" fmla="*/ 262372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718" h="262385">
                    <a:moveTo>
                      <a:pt x="0" y="262385"/>
                    </a:moveTo>
                    <a:lnTo>
                      <a:pt x="0" y="0"/>
                    </a:lnTo>
                    <a:lnTo>
                      <a:pt x="187409" y="0"/>
                    </a:lnTo>
                    <a:lnTo>
                      <a:pt x="187409" y="30865"/>
                    </a:lnTo>
                    <a:lnTo>
                      <a:pt x="34702" y="30865"/>
                    </a:lnTo>
                    <a:lnTo>
                      <a:pt x="34702" y="113437"/>
                    </a:lnTo>
                    <a:lnTo>
                      <a:pt x="165809" y="113437"/>
                    </a:lnTo>
                    <a:lnTo>
                      <a:pt x="165809" y="144302"/>
                    </a:lnTo>
                    <a:lnTo>
                      <a:pt x="34702" y="144302"/>
                    </a:lnTo>
                    <a:lnTo>
                      <a:pt x="34702" y="231507"/>
                    </a:lnTo>
                    <a:lnTo>
                      <a:pt x="189719" y="231507"/>
                    </a:lnTo>
                    <a:lnTo>
                      <a:pt x="189719" y="262372"/>
                    </a:lnTo>
                    <a:lnTo>
                      <a:pt x="0" y="262372"/>
                    </a:lnTo>
                    <a:close/>
                  </a:path>
                </a:pathLst>
              </a:custGeom>
              <a:solidFill>
                <a:schemeClr val="bg1"/>
              </a:solidFill>
              <a:ln w="1305" cap="flat">
                <a:noFill/>
                <a:prstDash val="solid"/>
                <a:miter/>
              </a:ln>
            </p:spPr>
            <p:txBody>
              <a:bodyPr rtlCol="0" anchor="ctr"/>
              <a:lstStyle/>
              <a:p>
                <a:endParaRPr lang="de-DE" dirty="0"/>
              </a:p>
            </p:txBody>
          </p:sp>
          <p:sp>
            <p:nvSpPr>
              <p:cNvPr id="94" name="Freeform: Shape 93">
                <a:extLst>
                  <a:ext uri="{FF2B5EF4-FFF2-40B4-BE49-F238E27FC236}">
                    <a16:creationId xmlns:a16="http://schemas.microsoft.com/office/drawing/2014/main" id="{13F1F849-BB51-42E8-A536-B7442C3ED738}"/>
                  </a:ext>
                </a:extLst>
              </p:cNvPr>
              <p:cNvSpPr/>
              <p:nvPr/>
            </p:nvSpPr>
            <p:spPr bwMode="gray">
              <a:xfrm>
                <a:off x="8183635" y="4483107"/>
                <a:ext cx="201673" cy="262385"/>
              </a:xfrm>
              <a:custGeom>
                <a:avLst/>
                <a:gdLst>
                  <a:gd name="connsiteX0" fmla="*/ 0 w 201673"/>
                  <a:gd name="connsiteY0" fmla="*/ 262385 h 262385"/>
                  <a:gd name="connsiteX1" fmla="*/ 0 w 201673"/>
                  <a:gd name="connsiteY1" fmla="*/ 0 h 262385"/>
                  <a:gd name="connsiteX2" fmla="*/ 81750 w 201673"/>
                  <a:gd name="connsiteY2" fmla="*/ 0 h 262385"/>
                  <a:gd name="connsiteX3" fmla="*/ 173719 w 201673"/>
                  <a:gd name="connsiteY3" fmla="*/ 30669 h 262385"/>
                  <a:gd name="connsiteX4" fmla="*/ 201673 w 201673"/>
                  <a:gd name="connsiteY4" fmla="*/ 131186 h 262385"/>
                  <a:gd name="connsiteX5" fmla="*/ 173719 w 201673"/>
                  <a:gd name="connsiteY5" fmla="*/ 231703 h 262385"/>
                  <a:gd name="connsiteX6" fmla="*/ 81750 w 201673"/>
                  <a:gd name="connsiteY6" fmla="*/ 262372 h 262385"/>
                  <a:gd name="connsiteX7" fmla="*/ 0 w 201673"/>
                  <a:gd name="connsiteY7" fmla="*/ 262372 h 262385"/>
                  <a:gd name="connsiteX8" fmla="*/ 34702 w 201673"/>
                  <a:gd name="connsiteY8" fmla="*/ 231520 h 262385"/>
                  <a:gd name="connsiteX9" fmla="*/ 79440 w 201673"/>
                  <a:gd name="connsiteY9" fmla="*/ 231520 h 262385"/>
                  <a:gd name="connsiteX10" fmla="*/ 147108 w 201673"/>
                  <a:gd name="connsiteY10" fmla="*/ 209334 h 262385"/>
                  <a:gd name="connsiteX11" fmla="*/ 166189 w 201673"/>
                  <a:gd name="connsiteY11" fmla="*/ 131199 h 262385"/>
                  <a:gd name="connsiteX12" fmla="*/ 147108 w 201673"/>
                  <a:gd name="connsiteY12" fmla="*/ 53065 h 262385"/>
                  <a:gd name="connsiteX13" fmla="*/ 79440 w 201673"/>
                  <a:gd name="connsiteY13" fmla="*/ 30878 h 262385"/>
                  <a:gd name="connsiteX14" fmla="*/ 34702 w 201673"/>
                  <a:gd name="connsiteY14" fmla="*/ 30878 h 262385"/>
                  <a:gd name="connsiteX15" fmla="*/ 34702 w 201673"/>
                  <a:gd name="connsiteY15" fmla="*/ 231520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1673" h="262385">
                    <a:moveTo>
                      <a:pt x="0" y="262385"/>
                    </a:moveTo>
                    <a:lnTo>
                      <a:pt x="0" y="0"/>
                    </a:lnTo>
                    <a:lnTo>
                      <a:pt x="81750" y="0"/>
                    </a:lnTo>
                    <a:cubicBezTo>
                      <a:pt x="124413" y="0"/>
                      <a:pt x="155069" y="10219"/>
                      <a:pt x="173719" y="30669"/>
                    </a:cubicBezTo>
                    <a:cubicBezTo>
                      <a:pt x="192355" y="51120"/>
                      <a:pt x="201673" y="84634"/>
                      <a:pt x="201673" y="131186"/>
                    </a:cubicBezTo>
                    <a:cubicBezTo>
                      <a:pt x="201673" y="177751"/>
                      <a:pt x="192355" y="211252"/>
                      <a:pt x="173719" y="231703"/>
                    </a:cubicBezTo>
                    <a:cubicBezTo>
                      <a:pt x="155069" y="252153"/>
                      <a:pt x="124413" y="262372"/>
                      <a:pt x="81750" y="262372"/>
                    </a:cubicBezTo>
                    <a:lnTo>
                      <a:pt x="0" y="262372"/>
                    </a:lnTo>
                    <a:close/>
                    <a:moveTo>
                      <a:pt x="34702" y="231520"/>
                    </a:moveTo>
                    <a:lnTo>
                      <a:pt x="79440" y="231520"/>
                    </a:lnTo>
                    <a:cubicBezTo>
                      <a:pt x="111832" y="231520"/>
                      <a:pt x="134396" y="224120"/>
                      <a:pt x="147108" y="209334"/>
                    </a:cubicBezTo>
                    <a:cubicBezTo>
                      <a:pt x="159833" y="194547"/>
                      <a:pt x="166189" y="168511"/>
                      <a:pt x="166189" y="131199"/>
                    </a:cubicBezTo>
                    <a:cubicBezTo>
                      <a:pt x="166189" y="93900"/>
                      <a:pt x="159833" y="67864"/>
                      <a:pt x="147108" y="53065"/>
                    </a:cubicBezTo>
                    <a:cubicBezTo>
                      <a:pt x="134384" y="38278"/>
                      <a:pt x="111819" y="30878"/>
                      <a:pt x="79440" y="30878"/>
                    </a:cubicBezTo>
                    <a:lnTo>
                      <a:pt x="34702" y="30878"/>
                    </a:lnTo>
                    <a:lnTo>
                      <a:pt x="34702" y="231520"/>
                    </a:lnTo>
                    <a:close/>
                  </a:path>
                </a:pathLst>
              </a:custGeom>
              <a:solidFill>
                <a:schemeClr val="bg1"/>
              </a:solidFill>
              <a:ln w="1305" cap="flat">
                <a:noFill/>
                <a:prstDash val="solid"/>
                <a:miter/>
              </a:ln>
            </p:spPr>
            <p:txBody>
              <a:bodyPr rtlCol="0" anchor="ctr"/>
              <a:lstStyle/>
              <a:p>
                <a:endParaRPr lang="de-DE" dirty="0"/>
              </a:p>
            </p:txBody>
          </p:sp>
          <p:sp>
            <p:nvSpPr>
              <p:cNvPr id="95" name="Freeform: Shape 94">
                <a:extLst>
                  <a:ext uri="{FF2B5EF4-FFF2-40B4-BE49-F238E27FC236}">
                    <a16:creationId xmlns:a16="http://schemas.microsoft.com/office/drawing/2014/main" id="{205AAB17-A4A2-4771-BEDC-14990B6135F4}"/>
                  </a:ext>
                </a:extLst>
              </p:cNvPr>
              <p:cNvSpPr/>
              <p:nvPr/>
            </p:nvSpPr>
            <p:spPr bwMode="gray">
              <a:xfrm>
                <a:off x="8612430" y="4478487"/>
                <a:ext cx="184341" cy="271638"/>
              </a:xfrm>
              <a:custGeom>
                <a:avLst/>
                <a:gdLst>
                  <a:gd name="connsiteX0" fmla="*/ 87544 w 184341"/>
                  <a:gd name="connsiteY0" fmla="*/ 271638 h 271638"/>
                  <a:gd name="connsiteX1" fmla="*/ 0 w 184341"/>
                  <a:gd name="connsiteY1" fmla="*/ 249256 h 271638"/>
                  <a:gd name="connsiteX2" fmla="*/ 0 w 184341"/>
                  <a:gd name="connsiteY2" fmla="*/ 213758 h 271638"/>
                  <a:gd name="connsiteX3" fmla="*/ 88302 w 184341"/>
                  <a:gd name="connsiteY3" fmla="*/ 240773 h 271638"/>
                  <a:gd name="connsiteX4" fmla="*/ 149627 w 184341"/>
                  <a:gd name="connsiteY4" fmla="*/ 195239 h 271638"/>
                  <a:gd name="connsiteX5" fmla="*/ 138625 w 184341"/>
                  <a:gd name="connsiteY5" fmla="*/ 168942 h 271638"/>
                  <a:gd name="connsiteX6" fmla="*/ 97515 w 184341"/>
                  <a:gd name="connsiteY6" fmla="*/ 153007 h 271638"/>
                  <a:gd name="connsiteX7" fmla="*/ 68634 w 184341"/>
                  <a:gd name="connsiteY7" fmla="*/ 146234 h 271638"/>
                  <a:gd name="connsiteX8" fmla="*/ 18506 w 184341"/>
                  <a:gd name="connsiteY8" fmla="*/ 121346 h 271638"/>
                  <a:gd name="connsiteX9" fmla="*/ 3850 w 184341"/>
                  <a:gd name="connsiteY9" fmla="*/ 76778 h 271638"/>
                  <a:gd name="connsiteX10" fmla="*/ 96406 w 184341"/>
                  <a:gd name="connsiteY10" fmla="*/ 0 h 271638"/>
                  <a:gd name="connsiteX11" fmla="*/ 170064 w 184341"/>
                  <a:gd name="connsiteY11" fmla="*/ 16209 h 271638"/>
                  <a:gd name="connsiteX12" fmla="*/ 170064 w 184341"/>
                  <a:gd name="connsiteY12" fmla="*/ 51329 h 271638"/>
                  <a:gd name="connsiteX13" fmla="*/ 97568 w 184341"/>
                  <a:gd name="connsiteY13" fmla="*/ 30878 h 271638"/>
                  <a:gd name="connsiteX14" fmla="*/ 38565 w 184341"/>
                  <a:gd name="connsiteY14" fmla="*/ 74481 h 271638"/>
                  <a:gd name="connsiteX15" fmla="*/ 48784 w 184341"/>
                  <a:gd name="connsiteY15" fmla="*/ 99499 h 271638"/>
                  <a:gd name="connsiteX16" fmla="*/ 86018 w 184341"/>
                  <a:gd name="connsiteY16" fmla="*/ 114520 h 271638"/>
                  <a:gd name="connsiteX17" fmla="*/ 115708 w 184341"/>
                  <a:gd name="connsiteY17" fmla="*/ 121085 h 271638"/>
                  <a:gd name="connsiteX18" fmla="*/ 168524 w 184341"/>
                  <a:gd name="connsiteY18" fmla="*/ 146978 h 271638"/>
                  <a:gd name="connsiteX19" fmla="*/ 184342 w 184341"/>
                  <a:gd name="connsiteY19" fmla="*/ 194104 h 271638"/>
                  <a:gd name="connsiteX20" fmla="*/ 87544 w 184341"/>
                  <a:gd name="connsiteY20" fmla="*/ 271638 h 27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4341" h="271638">
                    <a:moveTo>
                      <a:pt x="87544" y="271638"/>
                    </a:moveTo>
                    <a:cubicBezTo>
                      <a:pt x="48209" y="271638"/>
                      <a:pt x="19028" y="264173"/>
                      <a:pt x="0" y="249256"/>
                    </a:cubicBezTo>
                    <a:lnTo>
                      <a:pt x="0" y="213758"/>
                    </a:lnTo>
                    <a:cubicBezTo>
                      <a:pt x="24157" y="231768"/>
                      <a:pt x="53613" y="240773"/>
                      <a:pt x="88302" y="240773"/>
                    </a:cubicBezTo>
                    <a:cubicBezTo>
                      <a:pt x="129190" y="240773"/>
                      <a:pt x="149627" y="225595"/>
                      <a:pt x="149627" y="195239"/>
                    </a:cubicBezTo>
                    <a:cubicBezTo>
                      <a:pt x="149627" y="183715"/>
                      <a:pt x="145947" y="174958"/>
                      <a:pt x="138625" y="168942"/>
                    </a:cubicBezTo>
                    <a:cubicBezTo>
                      <a:pt x="131291" y="162926"/>
                      <a:pt x="117587" y="157614"/>
                      <a:pt x="97515" y="153007"/>
                    </a:cubicBezTo>
                    <a:lnTo>
                      <a:pt x="68634" y="146234"/>
                    </a:lnTo>
                    <a:cubicBezTo>
                      <a:pt x="44973" y="140831"/>
                      <a:pt x="28268" y="132530"/>
                      <a:pt x="18506" y="121346"/>
                    </a:cubicBezTo>
                    <a:cubicBezTo>
                      <a:pt x="8731" y="110161"/>
                      <a:pt x="3850" y="95310"/>
                      <a:pt x="3850" y="76778"/>
                    </a:cubicBezTo>
                    <a:cubicBezTo>
                      <a:pt x="3850" y="25593"/>
                      <a:pt x="34702" y="0"/>
                      <a:pt x="96406" y="0"/>
                    </a:cubicBezTo>
                    <a:cubicBezTo>
                      <a:pt x="130338" y="0"/>
                      <a:pt x="154886" y="5403"/>
                      <a:pt x="170064" y="16209"/>
                    </a:cubicBezTo>
                    <a:lnTo>
                      <a:pt x="170064" y="51329"/>
                    </a:lnTo>
                    <a:cubicBezTo>
                      <a:pt x="150776" y="37691"/>
                      <a:pt x="126618" y="30878"/>
                      <a:pt x="97568" y="30878"/>
                    </a:cubicBezTo>
                    <a:cubicBezTo>
                      <a:pt x="58233" y="30878"/>
                      <a:pt x="38565" y="45417"/>
                      <a:pt x="38565" y="74481"/>
                    </a:cubicBezTo>
                    <a:cubicBezTo>
                      <a:pt x="38565" y="85013"/>
                      <a:pt x="41958" y="93339"/>
                      <a:pt x="48784" y="99499"/>
                    </a:cubicBezTo>
                    <a:cubicBezTo>
                      <a:pt x="55596" y="105659"/>
                      <a:pt x="68007" y="110670"/>
                      <a:pt x="86018" y="114520"/>
                    </a:cubicBezTo>
                    <a:lnTo>
                      <a:pt x="115708" y="121085"/>
                    </a:lnTo>
                    <a:cubicBezTo>
                      <a:pt x="140374" y="126501"/>
                      <a:pt x="157992" y="135127"/>
                      <a:pt x="168524" y="146978"/>
                    </a:cubicBezTo>
                    <a:cubicBezTo>
                      <a:pt x="179069" y="158828"/>
                      <a:pt x="184342" y="174541"/>
                      <a:pt x="184342" y="194104"/>
                    </a:cubicBezTo>
                    <a:cubicBezTo>
                      <a:pt x="184342" y="245785"/>
                      <a:pt x="152067" y="271638"/>
                      <a:pt x="87544" y="271638"/>
                    </a:cubicBezTo>
                    <a:close/>
                  </a:path>
                </a:pathLst>
              </a:custGeom>
              <a:solidFill>
                <a:schemeClr val="bg1"/>
              </a:solidFill>
              <a:ln w="1305" cap="flat">
                <a:noFill/>
                <a:prstDash val="solid"/>
                <a:miter/>
              </a:ln>
            </p:spPr>
            <p:txBody>
              <a:bodyPr rtlCol="0" anchor="ctr"/>
              <a:lstStyle/>
              <a:p>
                <a:endParaRPr lang="de-DE" dirty="0"/>
              </a:p>
            </p:txBody>
          </p:sp>
          <p:sp>
            <p:nvSpPr>
              <p:cNvPr id="96" name="Freeform: Shape 95">
                <a:extLst>
                  <a:ext uri="{FF2B5EF4-FFF2-40B4-BE49-F238E27FC236}">
                    <a16:creationId xmlns:a16="http://schemas.microsoft.com/office/drawing/2014/main" id="{6C22EDA1-C31F-4A9E-A1F5-4179440826BA}"/>
                  </a:ext>
                </a:extLst>
              </p:cNvPr>
              <p:cNvSpPr/>
              <p:nvPr/>
            </p:nvSpPr>
            <p:spPr bwMode="gray">
              <a:xfrm>
                <a:off x="8875950" y="4478474"/>
                <a:ext cx="185112" cy="271651"/>
              </a:xfrm>
              <a:custGeom>
                <a:avLst/>
                <a:gdLst>
                  <a:gd name="connsiteX0" fmla="*/ 121085 w 185112"/>
                  <a:gd name="connsiteY0" fmla="*/ 271651 h 271651"/>
                  <a:gd name="connsiteX1" fmla="*/ 29690 w 185112"/>
                  <a:gd name="connsiteY1" fmla="*/ 238267 h 271651"/>
                  <a:gd name="connsiteX2" fmla="*/ 0 w 185112"/>
                  <a:gd name="connsiteY2" fmla="*/ 135819 h 271651"/>
                  <a:gd name="connsiteX3" fmla="*/ 29495 w 185112"/>
                  <a:gd name="connsiteY3" fmla="*/ 33371 h 271651"/>
                  <a:gd name="connsiteX4" fmla="*/ 120315 w 185112"/>
                  <a:gd name="connsiteY4" fmla="*/ 0 h 271651"/>
                  <a:gd name="connsiteX5" fmla="*/ 185099 w 185112"/>
                  <a:gd name="connsiteY5" fmla="*/ 13508 h 271651"/>
                  <a:gd name="connsiteX6" fmla="*/ 185099 w 185112"/>
                  <a:gd name="connsiteY6" fmla="*/ 47466 h 271651"/>
                  <a:gd name="connsiteX7" fmla="*/ 121476 w 185112"/>
                  <a:gd name="connsiteY7" fmla="*/ 30878 h 271651"/>
                  <a:gd name="connsiteX8" fmla="*/ 55923 w 185112"/>
                  <a:gd name="connsiteY8" fmla="*/ 55753 h 271651"/>
                  <a:gd name="connsiteX9" fmla="*/ 35485 w 185112"/>
                  <a:gd name="connsiteY9" fmla="*/ 135441 h 271651"/>
                  <a:gd name="connsiteX10" fmla="*/ 56118 w 185112"/>
                  <a:gd name="connsiteY10" fmla="*/ 215703 h 271651"/>
                  <a:gd name="connsiteX11" fmla="*/ 122638 w 185112"/>
                  <a:gd name="connsiteY11" fmla="*/ 240786 h 271651"/>
                  <a:gd name="connsiteX12" fmla="*/ 185112 w 185112"/>
                  <a:gd name="connsiteY12" fmla="*/ 224186 h 271651"/>
                  <a:gd name="connsiteX13" fmla="*/ 185112 w 185112"/>
                  <a:gd name="connsiteY13" fmla="*/ 258144 h 271651"/>
                  <a:gd name="connsiteX14" fmla="*/ 121085 w 185112"/>
                  <a:gd name="connsiteY14" fmla="*/ 271651 h 27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5112" h="271651">
                    <a:moveTo>
                      <a:pt x="121085" y="271651"/>
                    </a:moveTo>
                    <a:cubicBezTo>
                      <a:pt x="79949" y="271651"/>
                      <a:pt x="49476" y="260519"/>
                      <a:pt x="29690" y="238267"/>
                    </a:cubicBezTo>
                    <a:cubicBezTo>
                      <a:pt x="9893" y="216029"/>
                      <a:pt x="0" y="181875"/>
                      <a:pt x="0" y="135819"/>
                    </a:cubicBezTo>
                    <a:cubicBezTo>
                      <a:pt x="0" y="89776"/>
                      <a:pt x="9828" y="55622"/>
                      <a:pt x="29495" y="33371"/>
                    </a:cubicBezTo>
                    <a:cubicBezTo>
                      <a:pt x="49175" y="11119"/>
                      <a:pt x="79440" y="0"/>
                      <a:pt x="120315" y="0"/>
                    </a:cubicBezTo>
                    <a:cubicBezTo>
                      <a:pt x="147565" y="0"/>
                      <a:pt x="169164" y="4503"/>
                      <a:pt x="185099" y="13508"/>
                    </a:cubicBezTo>
                    <a:lnTo>
                      <a:pt x="185099" y="47466"/>
                    </a:lnTo>
                    <a:cubicBezTo>
                      <a:pt x="166841" y="36412"/>
                      <a:pt x="145634" y="30878"/>
                      <a:pt x="121476" y="30878"/>
                    </a:cubicBezTo>
                    <a:cubicBezTo>
                      <a:pt x="91395" y="30878"/>
                      <a:pt x="69535" y="39165"/>
                      <a:pt x="55923" y="55753"/>
                    </a:cubicBezTo>
                    <a:cubicBezTo>
                      <a:pt x="42284" y="72354"/>
                      <a:pt x="35485" y="98912"/>
                      <a:pt x="35485" y="135441"/>
                    </a:cubicBezTo>
                    <a:cubicBezTo>
                      <a:pt x="35485" y="172231"/>
                      <a:pt x="42350" y="198985"/>
                      <a:pt x="56118" y="215703"/>
                    </a:cubicBezTo>
                    <a:cubicBezTo>
                      <a:pt x="69861" y="232421"/>
                      <a:pt x="92034" y="240786"/>
                      <a:pt x="122638" y="240786"/>
                    </a:cubicBezTo>
                    <a:cubicBezTo>
                      <a:pt x="146547" y="240786"/>
                      <a:pt x="167376" y="235253"/>
                      <a:pt x="185112" y="224186"/>
                    </a:cubicBezTo>
                    <a:lnTo>
                      <a:pt x="185112" y="258144"/>
                    </a:lnTo>
                    <a:cubicBezTo>
                      <a:pt x="169399" y="267136"/>
                      <a:pt x="148074" y="271651"/>
                      <a:pt x="121085" y="271651"/>
                    </a:cubicBezTo>
                    <a:close/>
                  </a:path>
                </a:pathLst>
              </a:custGeom>
              <a:solidFill>
                <a:schemeClr val="bg1"/>
              </a:solidFill>
              <a:ln w="1305" cap="flat">
                <a:noFill/>
                <a:prstDash val="solid"/>
                <a:miter/>
              </a:ln>
            </p:spPr>
            <p:txBody>
              <a:bodyPr rtlCol="0" anchor="ctr"/>
              <a:lstStyle/>
              <a:p>
                <a:endParaRPr lang="de-DE" dirty="0"/>
              </a:p>
            </p:txBody>
          </p:sp>
          <p:sp>
            <p:nvSpPr>
              <p:cNvPr id="97" name="Freeform: Shape 96">
                <a:extLst>
                  <a:ext uri="{FF2B5EF4-FFF2-40B4-BE49-F238E27FC236}">
                    <a16:creationId xmlns:a16="http://schemas.microsoft.com/office/drawing/2014/main" id="{F417496E-75F9-44BD-BA90-BDD349EB5386}"/>
                  </a:ext>
                </a:extLst>
              </p:cNvPr>
              <p:cNvSpPr/>
              <p:nvPr/>
            </p:nvSpPr>
            <p:spPr bwMode="gray">
              <a:xfrm>
                <a:off x="9151856" y="4483107"/>
                <a:ext cx="34701" cy="262385"/>
              </a:xfrm>
              <a:custGeom>
                <a:avLst/>
                <a:gdLst>
                  <a:gd name="connsiteX0" fmla="*/ 0 w 34701"/>
                  <a:gd name="connsiteY0" fmla="*/ 262385 h 262385"/>
                  <a:gd name="connsiteX1" fmla="*/ 0 w 34701"/>
                  <a:gd name="connsiteY1" fmla="*/ 0 h 262385"/>
                  <a:gd name="connsiteX2" fmla="*/ 34702 w 34701"/>
                  <a:gd name="connsiteY2" fmla="*/ 0 h 262385"/>
                  <a:gd name="connsiteX3" fmla="*/ 34702 w 34701"/>
                  <a:gd name="connsiteY3" fmla="*/ 262385 h 262385"/>
                  <a:gd name="connsiteX4" fmla="*/ 0 w 34701"/>
                  <a:gd name="connsiteY4" fmla="*/ 262385 h 262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1" h="262385">
                    <a:moveTo>
                      <a:pt x="0" y="262385"/>
                    </a:moveTo>
                    <a:lnTo>
                      <a:pt x="0" y="0"/>
                    </a:lnTo>
                    <a:lnTo>
                      <a:pt x="34702" y="0"/>
                    </a:lnTo>
                    <a:lnTo>
                      <a:pt x="34702" y="262385"/>
                    </a:lnTo>
                    <a:lnTo>
                      <a:pt x="0" y="262385"/>
                    </a:lnTo>
                    <a:close/>
                  </a:path>
                </a:pathLst>
              </a:custGeom>
              <a:solidFill>
                <a:schemeClr val="bg1"/>
              </a:solidFill>
              <a:ln w="1305" cap="flat">
                <a:noFill/>
                <a:prstDash val="solid"/>
                <a:miter/>
              </a:ln>
            </p:spPr>
            <p:txBody>
              <a:bodyPr rtlCol="0" anchor="ctr"/>
              <a:lstStyle/>
              <a:p>
                <a:endParaRPr lang="de-DE" dirty="0"/>
              </a:p>
            </p:txBody>
          </p:sp>
          <p:sp>
            <p:nvSpPr>
              <p:cNvPr id="98" name="Freeform: Shape 97">
                <a:extLst>
                  <a:ext uri="{FF2B5EF4-FFF2-40B4-BE49-F238E27FC236}">
                    <a16:creationId xmlns:a16="http://schemas.microsoft.com/office/drawing/2014/main" id="{E2DAA13D-C8DC-4C30-9209-8D40C20606EF}"/>
                  </a:ext>
                </a:extLst>
              </p:cNvPr>
              <p:cNvSpPr/>
              <p:nvPr/>
            </p:nvSpPr>
            <p:spPr bwMode="gray">
              <a:xfrm>
                <a:off x="9295375" y="4483107"/>
                <a:ext cx="189718" cy="262385"/>
              </a:xfrm>
              <a:custGeom>
                <a:avLst/>
                <a:gdLst>
                  <a:gd name="connsiteX0" fmla="*/ 0 w 189718"/>
                  <a:gd name="connsiteY0" fmla="*/ 262385 h 262385"/>
                  <a:gd name="connsiteX1" fmla="*/ 0 w 189718"/>
                  <a:gd name="connsiteY1" fmla="*/ 0 h 262385"/>
                  <a:gd name="connsiteX2" fmla="*/ 187408 w 189718"/>
                  <a:gd name="connsiteY2" fmla="*/ 0 h 262385"/>
                  <a:gd name="connsiteX3" fmla="*/ 187408 w 189718"/>
                  <a:gd name="connsiteY3" fmla="*/ 30865 h 262385"/>
                  <a:gd name="connsiteX4" fmla="*/ 34702 w 189718"/>
                  <a:gd name="connsiteY4" fmla="*/ 30865 h 262385"/>
                  <a:gd name="connsiteX5" fmla="*/ 34702 w 189718"/>
                  <a:gd name="connsiteY5" fmla="*/ 113437 h 262385"/>
                  <a:gd name="connsiteX6" fmla="*/ 165809 w 189718"/>
                  <a:gd name="connsiteY6" fmla="*/ 113437 h 262385"/>
                  <a:gd name="connsiteX7" fmla="*/ 165809 w 189718"/>
                  <a:gd name="connsiteY7" fmla="*/ 144302 h 262385"/>
                  <a:gd name="connsiteX8" fmla="*/ 34702 w 189718"/>
                  <a:gd name="connsiteY8" fmla="*/ 144302 h 262385"/>
                  <a:gd name="connsiteX9" fmla="*/ 34702 w 189718"/>
                  <a:gd name="connsiteY9" fmla="*/ 231507 h 262385"/>
                  <a:gd name="connsiteX10" fmla="*/ 189718 w 189718"/>
                  <a:gd name="connsiteY10" fmla="*/ 231507 h 262385"/>
                  <a:gd name="connsiteX11" fmla="*/ 189718 w 189718"/>
                  <a:gd name="connsiteY11" fmla="*/ 262372 h 262385"/>
                  <a:gd name="connsiteX12" fmla="*/ 0 w 189718"/>
                  <a:gd name="connsiteY12" fmla="*/ 262372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718" h="262385">
                    <a:moveTo>
                      <a:pt x="0" y="262385"/>
                    </a:moveTo>
                    <a:lnTo>
                      <a:pt x="0" y="0"/>
                    </a:lnTo>
                    <a:lnTo>
                      <a:pt x="187408" y="0"/>
                    </a:lnTo>
                    <a:lnTo>
                      <a:pt x="187408" y="30865"/>
                    </a:lnTo>
                    <a:lnTo>
                      <a:pt x="34702" y="30865"/>
                    </a:lnTo>
                    <a:lnTo>
                      <a:pt x="34702" y="113437"/>
                    </a:lnTo>
                    <a:lnTo>
                      <a:pt x="165809" y="113437"/>
                    </a:lnTo>
                    <a:lnTo>
                      <a:pt x="165809" y="144302"/>
                    </a:lnTo>
                    <a:lnTo>
                      <a:pt x="34702" y="144302"/>
                    </a:lnTo>
                    <a:lnTo>
                      <a:pt x="34702" y="231507"/>
                    </a:lnTo>
                    <a:lnTo>
                      <a:pt x="189718" y="231507"/>
                    </a:lnTo>
                    <a:lnTo>
                      <a:pt x="189718" y="262372"/>
                    </a:lnTo>
                    <a:lnTo>
                      <a:pt x="0" y="262372"/>
                    </a:lnTo>
                    <a:close/>
                  </a:path>
                </a:pathLst>
              </a:custGeom>
              <a:solidFill>
                <a:schemeClr val="bg1"/>
              </a:solidFill>
              <a:ln w="1305" cap="flat">
                <a:noFill/>
                <a:prstDash val="solid"/>
                <a:miter/>
              </a:ln>
            </p:spPr>
            <p:txBody>
              <a:bodyPr rtlCol="0" anchor="ctr"/>
              <a:lstStyle/>
              <a:p>
                <a:endParaRPr lang="de-DE" dirty="0"/>
              </a:p>
            </p:txBody>
          </p:sp>
          <p:sp>
            <p:nvSpPr>
              <p:cNvPr id="99" name="Freeform: Shape 98">
                <a:extLst>
                  <a:ext uri="{FF2B5EF4-FFF2-40B4-BE49-F238E27FC236}">
                    <a16:creationId xmlns:a16="http://schemas.microsoft.com/office/drawing/2014/main" id="{3FB72776-CB03-4DD2-8FB3-C9F4AE246D69}"/>
                  </a:ext>
                </a:extLst>
              </p:cNvPr>
              <p:cNvSpPr/>
              <p:nvPr/>
            </p:nvSpPr>
            <p:spPr bwMode="gray">
              <a:xfrm>
                <a:off x="9575157" y="4483107"/>
                <a:ext cx="207845" cy="262385"/>
              </a:xfrm>
              <a:custGeom>
                <a:avLst/>
                <a:gdLst>
                  <a:gd name="connsiteX0" fmla="*/ 0 w 207845"/>
                  <a:gd name="connsiteY0" fmla="*/ 262385 h 262385"/>
                  <a:gd name="connsiteX1" fmla="*/ 0 w 207845"/>
                  <a:gd name="connsiteY1" fmla="*/ 0 h 262385"/>
                  <a:gd name="connsiteX2" fmla="*/ 43628 w 207845"/>
                  <a:gd name="connsiteY2" fmla="*/ 0 h 262385"/>
                  <a:gd name="connsiteX3" fmla="*/ 174684 w 207845"/>
                  <a:gd name="connsiteY3" fmla="*/ 199885 h 262385"/>
                  <a:gd name="connsiteX4" fmla="*/ 174684 w 207845"/>
                  <a:gd name="connsiteY4" fmla="*/ 0 h 262385"/>
                  <a:gd name="connsiteX5" fmla="*/ 207846 w 207845"/>
                  <a:gd name="connsiteY5" fmla="*/ 0 h 262385"/>
                  <a:gd name="connsiteX6" fmla="*/ 207846 w 207845"/>
                  <a:gd name="connsiteY6" fmla="*/ 262385 h 262385"/>
                  <a:gd name="connsiteX7" fmla="*/ 175076 w 207845"/>
                  <a:gd name="connsiteY7" fmla="*/ 262385 h 262385"/>
                  <a:gd name="connsiteX8" fmla="*/ 33161 w 207845"/>
                  <a:gd name="connsiteY8" fmla="*/ 45925 h 262385"/>
                  <a:gd name="connsiteX9" fmla="*/ 33161 w 207845"/>
                  <a:gd name="connsiteY9" fmla="*/ 262385 h 262385"/>
                  <a:gd name="connsiteX10" fmla="*/ 0 w 207845"/>
                  <a:gd name="connsiteY10"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845" h="262385">
                    <a:moveTo>
                      <a:pt x="0" y="262385"/>
                    </a:moveTo>
                    <a:lnTo>
                      <a:pt x="0" y="0"/>
                    </a:lnTo>
                    <a:lnTo>
                      <a:pt x="43628" y="0"/>
                    </a:lnTo>
                    <a:lnTo>
                      <a:pt x="174684" y="199885"/>
                    </a:lnTo>
                    <a:lnTo>
                      <a:pt x="174684" y="0"/>
                    </a:lnTo>
                    <a:lnTo>
                      <a:pt x="207846" y="0"/>
                    </a:lnTo>
                    <a:lnTo>
                      <a:pt x="207846" y="262385"/>
                    </a:lnTo>
                    <a:lnTo>
                      <a:pt x="175076" y="262385"/>
                    </a:lnTo>
                    <a:lnTo>
                      <a:pt x="33161" y="45925"/>
                    </a:lnTo>
                    <a:lnTo>
                      <a:pt x="33161" y="262385"/>
                    </a:lnTo>
                    <a:lnTo>
                      <a:pt x="0" y="262385"/>
                    </a:lnTo>
                    <a:close/>
                  </a:path>
                </a:pathLst>
              </a:custGeom>
              <a:solidFill>
                <a:schemeClr val="bg1"/>
              </a:solidFill>
              <a:ln w="1305" cap="flat">
                <a:noFill/>
                <a:prstDash val="solid"/>
                <a:miter/>
              </a:ln>
            </p:spPr>
            <p:txBody>
              <a:bodyPr rtlCol="0" anchor="ctr"/>
              <a:lstStyle/>
              <a:p>
                <a:endParaRPr lang="de-DE" dirty="0"/>
              </a:p>
            </p:txBody>
          </p:sp>
          <p:sp>
            <p:nvSpPr>
              <p:cNvPr id="100" name="Freeform: Shape 99">
                <a:extLst>
                  <a:ext uri="{FF2B5EF4-FFF2-40B4-BE49-F238E27FC236}">
                    <a16:creationId xmlns:a16="http://schemas.microsoft.com/office/drawing/2014/main" id="{B4A36F59-462A-41D9-A304-1316F8252B43}"/>
                  </a:ext>
                </a:extLst>
              </p:cNvPr>
              <p:cNvSpPr/>
              <p:nvPr/>
            </p:nvSpPr>
            <p:spPr bwMode="gray">
              <a:xfrm>
                <a:off x="9879500" y="4478474"/>
                <a:ext cx="185112" cy="271651"/>
              </a:xfrm>
              <a:custGeom>
                <a:avLst/>
                <a:gdLst>
                  <a:gd name="connsiteX0" fmla="*/ 121085 w 185112"/>
                  <a:gd name="connsiteY0" fmla="*/ 271651 h 271651"/>
                  <a:gd name="connsiteX1" fmla="*/ 29690 w 185112"/>
                  <a:gd name="connsiteY1" fmla="*/ 238267 h 271651"/>
                  <a:gd name="connsiteX2" fmla="*/ 0 w 185112"/>
                  <a:gd name="connsiteY2" fmla="*/ 135819 h 271651"/>
                  <a:gd name="connsiteX3" fmla="*/ 29495 w 185112"/>
                  <a:gd name="connsiteY3" fmla="*/ 33371 h 271651"/>
                  <a:gd name="connsiteX4" fmla="*/ 120315 w 185112"/>
                  <a:gd name="connsiteY4" fmla="*/ 0 h 271651"/>
                  <a:gd name="connsiteX5" fmla="*/ 185099 w 185112"/>
                  <a:gd name="connsiteY5" fmla="*/ 13508 h 271651"/>
                  <a:gd name="connsiteX6" fmla="*/ 185099 w 185112"/>
                  <a:gd name="connsiteY6" fmla="*/ 47466 h 271651"/>
                  <a:gd name="connsiteX7" fmla="*/ 121476 w 185112"/>
                  <a:gd name="connsiteY7" fmla="*/ 30878 h 271651"/>
                  <a:gd name="connsiteX8" fmla="*/ 55923 w 185112"/>
                  <a:gd name="connsiteY8" fmla="*/ 55753 h 271651"/>
                  <a:gd name="connsiteX9" fmla="*/ 35485 w 185112"/>
                  <a:gd name="connsiteY9" fmla="*/ 135441 h 271651"/>
                  <a:gd name="connsiteX10" fmla="*/ 56118 w 185112"/>
                  <a:gd name="connsiteY10" fmla="*/ 215703 h 271651"/>
                  <a:gd name="connsiteX11" fmla="*/ 122638 w 185112"/>
                  <a:gd name="connsiteY11" fmla="*/ 240786 h 271651"/>
                  <a:gd name="connsiteX12" fmla="*/ 185112 w 185112"/>
                  <a:gd name="connsiteY12" fmla="*/ 224186 h 271651"/>
                  <a:gd name="connsiteX13" fmla="*/ 185112 w 185112"/>
                  <a:gd name="connsiteY13" fmla="*/ 258144 h 271651"/>
                  <a:gd name="connsiteX14" fmla="*/ 121085 w 185112"/>
                  <a:gd name="connsiteY14" fmla="*/ 271651 h 27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5112" h="271651">
                    <a:moveTo>
                      <a:pt x="121085" y="271651"/>
                    </a:moveTo>
                    <a:cubicBezTo>
                      <a:pt x="79949" y="271651"/>
                      <a:pt x="49476" y="260519"/>
                      <a:pt x="29690" y="238267"/>
                    </a:cubicBezTo>
                    <a:cubicBezTo>
                      <a:pt x="9893" y="216029"/>
                      <a:pt x="0" y="181875"/>
                      <a:pt x="0" y="135819"/>
                    </a:cubicBezTo>
                    <a:cubicBezTo>
                      <a:pt x="0" y="89776"/>
                      <a:pt x="9828" y="55622"/>
                      <a:pt x="29495" y="33371"/>
                    </a:cubicBezTo>
                    <a:cubicBezTo>
                      <a:pt x="49175" y="11119"/>
                      <a:pt x="79440" y="0"/>
                      <a:pt x="120315" y="0"/>
                    </a:cubicBezTo>
                    <a:cubicBezTo>
                      <a:pt x="147565" y="0"/>
                      <a:pt x="169164" y="4503"/>
                      <a:pt x="185099" y="13508"/>
                    </a:cubicBezTo>
                    <a:lnTo>
                      <a:pt x="185099" y="47466"/>
                    </a:lnTo>
                    <a:cubicBezTo>
                      <a:pt x="166841" y="36412"/>
                      <a:pt x="145634" y="30878"/>
                      <a:pt x="121476" y="30878"/>
                    </a:cubicBezTo>
                    <a:cubicBezTo>
                      <a:pt x="91395" y="30878"/>
                      <a:pt x="69535" y="39165"/>
                      <a:pt x="55923" y="55753"/>
                    </a:cubicBezTo>
                    <a:cubicBezTo>
                      <a:pt x="42285" y="72354"/>
                      <a:pt x="35485" y="98912"/>
                      <a:pt x="35485" y="135441"/>
                    </a:cubicBezTo>
                    <a:cubicBezTo>
                      <a:pt x="35485" y="172231"/>
                      <a:pt x="42350" y="198985"/>
                      <a:pt x="56118" y="215703"/>
                    </a:cubicBezTo>
                    <a:cubicBezTo>
                      <a:pt x="69861" y="232421"/>
                      <a:pt x="92034" y="240786"/>
                      <a:pt x="122638" y="240786"/>
                    </a:cubicBezTo>
                    <a:cubicBezTo>
                      <a:pt x="146547" y="240786"/>
                      <a:pt x="167376" y="235253"/>
                      <a:pt x="185112" y="224186"/>
                    </a:cubicBezTo>
                    <a:lnTo>
                      <a:pt x="185112" y="258144"/>
                    </a:lnTo>
                    <a:cubicBezTo>
                      <a:pt x="169412" y="267136"/>
                      <a:pt x="148074" y="271651"/>
                      <a:pt x="121085" y="271651"/>
                    </a:cubicBezTo>
                    <a:close/>
                  </a:path>
                </a:pathLst>
              </a:custGeom>
              <a:solidFill>
                <a:schemeClr val="bg1"/>
              </a:solidFill>
              <a:ln w="1305" cap="flat">
                <a:noFill/>
                <a:prstDash val="solid"/>
                <a:miter/>
              </a:ln>
            </p:spPr>
            <p:txBody>
              <a:bodyPr rtlCol="0" anchor="ctr"/>
              <a:lstStyle/>
              <a:p>
                <a:endParaRPr lang="de-DE" dirty="0"/>
              </a:p>
            </p:txBody>
          </p:sp>
          <p:sp>
            <p:nvSpPr>
              <p:cNvPr id="101" name="Freeform: Shape 100">
                <a:extLst>
                  <a:ext uri="{FF2B5EF4-FFF2-40B4-BE49-F238E27FC236}">
                    <a16:creationId xmlns:a16="http://schemas.microsoft.com/office/drawing/2014/main" id="{A5239872-5C3D-4338-AC97-4B5532C2E44C}"/>
                  </a:ext>
                </a:extLst>
              </p:cNvPr>
              <p:cNvSpPr/>
              <p:nvPr/>
            </p:nvSpPr>
            <p:spPr bwMode="gray">
              <a:xfrm>
                <a:off x="10154858" y="4483107"/>
                <a:ext cx="189718" cy="262385"/>
              </a:xfrm>
              <a:custGeom>
                <a:avLst/>
                <a:gdLst>
                  <a:gd name="connsiteX0" fmla="*/ 0 w 189718"/>
                  <a:gd name="connsiteY0" fmla="*/ 262385 h 262385"/>
                  <a:gd name="connsiteX1" fmla="*/ 0 w 189718"/>
                  <a:gd name="connsiteY1" fmla="*/ 0 h 262385"/>
                  <a:gd name="connsiteX2" fmla="*/ 187409 w 189718"/>
                  <a:gd name="connsiteY2" fmla="*/ 0 h 262385"/>
                  <a:gd name="connsiteX3" fmla="*/ 187409 w 189718"/>
                  <a:gd name="connsiteY3" fmla="*/ 30865 h 262385"/>
                  <a:gd name="connsiteX4" fmla="*/ 34702 w 189718"/>
                  <a:gd name="connsiteY4" fmla="*/ 30865 h 262385"/>
                  <a:gd name="connsiteX5" fmla="*/ 34702 w 189718"/>
                  <a:gd name="connsiteY5" fmla="*/ 113437 h 262385"/>
                  <a:gd name="connsiteX6" fmla="*/ 165809 w 189718"/>
                  <a:gd name="connsiteY6" fmla="*/ 113437 h 262385"/>
                  <a:gd name="connsiteX7" fmla="*/ 165809 w 189718"/>
                  <a:gd name="connsiteY7" fmla="*/ 144302 h 262385"/>
                  <a:gd name="connsiteX8" fmla="*/ 34702 w 189718"/>
                  <a:gd name="connsiteY8" fmla="*/ 144302 h 262385"/>
                  <a:gd name="connsiteX9" fmla="*/ 34702 w 189718"/>
                  <a:gd name="connsiteY9" fmla="*/ 231507 h 262385"/>
                  <a:gd name="connsiteX10" fmla="*/ 189719 w 189718"/>
                  <a:gd name="connsiteY10" fmla="*/ 231507 h 262385"/>
                  <a:gd name="connsiteX11" fmla="*/ 189719 w 189718"/>
                  <a:gd name="connsiteY11" fmla="*/ 262372 h 262385"/>
                  <a:gd name="connsiteX12" fmla="*/ 0 w 189718"/>
                  <a:gd name="connsiteY12" fmla="*/ 262372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718" h="262385">
                    <a:moveTo>
                      <a:pt x="0" y="262385"/>
                    </a:moveTo>
                    <a:lnTo>
                      <a:pt x="0" y="0"/>
                    </a:lnTo>
                    <a:lnTo>
                      <a:pt x="187409" y="0"/>
                    </a:lnTo>
                    <a:lnTo>
                      <a:pt x="187409" y="30865"/>
                    </a:lnTo>
                    <a:lnTo>
                      <a:pt x="34702" y="30865"/>
                    </a:lnTo>
                    <a:lnTo>
                      <a:pt x="34702" y="113437"/>
                    </a:lnTo>
                    <a:lnTo>
                      <a:pt x="165809" y="113437"/>
                    </a:lnTo>
                    <a:lnTo>
                      <a:pt x="165809" y="144302"/>
                    </a:lnTo>
                    <a:lnTo>
                      <a:pt x="34702" y="144302"/>
                    </a:lnTo>
                    <a:lnTo>
                      <a:pt x="34702" y="231507"/>
                    </a:lnTo>
                    <a:lnTo>
                      <a:pt x="189719" y="231507"/>
                    </a:lnTo>
                    <a:lnTo>
                      <a:pt x="189719" y="262372"/>
                    </a:lnTo>
                    <a:lnTo>
                      <a:pt x="0" y="262372"/>
                    </a:lnTo>
                    <a:close/>
                  </a:path>
                </a:pathLst>
              </a:custGeom>
              <a:solidFill>
                <a:schemeClr val="bg1"/>
              </a:solidFill>
              <a:ln w="1305" cap="flat">
                <a:noFill/>
                <a:prstDash val="solid"/>
                <a:miter/>
              </a:ln>
            </p:spPr>
            <p:txBody>
              <a:bodyPr rtlCol="0" anchor="ctr"/>
              <a:lstStyle/>
              <a:p>
                <a:endParaRPr lang="de-DE" dirty="0"/>
              </a:p>
            </p:txBody>
          </p:sp>
          <p:sp>
            <p:nvSpPr>
              <p:cNvPr id="102" name="Freeform: Shape 101">
                <a:extLst>
                  <a:ext uri="{FF2B5EF4-FFF2-40B4-BE49-F238E27FC236}">
                    <a16:creationId xmlns:a16="http://schemas.microsoft.com/office/drawing/2014/main" id="{81B376E2-CD72-4606-AB83-C6D26765B79B}"/>
                  </a:ext>
                </a:extLst>
              </p:cNvPr>
              <p:cNvSpPr/>
              <p:nvPr/>
            </p:nvSpPr>
            <p:spPr bwMode="gray">
              <a:xfrm>
                <a:off x="10425608" y="4478487"/>
                <a:ext cx="184341" cy="271638"/>
              </a:xfrm>
              <a:custGeom>
                <a:avLst/>
                <a:gdLst>
                  <a:gd name="connsiteX0" fmla="*/ 87544 w 184341"/>
                  <a:gd name="connsiteY0" fmla="*/ 271638 h 271638"/>
                  <a:gd name="connsiteX1" fmla="*/ 0 w 184341"/>
                  <a:gd name="connsiteY1" fmla="*/ 249256 h 271638"/>
                  <a:gd name="connsiteX2" fmla="*/ 0 w 184341"/>
                  <a:gd name="connsiteY2" fmla="*/ 213758 h 271638"/>
                  <a:gd name="connsiteX3" fmla="*/ 88302 w 184341"/>
                  <a:gd name="connsiteY3" fmla="*/ 240773 h 271638"/>
                  <a:gd name="connsiteX4" fmla="*/ 149627 w 184341"/>
                  <a:gd name="connsiteY4" fmla="*/ 195239 h 271638"/>
                  <a:gd name="connsiteX5" fmla="*/ 138625 w 184341"/>
                  <a:gd name="connsiteY5" fmla="*/ 168942 h 271638"/>
                  <a:gd name="connsiteX6" fmla="*/ 97515 w 184341"/>
                  <a:gd name="connsiteY6" fmla="*/ 153007 h 271638"/>
                  <a:gd name="connsiteX7" fmla="*/ 68634 w 184341"/>
                  <a:gd name="connsiteY7" fmla="*/ 146234 h 271638"/>
                  <a:gd name="connsiteX8" fmla="*/ 18506 w 184341"/>
                  <a:gd name="connsiteY8" fmla="*/ 121346 h 271638"/>
                  <a:gd name="connsiteX9" fmla="*/ 3850 w 184341"/>
                  <a:gd name="connsiteY9" fmla="*/ 76778 h 271638"/>
                  <a:gd name="connsiteX10" fmla="*/ 96406 w 184341"/>
                  <a:gd name="connsiteY10" fmla="*/ 0 h 271638"/>
                  <a:gd name="connsiteX11" fmla="*/ 170064 w 184341"/>
                  <a:gd name="connsiteY11" fmla="*/ 16209 h 271638"/>
                  <a:gd name="connsiteX12" fmla="*/ 170064 w 184341"/>
                  <a:gd name="connsiteY12" fmla="*/ 51329 h 271638"/>
                  <a:gd name="connsiteX13" fmla="*/ 97567 w 184341"/>
                  <a:gd name="connsiteY13" fmla="*/ 30878 h 271638"/>
                  <a:gd name="connsiteX14" fmla="*/ 38565 w 184341"/>
                  <a:gd name="connsiteY14" fmla="*/ 74481 h 271638"/>
                  <a:gd name="connsiteX15" fmla="*/ 48784 w 184341"/>
                  <a:gd name="connsiteY15" fmla="*/ 99499 h 271638"/>
                  <a:gd name="connsiteX16" fmla="*/ 86018 w 184341"/>
                  <a:gd name="connsiteY16" fmla="*/ 114520 h 271638"/>
                  <a:gd name="connsiteX17" fmla="*/ 115708 w 184341"/>
                  <a:gd name="connsiteY17" fmla="*/ 121085 h 271638"/>
                  <a:gd name="connsiteX18" fmla="*/ 168524 w 184341"/>
                  <a:gd name="connsiteY18" fmla="*/ 146978 h 271638"/>
                  <a:gd name="connsiteX19" fmla="*/ 184342 w 184341"/>
                  <a:gd name="connsiteY19" fmla="*/ 194104 h 271638"/>
                  <a:gd name="connsiteX20" fmla="*/ 87544 w 184341"/>
                  <a:gd name="connsiteY20" fmla="*/ 271638 h 27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4341" h="271638">
                    <a:moveTo>
                      <a:pt x="87544" y="271638"/>
                    </a:moveTo>
                    <a:cubicBezTo>
                      <a:pt x="48209" y="271638"/>
                      <a:pt x="19028" y="264173"/>
                      <a:pt x="0" y="249256"/>
                    </a:cubicBezTo>
                    <a:lnTo>
                      <a:pt x="0" y="213758"/>
                    </a:lnTo>
                    <a:cubicBezTo>
                      <a:pt x="24157" y="231768"/>
                      <a:pt x="53613" y="240773"/>
                      <a:pt x="88302" y="240773"/>
                    </a:cubicBezTo>
                    <a:cubicBezTo>
                      <a:pt x="129189" y="240773"/>
                      <a:pt x="149627" y="225595"/>
                      <a:pt x="149627" y="195239"/>
                    </a:cubicBezTo>
                    <a:cubicBezTo>
                      <a:pt x="149627" y="183715"/>
                      <a:pt x="145947" y="174958"/>
                      <a:pt x="138625" y="168942"/>
                    </a:cubicBezTo>
                    <a:cubicBezTo>
                      <a:pt x="131291" y="162926"/>
                      <a:pt x="117587" y="157614"/>
                      <a:pt x="97515" y="153007"/>
                    </a:cubicBezTo>
                    <a:lnTo>
                      <a:pt x="68634" y="146234"/>
                    </a:lnTo>
                    <a:cubicBezTo>
                      <a:pt x="44986" y="140831"/>
                      <a:pt x="28268" y="132530"/>
                      <a:pt x="18506" y="121346"/>
                    </a:cubicBezTo>
                    <a:cubicBezTo>
                      <a:pt x="8731" y="110161"/>
                      <a:pt x="3850" y="95310"/>
                      <a:pt x="3850" y="76778"/>
                    </a:cubicBezTo>
                    <a:cubicBezTo>
                      <a:pt x="3850" y="25593"/>
                      <a:pt x="34702" y="0"/>
                      <a:pt x="96406" y="0"/>
                    </a:cubicBezTo>
                    <a:cubicBezTo>
                      <a:pt x="130338" y="0"/>
                      <a:pt x="154886" y="5403"/>
                      <a:pt x="170064" y="16209"/>
                    </a:cubicBezTo>
                    <a:lnTo>
                      <a:pt x="170064" y="51329"/>
                    </a:lnTo>
                    <a:cubicBezTo>
                      <a:pt x="150775" y="37691"/>
                      <a:pt x="126618" y="30878"/>
                      <a:pt x="97567" y="30878"/>
                    </a:cubicBezTo>
                    <a:cubicBezTo>
                      <a:pt x="58233" y="30878"/>
                      <a:pt x="38565" y="45417"/>
                      <a:pt x="38565" y="74481"/>
                    </a:cubicBezTo>
                    <a:cubicBezTo>
                      <a:pt x="38565" y="85013"/>
                      <a:pt x="41958" y="93339"/>
                      <a:pt x="48784" y="99499"/>
                    </a:cubicBezTo>
                    <a:cubicBezTo>
                      <a:pt x="55596" y="105659"/>
                      <a:pt x="68007" y="110670"/>
                      <a:pt x="86018" y="114520"/>
                    </a:cubicBezTo>
                    <a:lnTo>
                      <a:pt x="115708" y="121085"/>
                    </a:lnTo>
                    <a:cubicBezTo>
                      <a:pt x="140374" y="126501"/>
                      <a:pt x="157992" y="135127"/>
                      <a:pt x="168524" y="146978"/>
                    </a:cubicBezTo>
                    <a:cubicBezTo>
                      <a:pt x="179069" y="158828"/>
                      <a:pt x="184342" y="174541"/>
                      <a:pt x="184342" y="194104"/>
                    </a:cubicBezTo>
                    <a:cubicBezTo>
                      <a:pt x="184342" y="245785"/>
                      <a:pt x="152067" y="271638"/>
                      <a:pt x="87544" y="271638"/>
                    </a:cubicBezTo>
                    <a:close/>
                  </a:path>
                </a:pathLst>
              </a:custGeom>
              <a:solidFill>
                <a:schemeClr val="bg1"/>
              </a:solidFill>
              <a:ln w="1305" cap="flat">
                <a:noFill/>
                <a:prstDash val="solid"/>
                <a:miter/>
              </a:ln>
            </p:spPr>
            <p:txBody>
              <a:bodyPr rtlCol="0" anchor="ctr"/>
              <a:lstStyle/>
              <a:p>
                <a:endParaRPr lang="de-DE" dirty="0"/>
              </a:p>
            </p:txBody>
          </p:sp>
        </p:grpSp>
        <p:grpSp>
          <p:nvGrpSpPr>
            <p:cNvPr id="72" name="Graphic 3">
              <a:extLst>
                <a:ext uri="{FF2B5EF4-FFF2-40B4-BE49-F238E27FC236}">
                  <a16:creationId xmlns:a16="http://schemas.microsoft.com/office/drawing/2014/main" id="{7BF2C23B-C8F8-49A2-BAE2-3F1F9C86D53C}"/>
                </a:ext>
              </a:extLst>
            </p:cNvPr>
            <p:cNvGrpSpPr/>
            <p:nvPr/>
          </p:nvGrpSpPr>
          <p:grpSpPr bwMode="gray">
            <a:xfrm>
              <a:off x="1225830" y="2481785"/>
              <a:ext cx="1609205" cy="1626009"/>
              <a:chOff x="1225830" y="2481785"/>
              <a:chExt cx="1609205" cy="1626009"/>
            </a:xfrm>
          </p:grpSpPr>
          <p:sp>
            <p:nvSpPr>
              <p:cNvPr id="73" name="Freeform: Shape 72">
                <a:extLst>
                  <a:ext uri="{FF2B5EF4-FFF2-40B4-BE49-F238E27FC236}">
                    <a16:creationId xmlns:a16="http://schemas.microsoft.com/office/drawing/2014/main" id="{EB24F67A-7B7F-402A-845B-1128480A2F9E}"/>
                  </a:ext>
                </a:extLst>
              </p:cNvPr>
              <p:cNvSpPr/>
              <p:nvPr/>
            </p:nvSpPr>
            <p:spPr bwMode="gray">
              <a:xfrm>
                <a:off x="1225830" y="3224285"/>
                <a:ext cx="1147028" cy="713117"/>
              </a:xfrm>
              <a:custGeom>
                <a:avLst/>
                <a:gdLst>
                  <a:gd name="connsiteX0" fmla="*/ 801276 w 1147028"/>
                  <a:gd name="connsiteY0" fmla="*/ 441233 h 713117"/>
                  <a:gd name="connsiteX1" fmla="*/ 271677 w 1147028"/>
                  <a:gd name="connsiteY1" fmla="*/ 223168 h 713117"/>
                  <a:gd name="connsiteX2" fmla="*/ 246163 w 1147028"/>
                  <a:gd name="connsiteY2" fmla="*/ 0 h 713117"/>
                  <a:gd name="connsiteX3" fmla="*/ 3549 w 1147028"/>
                  <a:gd name="connsiteY3" fmla="*/ 78 h 713117"/>
                  <a:gd name="connsiteX4" fmla="*/ 49827 w 1147028"/>
                  <a:gd name="connsiteY4" fmla="*/ 315737 h 713117"/>
                  <a:gd name="connsiteX5" fmla="*/ 893792 w 1147028"/>
                  <a:gd name="connsiteY5" fmla="*/ 663213 h 713117"/>
                  <a:gd name="connsiteX6" fmla="*/ 1147029 w 1147028"/>
                  <a:gd name="connsiteY6" fmla="*/ 473690 h 713117"/>
                  <a:gd name="connsiteX7" fmla="*/ 975412 w 1147028"/>
                  <a:gd name="connsiteY7" fmla="*/ 302060 h 713117"/>
                  <a:gd name="connsiteX8" fmla="*/ 801276 w 1147028"/>
                  <a:gd name="connsiteY8" fmla="*/ 441233 h 71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7028" h="713117">
                    <a:moveTo>
                      <a:pt x="801276" y="441233"/>
                    </a:moveTo>
                    <a:cubicBezTo>
                      <a:pt x="594865" y="527354"/>
                      <a:pt x="357759" y="429722"/>
                      <a:pt x="271677" y="223168"/>
                    </a:cubicBezTo>
                    <a:cubicBezTo>
                      <a:pt x="241164" y="149940"/>
                      <a:pt x="233843" y="72875"/>
                      <a:pt x="246163" y="0"/>
                    </a:cubicBezTo>
                    <a:lnTo>
                      <a:pt x="3549" y="78"/>
                    </a:lnTo>
                    <a:cubicBezTo>
                      <a:pt x="-7413" y="104132"/>
                      <a:pt x="6747" y="212362"/>
                      <a:pt x="49827" y="315737"/>
                    </a:cubicBezTo>
                    <a:cubicBezTo>
                      <a:pt x="186964" y="644876"/>
                      <a:pt x="564835" y="800467"/>
                      <a:pt x="893792" y="663213"/>
                    </a:cubicBezTo>
                    <a:cubicBezTo>
                      <a:pt x="996241" y="620485"/>
                      <a:pt x="1081840" y="554369"/>
                      <a:pt x="1147029" y="473690"/>
                    </a:cubicBezTo>
                    <a:lnTo>
                      <a:pt x="975412" y="302060"/>
                    </a:lnTo>
                    <a:cubicBezTo>
                      <a:pt x="933023" y="361858"/>
                      <a:pt x="873942" y="410929"/>
                      <a:pt x="801276" y="441233"/>
                    </a:cubicBezTo>
                    <a:close/>
                  </a:path>
                </a:pathLst>
              </a:custGeom>
              <a:solidFill>
                <a:schemeClr val="bg1"/>
              </a:solidFill>
              <a:ln w="1305" cap="flat">
                <a:noFill/>
                <a:prstDash val="solid"/>
                <a:miter/>
              </a:ln>
            </p:spPr>
            <p:txBody>
              <a:bodyPr rtlCol="0" anchor="ctr"/>
              <a:lstStyle/>
              <a:p>
                <a:endParaRPr lang="de-DE" dirty="0"/>
              </a:p>
            </p:txBody>
          </p:sp>
          <p:sp>
            <p:nvSpPr>
              <p:cNvPr id="74" name="Freeform: Shape 73">
                <a:extLst>
                  <a:ext uri="{FF2B5EF4-FFF2-40B4-BE49-F238E27FC236}">
                    <a16:creationId xmlns:a16="http://schemas.microsoft.com/office/drawing/2014/main" id="{3C1CDBE5-3B45-4673-9BB2-E8E4C4F33849}"/>
                  </a:ext>
                </a:extLst>
              </p:cNvPr>
              <p:cNvSpPr/>
              <p:nvPr/>
            </p:nvSpPr>
            <p:spPr bwMode="gray">
              <a:xfrm>
                <a:off x="1580809" y="2481785"/>
                <a:ext cx="1026584" cy="874769"/>
              </a:xfrm>
              <a:custGeom>
                <a:avLst/>
                <a:gdLst>
                  <a:gd name="connsiteX0" fmla="*/ 243997 w 1026584"/>
                  <a:gd name="connsiteY0" fmla="*/ 592208 h 874769"/>
                  <a:gd name="connsiteX1" fmla="*/ 698945 w 1026584"/>
                  <a:gd name="connsiteY1" fmla="*/ 244158 h 874769"/>
                  <a:gd name="connsiteX2" fmla="*/ 904481 w 1026584"/>
                  <a:gd name="connsiteY2" fmla="*/ 334469 h 874769"/>
                  <a:gd name="connsiteX3" fmla="*/ 1026584 w 1026584"/>
                  <a:gd name="connsiteY3" fmla="*/ 124665 h 874769"/>
                  <a:gd name="connsiteX4" fmla="*/ 730737 w 1026584"/>
                  <a:gd name="connsiteY4" fmla="*/ 5747 h 874769"/>
                  <a:gd name="connsiteX5" fmla="*/ 5742 w 1026584"/>
                  <a:gd name="connsiteY5" fmla="*/ 560416 h 874769"/>
                  <a:gd name="connsiteX6" fmla="*/ 41893 w 1026584"/>
                  <a:gd name="connsiteY6" fmla="*/ 874770 h 874769"/>
                  <a:gd name="connsiteX7" fmla="*/ 276493 w 1026584"/>
                  <a:gd name="connsiteY7" fmla="*/ 812818 h 874769"/>
                  <a:gd name="connsiteX8" fmla="*/ 243997 w 1026584"/>
                  <a:gd name="connsiteY8" fmla="*/ 592208 h 87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6584" h="874769">
                    <a:moveTo>
                      <a:pt x="243997" y="592208"/>
                    </a:moveTo>
                    <a:cubicBezTo>
                      <a:pt x="273570" y="370398"/>
                      <a:pt x="477252" y="214559"/>
                      <a:pt x="698945" y="244158"/>
                    </a:cubicBezTo>
                    <a:cubicBezTo>
                      <a:pt x="777537" y="254651"/>
                      <a:pt x="847776" y="287121"/>
                      <a:pt x="904481" y="334469"/>
                    </a:cubicBezTo>
                    <a:lnTo>
                      <a:pt x="1026584" y="124665"/>
                    </a:lnTo>
                    <a:cubicBezTo>
                      <a:pt x="942263" y="62792"/>
                      <a:pt x="841681" y="20546"/>
                      <a:pt x="730737" y="5747"/>
                    </a:cubicBezTo>
                    <a:cubicBezTo>
                      <a:pt x="377480" y="-41418"/>
                      <a:pt x="52869" y="206911"/>
                      <a:pt x="5742" y="560416"/>
                    </a:cubicBezTo>
                    <a:cubicBezTo>
                      <a:pt x="-8940" y="670486"/>
                      <a:pt x="5038" y="777789"/>
                      <a:pt x="41893" y="874770"/>
                    </a:cubicBezTo>
                    <a:lnTo>
                      <a:pt x="276493" y="812818"/>
                    </a:lnTo>
                    <a:cubicBezTo>
                      <a:pt x="246215" y="746050"/>
                      <a:pt x="233582" y="670278"/>
                      <a:pt x="243997" y="592208"/>
                    </a:cubicBezTo>
                    <a:close/>
                  </a:path>
                </a:pathLst>
              </a:custGeom>
              <a:solidFill>
                <a:schemeClr val="bg1"/>
              </a:solidFill>
              <a:ln w="1305" cap="flat">
                <a:noFill/>
                <a:prstDash val="solid"/>
                <a:miter/>
              </a:ln>
            </p:spPr>
            <p:txBody>
              <a:bodyPr rtlCol="0" anchor="ctr"/>
              <a:lstStyle/>
              <a:p>
                <a:endParaRPr lang="de-DE" dirty="0"/>
              </a:p>
            </p:txBody>
          </p:sp>
          <p:sp>
            <p:nvSpPr>
              <p:cNvPr id="75" name="Freeform: Shape 74">
                <a:extLst>
                  <a:ext uri="{FF2B5EF4-FFF2-40B4-BE49-F238E27FC236}">
                    <a16:creationId xmlns:a16="http://schemas.microsoft.com/office/drawing/2014/main" id="{DF95941B-2528-4E7D-8836-D5B7A7996997}"/>
                  </a:ext>
                </a:extLst>
              </p:cNvPr>
              <p:cNvSpPr/>
              <p:nvPr/>
            </p:nvSpPr>
            <p:spPr bwMode="gray">
              <a:xfrm>
                <a:off x="2229927" y="2879315"/>
                <a:ext cx="605107" cy="1228479"/>
              </a:xfrm>
              <a:custGeom>
                <a:avLst/>
                <a:gdLst>
                  <a:gd name="connsiteX0" fmla="*/ 207128 w 605107"/>
                  <a:gd name="connsiteY0" fmla="*/ 316559 h 1228479"/>
                  <a:gd name="connsiteX1" fmla="*/ 280369 w 605107"/>
                  <a:gd name="connsiteY1" fmla="*/ 884879 h 1228479"/>
                  <a:gd name="connsiteX2" fmla="*/ 99316 w 605107"/>
                  <a:gd name="connsiteY2" fmla="*/ 1017671 h 1228479"/>
                  <a:gd name="connsiteX3" fmla="*/ 219644 w 605107"/>
                  <a:gd name="connsiteY3" fmla="*/ 1228479 h 1228479"/>
                  <a:gd name="connsiteX4" fmla="*/ 470675 w 605107"/>
                  <a:gd name="connsiteY4" fmla="*/ 1031804 h 1228479"/>
                  <a:gd name="connsiteX5" fmla="*/ 353949 w 605107"/>
                  <a:gd name="connsiteY5" fmla="*/ 126122 h 1228479"/>
                  <a:gd name="connsiteX6" fmla="*/ 63922 w 605107"/>
                  <a:gd name="connsiteY6" fmla="*/ 0 h 1228479"/>
                  <a:gd name="connsiteX7" fmla="*/ 0 w 605107"/>
                  <a:gd name="connsiteY7" fmla="*/ 234209 h 1228479"/>
                  <a:gd name="connsiteX8" fmla="*/ 207128 w 605107"/>
                  <a:gd name="connsiteY8" fmla="*/ 316559 h 122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5107" h="1228479">
                    <a:moveTo>
                      <a:pt x="207128" y="316559"/>
                    </a:moveTo>
                    <a:cubicBezTo>
                      <a:pt x="384201" y="453239"/>
                      <a:pt x="417010" y="707702"/>
                      <a:pt x="280369" y="884879"/>
                    </a:cubicBezTo>
                    <a:cubicBezTo>
                      <a:pt x="231938" y="947679"/>
                      <a:pt x="168668" y="992261"/>
                      <a:pt x="99316" y="1017671"/>
                    </a:cubicBezTo>
                    <a:lnTo>
                      <a:pt x="219644" y="1228479"/>
                    </a:lnTo>
                    <a:cubicBezTo>
                      <a:pt x="315384" y="1186429"/>
                      <a:pt x="402302" y="1120471"/>
                      <a:pt x="470675" y="1031804"/>
                    </a:cubicBezTo>
                    <a:cubicBezTo>
                      <a:pt x="688387" y="749478"/>
                      <a:pt x="636145" y="343978"/>
                      <a:pt x="353949" y="126122"/>
                    </a:cubicBezTo>
                    <a:cubicBezTo>
                      <a:pt x="266092" y="58284"/>
                      <a:pt x="166266" y="16653"/>
                      <a:pt x="63922" y="0"/>
                    </a:cubicBezTo>
                    <a:lnTo>
                      <a:pt x="0" y="234209"/>
                    </a:lnTo>
                    <a:cubicBezTo>
                      <a:pt x="72954" y="241426"/>
                      <a:pt x="144824" y="268441"/>
                      <a:pt x="207128" y="316559"/>
                    </a:cubicBezTo>
                    <a:close/>
                  </a:path>
                </a:pathLst>
              </a:custGeom>
              <a:solidFill>
                <a:schemeClr val="bg1"/>
              </a:solidFill>
              <a:ln w="1305" cap="flat">
                <a:noFill/>
                <a:prstDash val="solid"/>
                <a:miter/>
              </a:ln>
            </p:spPr>
            <p:txBody>
              <a:bodyPr rtlCol="0" anchor="ctr"/>
              <a:lstStyle/>
              <a:p>
                <a:endParaRPr lang="de-DE" dirty="0"/>
              </a:p>
            </p:txBody>
          </p:sp>
        </p:grpSp>
      </p:grpSp>
      <p:sp>
        <p:nvSpPr>
          <p:cNvPr id="123" name="Textplatzhalter 11">
            <a:extLst>
              <a:ext uri="{FF2B5EF4-FFF2-40B4-BE49-F238E27FC236}">
                <a16:creationId xmlns:a16="http://schemas.microsoft.com/office/drawing/2014/main" id="{84DD373E-9F81-42C7-B506-5796462463F9}"/>
              </a:ext>
            </a:extLst>
          </p:cNvPr>
          <p:cNvSpPr>
            <a:spLocks noGrp="1"/>
          </p:cNvSpPr>
          <p:nvPr>
            <p:ph type="body" sz="quarter" idx="13"/>
          </p:nvPr>
        </p:nvSpPr>
        <p:spPr bwMode="gray">
          <a:xfrm>
            <a:off x="336000" y="5013000"/>
            <a:ext cx="2160000" cy="1440188"/>
          </a:xfrm>
        </p:spPr>
        <p:txBody>
          <a:bodyPr lIns="144000"/>
          <a:lstStyle>
            <a:lvl1pPr marL="0" indent="0">
              <a:spcBef>
                <a:spcPts val="200"/>
              </a:spcBef>
              <a:spcAft>
                <a:spcPts val="800"/>
              </a:spcAft>
              <a:buNone/>
              <a:defRPr sz="900" b="0" cap="all" baseline="0">
                <a:solidFill>
                  <a:schemeClr val="bg1"/>
                </a:solidFill>
              </a:defRPr>
            </a:lvl1pPr>
            <a:lvl2pPr marL="0" indent="0">
              <a:spcBef>
                <a:spcPts val="200"/>
              </a:spcBef>
              <a:spcAft>
                <a:spcPts val="200"/>
              </a:spcAft>
              <a:buFont typeface="Arial" panose="020B0604020202020204" pitchFamily="34" charset="0"/>
              <a:buNone/>
              <a:defRPr sz="900" b="0">
                <a:solidFill>
                  <a:schemeClr val="bg1"/>
                </a:solidFill>
              </a:defRPr>
            </a:lvl2pPr>
            <a:lvl3pPr marL="0" indent="0">
              <a:spcBef>
                <a:spcPts val="200"/>
              </a:spcBef>
              <a:spcAft>
                <a:spcPts val="200"/>
              </a:spcAft>
              <a:buFont typeface="Arial" panose="020B0604020202020204" pitchFamily="34" charset="0"/>
              <a:buNone/>
              <a:defRPr sz="900" b="0">
                <a:solidFill>
                  <a:schemeClr val="bg1"/>
                </a:solidFill>
              </a:defRPr>
            </a:lvl3pPr>
            <a:lvl4pPr marL="0" indent="0">
              <a:spcBef>
                <a:spcPts val="200"/>
              </a:spcBef>
              <a:spcAft>
                <a:spcPts val="200"/>
              </a:spcAft>
              <a:buNone/>
              <a:defRPr sz="900" b="0">
                <a:solidFill>
                  <a:schemeClr val="bg1"/>
                </a:solidFill>
              </a:defRPr>
            </a:lvl4pPr>
            <a:lvl5pPr marL="0" indent="0">
              <a:spcBef>
                <a:spcPts val="200"/>
              </a:spcBef>
              <a:spcAft>
                <a:spcPts val="200"/>
              </a:spcAft>
              <a:buNone/>
              <a:defRPr sz="900" b="0">
                <a:solidFill>
                  <a:schemeClr val="bg1"/>
                </a:solidFill>
              </a:defRPr>
            </a:lvl5pPr>
            <a:lvl6pPr marL="0" indent="0">
              <a:spcBef>
                <a:spcPts val="200"/>
              </a:spcBef>
              <a:spcAft>
                <a:spcPts val="200"/>
              </a:spcAft>
              <a:buNone/>
              <a:defRPr sz="900" b="0">
                <a:solidFill>
                  <a:schemeClr val="bg1"/>
                </a:solidFill>
              </a:defRPr>
            </a:lvl6pPr>
            <a:lvl7pPr marL="0" indent="0">
              <a:spcBef>
                <a:spcPts val="200"/>
              </a:spcBef>
              <a:spcAft>
                <a:spcPts val="200"/>
              </a:spcAft>
              <a:buNone/>
              <a:defRPr sz="900" b="0">
                <a:solidFill>
                  <a:schemeClr val="bg1"/>
                </a:solidFill>
              </a:defRPr>
            </a:lvl7pPr>
            <a:lvl8pPr marL="0" indent="0">
              <a:spcBef>
                <a:spcPts val="200"/>
              </a:spcBef>
              <a:spcAft>
                <a:spcPts val="200"/>
              </a:spcAft>
              <a:buNone/>
              <a:defRPr sz="900" b="0">
                <a:solidFill>
                  <a:schemeClr val="bg1"/>
                </a:solidFill>
              </a:defRPr>
            </a:lvl8pPr>
            <a:lvl9pPr marL="0" indent="0">
              <a:spcBef>
                <a:spcPts val="200"/>
              </a:spcBef>
              <a:spcAft>
                <a:spcPts val="200"/>
              </a:spcAft>
              <a:buNone/>
              <a:defRPr sz="900" b="0">
                <a:solidFill>
                  <a:schemeClr val="bg1"/>
                </a:solidFill>
              </a:defRPr>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a:t>
            </a:r>
          </a:p>
          <a:p>
            <a:pPr lvl="6"/>
            <a:r>
              <a:rPr lang="de-DE" dirty="0"/>
              <a:t>Sieben </a:t>
            </a:r>
          </a:p>
          <a:p>
            <a:pPr lvl="7"/>
            <a:r>
              <a:rPr lang="de-DE" dirty="0"/>
              <a:t>Acht</a:t>
            </a:r>
          </a:p>
          <a:p>
            <a:pPr lvl="8"/>
            <a:r>
              <a:rPr lang="de-DE" dirty="0"/>
              <a:t>Neun</a:t>
            </a:r>
          </a:p>
        </p:txBody>
      </p:sp>
      <p:sp>
        <p:nvSpPr>
          <p:cNvPr id="124" name="Textplatzhalter 11">
            <a:extLst>
              <a:ext uri="{FF2B5EF4-FFF2-40B4-BE49-F238E27FC236}">
                <a16:creationId xmlns:a16="http://schemas.microsoft.com/office/drawing/2014/main" id="{22C0FEE8-FF76-449B-89CF-1382F885919D}"/>
              </a:ext>
            </a:extLst>
          </p:cNvPr>
          <p:cNvSpPr>
            <a:spLocks noGrp="1"/>
          </p:cNvSpPr>
          <p:nvPr>
            <p:ph type="body" sz="quarter" idx="14" hasCustomPrompt="1"/>
          </p:nvPr>
        </p:nvSpPr>
        <p:spPr bwMode="gray">
          <a:xfrm>
            <a:off x="3071875" y="5013000"/>
            <a:ext cx="2016000" cy="1440188"/>
          </a:xfrm>
        </p:spPr>
        <p:txBody>
          <a:bodyPr lIns="144000"/>
          <a:lstStyle>
            <a:lvl1pPr marL="0" indent="0">
              <a:spcBef>
                <a:spcPts val="200"/>
              </a:spcBef>
              <a:spcAft>
                <a:spcPts val="800"/>
              </a:spcAft>
              <a:buNone/>
              <a:defRPr sz="900" b="0">
                <a:solidFill>
                  <a:schemeClr val="bg1"/>
                </a:solidFill>
              </a:defRPr>
            </a:lvl1pPr>
            <a:lvl2pPr marL="0" indent="0">
              <a:spcBef>
                <a:spcPts val="200"/>
              </a:spcBef>
              <a:spcAft>
                <a:spcPts val="200"/>
              </a:spcAft>
              <a:buFont typeface="Arial" panose="020B0604020202020204" pitchFamily="34" charset="0"/>
              <a:buNone/>
              <a:defRPr sz="900" b="0">
                <a:solidFill>
                  <a:schemeClr val="bg1"/>
                </a:solidFill>
              </a:defRPr>
            </a:lvl2pPr>
            <a:lvl3pPr marL="0" indent="0">
              <a:spcBef>
                <a:spcPts val="200"/>
              </a:spcBef>
              <a:spcAft>
                <a:spcPts val="200"/>
              </a:spcAft>
              <a:buFont typeface="Arial" panose="020B0604020202020204" pitchFamily="34" charset="0"/>
              <a:buNone/>
              <a:defRPr sz="900" b="0">
                <a:solidFill>
                  <a:schemeClr val="bg1"/>
                </a:solidFill>
              </a:defRPr>
            </a:lvl3pPr>
            <a:lvl4pPr marL="0" indent="0">
              <a:spcBef>
                <a:spcPts val="200"/>
              </a:spcBef>
              <a:spcAft>
                <a:spcPts val="200"/>
              </a:spcAft>
              <a:buNone/>
              <a:defRPr sz="900" b="0">
                <a:solidFill>
                  <a:schemeClr val="bg1"/>
                </a:solidFill>
              </a:defRPr>
            </a:lvl4pPr>
            <a:lvl5pPr marL="0" indent="0">
              <a:spcBef>
                <a:spcPts val="200"/>
              </a:spcBef>
              <a:spcAft>
                <a:spcPts val="200"/>
              </a:spcAft>
              <a:buNone/>
              <a:defRPr sz="900" b="0">
                <a:solidFill>
                  <a:schemeClr val="bg1"/>
                </a:solidFill>
              </a:defRPr>
            </a:lvl5pPr>
            <a:lvl6pPr marL="0" indent="0">
              <a:spcBef>
                <a:spcPts val="200"/>
              </a:spcBef>
              <a:spcAft>
                <a:spcPts val="200"/>
              </a:spcAft>
              <a:buNone/>
              <a:defRPr sz="900" b="0">
                <a:solidFill>
                  <a:schemeClr val="bg1"/>
                </a:solidFill>
              </a:defRPr>
            </a:lvl6pPr>
            <a:lvl7pPr marL="0" indent="0">
              <a:spcBef>
                <a:spcPts val="200"/>
              </a:spcBef>
              <a:spcAft>
                <a:spcPts val="200"/>
              </a:spcAft>
              <a:buNone/>
              <a:defRPr sz="900" b="0">
                <a:solidFill>
                  <a:schemeClr val="bg1"/>
                </a:solidFill>
              </a:defRPr>
            </a:lvl7pPr>
            <a:lvl8pPr marL="0" indent="0">
              <a:spcBef>
                <a:spcPts val="200"/>
              </a:spcBef>
              <a:spcAft>
                <a:spcPts val="200"/>
              </a:spcAft>
              <a:buNone/>
              <a:defRPr sz="900" b="0">
                <a:solidFill>
                  <a:schemeClr val="bg1"/>
                </a:solidFill>
              </a:defRPr>
            </a:lvl8pPr>
            <a:lvl9pPr marL="0" indent="0">
              <a:spcBef>
                <a:spcPts val="200"/>
              </a:spcBef>
              <a:spcAft>
                <a:spcPts val="200"/>
              </a:spcAft>
              <a:buNone/>
              <a:defRPr sz="900" b="0">
                <a:solidFill>
                  <a:schemeClr val="bg1"/>
                </a:solidFill>
              </a:defRPr>
            </a:lvl9pPr>
          </a:lstStyle>
          <a:p>
            <a:pPr lvl="0"/>
            <a:r>
              <a:rPr lang="de-DE" dirty="0"/>
              <a:t>Vorname und Nachnam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a:t>
            </a:r>
          </a:p>
          <a:p>
            <a:pPr lvl="6"/>
            <a:r>
              <a:rPr lang="de-DE" dirty="0"/>
              <a:t>Sieben </a:t>
            </a:r>
          </a:p>
          <a:p>
            <a:pPr lvl="7"/>
            <a:r>
              <a:rPr lang="de-DE" dirty="0"/>
              <a:t>Acht</a:t>
            </a:r>
          </a:p>
          <a:p>
            <a:pPr lvl="8"/>
            <a:r>
              <a:rPr lang="de-DE" dirty="0"/>
              <a:t>Neun</a:t>
            </a:r>
          </a:p>
        </p:txBody>
      </p:sp>
      <p:sp>
        <p:nvSpPr>
          <p:cNvPr id="127" name="Textplatzhalter 11">
            <a:extLst>
              <a:ext uri="{FF2B5EF4-FFF2-40B4-BE49-F238E27FC236}">
                <a16:creationId xmlns:a16="http://schemas.microsoft.com/office/drawing/2014/main" id="{20A60649-A70D-4598-8109-C4F42F11792F}"/>
              </a:ext>
            </a:extLst>
          </p:cNvPr>
          <p:cNvSpPr>
            <a:spLocks noGrp="1"/>
          </p:cNvSpPr>
          <p:nvPr>
            <p:ph type="body" sz="quarter" idx="15" hasCustomPrompt="1"/>
          </p:nvPr>
        </p:nvSpPr>
        <p:spPr bwMode="gray">
          <a:xfrm>
            <a:off x="5375875" y="5013000"/>
            <a:ext cx="2016125" cy="1440188"/>
          </a:xfrm>
        </p:spPr>
        <p:txBody>
          <a:bodyPr lIns="144000"/>
          <a:lstStyle>
            <a:lvl1pPr marL="0" indent="0">
              <a:spcBef>
                <a:spcPts val="200"/>
              </a:spcBef>
              <a:spcAft>
                <a:spcPts val="800"/>
              </a:spcAft>
              <a:buNone/>
              <a:defRPr sz="900" b="0">
                <a:solidFill>
                  <a:schemeClr val="bg1"/>
                </a:solidFill>
              </a:defRPr>
            </a:lvl1pPr>
            <a:lvl2pPr marL="0" indent="0">
              <a:spcBef>
                <a:spcPts val="200"/>
              </a:spcBef>
              <a:spcAft>
                <a:spcPts val="200"/>
              </a:spcAft>
              <a:buFont typeface="Arial" panose="020B0604020202020204" pitchFamily="34" charset="0"/>
              <a:buNone/>
              <a:defRPr sz="900" b="0">
                <a:solidFill>
                  <a:schemeClr val="bg1"/>
                </a:solidFill>
              </a:defRPr>
            </a:lvl2pPr>
            <a:lvl3pPr marL="0" indent="0">
              <a:spcBef>
                <a:spcPts val="200"/>
              </a:spcBef>
              <a:spcAft>
                <a:spcPts val="200"/>
              </a:spcAft>
              <a:buFont typeface="Arial" panose="020B0604020202020204" pitchFamily="34" charset="0"/>
              <a:buNone/>
              <a:defRPr sz="900" b="0">
                <a:solidFill>
                  <a:schemeClr val="bg1"/>
                </a:solidFill>
              </a:defRPr>
            </a:lvl3pPr>
            <a:lvl4pPr marL="0" indent="0">
              <a:spcBef>
                <a:spcPts val="200"/>
              </a:spcBef>
              <a:spcAft>
                <a:spcPts val="200"/>
              </a:spcAft>
              <a:buNone/>
              <a:defRPr sz="900" b="0">
                <a:solidFill>
                  <a:schemeClr val="bg1"/>
                </a:solidFill>
              </a:defRPr>
            </a:lvl4pPr>
            <a:lvl5pPr marL="0" indent="0">
              <a:spcBef>
                <a:spcPts val="200"/>
              </a:spcBef>
              <a:spcAft>
                <a:spcPts val="200"/>
              </a:spcAft>
              <a:buNone/>
              <a:defRPr sz="900" b="0">
                <a:solidFill>
                  <a:schemeClr val="bg1"/>
                </a:solidFill>
              </a:defRPr>
            </a:lvl5pPr>
            <a:lvl6pPr marL="0" indent="0">
              <a:spcBef>
                <a:spcPts val="200"/>
              </a:spcBef>
              <a:spcAft>
                <a:spcPts val="200"/>
              </a:spcAft>
              <a:buNone/>
              <a:defRPr sz="900" b="0">
                <a:solidFill>
                  <a:schemeClr val="bg1"/>
                </a:solidFill>
              </a:defRPr>
            </a:lvl6pPr>
            <a:lvl7pPr marL="0" indent="0">
              <a:spcBef>
                <a:spcPts val="200"/>
              </a:spcBef>
              <a:spcAft>
                <a:spcPts val="200"/>
              </a:spcAft>
              <a:buNone/>
              <a:defRPr sz="900" b="0">
                <a:solidFill>
                  <a:schemeClr val="bg1"/>
                </a:solidFill>
              </a:defRPr>
            </a:lvl7pPr>
            <a:lvl8pPr marL="0" indent="0">
              <a:spcBef>
                <a:spcPts val="200"/>
              </a:spcBef>
              <a:spcAft>
                <a:spcPts val="200"/>
              </a:spcAft>
              <a:buNone/>
              <a:defRPr sz="900" b="0">
                <a:solidFill>
                  <a:schemeClr val="bg1"/>
                </a:solidFill>
              </a:defRPr>
            </a:lvl8pPr>
            <a:lvl9pPr marL="0" indent="0">
              <a:spcBef>
                <a:spcPts val="200"/>
              </a:spcBef>
              <a:spcAft>
                <a:spcPts val="200"/>
              </a:spcAft>
              <a:buNone/>
              <a:defRPr sz="900" b="0">
                <a:solidFill>
                  <a:schemeClr val="bg1"/>
                </a:solidFill>
              </a:defRPr>
            </a:lvl9pPr>
          </a:lstStyle>
          <a:p>
            <a:pPr lvl="0"/>
            <a:r>
              <a:rPr lang="de-DE" dirty="0"/>
              <a:t>Vorname und Nachnam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a:t>
            </a:r>
          </a:p>
          <a:p>
            <a:pPr lvl="6"/>
            <a:r>
              <a:rPr lang="de-DE" dirty="0"/>
              <a:t>Sieben </a:t>
            </a:r>
          </a:p>
          <a:p>
            <a:pPr lvl="7"/>
            <a:r>
              <a:rPr lang="de-DE" dirty="0"/>
              <a:t>Acht</a:t>
            </a:r>
          </a:p>
          <a:p>
            <a:pPr lvl="8"/>
            <a:r>
              <a:rPr lang="de-DE" dirty="0"/>
              <a:t>Neun</a:t>
            </a:r>
          </a:p>
        </p:txBody>
      </p:sp>
      <p:sp>
        <p:nvSpPr>
          <p:cNvPr id="128" name="Textplatzhalter 11">
            <a:extLst>
              <a:ext uri="{FF2B5EF4-FFF2-40B4-BE49-F238E27FC236}">
                <a16:creationId xmlns:a16="http://schemas.microsoft.com/office/drawing/2014/main" id="{CDEBDD2D-FBA4-414C-84D8-E6BF60536B5D}"/>
              </a:ext>
            </a:extLst>
          </p:cNvPr>
          <p:cNvSpPr>
            <a:spLocks noGrp="1"/>
          </p:cNvSpPr>
          <p:nvPr>
            <p:ph type="body" sz="quarter" idx="16" hasCustomPrompt="1"/>
          </p:nvPr>
        </p:nvSpPr>
        <p:spPr bwMode="gray">
          <a:xfrm>
            <a:off x="7679875" y="5013000"/>
            <a:ext cx="2016125" cy="1440188"/>
          </a:xfrm>
        </p:spPr>
        <p:txBody>
          <a:bodyPr lIns="144000"/>
          <a:lstStyle>
            <a:lvl1pPr marL="0" indent="0">
              <a:spcBef>
                <a:spcPts val="200"/>
              </a:spcBef>
              <a:spcAft>
                <a:spcPts val="800"/>
              </a:spcAft>
              <a:buNone/>
              <a:defRPr sz="900" b="0">
                <a:solidFill>
                  <a:schemeClr val="bg1"/>
                </a:solidFill>
              </a:defRPr>
            </a:lvl1pPr>
            <a:lvl2pPr marL="0" indent="0">
              <a:spcBef>
                <a:spcPts val="200"/>
              </a:spcBef>
              <a:spcAft>
                <a:spcPts val="200"/>
              </a:spcAft>
              <a:buFont typeface="Arial" panose="020B0604020202020204" pitchFamily="34" charset="0"/>
              <a:buNone/>
              <a:defRPr sz="900" b="0">
                <a:solidFill>
                  <a:schemeClr val="bg1"/>
                </a:solidFill>
              </a:defRPr>
            </a:lvl2pPr>
            <a:lvl3pPr marL="0" indent="0">
              <a:spcBef>
                <a:spcPts val="200"/>
              </a:spcBef>
              <a:spcAft>
                <a:spcPts val="200"/>
              </a:spcAft>
              <a:buFont typeface="Arial" panose="020B0604020202020204" pitchFamily="34" charset="0"/>
              <a:buNone/>
              <a:defRPr sz="900" b="0">
                <a:solidFill>
                  <a:schemeClr val="bg1"/>
                </a:solidFill>
              </a:defRPr>
            </a:lvl3pPr>
            <a:lvl4pPr marL="0" indent="0">
              <a:spcBef>
                <a:spcPts val="200"/>
              </a:spcBef>
              <a:spcAft>
                <a:spcPts val="200"/>
              </a:spcAft>
              <a:buNone/>
              <a:defRPr sz="900" b="0">
                <a:solidFill>
                  <a:schemeClr val="bg1"/>
                </a:solidFill>
              </a:defRPr>
            </a:lvl4pPr>
            <a:lvl5pPr marL="0" indent="0">
              <a:spcBef>
                <a:spcPts val="200"/>
              </a:spcBef>
              <a:spcAft>
                <a:spcPts val="200"/>
              </a:spcAft>
              <a:buNone/>
              <a:defRPr sz="900" b="0">
                <a:solidFill>
                  <a:schemeClr val="bg1"/>
                </a:solidFill>
              </a:defRPr>
            </a:lvl5pPr>
            <a:lvl6pPr marL="0" indent="0">
              <a:spcBef>
                <a:spcPts val="200"/>
              </a:spcBef>
              <a:spcAft>
                <a:spcPts val="200"/>
              </a:spcAft>
              <a:buNone/>
              <a:defRPr sz="900" b="0">
                <a:solidFill>
                  <a:schemeClr val="bg1"/>
                </a:solidFill>
              </a:defRPr>
            </a:lvl6pPr>
            <a:lvl7pPr marL="0" indent="0">
              <a:spcBef>
                <a:spcPts val="200"/>
              </a:spcBef>
              <a:spcAft>
                <a:spcPts val="200"/>
              </a:spcAft>
              <a:buNone/>
              <a:defRPr sz="900" b="0">
                <a:solidFill>
                  <a:schemeClr val="bg1"/>
                </a:solidFill>
              </a:defRPr>
            </a:lvl7pPr>
            <a:lvl8pPr marL="0" indent="0">
              <a:spcBef>
                <a:spcPts val="200"/>
              </a:spcBef>
              <a:spcAft>
                <a:spcPts val="200"/>
              </a:spcAft>
              <a:buNone/>
              <a:defRPr sz="900" b="0">
                <a:solidFill>
                  <a:schemeClr val="bg1"/>
                </a:solidFill>
              </a:defRPr>
            </a:lvl8pPr>
            <a:lvl9pPr marL="0" indent="0">
              <a:spcBef>
                <a:spcPts val="200"/>
              </a:spcBef>
              <a:spcAft>
                <a:spcPts val="200"/>
              </a:spcAft>
              <a:buNone/>
              <a:defRPr sz="900" b="0">
                <a:solidFill>
                  <a:schemeClr val="bg1"/>
                </a:solidFill>
              </a:defRPr>
            </a:lvl9pPr>
          </a:lstStyle>
          <a:p>
            <a:pPr lvl="0"/>
            <a:r>
              <a:rPr lang="de-DE" dirty="0"/>
              <a:t>Vorname und Nachnam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a:t>
            </a:r>
          </a:p>
          <a:p>
            <a:pPr lvl="6"/>
            <a:r>
              <a:rPr lang="de-DE" dirty="0"/>
              <a:t>Sieben </a:t>
            </a:r>
          </a:p>
          <a:p>
            <a:pPr lvl="7"/>
            <a:r>
              <a:rPr lang="de-DE" dirty="0"/>
              <a:t>Acht</a:t>
            </a:r>
          </a:p>
          <a:p>
            <a:pPr lvl="8"/>
            <a:r>
              <a:rPr lang="de-DE" dirty="0"/>
              <a:t>Neun</a:t>
            </a:r>
          </a:p>
        </p:txBody>
      </p:sp>
    </p:spTree>
    <p:extLst>
      <p:ext uri="{BB962C8B-B14F-4D97-AF65-F5344CB8AC3E}">
        <p14:creationId xmlns:p14="http://schemas.microsoft.com/office/powerpoint/2010/main" val="1238088529"/>
      </p:ext>
    </p:extLst>
  </p:cSld>
  <p:clrMapOvr>
    <a:masterClrMapping/>
  </p:clrMapOvr>
  <p:extLst>
    <p:ext uri="{DCECCB84-F9BA-43D5-87BE-67443E8EF086}">
      <p15:sldGuideLst xmlns:p15="http://schemas.microsoft.com/office/powerpoint/2012/main">
        <p15:guide id="3" orient="horz" pos="482">
          <p15:clr>
            <a:srgbClr val="F26B43"/>
          </p15:clr>
        </p15:guide>
        <p15:guide id="4" orient="horz" pos="3611">
          <p15:clr>
            <a:srgbClr val="A4A3A4"/>
          </p15:clr>
        </p15:guide>
        <p15:guide id="5" orient="horz" pos="4065">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6EBB2F0-0189-47FD-8597-8717CEE2758D}"/>
              </a:ext>
            </a:extLst>
          </p:cNvPr>
          <p:cNvGraphicFramePr>
            <a:graphicFrameLocks noChangeAspect="1"/>
          </p:cNvGraphicFramePr>
          <p:nvPr userDrawn="1">
            <p:custDataLst>
              <p:tags r:id="rId1"/>
            </p:custDataLst>
            <p:extLst>
              <p:ext uri="{D42A27DB-BD31-4B8C-83A1-F6EECF244321}">
                <p14:modId xmlns:p14="http://schemas.microsoft.com/office/powerpoint/2010/main" val="207868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2ACFD4A-1C8E-4612-85E3-67A1B2980E15}"/>
              </a:ext>
            </a:extLst>
          </p:cNvPr>
          <p:cNvSpPr>
            <a:spLocks noGrp="1"/>
          </p:cNvSpPr>
          <p:nvPr>
            <p:ph type="dt" sz="half" idx="18"/>
          </p:nvPr>
        </p:nvSpPr>
        <p:spPr bwMode="gray"/>
        <p:txBody>
          <a:bodyPr/>
          <a:lstStyle>
            <a:lvl1pPr>
              <a:defRPr>
                <a:noFill/>
              </a:defRPr>
            </a:lvl1pPr>
          </a:lstStyle>
          <a:p>
            <a:fld id="{3B90E5B4-C653-4096-8F4C-6CF5149C90EE}" type="datetime1">
              <a:rPr lang="de-DE" smtClean="0"/>
              <a:t>29.09.25</a:t>
            </a:fld>
            <a:endParaRPr lang="de-DE" dirty="0"/>
          </a:p>
        </p:txBody>
      </p:sp>
      <p:sp>
        <p:nvSpPr>
          <p:cNvPr id="3" name="Footer Placeholder 2">
            <a:extLst>
              <a:ext uri="{FF2B5EF4-FFF2-40B4-BE49-F238E27FC236}">
                <a16:creationId xmlns:a16="http://schemas.microsoft.com/office/drawing/2014/main" id="{BF8AFF52-156D-4D5E-BB9C-07FE740D7B90}"/>
              </a:ext>
            </a:extLst>
          </p:cNvPr>
          <p:cNvSpPr>
            <a:spLocks noGrp="1"/>
          </p:cNvSpPr>
          <p:nvPr>
            <p:ph type="ftr" sz="quarter" idx="19"/>
          </p:nvPr>
        </p:nvSpPr>
        <p:spPr bwMode="gray">
          <a:xfrm>
            <a:off x="336000" y="6165000"/>
            <a:ext cx="2088113" cy="432000"/>
          </a:xfrm>
        </p:spPr>
        <p:txBody>
          <a:bodyPr/>
          <a:lstStyle/>
          <a:p>
            <a:r>
              <a:rPr lang="de-DE" dirty="0"/>
              <a:t>TITEL DER PRÄSENTATION | TITEL VORNAME NAME</a:t>
            </a:r>
          </a:p>
        </p:txBody>
      </p:sp>
      <p:sp>
        <p:nvSpPr>
          <p:cNvPr id="4" name="Slide Number Placeholder 3">
            <a:extLst>
              <a:ext uri="{FF2B5EF4-FFF2-40B4-BE49-F238E27FC236}">
                <a16:creationId xmlns:a16="http://schemas.microsoft.com/office/drawing/2014/main" id="{E0F11FA0-AB7D-4E60-8F8F-D1B631D959B8}"/>
              </a:ext>
            </a:extLst>
          </p:cNvPr>
          <p:cNvSpPr>
            <a:spLocks noGrp="1"/>
          </p:cNvSpPr>
          <p:nvPr>
            <p:ph type="sldNum" sz="quarter" idx="20"/>
          </p:nvPr>
        </p:nvSpPr>
        <p:spPr bwMode="gray"/>
        <p:txBody>
          <a:bodyPr/>
          <a:lstStyle/>
          <a:p>
            <a:fld id="{09E9C37E-8A19-4E30-BE2B-5A966AD23C7A}" type="slidenum">
              <a:rPr lang="de-DE" smtClean="0"/>
              <a:pPr/>
              <a:t>‹Nr.›</a:t>
            </a:fld>
            <a:endParaRPr lang="de-DE" dirty="0"/>
          </a:p>
        </p:txBody>
      </p:sp>
      <p:sp>
        <p:nvSpPr>
          <p:cNvPr id="6" name="Text Placeholder 5">
            <a:extLst>
              <a:ext uri="{FF2B5EF4-FFF2-40B4-BE49-F238E27FC236}">
                <a16:creationId xmlns:a16="http://schemas.microsoft.com/office/drawing/2014/main" id="{30A73923-05CC-4E1E-BA4F-71BEA2701495}"/>
              </a:ext>
            </a:extLst>
          </p:cNvPr>
          <p:cNvSpPr>
            <a:spLocks noGrp="1"/>
          </p:cNvSpPr>
          <p:nvPr>
            <p:ph type="body" sz="quarter" idx="21" hasCustomPrompt="1"/>
          </p:nvPr>
        </p:nvSpPr>
        <p:spPr bwMode="gray">
          <a:xfrm>
            <a:off x="2712000" y="5229000"/>
            <a:ext cx="6768000" cy="503463"/>
          </a:xfrm>
        </p:spPr>
        <p:txBody>
          <a:bodyPr lIns="0" tIns="0" rIns="0"/>
          <a:lstStyle>
            <a:lvl1pPr marL="0" indent="0" algn="ctr">
              <a:spcBef>
                <a:spcPts val="300"/>
              </a:spcBef>
              <a:buFont typeface="Arial" panose="020B0604020202020204" pitchFamily="34" charset="0"/>
              <a:buNone/>
              <a:defRPr b="0">
                <a:solidFill>
                  <a:schemeClr val="bg1"/>
                </a:solidFill>
              </a:defRPr>
            </a:lvl1pPr>
            <a:lvl2pPr marL="0" indent="0" algn="ctr">
              <a:spcBef>
                <a:spcPts val="300"/>
              </a:spcBef>
              <a:buFont typeface="Arial" panose="020B0604020202020204" pitchFamily="34" charset="0"/>
              <a:buNone/>
              <a:defRPr b="0">
                <a:solidFill>
                  <a:schemeClr val="tx1"/>
                </a:solidFill>
              </a:defRPr>
            </a:lvl2pPr>
            <a:lvl3pPr marL="0" indent="0" algn="ctr">
              <a:spcBef>
                <a:spcPts val="300"/>
              </a:spcBef>
              <a:buFont typeface="Arial" panose="020B0604020202020204" pitchFamily="34" charset="0"/>
              <a:buNone/>
              <a:defRPr b="0">
                <a:solidFill>
                  <a:schemeClr val="tx1"/>
                </a:solidFill>
              </a:defRPr>
            </a:lvl3pPr>
            <a:lvl4pPr marL="0" indent="0" algn="ctr">
              <a:spcBef>
                <a:spcPts val="300"/>
              </a:spcBef>
              <a:buFont typeface="Arial" panose="020B0604020202020204" pitchFamily="34" charset="0"/>
              <a:buNone/>
              <a:defRPr b="0">
                <a:solidFill>
                  <a:schemeClr val="tx1"/>
                </a:solidFill>
              </a:defRPr>
            </a:lvl4pPr>
            <a:lvl5pPr marL="0" indent="0" algn="ctr">
              <a:spcBef>
                <a:spcPts val="300"/>
              </a:spcBef>
              <a:buFont typeface="Arial" panose="020B0604020202020204" pitchFamily="34" charset="0"/>
              <a:buNone/>
              <a:defRPr b="0">
                <a:solidFill>
                  <a:schemeClr val="tx1"/>
                </a:solidFill>
              </a:defRPr>
            </a:lvl5pPr>
            <a:lvl6pPr marL="0" indent="0" algn="ctr">
              <a:spcBef>
                <a:spcPts val="300"/>
              </a:spcBef>
              <a:buNone/>
              <a:defRPr b="0">
                <a:solidFill>
                  <a:schemeClr val="tx1"/>
                </a:solidFill>
              </a:defRPr>
            </a:lvl6pPr>
            <a:lvl7pPr marL="0" indent="0" algn="ctr">
              <a:spcBef>
                <a:spcPts val="300"/>
              </a:spcBef>
              <a:buNone/>
              <a:defRPr b="0">
                <a:solidFill>
                  <a:schemeClr val="tx1"/>
                </a:solidFill>
              </a:defRPr>
            </a:lvl7pPr>
            <a:lvl8pPr marL="0" indent="0" algn="ctr">
              <a:spcBef>
                <a:spcPts val="300"/>
              </a:spcBef>
              <a:buNone/>
              <a:defRPr b="0">
                <a:solidFill>
                  <a:schemeClr val="tx1"/>
                </a:solidFill>
              </a:defRPr>
            </a:lvl8pPr>
            <a:lvl9pPr marL="0" indent="0" algn="ctr">
              <a:spcBef>
                <a:spcPts val="300"/>
              </a:spcBef>
              <a:buNone/>
              <a:defRPr b="0">
                <a:solidFill>
                  <a:schemeClr val="tx1"/>
                </a:solidFill>
              </a:defRPr>
            </a:lvl9pPr>
          </a:lstStyle>
          <a:p>
            <a:pPr lvl="0"/>
            <a:r>
              <a:rPr lang="de-DE" dirty="0"/>
              <a:t>Optionale Kurzbeschreibung</a:t>
            </a:r>
          </a:p>
        </p:txBody>
      </p:sp>
    </p:spTree>
    <p:extLst>
      <p:ext uri="{BB962C8B-B14F-4D97-AF65-F5344CB8AC3E}">
        <p14:creationId xmlns:p14="http://schemas.microsoft.com/office/powerpoint/2010/main" val="2779214164"/>
      </p:ext>
    </p:extLst>
  </p:cSld>
  <p:clrMapOvr>
    <a:masterClrMapping/>
  </p:clrMapOvr>
  <p:extLst>
    <p:ext uri="{DCECCB84-F9BA-43D5-87BE-67443E8EF086}">
      <p15:sldGuideLst xmlns:p15="http://schemas.microsoft.com/office/powerpoint/2012/main">
        <p15:guide id="1" orient="horz" pos="754">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in Inhal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1501B50-8EC6-4AFD-8445-2527D9157BE3}"/>
              </a:ext>
            </a:extLst>
          </p:cNvPr>
          <p:cNvGraphicFramePr>
            <a:graphicFrameLocks noChangeAspect="1"/>
          </p:cNvGraphicFramePr>
          <p:nvPr userDrawn="1">
            <p:custDataLst>
              <p:tags r:id="rId1"/>
            </p:custDataLst>
            <p:extLst>
              <p:ext uri="{D42A27DB-BD31-4B8C-83A1-F6EECF244321}">
                <p14:modId xmlns:p14="http://schemas.microsoft.com/office/powerpoint/2010/main" val="2574051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Inhaltsplatzhalter 10">
            <a:extLst>
              <a:ext uri="{FF2B5EF4-FFF2-40B4-BE49-F238E27FC236}">
                <a16:creationId xmlns:a16="http://schemas.microsoft.com/office/drawing/2014/main" id="{48E1BB13-C80F-46C8-9509-0380C28BFD83}"/>
              </a:ext>
            </a:extLst>
          </p:cNvPr>
          <p:cNvSpPr>
            <a:spLocks noGrp="1"/>
          </p:cNvSpPr>
          <p:nvPr>
            <p:ph sz="quarter" idx="18" hasCustomPrompt="1"/>
          </p:nvPr>
        </p:nvSpPr>
        <p:spPr bwMode="gray">
          <a:xfrm>
            <a:off x="336000" y="1989000"/>
            <a:ext cx="11232000" cy="3744000"/>
          </a:xfrm>
        </p:spPr>
        <p:txBody>
          <a:bodyPr lIns="144000"/>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5" name="Title 4">
            <a:extLst>
              <a:ext uri="{FF2B5EF4-FFF2-40B4-BE49-F238E27FC236}">
                <a16:creationId xmlns:a16="http://schemas.microsoft.com/office/drawing/2014/main" id="{38056A89-76A1-4EEB-91E5-C31CCDAEB2AF}"/>
              </a:ext>
            </a:extLst>
          </p:cNvPr>
          <p:cNvSpPr>
            <a:spLocks noGrp="1"/>
          </p:cNvSpPr>
          <p:nvPr>
            <p:ph type="title"/>
          </p:nvPr>
        </p:nvSpPr>
        <p:spPr bwMode="gray"/>
        <p:txBody>
          <a:bodyPr vert="horz" lIns="144000"/>
          <a:lstStyle/>
          <a:p>
            <a:r>
              <a:rPr lang="de-DE" dirty="0"/>
              <a:t>Mastertitelformat bearbeiten</a:t>
            </a:r>
          </a:p>
        </p:txBody>
      </p:sp>
      <p:sp>
        <p:nvSpPr>
          <p:cNvPr id="6" name="Date Placeholder 5">
            <a:extLst>
              <a:ext uri="{FF2B5EF4-FFF2-40B4-BE49-F238E27FC236}">
                <a16:creationId xmlns:a16="http://schemas.microsoft.com/office/drawing/2014/main" id="{7AD727D9-F239-4D7D-BBB5-38B8E508FF4D}"/>
              </a:ext>
            </a:extLst>
          </p:cNvPr>
          <p:cNvSpPr>
            <a:spLocks noGrp="1"/>
          </p:cNvSpPr>
          <p:nvPr>
            <p:ph type="dt" sz="half" idx="19"/>
          </p:nvPr>
        </p:nvSpPr>
        <p:spPr bwMode="gray"/>
        <p:txBody>
          <a:bodyPr/>
          <a:lstStyle/>
          <a:p>
            <a:fld id="{44304F8D-269B-47AB-BAC1-AAACFC10EECA}" type="datetime1">
              <a:rPr lang="de-DE" smtClean="0"/>
              <a:t>29.09.25</a:t>
            </a:fld>
            <a:endParaRPr lang="de-DE" dirty="0"/>
          </a:p>
        </p:txBody>
      </p:sp>
      <p:sp>
        <p:nvSpPr>
          <p:cNvPr id="7" name="Footer Placeholder 6">
            <a:extLst>
              <a:ext uri="{FF2B5EF4-FFF2-40B4-BE49-F238E27FC236}">
                <a16:creationId xmlns:a16="http://schemas.microsoft.com/office/drawing/2014/main" id="{AF215B8F-5AEC-457F-BA9A-256F52A5EA8E}"/>
              </a:ext>
            </a:extLst>
          </p:cNvPr>
          <p:cNvSpPr>
            <a:spLocks noGrp="1"/>
          </p:cNvSpPr>
          <p:nvPr>
            <p:ph type="ftr" sz="quarter" idx="20"/>
          </p:nvPr>
        </p:nvSpPr>
        <p:spPr bwMode="gray"/>
        <p:txBody>
          <a:bodyPr/>
          <a:lstStyle/>
          <a:p>
            <a:r>
              <a:rPr lang="de-DE" dirty="0"/>
              <a:t>TITEL DER PRÄSENTATION | TITEL VORNAME NAME</a:t>
            </a:r>
          </a:p>
        </p:txBody>
      </p:sp>
      <p:sp>
        <p:nvSpPr>
          <p:cNvPr id="8" name="Slide Number Placeholder 7">
            <a:extLst>
              <a:ext uri="{FF2B5EF4-FFF2-40B4-BE49-F238E27FC236}">
                <a16:creationId xmlns:a16="http://schemas.microsoft.com/office/drawing/2014/main" id="{CD453873-89E3-43AE-9601-C5DA486266E2}"/>
              </a:ext>
            </a:extLst>
          </p:cNvPr>
          <p:cNvSpPr>
            <a:spLocks noGrp="1"/>
          </p:cNvSpPr>
          <p:nvPr>
            <p:ph type="sldNum" sz="quarter" idx="21"/>
          </p:nvPr>
        </p:nvSpPr>
        <p:spPr bwMode="gray"/>
        <p:txBody>
          <a:bodyPr/>
          <a:lstStyle/>
          <a:p>
            <a:fld id="{09E9C37E-8A19-4E30-BE2B-5A966AD23C7A}" type="slidenum">
              <a:rPr lang="de-DE" smtClean="0"/>
              <a:pPr/>
              <a:t>‹Nr.›</a:t>
            </a:fld>
            <a:endParaRPr lang="de-DE" dirty="0"/>
          </a:p>
        </p:txBody>
      </p:sp>
    </p:spTree>
    <p:extLst>
      <p:ext uri="{BB962C8B-B14F-4D97-AF65-F5344CB8AC3E}">
        <p14:creationId xmlns:p14="http://schemas.microsoft.com/office/powerpoint/2010/main" val="819241173"/>
      </p:ext>
    </p:extLst>
  </p:cSld>
  <p:clrMapOvr>
    <a:masterClrMapping/>
  </p:clrMapOvr>
  <p:extLst>
    <p:ext uri="{DCECCB84-F9BA-43D5-87BE-67443E8EF086}">
      <p15:sldGuideLst xmlns:p15="http://schemas.microsoft.com/office/powerpoint/2012/main">
        <p15:guide id="1" orient="horz" pos="1253">
          <p15:clr>
            <a:srgbClr val="F26B43"/>
          </p15:clr>
        </p15:guide>
        <p15:guide id="2" orient="horz" pos="482">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in Inhalt | 2/3">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C7B03EE-4E5C-47CE-B8C3-52044604BF76}"/>
              </a:ext>
            </a:extLst>
          </p:cNvPr>
          <p:cNvGraphicFramePr>
            <a:graphicFrameLocks noChangeAspect="1"/>
          </p:cNvGraphicFramePr>
          <p:nvPr userDrawn="1">
            <p:custDataLst>
              <p:tags r:id="rId1"/>
            </p:custDataLst>
            <p:extLst>
              <p:ext uri="{D42A27DB-BD31-4B8C-83A1-F6EECF244321}">
                <p14:modId xmlns:p14="http://schemas.microsoft.com/office/powerpoint/2010/main" val="2899804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F9D8D8E-2933-4174-A049-5D8B5ADB45F1}"/>
              </a:ext>
            </a:extLst>
          </p:cNvPr>
          <p:cNvSpPr>
            <a:spLocks noGrp="1"/>
          </p:cNvSpPr>
          <p:nvPr>
            <p:ph type="title"/>
          </p:nvPr>
        </p:nvSpPr>
        <p:spPr bwMode="gray"/>
        <p:txBody>
          <a:bodyPr vert="horz" lIns="144000"/>
          <a:lstStyle/>
          <a:p>
            <a:r>
              <a:rPr lang="de-DE" dirty="0"/>
              <a:t>Mastertitelformat bearbeiten</a:t>
            </a:r>
          </a:p>
        </p:txBody>
      </p:sp>
      <p:sp>
        <p:nvSpPr>
          <p:cNvPr id="7" name="Date Placeholder 6">
            <a:extLst>
              <a:ext uri="{FF2B5EF4-FFF2-40B4-BE49-F238E27FC236}">
                <a16:creationId xmlns:a16="http://schemas.microsoft.com/office/drawing/2014/main" id="{74E28E5F-2D7F-496A-8CE6-BCCA8384777E}"/>
              </a:ext>
            </a:extLst>
          </p:cNvPr>
          <p:cNvSpPr>
            <a:spLocks noGrp="1"/>
          </p:cNvSpPr>
          <p:nvPr>
            <p:ph type="dt" sz="half" idx="14"/>
          </p:nvPr>
        </p:nvSpPr>
        <p:spPr bwMode="gray"/>
        <p:txBody>
          <a:bodyPr/>
          <a:lstStyle/>
          <a:p>
            <a:fld id="{B374E66D-E309-46E1-9668-1F0B6B2ECF6A}" type="datetime1">
              <a:rPr lang="de-DE" smtClean="0"/>
              <a:t>29.09.25</a:t>
            </a:fld>
            <a:endParaRPr lang="de-DE" dirty="0"/>
          </a:p>
        </p:txBody>
      </p:sp>
      <p:sp>
        <p:nvSpPr>
          <p:cNvPr id="8" name="Footer Placeholder 7">
            <a:extLst>
              <a:ext uri="{FF2B5EF4-FFF2-40B4-BE49-F238E27FC236}">
                <a16:creationId xmlns:a16="http://schemas.microsoft.com/office/drawing/2014/main" id="{5496AF01-7465-4E04-8733-36B9FCCCFCC9}"/>
              </a:ext>
            </a:extLst>
          </p:cNvPr>
          <p:cNvSpPr>
            <a:spLocks noGrp="1"/>
          </p:cNvSpPr>
          <p:nvPr>
            <p:ph type="ftr" sz="quarter" idx="15"/>
          </p:nvPr>
        </p:nvSpPr>
        <p:spPr bwMode="gray"/>
        <p:txBody>
          <a:bodyPr/>
          <a:lstStyle/>
          <a:p>
            <a:r>
              <a:rPr lang="de-DE" dirty="0"/>
              <a:t>TITEL DER PRÄSENTATION | TITEL VORNAME NAME</a:t>
            </a:r>
          </a:p>
        </p:txBody>
      </p:sp>
      <p:sp>
        <p:nvSpPr>
          <p:cNvPr id="9" name="Slide Number Placeholder 8">
            <a:extLst>
              <a:ext uri="{FF2B5EF4-FFF2-40B4-BE49-F238E27FC236}">
                <a16:creationId xmlns:a16="http://schemas.microsoft.com/office/drawing/2014/main" id="{6F11FEA8-EC2D-4515-BE4A-D26B4D0AD36A}"/>
              </a:ext>
            </a:extLst>
          </p:cNvPr>
          <p:cNvSpPr>
            <a:spLocks noGrp="1"/>
          </p:cNvSpPr>
          <p:nvPr>
            <p:ph type="sldNum" sz="quarter" idx="16"/>
          </p:nvPr>
        </p:nvSpPr>
        <p:spPr bwMode="gray"/>
        <p:txBody>
          <a:bodyPr/>
          <a:lstStyle/>
          <a:p>
            <a:fld id="{09E9C37E-8A19-4E30-BE2B-5A966AD23C7A}" type="slidenum">
              <a:rPr lang="de-DE" smtClean="0"/>
              <a:pPr/>
              <a:t>‹Nr.›</a:t>
            </a:fld>
            <a:endParaRPr lang="de-DE" dirty="0"/>
          </a:p>
        </p:txBody>
      </p:sp>
      <p:sp>
        <p:nvSpPr>
          <p:cNvPr id="11" name="Content Placeholder 10">
            <a:extLst>
              <a:ext uri="{FF2B5EF4-FFF2-40B4-BE49-F238E27FC236}">
                <a16:creationId xmlns:a16="http://schemas.microsoft.com/office/drawing/2014/main" id="{2CEF0C54-1F29-40E3-810B-3DA1C12859E7}"/>
              </a:ext>
            </a:extLst>
          </p:cNvPr>
          <p:cNvSpPr>
            <a:spLocks noGrp="1"/>
          </p:cNvSpPr>
          <p:nvPr>
            <p:ph sz="quarter" idx="17" hasCustomPrompt="1"/>
          </p:nvPr>
        </p:nvSpPr>
        <p:spPr bwMode="gray"/>
        <p:txBody>
          <a:bodyPr lIns="144000"/>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Tree>
    <p:extLst>
      <p:ext uri="{BB962C8B-B14F-4D97-AF65-F5344CB8AC3E}">
        <p14:creationId xmlns:p14="http://schemas.microsoft.com/office/powerpoint/2010/main" val="2214187247"/>
      </p:ext>
    </p:extLst>
  </p:cSld>
  <p:clrMapOvr>
    <a:masterClrMapping/>
  </p:clrMapOvr>
  <p:extLst>
    <p:ext uri="{DCECCB84-F9BA-43D5-87BE-67443E8EF086}">
      <p15:sldGuideLst xmlns:p15="http://schemas.microsoft.com/office/powerpoint/2012/main">
        <p15:guide id="1" orient="horz" pos="1253">
          <p15:clr>
            <a:srgbClr val="F26B43"/>
          </p15:clr>
        </p15:guide>
        <p15:guide id="2" orient="horz" pos="482">
          <p15:clr>
            <a:srgbClr val="F26B43"/>
          </p15:clr>
        </p15:guide>
        <p15:guide id="3" pos="5065">
          <p15:clr>
            <a:srgbClr val="F26B43"/>
          </p15:clr>
        </p15:guide>
        <p15:guide id="4" pos="4883">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D84C01C-9AAB-4EC8-A9D0-C14CDDA4F385}"/>
              </a:ext>
            </a:extLst>
          </p:cNvPr>
          <p:cNvGraphicFramePr>
            <a:graphicFrameLocks noChangeAspect="1"/>
          </p:cNvGraphicFramePr>
          <p:nvPr userDrawn="1">
            <p:custDataLst>
              <p:tags r:id="rId1"/>
            </p:custDataLst>
            <p:extLst>
              <p:ext uri="{D42A27DB-BD31-4B8C-83A1-F6EECF244321}">
                <p14:modId xmlns:p14="http://schemas.microsoft.com/office/powerpoint/2010/main" val="4018425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72EB519-02D5-4148-8D69-97A93C4B89E6}"/>
              </a:ext>
            </a:extLst>
          </p:cNvPr>
          <p:cNvSpPr>
            <a:spLocks noGrp="1"/>
          </p:cNvSpPr>
          <p:nvPr>
            <p:ph type="title"/>
          </p:nvPr>
        </p:nvSpPr>
        <p:spPr bwMode="gray"/>
        <p:txBody>
          <a:bodyPr vert="horz" lIns="144000"/>
          <a:lstStyle/>
          <a:p>
            <a:r>
              <a:rPr lang="de-DE" dirty="0"/>
              <a:t>Mastertitelformat bearbeiten</a:t>
            </a:r>
          </a:p>
        </p:txBody>
      </p:sp>
      <p:sp>
        <p:nvSpPr>
          <p:cNvPr id="7" name="Date Placeholder 6">
            <a:extLst>
              <a:ext uri="{FF2B5EF4-FFF2-40B4-BE49-F238E27FC236}">
                <a16:creationId xmlns:a16="http://schemas.microsoft.com/office/drawing/2014/main" id="{09703A7E-1554-407D-AAA5-398C174F40F7}"/>
              </a:ext>
            </a:extLst>
          </p:cNvPr>
          <p:cNvSpPr>
            <a:spLocks noGrp="1"/>
          </p:cNvSpPr>
          <p:nvPr>
            <p:ph type="dt" sz="half" idx="15"/>
          </p:nvPr>
        </p:nvSpPr>
        <p:spPr bwMode="gray"/>
        <p:txBody>
          <a:bodyPr/>
          <a:lstStyle/>
          <a:p>
            <a:fld id="{10E5EAC5-F884-4C92-B6B0-B959B232B584}" type="datetime1">
              <a:rPr lang="de-DE" smtClean="0"/>
              <a:t>29.09.25</a:t>
            </a:fld>
            <a:endParaRPr lang="de-DE" dirty="0"/>
          </a:p>
        </p:txBody>
      </p:sp>
      <p:sp>
        <p:nvSpPr>
          <p:cNvPr id="8" name="Footer Placeholder 7">
            <a:extLst>
              <a:ext uri="{FF2B5EF4-FFF2-40B4-BE49-F238E27FC236}">
                <a16:creationId xmlns:a16="http://schemas.microsoft.com/office/drawing/2014/main" id="{2335644B-EC3C-4407-BEFB-B418ED992866}"/>
              </a:ext>
            </a:extLst>
          </p:cNvPr>
          <p:cNvSpPr>
            <a:spLocks noGrp="1"/>
          </p:cNvSpPr>
          <p:nvPr>
            <p:ph type="ftr" sz="quarter" idx="16"/>
          </p:nvPr>
        </p:nvSpPr>
        <p:spPr bwMode="gray"/>
        <p:txBody>
          <a:bodyPr/>
          <a:lstStyle/>
          <a:p>
            <a:r>
              <a:rPr lang="de-DE" dirty="0"/>
              <a:t>TITEL DER PRÄSENTATION | TITEL VORNAME NAME</a:t>
            </a:r>
          </a:p>
        </p:txBody>
      </p:sp>
      <p:sp>
        <p:nvSpPr>
          <p:cNvPr id="9" name="Slide Number Placeholder 8">
            <a:extLst>
              <a:ext uri="{FF2B5EF4-FFF2-40B4-BE49-F238E27FC236}">
                <a16:creationId xmlns:a16="http://schemas.microsoft.com/office/drawing/2014/main" id="{75B6AEEF-C2C9-4261-9A5D-EFEB5DD1E13A}"/>
              </a:ext>
            </a:extLst>
          </p:cNvPr>
          <p:cNvSpPr>
            <a:spLocks noGrp="1"/>
          </p:cNvSpPr>
          <p:nvPr>
            <p:ph type="sldNum" sz="quarter" idx="17"/>
          </p:nvPr>
        </p:nvSpPr>
        <p:spPr bwMode="gray"/>
        <p:txBody>
          <a:bodyPr/>
          <a:lstStyle/>
          <a:p>
            <a:fld id="{09E9C37E-8A19-4E30-BE2B-5A966AD23C7A}" type="slidenum">
              <a:rPr lang="de-DE" smtClean="0"/>
              <a:pPr/>
              <a:t>‹Nr.›</a:t>
            </a:fld>
            <a:endParaRPr lang="de-DE" dirty="0"/>
          </a:p>
        </p:txBody>
      </p:sp>
      <p:sp>
        <p:nvSpPr>
          <p:cNvPr id="11" name="Content Placeholder 10">
            <a:extLst>
              <a:ext uri="{FF2B5EF4-FFF2-40B4-BE49-F238E27FC236}">
                <a16:creationId xmlns:a16="http://schemas.microsoft.com/office/drawing/2014/main" id="{AAF8EDF1-7BC5-41EC-AAF4-69D48D8B789B}"/>
              </a:ext>
            </a:extLst>
          </p:cNvPr>
          <p:cNvSpPr>
            <a:spLocks noGrp="1"/>
          </p:cNvSpPr>
          <p:nvPr>
            <p:ph sz="quarter" idx="18" hasCustomPrompt="1"/>
          </p:nvPr>
        </p:nvSpPr>
        <p:spPr bwMode="gray">
          <a:xfrm>
            <a:off x="336550" y="1989138"/>
            <a:ext cx="5472113" cy="3743325"/>
          </a:xfrm>
        </p:spPr>
        <p:txBody>
          <a:bodyPr lIns="144000"/>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5" name="Content Placeholder 14">
            <a:extLst>
              <a:ext uri="{FF2B5EF4-FFF2-40B4-BE49-F238E27FC236}">
                <a16:creationId xmlns:a16="http://schemas.microsoft.com/office/drawing/2014/main" id="{88C1C7AF-9A78-45C2-AA20-301353C74D24}"/>
              </a:ext>
            </a:extLst>
          </p:cNvPr>
          <p:cNvSpPr>
            <a:spLocks noGrp="1"/>
          </p:cNvSpPr>
          <p:nvPr>
            <p:ph sz="quarter" idx="19" hasCustomPrompt="1"/>
          </p:nvPr>
        </p:nvSpPr>
        <p:spPr bwMode="gray">
          <a:xfrm>
            <a:off x="6096000" y="1989138"/>
            <a:ext cx="5472113" cy="3743325"/>
          </a:xfrm>
        </p:spPr>
        <p:txBody>
          <a:bodyPr lIns="144000"/>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Tree>
    <p:extLst>
      <p:ext uri="{BB962C8B-B14F-4D97-AF65-F5344CB8AC3E}">
        <p14:creationId xmlns:p14="http://schemas.microsoft.com/office/powerpoint/2010/main" val="1458882274"/>
      </p:ext>
    </p:extLst>
  </p:cSld>
  <p:clrMapOvr>
    <a:masterClrMapping/>
  </p:clrMapOvr>
  <p:extLst>
    <p:ext uri="{DCECCB84-F9BA-43D5-87BE-67443E8EF086}">
      <p15:sldGuideLst xmlns:p15="http://schemas.microsoft.com/office/powerpoint/2012/main">
        <p15:guide id="1" pos="3840">
          <p15:clr>
            <a:srgbClr val="F26B43"/>
          </p15:clr>
        </p15:guide>
        <p15:guide id="2" pos="3659">
          <p15:clr>
            <a:srgbClr val="F26B43"/>
          </p15:clr>
        </p15:guide>
        <p15:guide id="3" orient="horz" pos="1253">
          <p15:clr>
            <a:srgbClr val="F26B43"/>
          </p15:clr>
        </p15:guide>
        <p15:guide id="5" orient="horz" pos="482">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rei Inhalte | intern">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1A88637-59DC-44BC-9E77-8A9335D6F1AF}"/>
              </a:ext>
            </a:extLst>
          </p:cNvPr>
          <p:cNvGraphicFramePr>
            <a:graphicFrameLocks noChangeAspect="1"/>
          </p:cNvGraphicFramePr>
          <p:nvPr userDrawn="1">
            <p:custDataLst>
              <p:tags r:id="rId1"/>
            </p:custDataLst>
            <p:extLst>
              <p:ext uri="{D42A27DB-BD31-4B8C-83A1-F6EECF244321}">
                <p14:modId xmlns:p14="http://schemas.microsoft.com/office/powerpoint/2010/main" val="1670427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56F41336-991E-4EF1-80C4-C55A7EE615CC}"/>
              </a:ext>
            </a:extLst>
          </p:cNvPr>
          <p:cNvSpPr>
            <a:spLocks noGrp="1"/>
          </p:cNvSpPr>
          <p:nvPr>
            <p:ph type="title"/>
          </p:nvPr>
        </p:nvSpPr>
        <p:spPr bwMode="gray"/>
        <p:txBody>
          <a:bodyPr vert="horz"/>
          <a:lstStyle/>
          <a:p>
            <a:r>
              <a:rPr lang="de-DE" dirty="0"/>
              <a:t>Mastertitelformat bearbeiten</a:t>
            </a:r>
          </a:p>
        </p:txBody>
      </p:sp>
      <p:sp>
        <p:nvSpPr>
          <p:cNvPr id="7" name="Date Placeholder 6">
            <a:extLst>
              <a:ext uri="{FF2B5EF4-FFF2-40B4-BE49-F238E27FC236}">
                <a16:creationId xmlns:a16="http://schemas.microsoft.com/office/drawing/2014/main" id="{75859C99-A53F-4BE1-B3ED-DBB696C8E2AB}"/>
              </a:ext>
            </a:extLst>
          </p:cNvPr>
          <p:cNvSpPr>
            <a:spLocks noGrp="1"/>
          </p:cNvSpPr>
          <p:nvPr>
            <p:ph type="dt" sz="half" idx="19"/>
          </p:nvPr>
        </p:nvSpPr>
        <p:spPr bwMode="gray"/>
        <p:txBody>
          <a:bodyPr/>
          <a:lstStyle/>
          <a:p>
            <a:fld id="{12830118-2285-4B63-A8B8-6B2D9FCE5CC6}" type="datetime1">
              <a:rPr lang="de-DE" smtClean="0"/>
              <a:t>29.09.25</a:t>
            </a:fld>
            <a:endParaRPr lang="de-DE" dirty="0"/>
          </a:p>
        </p:txBody>
      </p:sp>
      <p:sp>
        <p:nvSpPr>
          <p:cNvPr id="8" name="Footer Placeholder 7">
            <a:extLst>
              <a:ext uri="{FF2B5EF4-FFF2-40B4-BE49-F238E27FC236}">
                <a16:creationId xmlns:a16="http://schemas.microsoft.com/office/drawing/2014/main" id="{1A6C71AE-9DFC-479C-B3FE-AC9604C22EB6}"/>
              </a:ext>
            </a:extLst>
          </p:cNvPr>
          <p:cNvSpPr>
            <a:spLocks noGrp="1"/>
          </p:cNvSpPr>
          <p:nvPr>
            <p:ph type="ftr" sz="quarter" idx="20"/>
          </p:nvPr>
        </p:nvSpPr>
        <p:spPr bwMode="gray"/>
        <p:txBody>
          <a:bodyPr/>
          <a:lstStyle/>
          <a:p>
            <a:r>
              <a:rPr lang="de-DE" dirty="0"/>
              <a:t>TITEL DER PRÄSENTATION | TITEL VORNAME NAME</a:t>
            </a:r>
          </a:p>
        </p:txBody>
      </p:sp>
      <p:sp>
        <p:nvSpPr>
          <p:cNvPr id="9" name="Slide Number Placeholder 8">
            <a:extLst>
              <a:ext uri="{FF2B5EF4-FFF2-40B4-BE49-F238E27FC236}">
                <a16:creationId xmlns:a16="http://schemas.microsoft.com/office/drawing/2014/main" id="{3F5A3388-A342-48C1-B4F6-ABF941C4BDD2}"/>
              </a:ext>
            </a:extLst>
          </p:cNvPr>
          <p:cNvSpPr>
            <a:spLocks noGrp="1"/>
          </p:cNvSpPr>
          <p:nvPr>
            <p:ph type="sldNum" sz="quarter" idx="21"/>
          </p:nvPr>
        </p:nvSpPr>
        <p:spPr bwMode="gray"/>
        <p:txBody>
          <a:bodyPr/>
          <a:lstStyle/>
          <a:p>
            <a:fld id="{09E9C37E-8A19-4E30-BE2B-5A966AD23C7A}" type="slidenum">
              <a:rPr lang="de-DE" smtClean="0"/>
              <a:pPr/>
              <a:t>‹Nr.›</a:t>
            </a:fld>
            <a:endParaRPr lang="de-DE" dirty="0"/>
          </a:p>
        </p:txBody>
      </p:sp>
      <p:sp>
        <p:nvSpPr>
          <p:cNvPr id="13" name="Content Placeholder 12">
            <a:extLst>
              <a:ext uri="{FF2B5EF4-FFF2-40B4-BE49-F238E27FC236}">
                <a16:creationId xmlns:a16="http://schemas.microsoft.com/office/drawing/2014/main" id="{FF3575B1-0E1F-4C4D-B439-1E8E2B1B1CA4}"/>
              </a:ext>
            </a:extLst>
          </p:cNvPr>
          <p:cNvSpPr>
            <a:spLocks noGrp="1"/>
          </p:cNvSpPr>
          <p:nvPr>
            <p:ph sz="quarter" idx="22" hasCustomPrompt="1"/>
          </p:nvPr>
        </p:nvSpPr>
        <p:spPr bwMode="gray">
          <a:xfrm>
            <a:off x="336550" y="1989138"/>
            <a:ext cx="3528000" cy="3743325"/>
          </a:xfrm>
        </p:spPr>
        <p:txBody>
          <a:body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6" name="Content Placeholder 15">
            <a:extLst>
              <a:ext uri="{FF2B5EF4-FFF2-40B4-BE49-F238E27FC236}">
                <a16:creationId xmlns:a16="http://schemas.microsoft.com/office/drawing/2014/main" id="{8384EFE2-D76B-4428-829A-0EB878EF47B4}"/>
              </a:ext>
            </a:extLst>
          </p:cNvPr>
          <p:cNvSpPr>
            <a:spLocks noGrp="1"/>
          </p:cNvSpPr>
          <p:nvPr>
            <p:ph sz="quarter" idx="23" hasCustomPrompt="1"/>
          </p:nvPr>
        </p:nvSpPr>
        <p:spPr bwMode="gray">
          <a:xfrm>
            <a:off x="4152000" y="1989138"/>
            <a:ext cx="3600450" cy="3743325"/>
          </a:xfrm>
        </p:spPr>
        <p:txBody>
          <a:body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8" name="Content Placeholder 17">
            <a:extLst>
              <a:ext uri="{FF2B5EF4-FFF2-40B4-BE49-F238E27FC236}">
                <a16:creationId xmlns:a16="http://schemas.microsoft.com/office/drawing/2014/main" id="{D33E5A15-71FD-422C-BCEE-CBEA294AFAE7}"/>
              </a:ext>
            </a:extLst>
          </p:cNvPr>
          <p:cNvSpPr>
            <a:spLocks noGrp="1"/>
          </p:cNvSpPr>
          <p:nvPr>
            <p:ph sz="quarter" idx="24" hasCustomPrompt="1"/>
          </p:nvPr>
        </p:nvSpPr>
        <p:spPr bwMode="gray">
          <a:xfrm>
            <a:off x="8040000" y="1989138"/>
            <a:ext cx="3528000" cy="3743325"/>
          </a:xfrm>
        </p:spPr>
        <p:txBody>
          <a:body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Tree>
    <p:extLst>
      <p:ext uri="{BB962C8B-B14F-4D97-AF65-F5344CB8AC3E}">
        <p14:creationId xmlns:p14="http://schemas.microsoft.com/office/powerpoint/2010/main" val="1345649449"/>
      </p:ext>
    </p:extLst>
  </p:cSld>
  <p:clrMapOvr>
    <a:masterClrMapping/>
  </p:clrMapOvr>
  <p:extLst>
    <p:ext uri="{DCECCB84-F9BA-43D5-87BE-67443E8EF086}">
      <p15:sldGuideLst xmlns:p15="http://schemas.microsoft.com/office/powerpoint/2012/main">
        <p15:guide id="1" pos="2434">
          <p15:clr>
            <a:srgbClr val="F26B43"/>
          </p15:clr>
        </p15:guide>
        <p15:guide id="2" pos="2615">
          <p15:clr>
            <a:srgbClr val="F26B43"/>
          </p15:clr>
        </p15:guide>
        <p15:guide id="3" pos="5065">
          <p15:clr>
            <a:srgbClr val="F26B43"/>
          </p15:clr>
        </p15:guide>
        <p15:guide id="4" pos="4883">
          <p15:clr>
            <a:srgbClr val="F26B43"/>
          </p15:clr>
        </p15:guide>
        <p15:guide id="5" orient="horz" pos="1253">
          <p15:clr>
            <a:srgbClr val="F26B43"/>
          </p15:clr>
        </p15:guide>
        <p15:guide id="6" orient="horz" pos="482">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oßes Bild | Blöck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6F48905-19EE-4765-8994-0192F0C0B908}"/>
              </a:ext>
            </a:extLst>
          </p:cNvPr>
          <p:cNvGraphicFramePr>
            <a:graphicFrameLocks noChangeAspect="1"/>
          </p:cNvGraphicFramePr>
          <p:nvPr userDrawn="1">
            <p:custDataLst>
              <p:tags r:id="rId1"/>
            </p:custDataLst>
            <p:extLst>
              <p:ext uri="{D42A27DB-BD31-4B8C-83A1-F6EECF244321}">
                <p14:modId xmlns:p14="http://schemas.microsoft.com/office/powerpoint/2010/main" val="1041683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20">
            <a:extLst>
              <a:ext uri="{FF2B5EF4-FFF2-40B4-BE49-F238E27FC236}">
                <a16:creationId xmlns:a16="http://schemas.microsoft.com/office/drawing/2014/main" id="{CFE5B8FC-DD51-455F-A2B4-F5F03E3698F3}"/>
              </a:ext>
            </a:extLst>
          </p:cNvPr>
          <p:cNvSpPr>
            <a:spLocks noGrp="1"/>
          </p:cNvSpPr>
          <p:nvPr>
            <p:ph type="pic" sz="quarter" idx="13" hasCustomPrompt="1"/>
          </p:nvPr>
        </p:nvSpPr>
        <p:spPr bwMode="gray">
          <a:xfrm>
            <a:off x="-1" y="0"/>
            <a:ext cx="12189159" cy="6858000"/>
          </a:xfrm>
          <a:custGeom>
            <a:avLst/>
            <a:gdLst>
              <a:gd name="connsiteX0" fmla="*/ 0 w 12189159"/>
              <a:gd name="connsiteY0" fmla="*/ 0 h 6858000"/>
              <a:gd name="connsiteX1" fmla="*/ 8661159 w 12189159"/>
              <a:gd name="connsiteY1" fmla="*/ 0 h 6858000"/>
              <a:gd name="connsiteX2" fmla="*/ 9310349 w 12189159"/>
              <a:gd name="connsiteY2" fmla="*/ 0 h 6858000"/>
              <a:gd name="connsiteX3" fmla="*/ 9480002 w 12189159"/>
              <a:gd name="connsiteY3" fmla="*/ 0 h 6858000"/>
              <a:gd name="connsiteX4" fmla="*/ 9480002 w 12189159"/>
              <a:gd name="connsiteY4" fmla="*/ 1125539 h 6858000"/>
              <a:gd name="connsiteX5" fmla="*/ 11856002 w 12189159"/>
              <a:gd name="connsiteY5" fmla="*/ 1125539 h 6858000"/>
              <a:gd name="connsiteX6" fmla="*/ 11856002 w 12189159"/>
              <a:gd name="connsiteY6" fmla="*/ 0 h 6858000"/>
              <a:gd name="connsiteX7" fmla="*/ 12189159 w 12189159"/>
              <a:gd name="connsiteY7" fmla="*/ 0 h 6858000"/>
              <a:gd name="connsiteX8" fmla="*/ 12189159 w 12189159"/>
              <a:gd name="connsiteY8" fmla="*/ 2448000 h 6858000"/>
              <a:gd name="connsiteX9" fmla="*/ 12189159 w 12189159"/>
              <a:gd name="connsiteY9" fmla="*/ 6858000 h 6858000"/>
              <a:gd name="connsiteX10" fmla="*/ 10737044 w 12189159"/>
              <a:gd name="connsiteY10" fmla="*/ 6858000 h 6858000"/>
              <a:gd name="connsiteX11" fmla="*/ 7132559 w 12189159"/>
              <a:gd name="connsiteY11" fmla="*/ 6858000 h 6858000"/>
              <a:gd name="connsiteX12" fmla="*/ 0 w 12189159"/>
              <a:gd name="connsiteY12" fmla="*/ 6858000 h 6858000"/>
              <a:gd name="connsiteX13" fmla="*/ 0 w 12189159"/>
              <a:gd name="connsiteY13" fmla="*/ 3392686 h 6858000"/>
              <a:gd name="connsiteX14" fmla="*/ 0 w 12189159"/>
              <a:gd name="connsiteY14" fmla="*/ 148276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9159" h="6858000">
                <a:moveTo>
                  <a:pt x="0" y="0"/>
                </a:moveTo>
                <a:lnTo>
                  <a:pt x="8661159" y="0"/>
                </a:lnTo>
                <a:lnTo>
                  <a:pt x="9310349" y="0"/>
                </a:lnTo>
                <a:lnTo>
                  <a:pt x="9480002" y="0"/>
                </a:lnTo>
                <a:lnTo>
                  <a:pt x="9480002" y="1125539"/>
                </a:lnTo>
                <a:lnTo>
                  <a:pt x="11856002" y="1125539"/>
                </a:lnTo>
                <a:lnTo>
                  <a:pt x="11856002" y="0"/>
                </a:lnTo>
                <a:lnTo>
                  <a:pt x="12189159" y="0"/>
                </a:lnTo>
                <a:lnTo>
                  <a:pt x="12189159" y="2448000"/>
                </a:lnTo>
                <a:lnTo>
                  <a:pt x="12189159" y="6858000"/>
                </a:lnTo>
                <a:lnTo>
                  <a:pt x="10737044" y="6858000"/>
                </a:lnTo>
                <a:lnTo>
                  <a:pt x="7132559" y="6858000"/>
                </a:lnTo>
                <a:lnTo>
                  <a:pt x="0" y="6858000"/>
                </a:lnTo>
                <a:lnTo>
                  <a:pt x="0" y="3392686"/>
                </a:lnTo>
                <a:lnTo>
                  <a:pt x="0" y="1482766"/>
                </a:lnTo>
                <a:close/>
              </a:path>
            </a:pathLst>
          </a:custGeom>
          <a:noFill/>
        </p:spPr>
        <p:txBody>
          <a:bodyPr wrap="square" lIns="6336000" tIns="0" rIns="0" bIns="0" anchor="ctr" anchorCtr="0">
            <a:noAutofit/>
          </a:bodyPr>
          <a:lstStyle>
            <a:lvl1pPr marL="0" indent="0" algn="l">
              <a:spcBef>
                <a:spcPts val="0"/>
              </a:spcBef>
              <a:spcAft>
                <a:spcPts val="0"/>
              </a:spcAft>
              <a:buNone/>
              <a:defRPr sz="800" b="0"/>
            </a:lvl1pPr>
            <a:lvl2pPr marL="0" indent="0" algn="ctr">
              <a:spcBef>
                <a:spcPts val="0"/>
              </a:spcBef>
              <a:spcAft>
                <a:spcPts val="0"/>
              </a:spcAft>
              <a:buFont typeface="Arial" panose="020B0604020202020204" pitchFamily="34" charset="0"/>
              <a:buNone/>
              <a:defRPr sz="1200" b="0"/>
            </a:lvl2pPr>
            <a:lvl3pPr marL="0" indent="0" algn="ctr">
              <a:spcBef>
                <a:spcPts val="0"/>
              </a:spcBef>
              <a:spcAft>
                <a:spcPts val="0"/>
              </a:spcAft>
              <a:buFont typeface="Arial" panose="020B0604020202020204" pitchFamily="34" charset="0"/>
              <a:buNone/>
              <a:defRPr sz="1200" b="0"/>
            </a:lvl3pPr>
            <a:lvl4pPr marL="0" indent="0" algn="ctr">
              <a:spcBef>
                <a:spcPts val="0"/>
              </a:spcBef>
              <a:spcAft>
                <a:spcPts val="0"/>
              </a:spcAft>
              <a:buNone/>
              <a:defRPr sz="1200" b="0"/>
            </a:lvl4pPr>
            <a:lvl5pPr marL="0" indent="0" algn="ctr">
              <a:spcBef>
                <a:spcPts val="0"/>
              </a:spcBef>
              <a:spcAft>
                <a:spcPts val="0"/>
              </a:spcAft>
              <a:buNone/>
              <a:defRPr sz="1200" b="0"/>
            </a:lvl5pPr>
            <a:lvl6pPr marL="0" indent="0" algn="ctr">
              <a:spcBef>
                <a:spcPts val="0"/>
              </a:spcBef>
              <a:spcAft>
                <a:spcPts val="0"/>
              </a:spcAft>
              <a:buNone/>
              <a:defRPr sz="1200" b="0"/>
            </a:lvl6pPr>
            <a:lvl7pPr marL="0" indent="0" algn="ctr">
              <a:spcBef>
                <a:spcPts val="0"/>
              </a:spcBef>
              <a:spcAft>
                <a:spcPts val="0"/>
              </a:spcAft>
              <a:buNone/>
              <a:defRPr sz="1200" b="0"/>
            </a:lvl7pPr>
            <a:lvl8pPr marL="0" indent="0" algn="ctr">
              <a:spcBef>
                <a:spcPts val="0"/>
              </a:spcBef>
              <a:spcAft>
                <a:spcPts val="0"/>
              </a:spcAft>
              <a:buNone/>
              <a:defRPr sz="1200" b="0"/>
            </a:lvl8pPr>
            <a:lvl9pPr marL="0" indent="0" algn="ctr">
              <a:spcBef>
                <a:spcPts val="0"/>
              </a:spcBef>
              <a:spcAft>
                <a:spcPts val="0"/>
              </a:spcAft>
              <a:buNone/>
              <a:defRPr sz="1200" b="0"/>
            </a:lvl9pPr>
          </a:lstStyle>
          <a:p>
            <a:pPr lvl="0"/>
            <a:r>
              <a:rPr lang="de-DE" dirty="0"/>
              <a:t>Bild durch Klick </a:t>
            </a:r>
            <a:br>
              <a:rPr lang="de-DE" dirty="0"/>
            </a:br>
            <a:r>
              <a:rPr lang="de-DE" dirty="0"/>
              <a:t>auf Symbol hinzufügen </a:t>
            </a:r>
          </a:p>
        </p:txBody>
      </p:sp>
      <p:sp>
        <p:nvSpPr>
          <p:cNvPr id="6" name="Date Placeholder 5">
            <a:extLst>
              <a:ext uri="{FF2B5EF4-FFF2-40B4-BE49-F238E27FC236}">
                <a16:creationId xmlns:a16="http://schemas.microsoft.com/office/drawing/2014/main" id="{36B3D198-DAFD-43DD-A578-BE28F2C5F31B}"/>
              </a:ext>
            </a:extLst>
          </p:cNvPr>
          <p:cNvSpPr>
            <a:spLocks noGrp="1"/>
          </p:cNvSpPr>
          <p:nvPr>
            <p:ph type="dt" sz="half" idx="15"/>
          </p:nvPr>
        </p:nvSpPr>
        <p:spPr bwMode="gray"/>
        <p:txBody>
          <a:bodyPr/>
          <a:lstStyle/>
          <a:p>
            <a:fld id="{EFEE6A8C-7DE0-4735-94CF-981A16B54C7F}" type="datetime1">
              <a:rPr lang="de-DE" smtClean="0"/>
              <a:t>29.09.25</a:t>
            </a:fld>
            <a:endParaRPr lang="de-DE" dirty="0"/>
          </a:p>
        </p:txBody>
      </p:sp>
      <p:sp>
        <p:nvSpPr>
          <p:cNvPr id="7" name="Footer Placeholder 6">
            <a:extLst>
              <a:ext uri="{FF2B5EF4-FFF2-40B4-BE49-F238E27FC236}">
                <a16:creationId xmlns:a16="http://schemas.microsoft.com/office/drawing/2014/main" id="{54951AB8-89A8-4B06-84E7-7CF10200B53F}"/>
              </a:ext>
            </a:extLst>
          </p:cNvPr>
          <p:cNvSpPr>
            <a:spLocks noGrp="1"/>
          </p:cNvSpPr>
          <p:nvPr>
            <p:ph type="ftr" sz="quarter" idx="16"/>
          </p:nvPr>
        </p:nvSpPr>
        <p:spPr bwMode="gray"/>
        <p:txBody>
          <a:bodyPr/>
          <a:lstStyle/>
          <a:p>
            <a:r>
              <a:rPr lang="de-DE" dirty="0"/>
              <a:t>TITEL DER PRÄSENTATION | TITEL VORNAME NAME</a:t>
            </a:r>
          </a:p>
        </p:txBody>
      </p:sp>
      <p:sp>
        <p:nvSpPr>
          <p:cNvPr id="8" name="Slide Number Placeholder 7">
            <a:extLst>
              <a:ext uri="{FF2B5EF4-FFF2-40B4-BE49-F238E27FC236}">
                <a16:creationId xmlns:a16="http://schemas.microsoft.com/office/drawing/2014/main" id="{71F9CBDE-ADBF-4557-A10B-5E54A5D15F60}"/>
              </a:ext>
            </a:extLst>
          </p:cNvPr>
          <p:cNvSpPr>
            <a:spLocks noGrp="1"/>
          </p:cNvSpPr>
          <p:nvPr>
            <p:ph type="sldNum" sz="quarter" idx="17"/>
          </p:nvPr>
        </p:nvSpPr>
        <p:spPr bwMode="gray"/>
        <p:txBody>
          <a:bodyPr/>
          <a:lstStyle/>
          <a:p>
            <a:fld id="{09E9C37E-8A19-4E30-BE2B-5A966AD23C7A}" type="slidenum">
              <a:rPr lang="de-DE" smtClean="0"/>
              <a:pPr/>
              <a:t>‹Nr.›</a:t>
            </a:fld>
            <a:endParaRPr lang="de-DE" dirty="0"/>
          </a:p>
        </p:txBody>
      </p:sp>
      <p:sp>
        <p:nvSpPr>
          <p:cNvPr id="10" name="Textplatzhalter 29">
            <a:extLst>
              <a:ext uri="{FF2B5EF4-FFF2-40B4-BE49-F238E27FC236}">
                <a16:creationId xmlns:a16="http://schemas.microsoft.com/office/drawing/2014/main" id="{0601258A-1AE0-41A5-BACF-0A8EBE334773}"/>
              </a:ext>
            </a:extLst>
          </p:cNvPr>
          <p:cNvSpPr>
            <a:spLocks noGrp="1"/>
          </p:cNvSpPr>
          <p:nvPr>
            <p:ph type="body" sz="quarter" idx="14" hasCustomPrompt="1"/>
          </p:nvPr>
        </p:nvSpPr>
        <p:spPr bwMode="gray">
          <a:xfrm>
            <a:off x="2" y="4066262"/>
            <a:ext cx="7573407" cy="514738"/>
          </a:xfrm>
          <a:prstGeom prst="rect">
            <a:avLst/>
          </a:prstGeom>
          <a:solidFill>
            <a:srgbClr val="009EE0"/>
          </a:solidFill>
        </p:spPr>
        <p:txBody>
          <a:bodyPr wrap="none" lIns="468000" tIns="72000" rIns="144000" bIns="72000" anchor="t" anchorCtr="0">
            <a:spAutoFit/>
          </a:bodyPr>
          <a:lstStyle>
            <a:lvl1pPr marL="0" indent="0">
              <a:lnSpc>
                <a:spcPct val="100000"/>
              </a:lnSpc>
              <a:spcBef>
                <a:spcPts val="0"/>
              </a:spcBef>
              <a:spcAft>
                <a:spcPts val="0"/>
              </a:spcAft>
              <a:buNone/>
              <a:defRPr sz="2400" b="1" cap="all">
                <a:solidFill>
                  <a:schemeClr val="bg1"/>
                </a:solidFill>
              </a:defRPr>
            </a:lvl1pPr>
            <a:lvl2pPr marL="0" indent="0">
              <a:lnSpc>
                <a:spcPct val="100000"/>
              </a:lnSpc>
              <a:spcBef>
                <a:spcPts val="0"/>
              </a:spcBef>
              <a:spcAft>
                <a:spcPts val="0"/>
              </a:spcAft>
              <a:buFont typeface="Arial" panose="020B0604020202020204" pitchFamily="34" charset="0"/>
              <a:buNone/>
              <a:defRPr sz="2400" b="1" cap="all">
                <a:solidFill>
                  <a:schemeClr val="bg1"/>
                </a:solidFill>
              </a:defRPr>
            </a:lvl2pPr>
            <a:lvl3pPr marL="0" indent="0">
              <a:lnSpc>
                <a:spcPct val="100000"/>
              </a:lnSpc>
              <a:spcBef>
                <a:spcPts val="0"/>
              </a:spcBef>
              <a:spcAft>
                <a:spcPts val="0"/>
              </a:spcAft>
              <a:buFont typeface="Arial" panose="020B0604020202020204" pitchFamily="34" charset="0"/>
              <a:buNone/>
              <a:defRPr sz="2400" b="1" cap="all">
                <a:solidFill>
                  <a:schemeClr val="bg1"/>
                </a:solidFill>
              </a:defRPr>
            </a:lvl3pPr>
            <a:lvl4pPr marL="0" indent="0">
              <a:lnSpc>
                <a:spcPct val="100000"/>
              </a:lnSpc>
              <a:spcBef>
                <a:spcPts val="0"/>
              </a:spcBef>
              <a:spcAft>
                <a:spcPts val="0"/>
              </a:spcAft>
              <a:buNone/>
              <a:defRPr sz="2400" b="1" cap="all">
                <a:solidFill>
                  <a:schemeClr val="bg1"/>
                </a:solidFill>
              </a:defRPr>
            </a:lvl4pPr>
            <a:lvl5pPr marL="0" indent="0">
              <a:lnSpc>
                <a:spcPct val="100000"/>
              </a:lnSpc>
              <a:spcBef>
                <a:spcPts val="0"/>
              </a:spcBef>
              <a:spcAft>
                <a:spcPts val="0"/>
              </a:spcAft>
              <a:buNone/>
              <a:defRPr sz="2400" b="1" cap="all">
                <a:solidFill>
                  <a:schemeClr val="bg1"/>
                </a:solidFill>
              </a:defRPr>
            </a:lvl5pPr>
            <a:lvl6pPr marL="0" indent="0">
              <a:lnSpc>
                <a:spcPct val="100000"/>
              </a:lnSpc>
              <a:spcBef>
                <a:spcPts val="0"/>
              </a:spcBef>
              <a:spcAft>
                <a:spcPts val="0"/>
              </a:spcAft>
              <a:buNone/>
              <a:defRPr sz="2400" b="1" cap="all">
                <a:solidFill>
                  <a:schemeClr val="bg1"/>
                </a:solidFill>
              </a:defRPr>
            </a:lvl6pPr>
            <a:lvl7pPr marL="0" indent="0">
              <a:lnSpc>
                <a:spcPct val="100000"/>
              </a:lnSpc>
              <a:spcBef>
                <a:spcPts val="0"/>
              </a:spcBef>
              <a:spcAft>
                <a:spcPts val="0"/>
              </a:spcAft>
              <a:buNone/>
              <a:defRPr sz="2400" b="1" cap="all">
                <a:solidFill>
                  <a:schemeClr val="bg1"/>
                </a:solidFill>
              </a:defRPr>
            </a:lvl7pPr>
            <a:lvl8pPr marL="0" indent="0">
              <a:lnSpc>
                <a:spcPct val="100000"/>
              </a:lnSpc>
              <a:spcBef>
                <a:spcPts val="0"/>
              </a:spcBef>
              <a:spcAft>
                <a:spcPts val="0"/>
              </a:spcAft>
              <a:buNone/>
              <a:defRPr sz="2400" b="1" cap="all">
                <a:solidFill>
                  <a:schemeClr val="bg1"/>
                </a:solidFill>
              </a:defRPr>
            </a:lvl8pPr>
            <a:lvl9pPr marL="0" indent="0">
              <a:lnSpc>
                <a:spcPct val="100000"/>
              </a:lnSpc>
              <a:spcBef>
                <a:spcPts val="0"/>
              </a:spcBef>
              <a:spcAft>
                <a:spcPts val="0"/>
              </a:spcAft>
              <a:buNone/>
              <a:defRPr sz="2400" b="1" cap="all">
                <a:solidFill>
                  <a:schemeClr val="bg1"/>
                </a:solidFill>
              </a:defRPr>
            </a:lvl9pPr>
          </a:lstStyle>
          <a:p>
            <a:pPr lvl="0"/>
            <a:r>
              <a:rPr lang="de-DE" dirty="0"/>
              <a:t>Zwei | Blöcke bei Nichtgebrauch …</a:t>
            </a:r>
          </a:p>
        </p:txBody>
      </p:sp>
      <p:sp>
        <p:nvSpPr>
          <p:cNvPr id="14" name="Titel 1">
            <a:extLst>
              <a:ext uri="{FF2B5EF4-FFF2-40B4-BE49-F238E27FC236}">
                <a16:creationId xmlns:a16="http://schemas.microsoft.com/office/drawing/2014/main" id="{5822BA2C-7264-4A6B-A396-CD315BD51BDC}"/>
              </a:ext>
            </a:extLst>
          </p:cNvPr>
          <p:cNvSpPr>
            <a:spLocks noGrp="1"/>
          </p:cNvSpPr>
          <p:nvPr>
            <p:ph type="ctrTitle" hasCustomPrompt="1"/>
          </p:nvPr>
        </p:nvSpPr>
        <p:spPr bwMode="gray">
          <a:xfrm>
            <a:off x="0" y="3501000"/>
            <a:ext cx="3597960" cy="514738"/>
          </a:xfrm>
          <a:solidFill>
            <a:schemeClr val="tx2"/>
          </a:solidFill>
        </p:spPr>
        <p:txBody>
          <a:bodyPr vert="horz" wrap="none" lIns="468000" tIns="72000" rIns="144000" bIns="72000" anchor="t" anchorCtr="0">
            <a:spAutoFit/>
          </a:bodyPr>
          <a:lstStyle>
            <a:lvl1pPr algn="l">
              <a:lnSpc>
                <a:spcPct val="100000"/>
              </a:lnSpc>
              <a:defRPr sz="2400">
                <a:solidFill>
                  <a:schemeClr val="bg1"/>
                </a:solidFill>
              </a:defRPr>
            </a:lvl1pPr>
          </a:lstStyle>
          <a:p>
            <a:r>
              <a:rPr lang="de-DE" dirty="0"/>
              <a:t>Textblock eins</a:t>
            </a:r>
          </a:p>
        </p:txBody>
      </p:sp>
      <p:sp>
        <p:nvSpPr>
          <p:cNvPr id="15" name="Textplatzhalter 6">
            <a:extLst>
              <a:ext uri="{FF2B5EF4-FFF2-40B4-BE49-F238E27FC236}">
                <a16:creationId xmlns:a16="http://schemas.microsoft.com/office/drawing/2014/main" id="{1DC5E078-E6C8-4856-8BFF-A24F15A0E165}"/>
              </a:ext>
            </a:extLst>
          </p:cNvPr>
          <p:cNvSpPr>
            <a:spLocks noGrp="1"/>
          </p:cNvSpPr>
          <p:nvPr>
            <p:ph type="body" sz="quarter" idx="16" hasCustomPrompt="1"/>
          </p:nvPr>
        </p:nvSpPr>
        <p:spPr bwMode="gray">
          <a:xfrm>
            <a:off x="0" y="4642262"/>
            <a:ext cx="5063104" cy="514738"/>
          </a:xfrm>
          <a:prstGeom prst="rect">
            <a:avLst/>
          </a:prstGeom>
          <a:solidFill>
            <a:schemeClr val="tx2"/>
          </a:solidFill>
        </p:spPr>
        <p:txBody>
          <a:bodyPr wrap="none" lIns="468000" tIns="72000" rIns="144000" bIns="72000" anchor="t" anchorCtr="0">
            <a:spAutoFit/>
          </a:bodyPr>
          <a:lstStyle>
            <a:lvl1pPr marL="0" indent="0" algn="l">
              <a:lnSpc>
                <a:spcPct val="100000"/>
              </a:lnSpc>
              <a:spcBef>
                <a:spcPts val="0"/>
              </a:spcBef>
              <a:spcAft>
                <a:spcPts val="0"/>
              </a:spcAft>
              <a:buFont typeface="Arial" panose="020B0604020202020204" pitchFamily="34" charset="0"/>
              <a:buNone/>
              <a:defRPr sz="2400" b="1" cap="all" baseline="0">
                <a:solidFill>
                  <a:schemeClr val="bg1"/>
                </a:solidFill>
              </a:defRPr>
            </a:lvl1pPr>
            <a:lvl2pPr marL="0" indent="0" algn="l">
              <a:lnSpc>
                <a:spcPct val="100000"/>
              </a:lnSpc>
              <a:spcBef>
                <a:spcPts val="0"/>
              </a:spcBef>
              <a:spcAft>
                <a:spcPts val="0"/>
              </a:spcAft>
              <a:buNone/>
              <a:defRPr sz="2400" b="1" cap="all" baseline="0">
                <a:solidFill>
                  <a:schemeClr val="bg1"/>
                </a:solidFill>
              </a:defRPr>
            </a:lvl2pPr>
            <a:lvl3pPr marL="0" indent="0" algn="l">
              <a:lnSpc>
                <a:spcPct val="100000"/>
              </a:lnSpc>
              <a:spcBef>
                <a:spcPts val="0"/>
              </a:spcBef>
              <a:spcAft>
                <a:spcPts val="0"/>
              </a:spcAft>
              <a:buNone/>
              <a:defRPr sz="2400" b="1" cap="all" baseline="0">
                <a:solidFill>
                  <a:schemeClr val="bg1"/>
                </a:solidFill>
              </a:defRPr>
            </a:lvl3pPr>
            <a:lvl4pPr marL="0" indent="0" algn="l">
              <a:lnSpc>
                <a:spcPct val="100000"/>
              </a:lnSpc>
              <a:spcBef>
                <a:spcPts val="0"/>
              </a:spcBef>
              <a:spcAft>
                <a:spcPts val="0"/>
              </a:spcAft>
              <a:buNone/>
              <a:defRPr sz="2400" b="1" cap="all" baseline="0">
                <a:solidFill>
                  <a:schemeClr val="bg1"/>
                </a:solidFill>
              </a:defRPr>
            </a:lvl4pPr>
            <a:lvl5pPr marL="0" indent="0" algn="l">
              <a:lnSpc>
                <a:spcPct val="100000"/>
              </a:lnSpc>
              <a:spcBef>
                <a:spcPts val="0"/>
              </a:spcBef>
              <a:spcAft>
                <a:spcPts val="0"/>
              </a:spcAft>
              <a:buNone/>
              <a:defRPr sz="2400" b="1" cap="all" baseline="0">
                <a:solidFill>
                  <a:schemeClr val="bg1"/>
                </a:solidFill>
              </a:defRPr>
            </a:lvl5pPr>
            <a:lvl6pPr marL="0" indent="0" algn="l">
              <a:lnSpc>
                <a:spcPct val="100000"/>
              </a:lnSpc>
              <a:spcBef>
                <a:spcPts val="0"/>
              </a:spcBef>
              <a:spcAft>
                <a:spcPts val="0"/>
              </a:spcAft>
              <a:buNone/>
              <a:defRPr sz="2400" b="1" cap="all" baseline="0">
                <a:solidFill>
                  <a:schemeClr val="bg1"/>
                </a:solidFill>
              </a:defRPr>
            </a:lvl6pPr>
            <a:lvl7pPr marL="0" indent="0" algn="l">
              <a:lnSpc>
                <a:spcPct val="100000"/>
              </a:lnSpc>
              <a:spcBef>
                <a:spcPts val="0"/>
              </a:spcBef>
              <a:spcAft>
                <a:spcPts val="0"/>
              </a:spcAft>
              <a:buNone/>
              <a:defRPr sz="2400" b="1" cap="all" baseline="0">
                <a:solidFill>
                  <a:schemeClr val="bg1"/>
                </a:solidFill>
              </a:defRPr>
            </a:lvl7pPr>
            <a:lvl8pPr marL="0" indent="0" algn="l">
              <a:lnSpc>
                <a:spcPct val="100000"/>
              </a:lnSpc>
              <a:spcBef>
                <a:spcPts val="0"/>
              </a:spcBef>
              <a:spcAft>
                <a:spcPts val="0"/>
              </a:spcAft>
              <a:buNone/>
              <a:defRPr sz="2400" b="1" cap="all" baseline="0">
                <a:solidFill>
                  <a:schemeClr val="bg1"/>
                </a:solidFill>
              </a:defRPr>
            </a:lvl8pPr>
            <a:lvl9pPr marL="0" indent="0" algn="l">
              <a:lnSpc>
                <a:spcPct val="100000"/>
              </a:lnSpc>
              <a:spcBef>
                <a:spcPts val="0"/>
              </a:spcBef>
              <a:spcAft>
                <a:spcPts val="0"/>
              </a:spcAft>
              <a:buNone/>
              <a:defRPr sz="2400" b="1" cap="all" baseline="0">
                <a:solidFill>
                  <a:schemeClr val="bg1"/>
                </a:solidFill>
              </a:defRPr>
            </a:lvl9pPr>
          </a:lstStyle>
          <a:p>
            <a:pPr lvl="0"/>
            <a:r>
              <a:rPr lang="de-DE" dirty="0"/>
              <a:t>Drei | … bitte löschen</a:t>
            </a:r>
          </a:p>
        </p:txBody>
      </p:sp>
    </p:spTree>
    <p:extLst>
      <p:ext uri="{BB962C8B-B14F-4D97-AF65-F5344CB8AC3E}">
        <p14:creationId xmlns:p14="http://schemas.microsoft.com/office/powerpoint/2010/main" val="3966322666"/>
      </p:ext>
    </p:extLst>
  </p:cSld>
  <p:clrMapOvr>
    <a:masterClrMapping/>
  </p:clrMapOvr>
  <p:extLst>
    <p:ext uri="{DCECCB84-F9BA-43D5-87BE-67443E8EF086}">
      <p15:sldGuideLst xmlns:p15="http://schemas.microsoft.com/office/powerpoint/2012/main">
        <p15:guide id="1" orient="horz" pos="890">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in Inhalt | Bi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3AFB209-600C-4EB7-8D0F-FA2F278AE22E}"/>
              </a:ext>
            </a:extLst>
          </p:cNvPr>
          <p:cNvGraphicFramePr>
            <a:graphicFrameLocks noChangeAspect="1"/>
          </p:cNvGraphicFramePr>
          <p:nvPr userDrawn="1">
            <p:custDataLst>
              <p:tags r:id="rId1"/>
            </p:custDataLst>
            <p:extLst>
              <p:ext uri="{D42A27DB-BD31-4B8C-83A1-F6EECF244321}">
                <p14:modId xmlns:p14="http://schemas.microsoft.com/office/powerpoint/2010/main" val="1095652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56F41336-991E-4EF1-80C4-C55A7EE615CC}"/>
              </a:ext>
            </a:extLst>
          </p:cNvPr>
          <p:cNvSpPr>
            <a:spLocks noGrp="1"/>
          </p:cNvSpPr>
          <p:nvPr>
            <p:ph type="title"/>
          </p:nvPr>
        </p:nvSpPr>
        <p:spPr bwMode="gray"/>
        <p:txBody>
          <a:bodyPr vert="horz" lIns="144000"/>
          <a:lstStyle/>
          <a:p>
            <a:r>
              <a:rPr lang="de-DE" dirty="0"/>
              <a:t>Mastertitelformat bearbeiten</a:t>
            </a:r>
          </a:p>
        </p:txBody>
      </p:sp>
      <p:sp>
        <p:nvSpPr>
          <p:cNvPr id="11" name="Textplatzhalter 11">
            <a:extLst>
              <a:ext uri="{FF2B5EF4-FFF2-40B4-BE49-F238E27FC236}">
                <a16:creationId xmlns:a16="http://schemas.microsoft.com/office/drawing/2014/main" id="{5C699F27-BF2B-43BB-BEAA-FE9731733924}"/>
              </a:ext>
            </a:extLst>
          </p:cNvPr>
          <p:cNvSpPr>
            <a:spLocks noGrp="1"/>
          </p:cNvSpPr>
          <p:nvPr>
            <p:ph type="body" sz="quarter" idx="14"/>
          </p:nvPr>
        </p:nvSpPr>
        <p:spPr bwMode="gray">
          <a:xfrm>
            <a:off x="6095999" y="5445000"/>
            <a:ext cx="5472000" cy="288000"/>
          </a:xfrm>
        </p:spPr>
        <p:txBody>
          <a:bodyPr lIns="144000" tIns="0" rIns="0">
            <a:noAutofit/>
          </a:bodyPr>
          <a:lstStyle>
            <a:lvl1pPr marL="0" indent="0">
              <a:lnSpc>
                <a:spcPct val="100000"/>
              </a:lnSpc>
              <a:spcBef>
                <a:spcPts val="0"/>
              </a:spcBef>
              <a:spcAft>
                <a:spcPts val="0"/>
              </a:spcAft>
              <a:buFont typeface="Arial" panose="020B0604020202020204" pitchFamily="34" charset="0"/>
              <a:buNone/>
              <a:defRPr sz="900"/>
            </a:lvl1pPr>
            <a:lvl2pPr marL="0" indent="0">
              <a:lnSpc>
                <a:spcPct val="100000"/>
              </a:lnSpc>
              <a:spcBef>
                <a:spcPts val="0"/>
              </a:spcBef>
              <a:spcAft>
                <a:spcPts val="0"/>
              </a:spcAft>
              <a:buNone/>
              <a:defRPr sz="900"/>
            </a:lvl2pPr>
            <a:lvl3pPr marL="0" indent="0">
              <a:lnSpc>
                <a:spcPct val="100000"/>
              </a:lnSpc>
              <a:spcBef>
                <a:spcPts val="0"/>
              </a:spcBef>
              <a:spcAft>
                <a:spcPts val="0"/>
              </a:spcAft>
              <a:buNone/>
              <a:defRPr sz="900" b="0"/>
            </a:lvl3pPr>
            <a:lvl4pPr marL="0" indent="0">
              <a:lnSpc>
                <a:spcPct val="100000"/>
              </a:lnSpc>
              <a:spcBef>
                <a:spcPts val="0"/>
              </a:spcBef>
              <a:spcAft>
                <a:spcPts val="0"/>
              </a:spcAft>
              <a:buNone/>
              <a:defRPr sz="900"/>
            </a:lvl4pPr>
            <a:lvl5pPr marL="0" indent="0">
              <a:lnSpc>
                <a:spcPct val="100000"/>
              </a:lnSpc>
              <a:spcBef>
                <a:spcPts val="0"/>
              </a:spcBef>
              <a:spcAft>
                <a:spcPts val="0"/>
              </a:spcAft>
              <a:buNone/>
              <a:defRPr sz="900"/>
            </a:lvl5pPr>
            <a:lvl6pPr marL="0" indent="0">
              <a:lnSpc>
                <a:spcPct val="100000"/>
              </a:lnSpc>
              <a:spcBef>
                <a:spcPts val="0"/>
              </a:spcBef>
              <a:spcAft>
                <a:spcPts val="0"/>
              </a:spcAft>
              <a:buNone/>
              <a:defRPr sz="900"/>
            </a:lvl6pPr>
            <a:lvl7pPr marL="0" indent="0">
              <a:lnSpc>
                <a:spcPct val="100000"/>
              </a:lnSpc>
              <a:spcBef>
                <a:spcPts val="0"/>
              </a:spcBef>
              <a:spcAft>
                <a:spcPts val="0"/>
              </a:spcAft>
              <a:buNone/>
              <a:defRPr sz="900"/>
            </a:lvl7pPr>
            <a:lvl8pPr marL="0" indent="0">
              <a:lnSpc>
                <a:spcPct val="100000"/>
              </a:lnSpc>
              <a:spcBef>
                <a:spcPts val="0"/>
              </a:spcBef>
              <a:spcAft>
                <a:spcPts val="0"/>
              </a:spcAft>
              <a:buNone/>
              <a:defRPr sz="900"/>
            </a:lvl8pPr>
            <a:lvl9pPr marL="0" indent="0">
              <a:lnSpc>
                <a:spcPct val="100000"/>
              </a:lnSpc>
              <a:spcBef>
                <a:spcPts val="0"/>
              </a:spcBef>
              <a:spcAft>
                <a:spcPts val="0"/>
              </a:spcAft>
              <a:buNone/>
              <a:defRPr sz="900"/>
            </a:lvl9pPr>
          </a:lstStyle>
          <a:p>
            <a:pPr lvl="0"/>
            <a:r>
              <a:rPr lang="de-DE" dirty="0"/>
              <a:t>Mastertextformat bearbeiten</a:t>
            </a:r>
          </a:p>
        </p:txBody>
      </p:sp>
      <p:sp>
        <p:nvSpPr>
          <p:cNvPr id="13" name="Bildplatzhalter 2">
            <a:extLst>
              <a:ext uri="{FF2B5EF4-FFF2-40B4-BE49-F238E27FC236}">
                <a16:creationId xmlns:a16="http://schemas.microsoft.com/office/drawing/2014/main" id="{3A242B68-DC9E-4243-BA66-D7B2B811AEF1}"/>
              </a:ext>
            </a:extLst>
          </p:cNvPr>
          <p:cNvSpPr>
            <a:spLocks noGrp="1"/>
          </p:cNvSpPr>
          <p:nvPr>
            <p:ph type="pic" sz="quarter" idx="15" hasCustomPrompt="1"/>
          </p:nvPr>
        </p:nvSpPr>
        <p:spPr bwMode="gray">
          <a:xfrm>
            <a:off x="6096000" y="1989000"/>
            <a:ext cx="5472000" cy="3311525"/>
          </a:xfrm>
        </p:spPr>
        <p:txBody>
          <a:bodyPr lIns="2952000" tIns="0" rIns="0" bIns="0" anchor="ctr"/>
          <a:lstStyle>
            <a:lvl1pPr marL="0" indent="0" algn="l">
              <a:spcBef>
                <a:spcPts val="0"/>
              </a:spcBef>
              <a:spcAft>
                <a:spcPts val="0"/>
              </a:spcAft>
              <a:buNone/>
              <a:defRPr sz="800" b="0"/>
            </a:lvl1pPr>
            <a:lvl2pPr marL="0" indent="0" algn="ctr">
              <a:spcBef>
                <a:spcPts val="0"/>
              </a:spcBef>
              <a:spcAft>
                <a:spcPts val="0"/>
              </a:spcAft>
              <a:buFont typeface="Arial" panose="020B0604020202020204" pitchFamily="34" charset="0"/>
              <a:buNone/>
              <a:defRPr sz="1200" b="0"/>
            </a:lvl2pPr>
            <a:lvl3pPr marL="0" indent="0" algn="ctr">
              <a:spcBef>
                <a:spcPts val="0"/>
              </a:spcBef>
              <a:spcAft>
                <a:spcPts val="0"/>
              </a:spcAft>
              <a:buFont typeface="Arial" panose="020B0604020202020204" pitchFamily="34" charset="0"/>
              <a:buNone/>
              <a:defRPr sz="1200" b="0"/>
            </a:lvl3pPr>
            <a:lvl4pPr marL="0" indent="0" algn="ctr">
              <a:spcBef>
                <a:spcPts val="0"/>
              </a:spcBef>
              <a:spcAft>
                <a:spcPts val="0"/>
              </a:spcAft>
              <a:buNone/>
              <a:defRPr sz="1200" b="0"/>
            </a:lvl4pPr>
            <a:lvl5pPr marL="0" indent="0" algn="ctr">
              <a:spcBef>
                <a:spcPts val="0"/>
              </a:spcBef>
              <a:spcAft>
                <a:spcPts val="0"/>
              </a:spcAft>
              <a:buNone/>
              <a:defRPr sz="1200" b="0"/>
            </a:lvl5pPr>
            <a:lvl6pPr marL="0" indent="0" algn="ctr">
              <a:spcBef>
                <a:spcPts val="0"/>
              </a:spcBef>
              <a:spcAft>
                <a:spcPts val="0"/>
              </a:spcAft>
              <a:buNone/>
              <a:defRPr sz="1200" b="0"/>
            </a:lvl6pPr>
            <a:lvl7pPr marL="0" indent="0" algn="ctr">
              <a:spcBef>
                <a:spcPts val="0"/>
              </a:spcBef>
              <a:spcAft>
                <a:spcPts val="0"/>
              </a:spcAft>
              <a:buNone/>
              <a:defRPr sz="1200" b="0"/>
            </a:lvl7pPr>
            <a:lvl8pPr marL="0" indent="0" algn="ctr">
              <a:spcBef>
                <a:spcPts val="0"/>
              </a:spcBef>
              <a:spcAft>
                <a:spcPts val="0"/>
              </a:spcAft>
              <a:buNone/>
              <a:defRPr sz="1200" b="0"/>
            </a:lvl8pPr>
            <a:lvl9pPr marL="0" indent="0" algn="ctr">
              <a:spcBef>
                <a:spcPts val="0"/>
              </a:spcBef>
              <a:spcAft>
                <a:spcPts val="0"/>
              </a:spcAft>
              <a:buNone/>
              <a:defRPr sz="1200" b="0"/>
            </a:lvl9pPr>
          </a:lstStyle>
          <a:p>
            <a:pPr lvl="0"/>
            <a:r>
              <a:rPr lang="de-DE" dirty="0"/>
              <a:t>Bild durch Klick </a:t>
            </a:r>
            <a:br>
              <a:rPr lang="de-DE" dirty="0"/>
            </a:br>
            <a:r>
              <a:rPr lang="de-DE" dirty="0"/>
              <a:t>auf Symbol hinzufügen </a:t>
            </a:r>
          </a:p>
        </p:txBody>
      </p:sp>
      <p:sp>
        <p:nvSpPr>
          <p:cNvPr id="5" name="Date Placeholder 4">
            <a:extLst>
              <a:ext uri="{FF2B5EF4-FFF2-40B4-BE49-F238E27FC236}">
                <a16:creationId xmlns:a16="http://schemas.microsoft.com/office/drawing/2014/main" id="{3AC1E464-7E7C-472D-995C-1928555D1CE1}"/>
              </a:ext>
            </a:extLst>
          </p:cNvPr>
          <p:cNvSpPr>
            <a:spLocks noGrp="1"/>
          </p:cNvSpPr>
          <p:nvPr>
            <p:ph type="dt" sz="half" idx="16"/>
          </p:nvPr>
        </p:nvSpPr>
        <p:spPr bwMode="gray"/>
        <p:txBody>
          <a:bodyPr/>
          <a:lstStyle/>
          <a:p>
            <a:fld id="{9ECD4A22-89C9-4A56-B287-B8429AC93887}" type="datetime1">
              <a:rPr lang="de-DE" smtClean="0"/>
              <a:t>29.09.25</a:t>
            </a:fld>
            <a:endParaRPr lang="de-DE" dirty="0"/>
          </a:p>
        </p:txBody>
      </p:sp>
      <p:sp>
        <p:nvSpPr>
          <p:cNvPr id="7" name="Footer Placeholder 6">
            <a:extLst>
              <a:ext uri="{FF2B5EF4-FFF2-40B4-BE49-F238E27FC236}">
                <a16:creationId xmlns:a16="http://schemas.microsoft.com/office/drawing/2014/main" id="{E2058768-E301-4F17-A469-1BB5D0625635}"/>
              </a:ext>
            </a:extLst>
          </p:cNvPr>
          <p:cNvSpPr>
            <a:spLocks noGrp="1"/>
          </p:cNvSpPr>
          <p:nvPr>
            <p:ph type="ftr" sz="quarter" idx="17"/>
          </p:nvPr>
        </p:nvSpPr>
        <p:spPr bwMode="gray"/>
        <p:txBody>
          <a:bodyPr/>
          <a:lstStyle/>
          <a:p>
            <a:r>
              <a:rPr lang="de-DE" dirty="0"/>
              <a:t>TITEL DER PRÄSENTATION | TITEL VORNAME NAME</a:t>
            </a:r>
          </a:p>
        </p:txBody>
      </p:sp>
      <p:sp>
        <p:nvSpPr>
          <p:cNvPr id="8" name="Slide Number Placeholder 7">
            <a:extLst>
              <a:ext uri="{FF2B5EF4-FFF2-40B4-BE49-F238E27FC236}">
                <a16:creationId xmlns:a16="http://schemas.microsoft.com/office/drawing/2014/main" id="{BEB1CB44-143E-42F4-8D5F-F334587E2BA7}"/>
              </a:ext>
            </a:extLst>
          </p:cNvPr>
          <p:cNvSpPr>
            <a:spLocks noGrp="1"/>
          </p:cNvSpPr>
          <p:nvPr>
            <p:ph type="sldNum" sz="quarter" idx="18"/>
          </p:nvPr>
        </p:nvSpPr>
        <p:spPr bwMode="gray"/>
        <p:txBody>
          <a:bodyPr/>
          <a:lstStyle/>
          <a:p>
            <a:fld id="{09E9C37E-8A19-4E30-BE2B-5A966AD23C7A}" type="slidenum">
              <a:rPr lang="de-DE" smtClean="0"/>
              <a:pPr/>
              <a:t>‹Nr.›</a:t>
            </a:fld>
            <a:endParaRPr lang="de-DE" dirty="0"/>
          </a:p>
        </p:txBody>
      </p:sp>
      <p:sp>
        <p:nvSpPr>
          <p:cNvPr id="10" name="Content Placeholder 9">
            <a:extLst>
              <a:ext uri="{FF2B5EF4-FFF2-40B4-BE49-F238E27FC236}">
                <a16:creationId xmlns:a16="http://schemas.microsoft.com/office/drawing/2014/main" id="{AAFE65B5-86A2-4BFA-97FE-59A39DB38276}"/>
              </a:ext>
            </a:extLst>
          </p:cNvPr>
          <p:cNvSpPr>
            <a:spLocks noGrp="1"/>
          </p:cNvSpPr>
          <p:nvPr>
            <p:ph sz="quarter" idx="19" hasCustomPrompt="1"/>
          </p:nvPr>
        </p:nvSpPr>
        <p:spPr bwMode="gray">
          <a:xfrm>
            <a:off x="336000" y="1989000"/>
            <a:ext cx="5472113" cy="3743325"/>
          </a:xfrm>
        </p:spPr>
        <p:txBody>
          <a:bodyPr lIns="144000"/>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Tree>
    <p:extLst>
      <p:ext uri="{BB962C8B-B14F-4D97-AF65-F5344CB8AC3E}">
        <p14:creationId xmlns:p14="http://schemas.microsoft.com/office/powerpoint/2010/main" val="1940716848"/>
      </p:ext>
    </p:extLst>
  </p:cSld>
  <p:clrMapOvr>
    <a:masterClrMapping/>
  </p:clrMapOvr>
  <p:extLst>
    <p:ext uri="{DCECCB84-F9BA-43D5-87BE-67443E8EF086}">
      <p15:sldGuideLst xmlns:p15="http://schemas.microsoft.com/office/powerpoint/2012/main">
        <p15:guide id="1" orient="horz" pos="1253">
          <p15:clr>
            <a:srgbClr val="F26B43"/>
          </p15:clr>
        </p15:guide>
        <p15:guide id="2" pos="3840">
          <p15:clr>
            <a:srgbClr val="F26B43"/>
          </p15:clr>
        </p15:guide>
        <p15:guide id="3" pos="3659">
          <p15:clr>
            <a:srgbClr val="F26B43"/>
          </p15:clr>
        </p15:guide>
        <p15:guide id="4" orient="horz" pos="482">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EB6A1B4-9BC6-470C-A445-D6EF6199B670}"/>
              </a:ext>
            </a:extLst>
          </p:cNvPr>
          <p:cNvGraphicFramePr>
            <a:graphicFrameLocks noChangeAspect="1"/>
          </p:cNvGraphicFramePr>
          <p:nvPr userDrawn="1">
            <p:custDataLst>
              <p:tags r:id="rId25"/>
            </p:custDataLst>
            <p:extLst>
              <p:ext uri="{D42A27DB-BD31-4B8C-83A1-F6EECF244321}">
                <p14:modId xmlns:p14="http://schemas.microsoft.com/office/powerpoint/2010/main" val="2164401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6" imgW="359" imgH="358" progId="TCLayout.ActiveDocument.1">
                  <p:embed/>
                </p:oleObj>
              </mc:Choice>
              <mc:Fallback>
                <p:oleObj name="think-cell Folie" r:id="rId26" imgW="359" imgH="358" progId="TCLayout.ActiveDocument.1">
                  <p:embed/>
                  <p:pic>
                    <p:nvPicPr>
                      <p:cNvPr id="0" name=""/>
                      <p:cNvPicPr/>
                      <p:nvPr/>
                    </p:nvPicPr>
                    <p:blipFill>
                      <a:blip r:embed="rId27"/>
                      <a:stretch>
                        <a:fillRect/>
                      </a:stretch>
                    </p:blipFill>
                    <p:spPr>
                      <a:xfrm>
                        <a:off x="1588" y="1588"/>
                        <a:ext cx="1588" cy="1588"/>
                      </a:xfrm>
                      <a:prstGeom prst="rect">
                        <a:avLst/>
                      </a:prstGeom>
                    </p:spPr>
                  </p:pic>
                </p:oleObj>
              </mc:Fallback>
            </mc:AlternateContent>
          </a:graphicData>
        </a:graphic>
      </p:graphicFrame>
      <p:grpSp>
        <p:nvGrpSpPr>
          <p:cNvPr id="82" name="Graphic 3">
            <a:extLst>
              <a:ext uri="{FF2B5EF4-FFF2-40B4-BE49-F238E27FC236}">
                <a16:creationId xmlns:a16="http://schemas.microsoft.com/office/drawing/2014/main" id="{1B780FBE-E5AE-41D7-B102-5C6932C4E37A}"/>
              </a:ext>
            </a:extLst>
          </p:cNvPr>
          <p:cNvGrpSpPr>
            <a:grpSpLocks noChangeAspect="1"/>
          </p:cNvGrpSpPr>
          <p:nvPr userDrawn="1"/>
        </p:nvGrpSpPr>
        <p:grpSpPr bwMode="gray">
          <a:xfrm>
            <a:off x="9479450" y="0"/>
            <a:ext cx="2376000" cy="1129503"/>
            <a:chOff x="0" y="531083"/>
            <a:chExt cx="12192000" cy="5795833"/>
          </a:xfrm>
        </p:grpSpPr>
        <p:sp>
          <p:nvSpPr>
            <p:cNvPr id="83" name="Freeform: Shape 82">
              <a:extLst>
                <a:ext uri="{FF2B5EF4-FFF2-40B4-BE49-F238E27FC236}">
                  <a16:creationId xmlns:a16="http://schemas.microsoft.com/office/drawing/2014/main" id="{256F3336-378E-4274-867A-93B6B1415B8B}"/>
                </a:ext>
              </a:extLst>
            </p:cNvPr>
            <p:cNvSpPr/>
            <p:nvPr/>
          </p:nvSpPr>
          <p:spPr bwMode="gray">
            <a:xfrm>
              <a:off x="0" y="531083"/>
              <a:ext cx="12191569" cy="5795676"/>
            </a:xfrm>
            <a:custGeom>
              <a:avLst/>
              <a:gdLst>
                <a:gd name="connsiteX0" fmla="*/ 0 w 12191569"/>
                <a:gd name="connsiteY0" fmla="*/ 0 h 5795676"/>
                <a:gd name="connsiteX1" fmla="*/ 12191569 w 12191569"/>
                <a:gd name="connsiteY1" fmla="*/ 0 h 5795676"/>
                <a:gd name="connsiteX2" fmla="*/ 12191569 w 12191569"/>
                <a:gd name="connsiteY2" fmla="*/ 5795676 h 5795676"/>
                <a:gd name="connsiteX3" fmla="*/ 0 w 12191569"/>
                <a:gd name="connsiteY3" fmla="*/ 5795676 h 5795676"/>
              </a:gdLst>
              <a:ahLst/>
              <a:cxnLst>
                <a:cxn ang="0">
                  <a:pos x="connsiteX0" y="connsiteY0"/>
                </a:cxn>
                <a:cxn ang="0">
                  <a:pos x="connsiteX1" y="connsiteY1"/>
                </a:cxn>
                <a:cxn ang="0">
                  <a:pos x="connsiteX2" y="connsiteY2"/>
                </a:cxn>
                <a:cxn ang="0">
                  <a:pos x="connsiteX3" y="connsiteY3"/>
                </a:cxn>
              </a:cxnLst>
              <a:rect l="l" t="t" r="r" b="b"/>
              <a:pathLst>
                <a:path w="12191569" h="5795676">
                  <a:moveTo>
                    <a:pt x="0" y="0"/>
                  </a:moveTo>
                  <a:lnTo>
                    <a:pt x="12191569" y="0"/>
                  </a:lnTo>
                  <a:lnTo>
                    <a:pt x="12191569" y="5795676"/>
                  </a:lnTo>
                  <a:lnTo>
                    <a:pt x="0" y="5795676"/>
                  </a:lnTo>
                  <a:close/>
                </a:path>
              </a:pathLst>
            </a:custGeom>
            <a:solidFill>
              <a:srgbClr val="FFFFFF"/>
            </a:solidFill>
            <a:ln w="1305" cap="flat">
              <a:noFill/>
              <a:prstDash val="solid"/>
              <a:miter/>
            </a:ln>
          </p:spPr>
          <p:txBody>
            <a:bodyPr rtlCol="0" anchor="ctr"/>
            <a:lstStyle/>
            <a:p>
              <a:endParaRPr lang="de-DE" dirty="0"/>
            </a:p>
          </p:txBody>
        </p:sp>
        <p:grpSp>
          <p:nvGrpSpPr>
            <p:cNvPr id="84" name="Graphic 3">
              <a:extLst>
                <a:ext uri="{FF2B5EF4-FFF2-40B4-BE49-F238E27FC236}">
                  <a16:creationId xmlns:a16="http://schemas.microsoft.com/office/drawing/2014/main" id="{FBDDA7E3-E998-4662-A377-73905720107C}"/>
                </a:ext>
              </a:extLst>
            </p:cNvPr>
            <p:cNvGrpSpPr/>
            <p:nvPr/>
          </p:nvGrpSpPr>
          <p:grpSpPr bwMode="gray">
            <a:xfrm>
              <a:off x="3221757" y="3362649"/>
              <a:ext cx="7389002" cy="737823"/>
              <a:chOff x="3221757" y="3362649"/>
              <a:chExt cx="7389002" cy="737823"/>
            </a:xfrm>
            <a:solidFill>
              <a:srgbClr val="3D434B"/>
            </a:solidFill>
          </p:grpSpPr>
          <p:sp>
            <p:nvSpPr>
              <p:cNvPr id="128" name="Freeform: Shape 127">
                <a:extLst>
                  <a:ext uri="{FF2B5EF4-FFF2-40B4-BE49-F238E27FC236}">
                    <a16:creationId xmlns:a16="http://schemas.microsoft.com/office/drawing/2014/main" id="{44B0051B-FD0E-4222-A0D9-9646F6AA99CB}"/>
                  </a:ext>
                </a:extLst>
              </p:cNvPr>
              <p:cNvSpPr/>
              <p:nvPr/>
            </p:nvSpPr>
            <p:spPr bwMode="gray">
              <a:xfrm>
                <a:off x="8575523" y="3374643"/>
                <a:ext cx="283266" cy="713313"/>
              </a:xfrm>
              <a:custGeom>
                <a:avLst/>
                <a:gdLst>
                  <a:gd name="connsiteX0" fmla="*/ 283266 w 283266"/>
                  <a:gd name="connsiteY0" fmla="*/ 75851 h 713313"/>
                  <a:gd name="connsiteX1" fmla="*/ 283266 w 283266"/>
                  <a:gd name="connsiteY1" fmla="*/ 0 h 713313"/>
                  <a:gd name="connsiteX2" fmla="*/ 0 w 283266"/>
                  <a:gd name="connsiteY2" fmla="*/ 0 h 713313"/>
                  <a:gd name="connsiteX3" fmla="*/ 0 w 283266"/>
                  <a:gd name="connsiteY3" fmla="*/ 75851 h 713313"/>
                  <a:gd name="connsiteX4" fmla="*/ 92895 w 283266"/>
                  <a:gd name="connsiteY4" fmla="*/ 75851 h 713313"/>
                  <a:gd name="connsiteX5" fmla="*/ 92895 w 283266"/>
                  <a:gd name="connsiteY5" fmla="*/ 637450 h 713313"/>
                  <a:gd name="connsiteX6" fmla="*/ 0 w 283266"/>
                  <a:gd name="connsiteY6" fmla="*/ 637450 h 713313"/>
                  <a:gd name="connsiteX7" fmla="*/ 0 w 283266"/>
                  <a:gd name="connsiteY7" fmla="*/ 713314 h 713313"/>
                  <a:gd name="connsiteX8" fmla="*/ 283266 w 283266"/>
                  <a:gd name="connsiteY8" fmla="*/ 713314 h 713313"/>
                  <a:gd name="connsiteX9" fmla="*/ 283266 w 283266"/>
                  <a:gd name="connsiteY9" fmla="*/ 637450 h 713313"/>
                  <a:gd name="connsiteX10" fmla="*/ 190371 w 283266"/>
                  <a:gd name="connsiteY10" fmla="*/ 637450 h 713313"/>
                  <a:gd name="connsiteX11" fmla="*/ 190371 w 283266"/>
                  <a:gd name="connsiteY11" fmla="*/ 75851 h 71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3266" h="713313">
                    <a:moveTo>
                      <a:pt x="283266" y="75851"/>
                    </a:moveTo>
                    <a:lnTo>
                      <a:pt x="283266" y="0"/>
                    </a:lnTo>
                    <a:lnTo>
                      <a:pt x="0" y="0"/>
                    </a:lnTo>
                    <a:lnTo>
                      <a:pt x="0" y="75851"/>
                    </a:lnTo>
                    <a:lnTo>
                      <a:pt x="92895" y="75851"/>
                    </a:lnTo>
                    <a:lnTo>
                      <a:pt x="92895" y="637450"/>
                    </a:lnTo>
                    <a:lnTo>
                      <a:pt x="0" y="637450"/>
                    </a:lnTo>
                    <a:lnTo>
                      <a:pt x="0" y="713314"/>
                    </a:lnTo>
                    <a:lnTo>
                      <a:pt x="283266" y="713314"/>
                    </a:lnTo>
                    <a:lnTo>
                      <a:pt x="283266" y="637450"/>
                    </a:lnTo>
                    <a:lnTo>
                      <a:pt x="190371" y="637450"/>
                    </a:lnTo>
                    <a:lnTo>
                      <a:pt x="190371" y="75851"/>
                    </a:lnTo>
                    <a:close/>
                  </a:path>
                </a:pathLst>
              </a:custGeom>
              <a:solidFill>
                <a:srgbClr val="3D434B"/>
              </a:solidFill>
              <a:ln w="1305" cap="flat">
                <a:noFill/>
                <a:prstDash val="solid"/>
                <a:miter/>
              </a:ln>
            </p:spPr>
            <p:txBody>
              <a:bodyPr rtlCol="0" anchor="ctr"/>
              <a:lstStyle/>
              <a:p>
                <a:endParaRPr lang="de-DE" dirty="0"/>
              </a:p>
            </p:txBody>
          </p:sp>
          <p:grpSp>
            <p:nvGrpSpPr>
              <p:cNvPr id="129" name="Graphic 3">
                <a:extLst>
                  <a:ext uri="{FF2B5EF4-FFF2-40B4-BE49-F238E27FC236}">
                    <a16:creationId xmlns:a16="http://schemas.microsoft.com/office/drawing/2014/main" id="{8E04F960-A4FC-4587-AD19-68541DE9B40D}"/>
                  </a:ext>
                </a:extLst>
              </p:cNvPr>
              <p:cNvGrpSpPr/>
              <p:nvPr/>
            </p:nvGrpSpPr>
            <p:grpSpPr bwMode="gray">
              <a:xfrm>
                <a:off x="3221757" y="3362649"/>
                <a:ext cx="7389002" cy="737823"/>
                <a:chOff x="3221757" y="3362649"/>
                <a:chExt cx="7389002" cy="737823"/>
              </a:xfrm>
              <a:solidFill>
                <a:srgbClr val="3D434B"/>
              </a:solidFill>
            </p:grpSpPr>
            <p:sp>
              <p:nvSpPr>
                <p:cNvPr id="130" name="Freeform: Shape 129">
                  <a:extLst>
                    <a:ext uri="{FF2B5EF4-FFF2-40B4-BE49-F238E27FC236}">
                      <a16:creationId xmlns:a16="http://schemas.microsoft.com/office/drawing/2014/main" id="{B7F08737-3447-4D9A-BD40-62DFAE9E77F1}"/>
                    </a:ext>
                  </a:extLst>
                </p:cNvPr>
                <p:cNvSpPr/>
                <p:nvPr/>
              </p:nvSpPr>
              <p:spPr bwMode="gray">
                <a:xfrm>
                  <a:off x="3221757" y="3375165"/>
                  <a:ext cx="474746" cy="712792"/>
                </a:xfrm>
                <a:custGeom>
                  <a:avLst/>
                  <a:gdLst>
                    <a:gd name="connsiteX0" fmla="*/ 0 w 474746"/>
                    <a:gd name="connsiteY0" fmla="*/ 712792 h 712792"/>
                    <a:gd name="connsiteX1" fmla="*/ 97450 w 474746"/>
                    <a:gd name="connsiteY1" fmla="*/ 712792 h 712792"/>
                    <a:gd name="connsiteX2" fmla="*/ 97450 w 474746"/>
                    <a:gd name="connsiteY2" fmla="*/ 396808 h 712792"/>
                    <a:gd name="connsiteX3" fmla="*/ 435138 w 474746"/>
                    <a:gd name="connsiteY3" fmla="*/ 396808 h 712792"/>
                    <a:gd name="connsiteX4" fmla="*/ 435138 w 474746"/>
                    <a:gd name="connsiteY4" fmla="*/ 309733 h 712792"/>
                    <a:gd name="connsiteX5" fmla="*/ 97450 w 474746"/>
                    <a:gd name="connsiteY5" fmla="*/ 309733 h 712792"/>
                    <a:gd name="connsiteX6" fmla="*/ 97450 w 474746"/>
                    <a:gd name="connsiteY6" fmla="*/ 87074 h 712792"/>
                    <a:gd name="connsiteX7" fmla="*/ 474747 w 474746"/>
                    <a:gd name="connsiteY7" fmla="*/ 87074 h 712792"/>
                    <a:gd name="connsiteX8" fmla="*/ 474747 w 474746"/>
                    <a:gd name="connsiteY8" fmla="*/ 0 h 712792"/>
                    <a:gd name="connsiteX9" fmla="*/ 0 w 474746"/>
                    <a:gd name="connsiteY9" fmla="*/ 0 h 71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4746" h="712792">
                      <a:moveTo>
                        <a:pt x="0" y="712792"/>
                      </a:moveTo>
                      <a:lnTo>
                        <a:pt x="97450" y="712792"/>
                      </a:lnTo>
                      <a:lnTo>
                        <a:pt x="97450" y="396808"/>
                      </a:lnTo>
                      <a:lnTo>
                        <a:pt x="435138" y="396808"/>
                      </a:lnTo>
                      <a:lnTo>
                        <a:pt x="435138" y="309733"/>
                      </a:lnTo>
                      <a:lnTo>
                        <a:pt x="97450" y="309733"/>
                      </a:lnTo>
                      <a:lnTo>
                        <a:pt x="97450" y="87074"/>
                      </a:lnTo>
                      <a:lnTo>
                        <a:pt x="474747" y="87074"/>
                      </a:lnTo>
                      <a:lnTo>
                        <a:pt x="474747" y="0"/>
                      </a:lnTo>
                      <a:lnTo>
                        <a:pt x="0" y="0"/>
                      </a:lnTo>
                      <a:close/>
                    </a:path>
                  </a:pathLst>
                </a:custGeom>
                <a:solidFill>
                  <a:srgbClr val="3D434B"/>
                </a:solidFill>
                <a:ln w="1305" cap="flat">
                  <a:noFill/>
                  <a:prstDash val="solid"/>
                  <a:miter/>
                </a:ln>
              </p:spPr>
              <p:txBody>
                <a:bodyPr rtlCol="0" anchor="ctr"/>
                <a:lstStyle/>
                <a:p>
                  <a:endParaRPr lang="de-DE" dirty="0"/>
                </a:p>
              </p:txBody>
            </p:sp>
            <p:sp>
              <p:nvSpPr>
                <p:cNvPr id="131" name="Freeform: Shape 130">
                  <a:extLst>
                    <a:ext uri="{FF2B5EF4-FFF2-40B4-BE49-F238E27FC236}">
                      <a16:creationId xmlns:a16="http://schemas.microsoft.com/office/drawing/2014/main" id="{C188FB8E-CF1A-4618-960A-BA148F9CE77E}"/>
                    </a:ext>
                  </a:extLst>
                </p:cNvPr>
                <p:cNvSpPr/>
                <p:nvPr/>
              </p:nvSpPr>
              <p:spPr bwMode="gray">
                <a:xfrm>
                  <a:off x="4068150" y="3375178"/>
                  <a:ext cx="564836" cy="712792"/>
                </a:xfrm>
                <a:custGeom>
                  <a:avLst/>
                  <a:gdLst>
                    <a:gd name="connsiteX0" fmla="*/ 483243 w 564836"/>
                    <a:gd name="connsiteY0" fmla="*/ 345505 h 712792"/>
                    <a:gd name="connsiteX1" fmla="*/ 519563 w 564836"/>
                    <a:gd name="connsiteY1" fmla="*/ 209347 h 712792"/>
                    <a:gd name="connsiteX2" fmla="*/ 462140 w 564836"/>
                    <a:gd name="connsiteY2" fmla="*/ 49984 h 712792"/>
                    <a:gd name="connsiteX3" fmla="*/ 280108 w 564836"/>
                    <a:gd name="connsiteY3" fmla="*/ 0 h 712792"/>
                    <a:gd name="connsiteX4" fmla="*/ 0 w 564836"/>
                    <a:gd name="connsiteY4" fmla="*/ 0 h 712792"/>
                    <a:gd name="connsiteX5" fmla="*/ 0 w 564836"/>
                    <a:gd name="connsiteY5" fmla="*/ 712792 h 712792"/>
                    <a:gd name="connsiteX6" fmla="*/ 97450 w 564836"/>
                    <a:gd name="connsiteY6" fmla="*/ 712792 h 712792"/>
                    <a:gd name="connsiteX7" fmla="*/ 97450 w 564836"/>
                    <a:gd name="connsiteY7" fmla="*/ 418707 h 712792"/>
                    <a:gd name="connsiteX8" fmla="*/ 261263 w 564836"/>
                    <a:gd name="connsiteY8" fmla="*/ 418707 h 712792"/>
                    <a:gd name="connsiteX9" fmla="*/ 448463 w 564836"/>
                    <a:gd name="connsiteY9" fmla="*/ 711957 h 712792"/>
                    <a:gd name="connsiteX10" fmla="*/ 448998 w 564836"/>
                    <a:gd name="connsiteY10" fmla="*/ 712792 h 712792"/>
                    <a:gd name="connsiteX11" fmla="*/ 564836 w 564836"/>
                    <a:gd name="connsiteY11" fmla="*/ 712792 h 712792"/>
                    <a:gd name="connsiteX12" fmla="*/ 372677 w 564836"/>
                    <a:gd name="connsiteY12" fmla="*/ 409793 h 712792"/>
                    <a:gd name="connsiteX13" fmla="*/ 483243 w 564836"/>
                    <a:gd name="connsiteY13" fmla="*/ 345505 h 712792"/>
                    <a:gd name="connsiteX14" fmla="*/ 97450 w 564836"/>
                    <a:gd name="connsiteY14" fmla="*/ 87061 h 712792"/>
                    <a:gd name="connsiteX15" fmla="*/ 275932 w 564836"/>
                    <a:gd name="connsiteY15" fmla="*/ 87061 h 712792"/>
                    <a:gd name="connsiteX16" fmla="*/ 387855 w 564836"/>
                    <a:gd name="connsiteY16" fmla="*/ 114807 h 712792"/>
                    <a:gd name="connsiteX17" fmla="*/ 421082 w 564836"/>
                    <a:gd name="connsiteY17" fmla="*/ 209347 h 712792"/>
                    <a:gd name="connsiteX18" fmla="*/ 387868 w 564836"/>
                    <a:gd name="connsiteY18" fmla="*/ 303887 h 712792"/>
                    <a:gd name="connsiteX19" fmla="*/ 275945 w 564836"/>
                    <a:gd name="connsiteY19" fmla="*/ 331619 h 712792"/>
                    <a:gd name="connsiteX20" fmla="*/ 97463 w 564836"/>
                    <a:gd name="connsiteY20" fmla="*/ 331619 h 712792"/>
                    <a:gd name="connsiteX21" fmla="*/ 97463 w 564836"/>
                    <a:gd name="connsiteY21" fmla="*/ 87061 h 71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4836" h="712792">
                      <a:moveTo>
                        <a:pt x="483243" y="345505"/>
                      </a:moveTo>
                      <a:cubicBezTo>
                        <a:pt x="507347" y="313009"/>
                        <a:pt x="519563" y="267201"/>
                        <a:pt x="519563" y="209347"/>
                      </a:cubicBezTo>
                      <a:cubicBezTo>
                        <a:pt x="519563" y="136837"/>
                        <a:pt x="500248" y="83225"/>
                        <a:pt x="462140" y="49984"/>
                      </a:cubicBezTo>
                      <a:cubicBezTo>
                        <a:pt x="424084" y="16809"/>
                        <a:pt x="362837" y="0"/>
                        <a:pt x="280108" y="0"/>
                      </a:cubicBezTo>
                      <a:lnTo>
                        <a:pt x="0" y="0"/>
                      </a:lnTo>
                      <a:lnTo>
                        <a:pt x="0" y="712792"/>
                      </a:lnTo>
                      <a:lnTo>
                        <a:pt x="97450" y="712792"/>
                      </a:lnTo>
                      <a:lnTo>
                        <a:pt x="97450" y="418707"/>
                      </a:lnTo>
                      <a:lnTo>
                        <a:pt x="261263" y="418707"/>
                      </a:lnTo>
                      <a:lnTo>
                        <a:pt x="448463" y="711957"/>
                      </a:lnTo>
                      <a:lnTo>
                        <a:pt x="448998" y="712792"/>
                      </a:lnTo>
                      <a:lnTo>
                        <a:pt x="564836" y="712792"/>
                      </a:lnTo>
                      <a:lnTo>
                        <a:pt x="372677" y="409793"/>
                      </a:lnTo>
                      <a:cubicBezTo>
                        <a:pt x="422322" y="399118"/>
                        <a:pt x="459517" y="377493"/>
                        <a:pt x="483243" y="345505"/>
                      </a:cubicBezTo>
                      <a:close/>
                      <a:moveTo>
                        <a:pt x="97450" y="87061"/>
                      </a:moveTo>
                      <a:lnTo>
                        <a:pt x="275932" y="87061"/>
                      </a:lnTo>
                      <a:cubicBezTo>
                        <a:pt x="328057" y="87061"/>
                        <a:pt x="365708" y="96393"/>
                        <a:pt x="387855" y="114807"/>
                      </a:cubicBezTo>
                      <a:cubicBezTo>
                        <a:pt x="409898" y="133144"/>
                        <a:pt x="421082" y="164948"/>
                        <a:pt x="421082" y="209347"/>
                      </a:cubicBezTo>
                      <a:cubicBezTo>
                        <a:pt x="421082" y="253745"/>
                        <a:pt x="409911" y="285550"/>
                        <a:pt x="387868" y="303887"/>
                      </a:cubicBezTo>
                      <a:cubicBezTo>
                        <a:pt x="365721" y="322288"/>
                        <a:pt x="328057" y="331619"/>
                        <a:pt x="275945" y="331619"/>
                      </a:cubicBezTo>
                      <a:lnTo>
                        <a:pt x="97463" y="331619"/>
                      </a:lnTo>
                      <a:lnTo>
                        <a:pt x="97463" y="87061"/>
                      </a:lnTo>
                      <a:close/>
                    </a:path>
                  </a:pathLst>
                </a:custGeom>
                <a:solidFill>
                  <a:srgbClr val="3D434B"/>
                </a:solidFill>
                <a:ln w="1305" cap="flat">
                  <a:noFill/>
                  <a:prstDash val="solid"/>
                  <a:miter/>
                </a:ln>
              </p:spPr>
              <p:txBody>
                <a:bodyPr rtlCol="0" anchor="ctr"/>
                <a:lstStyle/>
                <a:p>
                  <a:endParaRPr lang="de-DE" dirty="0"/>
                </a:p>
              </p:txBody>
            </p:sp>
            <p:sp>
              <p:nvSpPr>
                <p:cNvPr id="132" name="Freeform: Shape 131">
                  <a:extLst>
                    <a:ext uri="{FF2B5EF4-FFF2-40B4-BE49-F238E27FC236}">
                      <a16:creationId xmlns:a16="http://schemas.microsoft.com/office/drawing/2014/main" id="{E820CCEA-94EB-422E-8D75-0BCC1496CA08}"/>
                    </a:ext>
                  </a:extLst>
                </p:cNvPr>
                <p:cNvSpPr/>
                <p:nvPr/>
              </p:nvSpPr>
              <p:spPr bwMode="gray">
                <a:xfrm>
                  <a:off x="5004188" y="3375165"/>
                  <a:ext cx="516417" cy="712792"/>
                </a:xfrm>
                <a:custGeom>
                  <a:avLst/>
                  <a:gdLst>
                    <a:gd name="connsiteX0" fmla="*/ 97437 w 516417"/>
                    <a:gd name="connsiteY0" fmla="*/ 393675 h 712792"/>
                    <a:gd name="connsiteX1" fmla="*/ 451804 w 516417"/>
                    <a:gd name="connsiteY1" fmla="*/ 393675 h 712792"/>
                    <a:gd name="connsiteX2" fmla="*/ 451804 w 516417"/>
                    <a:gd name="connsiteY2" fmla="*/ 306601 h 712792"/>
                    <a:gd name="connsiteX3" fmla="*/ 97437 w 516417"/>
                    <a:gd name="connsiteY3" fmla="*/ 306601 h 712792"/>
                    <a:gd name="connsiteX4" fmla="*/ 97437 w 516417"/>
                    <a:gd name="connsiteY4" fmla="*/ 87074 h 712792"/>
                    <a:gd name="connsiteX5" fmla="*/ 510180 w 516417"/>
                    <a:gd name="connsiteY5" fmla="*/ 87074 h 712792"/>
                    <a:gd name="connsiteX6" fmla="*/ 510180 w 516417"/>
                    <a:gd name="connsiteY6" fmla="*/ 0 h 712792"/>
                    <a:gd name="connsiteX7" fmla="*/ 0 w 516417"/>
                    <a:gd name="connsiteY7" fmla="*/ 0 h 712792"/>
                    <a:gd name="connsiteX8" fmla="*/ 0 w 516417"/>
                    <a:gd name="connsiteY8" fmla="*/ 712792 h 712792"/>
                    <a:gd name="connsiteX9" fmla="*/ 516418 w 516417"/>
                    <a:gd name="connsiteY9" fmla="*/ 712792 h 712792"/>
                    <a:gd name="connsiteX10" fmla="*/ 516418 w 516417"/>
                    <a:gd name="connsiteY10" fmla="*/ 625718 h 712792"/>
                    <a:gd name="connsiteX11" fmla="*/ 97437 w 516417"/>
                    <a:gd name="connsiteY11" fmla="*/ 625718 h 71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6417" h="712792">
                      <a:moveTo>
                        <a:pt x="97437" y="393675"/>
                      </a:moveTo>
                      <a:lnTo>
                        <a:pt x="451804" y="393675"/>
                      </a:lnTo>
                      <a:lnTo>
                        <a:pt x="451804" y="306601"/>
                      </a:lnTo>
                      <a:lnTo>
                        <a:pt x="97437" y="306601"/>
                      </a:lnTo>
                      <a:lnTo>
                        <a:pt x="97437" y="87074"/>
                      </a:lnTo>
                      <a:lnTo>
                        <a:pt x="510180" y="87074"/>
                      </a:lnTo>
                      <a:lnTo>
                        <a:pt x="510180" y="0"/>
                      </a:lnTo>
                      <a:lnTo>
                        <a:pt x="0" y="0"/>
                      </a:lnTo>
                      <a:lnTo>
                        <a:pt x="0" y="712792"/>
                      </a:lnTo>
                      <a:lnTo>
                        <a:pt x="516418" y="712792"/>
                      </a:lnTo>
                      <a:lnTo>
                        <a:pt x="516418" y="625718"/>
                      </a:lnTo>
                      <a:lnTo>
                        <a:pt x="97437" y="625718"/>
                      </a:lnTo>
                      <a:close/>
                    </a:path>
                  </a:pathLst>
                </a:custGeom>
                <a:solidFill>
                  <a:srgbClr val="3D434B"/>
                </a:solidFill>
                <a:ln w="1305" cap="flat">
                  <a:noFill/>
                  <a:prstDash val="solid"/>
                  <a:miter/>
                </a:ln>
              </p:spPr>
              <p:txBody>
                <a:bodyPr rtlCol="0" anchor="ctr"/>
                <a:lstStyle/>
                <a:p>
                  <a:endParaRPr lang="de-DE" dirty="0"/>
                </a:p>
              </p:txBody>
            </p:sp>
            <p:sp>
              <p:nvSpPr>
                <p:cNvPr id="133" name="Freeform: Shape 132">
                  <a:extLst>
                    <a:ext uri="{FF2B5EF4-FFF2-40B4-BE49-F238E27FC236}">
                      <a16:creationId xmlns:a16="http://schemas.microsoft.com/office/drawing/2014/main" id="{101EF188-89D4-45C9-BDA2-5C65B2603AB0}"/>
                    </a:ext>
                  </a:extLst>
                </p:cNvPr>
                <p:cNvSpPr/>
                <p:nvPr/>
              </p:nvSpPr>
              <p:spPr bwMode="gray">
                <a:xfrm>
                  <a:off x="5880715" y="3362649"/>
                  <a:ext cx="501827" cy="737823"/>
                </a:xfrm>
                <a:custGeom>
                  <a:avLst/>
                  <a:gdLst>
                    <a:gd name="connsiteX0" fmla="*/ 314927 w 501827"/>
                    <a:gd name="connsiteY0" fmla="*/ 327273 h 737823"/>
                    <a:gd name="connsiteX1" fmla="*/ 234665 w 501827"/>
                    <a:gd name="connsiteY1" fmla="*/ 309538 h 737823"/>
                    <a:gd name="connsiteX2" fmla="*/ 134880 w 501827"/>
                    <a:gd name="connsiteY2" fmla="*/ 269381 h 737823"/>
                    <a:gd name="connsiteX3" fmla="*/ 107864 w 501827"/>
                    <a:gd name="connsiteY3" fmla="*/ 203096 h 737823"/>
                    <a:gd name="connsiteX4" fmla="*/ 265504 w 501827"/>
                    <a:gd name="connsiteY4" fmla="*/ 87074 h 737823"/>
                    <a:gd name="connsiteX5" fmla="*/ 460391 w 501827"/>
                    <a:gd name="connsiteY5" fmla="*/ 142018 h 737823"/>
                    <a:gd name="connsiteX6" fmla="*/ 463262 w 501827"/>
                    <a:gd name="connsiteY6" fmla="*/ 144054 h 737823"/>
                    <a:gd name="connsiteX7" fmla="*/ 463262 w 501827"/>
                    <a:gd name="connsiteY7" fmla="*/ 44686 h 737823"/>
                    <a:gd name="connsiteX8" fmla="*/ 462505 w 501827"/>
                    <a:gd name="connsiteY8" fmla="*/ 44138 h 737823"/>
                    <a:gd name="connsiteX9" fmla="*/ 262385 w 501827"/>
                    <a:gd name="connsiteY9" fmla="*/ 0 h 737823"/>
                    <a:gd name="connsiteX10" fmla="*/ 10427 w 501827"/>
                    <a:gd name="connsiteY10" fmla="*/ 209360 h 737823"/>
                    <a:gd name="connsiteX11" fmla="*/ 50480 w 501827"/>
                    <a:gd name="connsiteY11" fmla="*/ 331006 h 737823"/>
                    <a:gd name="connsiteX12" fmla="*/ 186926 w 501827"/>
                    <a:gd name="connsiteY12" fmla="*/ 398844 h 737823"/>
                    <a:gd name="connsiteX13" fmla="*/ 264969 w 501827"/>
                    <a:gd name="connsiteY13" fmla="*/ 417154 h 737823"/>
                    <a:gd name="connsiteX14" fmla="*/ 375313 w 501827"/>
                    <a:gd name="connsiteY14" fmla="*/ 459856 h 737823"/>
                    <a:gd name="connsiteX15" fmla="*/ 404390 w 501827"/>
                    <a:gd name="connsiteY15" fmla="*/ 529508 h 737823"/>
                    <a:gd name="connsiteX16" fmla="*/ 240486 w 501827"/>
                    <a:gd name="connsiteY16" fmla="*/ 650749 h 737823"/>
                    <a:gd name="connsiteX17" fmla="*/ 2910 w 501827"/>
                    <a:gd name="connsiteY17" fmla="*/ 578109 h 737823"/>
                    <a:gd name="connsiteX18" fmla="*/ 0 w 501827"/>
                    <a:gd name="connsiteY18" fmla="*/ 575929 h 737823"/>
                    <a:gd name="connsiteX19" fmla="*/ 0 w 501827"/>
                    <a:gd name="connsiteY19" fmla="*/ 676394 h 737823"/>
                    <a:gd name="connsiteX20" fmla="*/ 691 w 501827"/>
                    <a:gd name="connsiteY20" fmla="*/ 676942 h 737823"/>
                    <a:gd name="connsiteX21" fmla="*/ 238398 w 501827"/>
                    <a:gd name="connsiteY21" fmla="*/ 737824 h 737823"/>
                    <a:gd name="connsiteX22" fmla="*/ 501827 w 501827"/>
                    <a:gd name="connsiteY22" fmla="*/ 526389 h 737823"/>
                    <a:gd name="connsiteX23" fmla="*/ 458629 w 501827"/>
                    <a:gd name="connsiteY23" fmla="*/ 397800 h 737823"/>
                    <a:gd name="connsiteX24" fmla="*/ 314927 w 501827"/>
                    <a:gd name="connsiteY24" fmla="*/ 327273 h 73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1827" h="737823">
                      <a:moveTo>
                        <a:pt x="314927" y="327273"/>
                      </a:moveTo>
                      <a:lnTo>
                        <a:pt x="234665" y="309538"/>
                      </a:lnTo>
                      <a:cubicBezTo>
                        <a:pt x="186573" y="299267"/>
                        <a:pt x="152994" y="285759"/>
                        <a:pt x="134880" y="269381"/>
                      </a:cubicBezTo>
                      <a:cubicBezTo>
                        <a:pt x="116961" y="253171"/>
                        <a:pt x="107864" y="230868"/>
                        <a:pt x="107864" y="203096"/>
                      </a:cubicBezTo>
                      <a:cubicBezTo>
                        <a:pt x="107864" y="126109"/>
                        <a:pt x="160903" y="87074"/>
                        <a:pt x="265504" y="87074"/>
                      </a:cubicBezTo>
                      <a:cubicBezTo>
                        <a:pt x="343261" y="87074"/>
                        <a:pt x="408827" y="105555"/>
                        <a:pt x="460391" y="142018"/>
                      </a:cubicBezTo>
                      <a:lnTo>
                        <a:pt x="463262" y="144054"/>
                      </a:lnTo>
                      <a:lnTo>
                        <a:pt x="463262" y="44686"/>
                      </a:lnTo>
                      <a:lnTo>
                        <a:pt x="462505" y="44138"/>
                      </a:lnTo>
                      <a:cubicBezTo>
                        <a:pt x="421369" y="14852"/>
                        <a:pt x="354040" y="0"/>
                        <a:pt x="262385" y="0"/>
                      </a:cubicBezTo>
                      <a:cubicBezTo>
                        <a:pt x="95205" y="0"/>
                        <a:pt x="10427" y="70435"/>
                        <a:pt x="10427" y="209360"/>
                      </a:cubicBezTo>
                      <a:cubicBezTo>
                        <a:pt x="10427" y="259645"/>
                        <a:pt x="23909" y="300585"/>
                        <a:pt x="50480" y="331006"/>
                      </a:cubicBezTo>
                      <a:cubicBezTo>
                        <a:pt x="76999" y="361401"/>
                        <a:pt x="122912" y="384227"/>
                        <a:pt x="186926" y="398844"/>
                      </a:cubicBezTo>
                      <a:lnTo>
                        <a:pt x="264969" y="417154"/>
                      </a:lnTo>
                      <a:cubicBezTo>
                        <a:pt x="318686" y="429487"/>
                        <a:pt x="355802" y="443856"/>
                        <a:pt x="375313" y="459856"/>
                      </a:cubicBezTo>
                      <a:cubicBezTo>
                        <a:pt x="394615" y="475686"/>
                        <a:pt x="404390" y="499126"/>
                        <a:pt x="404390" y="529508"/>
                      </a:cubicBezTo>
                      <a:cubicBezTo>
                        <a:pt x="404390" y="609953"/>
                        <a:pt x="349251" y="650749"/>
                        <a:pt x="240486" y="650749"/>
                      </a:cubicBezTo>
                      <a:cubicBezTo>
                        <a:pt x="147512" y="650749"/>
                        <a:pt x="67576" y="626305"/>
                        <a:pt x="2910" y="578109"/>
                      </a:cubicBezTo>
                      <a:lnTo>
                        <a:pt x="0" y="575929"/>
                      </a:lnTo>
                      <a:lnTo>
                        <a:pt x="0" y="676394"/>
                      </a:lnTo>
                      <a:lnTo>
                        <a:pt x="691" y="676942"/>
                      </a:lnTo>
                      <a:cubicBezTo>
                        <a:pt x="52190" y="717334"/>
                        <a:pt x="132165" y="737824"/>
                        <a:pt x="238398" y="737824"/>
                      </a:cubicBezTo>
                      <a:cubicBezTo>
                        <a:pt x="413199" y="737824"/>
                        <a:pt x="501827" y="666684"/>
                        <a:pt x="501827" y="526389"/>
                      </a:cubicBezTo>
                      <a:cubicBezTo>
                        <a:pt x="501827" y="473272"/>
                        <a:pt x="487288" y="430022"/>
                        <a:pt x="458629" y="397800"/>
                      </a:cubicBezTo>
                      <a:cubicBezTo>
                        <a:pt x="430022" y="365643"/>
                        <a:pt x="381669" y="341916"/>
                        <a:pt x="314927" y="327273"/>
                      </a:cubicBezTo>
                      <a:close/>
                    </a:path>
                  </a:pathLst>
                </a:custGeom>
                <a:solidFill>
                  <a:srgbClr val="3D434B"/>
                </a:solidFill>
                <a:ln w="1305" cap="flat">
                  <a:noFill/>
                  <a:prstDash val="solid"/>
                  <a:miter/>
                </a:ln>
              </p:spPr>
              <p:txBody>
                <a:bodyPr rtlCol="0" anchor="ctr"/>
                <a:lstStyle/>
                <a:p>
                  <a:endParaRPr lang="de-DE" dirty="0"/>
                </a:p>
              </p:txBody>
            </p:sp>
            <p:sp>
              <p:nvSpPr>
                <p:cNvPr id="134" name="Freeform: Shape 133">
                  <a:extLst>
                    <a:ext uri="{FF2B5EF4-FFF2-40B4-BE49-F238E27FC236}">
                      <a16:creationId xmlns:a16="http://schemas.microsoft.com/office/drawing/2014/main" id="{AB59B5FB-2715-4F56-9BC3-3FA6D2A78143}"/>
                    </a:ext>
                  </a:extLst>
                </p:cNvPr>
                <p:cNvSpPr/>
                <p:nvPr/>
              </p:nvSpPr>
              <p:spPr bwMode="gray">
                <a:xfrm>
                  <a:off x="6766912" y="3375165"/>
                  <a:ext cx="516430" cy="712792"/>
                </a:xfrm>
                <a:custGeom>
                  <a:avLst/>
                  <a:gdLst>
                    <a:gd name="connsiteX0" fmla="*/ 97450 w 516430"/>
                    <a:gd name="connsiteY0" fmla="*/ 393675 h 712792"/>
                    <a:gd name="connsiteX1" fmla="*/ 451803 w 516430"/>
                    <a:gd name="connsiteY1" fmla="*/ 393675 h 712792"/>
                    <a:gd name="connsiteX2" fmla="*/ 451803 w 516430"/>
                    <a:gd name="connsiteY2" fmla="*/ 306601 h 712792"/>
                    <a:gd name="connsiteX3" fmla="*/ 97450 w 516430"/>
                    <a:gd name="connsiteY3" fmla="*/ 306601 h 712792"/>
                    <a:gd name="connsiteX4" fmla="*/ 97450 w 516430"/>
                    <a:gd name="connsiteY4" fmla="*/ 87074 h 712792"/>
                    <a:gd name="connsiteX5" fmla="*/ 510179 w 516430"/>
                    <a:gd name="connsiteY5" fmla="*/ 87074 h 712792"/>
                    <a:gd name="connsiteX6" fmla="*/ 510179 w 516430"/>
                    <a:gd name="connsiteY6" fmla="*/ 0 h 712792"/>
                    <a:gd name="connsiteX7" fmla="*/ 0 w 516430"/>
                    <a:gd name="connsiteY7" fmla="*/ 0 h 712792"/>
                    <a:gd name="connsiteX8" fmla="*/ 0 w 516430"/>
                    <a:gd name="connsiteY8" fmla="*/ 712792 h 712792"/>
                    <a:gd name="connsiteX9" fmla="*/ 516431 w 516430"/>
                    <a:gd name="connsiteY9" fmla="*/ 712792 h 712792"/>
                    <a:gd name="connsiteX10" fmla="*/ 516431 w 516430"/>
                    <a:gd name="connsiteY10" fmla="*/ 625718 h 712792"/>
                    <a:gd name="connsiteX11" fmla="*/ 97450 w 516430"/>
                    <a:gd name="connsiteY11" fmla="*/ 625718 h 71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6430" h="712792">
                      <a:moveTo>
                        <a:pt x="97450" y="393675"/>
                      </a:moveTo>
                      <a:lnTo>
                        <a:pt x="451803" y="393675"/>
                      </a:lnTo>
                      <a:lnTo>
                        <a:pt x="451803" y="306601"/>
                      </a:lnTo>
                      <a:lnTo>
                        <a:pt x="97450" y="306601"/>
                      </a:lnTo>
                      <a:lnTo>
                        <a:pt x="97450" y="87074"/>
                      </a:lnTo>
                      <a:lnTo>
                        <a:pt x="510179" y="87074"/>
                      </a:lnTo>
                      <a:lnTo>
                        <a:pt x="510179" y="0"/>
                      </a:lnTo>
                      <a:lnTo>
                        <a:pt x="0" y="0"/>
                      </a:lnTo>
                      <a:lnTo>
                        <a:pt x="0" y="712792"/>
                      </a:lnTo>
                      <a:lnTo>
                        <a:pt x="516431" y="712792"/>
                      </a:lnTo>
                      <a:lnTo>
                        <a:pt x="516431" y="625718"/>
                      </a:lnTo>
                      <a:lnTo>
                        <a:pt x="97450" y="625718"/>
                      </a:lnTo>
                      <a:close/>
                    </a:path>
                  </a:pathLst>
                </a:custGeom>
                <a:solidFill>
                  <a:srgbClr val="3D434B"/>
                </a:solidFill>
                <a:ln w="1305" cap="flat">
                  <a:noFill/>
                  <a:prstDash val="solid"/>
                  <a:miter/>
                </a:ln>
              </p:spPr>
              <p:txBody>
                <a:bodyPr rtlCol="0" anchor="ctr"/>
                <a:lstStyle/>
                <a:p>
                  <a:endParaRPr lang="de-DE" dirty="0"/>
                </a:p>
              </p:txBody>
            </p:sp>
            <p:sp>
              <p:nvSpPr>
                <p:cNvPr id="135" name="Freeform: Shape 134">
                  <a:extLst>
                    <a:ext uri="{FF2B5EF4-FFF2-40B4-BE49-F238E27FC236}">
                      <a16:creationId xmlns:a16="http://schemas.microsoft.com/office/drawing/2014/main" id="{E11FF74A-675D-4AB8-BD30-7152320648C8}"/>
                    </a:ext>
                  </a:extLst>
                </p:cNvPr>
                <p:cNvSpPr/>
                <p:nvPr/>
              </p:nvSpPr>
              <p:spPr bwMode="gray">
                <a:xfrm>
                  <a:off x="7666368" y="3375165"/>
                  <a:ext cx="565410" cy="712792"/>
                </a:xfrm>
                <a:custGeom>
                  <a:avLst/>
                  <a:gdLst>
                    <a:gd name="connsiteX0" fmla="*/ 472124 w 565410"/>
                    <a:gd name="connsiteY0" fmla="*/ 535955 h 712792"/>
                    <a:gd name="connsiteX1" fmla="*/ 121294 w 565410"/>
                    <a:gd name="connsiteY1" fmla="*/ 822 h 712792"/>
                    <a:gd name="connsiteX2" fmla="*/ 120759 w 565410"/>
                    <a:gd name="connsiteY2" fmla="*/ 0 h 712792"/>
                    <a:gd name="connsiteX3" fmla="*/ 0 w 565410"/>
                    <a:gd name="connsiteY3" fmla="*/ 0 h 712792"/>
                    <a:gd name="connsiteX4" fmla="*/ 0 w 565410"/>
                    <a:gd name="connsiteY4" fmla="*/ 712792 h 712792"/>
                    <a:gd name="connsiteX5" fmla="*/ 93274 w 565410"/>
                    <a:gd name="connsiteY5" fmla="*/ 712792 h 712792"/>
                    <a:gd name="connsiteX6" fmla="*/ 93274 w 565410"/>
                    <a:gd name="connsiteY6" fmla="*/ 132034 h 712792"/>
                    <a:gd name="connsiteX7" fmla="*/ 473468 w 565410"/>
                    <a:gd name="connsiteY7" fmla="*/ 711983 h 712792"/>
                    <a:gd name="connsiteX8" fmla="*/ 474016 w 565410"/>
                    <a:gd name="connsiteY8" fmla="*/ 712792 h 712792"/>
                    <a:gd name="connsiteX9" fmla="*/ 565411 w 565410"/>
                    <a:gd name="connsiteY9" fmla="*/ 712792 h 712792"/>
                    <a:gd name="connsiteX10" fmla="*/ 565411 w 565410"/>
                    <a:gd name="connsiteY10" fmla="*/ 0 h 712792"/>
                    <a:gd name="connsiteX11" fmla="*/ 472124 w 565410"/>
                    <a:gd name="connsiteY11" fmla="*/ 0 h 71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5410" h="712792">
                      <a:moveTo>
                        <a:pt x="472124" y="535955"/>
                      </a:moveTo>
                      <a:lnTo>
                        <a:pt x="121294" y="822"/>
                      </a:lnTo>
                      <a:lnTo>
                        <a:pt x="120759" y="0"/>
                      </a:lnTo>
                      <a:lnTo>
                        <a:pt x="0" y="0"/>
                      </a:lnTo>
                      <a:lnTo>
                        <a:pt x="0" y="712792"/>
                      </a:lnTo>
                      <a:lnTo>
                        <a:pt x="93274" y="712792"/>
                      </a:lnTo>
                      <a:lnTo>
                        <a:pt x="93274" y="132034"/>
                      </a:lnTo>
                      <a:lnTo>
                        <a:pt x="473468" y="711983"/>
                      </a:lnTo>
                      <a:lnTo>
                        <a:pt x="474016" y="712792"/>
                      </a:lnTo>
                      <a:lnTo>
                        <a:pt x="565411" y="712792"/>
                      </a:lnTo>
                      <a:lnTo>
                        <a:pt x="565411" y="0"/>
                      </a:lnTo>
                      <a:lnTo>
                        <a:pt x="472124" y="0"/>
                      </a:lnTo>
                      <a:close/>
                    </a:path>
                  </a:pathLst>
                </a:custGeom>
                <a:solidFill>
                  <a:srgbClr val="3D434B"/>
                </a:solidFill>
                <a:ln w="1305" cap="flat">
                  <a:noFill/>
                  <a:prstDash val="solid"/>
                  <a:miter/>
                </a:ln>
              </p:spPr>
              <p:txBody>
                <a:bodyPr rtlCol="0" anchor="ctr"/>
                <a:lstStyle/>
                <a:p>
                  <a:endParaRPr lang="de-DE" dirty="0"/>
                </a:p>
              </p:txBody>
            </p:sp>
            <p:sp>
              <p:nvSpPr>
                <p:cNvPr id="136" name="Freeform: Shape 135">
                  <a:extLst>
                    <a:ext uri="{FF2B5EF4-FFF2-40B4-BE49-F238E27FC236}">
                      <a16:creationId xmlns:a16="http://schemas.microsoft.com/office/drawing/2014/main" id="{5E4728EC-71D5-49F9-A56A-82E663AE2F63}"/>
                    </a:ext>
                  </a:extLst>
                </p:cNvPr>
                <p:cNvSpPr/>
                <p:nvPr/>
              </p:nvSpPr>
              <p:spPr bwMode="gray">
                <a:xfrm>
                  <a:off x="9190317" y="3375165"/>
                  <a:ext cx="538316" cy="725307"/>
                </a:xfrm>
                <a:custGeom>
                  <a:avLst/>
                  <a:gdLst>
                    <a:gd name="connsiteX0" fmla="*/ 445030 w 538316"/>
                    <a:gd name="connsiteY0" fmla="*/ 457559 h 725307"/>
                    <a:gd name="connsiteX1" fmla="*/ 403855 w 538316"/>
                    <a:gd name="connsiteY1" fmla="*/ 594474 h 725307"/>
                    <a:gd name="connsiteX2" fmla="*/ 270711 w 538316"/>
                    <a:gd name="connsiteY2" fmla="*/ 637202 h 725307"/>
                    <a:gd name="connsiteX3" fmla="*/ 138625 w 538316"/>
                    <a:gd name="connsiteY3" fmla="*/ 594474 h 725307"/>
                    <a:gd name="connsiteX4" fmla="*/ 97450 w 538316"/>
                    <a:gd name="connsiteY4" fmla="*/ 457559 h 725307"/>
                    <a:gd name="connsiteX5" fmla="*/ 97450 w 538316"/>
                    <a:gd name="connsiteY5" fmla="*/ 0 h 725307"/>
                    <a:gd name="connsiteX6" fmla="*/ 0 w 538316"/>
                    <a:gd name="connsiteY6" fmla="*/ 0 h 725307"/>
                    <a:gd name="connsiteX7" fmla="*/ 0 w 538316"/>
                    <a:gd name="connsiteY7" fmla="*/ 449206 h 725307"/>
                    <a:gd name="connsiteX8" fmla="*/ 64627 w 538316"/>
                    <a:gd name="connsiteY8" fmla="*/ 659584 h 725307"/>
                    <a:gd name="connsiteX9" fmla="*/ 269680 w 538316"/>
                    <a:gd name="connsiteY9" fmla="*/ 725308 h 725307"/>
                    <a:gd name="connsiteX10" fmla="*/ 474224 w 538316"/>
                    <a:gd name="connsiteY10" fmla="*/ 659584 h 725307"/>
                    <a:gd name="connsiteX11" fmla="*/ 538317 w 538316"/>
                    <a:gd name="connsiteY11" fmla="*/ 449219 h 725307"/>
                    <a:gd name="connsiteX12" fmla="*/ 538317 w 538316"/>
                    <a:gd name="connsiteY12" fmla="*/ 13 h 725307"/>
                    <a:gd name="connsiteX13" fmla="*/ 445043 w 538316"/>
                    <a:gd name="connsiteY13" fmla="*/ 13 h 725307"/>
                    <a:gd name="connsiteX14" fmla="*/ 445043 w 538316"/>
                    <a:gd name="connsiteY14" fmla="*/ 457559 h 725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8316" h="725307">
                      <a:moveTo>
                        <a:pt x="445030" y="457559"/>
                      </a:moveTo>
                      <a:cubicBezTo>
                        <a:pt x="445030" y="520046"/>
                        <a:pt x="431183" y="566102"/>
                        <a:pt x="403855" y="594474"/>
                      </a:cubicBezTo>
                      <a:cubicBezTo>
                        <a:pt x="376553" y="622820"/>
                        <a:pt x="331749" y="637202"/>
                        <a:pt x="270711" y="637202"/>
                      </a:cubicBezTo>
                      <a:cubicBezTo>
                        <a:pt x="210351" y="637202"/>
                        <a:pt x="165914" y="622833"/>
                        <a:pt x="138625" y="594474"/>
                      </a:cubicBezTo>
                      <a:cubicBezTo>
                        <a:pt x="111296" y="566115"/>
                        <a:pt x="97450" y="520059"/>
                        <a:pt x="97450" y="457559"/>
                      </a:cubicBezTo>
                      <a:lnTo>
                        <a:pt x="97450" y="0"/>
                      </a:lnTo>
                      <a:lnTo>
                        <a:pt x="0" y="0"/>
                      </a:lnTo>
                      <a:lnTo>
                        <a:pt x="0" y="449206"/>
                      </a:lnTo>
                      <a:cubicBezTo>
                        <a:pt x="0" y="545208"/>
                        <a:pt x="21742" y="615995"/>
                        <a:pt x="64627" y="659584"/>
                      </a:cubicBezTo>
                      <a:cubicBezTo>
                        <a:pt x="107512" y="703200"/>
                        <a:pt x="176511" y="725308"/>
                        <a:pt x="269680" y="725308"/>
                      </a:cubicBezTo>
                      <a:cubicBezTo>
                        <a:pt x="362862" y="725308"/>
                        <a:pt x="431679" y="703187"/>
                        <a:pt x="474224" y="659584"/>
                      </a:cubicBezTo>
                      <a:cubicBezTo>
                        <a:pt x="516757" y="615982"/>
                        <a:pt x="538317" y="545195"/>
                        <a:pt x="538317" y="449219"/>
                      </a:cubicBezTo>
                      <a:lnTo>
                        <a:pt x="538317" y="13"/>
                      </a:lnTo>
                      <a:lnTo>
                        <a:pt x="445043" y="13"/>
                      </a:lnTo>
                      <a:lnTo>
                        <a:pt x="445043" y="457559"/>
                      </a:lnTo>
                      <a:close/>
                    </a:path>
                  </a:pathLst>
                </a:custGeom>
                <a:solidFill>
                  <a:srgbClr val="3D434B"/>
                </a:solidFill>
                <a:ln w="1305" cap="flat">
                  <a:noFill/>
                  <a:prstDash val="solid"/>
                  <a:miter/>
                </a:ln>
              </p:spPr>
              <p:txBody>
                <a:bodyPr rtlCol="0" anchor="ctr"/>
                <a:lstStyle/>
                <a:p>
                  <a:endParaRPr lang="de-DE" dirty="0"/>
                </a:p>
              </p:txBody>
            </p:sp>
            <p:sp>
              <p:nvSpPr>
                <p:cNvPr id="137" name="Freeform: Shape 136">
                  <a:extLst>
                    <a:ext uri="{FF2B5EF4-FFF2-40B4-BE49-F238E27FC236}">
                      <a16:creationId xmlns:a16="http://schemas.microsoft.com/office/drawing/2014/main" id="{04E631CA-18B8-44E0-9B1E-5DABAEBCEC4B}"/>
                    </a:ext>
                  </a:extLst>
                </p:cNvPr>
                <p:cNvSpPr/>
                <p:nvPr/>
              </p:nvSpPr>
              <p:spPr bwMode="gray">
                <a:xfrm>
                  <a:off x="10108932" y="3362649"/>
                  <a:ext cx="501827" cy="737823"/>
                </a:xfrm>
                <a:custGeom>
                  <a:avLst/>
                  <a:gdLst>
                    <a:gd name="connsiteX0" fmla="*/ 458629 w 501827"/>
                    <a:gd name="connsiteY0" fmla="*/ 397800 h 737823"/>
                    <a:gd name="connsiteX1" fmla="*/ 314927 w 501827"/>
                    <a:gd name="connsiteY1" fmla="*/ 327273 h 737823"/>
                    <a:gd name="connsiteX2" fmla="*/ 234665 w 501827"/>
                    <a:gd name="connsiteY2" fmla="*/ 309538 h 737823"/>
                    <a:gd name="connsiteX3" fmla="*/ 134880 w 501827"/>
                    <a:gd name="connsiteY3" fmla="*/ 269381 h 737823"/>
                    <a:gd name="connsiteX4" fmla="*/ 107864 w 501827"/>
                    <a:gd name="connsiteY4" fmla="*/ 203096 h 737823"/>
                    <a:gd name="connsiteX5" fmla="*/ 265504 w 501827"/>
                    <a:gd name="connsiteY5" fmla="*/ 87074 h 737823"/>
                    <a:gd name="connsiteX6" fmla="*/ 460391 w 501827"/>
                    <a:gd name="connsiteY6" fmla="*/ 142018 h 737823"/>
                    <a:gd name="connsiteX7" fmla="*/ 463262 w 501827"/>
                    <a:gd name="connsiteY7" fmla="*/ 144054 h 737823"/>
                    <a:gd name="connsiteX8" fmla="*/ 463262 w 501827"/>
                    <a:gd name="connsiteY8" fmla="*/ 44686 h 737823"/>
                    <a:gd name="connsiteX9" fmla="*/ 462505 w 501827"/>
                    <a:gd name="connsiteY9" fmla="*/ 44138 h 737823"/>
                    <a:gd name="connsiteX10" fmla="*/ 262385 w 501827"/>
                    <a:gd name="connsiteY10" fmla="*/ 0 h 737823"/>
                    <a:gd name="connsiteX11" fmla="*/ 10427 w 501827"/>
                    <a:gd name="connsiteY11" fmla="*/ 209360 h 737823"/>
                    <a:gd name="connsiteX12" fmla="*/ 50480 w 501827"/>
                    <a:gd name="connsiteY12" fmla="*/ 331006 h 737823"/>
                    <a:gd name="connsiteX13" fmla="*/ 186926 w 501827"/>
                    <a:gd name="connsiteY13" fmla="*/ 398844 h 737823"/>
                    <a:gd name="connsiteX14" fmla="*/ 264969 w 501827"/>
                    <a:gd name="connsiteY14" fmla="*/ 417154 h 737823"/>
                    <a:gd name="connsiteX15" fmla="*/ 375313 w 501827"/>
                    <a:gd name="connsiteY15" fmla="*/ 459856 h 737823"/>
                    <a:gd name="connsiteX16" fmla="*/ 404390 w 501827"/>
                    <a:gd name="connsiteY16" fmla="*/ 529508 h 737823"/>
                    <a:gd name="connsiteX17" fmla="*/ 240486 w 501827"/>
                    <a:gd name="connsiteY17" fmla="*/ 650749 h 737823"/>
                    <a:gd name="connsiteX18" fmla="*/ 2910 w 501827"/>
                    <a:gd name="connsiteY18" fmla="*/ 578109 h 737823"/>
                    <a:gd name="connsiteX19" fmla="*/ 0 w 501827"/>
                    <a:gd name="connsiteY19" fmla="*/ 575929 h 737823"/>
                    <a:gd name="connsiteX20" fmla="*/ 0 w 501827"/>
                    <a:gd name="connsiteY20" fmla="*/ 676394 h 737823"/>
                    <a:gd name="connsiteX21" fmla="*/ 691 w 501827"/>
                    <a:gd name="connsiteY21" fmla="*/ 676942 h 737823"/>
                    <a:gd name="connsiteX22" fmla="*/ 238398 w 501827"/>
                    <a:gd name="connsiteY22" fmla="*/ 737824 h 737823"/>
                    <a:gd name="connsiteX23" fmla="*/ 501827 w 501827"/>
                    <a:gd name="connsiteY23" fmla="*/ 526389 h 737823"/>
                    <a:gd name="connsiteX24" fmla="*/ 458629 w 501827"/>
                    <a:gd name="connsiteY24" fmla="*/ 397800 h 73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1827" h="737823">
                      <a:moveTo>
                        <a:pt x="458629" y="397800"/>
                      </a:moveTo>
                      <a:cubicBezTo>
                        <a:pt x="430022" y="365643"/>
                        <a:pt x="381656" y="341929"/>
                        <a:pt x="314927" y="327273"/>
                      </a:cubicBezTo>
                      <a:lnTo>
                        <a:pt x="234665" y="309538"/>
                      </a:lnTo>
                      <a:cubicBezTo>
                        <a:pt x="186573" y="299267"/>
                        <a:pt x="152994" y="285759"/>
                        <a:pt x="134880" y="269381"/>
                      </a:cubicBezTo>
                      <a:cubicBezTo>
                        <a:pt x="116961" y="253171"/>
                        <a:pt x="107864" y="230868"/>
                        <a:pt x="107864" y="203096"/>
                      </a:cubicBezTo>
                      <a:cubicBezTo>
                        <a:pt x="107864" y="126109"/>
                        <a:pt x="160903" y="87074"/>
                        <a:pt x="265504" y="87074"/>
                      </a:cubicBezTo>
                      <a:cubicBezTo>
                        <a:pt x="343261" y="87074"/>
                        <a:pt x="408827" y="105555"/>
                        <a:pt x="460391" y="142018"/>
                      </a:cubicBezTo>
                      <a:lnTo>
                        <a:pt x="463262" y="144054"/>
                      </a:lnTo>
                      <a:lnTo>
                        <a:pt x="463262" y="44686"/>
                      </a:lnTo>
                      <a:lnTo>
                        <a:pt x="462505" y="44138"/>
                      </a:lnTo>
                      <a:cubicBezTo>
                        <a:pt x="421369" y="14852"/>
                        <a:pt x="354040" y="0"/>
                        <a:pt x="262385" y="0"/>
                      </a:cubicBezTo>
                      <a:cubicBezTo>
                        <a:pt x="95205" y="0"/>
                        <a:pt x="10427" y="70435"/>
                        <a:pt x="10427" y="209360"/>
                      </a:cubicBezTo>
                      <a:cubicBezTo>
                        <a:pt x="10427" y="259645"/>
                        <a:pt x="23909" y="300585"/>
                        <a:pt x="50480" y="331006"/>
                      </a:cubicBezTo>
                      <a:cubicBezTo>
                        <a:pt x="76999" y="361401"/>
                        <a:pt x="122911" y="384227"/>
                        <a:pt x="186926" y="398844"/>
                      </a:cubicBezTo>
                      <a:lnTo>
                        <a:pt x="264969" y="417154"/>
                      </a:lnTo>
                      <a:cubicBezTo>
                        <a:pt x="318686" y="429487"/>
                        <a:pt x="355802" y="443856"/>
                        <a:pt x="375313" y="459856"/>
                      </a:cubicBezTo>
                      <a:cubicBezTo>
                        <a:pt x="394615" y="475686"/>
                        <a:pt x="404390" y="499126"/>
                        <a:pt x="404390" y="529508"/>
                      </a:cubicBezTo>
                      <a:cubicBezTo>
                        <a:pt x="404390" y="609953"/>
                        <a:pt x="349251" y="650749"/>
                        <a:pt x="240486" y="650749"/>
                      </a:cubicBezTo>
                      <a:cubicBezTo>
                        <a:pt x="147512" y="650749"/>
                        <a:pt x="67576" y="626305"/>
                        <a:pt x="2910" y="578109"/>
                      </a:cubicBezTo>
                      <a:lnTo>
                        <a:pt x="0" y="575929"/>
                      </a:lnTo>
                      <a:lnTo>
                        <a:pt x="0" y="676394"/>
                      </a:lnTo>
                      <a:lnTo>
                        <a:pt x="691" y="676942"/>
                      </a:lnTo>
                      <a:cubicBezTo>
                        <a:pt x="52190" y="717334"/>
                        <a:pt x="132165" y="737824"/>
                        <a:pt x="238398" y="737824"/>
                      </a:cubicBezTo>
                      <a:cubicBezTo>
                        <a:pt x="413199" y="737824"/>
                        <a:pt x="501827" y="666684"/>
                        <a:pt x="501827" y="526389"/>
                      </a:cubicBezTo>
                      <a:cubicBezTo>
                        <a:pt x="501827" y="473272"/>
                        <a:pt x="487301" y="430022"/>
                        <a:pt x="458629" y="397800"/>
                      </a:cubicBezTo>
                      <a:close/>
                    </a:path>
                  </a:pathLst>
                </a:custGeom>
                <a:solidFill>
                  <a:srgbClr val="3D434B"/>
                </a:solidFill>
                <a:ln w="1305" cap="flat">
                  <a:noFill/>
                  <a:prstDash val="solid"/>
                  <a:miter/>
                </a:ln>
              </p:spPr>
              <p:txBody>
                <a:bodyPr rtlCol="0" anchor="ctr"/>
                <a:lstStyle/>
                <a:p>
                  <a:endParaRPr lang="de-DE" dirty="0"/>
                </a:p>
              </p:txBody>
            </p:sp>
          </p:grpSp>
        </p:grpSp>
        <p:grpSp>
          <p:nvGrpSpPr>
            <p:cNvPr id="85" name="Graphic 3">
              <a:extLst>
                <a:ext uri="{FF2B5EF4-FFF2-40B4-BE49-F238E27FC236}">
                  <a16:creationId xmlns:a16="http://schemas.microsoft.com/office/drawing/2014/main" id="{39F757E2-D0D5-42A7-9119-01F9C3F4DDBB}"/>
                </a:ext>
              </a:extLst>
            </p:cNvPr>
            <p:cNvGrpSpPr/>
            <p:nvPr/>
          </p:nvGrpSpPr>
          <p:grpSpPr bwMode="gray">
            <a:xfrm>
              <a:off x="3221874" y="2498768"/>
              <a:ext cx="7385412" cy="488828"/>
              <a:chOff x="3221874" y="2498768"/>
              <a:chExt cx="7385412" cy="488828"/>
            </a:xfrm>
            <a:solidFill>
              <a:srgbClr val="3D434B"/>
            </a:solidFill>
          </p:grpSpPr>
          <p:sp>
            <p:nvSpPr>
              <p:cNvPr id="118" name="Freeform: Shape 117">
                <a:extLst>
                  <a:ext uri="{FF2B5EF4-FFF2-40B4-BE49-F238E27FC236}">
                    <a16:creationId xmlns:a16="http://schemas.microsoft.com/office/drawing/2014/main" id="{02DE9BFA-7811-4175-BFB2-DFA1DE106A50}"/>
                  </a:ext>
                </a:extLst>
              </p:cNvPr>
              <p:cNvSpPr/>
              <p:nvPr/>
            </p:nvSpPr>
            <p:spPr bwMode="gray">
              <a:xfrm>
                <a:off x="3221874" y="2507095"/>
                <a:ext cx="384448" cy="472162"/>
              </a:xfrm>
              <a:custGeom>
                <a:avLst/>
                <a:gdLst>
                  <a:gd name="connsiteX0" fmla="*/ 0 w 384448"/>
                  <a:gd name="connsiteY0" fmla="*/ 472163 h 472162"/>
                  <a:gd name="connsiteX1" fmla="*/ 0 w 384448"/>
                  <a:gd name="connsiteY1" fmla="*/ 0 h 472162"/>
                  <a:gd name="connsiteX2" fmla="*/ 72875 w 384448"/>
                  <a:gd name="connsiteY2" fmla="*/ 0 h 472162"/>
                  <a:gd name="connsiteX3" fmla="*/ 72875 w 384448"/>
                  <a:gd name="connsiteY3" fmla="*/ 202756 h 472162"/>
                  <a:gd name="connsiteX4" fmla="*/ 322001 w 384448"/>
                  <a:gd name="connsiteY4" fmla="*/ 202756 h 472162"/>
                  <a:gd name="connsiteX5" fmla="*/ 322001 w 384448"/>
                  <a:gd name="connsiteY5" fmla="*/ 0 h 472162"/>
                  <a:gd name="connsiteX6" fmla="*/ 384449 w 384448"/>
                  <a:gd name="connsiteY6" fmla="*/ 0 h 472162"/>
                  <a:gd name="connsiteX7" fmla="*/ 384449 w 384448"/>
                  <a:gd name="connsiteY7" fmla="*/ 472163 h 472162"/>
                  <a:gd name="connsiteX8" fmla="*/ 322001 w 384448"/>
                  <a:gd name="connsiteY8" fmla="*/ 472163 h 472162"/>
                  <a:gd name="connsiteX9" fmla="*/ 322001 w 384448"/>
                  <a:gd name="connsiteY9" fmla="*/ 260375 h 472162"/>
                  <a:gd name="connsiteX10" fmla="*/ 72875 w 384448"/>
                  <a:gd name="connsiteY10" fmla="*/ 260375 h 472162"/>
                  <a:gd name="connsiteX11" fmla="*/ 72875 w 384448"/>
                  <a:gd name="connsiteY11" fmla="*/ 472163 h 472162"/>
                  <a:gd name="connsiteX12" fmla="*/ 0 w 384448"/>
                  <a:gd name="connsiteY12" fmla="*/ 472163 h 47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4448" h="472162">
                    <a:moveTo>
                      <a:pt x="0" y="472163"/>
                    </a:moveTo>
                    <a:lnTo>
                      <a:pt x="0" y="0"/>
                    </a:lnTo>
                    <a:lnTo>
                      <a:pt x="72875" y="0"/>
                    </a:lnTo>
                    <a:lnTo>
                      <a:pt x="72875" y="202756"/>
                    </a:lnTo>
                    <a:lnTo>
                      <a:pt x="322001" y="202756"/>
                    </a:lnTo>
                    <a:lnTo>
                      <a:pt x="322001" y="0"/>
                    </a:lnTo>
                    <a:lnTo>
                      <a:pt x="384449" y="0"/>
                    </a:lnTo>
                    <a:lnTo>
                      <a:pt x="384449" y="472163"/>
                    </a:lnTo>
                    <a:lnTo>
                      <a:pt x="322001" y="472163"/>
                    </a:lnTo>
                    <a:lnTo>
                      <a:pt x="322001" y="260375"/>
                    </a:lnTo>
                    <a:lnTo>
                      <a:pt x="72875" y="260375"/>
                    </a:lnTo>
                    <a:lnTo>
                      <a:pt x="72875" y="472163"/>
                    </a:lnTo>
                    <a:lnTo>
                      <a:pt x="0" y="472163"/>
                    </a:lnTo>
                    <a:close/>
                  </a:path>
                </a:pathLst>
              </a:custGeom>
              <a:solidFill>
                <a:srgbClr val="3D434B"/>
              </a:solidFill>
              <a:ln w="1305" cap="flat">
                <a:noFill/>
                <a:prstDash val="solid"/>
                <a:miter/>
              </a:ln>
            </p:spPr>
            <p:txBody>
              <a:bodyPr rtlCol="0" anchor="ctr"/>
              <a:lstStyle/>
              <a:p>
                <a:endParaRPr lang="de-DE" dirty="0"/>
              </a:p>
            </p:txBody>
          </p:sp>
          <p:sp>
            <p:nvSpPr>
              <p:cNvPr id="119" name="Freeform: Shape 118">
                <a:extLst>
                  <a:ext uri="{FF2B5EF4-FFF2-40B4-BE49-F238E27FC236}">
                    <a16:creationId xmlns:a16="http://schemas.microsoft.com/office/drawing/2014/main" id="{4A84FADC-D6D6-44CA-9DB9-30EA59956815}"/>
                  </a:ext>
                </a:extLst>
              </p:cNvPr>
              <p:cNvSpPr/>
              <p:nvPr/>
            </p:nvSpPr>
            <p:spPr bwMode="gray">
              <a:xfrm>
                <a:off x="4051614" y="2498768"/>
                <a:ext cx="413577" cy="488828"/>
              </a:xfrm>
              <a:custGeom>
                <a:avLst/>
                <a:gdLst>
                  <a:gd name="connsiteX0" fmla="*/ 362915 w 413577"/>
                  <a:gd name="connsiteY0" fmla="*/ 428769 h 488828"/>
                  <a:gd name="connsiteX1" fmla="*/ 206789 w 413577"/>
                  <a:gd name="connsiteY1" fmla="*/ 488829 h 488828"/>
                  <a:gd name="connsiteX2" fmla="*/ 50650 w 413577"/>
                  <a:gd name="connsiteY2" fmla="*/ 428769 h 488828"/>
                  <a:gd name="connsiteX3" fmla="*/ 0 w 413577"/>
                  <a:gd name="connsiteY3" fmla="*/ 244414 h 488828"/>
                  <a:gd name="connsiteX4" fmla="*/ 50650 w 413577"/>
                  <a:gd name="connsiteY4" fmla="*/ 60060 h 488828"/>
                  <a:gd name="connsiteX5" fmla="*/ 206789 w 413577"/>
                  <a:gd name="connsiteY5" fmla="*/ 0 h 488828"/>
                  <a:gd name="connsiteX6" fmla="*/ 362915 w 413577"/>
                  <a:gd name="connsiteY6" fmla="*/ 60060 h 488828"/>
                  <a:gd name="connsiteX7" fmla="*/ 413578 w 413577"/>
                  <a:gd name="connsiteY7" fmla="*/ 244414 h 488828"/>
                  <a:gd name="connsiteX8" fmla="*/ 362915 w 413577"/>
                  <a:gd name="connsiteY8" fmla="*/ 428769 h 488828"/>
                  <a:gd name="connsiteX9" fmla="*/ 98181 w 413577"/>
                  <a:gd name="connsiteY9" fmla="*/ 387803 h 488828"/>
                  <a:gd name="connsiteX10" fmla="*/ 206789 w 413577"/>
                  <a:gd name="connsiteY10" fmla="*/ 433285 h 488828"/>
                  <a:gd name="connsiteX11" fmla="*/ 315384 w 413577"/>
                  <a:gd name="connsiteY11" fmla="*/ 387803 h 488828"/>
                  <a:gd name="connsiteX12" fmla="*/ 349734 w 413577"/>
                  <a:gd name="connsiteY12" fmla="*/ 244414 h 488828"/>
                  <a:gd name="connsiteX13" fmla="*/ 315384 w 413577"/>
                  <a:gd name="connsiteY13" fmla="*/ 101026 h 488828"/>
                  <a:gd name="connsiteX14" fmla="*/ 206789 w 413577"/>
                  <a:gd name="connsiteY14" fmla="*/ 55544 h 488828"/>
                  <a:gd name="connsiteX15" fmla="*/ 98181 w 413577"/>
                  <a:gd name="connsiteY15" fmla="*/ 101026 h 488828"/>
                  <a:gd name="connsiteX16" fmla="*/ 63831 w 413577"/>
                  <a:gd name="connsiteY16" fmla="*/ 244414 h 488828"/>
                  <a:gd name="connsiteX17" fmla="*/ 98181 w 413577"/>
                  <a:gd name="connsiteY17" fmla="*/ 387803 h 4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3577" h="488828">
                    <a:moveTo>
                      <a:pt x="362915" y="428769"/>
                    </a:moveTo>
                    <a:cubicBezTo>
                      <a:pt x="329140" y="468809"/>
                      <a:pt x="277093" y="488829"/>
                      <a:pt x="206789" y="488829"/>
                    </a:cubicBezTo>
                    <a:cubicBezTo>
                      <a:pt x="136459" y="488829"/>
                      <a:pt x="84412" y="468809"/>
                      <a:pt x="50650" y="428769"/>
                    </a:cubicBezTo>
                    <a:cubicBezTo>
                      <a:pt x="16875" y="388729"/>
                      <a:pt x="0" y="327286"/>
                      <a:pt x="0" y="244414"/>
                    </a:cubicBezTo>
                    <a:cubicBezTo>
                      <a:pt x="0" y="161555"/>
                      <a:pt x="16888" y="100112"/>
                      <a:pt x="50650" y="60060"/>
                    </a:cubicBezTo>
                    <a:cubicBezTo>
                      <a:pt x="84412" y="20020"/>
                      <a:pt x="136459" y="0"/>
                      <a:pt x="206789" y="0"/>
                    </a:cubicBezTo>
                    <a:cubicBezTo>
                      <a:pt x="277093" y="0"/>
                      <a:pt x="329153" y="20033"/>
                      <a:pt x="362915" y="60060"/>
                    </a:cubicBezTo>
                    <a:cubicBezTo>
                      <a:pt x="396690" y="100099"/>
                      <a:pt x="413578" y="161555"/>
                      <a:pt x="413578" y="244414"/>
                    </a:cubicBezTo>
                    <a:cubicBezTo>
                      <a:pt x="413578" y="327273"/>
                      <a:pt x="396690" y="388729"/>
                      <a:pt x="362915" y="428769"/>
                    </a:cubicBezTo>
                    <a:close/>
                    <a:moveTo>
                      <a:pt x="98181" y="387803"/>
                    </a:moveTo>
                    <a:cubicBezTo>
                      <a:pt x="121085" y="418133"/>
                      <a:pt x="157274" y="433285"/>
                      <a:pt x="206789" y="433285"/>
                    </a:cubicBezTo>
                    <a:cubicBezTo>
                      <a:pt x="256290" y="433285"/>
                      <a:pt x="292493" y="418133"/>
                      <a:pt x="315384" y="387803"/>
                    </a:cubicBezTo>
                    <a:cubicBezTo>
                      <a:pt x="338288" y="357486"/>
                      <a:pt x="349734" y="309681"/>
                      <a:pt x="349734" y="244414"/>
                    </a:cubicBezTo>
                    <a:cubicBezTo>
                      <a:pt x="349734" y="179148"/>
                      <a:pt x="338288" y="131356"/>
                      <a:pt x="315384" y="101026"/>
                    </a:cubicBezTo>
                    <a:cubicBezTo>
                      <a:pt x="292480" y="70709"/>
                      <a:pt x="256277" y="55544"/>
                      <a:pt x="206789" y="55544"/>
                    </a:cubicBezTo>
                    <a:cubicBezTo>
                      <a:pt x="157274" y="55544"/>
                      <a:pt x="121085" y="70709"/>
                      <a:pt x="98181" y="101026"/>
                    </a:cubicBezTo>
                    <a:cubicBezTo>
                      <a:pt x="75277" y="131356"/>
                      <a:pt x="63831" y="179148"/>
                      <a:pt x="63831" y="244414"/>
                    </a:cubicBezTo>
                    <a:cubicBezTo>
                      <a:pt x="63831" y="309681"/>
                      <a:pt x="75277" y="357486"/>
                      <a:pt x="98181" y="387803"/>
                    </a:cubicBezTo>
                    <a:close/>
                  </a:path>
                </a:pathLst>
              </a:custGeom>
              <a:solidFill>
                <a:srgbClr val="3D434B"/>
              </a:solidFill>
              <a:ln w="1305" cap="flat">
                <a:noFill/>
                <a:prstDash val="solid"/>
                <a:miter/>
              </a:ln>
            </p:spPr>
            <p:txBody>
              <a:bodyPr rtlCol="0" anchor="ctr"/>
              <a:lstStyle/>
              <a:p>
                <a:endParaRPr lang="de-DE" dirty="0"/>
              </a:p>
            </p:txBody>
          </p:sp>
          <p:sp>
            <p:nvSpPr>
              <p:cNvPr id="120" name="Freeform: Shape 119">
                <a:extLst>
                  <a:ext uri="{FF2B5EF4-FFF2-40B4-BE49-F238E27FC236}">
                    <a16:creationId xmlns:a16="http://schemas.microsoft.com/office/drawing/2014/main" id="{86F4067C-365E-4E97-AE65-54E3086B5B79}"/>
                  </a:ext>
                </a:extLst>
              </p:cNvPr>
              <p:cNvSpPr/>
              <p:nvPr/>
            </p:nvSpPr>
            <p:spPr bwMode="gray">
              <a:xfrm>
                <a:off x="4879488" y="2498768"/>
                <a:ext cx="333093" cy="488828"/>
              </a:xfrm>
              <a:custGeom>
                <a:avLst/>
                <a:gdLst>
                  <a:gd name="connsiteX0" fmla="*/ 217882 w 333093"/>
                  <a:gd name="connsiteY0" fmla="*/ 488829 h 488828"/>
                  <a:gd name="connsiteX1" fmla="*/ 53430 w 333093"/>
                  <a:gd name="connsiteY1" fmla="*/ 428769 h 488828"/>
                  <a:gd name="connsiteX2" fmla="*/ 0 w 333093"/>
                  <a:gd name="connsiteY2" fmla="*/ 244414 h 488828"/>
                  <a:gd name="connsiteX3" fmla="*/ 53090 w 333093"/>
                  <a:gd name="connsiteY3" fmla="*/ 60060 h 488828"/>
                  <a:gd name="connsiteX4" fmla="*/ 216512 w 333093"/>
                  <a:gd name="connsiteY4" fmla="*/ 0 h 488828"/>
                  <a:gd name="connsiteX5" fmla="*/ 333094 w 333093"/>
                  <a:gd name="connsiteY5" fmla="*/ 24300 h 488828"/>
                  <a:gd name="connsiteX6" fmla="*/ 333094 w 333093"/>
                  <a:gd name="connsiteY6" fmla="*/ 85404 h 488828"/>
                  <a:gd name="connsiteX7" fmla="*/ 218600 w 333093"/>
                  <a:gd name="connsiteY7" fmla="*/ 55544 h 488828"/>
                  <a:gd name="connsiteX8" fmla="*/ 100621 w 333093"/>
                  <a:gd name="connsiteY8" fmla="*/ 100334 h 488828"/>
                  <a:gd name="connsiteX9" fmla="*/ 63831 w 333093"/>
                  <a:gd name="connsiteY9" fmla="*/ 243723 h 488828"/>
                  <a:gd name="connsiteX10" fmla="*/ 100960 w 333093"/>
                  <a:gd name="connsiteY10" fmla="*/ 388155 h 488828"/>
                  <a:gd name="connsiteX11" fmla="*/ 220662 w 333093"/>
                  <a:gd name="connsiteY11" fmla="*/ 433285 h 488828"/>
                  <a:gd name="connsiteX12" fmla="*/ 333081 w 333093"/>
                  <a:gd name="connsiteY12" fmla="*/ 403424 h 488828"/>
                  <a:gd name="connsiteX13" fmla="*/ 333081 w 333093"/>
                  <a:gd name="connsiteY13" fmla="*/ 464528 h 488828"/>
                  <a:gd name="connsiteX14" fmla="*/ 217882 w 333093"/>
                  <a:gd name="connsiteY14" fmla="*/ 488829 h 4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3093" h="488828">
                    <a:moveTo>
                      <a:pt x="217882" y="488829"/>
                    </a:moveTo>
                    <a:cubicBezTo>
                      <a:pt x="143871" y="488829"/>
                      <a:pt x="89032" y="468809"/>
                      <a:pt x="53430" y="428769"/>
                    </a:cubicBezTo>
                    <a:cubicBezTo>
                      <a:pt x="17801" y="388729"/>
                      <a:pt x="0" y="327286"/>
                      <a:pt x="0" y="244414"/>
                    </a:cubicBezTo>
                    <a:cubicBezTo>
                      <a:pt x="0" y="161555"/>
                      <a:pt x="17697" y="100112"/>
                      <a:pt x="53090" y="60060"/>
                    </a:cubicBezTo>
                    <a:cubicBezTo>
                      <a:pt x="88484" y="20020"/>
                      <a:pt x="142958" y="0"/>
                      <a:pt x="216512" y="0"/>
                    </a:cubicBezTo>
                    <a:cubicBezTo>
                      <a:pt x="265543" y="0"/>
                      <a:pt x="304408" y="8105"/>
                      <a:pt x="333094" y="24300"/>
                    </a:cubicBezTo>
                    <a:lnTo>
                      <a:pt x="333094" y="85404"/>
                    </a:lnTo>
                    <a:cubicBezTo>
                      <a:pt x="300245" y="65502"/>
                      <a:pt x="262085" y="55544"/>
                      <a:pt x="218600" y="55544"/>
                    </a:cubicBezTo>
                    <a:cubicBezTo>
                      <a:pt x="164478" y="55544"/>
                      <a:pt x="125143" y="70474"/>
                      <a:pt x="100621" y="100334"/>
                    </a:cubicBezTo>
                    <a:cubicBezTo>
                      <a:pt x="76086" y="130194"/>
                      <a:pt x="63831" y="177999"/>
                      <a:pt x="63831" y="243723"/>
                    </a:cubicBezTo>
                    <a:cubicBezTo>
                      <a:pt x="63831" y="309929"/>
                      <a:pt x="76203" y="358060"/>
                      <a:pt x="100960" y="388155"/>
                    </a:cubicBezTo>
                    <a:cubicBezTo>
                      <a:pt x="125704" y="418250"/>
                      <a:pt x="165614" y="433285"/>
                      <a:pt x="220662" y="433285"/>
                    </a:cubicBezTo>
                    <a:cubicBezTo>
                      <a:pt x="263690" y="433285"/>
                      <a:pt x="301159" y="423340"/>
                      <a:pt x="333081" y="403424"/>
                    </a:cubicBezTo>
                    <a:lnTo>
                      <a:pt x="333081" y="464528"/>
                    </a:lnTo>
                    <a:cubicBezTo>
                      <a:pt x="304852" y="480724"/>
                      <a:pt x="266457" y="488829"/>
                      <a:pt x="217882" y="488829"/>
                    </a:cubicBezTo>
                    <a:close/>
                  </a:path>
                </a:pathLst>
              </a:custGeom>
              <a:solidFill>
                <a:srgbClr val="3D434B"/>
              </a:solidFill>
              <a:ln w="1305" cap="flat">
                <a:noFill/>
                <a:prstDash val="solid"/>
                <a:miter/>
              </a:ln>
            </p:spPr>
            <p:txBody>
              <a:bodyPr rtlCol="0" anchor="ctr"/>
              <a:lstStyle/>
              <a:p>
                <a:endParaRPr lang="de-DE" dirty="0"/>
              </a:p>
            </p:txBody>
          </p:sp>
          <p:sp>
            <p:nvSpPr>
              <p:cNvPr id="121" name="Freeform: Shape 120">
                <a:extLst>
                  <a:ext uri="{FF2B5EF4-FFF2-40B4-BE49-F238E27FC236}">
                    <a16:creationId xmlns:a16="http://schemas.microsoft.com/office/drawing/2014/main" id="{1C08A4D4-9E71-47FC-971B-DCF5346FD84B}"/>
                  </a:ext>
                </a:extLst>
              </p:cNvPr>
              <p:cNvSpPr/>
              <p:nvPr/>
            </p:nvSpPr>
            <p:spPr bwMode="gray">
              <a:xfrm>
                <a:off x="5636352" y="2507095"/>
                <a:ext cx="374021" cy="472162"/>
              </a:xfrm>
              <a:custGeom>
                <a:avLst/>
                <a:gdLst>
                  <a:gd name="connsiteX0" fmla="*/ 0 w 374021"/>
                  <a:gd name="connsiteY0" fmla="*/ 472163 h 472162"/>
                  <a:gd name="connsiteX1" fmla="*/ 0 w 374021"/>
                  <a:gd name="connsiteY1" fmla="*/ 0 h 472162"/>
                  <a:gd name="connsiteX2" fmla="*/ 62448 w 374021"/>
                  <a:gd name="connsiteY2" fmla="*/ 0 h 472162"/>
                  <a:gd name="connsiteX3" fmla="*/ 62448 w 374021"/>
                  <a:gd name="connsiteY3" fmla="*/ 202756 h 472162"/>
                  <a:gd name="connsiteX4" fmla="*/ 311574 w 374021"/>
                  <a:gd name="connsiteY4" fmla="*/ 202756 h 472162"/>
                  <a:gd name="connsiteX5" fmla="*/ 311574 w 374021"/>
                  <a:gd name="connsiteY5" fmla="*/ 0 h 472162"/>
                  <a:gd name="connsiteX6" fmla="*/ 374022 w 374021"/>
                  <a:gd name="connsiteY6" fmla="*/ 0 h 472162"/>
                  <a:gd name="connsiteX7" fmla="*/ 374022 w 374021"/>
                  <a:gd name="connsiteY7" fmla="*/ 472163 h 472162"/>
                  <a:gd name="connsiteX8" fmla="*/ 311574 w 374021"/>
                  <a:gd name="connsiteY8" fmla="*/ 472163 h 472162"/>
                  <a:gd name="connsiteX9" fmla="*/ 311574 w 374021"/>
                  <a:gd name="connsiteY9" fmla="*/ 260375 h 472162"/>
                  <a:gd name="connsiteX10" fmla="*/ 62448 w 374021"/>
                  <a:gd name="connsiteY10" fmla="*/ 260375 h 472162"/>
                  <a:gd name="connsiteX11" fmla="*/ 62448 w 374021"/>
                  <a:gd name="connsiteY11" fmla="*/ 472163 h 472162"/>
                  <a:gd name="connsiteX12" fmla="*/ 0 w 374021"/>
                  <a:gd name="connsiteY12" fmla="*/ 472163 h 47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4021" h="472162">
                    <a:moveTo>
                      <a:pt x="0" y="472163"/>
                    </a:moveTo>
                    <a:lnTo>
                      <a:pt x="0" y="0"/>
                    </a:lnTo>
                    <a:lnTo>
                      <a:pt x="62448" y="0"/>
                    </a:lnTo>
                    <a:lnTo>
                      <a:pt x="62448" y="202756"/>
                    </a:lnTo>
                    <a:lnTo>
                      <a:pt x="311574" y="202756"/>
                    </a:lnTo>
                    <a:lnTo>
                      <a:pt x="311574" y="0"/>
                    </a:lnTo>
                    <a:lnTo>
                      <a:pt x="374022" y="0"/>
                    </a:lnTo>
                    <a:lnTo>
                      <a:pt x="374022" y="472163"/>
                    </a:lnTo>
                    <a:lnTo>
                      <a:pt x="311574" y="472163"/>
                    </a:lnTo>
                    <a:lnTo>
                      <a:pt x="311574" y="260375"/>
                    </a:lnTo>
                    <a:lnTo>
                      <a:pt x="62448" y="260375"/>
                    </a:lnTo>
                    <a:lnTo>
                      <a:pt x="62448" y="472163"/>
                    </a:lnTo>
                    <a:lnTo>
                      <a:pt x="0" y="472163"/>
                    </a:lnTo>
                    <a:close/>
                  </a:path>
                </a:pathLst>
              </a:custGeom>
              <a:solidFill>
                <a:srgbClr val="3D434B"/>
              </a:solidFill>
              <a:ln w="1305" cap="flat">
                <a:noFill/>
                <a:prstDash val="solid"/>
                <a:miter/>
              </a:ln>
            </p:spPr>
            <p:txBody>
              <a:bodyPr rtlCol="0" anchor="ctr"/>
              <a:lstStyle/>
              <a:p>
                <a:endParaRPr lang="de-DE" dirty="0"/>
              </a:p>
            </p:txBody>
          </p:sp>
          <p:sp>
            <p:nvSpPr>
              <p:cNvPr id="122" name="Freeform: Shape 121">
                <a:extLst>
                  <a:ext uri="{FF2B5EF4-FFF2-40B4-BE49-F238E27FC236}">
                    <a16:creationId xmlns:a16="http://schemas.microsoft.com/office/drawing/2014/main" id="{93479124-07FB-48BE-A61C-C918533B3DBE}"/>
                  </a:ext>
                </a:extLst>
              </p:cNvPr>
              <p:cNvSpPr/>
              <p:nvPr/>
            </p:nvSpPr>
            <p:spPr bwMode="gray">
              <a:xfrm>
                <a:off x="6440565" y="2498768"/>
                <a:ext cx="331697" cy="488828"/>
              </a:xfrm>
              <a:custGeom>
                <a:avLst/>
                <a:gdLst>
                  <a:gd name="connsiteX0" fmla="*/ 157523 w 331697"/>
                  <a:gd name="connsiteY0" fmla="*/ 488829 h 488828"/>
                  <a:gd name="connsiteX1" fmla="*/ 0 w 331697"/>
                  <a:gd name="connsiteY1" fmla="*/ 448554 h 488828"/>
                  <a:gd name="connsiteX2" fmla="*/ 0 w 331697"/>
                  <a:gd name="connsiteY2" fmla="*/ 384671 h 488828"/>
                  <a:gd name="connsiteX3" fmla="*/ 158905 w 331697"/>
                  <a:gd name="connsiteY3" fmla="*/ 433271 h 488828"/>
                  <a:gd name="connsiteX4" fmla="*/ 269250 w 331697"/>
                  <a:gd name="connsiteY4" fmla="*/ 351339 h 488828"/>
                  <a:gd name="connsiteX5" fmla="*/ 249452 w 331697"/>
                  <a:gd name="connsiteY5" fmla="*/ 304017 h 488828"/>
                  <a:gd name="connsiteX6" fmla="*/ 175480 w 331697"/>
                  <a:gd name="connsiteY6" fmla="*/ 275344 h 488828"/>
                  <a:gd name="connsiteX7" fmla="*/ 123525 w 331697"/>
                  <a:gd name="connsiteY7" fmla="*/ 263155 h 488828"/>
                  <a:gd name="connsiteX8" fmla="*/ 33318 w 331697"/>
                  <a:gd name="connsiteY8" fmla="*/ 218365 h 488828"/>
                  <a:gd name="connsiteX9" fmla="*/ 6943 w 331697"/>
                  <a:gd name="connsiteY9" fmla="*/ 138168 h 488828"/>
                  <a:gd name="connsiteX10" fmla="*/ 173484 w 331697"/>
                  <a:gd name="connsiteY10" fmla="*/ 0 h 488828"/>
                  <a:gd name="connsiteX11" fmla="*/ 306026 w 331697"/>
                  <a:gd name="connsiteY11" fmla="*/ 29168 h 488828"/>
                  <a:gd name="connsiteX12" fmla="*/ 306026 w 331697"/>
                  <a:gd name="connsiteY12" fmla="*/ 92360 h 488828"/>
                  <a:gd name="connsiteX13" fmla="*/ 175571 w 331697"/>
                  <a:gd name="connsiteY13" fmla="*/ 55557 h 488828"/>
                  <a:gd name="connsiteX14" fmla="*/ 69391 w 331697"/>
                  <a:gd name="connsiteY14" fmla="*/ 134018 h 488828"/>
                  <a:gd name="connsiteX15" fmla="*/ 87779 w 331697"/>
                  <a:gd name="connsiteY15" fmla="*/ 179056 h 488828"/>
                  <a:gd name="connsiteX16" fmla="*/ 154769 w 331697"/>
                  <a:gd name="connsiteY16" fmla="*/ 206084 h 488828"/>
                  <a:gd name="connsiteX17" fmla="*/ 208198 w 331697"/>
                  <a:gd name="connsiteY17" fmla="*/ 217882 h 488828"/>
                  <a:gd name="connsiteX18" fmla="*/ 303247 w 331697"/>
                  <a:gd name="connsiteY18" fmla="*/ 264460 h 488828"/>
                  <a:gd name="connsiteX19" fmla="*/ 331698 w 331697"/>
                  <a:gd name="connsiteY19" fmla="*/ 349264 h 488828"/>
                  <a:gd name="connsiteX20" fmla="*/ 157523 w 331697"/>
                  <a:gd name="connsiteY20" fmla="*/ 488829 h 4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1697" h="488828">
                    <a:moveTo>
                      <a:pt x="157523" y="488829"/>
                    </a:moveTo>
                    <a:cubicBezTo>
                      <a:pt x="86735" y="488829"/>
                      <a:pt x="34219" y="475412"/>
                      <a:pt x="0" y="448554"/>
                    </a:cubicBezTo>
                    <a:lnTo>
                      <a:pt x="0" y="384671"/>
                    </a:lnTo>
                    <a:cubicBezTo>
                      <a:pt x="43485" y="417076"/>
                      <a:pt x="96458" y="433271"/>
                      <a:pt x="158905" y="433271"/>
                    </a:cubicBezTo>
                    <a:cubicBezTo>
                      <a:pt x="232460" y="433271"/>
                      <a:pt x="269250" y="405969"/>
                      <a:pt x="269250" y="351339"/>
                    </a:cubicBezTo>
                    <a:cubicBezTo>
                      <a:pt x="269250" y="330614"/>
                      <a:pt x="262646" y="314849"/>
                      <a:pt x="249452" y="304017"/>
                    </a:cubicBezTo>
                    <a:cubicBezTo>
                      <a:pt x="236245" y="293185"/>
                      <a:pt x="211605" y="283632"/>
                      <a:pt x="175480" y="275344"/>
                    </a:cubicBezTo>
                    <a:lnTo>
                      <a:pt x="123525" y="263155"/>
                    </a:lnTo>
                    <a:cubicBezTo>
                      <a:pt x="80953" y="253432"/>
                      <a:pt x="50885" y="238502"/>
                      <a:pt x="33318" y="218365"/>
                    </a:cubicBezTo>
                    <a:cubicBezTo>
                      <a:pt x="15726" y="198228"/>
                      <a:pt x="6943" y="171500"/>
                      <a:pt x="6943" y="138168"/>
                    </a:cubicBezTo>
                    <a:cubicBezTo>
                      <a:pt x="6943" y="46056"/>
                      <a:pt x="62461" y="0"/>
                      <a:pt x="173484" y="0"/>
                    </a:cubicBezTo>
                    <a:cubicBezTo>
                      <a:pt x="234548" y="0"/>
                      <a:pt x="278724" y="9723"/>
                      <a:pt x="306026" y="29168"/>
                    </a:cubicBezTo>
                    <a:lnTo>
                      <a:pt x="306026" y="92360"/>
                    </a:lnTo>
                    <a:cubicBezTo>
                      <a:pt x="271325" y="67825"/>
                      <a:pt x="227840" y="55557"/>
                      <a:pt x="175571" y="55557"/>
                    </a:cubicBezTo>
                    <a:cubicBezTo>
                      <a:pt x="104784" y="55557"/>
                      <a:pt x="69391" y="81711"/>
                      <a:pt x="69391" y="134018"/>
                    </a:cubicBezTo>
                    <a:cubicBezTo>
                      <a:pt x="69391" y="152955"/>
                      <a:pt x="75511" y="167963"/>
                      <a:pt x="87779" y="179056"/>
                    </a:cubicBezTo>
                    <a:cubicBezTo>
                      <a:pt x="100047" y="190149"/>
                      <a:pt x="122377" y="199154"/>
                      <a:pt x="154769" y="206084"/>
                    </a:cubicBezTo>
                    <a:lnTo>
                      <a:pt x="208198" y="217882"/>
                    </a:lnTo>
                    <a:cubicBezTo>
                      <a:pt x="252597" y="227618"/>
                      <a:pt x="284271" y="243148"/>
                      <a:pt x="303247" y="264460"/>
                    </a:cubicBezTo>
                    <a:cubicBezTo>
                      <a:pt x="322210" y="285772"/>
                      <a:pt x="331698" y="314053"/>
                      <a:pt x="331698" y="349264"/>
                    </a:cubicBezTo>
                    <a:cubicBezTo>
                      <a:pt x="331698" y="442303"/>
                      <a:pt x="273635" y="488829"/>
                      <a:pt x="157523" y="488829"/>
                    </a:cubicBezTo>
                    <a:close/>
                  </a:path>
                </a:pathLst>
              </a:custGeom>
              <a:solidFill>
                <a:srgbClr val="3D434B"/>
              </a:solidFill>
              <a:ln w="1305" cap="flat">
                <a:noFill/>
                <a:prstDash val="solid"/>
                <a:miter/>
              </a:ln>
            </p:spPr>
            <p:txBody>
              <a:bodyPr rtlCol="0" anchor="ctr"/>
              <a:lstStyle/>
              <a:p>
                <a:endParaRPr lang="de-DE" dirty="0"/>
              </a:p>
            </p:txBody>
          </p:sp>
          <p:sp>
            <p:nvSpPr>
              <p:cNvPr id="123" name="Freeform: Shape 122">
                <a:extLst>
                  <a:ext uri="{FF2B5EF4-FFF2-40B4-BE49-F238E27FC236}">
                    <a16:creationId xmlns:a16="http://schemas.microsoft.com/office/drawing/2014/main" id="{CF8D37B4-34B2-444C-8FA2-C28592FEFEBB}"/>
                  </a:ext>
                </a:extLst>
              </p:cNvPr>
              <p:cNvSpPr/>
              <p:nvPr/>
            </p:nvSpPr>
            <p:spPr bwMode="gray">
              <a:xfrm>
                <a:off x="7176575" y="2498768"/>
                <a:ext cx="333093" cy="488828"/>
              </a:xfrm>
              <a:custGeom>
                <a:avLst/>
                <a:gdLst>
                  <a:gd name="connsiteX0" fmla="*/ 217882 w 333093"/>
                  <a:gd name="connsiteY0" fmla="*/ 488829 h 488828"/>
                  <a:gd name="connsiteX1" fmla="*/ 53430 w 333093"/>
                  <a:gd name="connsiteY1" fmla="*/ 428769 h 488828"/>
                  <a:gd name="connsiteX2" fmla="*/ 0 w 333093"/>
                  <a:gd name="connsiteY2" fmla="*/ 244414 h 488828"/>
                  <a:gd name="connsiteX3" fmla="*/ 53091 w 333093"/>
                  <a:gd name="connsiteY3" fmla="*/ 60060 h 488828"/>
                  <a:gd name="connsiteX4" fmla="*/ 216512 w 333093"/>
                  <a:gd name="connsiteY4" fmla="*/ 0 h 488828"/>
                  <a:gd name="connsiteX5" fmla="*/ 333094 w 333093"/>
                  <a:gd name="connsiteY5" fmla="*/ 24300 h 488828"/>
                  <a:gd name="connsiteX6" fmla="*/ 333094 w 333093"/>
                  <a:gd name="connsiteY6" fmla="*/ 85404 h 488828"/>
                  <a:gd name="connsiteX7" fmla="*/ 218600 w 333093"/>
                  <a:gd name="connsiteY7" fmla="*/ 55544 h 488828"/>
                  <a:gd name="connsiteX8" fmla="*/ 100621 w 333093"/>
                  <a:gd name="connsiteY8" fmla="*/ 100334 h 488828"/>
                  <a:gd name="connsiteX9" fmla="*/ 63831 w 333093"/>
                  <a:gd name="connsiteY9" fmla="*/ 243723 h 488828"/>
                  <a:gd name="connsiteX10" fmla="*/ 100960 w 333093"/>
                  <a:gd name="connsiteY10" fmla="*/ 388155 h 488828"/>
                  <a:gd name="connsiteX11" fmla="*/ 220662 w 333093"/>
                  <a:gd name="connsiteY11" fmla="*/ 433285 h 488828"/>
                  <a:gd name="connsiteX12" fmla="*/ 333081 w 333093"/>
                  <a:gd name="connsiteY12" fmla="*/ 403424 h 488828"/>
                  <a:gd name="connsiteX13" fmla="*/ 333081 w 333093"/>
                  <a:gd name="connsiteY13" fmla="*/ 464528 h 488828"/>
                  <a:gd name="connsiteX14" fmla="*/ 217882 w 333093"/>
                  <a:gd name="connsiteY14" fmla="*/ 488829 h 4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3093" h="488828">
                    <a:moveTo>
                      <a:pt x="217882" y="488829"/>
                    </a:moveTo>
                    <a:cubicBezTo>
                      <a:pt x="143872" y="488829"/>
                      <a:pt x="89032" y="468809"/>
                      <a:pt x="53430" y="428769"/>
                    </a:cubicBezTo>
                    <a:cubicBezTo>
                      <a:pt x="17801" y="388729"/>
                      <a:pt x="0" y="327286"/>
                      <a:pt x="0" y="244414"/>
                    </a:cubicBezTo>
                    <a:cubicBezTo>
                      <a:pt x="0" y="161555"/>
                      <a:pt x="17697" y="100112"/>
                      <a:pt x="53091" y="60060"/>
                    </a:cubicBezTo>
                    <a:cubicBezTo>
                      <a:pt x="88484" y="20020"/>
                      <a:pt x="142958" y="0"/>
                      <a:pt x="216512" y="0"/>
                    </a:cubicBezTo>
                    <a:cubicBezTo>
                      <a:pt x="265544" y="0"/>
                      <a:pt x="304408" y="8105"/>
                      <a:pt x="333094" y="24300"/>
                    </a:cubicBezTo>
                    <a:lnTo>
                      <a:pt x="333094" y="85404"/>
                    </a:lnTo>
                    <a:cubicBezTo>
                      <a:pt x="300245" y="65502"/>
                      <a:pt x="262085" y="55544"/>
                      <a:pt x="218600" y="55544"/>
                    </a:cubicBezTo>
                    <a:cubicBezTo>
                      <a:pt x="164478" y="55544"/>
                      <a:pt x="125144" y="70474"/>
                      <a:pt x="100621" y="100334"/>
                    </a:cubicBezTo>
                    <a:cubicBezTo>
                      <a:pt x="76099" y="130194"/>
                      <a:pt x="63831" y="177999"/>
                      <a:pt x="63831" y="243723"/>
                    </a:cubicBezTo>
                    <a:cubicBezTo>
                      <a:pt x="63831" y="309929"/>
                      <a:pt x="76203" y="358060"/>
                      <a:pt x="100960" y="388155"/>
                    </a:cubicBezTo>
                    <a:cubicBezTo>
                      <a:pt x="125704" y="418250"/>
                      <a:pt x="165614" y="433285"/>
                      <a:pt x="220662" y="433285"/>
                    </a:cubicBezTo>
                    <a:cubicBezTo>
                      <a:pt x="263690" y="433285"/>
                      <a:pt x="301159" y="423340"/>
                      <a:pt x="333081" y="403424"/>
                    </a:cubicBezTo>
                    <a:lnTo>
                      <a:pt x="333081" y="464528"/>
                    </a:lnTo>
                    <a:cubicBezTo>
                      <a:pt x="304852" y="480724"/>
                      <a:pt x="266457" y="488829"/>
                      <a:pt x="217882" y="488829"/>
                    </a:cubicBezTo>
                    <a:close/>
                  </a:path>
                </a:pathLst>
              </a:custGeom>
              <a:solidFill>
                <a:srgbClr val="3D434B"/>
              </a:solidFill>
              <a:ln w="1305" cap="flat">
                <a:noFill/>
                <a:prstDash val="solid"/>
                <a:miter/>
              </a:ln>
            </p:spPr>
            <p:txBody>
              <a:bodyPr rtlCol="0" anchor="ctr"/>
              <a:lstStyle/>
              <a:p>
                <a:endParaRPr lang="de-DE" dirty="0"/>
              </a:p>
            </p:txBody>
          </p:sp>
          <p:sp>
            <p:nvSpPr>
              <p:cNvPr id="124" name="Freeform: Shape 123">
                <a:extLst>
                  <a:ext uri="{FF2B5EF4-FFF2-40B4-BE49-F238E27FC236}">
                    <a16:creationId xmlns:a16="http://schemas.microsoft.com/office/drawing/2014/main" id="{187A5F35-9A92-4179-9B74-F0C7F4ADBDE9}"/>
                  </a:ext>
                </a:extLst>
              </p:cNvPr>
              <p:cNvSpPr/>
              <p:nvPr/>
            </p:nvSpPr>
            <p:spPr bwMode="gray">
              <a:xfrm>
                <a:off x="7933439" y="2507095"/>
                <a:ext cx="374020" cy="472162"/>
              </a:xfrm>
              <a:custGeom>
                <a:avLst/>
                <a:gdLst>
                  <a:gd name="connsiteX0" fmla="*/ 0 w 374020"/>
                  <a:gd name="connsiteY0" fmla="*/ 472163 h 472162"/>
                  <a:gd name="connsiteX1" fmla="*/ 0 w 374020"/>
                  <a:gd name="connsiteY1" fmla="*/ 0 h 472162"/>
                  <a:gd name="connsiteX2" fmla="*/ 62448 w 374020"/>
                  <a:gd name="connsiteY2" fmla="*/ 0 h 472162"/>
                  <a:gd name="connsiteX3" fmla="*/ 62448 w 374020"/>
                  <a:gd name="connsiteY3" fmla="*/ 202756 h 472162"/>
                  <a:gd name="connsiteX4" fmla="*/ 311574 w 374020"/>
                  <a:gd name="connsiteY4" fmla="*/ 202756 h 472162"/>
                  <a:gd name="connsiteX5" fmla="*/ 311574 w 374020"/>
                  <a:gd name="connsiteY5" fmla="*/ 0 h 472162"/>
                  <a:gd name="connsiteX6" fmla="*/ 374021 w 374020"/>
                  <a:gd name="connsiteY6" fmla="*/ 0 h 472162"/>
                  <a:gd name="connsiteX7" fmla="*/ 374021 w 374020"/>
                  <a:gd name="connsiteY7" fmla="*/ 472163 h 472162"/>
                  <a:gd name="connsiteX8" fmla="*/ 311574 w 374020"/>
                  <a:gd name="connsiteY8" fmla="*/ 472163 h 472162"/>
                  <a:gd name="connsiteX9" fmla="*/ 311574 w 374020"/>
                  <a:gd name="connsiteY9" fmla="*/ 260375 h 472162"/>
                  <a:gd name="connsiteX10" fmla="*/ 62448 w 374020"/>
                  <a:gd name="connsiteY10" fmla="*/ 260375 h 472162"/>
                  <a:gd name="connsiteX11" fmla="*/ 62448 w 374020"/>
                  <a:gd name="connsiteY11" fmla="*/ 472163 h 472162"/>
                  <a:gd name="connsiteX12" fmla="*/ 0 w 374020"/>
                  <a:gd name="connsiteY12" fmla="*/ 472163 h 47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4020" h="472162">
                    <a:moveTo>
                      <a:pt x="0" y="472163"/>
                    </a:moveTo>
                    <a:lnTo>
                      <a:pt x="0" y="0"/>
                    </a:lnTo>
                    <a:lnTo>
                      <a:pt x="62448" y="0"/>
                    </a:lnTo>
                    <a:lnTo>
                      <a:pt x="62448" y="202756"/>
                    </a:lnTo>
                    <a:lnTo>
                      <a:pt x="311574" y="202756"/>
                    </a:lnTo>
                    <a:lnTo>
                      <a:pt x="311574" y="0"/>
                    </a:lnTo>
                    <a:lnTo>
                      <a:pt x="374021" y="0"/>
                    </a:lnTo>
                    <a:lnTo>
                      <a:pt x="374021" y="472163"/>
                    </a:lnTo>
                    <a:lnTo>
                      <a:pt x="311574" y="472163"/>
                    </a:lnTo>
                    <a:lnTo>
                      <a:pt x="311574" y="260375"/>
                    </a:lnTo>
                    <a:lnTo>
                      <a:pt x="62448" y="260375"/>
                    </a:lnTo>
                    <a:lnTo>
                      <a:pt x="62448" y="472163"/>
                    </a:lnTo>
                    <a:lnTo>
                      <a:pt x="0" y="472163"/>
                    </a:lnTo>
                    <a:close/>
                  </a:path>
                </a:pathLst>
              </a:custGeom>
              <a:solidFill>
                <a:srgbClr val="3D434B"/>
              </a:solidFill>
              <a:ln w="1305" cap="flat">
                <a:noFill/>
                <a:prstDash val="solid"/>
                <a:miter/>
              </a:ln>
            </p:spPr>
            <p:txBody>
              <a:bodyPr rtlCol="0" anchor="ctr"/>
              <a:lstStyle/>
              <a:p>
                <a:endParaRPr lang="de-DE" dirty="0"/>
              </a:p>
            </p:txBody>
          </p:sp>
          <p:sp>
            <p:nvSpPr>
              <p:cNvPr id="125" name="Freeform: Shape 124">
                <a:extLst>
                  <a:ext uri="{FF2B5EF4-FFF2-40B4-BE49-F238E27FC236}">
                    <a16:creationId xmlns:a16="http://schemas.microsoft.com/office/drawing/2014/main" id="{FBBB0C88-FFAA-46A3-B92C-2B1F61302099}"/>
                  </a:ext>
                </a:extLst>
              </p:cNvPr>
              <p:cNvSpPr/>
              <p:nvPr/>
            </p:nvSpPr>
            <p:spPr bwMode="gray">
              <a:xfrm>
                <a:off x="8759917" y="2507095"/>
                <a:ext cx="355997" cy="480502"/>
              </a:xfrm>
              <a:custGeom>
                <a:avLst/>
                <a:gdLst>
                  <a:gd name="connsiteX0" fmla="*/ 313661 w 355997"/>
                  <a:gd name="connsiteY0" fmla="*/ 437108 h 480502"/>
                  <a:gd name="connsiteX1" fmla="*/ 178338 w 355997"/>
                  <a:gd name="connsiteY1" fmla="*/ 480502 h 480502"/>
                  <a:gd name="connsiteX2" fmla="*/ 42676 w 355997"/>
                  <a:gd name="connsiteY2" fmla="*/ 437108 h 480502"/>
                  <a:gd name="connsiteX3" fmla="*/ 0 w 355997"/>
                  <a:gd name="connsiteY3" fmla="*/ 297896 h 480502"/>
                  <a:gd name="connsiteX4" fmla="*/ 0 w 355997"/>
                  <a:gd name="connsiteY4" fmla="*/ 0 h 480502"/>
                  <a:gd name="connsiteX5" fmla="*/ 62447 w 355997"/>
                  <a:gd name="connsiteY5" fmla="*/ 0 h 480502"/>
                  <a:gd name="connsiteX6" fmla="*/ 62447 w 355997"/>
                  <a:gd name="connsiteY6" fmla="*/ 303430 h 480502"/>
                  <a:gd name="connsiteX7" fmla="*/ 90206 w 355997"/>
                  <a:gd name="connsiteY7" fmla="*/ 395437 h 480502"/>
                  <a:gd name="connsiteX8" fmla="*/ 179030 w 355997"/>
                  <a:gd name="connsiteY8" fmla="*/ 424254 h 480502"/>
                  <a:gd name="connsiteX9" fmla="*/ 268558 w 355997"/>
                  <a:gd name="connsiteY9" fmla="*/ 395437 h 480502"/>
                  <a:gd name="connsiteX10" fmla="*/ 296317 w 355997"/>
                  <a:gd name="connsiteY10" fmla="*/ 303430 h 480502"/>
                  <a:gd name="connsiteX11" fmla="*/ 296317 w 355997"/>
                  <a:gd name="connsiteY11" fmla="*/ 0 h 480502"/>
                  <a:gd name="connsiteX12" fmla="*/ 355998 w 355997"/>
                  <a:gd name="connsiteY12" fmla="*/ 0 h 480502"/>
                  <a:gd name="connsiteX13" fmla="*/ 355998 w 355997"/>
                  <a:gd name="connsiteY13" fmla="*/ 297883 h 480502"/>
                  <a:gd name="connsiteX14" fmla="*/ 313661 w 355997"/>
                  <a:gd name="connsiteY14" fmla="*/ 437108 h 48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5997" h="480502">
                    <a:moveTo>
                      <a:pt x="313661" y="437108"/>
                    </a:moveTo>
                    <a:cubicBezTo>
                      <a:pt x="285433" y="466042"/>
                      <a:pt x="240342" y="480502"/>
                      <a:pt x="178338" y="480502"/>
                    </a:cubicBezTo>
                    <a:cubicBezTo>
                      <a:pt x="116334" y="480502"/>
                      <a:pt x="71127" y="466042"/>
                      <a:pt x="42676" y="437108"/>
                    </a:cubicBezTo>
                    <a:cubicBezTo>
                      <a:pt x="14225" y="408188"/>
                      <a:pt x="0" y="361767"/>
                      <a:pt x="0" y="297896"/>
                    </a:cubicBezTo>
                    <a:lnTo>
                      <a:pt x="0" y="0"/>
                    </a:lnTo>
                    <a:lnTo>
                      <a:pt x="62447" y="0"/>
                    </a:lnTo>
                    <a:lnTo>
                      <a:pt x="62447" y="303430"/>
                    </a:lnTo>
                    <a:cubicBezTo>
                      <a:pt x="62447" y="345558"/>
                      <a:pt x="71701" y="376227"/>
                      <a:pt x="90206" y="395437"/>
                    </a:cubicBezTo>
                    <a:cubicBezTo>
                      <a:pt x="108712" y="414661"/>
                      <a:pt x="138324" y="424254"/>
                      <a:pt x="179030" y="424254"/>
                    </a:cubicBezTo>
                    <a:cubicBezTo>
                      <a:pt x="220205" y="424254"/>
                      <a:pt x="250039" y="414661"/>
                      <a:pt x="268558" y="395437"/>
                    </a:cubicBezTo>
                    <a:cubicBezTo>
                      <a:pt x="287051" y="376240"/>
                      <a:pt x="296317" y="345571"/>
                      <a:pt x="296317" y="303430"/>
                    </a:cubicBezTo>
                    <a:lnTo>
                      <a:pt x="296317" y="0"/>
                    </a:lnTo>
                    <a:lnTo>
                      <a:pt x="355998" y="0"/>
                    </a:lnTo>
                    <a:lnTo>
                      <a:pt x="355998" y="297883"/>
                    </a:lnTo>
                    <a:cubicBezTo>
                      <a:pt x="355998" y="361767"/>
                      <a:pt x="341877" y="408175"/>
                      <a:pt x="313661" y="437108"/>
                    </a:cubicBezTo>
                    <a:close/>
                  </a:path>
                </a:pathLst>
              </a:custGeom>
              <a:solidFill>
                <a:srgbClr val="3D434B"/>
              </a:solidFill>
              <a:ln w="1305" cap="flat">
                <a:noFill/>
                <a:prstDash val="solid"/>
                <a:miter/>
              </a:ln>
            </p:spPr>
            <p:txBody>
              <a:bodyPr rtlCol="0" anchor="ctr"/>
              <a:lstStyle/>
              <a:p>
                <a:endParaRPr lang="de-DE" dirty="0"/>
              </a:p>
            </p:txBody>
          </p:sp>
          <p:sp>
            <p:nvSpPr>
              <p:cNvPr id="126" name="Freeform: Shape 125">
                <a:extLst>
                  <a:ext uri="{FF2B5EF4-FFF2-40B4-BE49-F238E27FC236}">
                    <a16:creationId xmlns:a16="http://schemas.microsoft.com/office/drawing/2014/main" id="{ED5113B6-1AFF-45C4-A7AE-BC4308A09B6A}"/>
                  </a:ext>
                </a:extLst>
              </p:cNvPr>
              <p:cNvSpPr/>
              <p:nvPr/>
            </p:nvSpPr>
            <p:spPr bwMode="gray">
              <a:xfrm>
                <a:off x="9568358" y="2507095"/>
                <a:ext cx="299083" cy="472175"/>
              </a:xfrm>
              <a:custGeom>
                <a:avLst/>
                <a:gdLst>
                  <a:gd name="connsiteX0" fmla="*/ 0 w 299083"/>
                  <a:gd name="connsiteY0" fmla="*/ 472163 h 472175"/>
                  <a:gd name="connsiteX1" fmla="*/ 0 w 299083"/>
                  <a:gd name="connsiteY1" fmla="*/ 0 h 472175"/>
                  <a:gd name="connsiteX2" fmla="*/ 62447 w 299083"/>
                  <a:gd name="connsiteY2" fmla="*/ 0 h 472175"/>
                  <a:gd name="connsiteX3" fmla="*/ 62447 w 299083"/>
                  <a:gd name="connsiteY3" fmla="*/ 415927 h 472175"/>
                  <a:gd name="connsiteX4" fmla="*/ 299084 w 299083"/>
                  <a:gd name="connsiteY4" fmla="*/ 415927 h 472175"/>
                  <a:gd name="connsiteX5" fmla="*/ 299084 w 299083"/>
                  <a:gd name="connsiteY5" fmla="*/ 472176 h 472175"/>
                  <a:gd name="connsiteX6" fmla="*/ 0 w 299083"/>
                  <a:gd name="connsiteY6" fmla="*/ 472176 h 472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083" h="472175">
                    <a:moveTo>
                      <a:pt x="0" y="472163"/>
                    </a:moveTo>
                    <a:lnTo>
                      <a:pt x="0" y="0"/>
                    </a:lnTo>
                    <a:lnTo>
                      <a:pt x="62447" y="0"/>
                    </a:lnTo>
                    <a:lnTo>
                      <a:pt x="62447" y="415927"/>
                    </a:lnTo>
                    <a:lnTo>
                      <a:pt x="299084" y="415927"/>
                    </a:lnTo>
                    <a:lnTo>
                      <a:pt x="299084" y="472176"/>
                    </a:lnTo>
                    <a:lnTo>
                      <a:pt x="0" y="472176"/>
                    </a:lnTo>
                    <a:close/>
                  </a:path>
                </a:pathLst>
              </a:custGeom>
              <a:solidFill>
                <a:srgbClr val="3D434B"/>
              </a:solidFill>
              <a:ln w="1305" cap="flat">
                <a:noFill/>
                <a:prstDash val="solid"/>
                <a:miter/>
              </a:ln>
            </p:spPr>
            <p:txBody>
              <a:bodyPr rtlCol="0" anchor="ctr"/>
              <a:lstStyle/>
              <a:p>
                <a:endParaRPr lang="de-DE" dirty="0"/>
              </a:p>
            </p:txBody>
          </p:sp>
          <p:sp>
            <p:nvSpPr>
              <p:cNvPr id="127" name="Freeform: Shape 126">
                <a:extLst>
                  <a:ext uri="{FF2B5EF4-FFF2-40B4-BE49-F238E27FC236}">
                    <a16:creationId xmlns:a16="http://schemas.microsoft.com/office/drawing/2014/main" id="{B129C89B-617B-438A-AEB0-98EA938DB7A2}"/>
                  </a:ext>
                </a:extLst>
              </p:cNvPr>
              <p:cNvSpPr/>
              <p:nvPr/>
            </p:nvSpPr>
            <p:spPr bwMode="gray">
              <a:xfrm>
                <a:off x="10265867" y="2507095"/>
                <a:ext cx="341420" cy="472162"/>
              </a:xfrm>
              <a:custGeom>
                <a:avLst/>
                <a:gdLst>
                  <a:gd name="connsiteX0" fmla="*/ 0 w 341420"/>
                  <a:gd name="connsiteY0" fmla="*/ 472163 h 472162"/>
                  <a:gd name="connsiteX1" fmla="*/ 0 w 341420"/>
                  <a:gd name="connsiteY1" fmla="*/ 0 h 472162"/>
                  <a:gd name="connsiteX2" fmla="*/ 337257 w 341420"/>
                  <a:gd name="connsiteY2" fmla="*/ 0 h 472162"/>
                  <a:gd name="connsiteX3" fmla="*/ 337257 w 341420"/>
                  <a:gd name="connsiteY3" fmla="*/ 55544 h 472162"/>
                  <a:gd name="connsiteX4" fmla="*/ 62461 w 341420"/>
                  <a:gd name="connsiteY4" fmla="*/ 55544 h 472162"/>
                  <a:gd name="connsiteX5" fmla="*/ 62461 w 341420"/>
                  <a:gd name="connsiteY5" fmla="*/ 204140 h 472162"/>
                  <a:gd name="connsiteX6" fmla="*/ 298405 w 341420"/>
                  <a:gd name="connsiteY6" fmla="*/ 204140 h 472162"/>
                  <a:gd name="connsiteX7" fmla="*/ 298405 w 341420"/>
                  <a:gd name="connsiteY7" fmla="*/ 259684 h 472162"/>
                  <a:gd name="connsiteX8" fmla="*/ 62461 w 341420"/>
                  <a:gd name="connsiteY8" fmla="*/ 259684 h 472162"/>
                  <a:gd name="connsiteX9" fmla="*/ 62461 w 341420"/>
                  <a:gd name="connsiteY9" fmla="*/ 416606 h 472162"/>
                  <a:gd name="connsiteX10" fmla="*/ 341420 w 341420"/>
                  <a:gd name="connsiteY10" fmla="*/ 416606 h 472162"/>
                  <a:gd name="connsiteX11" fmla="*/ 341420 w 341420"/>
                  <a:gd name="connsiteY11" fmla="*/ 472150 h 472162"/>
                  <a:gd name="connsiteX12" fmla="*/ 0 w 341420"/>
                  <a:gd name="connsiteY12" fmla="*/ 472150 h 47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1420" h="472162">
                    <a:moveTo>
                      <a:pt x="0" y="472163"/>
                    </a:moveTo>
                    <a:lnTo>
                      <a:pt x="0" y="0"/>
                    </a:lnTo>
                    <a:lnTo>
                      <a:pt x="337257" y="0"/>
                    </a:lnTo>
                    <a:lnTo>
                      <a:pt x="337257" y="55544"/>
                    </a:lnTo>
                    <a:lnTo>
                      <a:pt x="62461" y="55544"/>
                    </a:lnTo>
                    <a:lnTo>
                      <a:pt x="62461" y="204140"/>
                    </a:lnTo>
                    <a:lnTo>
                      <a:pt x="298405" y="204140"/>
                    </a:lnTo>
                    <a:lnTo>
                      <a:pt x="298405" y="259684"/>
                    </a:lnTo>
                    <a:lnTo>
                      <a:pt x="62461" y="259684"/>
                    </a:lnTo>
                    <a:lnTo>
                      <a:pt x="62461" y="416606"/>
                    </a:lnTo>
                    <a:lnTo>
                      <a:pt x="341420" y="416606"/>
                    </a:lnTo>
                    <a:lnTo>
                      <a:pt x="341420" y="472150"/>
                    </a:lnTo>
                    <a:lnTo>
                      <a:pt x="0" y="472150"/>
                    </a:lnTo>
                    <a:close/>
                  </a:path>
                </a:pathLst>
              </a:custGeom>
              <a:solidFill>
                <a:srgbClr val="3D434B"/>
              </a:solidFill>
              <a:ln w="1305" cap="flat">
                <a:noFill/>
                <a:prstDash val="solid"/>
                <a:miter/>
              </a:ln>
            </p:spPr>
            <p:txBody>
              <a:bodyPr rtlCol="0" anchor="ctr"/>
              <a:lstStyle/>
              <a:p>
                <a:endParaRPr lang="de-DE" dirty="0"/>
              </a:p>
            </p:txBody>
          </p:sp>
        </p:grpSp>
        <p:grpSp>
          <p:nvGrpSpPr>
            <p:cNvPr id="86" name="Graphic 3">
              <a:extLst>
                <a:ext uri="{FF2B5EF4-FFF2-40B4-BE49-F238E27FC236}">
                  <a16:creationId xmlns:a16="http://schemas.microsoft.com/office/drawing/2014/main" id="{982F0C55-6FE1-4999-B0CC-94F76D8A8049}"/>
                </a:ext>
              </a:extLst>
            </p:cNvPr>
            <p:cNvGrpSpPr/>
            <p:nvPr/>
          </p:nvGrpSpPr>
          <p:grpSpPr bwMode="gray">
            <a:xfrm>
              <a:off x="3221861" y="4478474"/>
              <a:ext cx="7388088" cy="271651"/>
              <a:chOff x="3221861" y="4478474"/>
              <a:chExt cx="7388088" cy="271651"/>
            </a:xfrm>
            <a:solidFill>
              <a:srgbClr val="3D434B"/>
            </a:solidFill>
          </p:grpSpPr>
          <p:sp>
            <p:nvSpPr>
              <p:cNvPr id="91" name="Freeform: Shape 90">
                <a:extLst>
                  <a:ext uri="{FF2B5EF4-FFF2-40B4-BE49-F238E27FC236}">
                    <a16:creationId xmlns:a16="http://schemas.microsoft.com/office/drawing/2014/main" id="{EF407999-8B3A-4FD8-AA30-2CB57ECEA063}"/>
                  </a:ext>
                </a:extLst>
              </p:cNvPr>
              <p:cNvSpPr/>
              <p:nvPr/>
            </p:nvSpPr>
            <p:spPr bwMode="gray">
              <a:xfrm>
                <a:off x="3221861" y="4483107"/>
                <a:ext cx="197810" cy="267018"/>
              </a:xfrm>
              <a:custGeom>
                <a:avLst/>
                <a:gdLst>
                  <a:gd name="connsiteX0" fmla="*/ 174319 w 197810"/>
                  <a:gd name="connsiteY0" fmla="*/ 242901 h 267018"/>
                  <a:gd name="connsiteX1" fmla="*/ 99120 w 197810"/>
                  <a:gd name="connsiteY1" fmla="*/ 267018 h 267018"/>
                  <a:gd name="connsiteX2" fmla="*/ 23726 w 197810"/>
                  <a:gd name="connsiteY2" fmla="*/ 242901 h 267018"/>
                  <a:gd name="connsiteX3" fmla="*/ 0 w 197810"/>
                  <a:gd name="connsiteY3" fmla="*/ 165536 h 267018"/>
                  <a:gd name="connsiteX4" fmla="*/ 0 w 197810"/>
                  <a:gd name="connsiteY4" fmla="*/ 0 h 267018"/>
                  <a:gd name="connsiteX5" fmla="*/ 34702 w 197810"/>
                  <a:gd name="connsiteY5" fmla="*/ 0 h 267018"/>
                  <a:gd name="connsiteX6" fmla="*/ 34702 w 197810"/>
                  <a:gd name="connsiteY6" fmla="*/ 168615 h 267018"/>
                  <a:gd name="connsiteX7" fmla="*/ 50128 w 197810"/>
                  <a:gd name="connsiteY7" fmla="*/ 219735 h 267018"/>
                  <a:gd name="connsiteX8" fmla="*/ 99486 w 197810"/>
                  <a:gd name="connsiteY8" fmla="*/ 235749 h 267018"/>
                  <a:gd name="connsiteX9" fmla="*/ 149222 w 197810"/>
                  <a:gd name="connsiteY9" fmla="*/ 219735 h 267018"/>
                  <a:gd name="connsiteX10" fmla="*/ 164648 w 197810"/>
                  <a:gd name="connsiteY10" fmla="*/ 168615 h 267018"/>
                  <a:gd name="connsiteX11" fmla="*/ 164648 w 197810"/>
                  <a:gd name="connsiteY11" fmla="*/ 0 h 267018"/>
                  <a:gd name="connsiteX12" fmla="*/ 197810 w 197810"/>
                  <a:gd name="connsiteY12" fmla="*/ 0 h 267018"/>
                  <a:gd name="connsiteX13" fmla="*/ 197810 w 197810"/>
                  <a:gd name="connsiteY13" fmla="*/ 165536 h 267018"/>
                  <a:gd name="connsiteX14" fmla="*/ 174319 w 197810"/>
                  <a:gd name="connsiteY14" fmla="*/ 242901 h 267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7810" h="267018">
                    <a:moveTo>
                      <a:pt x="174319" y="242901"/>
                    </a:moveTo>
                    <a:cubicBezTo>
                      <a:pt x="158632" y="258979"/>
                      <a:pt x="133561" y="267018"/>
                      <a:pt x="99120" y="267018"/>
                    </a:cubicBezTo>
                    <a:cubicBezTo>
                      <a:pt x="64666" y="267018"/>
                      <a:pt x="39544" y="258979"/>
                      <a:pt x="23726" y="242901"/>
                    </a:cubicBezTo>
                    <a:cubicBezTo>
                      <a:pt x="7909" y="226822"/>
                      <a:pt x="0" y="201034"/>
                      <a:pt x="0" y="165536"/>
                    </a:cubicBezTo>
                    <a:lnTo>
                      <a:pt x="0" y="0"/>
                    </a:lnTo>
                    <a:lnTo>
                      <a:pt x="34702" y="0"/>
                    </a:lnTo>
                    <a:lnTo>
                      <a:pt x="34702" y="168615"/>
                    </a:lnTo>
                    <a:cubicBezTo>
                      <a:pt x="34702" y="192029"/>
                      <a:pt x="39844" y="209073"/>
                      <a:pt x="50128" y="219735"/>
                    </a:cubicBezTo>
                    <a:cubicBezTo>
                      <a:pt x="60412" y="230424"/>
                      <a:pt x="76869" y="235749"/>
                      <a:pt x="99486" y="235749"/>
                    </a:cubicBezTo>
                    <a:cubicBezTo>
                      <a:pt x="122351" y="235749"/>
                      <a:pt x="138951" y="230411"/>
                      <a:pt x="149222" y="219735"/>
                    </a:cubicBezTo>
                    <a:cubicBezTo>
                      <a:pt x="159506" y="209073"/>
                      <a:pt x="164648" y="192029"/>
                      <a:pt x="164648" y="168615"/>
                    </a:cubicBezTo>
                    <a:lnTo>
                      <a:pt x="164648" y="0"/>
                    </a:lnTo>
                    <a:lnTo>
                      <a:pt x="197810" y="0"/>
                    </a:lnTo>
                    <a:lnTo>
                      <a:pt x="197810" y="165536"/>
                    </a:lnTo>
                    <a:cubicBezTo>
                      <a:pt x="197836" y="201034"/>
                      <a:pt x="189993" y="226822"/>
                      <a:pt x="174319" y="242901"/>
                    </a:cubicBezTo>
                    <a:close/>
                  </a:path>
                </a:pathLst>
              </a:custGeom>
              <a:solidFill>
                <a:srgbClr val="3D434B"/>
              </a:solidFill>
              <a:ln w="1305" cap="flat">
                <a:noFill/>
                <a:prstDash val="solid"/>
                <a:miter/>
              </a:ln>
            </p:spPr>
            <p:txBody>
              <a:bodyPr rtlCol="0" anchor="ctr"/>
              <a:lstStyle/>
              <a:p>
                <a:endParaRPr lang="de-DE" dirty="0"/>
              </a:p>
            </p:txBody>
          </p:sp>
          <p:sp>
            <p:nvSpPr>
              <p:cNvPr id="92" name="Freeform: Shape 91">
                <a:extLst>
                  <a:ext uri="{FF2B5EF4-FFF2-40B4-BE49-F238E27FC236}">
                    <a16:creationId xmlns:a16="http://schemas.microsoft.com/office/drawing/2014/main" id="{DA3650E4-CC75-45C3-80DE-130FE6FCFEEB}"/>
                  </a:ext>
                </a:extLst>
              </p:cNvPr>
              <p:cNvSpPr/>
              <p:nvPr/>
            </p:nvSpPr>
            <p:spPr bwMode="gray">
              <a:xfrm>
                <a:off x="3525970" y="4483107"/>
                <a:ext cx="207859" cy="262385"/>
              </a:xfrm>
              <a:custGeom>
                <a:avLst/>
                <a:gdLst>
                  <a:gd name="connsiteX0" fmla="*/ 0 w 207859"/>
                  <a:gd name="connsiteY0" fmla="*/ 262385 h 262385"/>
                  <a:gd name="connsiteX1" fmla="*/ 0 w 207859"/>
                  <a:gd name="connsiteY1" fmla="*/ 0 h 262385"/>
                  <a:gd name="connsiteX2" fmla="*/ 43642 w 207859"/>
                  <a:gd name="connsiteY2" fmla="*/ 0 h 262385"/>
                  <a:gd name="connsiteX3" fmla="*/ 174697 w 207859"/>
                  <a:gd name="connsiteY3" fmla="*/ 199885 h 262385"/>
                  <a:gd name="connsiteX4" fmla="*/ 174697 w 207859"/>
                  <a:gd name="connsiteY4" fmla="*/ 0 h 262385"/>
                  <a:gd name="connsiteX5" fmla="*/ 207859 w 207859"/>
                  <a:gd name="connsiteY5" fmla="*/ 0 h 262385"/>
                  <a:gd name="connsiteX6" fmla="*/ 207859 w 207859"/>
                  <a:gd name="connsiteY6" fmla="*/ 262385 h 262385"/>
                  <a:gd name="connsiteX7" fmla="*/ 175076 w 207859"/>
                  <a:gd name="connsiteY7" fmla="*/ 262385 h 262385"/>
                  <a:gd name="connsiteX8" fmla="*/ 33175 w 207859"/>
                  <a:gd name="connsiteY8" fmla="*/ 45925 h 262385"/>
                  <a:gd name="connsiteX9" fmla="*/ 33175 w 207859"/>
                  <a:gd name="connsiteY9" fmla="*/ 262385 h 262385"/>
                  <a:gd name="connsiteX10" fmla="*/ 0 w 207859"/>
                  <a:gd name="connsiteY10"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859" h="262385">
                    <a:moveTo>
                      <a:pt x="0" y="262385"/>
                    </a:moveTo>
                    <a:lnTo>
                      <a:pt x="0" y="0"/>
                    </a:lnTo>
                    <a:lnTo>
                      <a:pt x="43642" y="0"/>
                    </a:lnTo>
                    <a:lnTo>
                      <a:pt x="174697" y="199885"/>
                    </a:lnTo>
                    <a:lnTo>
                      <a:pt x="174697" y="0"/>
                    </a:lnTo>
                    <a:lnTo>
                      <a:pt x="207859" y="0"/>
                    </a:lnTo>
                    <a:lnTo>
                      <a:pt x="207859" y="262385"/>
                    </a:lnTo>
                    <a:lnTo>
                      <a:pt x="175076" y="262385"/>
                    </a:lnTo>
                    <a:lnTo>
                      <a:pt x="33175" y="45925"/>
                    </a:lnTo>
                    <a:lnTo>
                      <a:pt x="33175" y="262385"/>
                    </a:lnTo>
                    <a:lnTo>
                      <a:pt x="0" y="262385"/>
                    </a:lnTo>
                    <a:close/>
                  </a:path>
                </a:pathLst>
              </a:custGeom>
              <a:solidFill>
                <a:srgbClr val="3D434B"/>
              </a:solidFill>
              <a:ln w="1305" cap="flat">
                <a:noFill/>
                <a:prstDash val="solid"/>
                <a:miter/>
              </a:ln>
            </p:spPr>
            <p:txBody>
              <a:bodyPr rtlCol="0" anchor="ctr"/>
              <a:lstStyle/>
              <a:p>
                <a:endParaRPr lang="de-DE" dirty="0"/>
              </a:p>
            </p:txBody>
          </p:sp>
          <p:sp>
            <p:nvSpPr>
              <p:cNvPr id="93" name="Freeform: Shape 92">
                <a:extLst>
                  <a:ext uri="{FF2B5EF4-FFF2-40B4-BE49-F238E27FC236}">
                    <a16:creationId xmlns:a16="http://schemas.microsoft.com/office/drawing/2014/main" id="{208A5A51-2F36-4CC2-8FD6-6C349A47684D}"/>
                  </a:ext>
                </a:extLst>
              </p:cNvPr>
              <p:cNvSpPr/>
              <p:nvPr/>
            </p:nvSpPr>
            <p:spPr bwMode="gray">
              <a:xfrm>
                <a:off x="3842463" y="4483107"/>
                <a:ext cx="34702" cy="262385"/>
              </a:xfrm>
              <a:custGeom>
                <a:avLst/>
                <a:gdLst>
                  <a:gd name="connsiteX0" fmla="*/ 0 w 34702"/>
                  <a:gd name="connsiteY0" fmla="*/ 262385 h 262385"/>
                  <a:gd name="connsiteX1" fmla="*/ 0 w 34702"/>
                  <a:gd name="connsiteY1" fmla="*/ 0 h 262385"/>
                  <a:gd name="connsiteX2" fmla="*/ 34702 w 34702"/>
                  <a:gd name="connsiteY2" fmla="*/ 0 h 262385"/>
                  <a:gd name="connsiteX3" fmla="*/ 34702 w 34702"/>
                  <a:gd name="connsiteY3" fmla="*/ 262385 h 262385"/>
                  <a:gd name="connsiteX4" fmla="*/ 0 w 34702"/>
                  <a:gd name="connsiteY4" fmla="*/ 262385 h 262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2" h="262385">
                    <a:moveTo>
                      <a:pt x="0" y="262385"/>
                    </a:moveTo>
                    <a:lnTo>
                      <a:pt x="0" y="0"/>
                    </a:lnTo>
                    <a:lnTo>
                      <a:pt x="34702" y="0"/>
                    </a:lnTo>
                    <a:lnTo>
                      <a:pt x="34702" y="262385"/>
                    </a:lnTo>
                    <a:lnTo>
                      <a:pt x="0" y="262385"/>
                    </a:lnTo>
                    <a:close/>
                  </a:path>
                </a:pathLst>
              </a:custGeom>
              <a:solidFill>
                <a:srgbClr val="3D434B"/>
              </a:solidFill>
              <a:ln w="1305" cap="flat">
                <a:noFill/>
                <a:prstDash val="solid"/>
                <a:miter/>
              </a:ln>
            </p:spPr>
            <p:txBody>
              <a:bodyPr rtlCol="0" anchor="ctr"/>
              <a:lstStyle/>
              <a:p>
                <a:endParaRPr lang="de-DE" dirty="0"/>
              </a:p>
            </p:txBody>
          </p:sp>
          <p:sp>
            <p:nvSpPr>
              <p:cNvPr id="94" name="Freeform: Shape 93">
                <a:extLst>
                  <a:ext uri="{FF2B5EF4-FFF2-40B4-BE49-F238E27FC236}">
                    <a16:creationId xmlns:a16="http://schemas.microsoft.com/office/drawing/2014/main" id="{4343DCD2-D507-4E0C-854F-BC640AACBCAC}"/>
                  </a:ext>
                </a:extLst>
              </p:cNvPr>
              <p:cNvSpPr/>
              <p:nvPr/>
            </p:nvSpPr>
            <p:spPr bwMode="gray">
              <a:xfrm>
                <a:off x="3960377" y="4483107"/>
                <a:ext cx="224825" cy="262385"/>
              </a:xfrm>
              <a:custGeom>
                <a:avLst/>
                <a:gdLst>
                  <a:gd name="connsiteX0" fmla="*/ 94070 w 224825"/>
                  <a:gd name="connsiteY0" fmla="*/ 262385 h 262385"/>
                  <a:gd name="connsiteX1" fmla="*/ 0 w 224825"/>
                  <a:gd name="connsiteY1" fmla="*/ 0 h 262385"/>
                  <a:gd name="connsiteX2" fmla="*/ 37025 w 224825"/>
                  <a:gd name="connsiteY2" fmla="*/ 0 h 262385"/>
                  <a:gd name="connsiteX3" fmla="*/ 113385 w 224825"/>
                  <a:gd name="connsiteY3" fmla="*/ 214306 h 262385"/>
                  <a:gd name="connsiteX4" fmla="*/ 189731 w 224825"/>
                  <a:gd name="connsiteY4" fmla="*/ 0 h 262385"/>
                  <a:gd name="connsiteX5" fmla="*/ 224825 w 224825"/>
                  <a:gd name="connsiteY5" fmla="*/ 0 h 262385"/>
                  <a:gd name="connsiteX6" fmla="*/ 130742 w 224825"/>
                  <a:gd name="connsiteY6" fmla="*/ 262385 h 262385"/>
                  <a:gd name="connsiteX7" fmla="*/ 94070 w 224825"/>
                  <a:gd name="connsiteY7"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825" h="262385">
                    <a:moveTo>
                      <a:pt x="94070" y="262385"/>
                    </a:moveTo>
                    <a:lnTo>
                      <a:pt x="0" y="0"/>
                    </a:lnTo>
                    <a:lnTo>
                      <a:pt x="37025" y="0"/>
                    </a:lnTo>
                    <a:lnTo>
                      <a:pt x="113385" y="214306"/>
                    </a:lnTo>
                    <a:lnTo>
                      <a:pt x="189731" y="0"/>
                    </a:lnTo>
                    <a:lnTo>
                      <a:pt x="224825" y="0"/>
                    </a:lnTo>
                    <a:lnTo>
                      <a:pt x="130742" y="262385"/>
                    </a:lnTo>
                    <a:lnTo>
                      <a:pt x="94070" y="262385"/>
                    </a:lnTo>
                    <a:close/>
                  </a:path>
                </a:pathLst>
              </a:custGeom>
              <a:solidFill>
                <a:srgbClr val="3D434B"/>
              </a:solidFill>
              <a:ln w="1305" cap="flat">
                <a:noFill/>
                <a:prstDash val="solid"/>
                <a:miter/>
              </a:ln>
            </p:spPr>
            <p:txBody>
              <a:bodyPr rtlCol="0" anchor="ctr"/>
              <a:lstStyle/>
              <a:p>
                <a:endParaRPr lang="de-DE" dirty="0"/>
              </a:p>
            </p:txBody>
          </p:sp>
          <p:sp>
            <p:nvSpPr>
              <p:cNvPr id="95" name="Freeform: Shape 94">
                <a:extLst>
                  <a:ext uri="{FF2B5EF4-FFF2-40B4-BE49-F238E27FC236}">
                    <a16:creationId xmlns:a16="http://schemas.microsoft.com/office/drawing/2014/main" id="{B4745C55-CC1A-45B7-A836-0AC9AF2A32EA}"/>
                  </a:ext>
                </a:extLst>
              </p:cNvPr>
              <p:cNvSpPr/>
              <p:nvPr/>
            </p:nvSpPr>
            <p:spPr bwMode="gray">
              <a:xfrm>
                <a:off x="4268413" y="4483107"/>
                <a:ext cx="189731" cy="262385"/>
              </a:xfrm>
              <a:custGeom>
                <a:avLst/>
                <a:gdLst>
                  <a:gd name="connsiteX0" fmla="*/ 0 w 189731"/>
                  <a:gd name="connsiteY0" fmla="*/ 262385 h 262385"/>
                  <a:gd name="connsiteX1" fmla="*/ 0 w 189731"/>
                  <a:gd name="connsiteY1" fmla="*/ 0 h 262385"/>
                  <a:gd name="connsiteX2" fmla="*/ 187422 w 189731"/>
                  <a:gd name="connsiteY2" fmla="*/ 0 h 262385"/>
                  <a:gd name="connsiteX3" fmla="*/ 187422 w 189731"/>
                  <a:gd name="connsiteY3" fmla="*/ 30865 h 262385"/>
                  <a:gd name="connsiteX4" fmla="*/ 34715 w 189731"/>
                  <a:gd name="connsiteY4" fmla="*/ 30865 h 262385"/>
                  <a:gd name="connsiteX5" fmla="*/ 34715 w 189731"/>
                  <a:gd name="connsiteY5" fmla="*/ 113437 h 262385"/>
                  <a:gd name="connsiteX6" fmla="*/ 165836 w 189731"/>
                  <a:gd name="connsiteY6" fmla="*/ 113437 h 262385"/>
                  <a:gd name="connsiteX7" fmla="*/ 165836 w 189731"/>
                  <a:gd name="connsiteY7" fmla="*/ 144302 h 262385"/>
                  <a:gd name="connsiteX8" fmla="*/ 34715 w 189731"/>
                  <a:gd name="connsiteY8" fmla="*/ 144302 h 262385"/>
                  <a:gd name="connsiteX9" fmla="*/ 34715 w 189731"/>
                  <a:gd name="connsiteY9" fmla="*/ 231507 h 262385"/>
                  <a:gd name="connsiteX10" fmla="*/ 189732 w 189731"/>
                  <a:gd name="connsiteY10" fmla="*/ 231507 h 262385"/>
                  <a:gd name="connsiteX11" fmla="*/ 189732 w 189731"/>
                  <a:gd name="connsiteY11" fmla="*/ 262372 h 262385"/>
                  <a:gd name="connsiteX12" fmla="*/ 0 w 189731"/>
                  <a:gd name="connsiteY12" fmla="*/ 262372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731" h="262385">
                    <a:moveTo>
                      <a:pt x="0" y="262385"/>
                    </a:moveTo>
                    <a:lnTo>
                      <a:pt x="0" y="0"/>
                    </a:lnTo>
                    <a:lnTo>
                      <a:pt x="187422" y="0"/>
                    </a:lnTo>
                    <a:lnTo>
                      <a:pt x="187422" y="30865"/>
                    </a:lnTo>
                    <a:lnTo>
                      <a:pt x="34715" y="30865"/>
                    </a:lnTo>
                    <a:lnTo>
                      <a:pt x="34715" y="113437"/>
                    </a:lnTo>
                    <a:lnTo>
                      <a:pt x="165836" y="113437"/>
                    </a:lnTo>
                    <a:lnTo>
                      <a:pt x="165836" y="144302"/>
                    </a:lnTo>
                    <a:lnTo>
                      <a:pt x="34715" y="144302"/>
                    </a:lnTo>
                    <a:lnTo>
                      <a:pt x="34715" y="231507"/>
                    </a:lnTo>
                    <a:lnTo>
                      <a:pt x="189732" y="231507"/>
                    </a:lnTo>
                    <a:lnTo>
                      <a:pt x="189732" y="262372"/>
                    </a:lnTo>
                    <a:lnTo>
                      <a:pt x="0" y="262372"/>
                    </a:lnTo>
                    <a:close/>
                  </a:path>
                </a:pathLst>
              </a:custGeom>
              <a:solidFill>
                <a:srgbClr val="3D434B"/>
              </a:solidFill>
              <a:ln w="1305" cap="flat">
                <a:noFill/>
                <a:prstDash val="solid"/>
                <a:miter/>
              </a:ln>
            </p:spPr>
            <p:txBody>
              <a:bodyPr rtlCol="0" anchor="ctr"/>
              <a:lstStyle/>
              <a:p>
                <a:endParaRPr lang="de-DE" dirty="0"/>
              </a:p>
            </p:txBody>
          </p:sp>
          <p:sp>
            <p:nvSpPr>
              <p:cNvPr id="96" name="Freeform: Shape 95">
                <a:extLst>
                  <a:ext uri="{FF2B5EF4-FFF2-40B4-BE49-F238E27FC236}">
                    <a16:creationId xmlns:a16="http://schemas.microsoft.com/office/drawing/2014/main" id="{482A971D-22C8-4DBB-8D32-563764F938A1}"/>
                  </a:ext>
                </a:extLst>
              </p:cNvPr>
              <p:cNvSpPr/>
              <p:nvPr/>
            </p:nvSpPr>
            <p:spPr bwMode="gray">
              <a:xfrm>
                <a:off x="4548195" y="4483107"/>
                <a:ext cx="207062" cy="262385"/>
              </a:xfrm>
              <a:custGeom>
                <a:avLst/>
                <a:gdLst>
                  <a:gd name="connsiteX0" fmla="*/ 0 w 207062"/>
                  <a:gd name="connsiteY0" fmla="*/ 262385 h 262385"/>
                  <a:gd name="connsiteX1" fmla="*/ 0 w 207062"/>
                  <a:gd name="connsiteY1" fmla="*/ 0 h 262385"/>
                  <a:gd name="connsiteX2" fmla="*/ 102957 w 207062"/>
                  <a:gd name="connsiteY2" fmla="*/ 0 h 262385"/>
                  <a:gd name="connsiteX3" fmla="*/ 169855 w 207062"/>
                  <a:gd name="connsiteY3" fmla="*/ 18336 h 262385"/>
                  <a:gd name="connsiteX4" fmla="*/ 190867 w 207062"/>
                  <a:gd name="connsiteY4" fmla="*/ 76791 h 262385"/>
                  <a:gd name="connsiteX5" fmla="*/ 177568 w 207062"/>
                  <a:gd name="connsiteY5" fmla="*/ 126762 h 262385"/>
                  <a:gd name="connsiteX6" fmla="*/ 136106 w 207062"/>
                  <a:gd name="connsiteY6" fmla="*/ 150488 h 262385"/>
                  <a:gd name="connsiteX7" fmla="*/ 207063 w 207062"/>
                  <a:gd name="connsiteY7" fmla="*/ 262385 h 262385"/>
                  <a:gd name="connsiteX8" fmla="*/ 165797 w 207062"/>
                  <a:gd name="connsiteY8" fmla="*/ 262385 h 262385"/>
                  <a:gd name="connsiteX9" fmla="*/ 96341 w 207062"/>
                  <a:gd name="connsiteY9" fmla="*/ 153581 h 262385"/>
                  <a:gd name="connsiteX10" fmla="*/ 34689 w 207062"/>
                  <a:gd name="connsiteY10" fmla="*/ 153581 h 262385"/>
                  <a:gd name="connsiteX11" fmla="*/ 34689 w 207062"/>
                  <a:gd name="connsiteY11" fmla="*/ 262385 h 262385"/>
                  <a:gd name="connsiteX12" fmla="*/ 0 w 207062"/>
                  <a:gd name="connsiteY12" fmla="*/ 262385 h 262385"/>
                  <a:gd name="connsiteX13" fmla="*/ 34702 w 207062"/>
                  <a:gd name="connsiteY13" fmla="*/ 122703 h 262385"/>
                  <a:gd name="connsiteX14" fmla="*/ 101404 w 207062"/>
                  <a:gd name="connsiteY14" fmla="*/ 122703 h 262385"/>
                  <a:gd name="connsiteX15" fmla="*/ 143245 w 207062"/>
                  <a:gd name="connsiteY15" fmla="*/ 112289 h 262385"/>
                  <a:gd name="connsiteX16" fmla="*/ 155774 w 207062"/>
                  <a:gd name="connsiteY16" fmla="*/ 76791 h 262385"/>
                  <a:gd name="connsiteX17" fmla="*/ 143245 w 207062"/>
                  <a:gd name="connsiteY17" fmla="*/ 41293 h 262385"/>
                  <a:gd name="connsiteX18" fmla="*/ 101404 w 207062"/>
                  <a:gd name="connsiteY18" fmla="*/ 30878 h 262385"/>
                  <a:gd name="connsiteX19" fmla="*/ 34702 w 207062"/>
                  <a:gd name="connsiteY19" fmla="*/ 30878 h 262385"/>
                  <a:gd name="connsiteX20" fmla="*/ 34702 w 207062"/>
                  <a:gd name="connsiteY20" fmla="*/ 122703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7062" h="262385">
                    <a:moveTo>
                      <a:pt x="0" y="262385"/>
                    </a:moveTo>
                    <a:lnTo>
                      <a:pt x="0" y="0"/>
                    </a:lnTo>
                    <a:lnTo>
                      <a:pt x="102957" y="0"/>
                    </a:lnTo>
                    <a:cubicBezTo>
                      <a:pt x="133548" y="0"/>
                      <a:pt x="155839" y="6108"/>
                      <a:pt x="169855" y="18336"/>
                    </a:cubicBezTo>
                    <a:cubicBezTo>
                      <a:pt x="183872" y="30565"/>
                      <a:pt x="190867" y="50037"/>
                      <a:pt x="190867" y="76791"/>
                    </a:cubicBezTo>
                    <a:cubicBezTo>
                      <a:pt x="190867" y="98141"/>
                      <a:pt x="186430" y="114794"/>
                      <a:pt x="177568" y="126762"/>
                    </a:cubicBezTo>
                    <a:cubicBezTo>
                      <a:pt x="168707" y="138716"/>
                      <a:pt x="154886" y="146625"/>
                      <a:pt x="136106" y="150488"/>
                    </a:cubicBezTo>
                    <a:lnTo>
                      <a:pt x="207063" y="262385"/>
                    </a:lnTo>
                    <a:lnTo>
                      <a:pt x="165797" y="262385"/>
                    </a:lnTo>
                    <a:lnTo>
                      <a:pt x="96341" y="153581"/>
                    </a:lnTo>
                    <a:lnTo>
                      <a:pt x="34689" y="153581"/>
                    </a:lnTo>
                    <a:lnTo>
                      <a:pt x="34689" y="262385"/>
                    </a:lnTo>
                    <a:lnTo>
                      <a:pt x="0" y="262385"/>
                    </a:lnTo>
                    <a:close/>
                    <a:moveTo>
                      <a:pt x="34702" y="122703"/>
                    </a:moveTo>
                    <a:lnTo>
                      <a:pt x="101404" y="122703"/>
                    </a:lnTo>
                    <a:cubicBezTo>
                      <a:pt x="120941" y="122703"/>
                      <a:pt x="134893" y="119232"/>
                      <a:pt x="143245" y="112289"/>
                    </a:cubicBezTo>
                    <a:cubicBezTo>
                      <a:pt x="151597" y="105346"/>
                      <a:pt x="155774" y="93509"/>
                      <a:pt x="155774" y="76791"/>
                    </a:cubicBezTo>
                    <a:cubicBezTo>
                      <a:pt x="155774" y="60073"/>
                      <a:pt x="151584" y="48235"/>
                      <a:pt x="143245" y="41293"/>
                    </a:cubicBezTo>
                    <a:cubicBezTo>
                      <a:pt x="134893" y="34350"/>
                      <a:pt x="120928" y="30878"/>
                      <a:pt x="101404" y="30878"/>
                    </a:cubicBezTo>
                    <a:lnTo>
                      <a:pt x="34702" y="30878"/>
                    </a:lnTo>
                    <a:lnTo>
                      <a:pt x="34702" y="122703"/>
                    </a:lnTo>
                    <a:close/>
                  </a:path>
                </a:pathLst>
              </a:custGeom>
              <a:solidFill>
                <a:srgbClr val="3D434B"/>
              </a:solidFill>
              <a:ln w="1305" cap="flat">
                <a:noFill/>
                <a:prstDash val="solid"/>
                <a:miter/>
              </a:ln>
            </p:spPr>
            <p:txBody>
              <a:bodyPr rtlCol="0" anchor="ctr"/>
              <a:lstStyle/>
              <a:p>
                <a:endParaRPr lang="de-DE" dirty="0"/>
              </a:p>
            </p:txBody>
          </p:sp>
          <p:sp>
            <p:nvSpPr>
              <p:cNvPr id="97" name="Freeform: Shape 96">
                <a:extLst>
                  <a:ext uri="{FF2B5EF4-FFF2-40B4-BE49-F238E27FC236}">
                    <a16:creationId xmlns:a16="http://schemas.microsoft.com/office/drawing/2014/main" id="{50A91CD3-FA9F-44B4-B630-62276145DFB9}"/>
                  </a:ext>
                </a:extLst>
              </p:cNvPr>
              <p:cNvSpPr/>
              <p:nvPr/>
            </p:nvSpPr>
            <p:spPr bwMode="gray">
              <a:xfrm>
                <a:off x="4828186" y="4478487"/>
                <a:ext cx="184341" cy="271638"/>
              </a:xfrm>
              <a:custGeom>
                <a:avLst/>
                <a:gdLst>
                  <a:gd name="connsiteX0" fmla="*/ 87544 w 184341"/>
                  <a:gd name="connsiteY0" fmla="*/ 271638 h 271638"/>
                  <a:gd name="connsiteX1" fmla="*/ 0 w 184341"/>
                  <a:gd name="connsiteY1" fmla="*/ 249256 h 271638"/>
                  <a:gd name="connsiteX2" fmla="*/ 0 w 184341"/>
                  <a:gd name="connsiteY2" fmla="*/ 213758 h 271638"/>
                  <a:gd name="connsiteX3" fmla="*/ 88301 w 184341"/>
                  <a:gd name="connsiteY3" fmla="*/ 240773 h 271638"/>
                  <a:gd name="connsiteX4" fmla="*/ 149627 w 184341"/>
                  <a:gd name="connsiteY4" fmla="*/ 195239 h 271638"/>
                  <a:gd name="connsiteX5" fmla="*/ 138625 w 184341"/>
                  <a:gd name="connsiteY5" fmla="*/ 168942 h 271638"/>
                  <a:gd name="connsiteX6" fmla="*/ 97515 w 184341"/>
                  <a:gd name="connsiteY6" fmla="*/ 153007 h 271638"/>
                  <a:gd name="connsiteX7" fmla="*/ 68634 w 184341"/>
                  <a:gd name="connsiteY7" fmla="*/ 146234 h 271638"/>
                  <a:gd name="connsiteX8" fmla="*/ 18506 w 184341"/>
                  <a:gd name="connsiteY8" fmla="*/ 121346 h 271638"/>
                  <a:gd name="connsiteX9" fmla="*/ 3850 w 184341"/>
                  <a:gd name="connsiteY9" fmla="*/ 76778 h 271638"/>
                  <a:gd name="connsiteX10" fmla="*/ 96406 w 184341"/>
                  <a:gd name="connsiteY10" fmla="*/ 0 h 271638"/>
                  <a:gd name="connsiteX11" fmla="*/ 170064 w 184341"/>
                  <a:gd name="connsiteY11" fmla="*/ 16209 h 271638"/>
                  <a:gd name="connsiteX12" fmla="*/ 170064 w 184341"/>
                  <a:gd name="connsiteY12" fmla="*/ 51329 h 271638"/>
                  <a:gd name="connsiteX13" fmla="*/ 97567 w 184341"/>
                  <a:gd name="connsiteY13" fmla="*/ 30878 h 271638"/>
                  <a:gd name="connsiteX14" fmla="*/ 38565 w 184341"/>
                  <a:gd name="connsiteY14" fmla="*/ 74481 h 271638"/>
                  <a:gd name="connsiteX15" fmla="*/ 48784 w 184341"/>
                  <a:gd name="connsiteY15" fmla="*/ 99499 h 271638"/>
                  <a:gd name="connsiteX16" fmla="*/ 86017 w 184341"/>
                  <a:gd name="connsiteY16" fmla="*/ 114520 h 271638"/>
                  <a:gd name="connsiteX17" fmla="*/ 115708 w 184341"/>
                  <a:gd name="connsiteY17" fmla="*/ 121085 h 271638"/>
                  <a:gd name="connsiteX18" fmla="*/ 168524 w 184341"/>
                  <a:gd name="connsiteY18" fmla="*/ 146978 h 271638"/>
                  <a:gd name="connsiteX19" fmla="*/ 184342 w 184341"/>
                  <a:gd name="connsiteY19" fmla="*/ 194104 h 271638"/>
                  <a:gd name="connsiteX20" fmla="*/ 87544 w 184341"/>
                  <a:gd name="connsiteY20" fmla="*/ 271638 h 27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4341" h="271638">
                    <a:moveTo>
                      <a:pt x="87544" y="271638"/>
                    </a:moveTo>
                    <a:cubicBezTo>
                      <a:pt x="48209" y="271638"/>
                      <a:pt x="19028" y="264173"/>
                      <a:pt x="0" y="249256"/>
                    </a:cubicBezTo>
                    <a:lnTo>
                      <a:pt x="0" y="213758"/>
                    </a:lnTo>
                    <a:cubicBezTo>
                      <a:pt x="24157" y="231768"/>
                      <a:pt x="53612" y="240773"/>
                      <a:pt x="88301" y="240773"/>
                    </a:cubicBezTo>
                    <a:cubicBezTo>
                      <a:pt x="129189" y="240773"/>
                      <a:pt x="149627" y="225595"/>
                      <a:pt x="149627" y="195239"/>
                    </a:cubicBezTo>
                    <a:cubicBezTo>
                      <a:pt x="149627" y="183715"/>
                      <a:pt x="145946" y="174958"/>
                      <a:pt x="138625" y="168942"/>
                    </a:cubicBezTo>
                    <a:cubicBezTo>
                      <a:pt x="131290" y="162926"/>
                      <a:pt x="117587" y="157614"/>
                      <a:pt x="97515" y="153007"/>
                    </a:cubicBezTo>
                    <a:lnTo>
                      <a:pt x="68634" y="146234"/>
                    </a:lnTo>
                    <a:cubicBezTo>
                      <a:pt x="44986" y="140831"/>
                      <a:pt x="28268" y="132530"/>
                      <a:pt x="18506" y="121346"/>
                    </a:cubicBezTo>
                    <a:cubicBezTo>
                      <a:pt x="8731" y="110161"/>
                      <a:pt x="3850" y="95310"/>
                      <a:pt x="3850" y="76778"/>
                    </a:cubicBezTo>
                    <a:cubicBezTo>
                      <a:pt x="3850" y="25593"/>
                      <a:pt x="34702" y="0"/>
                      <a:pt x="96406" y="0"/>
                    </a:cubicBezTo>
                    <a:cubicBezTo>
                      <a:pt x="130338" y="0"/>
                      <a:pt x="154886" y="5403"/>
                      <a:pt x="170064" y="16209"/>
                    </a:cubicBezTo>
                    <a:lnTo>
                      <a:pt x="170064" y="51329"/>
                    </a:lnTo>
                    <a:cubicBezTo>
                      <a:pt x="150775" y="37691"/>
                      <a:pt x="126618" y="30878"/>
                      <a:pt x="97567" y="30878"/>
                    </a:cubicBezTo>
                    <a:cubicBezTo>
                      <a:pt x="58232" y="30878"/>
                      <a:pt x="38565" y="45417"/>
                      <a:pt x="38565" y="74481"/>
                    </a:cubicBezTo>
                    <a:cubicBezTo>
                      <a:pt x="38565" y="85013"/>
                      <a:pt x="41958" y="93339"/>
                      <a:pt x="48784" y="99499"/>
                    </a:cubicBezTo>
                    <a:cubicBezTo>
                      <a:pt x="55596" y="105659"/>
                      <a:pt x="68007" y="110670"/>
                      <a:pt x="86017" y="114520"/>
                    </a:cubicBezTo>
                    <a:lnTo>
                      <a:pt x="115708" y="121085"/>
                    </a:lnTo>
                    <a:cubicBezTo>
                      <a:pt x="140374" y="126501"/>
                      <a:pt x="157992" y="135127"/>
                      <a:pt x="168524" y="146978"/>
                    </a:cubicBezTo>
                    <a:cubicBezTo>
                      <a:pt x="179069" y="158828"/>
                      <a:pt x="184342" y="174541"/>
                      <a:pt x="184342" y="194104"/>
                    </a:cubicBezTo>
                    <a:cubicBezTo>
                      <a:pt x="184342" y="245785"/>
                      <a:pt x="152067" y="271638"/>
                      <a:pt x="87544" y="271638"/>
                    </a:cubicBezTo>
                    <a:close/>
                  </a:path>
                </a:pathLst>
              </a:custGeom>
              <a:solidFill>
                <a:srgbClr val="3D434B"/>
              </a:solidFill>
              <a:ln w="1305" cap="flat">
                <a:noFill/>
                <a:prstDash val="solid"/>
                <a:miter/>
              </a:ln>
            </p:spPr>
            <p:txBody>
              <a:bodyPr rtlCol="0" anchor="ctr"/>
              <a:lstStyle/>
              <a:p>
                <a:endParaRPr lang="de-DE" dirty="0"/>
              </a:p>
            </p:txBody>
          </p:sp>
          <p:sp>
            <p:nvSpPr>
              <p:cNvPr id="98" name="Freeform: Shape 97">
                <a:extLst>
                  <a:ext uri="{FF2B5EF4-FFF2-40B4-BE49-F238E27FC236}">
                    <a16:creationId xmlns:a16="http://schemas.microsoft.com/office/drawing/2014/main" id="{86227CE5-0FD1-4A31-A261-ACCDA859D011}"/>
                  </a:ext>
                </a:extLst>
              </p:cNvPr>
              <p:cNvSpPr/>
              <p:nvPr/>
            </p:nvSpPr>
            <p:spPr bwMode="gray">
              <a:xfrm>
                <a:off x="5103334" y="4483107"/>
                <a:ext cx="34702" cy="262385"/>
              </a:xfrm>
              <a:custGeom>
                <a:avLst/>
                <a:gdLst>
                  <a:gd name="connsiteX0" fmla="*/ 0 w 34702"/>
                  <a:gd name="connsiteY0" fmla="*/ 262385 h 262385"/>
                  <a:gd name="connsiteX1" fmla="*/ 0 w 34702"/>
                  <a:gd name="connsiteY1" fmla="*/ 0 h 262385"/>
                  <a:gd name="connsiteX2" fmla="*/ 34702 w 34702"/>
                  <a:gd name="connsiteY2" fmla="*/ 0 h 262385"/>
                  <a:gd name="connsiteX3" fmla="*/ 34702 w 34702"/>
                  <a:gd name="connsiteY3" fmla="*/ 262385 h 262385"/>
                  <a:gd name="connsiteX4" fmla="*/ 0 w 34702"/>
                  <a:gd name="connsiteY4" fmla="*/ 262385 h 262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2" h="262385">
                    <a:moveTo>
                      <a:pt x="0" y="262385"/>
                    </a:moveTo>
                    <a:lnTo>
                      <a:pt x="0" y="0"/>
                    </a:lnTo>
                    <a:lnTo>
                      <a:pt x="34702" y="0"/>
                    </a:lnTo>
                    <a:lnTo>
                      <a:pt x="34702" y="262385"/>
                    </a:lnTo>
                    <a:lnTo>
                      <a:pt x="0" y="262385"/>
                    </a:lnTo>
                    <a:close/>
                  </a:path>
                </a:pathLst>
              </a:custGeom>
              <a:solidFill>
                <a:srgbClr val="3D434B"/>
              </a:solidFill>
              <a:ln w="1305" cap="flat">
                <a:noFill/>
                <a:prstDash val="solid"/>
                <a:miter/>
              </a:ln>
            </p:spPr>
            <p:txBody>
              <a:bodyPr rtlCol="0" anchor="ctr"/>
              <a:lstStyle/>
              <a:p>
                <a:endParaRPr lang="de-DE" dirty="0"/>
              </a:p>
            </p:txBody>
          </p:sp>
          <p:sp>
            <p:nvSpPr>
              <p:cNvPr id="99" name="Freeform: Shape 98">
                <a:extLst>
                  <a:ext uri="{FF2B5EF4-FFF2-40B4-BE49-F238E27FC236}">
                    <a16:creationId xmlns:a16="http://schemas.microsoft.com/office/drawing/2014/main" id="{8AF690C9-4971-4EE4-9479-85D7D26A3806}"/>
                  </a:ext>
                </a:extLst>
              </p:cNvPr>
              <p:cNvSpPr/>
              <p:nvPr/>
            </p:nvSpPr>
            <p:spPr bwMode="gray">
              <a:xfrm>
                <a:off x="5222174" y="4483107"/>
                <a:ext cx="202834" cy="262385"/>
              </a:xfrm>
              <a:custGeom>
                <a:avLst/>
                <a:gdLst>
                  <a:gd name="connsiteX0" fmla="*/ 84060 w 202834"/>
                  <a:gd name="connsiteY0" fmla="*/ 262385 h 262385"/>
                  <a:gd name="connsiteX1" fmla="*/ 84060 w 202834"/>
                  <a:gd name="connsiteY1" fmla="*/ 31256 h 262385"/>
                  <a:gd name="connsiteX2" fmla="*/ 0 w 202834"/>
                  <a:gd name="connsiteY2" fmla="*/ 31256 h 262385"/>
                  <a:gd name="connsiteX3" fmla="*/ 0 w 202834"/>
                  <a:gd name="connsiteY3" fmla="*/ 0 h 262385"/>
                  <a:gd name="connsiteX4" fmla="*/ 202834 w 202834"/>
                  <a:gd name="connsiteY4" fmla="*/ 0 h 262385"/>
                  <a:gd name="connsiteX5" fmla="*/ 202834 w 202834"/>
                  <a:gd name="connsiteY5" fmla="*/ 31256 h 262385"/>
                  <a:gd name="connsiteX6" fmla="*/ 118762 w 202834"/>
                  <a:gd name="connsiteY6" fmla="*/ 31256 h 262385"/>
                  <a:gd name="connsiteX7" fmla="*/ 118762 w 202834"/>
                  <a:gd name="connsiteY7" fmla="*/ 262385 h 262385"/>
                  <a:gd name="connsiteX8" fmla="*/ 84060 w 202834"/>
                  <a:gd name="connsiteY8"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834" h="262385">
                    <a:moveTo>
                      <a:pt x="84060" y="262385"/>
                    </a:moveTo>
                    <a:lnTo>
                      <a:pt x="84060" y="31256"/>
                    </a:lnTo>
                    <a:lnTo>
                      <a:pt x="0" y="31256"/>
                    </a:lnTo>
                    <a:lnTo>
                      <a:pt x="0" y="0"/>
                    </a:lnTo>
                    <a:lnTo>
                      <a:pt x="202834" y="0"/>
                    </a:lnTo>
                    <a:lnTo>
                      <a:pt x="202834" y="31256"/>
                    </a:lnTo>
                    <a:lnTo>
                      <a:pt x="118762" y="31256"/>
                    </a:lnTo>
                    <a:lnTo>
                      <a:pt x="118762" y="262385"/>
                    </a:lnTo>
                    <a:lnTo>
                      <a:pt x="84060" y="262385"/>
                    </a:lnTo>
                    <a:close/>
                  </a:path>
                </a:pathLst>
              </a:custGeom>
              <a:solidFill>
                <a:srgbClr val="3D434B"/>
              </a:solidFill>
              <a:ln w="1305" cap="flat">
                <a:noFill/>
                <a:prstDash val="solid"/>
                <a:miter/>
              </a:ln>
            </p:spPr>
            <p:txBody>
              <a:bodyPr rtlCol="0" anchor="ctr"/>
              <a:lstStyle/>
              <a:p>
                <a:endParaRPr lang="de-DE" dirty="0"/>
              </a:p>
            </p:txBody>
          </p:sp>
          <p:sp>
            <p:nvSpPr>
              <p:cNvPr id="100" name="Freeform: Shape 99">
                <a:extLst>
                  <a:ext uri="{FF2B5EF4-FFF2-40B4-BE49-F238E27FC236}">
                    <a16:creationId xmlns:a16="http://schemas.microsoft.com/office/drawing/2014/main" id="{B57476AA-0A6A-4EA2-B0E4-556DD970CD46}"/>
                  </a:ext>
                </a:extLst>
              </p:cNvPr>
              <p:cNvSpPr/>
              <p:nvPr/>
            </p:nvSpPr>
            <p:spPr bwMode="gray">
              <a:xfrm>
                <a:off x="5488644" y="4483107"/>
                <a:ext cx="225582" cy="262385"/>
              </a:xfrm>
              <a:custGeom>
                <a:avLst/>
                <a:gdLst>
                  <a:gd name="connsiteX0" fmla="*/ 95636 w 225582"/>
                  <a:gd name="connsiteY0" fmla="*/ 262385 h 262385"/>
                  <a:gd name="connsiteX1" fmla="*/ 95636 w 225582"/>
                  <a:gd name="connsiteY1" fmla="*/ 152420 h 262385"/>
                  <a:gd name="connsiteX2" fmla="*/ 0 w 225582"/>
                  <a:gd name="connsiteY2" fmla="*/ 0 h 262385"/>
                  <a:gd name="connsiteX3" fmla="*/ 40875 w 225582"/>
                  <a:gd name="connsiteY3" fmla="*/ 0 h 262385"/>
                  <a:gd name="connsiteX4" fmla="*/ 114142 w 225582"/>
                  <a:gd name="connsiteY4" fmla="*/ 117496 h 262385"/>
                  <a:gd name="connsiteX5" fmla="*/ 187030 w 225582"/>
                  <a:gd name="connsiteY5" fmla="*/ 0 h 262385"/>
                  <a:gd name="connsiteX6" fmla="*/ 225582 w 225582"/>
                  <a:gd name="connsiteY6" fmla="*/ 0 h 262385"/>
                  <a:gd name="connsiteX7" fmla="*/ 130338 w 225582"/>
                  <a:gd name="connsiteY7" fmla="*/ 151650 h 262385"/>
                  <a:gd name="connsiteX8" fmla="*/ 130338 w 225582"/>
                  <a:gd name="connsiteY8" fmla="*/ 262385 h 262385"/>
                  <a:gd name="connsiteX9" fmla="*/ 95636 w 225582"/>
                  <a:gd name="connsiteY9"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582" h="262385">
                    <a:moveTo>
                      <a:pt x="95636" y="262385"/>
                    </a:moveTo>
                    <a:lnTo>
                      <a:pt x="95636" y="152420"/>
                    </a:lnTo>
                    <a:lnTo>
                      <a:pt x="0" y="0"/>
                    </a:lnTo>
                    <a:lnTo>
                      <a:pt x="40875" y="0"/>
                    </a:lnTo>
                    <a:lnTo>
                      <a:pt x="114142" y="117496"/>
                    </a:lnTo>
                    <a:lnTo>
                      <a:pt x="187030" y="0"/>
                    </a:lnTo>
                    <a:lnTo>
                      <a:pt x="225582" y="0"/>
                    </a:lnTo>
                    <a:lnTo>
                      <a:pt x="130338" y="151650"/>
                    </a:lnTo>
                    <a:lnTo>
                      <a:pt x="130338" y="262385"/>
                    </a:lnTo>
                    <a:lnTo>
                      <a:pt x="95636" y="262385"/>
                    </a:lnTo>
                    <a:close/>
                  </a:path>
                </a:pathLst>
              </a:custGeom>
              <a:solidFill>
                <a:srgbClr val="3D434B"/>
              </a:solidFill>
              <a:ln w="1305" cap="flat">
                <a:noFill/>
                <a:prstDash val="solid"/>
                <a:miter/>
              </a:ln>
            </p:spPr>
            <p:txBody>
              <a:bodyPr rtlCol="0" anchor="ctr"/>
              <a:lstStyle/>
              <a:p>
                <a:endParaRPr lang="de-DE" dirty="0"/>
              </a:p>
            </p:txBody>
          </p:sp>
          <p:sp>
            <p:nvSpPr>
              <p:cNvPr id="101" name="Freeform: Shape 100">
                <a:extLst>
                  <a:ext uri="{FF2B5EF4-FFF2-40B4-BE49-F238E27FC236}">
                    <a16:creationId xmlns:a16="http://schemas.microsoft.com/office/drawing/2014/main" id="{2A7CE009-344E-4E1F-8BB5-EDEEDBCDED94}"/>
                  </a:ext>
                </a:extLst>
              </p:cNvPr>
              <p:cNvSpPr/>
              <p:nvPr/>
            </p:nvSpPr>
            <p:spPr bwMode="gray">
              <a:xfrm>
                <a:off x="5917452" y="4478474"/>
                <a:ext cx="229836" cy="271651"/>
              </a:xfrm>
              <a:custGeom>
                <a:avLst/>
                <a:gdLst>
                  <a:gd name="connsiteX0" fmla="*/ 201686 w 229836"/>
                  <a:gd name="connsiteY0" fmla="*/ 238267 h 271651"/>
                  <a:gd name="connsiteX1" fmla="*/ 114912 w 229836"/>
                  <a:gd name="connsiteY1" fmla="*/ 271651 h 271651"/>
                  <a:gd name="connsiteX2" fmla="*/ 28150 w 229836"/>
                  <a:gd name="connsiteY2" fmla="*/ 238267 h 271651"/>
                  <a:gd name="connsiteX3" fmla="*/ 0 w 229836"/>
                  <a:gd name="connsiteY3" fmla="*/ 135819 h 271651"/>
                  <a:gd name="connsiteX4" fmla="*/ 28150 w 229836"/>
                  <a:gd name="connsiteY4" fmla="*/ 33371 h 271651"/>
                  <a:gd name="connsiteX5" fmla="*/ 114912 w 229836"/>
                  <a:gd name="connsiteY5" fmla="*/ 0 h 271651"/>
                  <a:gd name="connsiteX6" fmla="*/ 201686 w 229836"/>
                  <a:gd name="connsiteY6" fmla="*/ 33371 h 271651"/>
                  <a:gd name="connsiteX7" fmla="*/ 229836 w 229836"/>
                  <a:gd name="connsiteY7" fmla="*/ 135819 h 271651"/>
                  <a:gd name="connsiteX8" fmla="*/ 201686 w 229836"/>
                  <a:gd name="connsiteY8" fmla="*/ 238267 h 271651"/>
                  <a:gd name="connsiteX9" fmla="*/ 54578 w 229836"/>
                  <a:gd name="connsiteY9" fmla="*/ 215507 h 271651"/>
                  <a:gd name="connsiteX10" fmla="*/ 114925 w 229836"/>
                  <a:gd name="connsiteY10" fmla="*/ 240786 h 271651"/>
                  <a:gd name="connsiteX11" fmla="*/ 175285 w 229836"/>
                  <a:gd name="connsiteY11" fmla="*/ 215507 h 271651"/>
                  <a:gd name="connsiteX12" fmla="*/ 194365 w 229836"/>
                  <a:gd name="connsiteY12" fmla="*/ 135819 h 271651"/>
                  <a:gd name="connsiteX13" fmla="*/ 175285 w 229836"/>
                  <a:gd name="connsiteY13" fmla="*/ 56131 h 271651"/>
                  <a:gd name="connsiteX14" fmla="*/ 114925 w 229836"/>
                  <a:gd name="connsiteY14" fmla="*/ 30865 h 271651"/>
                  <a:gd name="connsiteX15" fmla="*/ 54578 w 229836"/>
                  <a:gd name="connsiteY15" fmla="*/ 56131 h 271651"/>
                  <a:gd name="connsiteX16" fmla="*/ 35498 w 229836"/>
                  <a:gd name="connsiteY16" fmla="*/ 135819 h 271651"/>
                  <a:gd name="connsiteX17" fmla="*/ 54578 w 229836"/>
                  <a:gd name="connsiteY17" fmla="*/ 215507 h 27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836" h="271651">
                    <a:moveTo>
                      <a:pt x="201686" y="238267"/>
                    </a:moveTo>
                    <a:cubicBezTo>
                      <a:pt x="182919" y="260519"/>
                      <a:pt x="153999" y="271651"/>
                      <a:pt x="114912" y="271651"/>
                    </a:cubicBezTo>
                    <a:cubicBezTo>
                      <a:pt x="75838" y="271651"/>
                      <a:pt x="46918" y="260519"/>
                      <a:pt x="28150" y="238267"/>
                    </a:cubicBezTo>
                    <a:cubicBezTo>
                      <a:pt x="9383" y="216029"/>
                      <a:pt x="0" y="181875"/>
                      <a:pt x="0" y="135819"/>
                    </a:cubicBezTo>
                    <a:cubicBezTo>
                      <a:pt x="0" y="89776"/>
                      <a:pt x="9383" y="55622"/>
                      <a:pt x="28150" y="33371"/>
                    </a:cubicBezTo>
                    <a:cubicBezTo>
                      <a:pt x="46904" y="11119"/>
                      <a:pt x="75838" y="0"/>
                      <a:pt x="114912" y="0"/>
                    </a:cubicBezTo>
                    <a:cubicBezTo>
                      <a:pt x="153999" y="0"/>
                      <a:pt x="182906" y="11119"/>
                      <a:pt x="201686" y="33371"/>
                    </a:cubicBezTo>
                    <a:cubicBezTo>
                      <a:pt x="220453" y="55622"/>
                      <a:pt x="229836" y="89776"/>
                      <a:pt x="229836" y="135819"/>
                    </a:cubicBezTo>
                    <a:cubicBezTo>
                      <a:pt x="229850" y="181875"/>
                      <a:pt x="220466" y="216029"/>
                      <a:pt x="201686" y="238267"/>
                    </a:cubicBezTo>
                    <a:close/>
                    <a:moveTo>
                      <a:pt x="54578" y="215507"/>
                    </a:moveTo>
                    <a:cubicBezTo>
                      <a:pt x="67302" y="232355"/>
                      <a:pt x="87414" y="240786"/>
                      <a:pt x="114925" y="240786"/>
                    </a:cubicBezTo>
                    <a:cubicBezTo>
                      <a:pt x="142436" y="240786"/>
                      <a:pt x="162560" y="232368"/>
                      <a:pt x="175285" y="215507"/>
                    </a:cubicBezTo>
                    <a:cubicBezTo>
                      <a:pt x="188009" y="198659"/>
                      <a:pt x="194365" y="172100"/>
                      <a:pt x="194365" y="135819"/>
                    </a:cubicBezTo>
                    <a:cubicBezTo>
                      <a:pt x="194365" y="99551"/>
                      <a:pt x="188009" y="72993"/>
                      <a:pt x="175285" y="56131"/>
                    </a:cubicBezTo>
                    <a:cubicBezTo>
                      <a:pt x="162560" y="39283"/>
                      <a:pt x="142436" y="30865"/>
                      <a:pt x="114925" y="30865"/>
                    </a:cubicBezTo>
                    <a:cubicBezTo>
                      <a:pt x="87414" y="30865"/>
                      <a:pt x="67302" y="39283"/>
                      <a:pt x="54578" y="56131"/>
                    </a:cubicBezTo>
                    <a:cubicBezTo>
                      <a:pt x="41853" y="72980"/>
                      <a:pt x="35498" y="99551"/>
                      <a:pt x="35498" y="135819"/>
                    </a:cubicBezTo>
                    <a:cubicBezTo>
                      <a:pt x="35498" y="172100"/>
                      <a:pt x="41853" y="198659"/>
                      <a:pt x="54578" y="215507"/>
                    </a:cubicBezTo>
                    <a:close/>
                  </a:path>
                </a:pathLst>
              </a:custGeom>
              <a:solidFill>
                <a:srgbClr val="3D434B"/>
              </a:solidFill>
              <a:ln w="1305" cap="flat">
                <a:noFill/>
                <a:prstDash val="solid"/>
                <a:miter/>
              </a:ln>
            </p:spPr>
            <p:txBody>
              <a:bodyPr rtlCol="0" anchor="ctr"/>
              <a:lstStyle/>
              <a:p>
                <a:endParaRPr lang="de-DE" dirty="0"/>
              </a:p>
            </p:txBody>
          </p:sp>
          <p:sp>
            <p:nvSpPr>
              <p:cNvPr id="102" name="Freeform: Shape 101">
                <a:extLst>
                  <a:ext uri="{FF2B5EF4-FFF2-40B4-BE49-F238E27FC236}">
                    <a16:creationId xmlns:a16="http://schemas.microsoft.com/office/drawing/2014/main" id="{BC53422C-68B6-4215-A122-0132E9DA73AA}"/>
                  </a:ext>
                </a:extLst>
              </p:cNvPr>
              <p:cNvSpPr/>
              <p:nvPr/>
            </p:nvSpPr>
            <p:spPr bwMode="gray">
              <a:xfrm>
                <a:off x="6244399" y="4483107"/>
                <a:ext cx="174305" cy="262385"/>
              </a:xfrm>
              <a:custGeom>
                <a:avLst/>
                <a:gdLst>
                  <a:gd name="connsiteX0" fmla="*/ 0 w 174305"/>
                  <a:gd name="connsiteY0" fmla="*/ 262385 h 262385"/>
                  <a:gd name="connsiteX1" fmla="*/ 0 w 174305"/>
                  <a:gd name="connsiteY1" fmla="*/ 0 h 262385"/>
                  <a:gd name="connsiteX2" fmla="*/ 174306 w 174305"/>
                  <a:gd name="connsiteY2" fmla="*/ 0 h 262385"/>
                  <a:gd name="connsiteX3" fmla="*/ 174306 w 174305"/>
                  <a:gd name="connsiteY3" fmla="*/ 30865 h 262385"/>
                  <a:gd name="connsiteX4" fmla="*/ 34702 w 174305"/>
                  <a:gd name="connsiteY4" fmla="*/ 30865 h 262385"/>
                  <a:gd name="connsiteX5" fmla="*/ 34702 w 174305"/>
                  <a:gd name="connsiteY5" fmla="*/ 114599 h 262385"/>
                  <a:gd name="connsiteX6" fmla="*/ 159636 w 174305"/>
                  <a:gd name="connsiteY6" fmla="*/ 114599 h 262385"/>
                  <a:gd name="connsiteX7" fmla="*/ 159636 w 174305"/>
                  <a:gd name="connsiteY7" fmla="*/ 145463 h 262385"/>
                  <a:gd name="connsiteX8" fmla="*/ 34702 w 174305"/>
                  <a:gd name="connsiteY8" fmla="*/ 145463 h 262385"/>
                  <a:gd name="connsiteX9" fmla="*/ 34702 w 174305"/>
                  <a:gd name="connsiteY9" fmla="*/ 262372 h 262385"/>
                  <a:gd name="connsiteX10" fmla="*/ 0 w 174305"/>
                  <a:gd name="connsiteY10" fmla="*/ 262372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5" h="262385">
                    <a:moveTo>
                      <a:pt x="0" y="262385"/>
                    </a:moveTo>
                    <a:lnTo>
                      <a:pt x="0" y="0"/>
                    </a:lnTo>
                    <a:lnTo>
                      <a:pt x="174306" y="0"/>
                    </a:lnTo>
                    <a:lnTo>
                      <a:pt x="174306" y="30865"/>
                    </a:lnTo>
                    <a:lnTo>
                      <a:pt x="34702" y="30865"/>
                    </a:lnTo>
                    <a:lnTo>
                      <a:pt x="34702" y="114599"/>
                    </a:lnTo>
                    <a:lnTo>
                      <a:pt x="159636" y="114599"/>
                    </a:lnTo>
                    <a:lnTo>
                      <a:pt x="159636" y="145463"/>
                    </a:lnTo>
                    <a:lnTo>
                      <a:pt x="34702" y="145463"/>
                    </a:lnTo>
                    <a:lnTo>
                      <a:pt x="34702" y="262372"/>
                    </a:lnTo>
                    <a:lnTo>
                      <a:pt x="0" y="262372"/>
                    </a:lnTo>
                    <a:close/>
                  </a:path>
                </a:pathLst>
              </a:custGeom>
              <a:solidFill>
                <a:srgbClr val="3D434B"/>
              </a:solidFill>
              <a:ln w="1305" cap="flat">
                <a:noFill/>
                <a:prstDash val="solid"/>
                <a:miter/>
              </a:ln>
            </p:spPr>
            <p:txBody>
              <a:bodyPr rtlCol="0" anchor="ctr"/>
              <a:lstStyle/>
              <a:p>
                <a:endParaRPr lang="de-DE" dirty="0"/>
              </a:p>
            </p:txBody>
          </p:sp>
          <p:sp>
            <p:nvSpPr>
              <p:cNvPr id="103" name="Freeform: Shape 102">
                <a:extLst>
                  <a:ext uri="{FF2B5EF4-FFF2-40B4-BE49-F238E27FC236}">
                    <a16:creationId xmlns:a16="http://schemas.microsoft.com/office/drawing/2014/main" id="{69EFD30C-5DEA-468B-93C9-53C153A0C64B}"/>
                  </a:ext>
                </a:extLst>
              </p:cNvPr>
              <p:cNvSpPr/>
              <p:nvPr/>
            </p:nvSpPr>
            <p:spPr bwMode="gray">
              <a:xfrm>
                <a:off x="6618446" y="4483107"/>
                <a:ext cx="243344" cy="262385"/>
              </a:xfrm>
              <a:custGeom>
                <a:avLst/>
                <a:gdLst>
                  <a:gd name="connsiteX0" fmla="*/ 0 w 243344"/>
                  <a:gd name="connsiteY0" fmla="*/ 262385 h 262385"/>
                  <a:gd name="connsiteX1" fmla="*/ 103741 w 243344"/>
                  <a:gd name="connsiteY1" fmla="*/ 0 h 262385"/>
                  <a:gd name="connsiteX2" fmla="*/ 139604 w 243344"/>
                  <a:gd name="connsiteY2" fmla="*/ 0 h 262385"/>
                  <a:gd name="connsiteX3" fmla="*/ 243344 w 243344"/>
                  <a:gd name="connsiteY3" fmla="*/ 262385 h 262385"/>
                  <a:gd name="connsiteX4" fmla="*/ 206320 w 243344"/>
                  <a:gd name="connsiteY4" fmla="*/ 262385 h 262385"/>
                  <a:gd name="connsiteX5" fmla="*/ 181562 w 243344"/>
                  <a:gd name="connsiteY5" fmla="*/ 197954 h 262385"/>
                  <a:gd name="connsiteX6" fmla="*/ 59864 w 243344"/>
                  <a:gd name="connsiteY6" fmla="*/ 197954 h 262385"/>
                  <a:gd name="connsiteX7" fmla="*/ 35107 w 243344"/>
                  <a:gd name="connsiteY7" fmla="*/ 262385 h 262385"/>
                  <a:gd name="connsiteX8" fmla="*/ 0 w 243344"/>
                  <a:gd name="connsiteY8" fmla="*/ 262385 h 262385"/>
                  <a:gd name="connsiteX9" fmla="*/ 72014 w 243344"/>
                  <a:gd name="connsiteY9" fmla="*/ 166305 h 262385"/>
                  <a:gd name="connsiteX10" fmla="*/ 169412 w 243344"/>
                  <a:gd name="connsiteY10" fmla="*/ 166305 h 262385"/>
                  <a:gd name="connsiteX11" fmla="*/ 120707 w 243344"/>
                  <a:gd name="connsiteY11" fmla="*/ 39557 h 262385"/>
                  <a:gd name="connsiteX12" fmla="*/ 72014 w 243344"/>
                  <a:gd name="connsiteY12" fmla="*/ 16630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344" h="262385">
                    <a:moveTo>
                      <a:pt x="0" y="262385"/>
                    </a:moveTo>
                    <a:lnTo>
                      <a:pt x="103741" y="0"/>
                    </a:lnTo>
                    <a:lnTo>
                      <a:pt x="139604" y="0"/>
                    </a:lnTo>
                    <a:lnTo>
                      <a:pt x="243344" y="262385"/>
                    </a:lnTo>
                    <a:lnTo>
                      <a:pt x="206320" y="262385"/>
                    </a:lnTo>
                    <a:lnTo>
                      <a:pt x="181562" y="197954"/>
                    </a:lnTo>
                    <a:lnTo>
                      <a:pt x="59864" y="197954"/>
                    </a:lnTo>
                    <a:lnTo>
                      <a:pt x="35107" y="262385"/>
                    </a:lnTo>
                    <a:lnTo>
                      <a:pt x="0" y="262385"/>
                    </a:lnTo>
                    <a:close/>
                    <a:moveTo>
                      <a:pt x="72014" y="166305"/>
                    </a:moveTo>
                    <a:lnTo>
                      <a:pt x="169412" y="166305"/>
                    </a:lnTo>
                    <a:lnTo>
                      <a:pt x="120707" y="39557"/>
                    </a:lnTo>
                    <a:lnTo>
                      <a:pt x="72014" y="166305"/>
                    </a:lnTo>
                    <a:close/>
                  </a:path>
                </a:pathLst>
              </a:custGeom>
              <a:solidFill>
                <a:srgbClr val="3D434B"/>
              </a:solidFill>
              <a:ln w="1305" cap="flat">
                <a:noFill/>
                <a:prstDash val="solid"/>
                <a:miter/>
              </a:ln>
            </p:spPr>
            <p:txBody>
              <a:bodyPr rtlCol="0" anchor="ctr"/>
              <a:lstStyle/>
              <a:p>
                <a:endParaRPr lang="de-DE" dirty="0"/>
              </a:p>
            </p:txBody>
          </p:sp>
          <p:sp>
            <p:nvSpPr>
              <p:cNvPr id="104" name="Freeform: Shape 103">
                <a:extLst>
                  <a:ext uri="{FF2B5EF4-FFF2-40B4-BE49-F238E27FC236}">
                    <a16:creationId xmlns:a16="http://schemas.microsoft.com/office/drawing/2014/main" id="{50B2960A-B214-4F3B-856C-39338D96D798}"/>
                  </a:ext>
                </a:extLst>
              </p:cNvPr>
              <p:cNvSpPr/>
              <p:nvPr/>
            </p:nvSpPr>
            <p:spPr bwMode="gray">
              <a:xfrm>
                <a:off x="6944819" y="4483107"/>
                <a:ext cx="195526" cy="262385"/>
              </a:xfrm>
              <a:custGeom>
                <a:avLst/>
                <a:gdLst>
                  <a:gd name="connsiteX0" fmla="*/ 0 w 195526"/>
                  <a:gd name="connsiteY0" fmla="*/ 262385 h 262385"/>
                  <a:gd name="connsiteX1" fmla="*/ 0 w 195526"/>
                  <a:gd name="connsiteY1" fmla="*/ 0 h 262385"/>
                  <a:gd name="connsiteX2" fmla="*/ 106051 w 195526"/>
                  <a:gd name="connsiteY2" fmla="*/ 0 h 262385"/>
                  <a:gd name="connsiteX3" fmla="*/ 174697 w 195526"/>
                  <a:gd name="connsiteY3" fmla="*/ 18715 h 262385"/>
                  <a:gd name="connsiteX4" fmla="*/ 195527 w 195526"/>
                  <a:gd name="connsiteY4" fmla="*/ 79870 h 262385"/>
                  <a:gd name="connsiteX5" fmla="*/ 174697 w 195526"/>
                  <a:gd name="connsiteY5" fmla="*/ 140831 h 262385"/>
                  <a:gd name="connsiteX6" fmla="*/ 106051 w 195526"/>
                  <a:gd name="connsiteY6" fmla="*/ 159350 h 262385"/>
                  <a:gd name="connsiteX7" fmla="*/ 34715 w 195526"/>
                  <a:gd name="connsiteY7" fmla="*/ 159350 h 262385"/>
                  <a:gd name="connsiteX8" fmla="*/ 34715 w 195526"/>
                  <a:gd name="connsiteY8" fmla="*/ 262372 h 262385"/>
                  <a:gd name="connsiteX9" fmla="*/ 0 w 195526"/>
                  <a:gd name="connsiteY9" fmla="*/ 262372 h 262385"/>
                  <a:gd name="connsiteX10" fmla="*/ 34702 w 195526"/>
                  <a:gd name="connsiteY10" fmla="*/ 128498 h 262385"/>
                  <a:gd name="connsiteX11" fmla="*/ 103715 w 195526"/>
                  <a:gd name="connsiteY11" fmla="*/ 128498 h 262385"/>
                  <a:gd name="connsiteX12" fmla="*/ 147487 w 195526"/>
                  <a:gd name="connsiteY12" fmla="*/ 117496 h 262385"/>
                  <a:gd name="connsiteX13" fmla="*/ 160407 w 195526"/>
                  <a:gd name="connsiteY13" fmla="*/ 79870 h 262385"/>
                  <a:gd name="connsiteX14" fmla="*/ 147487 w 195526"/>
                  <a:gd name="connsiteY14" fmla="*/ 42063 h 262385"/>
                  <a:gd name="connsiteX15" fmla="*/ 103715 w 195526"/>
                  <a:gd name="connsiteY15" fmla="*/ 30865 h 262385"/>
                  <a:gd name="connsiteX16" fmla="*/ 34702 w 195526"/>
                  <a:gd name="connsiteY16" fmla="*/ 30865 h 262385"/>
                  <a:gd name="connsiteX17" fmla="*/ 34702 w 195526"/>
                  <a:gd name="connsiteY17" fmla="*/ 128498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5526" h="262385">
                    <a:moveTo>
                      <a:pt x="0" y="262385"/>
                    </a:moveTo>
                    <a:lnTo>
                      <a:pt x="0" y="0"/>
                    </a:lnTo>
                    <a:lnTo>
                      <a:pt x="106051" y="0"/>
                    </a:lnTo>
                    <a:cubicBezTo>
                      <a:pt x="137920" y="0"/>
                      <a:pt x="160811" y="6238"/>
                      <a:pt x="174697" y="18715"/>
                    </a:cubicBezTo>
                    <a:cubicBezTo>
                      <a:pt x="188583" y="31191"/>
                      <a:pt x="195527" y="51577"/>
                      <a:pt x="195527" y="79870"/>
                    </a:cubicBezTo>
                    <a:cubicBezTo>
                      <a:pt x="195527" y="108178"/>
                      <a:pt x="188583" y="128484"/>
                      <a:pt x="174697" y="140831"/>
                    </a:cubicBezTo>
                    <a:cubicBezTo>
                      <a:pt x="160811" y="153190"/>
                      <a:pt x="137920" y="159350"/>
                      <a:pt x="106051" y="159350"/>
                    </a:cubicBezTo>
                    <a:lnTo>
                      <a:pt x="34715" y="159350"/>
                    </a:lnTo>
                    <a:lnTo>
                      <a:pt x="34715" y="262372"/>
                    </a:lnTo>
                    <a:lnTo>
                      <a:pt x="0" y="262372"/>
                    </a:lnTo>
                    <a:close/>
                    <a:moveTo>
                      <a:pt x="34702" y="128498"/>
                    </a:moveTo>
                    <a:lnTo>
                      <a:pt x="103715" y="128498"/>
                    </a:lnTo>
                    <a:cubicBezTo>
                      <a:pt x="124282" y="128498"/>
                      <a:pt x="138873" y="124831"/>
                      <a:pt x="147487" y="117496"/>
                    </a:cubicBezTo>
                    <a:cubicBezTo>
                      <a:pt x="156100" y="110161"/>
                      <a:pt x="160407" y="97633"/>
                      <a:pt x="160407" y="79870"/>
                    </a:cubicBezTo>
                    <a:cubicBezTo>
                      <a:pt x="160407" y="62109"/>
                      <a:pt x="156100" y="49527"/>
                      <a:pt x="147487" y="42063"/>
                    </a:cubicBezTo>
                    <a:cubicBezTo>
                      <a:pt x="138860" y="34611"/>
                      <a:pt x="124282" y="30865"/>
                      <a:pt x="103715" y="30865"/>
                    </a:cubicBezTo>
                    <a:lnTo>
                      <a:pt x="34702" y="30865"/>
                    </a:lnTo>
                    <a:lnTo>
                      <a:pt x="34702" y="128498"/>
                    </a:lnTo>
                    <a:close/>
                  </a:path>
                </a:pathLst>
              </a:custGeom>
              <a:solidFill>
                <a:srgbClr val="3D434B"/>
              </a:solidFill>
              <a:ln w="1305" cap="flat">
                <a:noFill/>
                <a:prstDash val="solid"/>
                <a:miter/>
              </a:ln>
            </p:spPr>
            <p:txBody>
              <a:bodyPr rtlCol="0" anchor="ctr"/>
              <a:lstStyle/>
              <a:p>
                <a:endParaRPr lang="de-DE" dirty="0"/>
              </a:p>
            </p:txBody>
          </p:sp>
          <p:sp>
            <p:nvSpPr>
              <p:cNvPr id="105" name="Freeform: Shape 104">
                <a:extLst>
                  <a:ext uri="{FF2B5EF4-FFF2-40B4-BE49-F238E27FC236}">
                    <a16:creationId xmlns:a16="http://schemas.microsoft.com/office/drawing/2014/main" id="{0DFEA4E2-8769-4BDD-9129-18AFB1B667C3}"/>
                  </a:ext>
                </a:extLst>
              </p:cNvPr>
              <p:cNvSpPr/>
              <p:nvPr/>
            </p:nvSpPr>
            <p:spPr bwMode="gray">
              <a:xfrm>
                <a:off x="7227394" y="4483107"/>
                <a:ext cx="195526" cy="262385"/>
              </a:xfrm>
              <a:custGeom>
                <a:avLst/>
                <a:gdLst>
                  <a:gd name="connsiteX0" fmla="*/ 0 w 195526"/>
                  <a:gd name="connsiteY0" fmla="*/ 262385 h 262385"/>
                  <a:gd name="connsiteX1" fmla="*/ 0 w 195526"/>
                  <a:gd name="connsiteY1" fmla="*/ 0 h 262385"/>
                  <a:gd name="connsiteX2" fmla="*/ 106051 w 195526"/>
                  <a:gd name="connsiteY2" fmla="*/ 0 h 262385"/>
                  <a:gd name="connsiteX3" fmla="*/ 174697 w 195526"/>
                  <a:gd name="connsiteY3" fmla="*/ 18715 h 262385"/>
                  <a:gd name="connsiteX4" fmla="*/ 195527 w 195526"/>
                  <a:gd name="connsiteY4" fmla="*/ 79870 h 262385"/>
                  <a:gd name="connsiteX5" fmla="*/ 174697 w 195526"/>
                  <a:gd name="connsiteY5" fmla="*/ 140831 h 262385"/>
                  <a:gd name="connsiteX6" fmla="*/ 106051 w 195526"/>
                  <a:gd name="connsiteY6" fmla="*/ 159350 h 262385"/>
                  <a:gd name="connsiteX7" fmla="*/ 34715 w 195526"/>
                  <a:gd name="connsiteY7" fmla="*/ 159350 h 262385"/>
                  <a:gd name="connsiteX8" fmla="*/ 34715 w 195526"/>
                  <a:gd name="connsiteY8" fmla="*/ 262372 h 262385"/>
                  <a:gd name="connsiteX9" fmla="*/ 0 w 195526"/>
                  <a:gd name="connsiteY9" fmla="*/ 262372 h 262385"/>
                  <a:gd name="connsiteX10" fmla="*/ 34715 w 195526"/>
                  <a:gd name="connsiteY10" fmla="*/ 128498 h 262385"/>
                  <a:gd name="connsiteX11" fmla="*/ 103727 w 195526"/>
                  <a:gd name="connsiteY11" fmla="*/ 128498 h 262385"/>
                  <a:gd name="connsiteX12" fmla="*/ 147499 w 195526"/>
                  <a:gd name="connsiteY12" fmla="*/ 117496 h 262385"/>
                  <a:gd name="connsiteX13" fmla="*/ 160420 w 195526"/>
                  <a:gd name="connsiteY13" fmla="*/ 79870 h 262385"/>
                  <a:gd name="connsiteX14" fmla="*/ 147499 w 195526"/>
                  <a:gd name="connsiteY14" fmla="*/ 42063 h 262385"/>
                  <a:gd name="connsiteX15" fmla="*/ 103727 w 195526"/>
                  <a:gd name="connsiteY15" fmla="*/ 30865 h 262385"/>
                  <a:gd name="connsiteX16" fmla="*/ 34715 w 195526"/>
                  <a:gd name="connsiteY16" fmla="*/ 30865 h 262385"/>
                  <a:gd name="connsiteX17" fmla="*/ 34715 w 195526"/>
                  <a:gd name="connsiteY17" fmla="*/ 128498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5526" h="262385">
                    <a:moveTo>
                      <a:pt x="0" y="262385"/>
                    </a:moveTo>
                    <a:lnTo>
                      <a:pt x="0" y="0"/>
                    </a:lnTo>
                    <a:lnTo>
                      <a:pt x="106051" y="0"/>
                    </a:lnTo>
                    <a:cubicBezTo>
                      <a:pt x="137920" y="0"/>
                      <a:pt x="160811" y="6238"/>
                      <a:pt x="174697" y="18715"/>
                    </a:cubicBezTo>
                    <a:cubicBezTo>
                      <a:pt x="188583" y="31191"/>
                      <a:pt x="195527" y="51577"/>
                      <a:pt x="195527" y="79870"/>
                    </a:cubicBezTo>
                    <a:cubicBezTo>
                      <a:pt x="195527" y="108178"/>
                      <a:pt x="188583" y="128484"/>
                      <a:pt x="174697" y="140831"/>
                    </a:cubicBezTo>
                    <a:cubicBezTo>
                      <a:pt x="160811" y="153190"/>
                      <a:pt x="137920" y="159350"/>
                      <a:pt x="106051" y="159350"/>
                    </a:cubicBezTo>
                    <a:lnTo>
                      <a:pt x="34715" y="159350"/>
                    </a:lnTo>
                    <a:lnTo>
                      <a:pt x="34715" y="262372"/>
                    </a:lnTo>
                    <a:lnTo>
                      <a:pt x="0" y="262372"/>
                    </a:lnTo>
                    <a:close/>
                    <a:moveTo>
                      <a:pt x="34715" y="128498"/>
                    </a:moveTo>
                    <a:lnTo>
                      <a:pt x="103727" y="128498"/>
                    </a:lnTo>
                    <a:cubicBezTo>
                      <a:pt x="124296" y="128498"/>
                      <a:pt x="138886" y="124831"/>
                      <a:pt x="147499" y="117496"/>
                    </a:cubicBezTo>
                    <a:cubicBezTo>
                      <a:pt x="156113" y="110161"/>
                      <a:pt x="160420" y="97633"/>
                      <a:pt x="160420" y="79870"/>
                    </a:cubicBezTo>
                    <a:cubicBezTo>
                      <a:pt x="160420" y="62109"/>
                      <a:pt x="156113" y="49527"/>
                      <a:pt x="147499" y="42063"/>
                    </a:cubicBezTo>
                    <a:cubicBezTo>
                      <a:pt x="138873" y="34611"/>
                      <a:pt x="124296" y="30865"/>
                      <a:pt x="103727" y="30865"/>
                    </a:cubicBezTo>
                    <a:lnTo>
                      <a:pt x="34715" y="30865"/>
                    </a:lnTo>
                    <a:lnTo>
                      <a:pt x="34715" y="128498"/>
                    </a:lnTo>
                    <a:close/>
                  </a:path>
                </a:pathLst>
              </a:custGeom>
              <a:solidFill>
                <a:srgbClr val="3D434B"/>
              </a:solidFill>
              <a:ln w="1305" cap="flat">
                <a:noFill/>
                <a:prstDash val="solid"/>
                <a:miter/>
              </a:ln>
            </p:spPr>
            <p:txBody>
              <a:bodyPr rtlCol="0" anchor="ctr"/>
              <a:lstStyle/>
              <a:p>
                <a:endParaRPr lang="de-DE" dirty="0"/>
              </a:p>
            </p:txBody>
          </p:sp>
          <p:sp>
            <p:nvSpPr>
              <p:cNvPr id="106" name="Freeform: Shape 105">
                <a:extLst>
                  <a:ext uri="{FF2B5EF4-FFF2-40B4-BE49-F238E27FC236}">
                    <a16:creationId xmlns:a16="http://schemas.microsoft.com/office/drawing/2014/main" id="{66785C7C-5E89-4562-9454-423AB02FFB30}"/>
                  </a:ext>
                </a:extLst>
              </p:cNvPr>
              <p:cNvSpPr/>
              <p:nvPr/>
            </p:nvSpPr>
            <p:spPr bwMode="gray">
              <a:xfrm>
                <a:off x="7509982" y="4483107"/>
                <a:ext cx="166187" cy="262385"/>
              </a:xfrm>
              <a:custGeom>
                <a:avLst/>
                <a:gdLst>
                  <a:gd name="connsiteX0" fmla="*/ 0 w 166187"/>
                  <a:gd name="connsiteY0" fmla="*/ 262385 h 262385"/>
                  <a:gd name="connsiteX1" fmla="*/ 0 w 166187"/>
                  <a:gd name="connsiteY1" fmla="*/ 0 h 262385"/>
                  <a:gd name="connsiteX2" fmla="*/ 34702 w 166187"/>
                  <a:gd name="connsiteY2" fmla="*/ 0 h 262385"/>
                  <a:gd name="connsiteX3" fmla="*/ 34702 w 166187"/>
                  <a:gd name="connsiteY3" fmla="*/ 231129 h 262385"/>
                  <a:gd name="connsiteX4" fmla="*/ 166188 w 166187"/>
                  <a:gd name="connsiteY4" fmla="*/ 231129 h 262385"/>
                  <a:gd name="connsiteX5" fmla="*/ 166188 w 166187"/>
                  <a:gd name="connsiteY5" fmla="*/ 262385 h 262385"/>
                  <a:gd name="connsiteX6" fmla="*/ 0 w 166187"/>
                  <a:gd name="connsiteY6"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187" h="262385">
                    <a:moveTo>
                      <a:pt x="0" y="262385"/>
                    </a:moveTo>
                    <a:lnTo>
                      <a:pt x="0" y="0"/>
                    </a:lnTo>
                    <a:lnTo>
                      <a:pt x="34702" y="0"/>
                    </a:lnTo>
                    <a:lnTo>
                      <a:pt x="34702" y="231129"/>
                    </a:lnTo>
                    <a:lnTo>
                      <a:pt x="166188" y="231129"/>
                    </a:lnTo>
                    <a:lnTo>
                      <a:pt x="166188" y="262385"/>
                    </a:lnTo>
                    <a:lnTo>
                      <a:pt x="0" y="262385"/>
                    </a:lnTo>
                    <a:close/>
                  </a:path>
                </a:pathLst>
              </a:custGeom>
              <a:solidFill>
                <a:srgbClr val="3D434B"/>
              </a:solidFill>
              <a:ln w="1305" cap="flat">
                <a:noFill/>
                <a:prstDash val="solid"/>
                <a:miter/>
              </a:ln>
            </p:spPr>
            <p:txBody>
              <a:bodyPr rtlCol="0" anchor="ctr"/>
              <a:lstStyle/>
              <a:p>
                <a:endParaRPr lang="de-DE" dirty="0"/>
              </a:p>
            </p:txBody>
          </p:sp>
          <p:sp>
            <p:nvSpPr>
              <p:cNvPr id="107" name="Freeform: Shape 106">
                <a:extLst>
                  <a:ext uri="{FF2B5EF4-FFF2-40B4-BE49-F238E27FC236}">
                    <a16:creationId xmlns:a16="http://schemas.microsoft.com/office/drawing/2014/main" id="{0E1E2109-6C5E-4B59-8D83-2EF42369F09D}"/>
                  </a:ext>
                </a:extLst>
              </p:cNvPr>
              <p:cNvSpPr/>
              <p:nvPr/>
            </p:nvSpPr>
            <p:spPr bwMode="gray">
              <a:xfrm>
                <a:off x="7760334" y="4483107"/>
                <a:ext cx="34702" cy="262385"/>
              </a:xfrm>
              <a:custGeom>
                <a:avLst/>
                <a:gdLst>
                  <a:gd name="connsiteX0" fmla="*/ 0 w 34702"/>
                  <a:gd name="connsiteY0" fmla="*/ 262385 h 262385"/>
                  <a:gd name="connsiteX1" fmla="*/ 0 w 34702"/>
                  <a:gd name="connsiteY1" fmla="*/ 0 h 262385"/>
                  <a:gd name="connsiteX2" fmla="*/ 34702 w 34702"/>
                  <a:gd name="connsiteY2" fmla="*/ 0 h 262385"/>
                  <a:gd name="connsiteX3" fmla="*/ 34702 w 34702"/>
                  <a:gd name="connsiteY3" fmla="*/ 262385 h 262385"/>
                  <a:gd name="connsiteX4" fmla="*/ 0 w 34702"/>
                  <a:gd name="connsiteY4" fmla="*/ 262385 h 262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2" h="262385">
                    <a:moveTo>
                      <a:pt x="0" y="262385"/>
                    </a:moveTo>
                    <a:lnTo>
                      <a:pt x="0" y="0"/>
                    </a:lnTo>
                    <a:lnTo>
                      <a:pt x="34702" y="0"/>
                    </a:lnTo>
                    <a:lnTo>
                      <a:pt x="34702" y="262385"/>
                    </a:lnTo>
                    <a:lnTo>
                      <a:pt x="0" y="262385"/>
                    </a:lnTo>
                    <a:close/>
                  </a:path>
                </a:pathLst>
              </a:custGeom>
              <a:solidFill>
                <a:srgbClr val="3D434B"/>
              </a:solidFill>
              <a:ln w="1305" cap="flat">
                <a:noFill/>
                <a:prstDash val="solid"/>
                <a:miter/>
              </a:ln>
            </p:spPr>
            <p:txBody>
              <a:bodyPr rtlCol="0" anchor="ctr"/>
              <a:lstStyle/>
              <a:p>
                <a:endParaRPr lang="de-DE" dirty="0"/>
              </a:p>
            </p:txBody>
          </p:sp>
          <p:sp>
            <p:nvSpPr>
              <p:cNvPr id="108" name="Freeform: Shape 107">
                <a:extLst>
                  <a:ext uri="{FF2B5EF4-FFF2-40B4-BE49-F238E27FC236}">
                    <a16:creationId xmlns:a16="http://schemas.microsoft.com/office/drawing/2014/main" id="{F1368680-616A-4053-BE1B-6B439C311B4A}"/>
                  </a:ext>
                </a:extLst>
              </p:cNvPr>
              <p:cNvSpPr/>
              <p:nvPr/>
            </p:nvSpPr>
            <p:spPr bwMode="gray">
              <a:xfrm>
                <a:off x="7903853" y="4483107"/>
                <a:ext cx="189718" cy="262385"/>
              </a:xfrm>
              <a:custGeom>
                <a:avLst/>
                <a:gdLst>
                  <a:gd name="connsiteX0" fmla="*/ 0 w 189718"/>
                  <a:gd name="connsiteY0" fmla="*/ 262385 h 262385"/>
                  <a:gd name="connsiteX1" fmla="*/ 0 w 189718"/>
                  <a:gd name="connsiteY1" fmla="*/ 0 h 262385"/>
                  <a:gd name="connsiteX2" fmla="*/ 187409 w 189718"/>
                  <a:gd name="connsiteY2" fmla="*/ 0 h 262385"/>
                  <a:gd name="connsiteX3" fmla="*/ 187409 w 189718"/>
                  <a:gd name="connsiteY3" fmla="*/ 30865 h 262385"/>
                  <a:gd name="connsiteX4" fmla="*/ 34702 w 189718"/>
                  <a:gd name="connsiteY4" fmla="*/ 30865 h 262385"/>
                  <a:gd name="connsiteX5" fmla="*/ 34702 w 189718"/>
                  <a:gd name="connsiteY5" fmla="*/ 113437 h 262385"/>
                  <a:gd name="connsiteX6" fmla="*/ 165809 w 189718"/>
                  <a:gd name="connsiteY6" fmla="*/ 113437 h 262385"/>
                  <a:gd name="connsiteX7" fmla="*/ 165809 w 189718"/>
                  <a:gd name="connsiteY7" fmla="*/ 144302 h 262385"/>
                  <a:gd name="connsiteX8" fmla="*/ 34702 w 189718"/>
                  <a:gd name="connsiteY8" fmla="*/ 144302 h 262385"/>
                  <a:gd name="connsiteX9" fmla="*/ 34702 w 189718"/>
                  <a:gd name="connsiteY9" fmla="*/ 231507 h 262385"/>
                  <a:gd name="connsiteX10" fmla="*/ 189719 w 189718"/>
                  <a:gd name="connsiteY10" fmla="*/ 231507 h 262385"/>
                  <a:gd name="connsiteX11" fmla="*/ 189719 w 189718"/>
                  <a:gd name="connsiteY11" fmla="*/ 262372 h 262385"/>
                  <a:gd name="connsiteX12" fmla="*/ 0 w 189718"/>
                  <a:gd name="connsiteY12" fmla="*/ 262372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718" h="262385">
                    <a:moveTo>
                      <a:pt x="0" y="262385"/>
                    </a:moveTo>
                    <a:lnTo>
                      <a:pt x="0" y="0"/>
                    </a:lnTo>
                    <a:lnTo>
                      <a:pt x="187409" y="0"/>
                    </a:lnTo>
                    <a:lnTo>
                      <a:pt x="187409" y="30865"/>
                    </a:lnTo>
                    <a:lnTo>
                      <a:pt x="34702" y="30865"/>
                    </a:lnTo>
                    <a:lnTo>
                      <a:pt x="34702" y="113437"/>
                    </a:lnTo>
                    <a:lnTo>
                      <a:pt x="165809" y="113437"/>
                    </a:lnTo>
                    <a:lnTo>
                      <a:pt x="165809" y="144302"/>
                    </a:lnTo>
                    <a:lnTo>
                      <a:pt x="34702" y="144302"/>
                    </a:lnTo>
                    <a:lnTo>
                      <a:pt x="34702" y="231507"/>
                    </a:lnTo>
                    <a:lnTo>
                      <a:pt x="189719" y="231507"/>
                    </a:lnTo>
                    <a:lnTo>
                      <a:pt x="189719" y="262372"/>
                    </a:lnTo>
                    <a:lnTo>
                      <a:pt x="0" y="262372"/>
                    </a:lnTo>
                    <a:close/>
                  </a:path>
                </a:pathLst>
              </a:custGeom>
              <a:solidFill>
                <a:srgbClr val="3D434B"/>
              </a:solidFill>
              <a:ln w="1305" cap="flat">
                <a:noFill/>
                <a:prstDash val="solid"/>
                <a:miter/>
              </a:ln>
            </p:spPr>
            <p:txBody>
              <a:bodyPr rtlCol="0" anchor="ctr"/>
              <a:lstStyle/>
              <a:p>
                <a:endParaRPr lang="de-DE" dirty="0"/>
              </a:p>
            </p:txBody>
          </p:sp>
          <p:sp>
            <p:nvSpPr>
              <p:cNvPr id="109" name="Freeform: Shape 108">
                <a:extLst>
                  <a:ext uri="{FF2B5EF4-FFF2-40B4-BE49-F238E27FC236}">
                    <a16:creationId xmlns:a16="http://schemas.microsoft.com/office/drawing/2014/main" id="{B00C068C-52B6-441B-80CC-CBD4BF172895}"/>
                  </a:ext>
                </a:extLst>
              </p:cNvPr>
              <p:cNvSpPr/>
              <p:nvPr/>
            </p:nvSpPr>
            <p:spPr bwMode="gray">
              <a:xfrm>
                <a:off x="8183635" y="4483107"/>
                <a:ext cx="201673" cy="262385"/>
              </a:xfrm>
              <a:custGeom>
                <a:avLst/>
                <a:gdLst>
                  <a:gd name="connsiteX0" fmla="*/ 0 w 201673"/>
                  <a:gd name="connsiteY0" fmla="*/ 262385 h 262385"/>
                  <a:gd name="connsiteX1" fmla="*/ 0 w 201673"/>
                  <a:gd name="connsiteY1" fmla="*/ 0 h 262385"/>
                  <a:gd name="connsiteX2" fmla="*/ 81750 w 201673"/>
                  <a:gd name="connsiteY2" fmla="*/ 0 h 262385"/>
                  <a:gd name="connsiteX3" fmla="*/ 173719 w 201673"/>
                  <a:gd name="connsiteY3" fmla="*/ 30669 h 262385"/>
                  <a:gd name="connsiteX4" fmla="*/ 201673 w 201673"/>
                  <a:gd name="connsiteY4" fmla="*/ 131186 h 262385"/>
                  <a:gd name="connsiteX5" fmla="*/ 173719 w 201673"/>
                  <a:gd name="connsiteY5" fmla="*/ 231703 h 262385"/>
                  <a:gd name="connsiteX6" fmla="*/ 81750 w 201673"/>
                  <a:gd name="connsiteY6" fmla="*/ 262372 h 262385"/>
                  <a:gd name="connsiteX7" fmla="*/ 0 w 201673"/>
                  <a:gd name="connsiteY7" fmla="*/ 262372 h 262385"/>
                  <a:gd name="connsiteX8" fmla="*/ 34702 w 201673"/>
                  <a:gd name="connsiteY8" fmla="*/ 231520 h 262385"/>
                  <a:gd name="connsiteX9" fmla="*/ 79440 w 201673"/>
                  <a:gd name="connsiteY9" fmla="*/ 231520 h 262385"/>
                  <a:gd name="connsiteX10" fmla="*/ 147108 w 201673"/>
                  <a:gd name="connsiteY10" fmla="*/ 209334 h 262385"/>
                  <a:gd name="connsiteX11" fmla="*/ 166189 w 201673"/>
                  <a:gd name="connsiteY11" fmla="*/ 131199 h 262385"/>
                  <a:gd name="connsiteX12" fmla="*/ 147108 w 201673"/>
                  <a:gd name="connsiteY12" fmla="*/ 53065 h 262385"/>
                  <a:gd name="connsiteX13" fmla="*/ 79440 w 201673"/>
                  <a:gd name="connsiteY13" fmla="*/ 30878 h 262385"/>
                  <a:gd name="connsiteX14" fmla="*/ 34702 w 201673"/>
                  <a:gd name="connsiteY14" fmla="*/ 30878 h 262385"/>
                  <a:gd name="connsiteX15" fmla="*/ 34702 w 201673"/>
                  <a:gd name="connsiteY15" fmla="*/ 231520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1673" h="262385">
                    <a:moveTo>
                      <a:pt x="0" y="262385"/>
                    </a:moveTo>
                    <a:lnTo>
                      <a:pt x="0" y="0"/>
                    </a:lnTo>
                    <a:lnTo>
                      <a:pt x="81750" y="0"/>
                    </a:lnTo>
                    <a:cubicBezTo>
                      <a:pt x="124413" y="0"/>
                      <a:pt x="155069" y="10219"/>
                      <a:pt x="173719" y="30669"/>
                    </a:cubicBezTo>
                    <a:cubicBezTo>
                      <a:pt x="192355" y="51120"/>
                      <a:pt x="201673" y="84634"/>
                      <a:pt x="201673" y="131186"/>
                    </a:cubicBezTo>
                    <a:cubicBezTo>
                      <a:pt x="201673" y="177751"/>
                      <a:pt x="192355" y="211252"/>
                      <a:pt x="173719" y="231703"/>
                    </a:cubicBezTo>
                    <a:cubicBezTo>
                      <a:pt x="155069" y="252153"/>
                      <a:pt x="124413" y="262372"/>
                      <a:pt x="81750" y="262372"/>
                    </a:cubicBezTo>
                    <a:lnTo>
                      <a:pt x="0" y="262372"/>
                    </a:lnTo>
                    <a:close/>
                    <a:moveTo>
                      <a:pt x="34702" y="231520"/>
                    </a:moveTo>
                    <a:lnTo>
                      <a:pt x="79440" y="231520"/>
                    </a:lnTo>
                    <a:cubicBezTo>
                      <a:pt x="111832" y="231520"/>
                      <a:pt x="134396" y="224120"/>
                      <a:pt x="147108" y="209334"/>
                    </a:cubicBezTo>
                    <a:cubicBezTo>
                      <a:pt x="159833" y="194547"/>
                      <a:pt x="166189" y="168511"/>
                      <a:pt x="166189" y="131199"/>
                    </a:cubicBezTo>
                    <a:cubicBezTo>
                      <a:pt x="166189" y="93900"/>
                      <a:pt x="159833" y="67864"/>
                      <a:pt x="147108" y="53065"/>
                    </a:cubicBezTo>
                    <a:cubicBezTo>
                      <a:pt x="134384" y="38278"/>
                      <a:pt x="111819" y="30878"/>
                      <a:pt x="79440" y="30878"/>
                    </a:cubicBezTo>
                    <a:lnTo>
                      <a:pt x="34702" y="30878"/>
                    </a:lnTo>
                    <a:lnTo>
                      <a:pt x="34702" y="231520"/>
                    </a:lnTo>
                    <a:close/>
                  </a:path>
                </a:pathLst>
              </a:custGeom>
              <a:solidFill>
                <a:srgbClr val="3D434B"/>
              </a:solidFill>
              <a:ln w="1305" cap="flat">
                <a:noFill/>
                <a:prstDash val="solid"/>
                <a:miter/>
              </a:ln>
            </p:spPr>
            <p:txBody>
              <a:bodyPr rtlCol="0" anchor="ctr"/>
              <a:lstStyle/>
              <a:p>
                <a:endParaRPr lang="de-DE" dirty="0"/>
              </a:p>
            </p:txBody>
          </p:sp>
          <p:sp>
            <p:nvSpPr>
              <p:cNvPr id="110" name="Freeform: Shape 109">
                <a:extLst>
                  <a:ext uri="{FF2B5EF4-FFF2-40B4-BE49-F238E27FC236}">
                    <a16:creationId xmlns:a16="http://schemas.microsoft.com/office/drawing/2014/main" id="{8E29C901-9572-4D58-B6B7-5F089A853C46}"/>
                  </a:ext>
                </a:extLst>
              </p:cNvPr>
              <p:cNvSpPr/>
              <p:nvPr/>
            </p:nvSpPr>
            <p:spPr bwMode="gray">
              <a:xfrm>
                <a:off x="8612430" y="4478487"/>
                <a:ext cx="184341" cy="271638"/>
              </a:xfrm>
              <a:custGeom>
                <a:avLst/>
                <a:gdLst>
                  <a:gd name="connsiteX0" fmla="*/ 87544 w 184341"/>
                  <a:gd name="connsiteY0" fmla="*/ 271638 h 271638"/>
                  <a:gd name="connsiteX1" fmla="*/ 0 w 184341"/>
                  <a:gd name="connsiteY1" fmla="*/ 249256 h 271638"/>
                  <a:gd name="connsiteX2" fmla="*/ 0 w 184341"/>
                  <a:gd name="connsiteY2" fmla="*/ 213758 h 271638"/>
                  <a:gd name="connsiteX3" fmla="*/ 88302 w 184341"/>
                  <a:gd name="connsiteY3" fmla="*/ 240773 h 271638"/>
                  <a:gd name="connsiteX4" fmla="*/ 149627 w 184341"/>
                  <a:gd name="connsiteY4" fmla="*/ 195239 h 271638"/>
                  <a:gd name="connsiteX5" fmla="*/ 138625 w 184341"/>
                  <a:gd name="connsiteY5" fmla="*/ 168942 h 271638"/>
                  <a:gd name="connsiteX6" fmla="*/ 97515 w 184341"/>
                  <a:gd name="connsiteY6" fmla="*/ 153007 h 271638"/>
                  <a:gd name="connsiteX7" fmla="*/ 68634 w 184341"/>
                  <a:gd name="connsiteY7" fmla="*/ 146234 h 271638"/>
                  <a:gd name="connsiteX8" fmla="*/ 18506 w 184341"/>
                  <a:gd name="connsiteY8" fmla="*/ 121346 h 271638"/>
                  <a:gd name="connsiteX9" fmla="*/ 3850 w 184341"/>
                  <a:gd name="connsiteY9" fmla="*/ 76778 h 271638"/>
                  <a:gd name="connsiteX10" fmla="*/ 96406 w 184341"/>
                  <a:gd name="connsiteY10" fmla="*/ 0 h 271638"/>
                  <a:gd name="connsiteX11" fmla="*/ 170064 w 184341"/>
                  <a:gd name="connsiteY11" fmla="*/ 16209 h 271638"/>
                  <a:gd name="connsiteX12" fmla="*/ 170064 w 184341"/>
                  <a:gd name="connsiteY12" fmla="*/ 51329 h 271638"/>
                  <a:gd name="connsiteX13" fmla="*/ 97568 w 184341"/>
                  <a:gd name="connsiteY13" fmla="*/ 30878 h 271638"/>
                  <a:gd name="connsiteX14" fmla="*/ 38565 w 184341"/>
                  <a:gd name="connsiteY14" fmla="*/ 74481 h 271638"/>
                  <a:gd name="connsiteX15" fmla="*/ 48784 w 184341"/>
                  <a:gd name="connsiteY15" fmla="*/ 99499 h 271638"/>
                  <a:gd name="connsiteX16" fmla="*/ 86018 w 184341"/>
                  <a:gd name="connsiteY16" fmla="*/ 114520 h 271638"/>
                  <a:gd name="connsiteX17" fmla="*/ 115708 w 184341"/>
                  <a:gd name="connsiteY17" fmla="*/ 121085 h 271638"/>
                  <a:gd name="connsiteX18" fmla="*/ 168524 w 184341"/>
                  <a:gd name="connsiteY18" fmla="*/ 146978 h 271638"/>
                  <a:gd name="connsiteX19" fmla="*/ 184342 w 184341"/>
                  <a:gd name="connsiteY19" fmla="*/ 194104 h 271638"/>
                  <a:gd name="connsiteX20" fmla="*/ 87544 w 184341"/>
                  <a:gd name="connsiteY20" fmla="*/ 271638 h 27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4341" h="271638">
                    <a:moveTo>
                      <a:pt x="87544" y="271638"/>
                    </a:moveTo>
                    <a:cubicBezTo>
                      <a:pt x="48209" y="271638"/>
                      <a:pt x="19028" y="264173"/>
                      <a:pt x="0" y="249256"/>
                    </a:cubicBezTo>
                    <a:lnTo>
                      <a:pt x="0" y="213758"/>
                    </a:lnTo>
                    <a:cubicBezTo>
                      <a:pt x="24157" y="231768"/>
                      <a:pt x="53613" y="240773"/>
                      <a:pt x="88302" y="240773"/>
                    </a:cubicBezTo>
                    <a:cubicBezTo>
                      <a:pt x="129190" y="240773"/>
                      <a:pt x="149627" y="225595"/>
                      <a:pt x="149627" y="195239"/>
                    </a:cubicBezTo>
                    <a:cubicBezTo>
                      <a:pt x="149627" y="183715"/>
                      <a:pt x="145947" y="174958"/>
                      <a:pt x="138625" y="168942"/>
                    </a:cubicBezTo>
                    <a:cubicBezTo>
                      <a:pt x="131291" y="162926"/>
                      <a:pt x="117587" y="157614"/>
                      <a:pt x="97515" y="153007"/>
                    </a:cubicBezTo>
                    <a:lnTo>
                      <a:pt x="68634" y="146234"/>
                    </a:lnTo>
                    <a:cubicBezTo>
                      <a:pt x="44973" y="140831"/>
                      <a:pt x="28268" y="132530"/>
                      <a:pt x="18506" y="121346"/>
                    </a:cubicBezTo>
                    <a:cubicBezTo>
                      <a:pt x="8731" y="110161"/>
                      <a:pt x="3850" y="95310"/>
                      <a:pt x="3850" y="76778"/>
                    </a:cubicBezTo>
                    <a:cubicBezTo>
                      <a:pt x="3850" y="25593"/>
                      <a:pt x="34702" y="0"/>
                      <a:pt x="96406" y="0"/>
                    </a:cubicBezTo>
                    <a:cubicBezTo>
                      <a:pt x="130338" y="0"/>
                      <a:pt x="154886" y="5403"/>
                      <a:pt x="170064" y="16209"/>
                    </a:cubicBezTo>
                    <a:lnTo>
                      <a:pt x="170064" y="51329"/>
                    </a:lnTo>
                    <a:cubicBezTo>
                      <a:pt x="150776" y="37691"/>
                      <a:pt x="126618" y="30878"/>
                      <a:pt x="97568" y="30878"/>
                    </a:cubicBezTo>
                    <a:cubicBezTo>
                      <a:pt x="58233" y="30878"/>
                      <a:pt x="38565" y="45417"/>
                      <a:pt x="38565" y="74481"/>
                    </a:cubicBezTo>
                    <a:cubicBezTo>
                      <a:pt x="38565" y="85013"/>
                      <a:pt x="41958" y="93339"/>
                      <a:pt x="48784" y="99499"/>
                    </a:cubicBezTo>
                    <a:cubicBezTo>
                      <a:pt x="55596" y="105659"/>
                      <a:pt x="68007" y="110670"/>
                      <a:pt x="86018" y="114520"/>
                    </a:cubicBezTo>
                    <a:lnTo>
                      <a:pt x="115708" y="121085"/>
                    </a:lnTo>
                    <a:cubicBezTo>
                      <a:pt x="140374" y="126501"/>
                      <a:pt x="157992" y="135127"/>
                      <a:pt x="168524" y="146978"/>
                    </a:cubicBezTo>
                    <a:cubicBezTo>
                      <a:pt x="179069" y="158828"/>
                      <a:pt x="184342" y="174541"/>
                      <a:pt x="184342" y="194104"/>
                    </a:cubicBezTo>
                    <a:cubicBezTo>
                      <a:pt x="184342" y="245785"/>
                      <a:pt x="152067" y="271638"/>
                      <a:pt x="87544" y="271638"/>
                    </a:cubicBezTo>
                    <a:close/>
                  </a:path>
                </a:pathLst>
              </a:custGeom>
              <a:solidFill>
                <a:srgbClr val="3D434B"/>
              </a:solidFill>
              <a:ln w="1305" cap="flat">
                <a:noFill/>
                <a:prstDash val="solid"/>
                <a:miter/>
              </a:ln>
            </p:spPr>
            <p:txBody>
              <a:bodyPr rtlCol="0" anchor="ctr"/>
              <a:lstStyle/>
              <a:p>
                <a:endParaRPr lang="de-DE" dirty="0"/>
              </a:p>
            </p:txBody>
          </p:sp>
          <p:sp>
            <p:nvSpPr>
              <p:cNvPr id="111" name="Freeform: Shape 110">
                <a:extLst>
                  <a:ext uri="{FF2B5EF4-FFF2-40B4-BE49-F238E27FC236}">
                    <a16:creationId xmlns:a16="http://schemas.microsoft.com/office/drawing/2014/main" id="{6F227E40-E883-4F2B-B2A7-F359C32E11EF}"/>
                  </a:ext>
                </a:extLst>
              </p:cNvPr>
              <p:cNvSpPr/>
              <p:nvPr/>
            </p:nvSpPr>
            <p:spPr bwMode="gray">
              <a:xfrm>
                <a:off x="8875950" y="4478474"/>
                <a:ext cx="185112" cy="271651"/>
              </a:xfrm>
              <a:custGeom>
                <a:avLst/>
                <a:gdLst>
                  <a:gd name="connsiteX0" fmla="*/ 121085 w 185112"/>
                  <a:gd name="connsiteY0" fmla="*/ 271651 h 271651"/>
                  <a:gd name="connsiteX1" fmla="*/ 29690 w 185112"/>
                  <a:gd name="connsiteY1" fmla="*/ 238267 h 271651"/>
                  <a:gd name="connsiteX2" fmla="*/ 0 w 185112"/>
                  <a:gd name="connsiteY2" fmla="*/ 135819 h 271651"/>
                  <a:gd name="connsiteX3" fmla="*/ 29495 w 185112"/>
                  <a:gd name="connsiteY3" fmla="*/ 33371 h 271651"/>
                  <a:gd name="connsiteX4" fmla="*/ 120315 w 185112"/>
                  <a:gd name="connsiteY4" fmla="*/ 0 h 271651"/>
                  <a:gd name="connsiteX5" fmla="*/ 185099 w 185112"/>
                  <a:gd name="connsiteY5" fmla="*/ 13508 h 271651"/>
                  <a:gd name="connsiteX6" fmla="*/ 185099 w 185112"/>
                  <a:gd name="connsiteY6" fmla="*/ 47466 h 271651"/>
                  <a:gd name="connsiteX7" fmla="*/ 121476 w 185112"/>
                  <a:gd name="connsiteY7" fmla="*/ 30878 h 271651"/>
                  <a:gd name="connsiteX8" fmla="*/ 55923 w 185112"/>
                  <a:gd name="connsiteY8" fmla="*/ 55753 h 271651"/>
                  <a:gd name="connsiteX9" fmla="*/ 35485 w 185112"/>
                  <a:gd name="connsiteY9" fmla="*/ 135441 h 271651"/>
                  <a:gd name="connsiteX10" fmla="*/ 56118 w 185112"/>
                  <a:gd name="connsiteY10" fmla="*/ 215703 h 271651"/>
                  <a:gd name="connsiteX11" fmla="*/ 122638 w 185112"/>
                  <a:gd name="connsiteY11" fmla="*/ 240786 h 271651"/>
                  <a:gd name="connsiteX12" fmla="*/ 185112 w 185112"/>
                  <a:gd name="connsiteY12" fmla="*/ 224186 h 271651"/>
                  <a:gd name="connsiteX13" fmla="*/ 185112 w 185112"/>
                  <a:gd name="connsiteY13" fmla="*/ 258144 h 271651"/>
                  <a:gd name="connsiteX14" fmla="*/ 121085 w 185112"/>
                  <a:gd name="connsiteY14" fmla="*/ 271651 h 27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5112" h="271651">
                    <a:moveTo>
                      <a:pt x="121085" y="271651"/>
                    </a:moveTo>
                    <a:cubicBezTo>
                      <a:pt x="79949" y="271651"/>
                      <a:pt x="49476" y="260519"/>
                      <a:pt x="29690" y="238267"/>
                    </a:cubicBezTo>
                    <a:cubicBezTo>
                      <a:pt x="9893" y="216029"/>
                      <a:pt x="0" y="181875"/>
                      <a:pt x="0" y="135819"/>
                    </a:cubicBezTo>
                    <a:cubicBezTo>
                      <a:pt x="0" y="89776"/>
                      <a:pt x="9828" y="55622"/>
                      <a:pt x="29495" y="33371"/>
                    </a:cubicBezTo>
                    <a:cubicBezTo>
                      <a:pt x="49175" y="11119"/>
                      <a:pt x="79440" y="0"/>
                      <a:pt x="120315" y="0"/>
                    </a:cubicBezTo>
                    <a:cubicBezTo>
                      <a:pt x="147565" y="0"/>
                      <a:pt x="169164" y="4503"/>
                      <a:pt x="185099" y="13508"/>
                    </a:cubicBezTo>
                    <a:lnTo>
                      <a:pt x="185099" y="47466"/>
                    </a:lnTo>
                    <a:cubicBezTo>
                      <a:pt x="166841" y="36412"/>
                      <a:pt x="145634" y="30878"/>
                      <a:pt x="121476" y="30878"/>
                    </a:cubicBezTo>
                    <a:cubicBezTo>
                      <a:pt x="91395" y="30878"/>
                      <a:pt x="69535" y="39165"/>
                      <a:pt x="55923" y="55753"/>
                    </a:cubicBezTo>
                    <a:cubicBezTo>
                      <a:pt x="42284" y="72354"/>
                      <a:pt x="35485" y="98912"/>
                      <a:pt x="35485" y="135441"/>
                    </a:cubicBezTo>
                    <a:cubicBezTo>
                      <a:pt x="35485" y="172231"/>
                      <a:pt x="42350" y="198985"/>
                      <a:pt x="56118" y="215703"/>
                    </a:cubicBezTo>
                    <a:cubicBezTo>
                      <a:pt x="69861" y="232421"/>
                      <a:pt x="92034" y="240786"/>
                      <a:pt x="122638" y="240786"/>
                    </a:cubicBezTo>
                    <a:cubicBezTo>
                      <a:pt x="146547" y="240786"/>
                      <a:pt x="167376" y="235253"/>
                      <a:pt x="185112" y="224186"/>
                    </a:cubicBezTo>
                    <a:lnTo>
                      <a:pt x="185112" y="258144"/>
                    </a:lnTo>
                    <a:cubicBezTo>
                      <a:pt x="169399" y="267136"/>
                      <a:pt x="148074" y="271651"/>
                      <a:pt x="121085" y="271651"/>
                    </a:cubicBezTo>
                    <a:close/>
                  </a:path>
                </a:pathLst>
              </a:custGeom>
              <a:solidFill>
                <a:srgbClr val="3D434B"/>
              </a:solidFill>
              <a:ln w="1305" cap="flat">
                <a:noFill/>
                <a:prstDash val="solid"/>
                <a:miter/>
              </a:ln>
            </p:spPr>
            <p:txBody>
              <a:bodyPr rtlCol="0" anchor="ctr"/>
              <a:lstStyle/>
              <a:p>
                <a:endParaRPr lang="de-DE" dirty="0"/>
              </a:p>
            </p:txBody>
          </p:sp>
          <p:sp>
            <p:nvSpPr>
              <p:cNvPr id="112" name="Freeform: Shape 111">
                <a:extLst>
                  <a:ext uri="{FF2B5EF4-FFF2-40B4-BE49-F238E27FC236}">
                    <a16:creationId xmlns:a16="http://schemas.microsoft.com/office/drawing/2014/main" id="{37203D7E-D849-4C62-BA3A-9D52404D7DF3}"/>
                  </a:ext>
                </a:extLst>
              </p:cNvPr>
              <p:cNvSpPr/>
              <p:nvPr/>
            </p:nvSpPr>
            <p:spPr bwMode="gray">
              <a:xfrm>
                <a:off x="9151856" y="4483107"/>
                <a:ext cx="34701" cy="262385"/>
              </a:xfrm>
              <a:custGeom>
                <a:avLst/>
                <a:gdLst>
                  <a:gd name="connsiteX0" fmla="*/ 0 w 34701"/>
                  <a:gd name="connsiteY0" fmla="*/ 262385 h 262385"/>
                  <a:gd name="connsiteX1" fmla="*/ 0 w 34701"/>
                  <a:gd name="connsiteY1" fmla="*/ 0 h 262385"/>
                  <a:gd name="connsiteX2" fmla="*/ 34702 w 34701"/>
                  <a:gd name="connsiteY2" fmla="*/ 0 h 262385"/>
                  <a:gd name="connsiteX3" fmla="*/ 34702 w 34701"/>
                  <a:gd name="connsiteY3" fmla="*/ 262385 h 262385"/>
                  <a:gd name="connsiteX4" fmla="*/ 0 w 34701"/>
                  <a:gd name="connsiteY4" fmla="*/ 262385 h 262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1" h="262385">
                    <a:moveTo>
                      <a:pt x="0" y="262385"/>
                    </a:moveTo>
                    <a:lnTo>
                      <a:pt x="0" y="0"/>
                    </a:lnTo>
                    <a:lnTo>
                      <a:pt x="34702" y="0"/>
                    </a:lnTo>
                    <a:lnTo>
                      <a:pt x="34702" y="262385"/>
                    </a:lnTo>
                    <a:lnTo>
                      <a:pt x="0" y="262385"/>
                    </a:lnTo>
                    <a:close/>
                  </a:path>
                </a:pathLst>
              </a:custGeom>
              <a:solidFill>
                <a:srgbClr val="3D434B"/>
              </a:solidFill>
              <a:ln w="1305" cap="flat">
                <a:noFill/>
                <a:prstDash val="solid"/>
                <a:miter/>
              </a:ln>
            </p:spPr>
            <p:txBody>
              <a:bodyPr rtlCol="0" anchor="ctr"/>
              <a:lstStyle/>
              <a:p>
                <a:endParaRPr lang="de-DE" dirty="0"/>
              </a:p>
            </p:txBody>
          </p:sp>
          <p:sp>
            <p:nvSpPr>
              <p:cNvPr id="113" name="Freeform: Shape 112">
                <a:extLst>
                  <a:ext uri="{FF2B5EF4-FFF2-40B4-BE49-F238E27FC236}">
                    <a16:creationId xmlns:a16="http://schemas.microsoft.com/office/drawing/2014/main" id="{697334D3-90B2-4B0B-B525-6439E35FF99E}"/>
                  </a:ext>
                </a:extLst>
              </p:cNvPr>
              <p:cNvSpPr/>
              <p:nvPr/>
            </p:nvSpPr>
            <p:spPr bwMode="gray">
              <a:xfrm>
                <a:off x="9295375" y="4483107"/>
                <a:ext cx="189718" cy="262385"/>
              </a:xfrm>
              <a:custGeom>
                <a:avLst/>
                <a:gdLst>
                  <a:gd name="connsiteX0" fmla="*/ 0 w 189718"/>
                  <a:gd name="connsiteY0" fmla="*/ 262385 h 262385"/>
                  <a:gd name="connsiteX1" fmla="*/ 0 w 189718"/>
                  <a:gd name="connsiteY1" fmla="*/ 0 h 262385"/>
                  <a:gd name="connsiteX2" fmla="*/ 187408 w 189718"/>
                  <a:gd name="connsiteY2" fmla="*/ 0 h 262385"/>
                  <a:gd name="connsiteX3" fmla="*/ 187408 w 189718"/>
                  <a:gd name="connsiteY3" fmla="*/ 30865 h 262385"/>
                  <a:gd name="connsiteX4" fmla="*/ 34702 w 189718"/>
                  <a:gd name="connsiteY4" fmla="*/ 30865 h 262385"/>
                  <a:gd name="connsiteX5" fmla="*/ 34702 w 189718"/>
                  <a:gd name="connsiteY5" fmla="*/ 113437 h 262385"/>
                  <a:gd name="connsiteX6" fmla="*/ 165809 w 189718"/>
                  <a:gd name="connsiteY6" fmla="*/ 113437 h 262385"/>
                  <a:gd name="connsiteX7" fmla="*/ 165809 w 189718"/>
                  <a:gd name="connsiteY7" fmla="*/ 144302 h 262385"/>
                  <a:gd name="connsiteX8" fmla="*/ 34702 w 189718"/>
                  <a:gd name="connsiteY8" fmla="*/ 144302 h 262385"/>
                  <a:gd name="connsiteX9" fmla="*/ 34702 w 189718"/>
                  <a:gd name="connsiteY9" fmla="*/ 231507 h 262385"/>
                  <a:gd name="connsiteX10" fmla="*/ 189718 w 189718"/>
                  <a:gd name="connsiteY10" fmla="*/ 231507 h 262385"/>
                  <a:gd name="connsiteX11" fmla="*/ 189718 w 189718"/>
                  <a:gd name="connsiteY11" fmla="*/ 262372 h 262385"/>
                  <a:gd name="connsiteX12" fmla="*/ 0 w 189718"/>
                  <a:gd name="connsiteY12" fmla="*/ 262372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718" h="262385">
                    <a:moveTo>
                      <a:pt x="0" y="262385"/>
                    </a:moveTo>
                    <a:lnTo>
                      <a:pt x="0" y="0"/>
                    </a:lnTo>
                    <a:lnTo>
                      <a:pt x="187408" y="0"/>
                    </a:lnTo>
                    <a:lnTo>
                      <a:pt x="187408" y="30865"/>
                    </a:lnTo>
                    <a:lnTo>
                      <a:pt x="34702" y="30865"/>
                    </a:lnTo>
                    <a:lnTo>
                      <a:pt x="34702" y="113437"/>
                    </a:lnTo>
                    <a:lnTo>
                      <a:pt x="165809" y="113437"/>
                    </a:lnTo>
                    <a:lnTo>
                      <a:pt x="165809" y="144302"/>
                    </a:lnTo>
                    <a:lnTo>
                      <a:pt x="34702" y="144302"/>
                    </a:lnTo>
                    <a:lnTo>
                      <a:pt x="34702" y="231507"/>
                    </a:lnTo>
                    <a:lnTo>
                      <a:pt x="189718" y="231507"/>
                    </a:lnTo>
                    <a:lnTo>
                      <a:pt x="189718" y="262372"/>
                    </a:lnTo>
                    <a:lnTo>
                      <a:pt x="0" y="262372"/>
                    </a:lnTo>
                    <a:close/>
                  </a:path>
                </a:pathLst>
              </a:custGeom>
              <a:solidFill>
                <a:srgbClr val="3D434B"/>
              </a:solidFill>
              <a:ln w="1305" cap="flat">
                <a:noFill/>
                <a:prstDash val="solid"/>
                <a:miter/>
              </a:ln>
            </p:spPr>
            <p:txBody>
              <a:bodyPr rtlCol="0" anchor="ctr"/>
              <a:lstStyle/>
              <a:p>
                <a:endParaRPr lang="de-DE" dirty="0"/>
              </a:p>
            </p:txBody>
          </p:sp>
          <p:sp>
            <p:nvSpPr>
              <p:cNvPr id="114" name="Freeform: Shape 113">
                <a:extLst>
                  <a:ext uri="{FF2B5EF4-FFF2-40B4-BE49-F238E27FC236}">
                    <a16:creationId xmlns:a16="http://schemas.microsoft.com/office/drawing/2014/main" id="{DEABAC05-29A3-47F7-B044-95249F9867B5}"/>
                  </a:ext>
                </a:extLst>
              </p:cNvPr>
              <p:cNvSpPr/>
              <p:nvPr/>
            </p:nvSpPr>
            <p:spPr bwMode="gray">
              <a:xfrm>
                <a:off x="9575157" y="4483107"/>
                <a:ext cx="207845" cy="262385"/>
              </a:xfrm>
              <a:custGeom>
                <a:avLst/>
                <a:gdLst>
                  <a:gd name="connsiteX0" fmla="*/ 0 w 207845"/>
                  <a:gd name="connsiteY0" fmla="*/ 262385 h 262385"/>
                  <a:gd name="connsiteX1" fmla="*/ 0 w 207845"/>
                  <a:gd name="connsiteY1" fmla="*/ 0 h 262385"/>
                  <a:gd name="connsiteX2" fmla="*/ 43628 w 207845"/>
                  <a:gd name="connsiteY2" fmla="*/ 0 h 262385"/>
                  <a:gd name="connsiteX3" fmla="*/ 174684 w 207845"/>
                  <a:gd name="connsiteY3" fmla="*/ 199885 h 262385"/>
                  <a:gd name="connsiteX4" fmla="*/ 174684 w 207845"/>
                  <a:gd name="connsiteY4" fmla="*/ 0 h 262385"/>
                  <a:gd name="connsiteX5" fmla="*/ 207846 w 207845"/>
                  <a:gd name="connsiteY5" fmla="*/ 0 h 262385"/>
                  <a:gd name="connsiteX6" fmla="*/ 207846 w 207845"/>
                  <a:gd name="connsiteY6" fmla="*/ 262385 h 262385"/>
                  <a:gd name="connsiteX7" fmla="*/ 175076 w 207845"/>
                  <a:gd name="connsiteY7" fmla="*/ 262385 h 262385"/>
                  <a:gd name="connsiteX8" fmla="*/ 33161 w 207845"/>
                  <a:gd name="connsiteY8" fmla="*/ 45925 h 262385"/>
                  <a:gd name="connsiteX9" fmla="*/ 33161 w 207845"/>
                  <a:gd name="connsiteY9" fmla="*/ 262385 h 262385"/>
                  <a:gd name="connsiteX10" fmla="*/ 0 w 207845"/>
                  <a:gd name="connsiteY10"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845" h="262385">
                    <a:moveTo>
                      <a:pt x="0" y="262385"/>
                    </a:moveTo>
                    <a:lnTo>
                      <a:pt x="0" y="0"/>
                    </a:lnTo>
                    <a:lnTo>
                      <a:pt x="43628" y="0"/>
                    </a:lnTo>
                    <a:lnTo>
                      <a:pt x="174684" y="199885"/>
                    </a:lnTo>
                    <a:lnTo>
                      <a:pt x="174684" y="0"/>
                    </a:lnTo>
                    <a:lnTo>
                      <a:pt x="207846" y="0"/>
                    </a:lnTo>
                    <a:lnTo>
                      <a:pt x="207846" y="262385"/>
                    </a:lnTo>
                    <a:lnTo>
                      <a:pt x="175076" y="262385"/>
                    </a:lnTo>
                    <a:lnTo>
                      <a:pt x="33161" y="45925"/>
                    </a:lnTo>
                    <a:lnTo>
                      <a:pt x="33161" y="262385"/>
                    </a:lnTo>
                    <a:lnTo>
                      <a:pt x="0" y="262385"/>
                    </a:lnTo>
                    <a:close/>
                  </a:path>
                </a:pathLst>
              </a:custGeom>
              <a:solidFill>
                <a:srgbClr val="3D434B"/>
              </a:solidFill>
              <a:ln w="1305" cap="flat">
                <a:noFill/>
                <a:prstDash val="solid"/>
                <a:miter/>
              </a:ln>
            </p:spPr>
            <p:txBody>
              <a:bodyPr rtlCol="0" anchor="ctr"/>
              <a:lstStyle/>
              <a:p>
                <a:endParaRPr lang="de-DE" dirty="0"/>
              </a:p>
            </p:txBody>
          </p:sp>
          <p:sp>
            <p:nvSpPr>
              <p:cNvPr id="115" name="Freeform: Shape 114">
                <a:extLst>
                  <a:ext uri="{FF2B5EF4-FFF2-40B4-BE49-F238E27FC236}">
                    <a16:creationId xmlns:a16="http://schemas.microsoft.com/office/drawing/2014/main" id="{FBACE136-8490-45C2-A5C3-1D776B57B72D}"/>
                  </a:ext>
                </a:extLst>
              </p:cNvPr>
              <p:cNvSpPr/>
              <p:nvPr/>
            </p:nvSpPr>
            <p:spPr bwMode="gray">
              <a:xfrm>
                <a:off x="9879500" y="4478474"/>
                <a:ext cx="185112" cy="271651"/>
              </a:xfrm>
              <a:custGeom>
                <a:avLst/>
                <a:gdLst>
                  <a:gd name="connsiteX0" fmla="*/ 121085 w 185112"/>
                  <a:gd name="connsiteY0" fmla="*/ 271651 h 271651"/>
                  <a:gd name="connsiteX1" fmla="*/ 29690 w 185112"/>
                  <a:gd name="connsiteY1" fmla="*/ 238267 h 271651"/>
                  <a:gd name="connsiteX2" fmla="*/ 0 w 185112"/>
                  <a:gd name="connsiteY2" fmla="*/ 135819 h 271651"/>
                  <a:gd name="connsiteX3" fmla="*/ 29495 w 185112"/>
                  <a:gd name="connsiteY3" fmla="*/ 33371 h 271651"/>
                  <a:gd name="connsiteX4" fmla="*/ 120315 w 185112"/>
                  <a:gd name="connsiteY4" fmla="*/ 0 h 271651"/>
                  <a:gd name="connsiteX5" fmla="*/ 185099 w 185112"/>
                  <a:gd name="connsiteY5" fmla="*/ 13508 h 271651"/>
                  <a:gd name="connsiteX6" fmla="*/ 185099 w 185112"/>
                  <a:gd name="connsiteY6" fmla="*/ 47466 h 271651"/>
                  <a:gd name="connsiteX7" fmla="*/ 121476 w 185112"/>
                  <a:gd name="connsiteY7" fmla="*/ 30878 h 271651"/>
                  <a:gd name="connsiteX8" fmla="*/ 55923 w 185112"/>
                  <a:gd name="connsiteY8" fmla="*/ 55753 h 271651"/>
                  <a:gd name="connsiteX9" fmla="*/ 35485 w 185112"/>
                  <a:gd name="connsiteY9" fmla="*/ 135441 h 271651"/>
                  <a:gd name="connsiteX10" fmla="*/ 56118 w 185112"/>
                  <a:gd name="connsiteY10" fmla="*/ 215703 h 271651"/>
                  <a:gd name="connsiteX11" fmla="*/ 122638 w 185112"/>
                  <a:gd name="connsiteY11" fmla="*/ 240786 h 271651"/>
                  <a:gd name="connsiteX12" fmla="*/ 185112 w 185112"/>
                  <a:gd name="connsiteY12" fmla="*/ 224186 h 271651"/>
                  <a:gd name="connsiteX13" fmla="*/ 185112 w 185112"/>
                  <a:gd name="connsiteY13" fmla="*/ 258144 h 271651"/>
                  <a:gd name="connsiteX14" fmla="*/ 121085 w 185112"/>
                  <a:gd name="connsiteY14" fmla="*/ 271651 h 27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5112" h="271651">
                    <a:moveTo>
                      <a:pt x="121085" y="271651"/>
                    </a:moveTo>
                    <a:cubicBezTo>
                      <a:pt x="79949" y="271651"/>
                      <a:pt x="49476" y="260519"/>
                      <a:pt x="29690" y="238267"/>
                    </a:cubicBezTo>
                    <a:cubicBezTo>
                      <a:pt x="9893" y="216029"/>
                      <a:pt x="0" y="181875"/>
                      <a:pt x="0" y="135819"/>
                    </a:cubicBezTo>
                    <a:cubicBezTo>
                      <a:pt x="0" y="89776"/>
                      <a:pt x="9828" y="55622"/>
                      <a:pt x="29495" y="33371"/>
                    </a:cubicBezTo>
                    <a:cubicBezTo>
                      <a:pt x="49175" y="11119"/>
                      <a:pt x="79440" y="0"/>
                      <a:pt x="120315" y="0"/>
                    </a:cubicBezTo>
                    <a:cubicBezTo>
                      <a:pt x="147565" y="0"/>
                      <a:pt x="169164" y="4503"/>
                      <a:pt x="185099" y="13508"/>
                    </a:cubicBezTo>
                    <a:lnTo>
                      <a:pt x="185099" y="47466"/>
                    </a:lnTo>
                    <a:cubicBezTo>
                      <a:pt x="166841" y="36412"/>
                      <a:pt x="145634" y="30878"/>
                      <a:pt x="121476" y="30878"/>
                    </a:cubicBezTo>
                    <a:cubicBezTo>
                      <a:pt x="91395" y="30878"/>
                      <a:pt x="69535" y="39165"/>
                      <a:pt x="55923" y="55753"/>
                    </a:cubicBezTo>
                    <a:cubicBezTo>
                      <a:pt x="42285" y="72354"/>
                      <a:pt x="35485" y="98912"/>
                      <a:pt x="35485" y="135441"/>
                    </a:cubicBezTo>
                    <a:cubicBezTo>
                      <a:pt x="35485" y="172231"/>
                      <a:pt x="42350" y="198985"/>
                      <a:pt x="56118" y="215703"/>
                    </a:cubicBezTo>
                    <a:cubicBezTo>
                      <a:pt x="69861" y="232421"/>
                      <a:pt x="92034" y="240786"/>
                      <a:pt x="122638" y="240786"/>
                    </a:cubicBezTo>
                    <a:cubicBezTo>
                      <a:pt x="146547" y="240786"/>
                      <a:pt x="167376" y="235253"/>
                      <a:pt x="185112" y="224186"/>
                    </a:cubicBezTo>
                    <a:lnTo>
                      <a:pt x="185112" y="258144"/>
                    </a:lnTo>
                    <a:cubicBezTo>
                      <a:pt x="169412" y="267136"/>
                      <a:pt x="148074" y="271651"/>
                      <a:pt x="121085" y="271651"/>
                    </a:cubicBezTo>
                    <a:close/>
                  </a:path>
                </a:pathLst>
              </a:custGeom>
              <a:solidFill>
                <a:srgbClr val="3D434B"/>
              </a:solidFill>
              <a:ln w="1305" cap="flat">
                <a:noFill/>
                <a:prstDash val="solid"/>
                <a:miter/>
              </a:ln>
            </p:spPr>
            <p:txBody>
              <a:bodyPr rtlCol="0" anchor="ctr"/>
              <a:lstStyle/>
              <a:p>
                <a:endParaRPr lang="de-DE" dirty="0"/>
              </a:p>
            </p:txBody>
          </p:sp>
          <p:sp>
            <p:nvSpPr>
              <p:cNvPr id="116" name="Freeform: Shape 115">
                <a:extLst>
                  <a:ext uri="{FF2B5EF4-FFF2-40B4-BE49-F238E27FC236}">
                    <a16:creationId xmlns:a16="http://schemas.microsoft.com/office/drawing/2014/main" id="{C9C1BD01-6A5D-481C-B4AE-40E31D458945}"/>
                  </a:ext>
                </a:extLst>
              </p:cNvPr>
              <p:cNvSpPr/>
              <p:nvPr/>
            </p:nvSpPr>
            <p:spPr bwMode="gray">
              <a:xfrm>
                <a:off x="10154858" y="4483107"/>
                <a:ext cx="189718" cy="262385"/>
              </a:xfrm>
              <a:custGeom>
                <a:avLst/>
                <a:gdLst>
                  <a:gd name="connsiteX0" fmla="*/ 0 w 189718"/>
                  <a:gd name="connsiteY0" fmla="*/ 262385 h 262385"/>
                  <a:gd name="connsiteX1" fmla="*/ 0 w 189718"/>
                  <a:gd name="connsiteY1" fmla="*/ 0 h 262385"/>
                  <a:gd name="connsiteX2" fmla="*/ 187409 w 189718"/>
                  <a:gd name="connsiteY2" fmla="*/ 0 h 262385"/>
                  <a:gd name="connsiteX3" fmla="*/ 187409 w 189718"/>
                  <a:gd name="connsiteY3" fmla="*/ 30865 h 262385"/>
                  <a:gd name="connsiteX4" fmla="*/ 34702 w 189718"/>
                  <a:gd name="connsiteY4" fmla="*/ 30865 h 262385"/>
                  <a:gd name="connsiteX5" fmla="*/ 34702 w 189718"/>
                  <a:gd name="connsiteY5" fmla="*/ 113437 h 262385"/>
                  <a:gd name="connsiteX6" fmla="*/ 165809 w 189718"/>
                  <a:gd name="connsiteY6" fmla="*/ 113437 h 262385"/>
                  <a:gd name="connsiteX7" fmla="*/ 165809 w 189718"/>
                  <a:gd name="connsiteY7" fmla="*/ 144302 h 262385"/>
                  <a:gd name="connsiteX8" fmla="*/ 34702 w 189718"/>
                  <a:gd name="connsiteY8" fmla="*/ 144302 h 262385"/>
                  <a:gd name="connsiteX9" fmla="*/ 34702 w 189718"/>
                  <a:gd name="connsiteY9" fmla="*/ 231507 h 262385"/>
                  <a:gd name="connsiteX10" fmla="*/ 189719 w 189718"/>
                  <a:gd name="connsiteY10" fmla="*/ 231507 h 262385"/>
                  <a:gd name="connsiteX11" fmla="*/ 189719 w 189718"/>
                  <a:gd name="connsiteY11" fmla="*/ 262372 h 262385"/>
                  <a:gd name="connsiteX12" fmla="*/ 0 w 189718"/>
                  <a:gd name="connsiteY12" fmla="*/ 262372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718" h="262385">
                    <a:moveTo>
                      <a:pt x="0" y="262385"/>
                    </a:moveTo>
                    <a:lnTo>
                      <a:pt x="0" y="0"/>
                    </a:lnTo>
                    <a:lnTo>
                      <a:pt x="187409" y="0"/>
                    </a:lnTo>
                    <a:lnTo>
                      <a:pt x="187409" y="30865"/>
                    </a:lnTo>
                    <a:lnTo>
                      <a:pt x="34702" y="30865"/>
                    </a:lnTo>
                    <a:lnTo>
                      <a:pt x="34702" y="113437"/>
                    </a:lnTo>
                    <a:lnTo>
                      <a:pt x="165809" y="113437"/>
                    </a:lnTo>
                    <a:lnTo>
                      <a:pt x="165809" y="144302"/>
                    </a:lnTo>
                    <a:lnTo>
                      <a:pt x="34702" y="144302"/>
                    </a:lnTo>
                    <a:lnTo>
                      <a:pt x="34702" y="231507"/>
                    </a:lnTo>
                    <a:lnTo>
                      <a:pt x="189719" y="231507"/>
                    </a:lnTo>
                    <a:lnTo>
                      <a:pt x="189719" y="262372"/>
                    </a:lnTo>
                    <a:lnTo>
                      <a:pt x="0" y="262372"/>
                    </a:lnTo>
                    <a:close/>
                  </a:path>
                </a:pathLst>
              </a:custGeom>
              <a:solidFill>
                <a:srgbClr val="3D434B"/>
              </a:solidFill>
              <a:ln w="1305" cap="flat">
                <a:noFill/>
                <a:prstDash val="solid"/>
                <a:miter/>
              </a:ln>
            </p:spPr>
            <p:txBody>
              <a:bodyPr rtlCol="0" anchor="ctr"/>
              <a:lstStyle/>
              <a:p>
                <a:endParaRPr lang="de-DE" dirty="0"/>
              </a:p>
            </p:txBody>
          </p:sp>
          <p:sp>
            <p:nvSpPr>
              <p:cNvPr id="117" name="Freeform: Shape 116">
                <a:extLst>
                  <a:ext uri="{FF2B5EF4-FFF2-40B4-BE49-F238E27FC236}">
                    <a16:creationId xmlns:a16="http://schemas.microsoft.com/office/drawing/2014/main" id="{40D14D36-A38E-4552-87AC-8497094C2AD3}"/>
                  </a:ext>
                </a:extLst>
              </p:cNvPr>
              <p:cNvSpPr/>
              <p:nvPr/>
            </p:nvSpPr>
            <p:spPr bwMode="gray">
              <a:xfrm>
                <a:off x="10425608" y="4478487"/>
                <a:ext cx="184341" cy="271638"/>
              </a:xfrm>
              <a:custGeom>
                <a:avLst/>
                <a:gdLst>
                  <a:gd name="connsiteX0" fmla="*/ 87544 w 184341"/>
                  <a:gd name="connsiteY0" fmla="*/ 271638 h 271638"/>
                  <a:gd name="connsiteX1" fmla="*/ 0 w 184341"/>
                  <a:gd name="connsiteY1" fmla="*/ 249256 h 271638"/>
                  <a:gd name="connsiteX2" fmla="*/ 0 w 184341"/>
                  <a:gd name="connsiteY2" fmla="*/ 213758 h 271638"/>
                  <a:gd name="connsiteX3" fmla="*/ 88302 w 184341"/>
                  <a:gd name="connsiteY3" fmla="*/ 240773 h 271638"/>
                  <a:gd name="connsiteX4" fmla="*/ 149627 w 184341"/>
                  <a:gd name="connsiteY4" fmla="*/ 195239 h 271638"/>
                  <a:gd name="connsiteX5" fmla="*/ 138625 w 184341"/>
                  <a:gd name="connsiteY5" fmla="*/ 168942 h 271638"/>
                  <a:gd name="connsiteX6" fmla="*/ 97515 w 184341"/>
                  <a:gd name="connsiteY6" fmla="*/ 153007 h 271638"/>
                  <a:gd name="connsiteX7" fmla="*/ 68634 w 184341"/>
                  <a:gd name="connsiteY7" fmla="*/ 146234 h 271638"/>
                  <a:gd name="connsiteX8" fmla="*/ 18506 w 184341"/>
                  <a:gd name="connsiteY8" fmla="*/ 121346 h 271638"/>
                  <a:gd name="connsiteX9" fmla="*/ 3850 w 184341"/>
                  <a:gd name="connsiteY9" fmla="*/ 76778 h 271638"/>
                  <a:gd name="connsiteX10" fmla="*/ 96406 w 184341"/>
                  <a:gd name="connsiteY10" fmla="*/ 0 h 271638"/>
                  <a:gd name="connsiteX11" fmla="*/ 170064 w 184341"/>
                  <a:gd name="connsiteY11" fmla="*/ 16209 h 271638"/>
                  <a:gd name="connsiteX12" fmla="*/ 170064 w 184341"/>
                  <a:gd name="connsiteY12" fmla="*/ 51329 h 271638"/>
                  <a:gd name="connsiteX13" fmla="*/ 97567 w 184341"/>
                  <a:gd name="connsiteY13" fmla="*/ 30878 h 271638"/>
                  <a:gd name="connsiteX14" fmla="*/ 38565 w 184341"/>
                  <a:gd name="connsiteY14" fmla="*/ 74481 h 271638"/>
                  <a:gd name="connsiteX15" fmla="*/ 48784 w 184341"/>
                  <a:gd name="connsiteY15" fmla="*/ 99499 h 271638"/>
                  <a:gd name="connsiteX16" fmla="*/ 86018 w 184341"/>
                  <a:gd name="connsiteY16" fmla="*/ 114520 h 271638"/>
                  <a:gd name="connsiteX17" fmla="*/ 115708 w 184341"/>
                  <a:gd name="connsiteY17" fmla="*/ 121085 h 271638"/>
                  <a:gd name="connsiteX18" fmla="*/ 168524 w 184341"/>
                  <a:gd name="connsiteY18" fmla="*/ 146978 h 271638"/>
                  <a:gd name="connsiteX19" fmla="*/ 184342 w 184341"/>
                  <a:gd name="connsiteY19" fmla="*/ 194104 h 271638"/>
                  <a:gd name="connsiteX20" fmla="*/ 87544 w 184341"/>
                  <a:gd name="connsiteY20" fmla="*/ 271638 h 27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4341" h="271638">
                    <a:moveTo>
                      <a:pt x="87544" y="271638"/>
                    </a:moveTo>
                    <a:cubicBezTo>
                      <a:pt x="48209" y="271638"/>
                      <a:pt x="19028" y="264173"/>
                      <a:pt x="0" y="249256"/>
                    </a:cubicBezTo>
                    <a:lnTo>
                      <a:pt x="0" y="213758"/>
                    </a:lnTo>
                    <a:cubicBezTo>
                      <a:pt x="24157" y="231768"/>
                      <a:pt x="53613" y="240773"/>
                      <a:pt x="88302" y="240773"/>
                    </a:cubicBezTo>
                    <a:cubicBezTo>
                      <a:pt x="129189" y="240773"/>
                      <a:pt x="149627" y="225595"/>
                      <a:pt x="149627" y="195239"/>
                    </a:cubicBezTo>
                    <a:cubicBezTo>
                      <a:pt x="149627" y="183715"/>
                      <a:pt x="145947" y="174958"/>
                      <a:pt x="138625" y="168942"/>
                    </a:cubicBezTo>
                    <a:cubicBezTo>
                      <a:pt x="131291" y="162926"/>
                      <a:pt x="117587" y="157614"/>
                      <a:pt x="97515" y="153007"/>
                    </a:cubicBezTo>
                    <a:lnTo>
                      <a:pt x="68634" y="146234"/>
                    </a:lnTo>
                    <a:cubicBezTo>
                      <a:pt x="44986" y="140831"/>
                      <a:pt x="28268" y="132530"/>
                      <a:pt x="18506" y="121346"/>
                    </a:cubicBezTo>
                    <a:cubicBezTo>
                      <a:pt x="8731" y="110161"/>
                      <a:pt x="3850" y="95310"/>
                      <a:pt x="3850" y="76778"/>
                    </a:cubicBezTo>
                    <a:cubicBezTo>
                      <a:pt x="3850" y="25593"/>
                      <a:pt x="34702" y="0"/>
                      <a:pt x="96406" y="0"/>
                    </a:cubicBezTo>
                    <a:cubicBezTo>
                      <a:pt x="130338" y="0"/>
                      <a:pt x="154886" y="5403"/>
                      <a:pt x="170064" y="16209"/>
                    </a:cubicBezTo>
                    <a:lnTo>
                      <a:pt x="170064" y="51329"/>
                    </a:lnTo>
                    <a:cubicBezTo>
                      <a:pt x="150775" y="37691"/>
                      <a:pt x="126618" y="30878"/>
                      <a:pt x="97567" y="30878"/>
                    </a:cubicBezTo>
                    <a:cubicBezTo>
                      <a:pt x="58233" y="30878"/>
                      <a:pt x="38565" y="45417"/>
                      <a:pt x="38565" y="74481"/>
                    </a:cubicBezTo>
                    <a:cubicBezTo>
                      <a:pt x="38565" y="85013"/>
                      <a:pt x="41958" y="93339"/>
                      <a:pt x="48784" y="99499"/>
                    </a:cubicBezTo>
                    <a:cubicBezTo>
                      <a:pt x="55596" y="105659"/>
                      <a:pt x="68007" y="110670"/>
                      <a:pt x="86018" y="114520"/>
                    </a:cubicBezTo>
                    <a:lnTo>
                      <a:pt x="115708" y="121085"/>
                    </a:lnTo>
                    <a:cubicBezTo>
                      <a:pt x="140374" y="126501"/>
                      <a:pt x="157992" y="135127"/>
                      <a:pt x="168524" y="146978"/>
                    </a:cubicBezTo>
                    <a:cubicBezTo>
                      <a:pt x="179069" y="158828"/>
                      <a:pt x="184342" y="174541"/>
                      <a:pt x="184342" y="194104"/>
                    </a:cubicBezTo>
                    <a:cubicBezTo>
                      <a:pt x="184342" y="245785"/>
                      <a:pt x="152067" y="271638"/>
                      <a:pt x="87544" y="271638"/>
                    </a:cubicBezTo>
                    <a:close/>
                  </a:path>
                </a:pathLst>
              </a:custGeom>
              <a:solidFill>
                <a:srgbClr val="3D434B"/>
              </a:solidFill>
              <a:ln w="1305" cap="flat">
                <a:noFill/>
                <a:prstDash val="solid"/>
                <a:miter/>
              </a:ln>
            </p:spPr>
            <p:txBody>
              <a:bodyPr rtlCol="0" anchor="ctr"/>
              <a:lstStyle/>
              <a:p>
                <a:endParaRPr lang="de-DE" dirty="0"/>
              </a:p>
            </p:txBody>
          </p:sp>
        </p:grpSp>
        <p:grpSp>
          <p:nvGrpSpPr>
            <p:cNvPr id="87" name="Graphic 3">
              <a:extLst>
                <a:ext uri="{FF2B5EF4-FFF2-40B4-BE49-F238E27FC236}">
                  <a16:creationId xmlns:a16="http://schemas.microsoft.com/office/drawing/2014/main" id="{3A733EEF-986E-4D01-990B-F074590CB2A9}"/>
                </a:ext>
              </a:extLst>
            </p:cNvPr>
            <p:cNvGrpSpPr/>
            <p:nvPr/>
          </p:nvGrpSpPr>
          <p:grpSpPr bwMode="gray">
            <a:xfrm>
              <a:off x="1225830" y="2481785"/>
              <a:ext cx="1609205" cy="1626009"/>
              <a:chOff x="1225830" y="2481785"/>
              <a:chExt cx="1609205" cy="1626009"/>
            </a:xfrm>
          </p:grpSpPr>
          <p:sp>
            <p:nvSpPr>
              <p:cNvPr id="88" name="Freeform: Shape 87">
                <a:extLst>
                  <a:ext uri="{FF2B5EF4-FFF2-40B4-BE49-F238E27FC236}">
                    <a16:creationId xmlns:a16="http://schemas.microsoft.com/office/drawing/2014/main" id="{ED0AB868-1466-4075-A233-E2A2A3630D58}"/>
                  </a:ext>
                </a:extLst>
              </p:cNvPr>
              <p:cNvSpPr/>
              <p:nvPr/>
            </p:nvSpPr>
            <p:spPr bwMode="gray">
              <a:xfrm>
                <a:off x="1225830" y="3224285"/>
                <a:ext cx="1147028" cy="713117"/>
              </a:xfrm>
              <a:custGeom>
                <a:avLst/>
                <a:gdLst>
                  <a:gd name="connsiteX0" fmla="*/ 801276 w 1147028"/>
                  <a:gd name="connsiteY0" fmla="*/ 441233 h 713117"/>
                  <a:gd name="connsiteX1" fmla="*/ 271677 w 1147028"/>
                  <a:gd name="connsiteY1" fmla="*/ 223168 h 713117"/>
                  <a:gd name="connsiteX2" fmla="*/ 246163 w 1147028"/>
                  <a:gd name="connsiteY2" fmla="*/ 0 h 713117"/>
                  <a:gd name="connsiteX3" fmla="*/ 3549 w 1147028"/>
                  <a:gd name="connsiteY3" fmla="*/ 78 h 713117"/>
                  <a:gd name="connsiteX4" fmla="*/ 49827 w 1147028"/>
                  <a:gd name="connsiteY4" fmla="*/ 315737 h 713117"/>
                  <a:gd name="connsiteX5" fmla="*/ 893792 w 1147028"/>
                  <a:gd name="connsiteY5" fmla="*/ 663213 h 713117"/>
                  <a:gd name="connsiteX6" fmla="*/ 1147029 w 1147028"/>
                  <a:gd name="connsiteY6" fmla="*/ 473690 h 713117"/>
                  <a:gd name="connsiteX7" fmla="*/ 975412 w 1147028"/>
                  <a:gd name="connsiteY7" fmla="*/ 302060 h 713117"/>
                  <a:gd name="connsiteX8" fmla="*/ 801276 w 1147028"/>
                  <a:gd name="connsiteY8" fmla="*/ 441233 h 71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7028" h="713117">
                    <a:moveTo>
                      <a:pt x="801276" y="441233"/>
                    </a:moveTo>
                    <a:cubicBezTo>
                      <a:pt x="594865" y="527354"/>
                      <a:pt x="357759" y="429722"/>
                      <a:pt x="271677" y="223168"/>
                    </a:cubicBezTo>
                    <a:cubicBezTo>
                      <a:pt x="241164" y="149940"/>
                      <a:pt x="233843" y="72875"/>
                      <a:pt x="246163" y="0"/>
                    </a:cubicBezTo>
                    <a:lnTo>
                      <a:pt x="3549" y="78"/>
                    </a:lnTo>
                    <a:cubicBezTo>
                      <a:pt x="-7413" y="104132"/>
                      <a:pt x="6747" y="212362"/>
                      <a:pt x="49827" y="315737"/>
                    </a:cubicBezTo>
                    <a:cubicBezTo>
                      <a:pt x="186964" y="644876"/>
                      <a:pt x="564835" y="800467"/>
                      <a:pt x="893792" y="663213"/>
                    </a:cubicBezTo>
                    <a:cubicBezTo>
                      <a:pt x="996241" y="620485"/>
                      <a:pt x="1081840" y="554369"/>
                      <a:pt x="1147029" y="473690"/>
                    </a:cubicBezTo>
                    <a:lnTo>
                      <a:pt x="975412" y="302060"/>
                    </a:lnTo>
                    <a:cubicBezTo>
                      <a:pt x="933023" y="361858"/>
                      <a:pt x="873942" y="410929"/>
                      <a:pt x="801276" y="441233"/>
                    </a:cubicBezTo>
                    <a:close/>
                  </a:path>
                </a:pathLst>
              </a:custGeom>
              <a:solidFill>
                <a:srgbClr val="62636B"/>
              </a:solidFill>
              <a:ln w="1305" cap="flat">
                <a:noFill/>
                <a:prstDash val="solid"/>
                <a:miter/>
              </a:ln>
            </p:spPr>
            <p:txBody>
              <a:bodyPr rtlCol="0" anchor="ctr"/>
              <a:lstStyle/>
              <a:p>
                <a:endParaRPr lang="de-DE" dirty="0"/>
              </a:p>
            </p:txBody>
          </p:sp>
          <p:sp>
            <p:nvSpPr>
              <p:cNvPr id="89" name="Freeform: Shape 88">
                <a:extLst>
                  <a:ext uri="{FF2B5EF4-FFF2-40B4-BE49-F238E27FC236}">
                    <a16:creationId xmlns:a16="http://schemas.microsoft.com/office/drawing/2014/main" id="{5526E1B0-017D-44AF-8824-5841C1D1D9C6}"/>
                  </a:ext>
                </a:extLst>
              </p:cNvPr>
              <p:cNvSpPr/>
              <p:nvPr/>
            </p:nvSpPr>
            <p:spPr bwMode="gray">
              <a:xfrm>
                <a:off x="1580809" y="2481785"/>
                <a:ext cx="1026584" cy="874769"/>
              </a:xfrm>
              <a:custGeom>
                <a:avLst/>
                <a:gdLst>
                  <a:gd name="connsiteX0" fmla="*/ 243997 w 1026584"/>
                  <a:gd name="connsiteY0" fmla="*/ 592208 h 874769"/>
                  <a:gd name="connsiteX1" fmla="*/ 698945 w 1026584"/>
                  <a:gd name="connsiteY1" fmla="*/ 244158 h 874769"/>
                  <a:gd name="connsiteX2" fmla="*/ 904481 w 1026584"/>
                  <a:gd name="connsiteY2" fmla="*/ 334469 h 874769"/>
                  <a:gd name="connsiteX3" fmla="*/ 1026584 w 1026584"/>
                  <a:gd name="connsiteY3" fmla="*/ 124665 h 874769"/>
                  <a:gd name="connsiteX4" fmla="*/ 730737 w 1026584"/>
                  <a:gd name="connsiteY4" fmla="*/ 5747 h 874769"/>
                  <a:gd name="connsiteX5" fmla="*/ 5742 w 1026584"/>
                  <a:gd name="connsiteY5" fmla="*/ 560416 h 874769"/>
                  <a:gd name="connsiteX6" fmla="*/ 41893 w 1026584"/>
                  <a:gd name="connsiteY6" fmla="*/ 874770 h 874769"/>
                  <a:gd name="connsiteX7" fmla="*/ 276493 w 1026584"/>
                  <a:gd name="connsiteY7" fmla="*/ 812818 h 874769"/>
                  <a:gd name="connsiteX8" fmla="*/ 243997 w 1026584"/>
                  <a:gd name="connsiteY8" fmla="*/ 592208 h 87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6584" h="874769">
                    <a:moveTo>
                      <a:pt x="243997" y="592208"/>
                    </a:moveTo>
                    <a:cubicBezTo>
                      <a:pt x="273570" y="370398"/>
                      <a:pt x="477252" y="214559"/>
                      <a:pt x="698945" y="244158"/>
                    </a:cubicBezTo>
                    <a:cubicBezTo>
                      <a:pt x="777537" y="254651"/>
                      <a:pt x="847776" y="287121"/>
                      <a:pt x="904481" y="334469"/>
                    </a:cubicBezTo>
                    <a:lnTo>
                      <a:pt x="1026584" y="124665"/>
                    </a:lnTo>
                    <a:cubicBezTo>
                      <a:pt x="942263" y="62792"/>
                      <a:pt x="841681" y="20546"/>
                      <a:pt x="730737" y="5747"/>
                    </a:cubicBezTo>
                    <a:cubicBezTo>
                      <a:pt x="377480" y="-41418"/>
                      <a:pt x="52869" y="206911"/>
                      <a:pt x="5742" y="560416"/>
                    </a:cubicBezTo>
                    <a:cubicBezTo>
                      <a:pt x="-8940" y="670486"/>
                      <a:pt x="5038" y="777789"/>
                      <a:pt x="41893" y="874770"/>
                    </a:cubicBezTo>
                    <a:lnTo>
                      <a:pt x="276493" y="812818"/>
                    </a:lnTo>
                    <a:cubicBezTo>
                      <a:pt x="246215" y="746050"/>
                      <a:pt x="233582" y="670278"/>
                      <a:pt x="243997" y="592208"/>
                    </a:cubicBezTo>
                    <a:close/>
                  </a:path>
                </a:pathLst>
              </a:custGeom>
              <a:solidFill>
                <a:srgbClr val="3D434B"/>
              </a:solidFill>
              <a:ln w="1305" cap="flat">
                <a:noFill/>
                <a:prstDash val="solid"/>
                <a:miter/>
              </a:ln>
            </p:spPr>
            <p:txBody>
              <a:bodyPr rtlCol="0" anchor="ctr"/>
              <a:lstStyle/>
              <a:p>
                <a:endParaRPr lang="de-DE" dirty="0"/>
              </a:p>
            </p:txBody>
          </p:sp>
          <p:sp>
            <p:nvSpPr>
              <p:cNvPr id="90" name="Freeform: Shape 89">
                <a:extLst>
                  <a:ext uri="{FF2B5EF4-FFF2-40B4-BE49-F238E27FC236}">
                    <a16:creationId xmlns:a16="http://schemas.microsoft.com/office/drawing/2014/main" id="{BF1AAC29-A637-4DEC-B66C-5C093AF90EB1}"/>
                  </a:ext>
                </a:extLst>
              </p:cNvPr>
              <p:cNvSpPr/>
              <p:nvPr/>
            </p:nvSpPr>
            <p:spPr bwMode="gray">
              <a:xfrm>
                <a:off x="2229927" y="2879315"/>
                <a:ext cx="605107" cy="1228479"/>
              </a:xfrm>
              <a:custGeom>
                <a:avLst/>
                <a:gdLst>
                  <a:gd name="connsiteX0" fmla="*/ 207128 w 605107"/>
                  <a:gd name="connsiteY0" fmla="*/ 316559 h 1228479"/>
                  <a:gd name="connsiteX1" fmla="*/ 280369 w 605107"/>
                  <a:gd name="connsiteY1" fmla="*/ 884879 h 1228479"/>
                  <a:gd name="connsiteX2" fmla="*/ 99316 w 605107"/>
                  <a:gd name="connsiteY2" fmla="*/ 1017671 h 1228479"/>
                  <a:gd name="connsiteX3" fmla="*/ 219644 w 605107"/>
                  <a:gd name="connsiteY3" fmla="*/ 1228479 h 1228479"/>
                  <a:gd name="connsiteX4" fmla="*/ 470675 w 605107"/>
                  <a:gd name="connsiteY4" fmla="*/ 1031804 h 1228479"/>
                  <a:gd name="connsiteX5" fmla="*/ 353949 w 605107"/>
                  <a:gd name="connsiteY5" fmla="*/ 126122 h 1228479"/>
                  <a:gd name="connsiteX6" fmla="*/ 63922 w 605107"/>
                  <a:gd name="connsiteY6" fmla="*/ 0 h 1228479"/>
                  <a:gd name="connsiteX7" fmla="*/ 0 w 605107"/>
                  <a:gd name="connsiteY7" fmla="*/ 234209 h 1228479"/>
                  <a:gd name="connsiteX8" fmla="*/ 207128 w 605107"/>
                  <a:gd name="connsiteY8" fmla="*/ 316559 h 122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5107" h="1228479">
                    <a:moveTo>
                      <a:pt x="207128" y="316559"/>
                    </a:moveTo>
                    <a:cubicBezTo>
                      <a:pt x="384201" y="453239"/>
                      <a:pt x="417010" y="707702"/>
                      <a:pt x="280369" y="884879"/>
                    </a:cubicBezTo>
                    <a:cubicBezTo>
                      <a:pt x="231938" y="947679"/>
                      <a:pt x="168668" y="992261"/>
                      <a:pt x="99316" y="1017671"/>
                    </a:cubicBezTo>
                    <a:lnTo>
                      <a:pt x="219644" y="1228479"/>
                    </a:lnTo>
                    <a:cubicBezTo>
                      <a:pt x="315384" y="1186429"/>
                      <a:pt x="402302" y="1120471"/>
                      <a:pt x="470675" y="1031804"/>
                    </a:cubicBezTo>
                    <a:cubicBezTo>
                      <a:pt x="688387" y="749478"/>
                      <a:pt x="636145" y="343978"/>
                      <a:pt x="353949" y="126122"/>
                    </a:cubicBezTo>
                    <a:cubicBezTo>
                      <a:pt x="266092" y="58284"/>
                      <a:pt x="166266" y="16653"/>
                      <a:pt x="63922" y="0"/>
                    </a:cubicBezTo>
                    <a:lnTo>
                      <a:pt x="0" y="234209"/>
                    </a:lnTo>
                    <a:cubicBezTo>
                      <a:pt x="72954" y="241426"/>
                      <a:pt x="144824" y="268441"/>
                      <a:pt x="207128" y="316559"/>
                    </a:cubicBezTo>
                    <a:close/>
                  </a:path>
                </a:pathLst>
              </a:custGeom>
              <a:solidFill>
                <a:srgbClr val="7B7B81"/>
              </a:solidFill>
              <a:ln w="1305" cap="flat">
                <a:noFill/>
                <a:prstDash val="solid"/>
                <a:miter/>
              </a:ln>
            </p:spPr>
            <p:txBody>
              <a:bodyPr rtlCol="0" anchor="ctr"/>
              <a:lstStyle/>
              <a:p>
                <a:endParaRPr lang="de-DE" dirty="0"/>
              </a:p>
            </p:txBody>
          </p:sp>
        </p:grpSp>
      </p:grpSp>
      <p:sp>
        <p:nvSpPr>
          <p:cNvPr id="2" name="Titelplatzhalter 1">
            <a:extLst>
              <a:ext uri="{FF2B5EF4-FFF2-40B4-BE49-F238E27FC236}">
                <a16:creationId xmlns:a16="http://schemas.microsoft.com/office/drawing/2014/main" id="{F262C38A-7CC5-474E-996E-EB21EF277A30}"/>
              </a:ext>
            </a:extLst>
          </p:cNvPr>
          <p:cNvSpPr>
            <a:spLocks noGrp="1"/>
          </p:cNvSpPr>
          <p:nvPr>
            <p:ph type="title"/>
          </p:nvPr>
        </p:nvSpPr>
        <p:spPr bwMode="gray">
          <a:xfrm>
            <a:off x="336000" y="765000"/>
            <a:ext cx="7416000" cy="936000"/>
          </a:xfrm>
          <a:prstGeom prst="rect">
            <a:avLst/>
          </a:prstGeom>
        </p:spPr>
        <p:txBody>
          <a:bodyPr vert="horz" lIns="144000" tIns="0" rIns="0" bIns="0" rtlCol="0" anchor="t" anchorCtr="0">
            <a:noAutofit/>
          </a:bodyPr>
          <a:lstStyle/>
          <a:p>
            <a:r>
              <a:rPr lang="de-DE" dirty="0"/>
              <a:t>Mastertitelformat bearbeiten</a:t>
            </a:r>
          </a:p>
        </p:txBody>
      </p:sp>
      <p:sp>
        <p:nvSpPr>
          <p:cNvPr id="3" name="Textplatzhalter 2">
            <a:extLst>
              <a:ext uri="{FF2B5EF4-FFF2-40B4-BE49-F238E27FC236}">
                <a16:creationId xmlns:a16="http://schemas.microsoft.com/office/drawing/2014/main" id="{7149B356-E296-4D15-B6BD-7CC27A66E55B}"/>
              </a:ext>
            </a:extLst>
          </p:cNvPr>
          <p:cNvSpPr>
            <a:spLocks noGrp="1"/>
          </p:cNvSpPr>
          <p:nvPr>
            <p:ph type="body" idx="1"/>
          </p:nvPr>
        </p:nvSpPr>
        <p:spPr bwMode="gray">
          <a:xfrm>
            <a:off x="336000" y="1989000"/>
            <a:ext cx="7416000" cy="3744000"/>
          </a:xfrm>
          <a:prstGeom prst="rect">
            <a:avLst/>
          </a:prstGeom>
        </p:spPr>
        <p:txBody>
          <a:bodyPr vert="horz" lIns="144000" tIns="144000" rIns="14400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a:t>
            </a:r>
          </a:p>
          <a:p>
            <a:pPr lvl="6"/>
            <a:r>
              <a:rPr lang="de-DE" dirty="0"/>
              <a:t>Sieben </a:t>
            </a:r>
          </a:p>
          <a:p>
            <a:pPr lvl="7"/>
            <a:r>
              <a:rPr lang="de-DE" dirty="0"/>
              <a:t>Acht</a:t>
            </a:r>
          </a:p>
          <a:p>
            <a:pPr lvl="8"/>
            <a:r>
              <a:rPr lang="de-DE" dirty="0"/>
              <a:t>Neun</a:t>
            </a:r>
          </a:p>
        </p:txBody>
      </p:sp>
      <p:sp>
        <p:nvSpPr>
          <p:cNvPr id="4" name="Datumsplatzhalter 3">
            <a:extLst>
              <a:ext uri="{FF2B5EF4-FFF2-40B4-BE49-F238E27FC236}">
                <a16:creationId xmlns:a16="http://schemas.microsoft.com/office/drawing/2014/main" id="{8A1DF897-23E6-462E-B282-7CDC4E519F90}"/>
              </a:ext>
            </a:extLst>
          </p:cNvPr>
          <p:cNvSpPr>
            <a:spLocks noGrp="1"/>
          </p:cNvSpPr>
          <p:nvPr>
            <p:ph type="dt" sz="half" idx="2"/>
          </p:nvPr>
        </p:nvSpPr>
        <p:spPr bwMode="gray">
          <a:xfrm>
            <a:off x="10704000" y="6453000"/>
            <a:ext cx="720000" cy="144000"/>
          </a:xfrm>
          <a:prstGeom prst="rect">
            <a:avLst/>
          </a:prstGeom>
        </p:spPr>
        <p:txBody>
          <a:bodyPr vert="horz" lIns="0" tIns="0" rIns="0" bIns="0" rtlCol="0" anchor="b" anchorCtr="0">
            <a:noAutofit/>
          </a:bodyPr>
          <a:lstStyle>
            <a:lvl1pPr algn="r">
              <a:defRPr sz="800">
                <a:solidFill>
                  <a:schemeClr val="tx1"/>
                </a:solidFill>
              </a:defRPr>
            </a:lvl1pPr>
            <a:lvl2pPr marL="0" algn="l">
              <a:defRPr sz="800">
                <a:solidFill>
                  <a:schemeClr val="tx1"/>
                </a:solidFill>
              </a:defRPr>
            </a:lvl2pPr>
            <a:lvl3pPr marL="0">
              <a:defRPr sz="800">
                <a:solidFill>
                  <a:schemeClr val="tx1"/>
                </a:solidFill>
              </a:defRPr>
            </a:lvl3pPr>
            <a:lvl4pPr marL="0">
              <a:defRPr sz="800">
                <a:solidFill>
                  <a:schemeClr val="tx1"/>
                </a:solidFill>
              </a:defRPr>
            </a:lvl4pPr>
            <a:lvl5pPr marL="0" indent="0">
              <a:defRPr sz="800">
                <a:solidFill>
                  <a:schemeClr val="tx1"/>
                </a:solidFill>
              </a:defRPr>
            </a:lvl5pPr>
            <a:lvl6pPr marL="0">
              <a:defRPr sz="800">
                <a:solidFill>
                  <a:schemeClr val="tx1"/>
                </a:solidFill>
              </a:defRPr>
            </a:lvl6pPr>
            <a:lvl7pPr marL="0">
              <a:defRPr sz="800">
                <a:solidFill>
                  <a:schemeClr val="tx1"/>
                </a:solidFill>
              </a:defRPr>
            </a:lvl7pPr>
            <a:lvl8pPr marL="0">
              <a:defRPr sz="800">
                <a:solidFill>
                  <a:schemeClr val="tx1"/>
                </a:solidFill>
              </a:defRPr>
            </a:lvl8pPr>
            <a:lvl9pPr marL="0">
              <a:defRPr sz="800">
                <a:solidFill>
                  <a:schemeClr val="tx1"/>
                </a:solidFill>
              </a:defRPr>
            </a:lvl9pPr>
          </a:lstStyle>
          <a:p>
            <a:fld id="{B52ABA71-AAD9-4CC1-80AF-004D4F11852E}" type="datetime1">
              <a:rPr lang="de-DE" smtClean="0"/>
              <a:t>29.09.25</a:t>
            </a:fld>
            <a:endParaRPr lang="de-DE" dirty="0"/>
          </a:p>
        </p:txBody>
      </p:sp>
      <p:sp>
        <p:nvSpPr>
          <p:cNvPr id="5" name="Fußzeilenplatzhalter 4">
            <a:extLst>
              <a:ext uri="{FF2B5EF4-FFF2-40B4-BE49-F238E27FC236}">
                <a16:creationId xmlns:a16="http://schemas.microsoft.com/office/drawing/2014/main" id="{7DC53320-4EFC-43F4-A307-E01AF2A69228}"/>
              </a:ext>
            </a:extLst>
          </p:cNvPr>
          <p:cNvSpPr>
            <a:spLocks noGrp="1"/>
          </p:cNvSpPr>
          <p:nvPr>
            <p:ph type="ftr" sz="quarter" idx="3"/>
          </p:nvPr>
        </p:nvSpPr>
        <p:spPr bwMode="gray">
          <a:xfrm>
            <a:off x="336000" y="6453000"/>
            <a:ext cx="5472000" cy="144000"/>
          </a:xfrm>
          <a:prstGeom prst="rect">
            <a:avLst/>
          </a:prstGeom>
        </p:spPr>
        <p:txBody>
          <a:bodyPr vert="horz" lIns="144000" tIns="0" rIns="0" bIns="0" rtlCol="0" anchor="b" anchorCtr="0">
            <a:noAutofit/>
          </a:bodyPr>
          <a:lstStyle>
            <a:lvl1pPr algn="l">
              <a:defRPr sz="800" cap="all" baseline="0">
                <a:solidFill>
                  <a:schemeClr val="tx1"/>
                </a:solidFill>
              </a:defRPr>
            </a:lvl1pPr>
            <a:lvl2pPr marL="0" algn="l">
              <a:defRPr sz="800">
                <a:solidFill>
                  <a:schemeClr val="tx1"/>
                </a:solidFill>
              </a:defRPr>
            </a:lvl2pPr>
            <a:lvl3pPr marL="0" algn="l">
              <a:defRPr sz="800">
                <a:solidFill>
                  <a:schemeClr val="tx1"/>
                </a:solidFill>
              </a:defRPr>
            </a:lvl3pPr>
            <a:lvl4pPr marL="0">
              <a:defRPr sz="800">
                <a:solidFill>
                  <a:schemeClr val="tx1"/>
                </a:solidFill>
              </a:defRPr>
            </a:lvl4pPr>
            <a:lvl5pPr marL="0">
              <a:defRPr sz="800"/>
            </a:lvl5pPr>
            <a:lvl6pPr marL="0">
              <a:defRPr sz="800">
                <a:solidFill>
                  <a:schemeClr val="tx1"/>
                </a:solidFill>
              </a:defRPr>
            </a:lvl6pPr>
            <a:lvl7pPr marL="0" algn="l">
              <a:defRPr sz="800">
                <a:solidFill>
                  <a:schemeClr val="tx1"/>
                </a:solidFill>
              </a:defRPr>
            </a:lvl7pPr>
            <a:lvl8pPr marL="0" algn="l">
              <a:defRPr sz="800">
                <a:solidFill>
                  <a:schemeClr val="tx1"/>
                </a:solidFill>
              </a:defRPr>
            </a:lvl8pPr>
            <a:lvl9pPr marL="0" algn="l">
              <a:defRPr sz="800">
                <a:solidFill>
                  <a:schemeClr val="tx1"/>
                </a:solidFill>
              </a:defRPr>
            </a:lvl9pPr>
          </a:lstStyle>
          <a:p>
            <a:r>
              <a:rPr lang="de-DE" dirty="0"/>
              <a:t>TITEL DER PRÄSENTATION | TITEL VORNAME NAME</a:t>
            </a:r>
          </a:p>
        </p:txBody>
      </p:sp>
      <p:sp>
        <p:nvSpPr>
          <p:cNvPr id="6" name="Foliennummernplatzhalter 5">
            <a:extLst>
              <a:ext uri="{FF2B5EF4-FFF2-40B4-BE49-F238E27FC236}">
                <a16:creationId xmlns:a16="http://schemas.microsoft.com/office/drawing/2014/main" id="{A2FE2D03-3FEB-4CA0-AC7B-FE3401CA6A59}"/>
              </a:ext>
            </a:extLst>
          </p:cNvPr>
          <p:cNvSpPr>
            <a:spLocks noGrp="1"/>
          </p:cNvSpPr>
          <p:nvPr>
            <p:ph type="sldNum" sz="quarter" idx="4"/>
          </p:nvPr>
        </p:nvSpPr>
        <p:spPr bwMode="gray">
          <a:xfrm>
            <a:off x="11568000" y="6453000"/>
            <a:ext cx="288000" cy="144000"/>
          </a:xfrm>
          <a:prstGeom prst="rect">
            <a:avLst/>
          </a:prstGeom>
        </p:spPr>
        <p:txBody>
          <a:bodyPr vert="horz" lIns="0" tIns="0" rIns="0" bIns="0" rtlCol="0" anchor="b" anchorCtr="0">
            <a:noAutofit/>
          </a:bodyPr>
          <a:lstStyle>
            <a:lvl1pPr algn="r">
              <a:defRPr sz="800">
                <a:solidFill>
                  <a:schemeClr val="tx1"/>
                </a:solidFill>
              </a:defRPr>
            </a:lvl1pPr>
            <a:lvl2pPr marL="0" algn="r">
              <a:defRPr sz="800">
                <a:solidFill>
                  <a:schemeClr val="tx1"/>
                </a:solidFill>
              </a:defRPr>
            </a:lvl2pPr>
            <a:lvl3pPr marL="0" algn="r">
              <a:defRPr sz="800">
                <a:solidFill>
                  <a:schemeClr val="tx1"/>
                </a:solidFill>
              </a:defRPr>
            </a:lvl3pPr>
            <a:lvl4pPr marL="0" algn="r">
              <a:defRPr sz="800"/>
            </a:lvl4pPr>
            <a:lvl5pPr marL="0" algn="r">
              <a:defRPr sz="800">
                <a:solidFill>
                  <a:schemeClr val="tx1"/>
                </a:solidFill>
              </a:defRPr>
            </a:lvl5pPr>
            <a:lvl6pPr marL="0" algn="r">
              <a:defRPr sz="800">
                <a:solidFill>
                  <a:schemeClr val="tx1"/>
                </a:solidFill>
              </a:defRPr>
            </a:lvl6pPr>
            <a:lvl7pPr marL="0" algn="r">
              <a:defRPr sz="800">
                <a:solidFill>
                  <a:schemeClr val="tx1"/>
                </a:solidFill>
              </a:defRPr>
            </a:lvl7pPr>
            <a:lvl8pPr marL="0" algn="r">
              <a:defRPr sz="800">
                <a:solidFill>
                  <a:schemeClr val="tx1"/>
                </a:solidFill>
              </a:defRPr>
            </a:lvl8pPr>
            <a:lvl9pPr marL="0" algn="r">
              <a:defRPr sz="800">
                <a:solidFill>
                  <a:schemeClr val="tx1"/>
                </a:solidFill>
              </a:defRPr>
            </a:lvl9pPr>
          </a:lstStyle>
          <a:p>
            <a:fld id="{09E9C37E-8A19-4E30-BE2B-5A966AD23C7A}" type="slidenum">
              <a:rPr lang="de-DE" smtClean="0"/>
              <a:pPr/>
              <a:t>‹Nr.›</a:t>
            </a:fld>
            <a:endParaRPr lang="de-DE" dirty="0"/>
          </a:p>
        </p:txBody>
      </p:sp>
      <p:cxnSp>
        <p:nvCxnSpPr>
          <p:cNvPr id="8" name="Straight Connector 7">
            <a:extLst>
              <a:ext uri="{FF2B5EF4-FFF2-40B4-BE49-F238E27FC236}">
                <a16:creationId xmlns:a16="http://schemas.microsoft.com/office/drawing/2014/main" id="{30ED4CB9-AD40-4EAF-B740-81B13CA58706}"/>
              </a:ext>
            </a:extLst>
          </p:cNvPr>
          <p:cNvCxnSpPr/>
          <p:nvPr userDrawn="1"/>
        </p:nvCxnSpPr>
        <p:spPr bwMode="gray">
          <a:xfrm>
            <a:off x="11856000" y="-243000"/>
            <a:ext cx="0" cy="108000"/>
          </a:xfrm>
          <a:prstGeom prst="line">
            <a:avLst/>
          </a:prstGeom>
          <a:ln w="952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51C810B-B938-4922-8BC9-15084CF8408B}"/>
              </a:ext>
            </a:extLst>
          </p:cNvPr>
          <p:cNvCxnSpPr/>
          <p:nvPr userDrawn="1"/>
        </p:nvCxnSpPr>
        <p:spPr bwMode="gray">
          <a:xfrm>
            <a:off x="336550" y="-243000"/>
            <a:ext cx="0" cy="108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DA8C9D9-232D-452C-A978-59E7420CB565}"/>
              </a:ext>
            </a:extLst>
          </p:cNvPr>
          <p:cNvCxnSpPr/>
          <p:nvPr userDrawn="1"/>
        </p:nvCxnSpPr>
        <p:spPr bwMode="gray">
          <a:xfrm>
            <a:off x="4152000" y="-243000"/>
            <a:ext cx="0" cy="108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E2F13F3-0219-45D8-B192-5D81288B414D}"/>
              </a:ext>
            </a:extLst>
          </p:cNvPr>
          <p:cNvCxnSpPr/>
          <p:nvPr userDrawn="1"/>
        </p:nvCxnSpPr>
        <p:spPr bwMode="gray">
          <a:xfrm>
            <a:off x="3864000" y="-243000"/>
            <a:ext cx="0" cy="108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A1DD5A0-C428-4B7F-AF0E-5F7F68E50834}"/>
              </a:ext>
            </a:extLst>
          </p:cNvPr>
          <p:cNvCxnSpPr/>
          <p:nvPr userDrawn="1"/>
        </p:nvCxnSpPr>
        <p:spPr bwMode="gray">
          <a:xfrm>
            <a:off x="8040000" y="-243000"/>
            <a:ext cx="0" cy="108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AEA23A3-8310-4EEE-B9FD-E2BE90B24EDA}"/>
              </a:ext>
            </a:extLst>
          </p:cNvPr>
          <p:cNvCxnSpPr/>
          <p:nvPr userDrawn="1"/>
        </p:nvCxnSpPr>
        <p:spPr bwMode="gray">
          <a:xfrm>
            <a:off x="11568000" y="-243000"/>
            <a:ext cx="0" cy="108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98A7886-6157-4E07-871F-E89A1E11FBD4}"/>
              </a:ext>
            </a:extLst>
          </p:cNvPr>
          <p:cNvCxnSpPr/>
          <p:nvPr userDrawn="1"/>
        </p:nvCxnSpPr>
        <p:spPr bwMode="gray">
          <a:xfrm>
            <a:off x="-240000" y="1989000"/>
            <a:ext cx="108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349BD79-F2FE-4E7F-BC13-DF3495845FD0}"/>
              </a:ext>
            </a:extLst>
          </p:cNvPr>
          <p:cNvCxnSpPr/>
          <p:nvPr userDrawn="1"/>
        </p:nvCxnSpPr>
        <p:spPr bwMode="gray">
          <a:xfrm>
            <a:off x="-240000" y="5733000"/>
            <a:ext cx="108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4CD191A-E3D6-4A1E-8A33-DC6A74C6666F}"/>
              </a:ext>
            </a:extLst>
          </p:cNvPr>
          <p:cNvCxnSpPr/>
          <p:nvPr userDrawn="1"/>
        </p:nvCxnSpPr>
        <p:spPr bwMode="gray">
          <a:xfrm>
            <a:off x="-240000" y="765000"/>
            <a:ext cx="108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53253C2-80DD-4829-A5C6-84ECCD69D90D}"/>
              </a:ext>
            </a:extLst>
          </p:cNvPr>
          <p:cNvCxnSpPr/>
          <p:nvPr userDrawn="1"/>
        </p:nvCxnSpPr>
        <p:spPr bwMode="gray">
          <a:xfrm>
            <a:off x="7752000" y="-243000"/>
            <a:ext cx="0" cy="108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12">
            <a:extLst>
              <a:ext uri="{FF2B5EF4-FFF2-40B4-BE49-F238E27FC236}">
                <a16:creationId xmlns:a16="http://schemas.microsoft.com/office/drawing/2014/main" id="{F501B70B-1317-4099-BE1F-9A49FAC9F00A}"/>
              </a:ext>
            </a:extLst>
          </p:cNvPr>
          <p:cNvCxnSpPr/>
          <p:nvPr userDrawn="1"/>
        </p:nvCxnSpPr>
        <p:spPr bwMode="gray">
          <a:xfrm>
            <a:off x="6096000" y="-243000"/>
            <a:ext cx="0" cy="108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13">
            <a:extLst>
              <a:ext uri="{FF2B5EF4-FFF2-40B4-BE49-F238E27FC236}">
                <a16:creationId xmlns:a16="http://schemas.microsoft.com/office/drawing/2014/main" id="{D0AEB0EF-13A5-4DD0-9B14-7611B76AFB09}"/>
              </a:ext>
            </a:extLst>
          </p:cNvPr>
          <p:cNvCxnSpPr/>
          <p:nvPr userDrawn="1"/>
        </p:nvCxnSpPr>
        <p:spPr bwMode="gray">
          <a:xfrm>
            <a:off x="5808000" y="-243000"/>
            <a:ext cx="0" cy="108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9981705"/>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698" r:id="rId3"/>
    <p:sldLayoutId id="2147483704" r:id="rId4"/>
    <p:sldLayoutId id="2147483700" r:id="rId5"/>
    <p:sldLayoutId id="2147483701" r:id="rId6"/>
    <p:sldLayoutId id="2147483702" r:id="rId7"/>
    <p:sldLayoutId id="2147483703" r:id="rId8"/>
    <p:sldLayoutId id="2147483705" r:id="rId9"/>
    <p:sldLayoutId id="2147483706" r:id="rId10"/>
    <p:sldLayoutId id="2147483707" r:id="rId11"/>
    <p:sldLayoutId id="2147483708" r:id="rId12"/>
    <p:sldLayoutId id="2147483715" r:id="rId13"/>
    <p:sldLayoutId id="2147483709" r:id="rId14"/>
    <p:sldLayoutId id="2147483716" r:id="rId15"/>
    <p:sldLayoutId id="2147483723" r:id="rId16"/>
    <p:sldLayoutId id="2147483717" r:id="rId17"/>
    <p:sldLayoutId id="2147483718" r:id="rId18"/>
    <p:sldLayoutId id="2147483721" r:id="rId19"/>
    <p:sldLayoutId id="2147483719" r:id="rId20"/>
    <p:sldLayoutId id="2147483720" r:id="rId21"/>
    <p:sldLayoutId id="2147483722" r:id="rId22"/>
    <p:sldLayoutId id="2147483710" r:id="rId23"/>
  </p:sldLayoutIdLst>
  <p:hf hdr="0"/>
  <p:txStyles>
    <p:titleStyle>
      <a:lvl1pPr algn="l" defTabSz="914400" rtl="0" eaLnBrk="1" latinLnBrk="0" hangingPunct="1">
        <a:lnSpc>
          <a:spcPct val="100000"/>
        </a:lnSpc>
        <a:spcBef>
          <a:spcPct val="0"/>
        </a:spcBef>
        <a:buNone/>
        <a:defRPr sz="2000" b="1" kern="1200" cap="all" baseline="0">
          <a:solidFill>
            <a:srgbClr val="009EE0"/>
          </a:solidFill>
          <a:latin typeface="+mj-lt"/>
          <a:ea typeface="+mj-ea"/>
          <a:cs typeface="+mj-cs"/>
        </a:defRPr>
      </a:lvl1pPr>
    </p:titleStyle>
    <p:body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5" pos="212">
          <p15:clr>
            <a:srgbClr val="F26B43"/>
          </p15:clr>
        </p15:guide>
        <p15:guide id="28" orient="horz" pos="3611">
          <p15:clr>
            <a:srgbClr val="F26B43"/>
          </p15:clr>
        </p15:guide>
        <p15:guide id="32" pos="7287">
          <p15:clr>
            <a:srgbClr val="F26B43"/>
          </p15:clr>
        </p15:guide>
        <p15:guide id="33" pos="7468">
          <p15:clr>
            <a:srgbClr val="A4A3A4"/>
          </p15:clr>
        </p15:guide>
        <p15:guide id="36" orient="horz" pos="406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5.xml"/><Relationship Id="rId1" Type="http://schemas.openxmlformats.org/officeDocument/2006/relationships/tags" Target="../tags/tag23.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6.xml"/><Relationship Id="rId1" Type="http://schemas.openxmlformats.org/officeDocument/2006/relationships/tags" Target="../tags/tag24.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6.xml"/><Relationship Id="rId1" Type="http://schemas.openxmlformats.org/officeDocument/2006/relationships/tags" Target="../tags/tag25.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6.xml"/><Relationship Id="rId1" Type="http://schemas.openxmlformats.org/officeDocument/2006/relationships/tags" Target="../tags/tag26.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6.xml"/><Relationship Id="rId1" Type="http://schemas.openxmlformats.org/officeDocument/2006/relationships/tags" Target="../tags/tag27.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6.xml"/><Relationship Id="rId1" Type="http://schemas.openxmlformats.org/officeDocument/2006/relationships/tags" Target="../tags/tag28.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6.xml"/><Relationship Id="rId1" Type="http://schemas.openxmlformats.org/officeDocument/2006/relationships/tags" Target="../tags/tag29.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7.xml"/><Relationship Id="rId1" Type="http://schemas.openxmlformats.org/officeDocument/2006/relationships/tags" Target="../tags/tag30.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5" Type="http://schemas.openxmlformats.org/officeDocument/2006/relationships/image" Target="../media/image3.jpe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1.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2.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3.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4.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12.xml"/><Relationship Id="rId1" Type="http://schemas.openxmlformats.org/officeDocument/2006/relationships/tags" Target="../tags/tag37.xml"/><Relationship Id="rId5" Type="http://schemas.openxmlformats.org/officeDocument/2006/relationships/chart" Target="../charts/chart5.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13.xml"/><Relationship Id="rId1" Type="http://schemas.openxmlformats.org/officeDocument/2006/relationships/tags" Target="../tags/tag38.xml"/><Relationship Id="rId6" Type="http://schemas.openxmlformats.org/officeDocument/2006/relationships/image" Target="../media/image4.png"/><Relationship Id="rId5" Type="http://schemas.openxmlformats.org/officeDocument/2006/relationships/chart" Target="../charts/chart6.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13.xml"/><Relationship Id="rId1" Type="http://schemas.openxmlformats.org/officeDocument/2006/relationships/tags" Target="../tags/tag39.xml"/><Relationship Id="rId6" Type="http://schemas.openxmlformats.org/officeDocument/2006/relationships/image" Target="../media/image4.png"/><Relationship Id="rId5" Type="http://schemas.openxmlformats.org/officeDocument/2006/relationships/chart" Target="../charts/chart7.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9.xml"/><Relationship Id="rId1" Type="http://schemas.openxmlformats.org/officeDocument/2006/relationships/tags" Target="../tags/tag40.xml"/><Relationship Id="rId5" Type="http://schemas.openxmlformats.org/officeDocument/2006/relationships/image" Target="../media/image5.jpeg"/><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9.xml"/><Relationship Id="rId1" Type="http://schemas.openxmlformats.org/officeDocument/2006/relationships/tags" Target="../tags/tag41.xml"/><Relationship Id="rId5" Type="http://schemas.openxmlformats.org/officeDocument/2006/relationships/image" Target="../media/image5.jpeg"/><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9.xml"/><Relationship Id="rId1" Type="http://schemas.openxmlformats.org/officeDocument/2006/relationships/tags" Target="../tags/tag42.xml"/><Relationship Id="rId5" Type="http://schemas.openxmlformats.org/officeDocument/2006/relationships/image" Target="../media/image5.jpe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10.xml"/><Relationship Id="rId1" Type="http://schemas.openxmlformats.org/officeDocument/2006/relationships/tags" Target="../tags/tag43.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10.xml"/><Relationship Id="rId1" Type="http://schemas.openxmlformats.org/officeDocument/2006/relationships/tags" Target="../tags/tag44.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10.xml"/><Relationship Id="rId1" Type="http://schemas.openxmlformats.org/officeDocument/2006/relationships/tags" Target="../tags/tag45.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10.xml"/><Relationship Id="rId1" Type="http://schemas.openxmlformats.org/officeDocument/2006/relationships/tags" Target="../tags/tag46.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11.xml"/><Relationship Id="rId1" Type="http://schemas.openxmlformats.org/officeDocument/2006/relationships/tags" Target="../tags/tag47.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11.xml"/><Relationship Id="rId1" Type="http://schemas.openxmlformats.org/officeDocument/2006/relationships/tags" Target="../tags/tag48.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11.xml"/><Relationship Id="rId1" Type="http://schemas.openxmlformats.org/officeDocument/2006/relationships/tags" Target="../tags/tag49.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11.xml"/><Relationship Id="rId1" Type="http://schemas.openxmlformats.org/officeDocument/2006/relationships/tags" Target="../tags/tag50.xml"/><Relationship Id="rId6" Type="http://schemas.openxmlformats.org/officeDocument/2006/relationships/image" Target="../media/image11.jpeg"/><Relationship Id="rId5" Type="http://schemas.openxmlformats.org/officeDocument/2006/relationships/image" Target="../media/image12.jpe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11.xml"/><Relationship Id="rId1" Type="http://schemas.openxmlformats.org/officeDocument/2006/relationships/tags" Target="../tags/tag51.xml"/><Relationship Id="rId6" Type="http://schemas.openxmlformats.org/officeDocument/2006/relationships/image" Target="../media/image11.jpeg"/><Relationship Id="rId5" Type="http://schemas.openxmlformats.org/officeDocument/2006/relationships/image" Target="../media/image12.jpe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5.xml"/><Relationship Id="rId1" Type="http://schemas.openxmlformats.org/officeDocument/2006/relationships/tags" Target="../tags/tag18.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9" Type="http://schemas.openxmlformats.org/officeDocument/2006/relationships/image" Target="../media/image47.png"/><Relationship Id="rId21" Type="http://schemas.openxmlformats.org/officeDocument/2006/relationships/image" Target="../media/image29.png"/><Relationship Id="rId34" Type="http://schemas.openxmlformats.org/officeDocument/2006/relationships/image" Target="../media/image42.png"/><Relationship Id="rId42" Type="http://schemas.openxmlformats.org/officeDocument/2006/relationships/image" Target="../media/image50.png"/><Relationship Id="rId47" Type="http://schemas.openxmlformats.org/officeDocument/2006/relationships/image" Target="../media/image55.png"/><Relationship Id="rId50" Type="http://schemas.openxmlformats.org/officeDocument/2006/relationships/image" Target="../media/image58.png"/><Relationship Id="rId55" Type="http://schemas.openxmlformats.org/officeDocument/2006/relationships/image" Target="../media/image63.png"/><Relationship Id="rId7" Type="http://schemas.openxmlformats.org/officeDocument/2006/relationships/image" Target="../media/image15.png"/><Relationship Id="rId2" Type="http://schemas.openxmlformats.org/officeDocument/2006/relationships/slideLayout" Target="../slideLayouts/slideLayout12.xml"/><Relationship Id="rId16" Type="http://schemas.openxmlformats.org/officeDocument/2006/relationships/image" Target="../media/image24.png"/><Relationship Id="rId29" Type="http://schemas.openxmlformats.org/officeDocument/2006/relationships/image" Target="../media/image37.png"/><Relationship Id="rId11" Type="http://schemas.openxmlformats.org/officeDocument/2006/relationships/image" Target="../media/image19.png"/><Relationship Id="rId24" Type="http://schemas.openxmlformats.org/officeDocument/2006/relationships/image" Target="../media/image32.png"/><Relationship Id="rId32" Type="http://schemas.openxmlformats.org/officeDocument/2006/relationships/image" Target="../media/image40.png"/><Relationship Id="rId37" Type="http://schemas.openxmlformats.org/officeDocument/2006/relationships/image" Target="../media/image45.png"/><Relationship Id="rId40" Type="http://schemas.openxmlformats.org/officeDocument/2006/relationships/image" Target="../media/image48.png"/><Relationship Id="rId45" Type="http://schemas.openxmlformats.org/officeDocument/2006/relationships/image" Target="../media/image53.png"/><Relationship Id="rId53" Type="http://schemas.openxmlformats.org/officeDocument/2006/relationships/image" Target="../media/image61.png"/><Relationship Id="rId58" Type="http://schemas.openxmlformats.org/officeDocument/2006/relationships/image" Target="../media/image66.png"/><Relationship Id="rId5" Type="http://schemas.openxmlformats.org/officeDocument/2006/relationships/image" Target="../media/image13.png"/><Relationship Id="rId19" Type="http://schemas.openxmlformats.org/officeDocument/2006/relationships/image" Target="../media/image27.png"/><Relationship Id="rId4" Type="http://schemas.openxmlformats.org/officeDocument/2006/relationships/image" Target="../media/image1.emf"/><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 Id="rId35" Type="http://schemas.openxmlformats.org/officeDocument/2006/relationships/image" Target="../media/image43.png"/><Relationship Id="rId43" Type="http://schemas.openxmlformats.org/officeDocument/2006/relationships/image" Target="../media/image51.png"/><Relationship Id="rId48" Type="http://schemas.openxmlformats.org/officeDocument/2006/relationships/image" Target="../media/image56.png"/><Relationship Id="rId56" Type="http://schemas.openxmlformats.org/officeDocument/2006/relationships/image" Target="../media/image64.png"/><Relationship Id="rId8" Type="http://schemas.openxmlformats.org/officeDocument/2006/relationships/image" Target="../media/image16.png"/><Relationship Id="rId51" Type="http://schemas.openxmlformats.org/officeDocument/2006/relationships/image" Target="../media/image59.png"/><Relationship Id="rId3" Type="http://schemas.openxmlformats.org/officeDocument/2006/relationships/oleObject" Target="../embeddings/oleObject51.bin"/><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33" Type="http://schemas.openxmlformats.org/officeDocument/2006/relationships/image" Target="../media/image41.png"/><Relationship Id="rId38" Type="http://schemas.openxmlformats.org/officeDocument/2006/relationships/image" Target="../media/image46.png"/><Relationship Id="rId46" Type="http://schemas.openxmlformats.org/officeDocument/2006/relationships/image" Target="../media/image54.png"/><Relationship Id="rId59" Type="http://schemas.openxmlformats.org/officeDocument/2006/relationships/image" Target="../media/image67.png"/><Relationship Id="rId20" Type="http://schemas.openxmlformats.org/officeDocument/2006/relationships/image" Target="../media/image28.png"/><Relationship Id="rId41" Type="http://schemas.openxmlformats.org/officeDocument/2006/relationships/image" Target="../media/image49.png"/><Relationship Id="rId54" Type="http://schemas.openxmlformats.org/officeDocument/2006/relationships/image" Target="../media/image62.png"/><Relationship Id="rId1" Type="http://schemas.openxmlformats.org/officeDocument/2006/relationships/tags" Target="../tags/tag52.xml"/><Relationship Id="rId6" Type="http://schemas.openxmlformats.org/officeDocument/2006/relationships/image" Target="../media/image14.png"/><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png"/><Relationship Id="rId36" Type="http://schemas.openxmlformats.org/officeDocument/2006/relationships/image" Target="../media/image44.png"/><Relationship Id="rId49" Type="http://schemas.openxmlformats.org/officeDocument/2006/relationships/image" Target="../media/image57.png"/><Relationship Id="rId57" Type="http://schemas.openxmlformats.org/officeDocument/2006/relationships/image" Target="../media/image65.png"/><Relationship Id="rId10" Type="http://schemas.openxmlformats.org/officeDocument/2006/relationships/image" Target="../media/image18.png"/><Relationship Id="rId31" Type="http://schemas.openxmlformats.org/officeDocument/2006/relationships/image" Target="../media/image39.png"/><Relationship Id="rId44" Type="http://schemas.openxmlformats.org/officeDocument/2006/relationships/image" Target="../media/image52.png"/><Relationship Id="rId52" Type="http://schemas.openxmlformats.org/officeDocument/2006/relationships/image" Target="../media/image60.png"/><Relationship Id="rId60" Type="http://schemas.openxmlformats.org/officeDocument/2006/relationships/image" Target="../media/image68.png"/></Relationships>
</file>

<file path=ppt/slides/_rels/slide47.xml.rels><?xml version="1.0" encoding="UTF-8" standalone="yes"?>
<Relationships xmlns="http://schemas.openxmlformats.org/package/2006/relationships"><Relationship Id="rId13" Type="http://schemas.openxmlformats.org/officeDocument/2006/relationships/image" Target="../media/image77.png"/><Relationship Id="rId18" Type="http://schemas.openxmlformats.org/officeDocument/2006/relationships/image" Target="../media/image82.png"/><Relationship Id="rId26" Type="http://schemas.openxmlformats.org/officeDocument/2006/relationships/image" Target="../media/image90.png"/><Relationship Id="rId39" Type="http://schemas.openxmlformats.org/officeDocument/2006/relationships/image" Target="../media/image103.png"/><Relationship Id="rId21" Type="http://schemas.openxmlformats.org/officeDocument/2006/relationships/image" Target="../media/image85.png"/><Relationship Id="rId34" Type="http://schemas.openxmlformats.org/officeDocument/2006/relationships/image" Target="../media/image98.png"/><Relationship Id="rId42" Type="http://schemas.openxmlformats.org/officeDocument/2006/relationships/image" Target="../media/image106.png"/><Relationship Id="rId47" Type="http://schemas.openxmlformats.org/officeDocument/2006/relationships/image" Target="../media/image111.png"/><Relationship Id="rId50" Type="http://schemas.openxmlformats.org/officeDocument/2006/relationships/image" Target="../media/image114.png"/><Relationship Id="rId55" Type="http://schemas.openxmlformats.org/officeDocument/2006/relationships/image" Target="../media/image119.png"/><Relationship Id="rId7" Type="http://schemas.openxmlformats.org/officeDocument/2006/relationships/image" Target="../media/image71.png"/><Relationship Id="rId2" Type="http://schemas.openxmlformats.org/officeDocument/2006/relationships/slideLayout" Target="../slideLayouts/slideLayout12.xml"/><Relationship Id="rId16" Type="http://schemas.openxmlformats.org/officeDocument/2006/relationships/image" Target="../media/image80.png"/><Relationship Id="rId29" Type="http://schemas.openxmlformats.org/officeDocument/2006/relationships/image" Target="../media/image93.png"/><Relationship Id="rId11" Type="http://schemas.openxmlformats.org/officeDocument/2006/relationships/image" Target="../media/image75.png"/><Relationship Id="rId24" Type="http://schemas.openxmlformats.org/officeDocument/2006/relationships/image" Target="../media/image88.png"/><Relationship Id="rId32" Type="http://schemas.openxmlformats.org/officeDocument/2006/relationships/image" Target="../media/image96.png"/><Relationship Id="rId37" Type="http://schemas.openxmlformats.org/officeDocument/2006/relationships/image" Target="../media/image101.png"/><Relationship Id="rId40" Type="http://schemas.openxmlformats.org/officeDocument/2006/relationships/image" Target="../media/image104.png"/><Relationship Id="rId45" Type="http://schemas.openxmlformats.org/officeDocument/2006/relationships/image" Target="../media/image109.png"/><Relationship Id="rId53" Type="http://schemas.openxmlformats.org/officeDocument/2006/relationships/image" Target="../media/image117.png"/><Relationship Id="rId5" Type="http://schemas.openxmlformats.org/officeDocument/2006/relationships/image" Target="../media/image69.png"/><Relationship Id="rId10" Type="http://schemas.openxmlformats.org/officeDocument/2006/relationships/image" Target="../media/image74.png"/><Relationship Id="rId19" Type="http://schemas.openxmlformats.org/officeDocument/2006/relationships/image" Target="../media/image83.png"/><Relationship Id="rId31" Type="http://schemas.openxmlformats.org/officeDocument/2006/relationships/image" Target="../media/image95.png"/><Relationship Id="rId44" Type="http://schemas.openxmlformats.org/officeDocument/2006/relationships/image" Target="../media/image108.png"/><Relationship Id="rId52" Type="http://schemas.openxmlformats.org/officeDocument/2006/relationships/image" Target="../media/image116.png"/><Relationship Id="rId4" Type="http://schemas.openxmlformats.org/officeDocument/2006/relationships/image" Target="../media/image1.emf"/><Relationship Id="rId9" Type="http://schemas.openxmlformats.org/officeDocument/2006/relationships/image" Target="../media/image73.png"/><Relationship Id="rId14" Type="http://schemas.openxmlformats.org/officeDocument/2006/relationships/image" Target="../media/image78.png"/><Relationship Id="rId22" Type="http://schemas.openxmlformats.org/officeDocument/2006/relationships/image" Target="../media/image86.png"/><Relationship Id="rId27" Type="http://schemas.openxmlformats.org/officeDocument/2006/relationships/image" Target="../media/image91.png"/><Relationship Id="rId30" Type="http://schemas.openxmlformats.org/officeDocument/2006/relationships/image" Target="../media/image94.png"/><Relationship Id="rId35" Type="http://schemas.openxmlformats.org/officeDocument/2006/relationships/image" Target="../media/image99.png"/><Relationship Id="rId43" Type="http://schemas.openxmlformats.org/officeDocument/2006/relationships/image" Target="../media/image107.png"/><Relationship Id="rId48" Type="http://schemas.openxmlformats.org/officeDocument/2006/relationships/image" Target="../media/image112.png"/><Relationship Id="rId8" Type="http://schemas.openxmlformats.org/officeDocument/2006/relationships/image" Target="../media/image72.png"/><Relationship Id="rId51" Type="http://schemas.openxmlformats.org/officeDocument/2006/relationships/image" Target="../media/image115.png"/><Relationship Id="rId3" Type="http://schemas.openxmlformats.org/officeDocument/2006/relationships/oleObject" Target="../embeddings/oleObject52.bin"/><Relationship Id="rId12" Type="http://schemas.openxmlformats.org/officeDocument/2006/relationships/image" Target="../media/image76.png"/><Relationship Id="rId17" Type="http://schemas.openxmlformats.org/officeDocument/2006/relationships/image" Target="../media/image81.png"/><Relationship Id="rId25" Type="http://schemas.openxmlformats.org/officeDocument/2006/relationships/image" Target="../media/image89.png"/><Relationship Id="rId33" Type="http://schemas.openxmlformats.org/officeDocument/2006/relationships/image" Target="../media/image97.png"/><Relationship Id="rId38" Type="http://schemas.openxmlformats.org/officeDocument/2006/relationships/image" Target="../media/image102.png"/><Relationship Id="rId46" Type="http://schemas.openxmlformats.org/officeDocument/2006/relationships/image" Target="../media/image110.png"/><Relationship Id="rId20" Type="http://schemas.openxmlformats.org/officeDocument/2006/relationships/image" Target="../media/image84.png"/><Relationship Id="rId41" Type="http://schemas.openxmlformats.org/officeDocument/2006/relationships/image" Target="../media/image105.png"/><Relationship Id="rId54" Type="http://schemas.openxmlformats.org/officeDocument/2006/relationships/image" Target="../media/image118.png"/><Relationship Id="rId1" Type="http://schemas.openxmlformats.org/officeDocument/2006/relationships/tags" Target="../tags/tag53.xml"/><Relationship Id="rId6" Type="http://schemas.openxmlformats.org/officeDocument/2006/relationships/image" Target="../media/image70.png"/><Relationship Id="rId15" Type="http://schemas.openxmlformats.org/officeDocument/2006/relationships/image" Target="../media/image79.png"/><Relationship Id="rId23" Type="http://schemas.openxmlformats.org/officeDocument/2006/relationships/image" Target="../media/image87.png"/><Relationship Id="rId28" Type="http://schemas.openxmlformats.org/officeDocument/2006/relationships/image" Target="../media/image92.png"/><Relationship Id="rId36" Type="http://schemas.openxmlformats.org/officeDocument/2006/relationships/image" Target="../media/image100.png"/><Relationship Id="rId49" Type="http://schemas.openxmlformats.org/officeDocument/2006/relationships/image" Target="../media/image113.png"/></Relationships>
</file>

<file path=ppt/slides/_rels/slide48.xml.rels><?xml version="1.0" encoding="UTF-8" standalone="yes"?>
<Relationships xmlns="http://schemas.openxmlformats.org/package/2006/relationships"><Relationship Id="rId13" Type="http://schemas.openxmlformats.org/officeDocument/2006/relationships/image" Target="../media/image128.png"/><Relationship Id="rId18" Type="http://schemas.openxmlformats.org/officeDocument/2006/relationships/image" Target="../media/image133.png"/><Relationship Id="rId26" Type="http://schemas.openxmlformats.org/officeDocument/2006/relationships/image" Target="../media/image141.png"/><Relationship Id="rId39" Type="http://schemas.openxmlformats.org/officeDocument/2006/relationships/image" Target="../media/image154.png"/><Relationship Id="rId21" Type="http://schemas.openxmlformats.org/officeDocument/2006/relationships/image" Target="../media/image136.png"/><Relationship Id="rId34" Type="http://schemas.openxmlformats.org/officeDocument/2006/relationships/image" Target="../media/image149.png"/><Relationship Id="rId42" Type="http://schemas.openxmlformats.org/officeDocument/2006/relationships/image" Target="../media/image157.png"/><Relationship Id="rId47" Type="http://schemas.openxmlformats.org/officeDocument/2006/relationships/image" Target="../media/image162.png"/><Relationship Id="rId50" Type="http://schemas.openxmlformats.org/officeDocument/2006/relationships/image" Target="../media/image165.png"/><Relationship Id="rId55" Type="http://schemas.openxmlformats.org/officeDocument/2006/relationships/image" Target="../media/image170.png"/><Relationship Id="rId7" Type="http://schemas.openxmlformats.org/officeDocument/2006/relationships/image" Target="../media/image122.png"/><Relationship Id="rId2" Type="http://schemas.openxmlformats.org/officeDocument/2006/relationships/slideLayout" Target="../slideLayouts/slideLayout13.xml"/><Relationship Id="rId16" Type="http://schemas.openxmlformats.org/officeDocument/2006/relationships/image" Target="../media/image131.png"/><Relationship Id="rId29" Type="http://schemas.openxmlformats.org/officeDocument/2006/relationships/image" Target="../media/image144.png"/><Relationship Id="rId11" Type="http://schemas.openxmlformats.org/officeDocument/2006/relationships/image" Target="../media/image126.png"/><Relationship Id="rId24" Type="http://schemas.openxmlformats.org/officeDocument/2006/relationships/image" Target="../media/image139.png"/><Relationship Id="rId32" Type="http://schemas.openxmlformats.org/officeDocument/2006/relationships/image" Target="../media/image147.png"/><Relationship Id="rId37" Type="http://schemas.openxmlformats.org/officeDocument/2006/relationships/image" Target="../media/image152.png"/><Relationship Id="rId40" Type="http://schemas.openxmlformats.org/officeDocument/2006/relationships/image" Target="../media/image155.png"/><Relationship Id="rId45" Type="http://schemas.openxmlformats.org/officeDocument/2006/relationships/image" Target="../media/image160.png"/><Relationship Id="rId53" Type="http://schemas.openxmlformats.org/officeDocument/2006/relationships/image" Target="../media/image168.png"/><Relationship Id="rId58" Type="http://schemas.openxmlformats.org/officeDocument/2006/relationships/image" Target="../media/image173.png"/><Relationship Id="rId5" Type="http://schemas.openxmlformats.org/officeDocument/2006/relationships/image" Target="../media/image120.png"/><Relationship Id="rId19" Type="http://schemas.openxmlformats.org/officeDocument/2006/relationships/image" Target="../media/image134.png"/><Relationship Id="rId4" Type="http://schemas.openxmlformats.org/officeDocument/2006/relationships/image" Target="../media/image1.emf"/><Relationship Id="rId9" Type="http://schemas.openxmlformats.org/officeDocument/2006/relationships/image" Target="../media/image124.png"/><Relationship Id="rId14" Type="http://schemas.openxmlformats.org/officeDocument/2006/relationships/image" Target="../media/image129.png"/><Relationship Id="rId22" Type="http://schemas.openxmlformats.org/officeDocument/2006/relationships/image" Target="../media/image137.png"/><Relationship Id="rId27" Type="http://schemas.openxmlformats.org/officeDocument/2006/relationships/image" Target="../media/image142.png"/><Relationship Id="rId30" Type="http://schemas.openxmlformats.org/officeDocument/2006/relationships/image" Target="../media/image145.png"/><Relationship Id="rId35" Type="http://schemas.openxmlformats.org/officeDocument/2006/relationships/image" Target="../media/image150.png"/><Relationship Id="rId43" Type="http://schemas.openxmlformats.org/officeDocument/2006/relationships/image" Target="../media/image158.png"/><Relationship Id="rId48" Type="http://schemas.openxmlformats.org/officeDocument/2006/relationships/image" Target="../media/image163.png"/><Relationship Id="rId56" Type="http://schemas.openxmlformats.org/officeDocument/2006/relationships/image" Target="../media/image171.png"/><Relationship Id="rId8" Type="http://schemas.openxmlformats.org/officeDocument/2006/relationships/image" Target="../media/image123.png"/><Relationship Id="rId51" Type="http://schemas.openxmlformats.org/officeDocument/2006/relationships/image" Target="../media/image166.png"/><Relationship Id="rId3" Type="http://schemas.openxmlformats.org/officeDocument/2006/relationships/oleObject" Target="../embeddings/oleObject53.bin"/><Relationship Id="rId12" Type="http://schemas.openxmlformats.org/officeDocument/2006/relationships/image" Target="../media/image127.png"/><Relationship Id="rId17" Type="http://schemas.openxmlformats.org/officeDocument/2006/relationships/image" Target="../media/image132.png"/><Relationship Id="rId25" Type="http://schemas.openxmlformats.org/officeDocument/2006/relationships/image" Target="../media/image140.png"/><Relationship Id="rId33" Type="http://schemas.openxmlformats.org/officeDocument/2006/relationships/image" Target="../media/image148.png"/><Relationship Id="rId38" Type="http://schemas.openxmlformats.org/officeDocument/2006/relationships/image" Target="../media/image153.png"/><Relationship Id="rId46" Type="http://schemas.openxmlformats.org/officeDocument/2006/relationships/image" Target="../media/image161.png"/><Relationship Id="rId59" Type="http://schemas.openxmlformats.org/officeDocument/2006/relationships/image" Target="../media/image174.png"/><Relationship Id="rId20" Type="http://schemas.openxmlformats.org/officeDocument/2006/relationships/image" Target="../media/image135.png"/><Relationship Id="rId41" Type="http://schemas.openxmlformats.org/officeDocument/2006/relationships/image" Target="../media/image156.png"/><Relationship Id="rId54" Type="http://schemas.openxmlformats.org/officeDocument/2006/relationships/image" Target="../media/image169.png"/><Relationship Id="rId1" Type="http://schemas.openxmlformats.org/officeDocument/2006/relationships/tags" Target="../tags/tag54.xml"/><Relationship Id="rId6" Type="http://schemas.openxmlformats.org/officeDocument/2006/relationships/image" Target="../media/image121.png"/><Relationship Id="rId15" Type="http://schemas.openxmlformats.org/officeDocument/2006/relationships/image" Target="../media/image130.png"/><Relationship Id="rId23" Type="http://schemas.openxmlformats.org/officeDocument/2006/relationships/image" Target="../media/image138.png"/><Relationship Id="rId28" Type="http://schemas.openxmlformats.org/officeDocument/2006/relationships/image" Target="../media/image143.png"/><Relationship Id="rId36" Type="http://schemas.openxmlformats.org/officeDocument/2006/relationships/image" Target="../media/image151.png"/><Relationship Id="rId49" Type="http://schemas.openxmlformats.org/officeDocument/2006/relationships/image" Target="../media/image164.png"/><Relationship Id="rId57" Type="http://schemas.openxmlformats.org/officeDocument/2006/relationships/image" Target="../media/image172.png"/><Relationship Id="rId10" Type="http://schemas.openxmlformats.org/officeDocument/2006/relationships/image" Target="../media/image125.png"/><Relationship Id="rId31" Type="http://schemas.openxmlformats.org/officeDocument/2006/relationships/image" Target="../media/image146.png"/><Relationship Id="rId44" Type="http://schemas.openxmlformats.org/officeDocument/2006/relationships/image" Target="../media/image159.png"/><Relationship Id="rId52" Type="http://schemas.openxmlformats.org/officeDocument/2006/relationships/image" Target="../media/image167.png"/><Relationship Id="rId60" Type="http://schemas.openxmlformats.org/officeDocument/2006/relationships/image" Target="../media/image175.png"/></Relationships>
</file>

<file path=ppt/slides/_rels/slide49.xml.rels><?xml version="1.0" encoding="UTF-8" standalone="yes"?>
<Relationships xmlns="http://schemas.openxmlformats.org/package/2006/relationships"><Relationship Id="rId13" Type="http://schemas.openxmlformats.org/officeDocument/2006/relationships/image" Target="../media/image184.png"/><Relationship Id="rId18" Type="http://schemas.openxmlformats.org/officeDocument/2006/relationships/image" Target="../media/image189.png"/><Relationship Id="rId26" Type="http://schemas.openxmlformats.org/officeDocument/2006/relationships/image" Target="../media/image197.png"/><Relationship Id="rId39" Type="http://schemas.openxmlformats.org/officeDocument/2006/relationships/image" Target="../media/image210.png"/><Relationship Id="rId21" Type="http://schemas.openxmlformats.org/officeDocument/2006/relationships/image" Target="../media/image192.png"/><Relationship Id="rId34" Type="http://schemas.openxmlformats.org/officeDocument/2006/relationships/image" Target="../media/image205.png"/><Relationship Id="rId42" Type="http://schemas.openxmlformats.org/officeDocument/2006/relationships/image" Target="../media/image213.png"/><Relationship Id="rId47" Type="http://schemas.openxmlformats.org/officeDocument/2006/relationships/image" Target="../media/image218.png"/><Relationship Id="rId50" Type="http://schemas.openxmlformats.org/officeDocument/2006/relationships/image" Target="../media/image221.png"/><Relationship Id="rId55" Type="http://schemas.openxmlformats.org/officeDocument/2006/relationships/image" Target="../media/image226.png"/><Relationship Id="rId7" Type="http://schemas.openxmlformats.org/officeDocument/2006/relationships/image" Target="../media/image178.png"/><Relationship Id="rId2" Type="http://schemas.openxmlformats.org/officeDocument/2006/relationships/slideLayout" Target="../slideLayouts/slideLayout13.xml"/><Relationship Id="rId16" Type="http://schemas.openxmlformats.org/officeDocument/2006/relationships/image" Target="../media/image187.png"/><Relationship Id="rId29" Type="http://schemas.openxmlformats.org/officeDocument/2006/relationships/image" Target="../media/image200.png"/><Relationship Id="rId11" Type="http://schemas.openxmlformats.org/officeDocument/2006/relationships/image" Target="../media/image182.png"/><Relationship Id="rId24" Type="http://schemas.openxmlformats.org/officeDocument/2006/relationships/image" Target="../media/image195.png"/><Relationship Id="rId32" Type="http://schemas.openxmlformats.org/officeDocument/2006/relationships/image" Target="../media/image203.png"/><Relationship Id="rId37" Type="http://schemas.openxmlformats.org/officeDocument/2006/relationships/image" Target="../media/image208.png"/><Relationship Id="rId40" Type="http://schemas.openxmlformats.org/officeDocument/2006/relationships/image" Target="../media/image211.png"/><Relationship Id="rId45" Type="http://schemas.openxmlformats.org/officeDocument/2006/relationships/image" Target="../media/image216.png"/><Relationship Id="rId53" Type="http://schemas.openxmlformats.org/officeDocument/2006/relationships/image" Target="../media/image224.png"/><Relationship Id="rId5" Type="http://schemas.openxmlformats.org/officeDocument/2006/relationships/image" Target="../media/image176.png"/><Relationship Id="rId10" Type="http://schemas.openxmlformats.org/officeDocument/2006/relationships/image" Target="../media/image181.png"/><Relationship Id="rId19" Type="http://schemas.openxmlformats.org/officeDocument/2006/relationships/image" Target="../media/image190.png"/><Relationship Id="rId31" Type="http://schemas.openxmlformats.org/officeDocument/2006/relationships/image" Target="../media/image202.png"/><Relationship Id="rId44" Type="http://schemas.openxmlformats.org/officeDocument/2006/relationships/image" Target="../media/image215.png"/><Relationship Id="rId52" Type="http://schemas.openxmlformats.org/officeDocument/2006/relationships/image" Target="../media/image223.png"/><Relationship Id="rId4" Type="http://schemas.openxmlformats.org/officeDocument/2006/relationships/image" Target="../media/image1.emf"/><Relationship Id="rId9" Type="http://schemas.openxmlformats.org/officeDocument/2006/relationships/image" Target="../media/image180.png"/><Relationship Id="rId14" Type="http://schemas.openxmlformats.org/officeDocument/2006/relationships/image" Target="../media/image185.png"/><Relationship Id="rId22" Type="http://schemas.openxmlformats.org/officeDocument/2006/relationships/image" Target="../media/image193.png"/><Relationship Id="rId27" Type="http://schemas.openxmlformats.org/officeDocument/2006/relationships/image" Target="../media/image198.png"/><Relationship Id="rId30" Type="http://schemas.openxmlformats.org/officeDocument/2006/relationships/image" Target="../media/image201.png"/><Relationship Id="rId35" Type="http://schemas.openxmlformats.org/officeDocument/2006/relationships/image" Target="../media/image206.png"/><Relationship Id="rId43" Type="http://schemas.openxmlformats.org/officeDocument/2006/relationships/image" Target="../media/image214.png"/><Relationship Id="rId48" Type="http://schemas.openxmlformats.org/officeDocument/2006/relationships/image" Target="../media/image219.png"/><Relationship Id="rId8" Type="http://schemas.openxmlformats.org/officeDocument/2006/relationships/image" Target="../media/image179.png"/><Relationship Id="rId51" Type="http://schemas.openxmlformats.org/officeDocument/2006/relationships/image" Target="../media/image222.png"/><Relationship Id="rId3" Type="http://schemas.openxmlformats.org/officeDocument/2006/relationships/oleObject" Target="../embeddings/oleObject54.bin"/><Relationship Id="rId12" Type="http://schemas.openxmlformats.org/officeDocument/2006/relationships/image" Target="../media/image183.png"/><Relationship Id="rId17" Type="http://schemas.openxmlformats.org/officeDocument/2006/relationships/image" Target="../media/image188.png"/><Relationship Id="rId25" Type="http://schemas.openxmlformats.org/officeDocument/2006/relationships/image" Target="../media/image196.png"/><Relationship Id="rId33" Type="http://schemas.openxmlformats.org/officeDocument/2006/relationships/image" Target="../media/image204.png"/><Relationship Id="rId38" Type="http://schemas.openxmlformats.org/officeDocument/2006/relationships/image" Target="../media/image209.png"/><Relationship Id="rId46" Type="http://schemas.openxmlformats.org/officeDocument/2006/relationships/image" Target="../media/image217.png"/><Relationship Id="rId20" Type="http://schemas.openxmlformats.org/officeDocument/2006/relationships/image" Target="../media/image191.png"/><Relationship Id="rId41" Type="http://schemas.openxmlformats.org/officeDocument/2006/relationships/image" Target="../media/image212.png"/><Relationship Id="rId54" Type="http://schemas.openxmlformats.org/officeDocument/2006/relationships/image" Target="../media/image225.png"/><Relationship Id="rId1" Type="http://schemas.openxmlformats.org/officeDocument/2006/relationships/tags" Target="../tags/tag55.xml"/><Relationship Id="rId6" Type="http://schemas.openxmlformats.org/officeDocument/2006/relationships/image" Target="../media/image177.png"/><Relationship Id="rId15" Type="http://schemas.openxmlformats.org/officeDocument/2006/relationships/image" Target="../media/image186.png"/><Relationship Id="rId23" Type="http://schemas.openxmlformats.org/officeDocument/2006/relationships/image" Target="../media/image194.png"/><Relationship Id="rId28" Type="http://schemas.openxmlformats.org/officeDocument/2006/relationships/image" Target="../media/image199.png"/><Relationship Id="rId36" Type="http://schemas.openxmlformats.org/officeDocument/2006/relationships/image" Target="../media/image207.png"/><Relationship Id="rId49" Type="http://schemas.openxmlformats.org/officeDocument/2006/relationships/image" Target="../media/image220.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3.xml"/><Relationship Id="rId1" Type="http://schemas.openxmlformats.org/officeDocument/2006/relationships/tags" Target="../tags/tag19.xml"/><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12.xml"/><Relationship Id="rId1" Type="http://schemas.openxmlformats.org/officeDocument/2006/relationships/tags" Target="../tags/tag56.xml"/><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12.xml"/><Relationship Id="rId1" Type="http://schemas.openxmlformats.org/officeDocument/2006/relationships/tags" Target="../tags/tag57.xml"/><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12.xml"/><Relationship Id="rId1" Type="http://schemas.openxmlformats.org/officeDocument/2006/relationships/tags" Target="../tags/tag58.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28.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27.png"/><Relationship Id="rId5" Type="http://schemas.openxmlformats.org/officeDocument/2006/relationships/oleObject" Target="../embeddings/oleObject58.bin"/><Relationship Id="rId4" Type="http://schemas.openxmlformats.org/officeDocument/2006/relationships/notesSlide" Target="../notesSlides/notesSlide1.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29.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27.png"/><Relationship Id="rId5" Type="http://schemas.openxmlformats.org/officeDocument/2006/relationships/oleObject" Target="../embeddings/oleObject59.bin"/><Relationship Id="rId4" Type="http://schemas.openxmlformats.org/officeDocument/2006/relationships/notesSlide" Target="../notesSlides/notesSlide2.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29.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227.png"/><Relationship Id="rId5" Type="http://schemas.openxmlformats.org/officeDocument/2006/relationships/oleObject" Target="../embeddings/oleObject60.bin"/><Relationship Id="rId4" Type="http://schemas.openxmlformats.org/officeDocument/2006/relationships/notesSlide" Target="../notesSlides/notesSlide3.xml"/></Relationships>
</file>

<file path=ppt/slides/_rels/slide56.xml.rels><?xml version="1.0" encoding="UTF-8" standalone="yes"?>
<Relationships xmlns="http://schemas.openxmlformats.org/package/2006/relationships"><Relationship Id="rId8" Type="http://schemas.openxmlformats.org/officeDocument/2006/relationships/image" Target="../media/image230.png"/><Relationship Id="rId3" Type="http://schemas.openxmlformats.org/officeDocument/2006/relationships/slideLayout" Target="../slideLayouts/slideLayout12.xml"/><Relationship Id="rId7" Type="http://schemas.openxmlformats.org/officeDocument/2006/relationships/image" Target="../media/image228.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27.png"/><Relationship Id="rId5" Type="http://schemas.openxmlformats.org/officeDocument/2006/relationships/oleObject" Target="../embeddings/oleObject61.bin"/><Relationship Id="rId4" Type="http://schemas.openxmlformats.org/officeDocument/2006/relationships/notesSlide" Target="../notesSlides/notesSlide4.xml"/></Relationships>
</file>

<file path=ppt/slides/_rels/slide57.xml.rels><?xml version="1.0" encoding="UTF-8" standalone="yes"?>
<Relationships xmlns="http://schemas.openxmlformats.org/package/2006/relationships"><Relationship Id="rId8" Type="http://schemas.openxmlformats.org/officeDocument/2006/relationships/image" Target="../media/image231.png"/><Relationship Id="rId3" Type="http://schemas.openxmlformats.org/officeDocument/2006/relationships/slideLayout" Target="../slideLayouts/slideLayout12.xml"/><Relationship Id="rId7" Type="http://schemas.openxmlformats.org/officeDocument/2006/relationships/image" Target="../media/image230.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227.png"/><Relationship Id="rId5" Type="http://schemas.openxmlformats.org/officeDocument/2006/relationships/oleObject" Target="../embeddings/oleObject62.bin"/><Relationship Id="rId4" Type="http://schemas.openxmlformats.org/officeDocument/2006/relationships/notesSlide" Target="../notesSlides/notesSlide5.xml"/></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63.bin"/><Relationship Id="rId7" Type="http://schemas.openxmlformats.org/officeDocument/2006/relationships/image" Target="../media/image230.png"/><Relationship Id="rId2" Type="http://schemas.openxmlformats.org/officeDocument/2006/relationships/slideLayout" Target="../slideLayouts/slideLayout12.xml"/><Relationship Id="rId1" Type="http://schemas.openxmlformats.org/officeDocument/2006/relationships/tags" Target="../tags/tag69.xml"/><Relationship Id="rId6" Type="http://schemas.openxmlformats.org/officeDocument/2006/relationships/image" Target="../media/image228.png"/><Relationship Id="rId5" Type="http://schemas.openxmlformats.org/officeDocument/2006/relationships/image" Target="../media/image227.png"/><Relationship Id="rId4" Type="http://schemas.openxmlformats.org/officeDocument/2006/relationships/image" Target="../media/image1.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12.xml"/><Relationship Id="rId1" Type="http://schemas.openxmlformats.org/officeDocument/2006/relationships/tags" Target="../tags/tag70.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13.xml"/><Relationship Id="rId1" Type="http://schemas.openxmlformats.org/officeDocument/2006/relationships/tags" Target="../tags/tag20.xml"/><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2.xml"/><Relationship Id="rId1" Type="http://schemas.openxmlformats.org/officeDocument/2006/relationships/tags" Target="../tags/tag71.xml"/><Relationship Id="rId4" Type="http://schemas.openxmlformats.org/officeDocument/2006/relationships/image" Target="../media/image1.emf"/></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8.xml"/><Relationship Id="rId1" Type="http://schemas.openxmlformats.org/officeDocument/2006/relationships/tags" Target="../tags/tag72.xml"/><Relationship Id="rId5" Type="http://schemas.openxmlformats.org/officeDocument/2006/relationships/image" Target="../media/image232.jpeg"/><Relationship Id="rId4" Type="http://schemas.openxmlformats.org/officeDocument/2006/relationships/image" Target="../media/image1.emf"/></Relationships>
</file>

<file path=ppt/slides/_rels/slide63.xml.rels><?xml version="1.0" encoding="UTF-8" standalone="yes"?>
<Relationships xmlns="http://schemas.openxmlformats.org/package/2006/relationships"><Relationship Id="rId8" Type="http://schemas.openxmlformats.org/officeDocument/2006/relationships/image" Target="../media/image233.jpeg"/><Relationship Id="rId3" Type="http://schemas.openxmlformats.org/officeDocument/2006/relationships/tags" Target="../tags/tag75.xml"/><Relationship Id="rId7" Type="http://schemas.openxmlformats.org/officeDocument/2006/relationships/image" Target="../media/image1.emf"/><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oleObject" Target="../embeddings/oleObject67.bin"/><Relationship Id="rId5" Type="http://schemas.openxmlformats.org/officeDocument/2006/relationships/notesSlide" Target="../notesSlides/notesSlide6.xml"/><Relationship Id="rId10" Type="http://schemas.openxmlformats.org/officeDocument/2006/relationships/image" Target="../media/image235.jpeg"/><Relationship Id="rId4" Type="http://schemas.openxmlformats.org/officeDocument/2006/relationships/slideLayout" Target="../slideLayouts/slideLayout12.xml"/><Relationship Id="rId9" Type="http://schemas.openxmlformats.org/officeDocument/2006/relationships/image" Target="../media/image234.jpeg"/></Relationships>
</file>

<file path=ppt/slides/_rels/slide64.xml.rels><?xml version="1.0" encoding="UTF-8" standalone="yes"?>
<Relationships xmlns="http://schemas.openxmlformats.org/package/2006/relationships"><Relationship Id="rId8" Type="http://schemas.openxmlformats.org/officeDocument/2006/relationships/image" Target="../media/image227.png"/><Relationship Id="rId3" Type="http://schemas.openxmlformats.org/officeDocument/2006/relationships/tags" Target="../tags/tag78.xml"/><Relationship Id="rId7" Type="http://schemas.openxmlformats.org/officeDocument/2006/relationships/image" Target="../media/image237.jpe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236.emf"/><Relationship Id="rId5" Type="http://schemas.openxmlformats.org/officeDocument/2006/relationships/oleObject" Target="../embeddings/oleObject68.bin"/><Relationship Id="rId10" Type="http://schemas.openxmlformats.org/officeDocument/2006/relationships/image" Target="../media/image230.png"/><Relationship Id="rId4" Type="http://schemas.openxmlformats.org/officeDocument/2006/relationships/slideLayout" Target="../slideLayouts/slideLayout12.xml"/><Relationship Id="rId9" Type="http://schemas.openxmlformats.org/officeDocument/2006/relationships/image" Target="../media/image228.png"/></Relationships>
</file>

<file path=ppt/slides/_rels/slide65.xml.rels><?xml version="1.0" encoding="UTF-8" standalone="yes"?>
<Relationships xmlns="http://schemas.openxmlformats.org/package/2006/relationships"><Relationship Id="rId8" Type="http://schemas.openxmlformats.org/officeDocument/2006/relationships/image" Target="../media/image238.emf"/><Relationship Id="rId3" Type="http://schemas.openxmlformats.org/officeDocument/2006/relationships/tags" Target="../tags/tag81.xml"/><Relationship Id="rId7" Type="http://schemas.openxmlformats.org/officeDocument/2006/relationships/oleObject" Target="../embeddings/oleObject69.bin"/><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notesSlide" Target="../notesSlides/notesSlide7.xml"/><Relationship Id="rId11" Type="http://schemas.openxmlformats.org/officeDocument/2006/relationships/image" Target="../media/image241.png"/><Relationship Id="rId5" Type="http://schemas.openxmlformats.org/officeDocument/2006/relationships/slideLayout" Target="../slideLayouts/slideLayout12.xml"/><Relationship Id="rId10" Type="http://schemas.openxmlformats.org/officeDocument/2006/relationships/image" Target="../media/image240.png"/><Relationship Id="rId4" Type="http://schemas.openxmlformats.org/officeDocument/2006/relationships/tags" Target="../tags/tag82.xml"/><Relationship Id="rId9" Type="http://schemas.openxmlformats.org/officeDocument/2006/relationships/image" Target="../media/image239.jpeg"/></Relationships>
</file>

<file path=ppt/slides/_rels/slide66.xml.rels><?xml version="1.0" encoding="UTF-8" standalone="yes"?>
<Relationships xmlns="http://schemas.openxmlformats.org/package/2006/relationships"><Relationship Id="rId8" Type="http://schemas.openxmlformats.org/officeDocument/2006/relationships/image" Target="../media/image243.png"/><Relationship Id="rId3" Type="http://schemas.openxmlformats.org/officeDocument/2006/relationships/slideLayout" Target="../slideLayouts/slideLayout14.xml"/><Relationship Id="rId7" Type="http://schemas.openxmlformats.org/officeDocument/2006/relationships/image" Target="../media/image242.jpe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238.emf"/><Relationship Id="rId5" Type="http://schemas.openxmlformats.org/officeDocument/2006/relationships/oleObject" Target="../embeddings/oleObject70.bin"/><Relationship Id="rId4" Type="http://schemas.openxmlformats.org/officeDocument/2006/relationships/notesSlide" Target="../notesSlides/notesSlide8.xml"/><Relationship Id="rId9" Type="http://schemas.openxmlformats.org/officeDocument/2006/relationships/image" Target="../media/image241.png"/></Relationships>
</file>

<file path=ppt/slides/_rels/slide67.xml.rels><?xml version="1.0" encoding="UTF-8" standalone="yes"?>
<Relationships xmlns="http://schemas.openxmlformats.org/package/2006/relationships"><Relationship Id="rId8" Type="http://schemas.openxmlformats.org/officeDocument/2006/relationships/image" Target="../media/image246.jpeg"/><Relationship Id="rId3" Type="http://schemas.openxmlformats.org/officeDocument/2006/relationships/slideLayout" Target="../slideLayouts/slideLayout12.xml"/><Relationship Id="rId7" Type="http://schemas.openxmlformats.org/officeDocument/2006/relationships/image" Target="../media/image245.jpe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244.emf"/><Relationship Id="rId5" Type="http://schemas.openxmlformats.org/officeDocument/2006/relationships/oleObject" Target="../embeddings/oleObject71.bin"/><Relationship Id="rId10" Type="http://schemas.openxmlformats.org/officeDocument/2006/relationships/image" Target="../media/image248.jpeg"/><Relationship Id="rId4" Type="http://schemas.openxmlformats.org/officeDocument/2006/relationships/notesSlide" Target="../notesSlides/notesSlide9.xml"/><Relationship Id="rId9" Type="http://schemas.openxmlformats.org/officeDocument/2006/relationships/image" Target="../media/image247.jpeg"/></Relationships>
</file>

<file path=ppt/slides/_rels/slide68.xml.rels><?xml version="1.0" encoding="UTF-8" standalone="yes"?>
<Relationships xmlns="http://schemas.openxmlformats.org/package/2006/relationships"><Relationship Id="rId8" Type="http://schemas.openxmlformats.org/officeDocument/2006/relationships/image" Target="../media/image252.png"/><Relationship Id="rId3" Type="http://schemas.openxmlformats.org/officeDocument/2006/relationships/oleObject" Target="../embeddings/oleObject72.bin"/><Relationship Id="rId7" Type="http://schemas.openxmlformats.org/officeDocument/2006/relationships/image" Target="../media/image251.png"/><Relationship Id="rId2" Type="http://schemas.openxmlformats.org/officeDocument/2006/relationships/slideLayout" Target="../slideLayouts/slideLayout12.xml"/><Relationship Id="rId1" Type="http://schemas.openxmlformats.org/officeDocument/2006/relationships/tags" Target="../tags/tag87.xml"/><Relationship Id="rId6" Type="http://schemas.openxmlformats.org/officeDocument/2006/relationships/image" Target="../media/image250.png"/><Relationship Id="rId5" Type="http://schemas.openxmlformats.org/officeDocument/2006/relationships/image" Target="../media/image249.png"/><Relationship Id="rId4" Type="http://schemas.openxmlformats.org/officeDocument/2006/relationships/image" Target="../media/image1.emf"/><Relationship Id="rId9" Type="http://schemas.openxmlformats.org/officeDocument/2006/relationships/image" Target="../media/image253.png"/></Relationships>
</file>

<file path=ppt/slides/_rels/slide69.xml.rels><?xml version="1.0" encoding="UTF-8" standalone="yes"?>
<Relationships xmlns="http://schemas.openxmlformats.org/package/2006/relationships"><Relationship Id="rId8" Type="http://schemas.openxmlformats.org/officeDocument/2006/relationships/image" Target="../media/image251.png"/><Relationship Id="rId3" Type="http://schemas.openxmlformats.org/officeDocument/2006/relationships/notesSlide" Target="../notesSlides/notesSlide10.xml"/><Relationship Id="rId7" Type="http://schemas.openxmlformats.org/officeDocument/2006/relationships/image" Target="../media/image250.png"/><Relationship Id="rId2" Type="http://schemas.openxmlformats.org/officeDocument/2006/relationships/slideLayout" Target="../slideLayouts/slideLayout12.xml"/><Relationship Id="rId1" Type="http://schemas.openxmlformats.org/officeDocument/2006/relationships/tags" Target="../tags/tag88.xml"/><Relationship Id="rId6" Type="http://schemas.openxmlformats.org/officeDocument/2006/relationships/image" Target="../media/image249.png"/><Relationship Id="rId5" Type="http://schemas.openxmlformats.org/officeDocument/2006/relationships/image" Target="../media/image1.emf"/><Relationship Id="rId10" Type="http://schemas.openxmlformats.org/officeDocument/2006/relationships/image" Target="../media/image253.png"/><Relationship Id="rId4" Type="http://schemas.openxmlformats.org/officeDocument/2006/relationships/oleObject" Target="../embeddings/oleObject73.bin"/><Relationship Id="rId9" Type="http://schemas.openxmlformats.org/officeDocument/2006/relationships/image" Target="../media/image25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89.xml"/><Relationship Id="rId5" Type="http://schemas.openxmlformats.org/officeDocument/2006/relationships/image" Target="../media/image238.emf"/><Relationship Id="rId4" Type="http://schemas.openxmlformats.org/officeDocument/2006/relationships/oleObject" Target="../embeddings/oleObject74.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ags" Target="../tags/tag90.xml"/><Relationship Id="rId5" Type="http://schemas.openxmlformats.org/officeDocument/2006/relationships/image" Target="../media/image238.emf"/><Relationship Id="rId4" Type="http://schemas.openxmlformats.org/officeDocument/2006/relationships/oleObject" Target="../embeddings/oleObject75.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91.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92.xml"/><Relationship Id="rId5" Type="http://schemas.openxmlformats.org/officeDocument/2006/relationships/image" Target="../media/image1.emf"/><Relationship Id="rId4" Type="http://schemas.openxmlformats.org/officeDocument/2006/relationships/oleObject" Target="../embeddings/oleObject77.bin"/></Relationships>
</file>

<file path=ppt/slides/_rels/slide74.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tags" Target="../tags/tag95.xml"/><Relationship Id="rId7" Type="http://schemas.openxmlformats.org/officeDocument/2006/relationships/image" Target="../media/image1.emf"/><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oleObject" Target="../embeddings/oleObject78.bin"/><Relationship Id="rId5" Type="http://schemas.openxmlformats.org/officeDocument/2006/relationships/notesSlide" Target="../notesSlides/notesSlide15.xml"/><Relationship Id="rId4"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tags" Target="../tags/tag98.xml"/><Relationship Id="rId7" Type="http://schemas.openxmlformats.org/officeDocument/2006/relationships/image" Target="../media/image1.emf"/><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oleObject" Target="../embeddings/oleObject79.bin"/><Relationship Id="rId5" Type="http://schemas.openxmlformats.org/officeDocument/2006/relationships/notesSlide" Target="../notesSlides/notesSlide16.xml"/><Relationship Id="rId4"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tags" Target="../tags/tag101.xml"/><Relationship Id="rId7" Type="http://schemas.openxmlformats.org/officeDocument/2006/relationships/image" Target="../media/image1.emf"/><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oleObject" Target="../embeddings/oleObject80.bin"/><Relationship Id="rId5" Type="http://schemas.openxmlformats.org/officeDocument/2006/relationships/notesSlide" Target="../notesSlides/notesSlide17.xml"/><Relationship Id="rId4"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8" Type="http://schemas.openxmlformats.org/officeDocument/2006/relationships/image" Target="../media/image254.emf"/><Relationship Id="rId3" Type="http://schemas.openxmlformats.org/officeDocument/2006/relationships/tags" Target="../tags/tag104.xml"/><Relationship Id="rId7" Type="http://schemas.openxmlformats.org/officeDocument/2006/relationships/oleObject" Target="../embeddings/oleObject81.bin"/><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notesSlide" Target="../notesSlides/notesSlide18.xml"/><Relationship Id="rId5" Type="http://schemas.openxmlformats.org/officeDocument/2006/relationships/slideLayout" Target="../slideLayouts/slideLayout12.xml"/><Relationship Id="rId10" Type="http://schemas.openxmlformats.org/officeDocument/2006/relationships/chart" Target="../charts/chart14.xml"/><Relationship Id="rId4" Type="http://schemas.openxmlformats.org/officeDocument/2006/relationships/tags" Target="../tags/tag105.xml"/><Relationship Id="rId9" Type="http://schemas.openxmlformats.org/officeDocument/2006/relationships/chart" Target="../charts/chart13.xml"/></Relationships>
</file>

<file path=ppt/slides/_rels/slide78.xml.rels><?xml version="1.0" encoding="UTF-8" standalone="yes"?>
<Relationships xmlns="http://schemas.openxmlformats.org/package/2006/relationships"><Relationship Id="rId8" Type="http://schemas.openxmlformats.org/officeDocument/2006/relationships/image" Target="../media/image254.emf"/><Relationship Id="rId3" Type="http://schemas.openxmlformats.org/officeDocument/2006/relationships/tags" Target="../tags/tag108.xml"/><Relationship Id="rId7" Type="http://schemas.openxmlformats.org/officeDocument/2006/relationships/oleObject" Target="../embeddings/oleObject82.bin"/><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notesSlide" Target="../notesSlides/notesSlide19.xml"/><Relationship Id="rId5" Type="http://schemas.openxmlformats.org/officeDocument/2006/relationships/slideLayout" Target="../slideLayouts/slideLayout12.xml"/><Relationship Id="rId10" Type="http://schemas.openxmlformats.org/officeDocument/2006/relationships/chart" Target="../charts/chart16.xml"/><Relationship Id="rId4" Type="http://schemas.openxmlformats.org/officeDocument/2006/relationships/tags" Target="../tags/tag109.xml"/><Relationship Id="rId9" Type="http://schemas.openxmlformats.org/officeDocument/2006/relationships/chart" Target="../charts/chart15.xml"/></Relationships>
</file>

<file path=ppt/slides/_rels/slide79.xml.rels><?xml version="1.0" encoding="UTF-8" standalone="yes"?>
<Relationships xmlns="http://schemas.openxmlformats.org/package/2006/relationships"><Relationship Id="rId8" Type="http://schemas.openxmlformats.org/officeDocument/2006/relationships/image" Target="../media/image254.emf"/><Relationship Id="rId3" Type="http://schemas.openxmlformats.org/officeDocument/2006/relationships/tags" Target="../tags/tag112.xml"/><Relationship Id="rId7" Type="http://schemas.openxmlformats.org/officeDocument/2006/relationships/oleObject" Target="../embeddings/oleObject83.bin"/><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notesSlide" Target="../notesSlides/notesSlide20.xml"/><Relationship Id="rId5" Type="http://schemas.openxmlformats.org/officeDocument/2006/relationships/slideLayout" Target="../slideLayouts/slideLayout13.xml"/><Relationship Id="rId10" Type="http://schemas.openxmlformats.org/officeDocument/2006/relationships/chart" Target="../charts/chart18.xml"/><Relationship Id="rId4" Type="http://schemas.openxmlformats.org/officeDocument/2006/relationships/tags" Target="../tags/tag113.xml"/><Relationship Id="rId9" Type="http://schemas.openxmlformats.org/officeDocument/2006/relationships/chart" Target="../charts/chart17.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5.xml"/><Relationship Id="rId1" Type="http://schemas.openxmlformats.org/officeDocument/2006/relationships/tags" Target="../tags/tag21.xml"/><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8" Type="http://schemas.openxmlformats.org/officeDocument/2006/relationships/notesSlide" Target="../notesSlides/notesSlide21.xml"/><Relationship Id="rId13" Type="http://schemas.openxmlformats.org/officeDocument/2006/relationships/chart" Target="../charts/chart21.xml"/><Relationship Id="rId3" Type="http://schemas.openxmlformats.org/officeDocument/2006/relationships/tags" Target="../tags/tag116.xml"/><Relationship Id="rId7" Type="http://schemas.openxmlformats.org/officeDocument/2006/relationships/slideLayout" Target="../slideLayouts/slideLayout12.xml"/><Relationship Id="rId12" Type="http://schemas.openxmlformats.org/officeDocument/2006/relationships/chart" Target="../charts/chart20.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tags" Target="../tags/tag119.xml"/><Relationship Id="rId11" Type="http://schemas.openxmlformats.org/officeDocument/2006/relationships/chart" Target="../charts/chart19.xml"/><Relationship Id="rId5" Type="http://schemas.openxmlformats.org/officeDocument/2006/relationships/tags" Target="../tags/tag118.xml"/><Relationship Id="rId10" Type="http://schemas.openxmlformats.org/officeDocument/2006/relationships/image" Target="../media/image1.emf"/><Relationship Id="rId4" Type="http://schemas.openxmlformats.org/officeDocument/2006/relationships/tags" Target="../tags/tag117.xml"/><Relationship Id="rId9" Type="http://schemas.openxmlformats.org/officeDocument/2006/relationships/oleObject" Target="../embeddings/oleObject84.bin"/><Relationship Id="rId14" Type="http://schemas.openxmlformats.org/officeDocument/2006/relationships/chart" Target="../charts/chart22.xml"/></Relationships>
</file>

<file path=ppt/slides/_rels/slide81.xml.rels><?xml version="1.0" encoding="UTF-8" standalone="yes"?>
<Relationships xmlns="http://schemas.openxmlformats.org/package/2006/relationships"><Relationship Id="rId8" Type="http://schemas.openxmlformats.org/officeDocument/2006/relationships/notesSlide" Target="../notesSlides/notesSlide22.xml"/><Relationship Id="rId13" Type="http://schemas.openxmlformats.org/officeDocument/2006/relationships/chart" Target="../charts/chart25.xml"/><Relationship Id="rId3" Type="http://schemas.openxmlformats.org/officeDocument/2006/relationships/tags" Target="../tags/tag122.xml"/><Relationship Id="rId7" Type="http://schemas.openxmlformats.org/officeDocument/2006/relationships/slideLayout" Target="../slideLayouts/slideLayout12.xml"/><Relationship Id="rId12" Type="http://schemas.openxmlformats.org/officeDocument/2006/relationships/chart" Target="../charts/chart24.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chart" Target="../charts/chart23.xml"/><Relationship Id="rId5" Type="http://schemas.openxmlformats.org/officeDocument/2006/relationships/tags" Target="../tags/tag124.xml"/><Relationship Id="rId10" Type="http://schemas.openxmlformats.org/officeDocument/2006/relationships/image" Target="../media/image1.emf"/><Relationship Id="rId4" Type="http://schemas.openxmlformats.org/officeDocument/2006/relationships/tags" Target="../tags/tag123.xml"/><Relationship Id="rId9" Type="http://schemas.openxmlformats.org/officeDocument/2006/relationships/oleObject" Target="../embeddings/oleObject85.bin"/><Relationship Id="rId14" Type="http://schemas.openxmlformats.org/officeDocument/2006/relationships/chart" Target="../charts/chart26.xml"/></Relationships>
</file>

<file path=ppt/slides/_rels/slide82.xml.rels><?xml version="1.0" encoding="UTF-8" standalone="yes"?>
<Relationships xmlns="http://schemas.openxmlformats.org/package/2006/relationships"><Relationship Id="rId8" Type="http://schemas.openxmlformats.org/officeDocument/2006/relationships/notesSlide" Target="../notesSlides/notesSlide23.xml"/><Relationship Id="rId13" Type="http://schemas.openxmlformats.org/officeDocument/2006/relationships/chart" Target="../charts/chart29.xml"/><Relationship Id="rId3" Type="http://schemas.openxmlformats.org/officeDocument/2006/relationships/tags" Target="../tags/tag128.xml"/><Relationship Id="rId7" Type="http://schemas.openxmlformats.org/officeDocument/2006/relationships/slideLayout" Target="../slideLayouts/slideLayout13.xml"/><Relationship Id="rId12" Type="http://schemas.openxmlformats.org/officeDocument/2006/relationships/chart" Target="../charts/chart28.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chart" Target="../charts/chart27.xml"/><Relationship Id="rId5" Type="http://schemas.openxmlformats.org/officeDocument/2006/relationships/tags" Target="../tags/tag130.xml"/><Relationship Id="rId10" Type="http://schemas.openxmlformats.org/officeDocument/2006/relationships/image" Target="../media/image1.emf"/><Relationship Id="rId4" Type="http://schemas.openxmlformats.org/officeDocument/2006/relationships/tags" Target="../tags/tag129.xml"/><Relationship Id="rId9" Type="http://schemas.openxmlformats.org/officeDocument/2006/relationships/oleObject" Target="../embeddings/oleObject86.bin"/><Relationship Id="rId14" Type="http://schemas.openxmlformats.org/officeDocument/2006/relationships/chart" Target="../charts/chart30.xml"/></Relationships>
</file>

<file path=ppt/slides/_rels/slide83.xml.rels><?xml version="1.0" encoding="UTF-8" standalone="yes"?>
<Relationships xmlns="http://schemas.openxmlformats.org/package/2006/relationships"><Relationship Id="rId8" Type="http://schemas.openxmlformats.org/officeDocument/2006/relationships/image" Target="../media/image236.emf"/><Relationship Id="rId3" Type="http://schemas.openxmlformats.org/officeDocument/2006/relationships/tags" Target="../tags/tag134.xml"/><Relationship Id="rId7" Type="http://schemas.openxmlformats.org/officeDocument/2006/relationships/oleObject" Target="../embeddings/oleObject87.bin"/><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slideLayout" Target="../slideLayouts/slideLayout12.xml"/><Relationship Id="rId5" Type="http://schemas.openxmlformats.org/officeDocument/2006/relationships/tags" Target="../tags/tag136.xml"/><Relationship Id="rId4" Type="http://schemas.openxmlformats.org/officeDocument/2006/relationships/tags" Target="../tags/tag135.xml"/></Relationships>
</file>

<file path=ppt/slides/_rels/slide84.xml.rels><?xml version="1.0" encoding="UTF-8" standalone="yes"?>
<Relationships xmlns="http://schemas.openxmlformats.org/package/2006/relationships"><Relationship Id="rId8" Type="http://schemas.openxmlformats.org/officeDocument/2006/relationships/image" Target="../media/image236.emf"/><Relationship Id="rId3" Type="http://schemas.openxmlformats.org/officeDocument/2006/relationships/tags" Target="../tags/tag139.xml"/><Relationship Id="rId7" Type="http://schemas.openxmlformats.org/officeDocument/2006/relationships/oleObject" Target="../embeddings/oleObject88.bin"/><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slideLayout" Target="../slideLayouts/slideLayout13.xml"/><Relationship Id="rId5" Type="http://schemas.openxmlformats.org/officeDocument/2006/relationships/tags" Target="../tags/tag141.xml"/><Relationship Id="rId4" Type="http://schemas.openxmlformats.org/officeDocument/2006/relationships/tags" Target="../tags/tag140.xml"/></Relationships>
</file>

<file path=ppt/slides/_rels/slide85.xml.rels><?xml version="1.0" encoding="UTF-8" standalone="yes"?>
<Relationships xmlns="http://schemas.openxmlformats.org/package/2006/relationships"><Relationship Id="rId8" Type="http://schemas.openxmlformats.org/officeDocument/2006/relationships/image" Target="../media/image236.emf"/><Relationship Id="rId3" Type="http://schemas.openxmlformats.org/officeDocument/2006/relationships/tags" Target="../tags/tag144.xml"/><Relationship Id="rId7" Type="http://schemas.openxmlformats.org/officeDocument/2006/relationships/oleObject" Target="../embeddings/oleObject89.bin"/><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slideLayout" Target="../slideLayouts/slideLayout13.xml"/><Relationship Id="rId5" Type="http://schemas.openxmlformats.org/officeDocument/2006/relationships/tags" Target="../tags/tag146.xml"/><Relationship Id="rId4" Type="http://schemas.openxmlformats.org/officeDocument/2006/relationships/tags" Target="../tags/tag145.xml"/></Relationships>
</file>

<file path=ppt/slides/_rels/slide86.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image" Target="../media/image236.emf"/><Relationship Id="rId5" Type="http://schemas.openxmlformats.org/officeDocument/2006/relationships/oleObject" Target="../embeddings/oleObject90.bin"/><Relationship Id="rId4" Type="http://schemas.openxmlformats.org/officeDocument/2006/relationships/slideLayout" Target="../slideLayouts/slideLayout12.xml"/></Relationships>
</file>

<file path=ppt/slides/_rels/slide87.xml.rels><?xml version="1.0" encoding="UTF-8" standalone="yes"?>
<Relationships xmlns="http://schemas.openxmlformats.org/package/2006/relationships"><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236.emf"/><Relationship Id="rId5" Type="http://schemas.openxmlformats.org/officeDocument/2006/relationships/oleObject" Target="../embeddings/oleObject91.bin"/><Relationship Id="rId4" Type="http://schemas.openxmlformats.org/officeDocument/2006/relationships/slideLayout" Target="../slideLayouts/slideLayout13.xml"/></Relationships>
</file>

<file path=ppt/slides/_rels/slide88.xml.rels><?xml version="1.0" encoding="UTF-8" standalone="yes"?>
<Relationships xmlns="http://schemas.openxmlformats.org/package/2006/relationships"><Relationship Id="rId3" Type="http://schemas.openxmlformats.org/officeDocument/2006/relationships/tags" Target="../tags/tag155.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image" Target="../media/image236.emf"/><Relationship Id="rId5" Type="http://schemas.openxmlformats.org/officeDocument/2006/relationships/oleObject" Target="../embeddings/oleObject92.bin"/><Relationship Id="rId4" Type="http://schemas.openxmlformats.org/officeDocument/2006/relationships/slideLayout" Target="../slideLayouts/slideLayout13.xm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oleObject" Target="../embeddings/oleObject93.bin"/><Relationship Id="rId4" Type="http://schemas.openxmlformats.org/officeDocument/2006/relationships/notesSlide" Target="../notesSlides/notesSlide24.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5.xml"/><Relationship Id="rId1" Type="http://schemas.openxmlformats.org/officeDocument/2006/relationships/tags" Target="../tags/tag22.xml"/><Relationship Id="rId4" Type="http://schemas.openxmlformats.org/officeDocument/2006/relationships/image" Target="../media/image1.emf"/></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59.xml"/><Relationship Id="rId1" Type="http://schemas.openxmlformats.org/officeDocument/2006/relationships/tags" Target="../tags/tag158.xml"/><Relationship Id="rId5" Type="http://schemas.openxmlformats.org/officeDocument/2006/relationships/oleObject" Target="../embeddings/oleObject94.bin"/><Relationship Id="rId4" Type="http://schemas.openxmlformats.org/officeDocument/2006/relationships/notesSlide" Target="../notesSlides/notesSlide25.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61.xml"/><Relationship Id="rId1" Type="http://schemas.openxmlformats.org/officeDocument/2006/relationships/tags" Target="../tags/tag160.xml"/><Relationship Id="rId5" Type="http://schemas.openxmlformats.org/officeDocument/2006/relationships/oleObject" Target="../embeddings/oleObject95.bin"/><Relationship Id="rId4" Type="http://schemas.openxmlformats.org/officeDocument/2006/relationships/notesSlide" Target="../notesSlides/notesSlide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17E1E61E-7A00-5349-950C-149A1FF1F303}"/>
              </a:ext>
            </a:extLst>
          </p:cNvPr>
          <p:cNvSpPr txBox="1"/>
          <p:nvPr/>
        </p:nvSpPr>
        <p:spPr bwMode="gray">
          <a:xfrm>
            <a:off x="6072027" y="3041151"/>
            <a:ext cx="0" cy="0"/>
          </a:xfrm>
          <a:prstGeom prst="rect">
            <a:avLst/>
          </a:prstGeom>
          <a:noFill/>
        </p:spPr>
        <p:txBody>
          <a:bodyPr wrap="none" lIns="144000" tIns="144000" rIns="144000" bIns="0" rtlCol="0">
            <a:noAutofit/>
          </a:bodyPr>
          <a:lstStyle/>
          <a:p>
            <a:pPr marL="180000" indent="-180000" algn="l">
              <a:lnSpc>
                <a:spcPct val="112000"/>
              </a:lnSpc>
              <a:spcBef>
                <a:spcPts val="300"/>
              </a:spcBef>
              <a:spcAft>
                <a:spcPts val="300"/>
              </a:spcAft>
              <a:buFont typeface="Wingdings" panose="05000000000000000000" pitchFamily="2" charset="2"/>
              <a:buChar char=""/>
            </a:pPr>
            <a:endParaRPr lang="de-DE" sz="1400" dirty="0" err="1">
              <a:solidFill>
                <a:schemeClr val="tx1"/>
              </a:solidFill>
            </a:endParaRPr>
          </a:p>
        </p:txBody>
      </p:sp>
    </p:spTree>
    <p:extLst>
      <p:ext uri="{BB962C8B-B14F-4D97-AF65-F5344CB8AC3E}">
        <p14:creationId xmlns:p14="http://schemas.microsoft.com/office/powerpoint/2010/main" val="1208340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475E444-58D4-4E3A-B1EA-AB9EE0337F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7" name="Objekt 6" hidden="1">
                        <a:extLst>
                          <a:ext uri="{FF2B5EF4-FFF2-40B4-BE49-F238E27FC236}">
                            <a16:creationId xmlns:a16="http://schemas.microsoft.com/office/drawing/2014/main" id="{7475E444-58D4-4E3A-B1EA-AB9EE0337F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F2B4F8-69B3-40E0-B120-7FA24ADA9200}"/>
              </a:ext>
            </a:extLst>
          </p:cNvPr>
          <p:cNvSpPr>
            <a:spLocks noGrp="1"/>
          </p:cNvSpPr>
          <p:nvPr>
            <p:ph type="title"/>
          </p:nvPr>
        </p:nvSpPr>
        <p:spPr bwMode="gray"/>
        <p:txBody>
          <a:bodyPr vert="horz"/>
          <a:lstStyle/>
          <a:p>
            <a:r>
              <a:rPr lang="de-DE" dirty="0"/>
              <a:t>ÜBERSCHRIFT 1 in 20 pt</a:t>
            </a:r>
            <a:br>
              <a:rPr lang="de-DE" dirty="0"/>
            </a:br>
            <a:r>
              <a:rPr lang="de-DE" b="0" dirty="0"/>
              <a:t>zweite Zeile ungefettet (Manuell)</a:t>
            </a:r>
          </a:p>
        </p:txBody>
      </p:sp>
      <p:sp>
        <p:nvSpPr>
          <p:cNvPr id="14" name="Date Placeholder 13">
            <a:extLst>
              <a:ext uri="{FF2B5EF4-FFF2-40B4-BE49-F238E27FC236}">
                <a16:creationId xmlns:a16="http://schemas.microsoft.com/office/drawing/2014/main" id="{DC64BB43-C60C-462D-957F-6AB41D5519AF}"/>
              </a:ext>
            </a:extLst>
          </p:cNvPr>
          <p:cNvSpPr>
            <a:spLocks noGrp="1"/>
          </p:cNvSpPr>
          <p:nvPr>
            <p:ph type="dt" sz="half" idx="14"/>
          </p:nvPr>
        </p:nvSpPr>
        <p:spPr bwMode="gray"/>
        <p:txBody>
          <a:bodyPr/>
          <a:lstStyle/>
          <a:p>
            <a:fld id="{C11FD278-B085-429C-A912-3C04F3D2EBF9}" type="datetime1">
              <a:rPr lang="de-DE" smtClean="0">
                <a:solidFill>
                  <a:schemeClr val="bg1"/>
                </a:solidFill>
              </a:rPr>
              <a:t>29.09.25</a:t>
            </a:fld>
            <a:endParaRPr lang="de-DE" dirty="0">
              <a:solidFill>
                <a:schemeClr val="bg1"/>
              </a:solidFill>
            </a:endParaRPr>
          </a:p>
        </p:txBody>
      </p:sp>
      <p:sp>
        <p:nvSpPr>
          <p:cNvPr id="5" name="Fußzeilenplatzhalter 4">
            <a:extLst>
              <a:ext uri="{FF2B5EF4-FFF2-40B4-BE49-F238E27FC236}">
                <a16:creationId xmlns:a16="http://schemas.microsoft.com/office/drawing/2014/main" id="{910957FD-CF3A-4367-8B11-DF91FE2155C2}"/>
              </a:ext>
            </a:extLst>
          </p:cNvPr>
          <p:cNvSpPr>
            <a:spLocks noGrp="1"/>
          </p:cNvSpPr>
          <p:nvPr>
            <p:ph type="ftr" sz="quarter" idx="15"/>
          </p:nvPr>
        </p:nvSpPr>
        <p:spPr bwMode="gray"/>
        <p:txBody>
          <a:bodyPr/>
          <a:lstStyle/>
          <a:p>
            <a:r>
              <a:rPr lang="de-DE" dirty="0">
                <a:solidFill>
                  <a:schemeClr val="bg1"/>
                </a:solidFill>
              </a:rPr>
              <a:t>TITEL DER PRÄSENTATION | TITEL VORNAME NAME</a:t>
            </a:r>
          </a:p>
        </p:txBody>
      </p:sp>
      <p:sp>
        <p:nvSpPr>
          <p:cNvPr id="6" name="Foliennummernplatzhalter 5">
            <a:extLst>
              <a:ext uri="{FF2B5EF4-FFF2-40B4-BE49-F238E27FC236}">
                <a16:creationId xmlns:a16="http://schemas.microsoft.com/office/drawing/2014/main" id="{6D197547-2CF3-4E2D-8366-79AC5445288C}"/>
              </a:ext>
            </a:extLst>
          </p:cNvPr>
          <p:cNvSpPr>
            <a:spLocks noGrp="1"/>
          </p:cNvSpPr>
          <p:nvPr>
            <p:ph type="sldNum" sz="quarter" idx="16"/>
          </p:nvPr>
        </p:nvSpPr>
        <p:spPr bwMode="gray"/>
        <p:txBody>
          <a:bodyPr/>
          <a:lstStyle/>
          <a:p>
            <a:fld id="{09E9C37E-8A19-4E30-BE2B-5A966AD23C7A}" type="slidenum">
              <a:rPr lang="de-DE" smtClean="0">
                <a:solidFill>
                  <a:schemeClr val="bg1"/>
                </a:solidFill>
              </a:rPr>
              <a:pPr/>
              <a:t>10</a:t>
            </a:fld>
            <a:endParaRPr lang="de-DE" dirty="0">
              <a:solidFill>
                <a:schemeClr val="bg1"/>
              </a:solidFill>
            </a:endParaRPr>
          </a:p>
        </p:txBody>
      </p:sp>
      <p:sp>
        <p:nvSpPr>
          <p:cNvPr id="3" name="Textplatzhalter 2">
            <a:extLst>
              <a:ext uri="{FF2B5EF4-FFF2-40B4-BE49-F238E27FC236}">
                <a16:creationId xmlns:a16="http://schemas.microsoft.com/office/drawing/2014/main" id="{52912098-EC81-4307-B2FA-DA6B8A7282E2}"/>
              </a:ext>
            </a:extLst>
          </p:cNvPr>
          <p:cNvSpPr>
            <a:spLocks noGrp="1"/>
          </p:cNvSpPr>
          <p:nvPr>
            <p:ph sz="quarter" idx="17"/>
          </p:nvPr>
        </p:nvSpPr>
        <p:spPr bwMode="gray"/>
        <p:txBody>
          <a:bodyPr/>
          <a:lstStyle/>
          <a:p>
            <a:pPr lvl="2"/>
            <a:r>
              <a:rPr lang="de-DE" dirty="0">
                <a:solidFill>
                  <a:schemeClr val="bg1"/>
                </a:solidFill>
              </a:rPr>
              <a:t>Zwischenüberschrift auf Listenebene Drei</a:t>
            </a:r>
          </a:p>
          <a:p>
            <a:pPr lvl="1"/>
            <a:r>
              <a:rPr lang="de-DE" dirty="0">
                <a:solidFill>
                  <a:schemeClr val="bg1"/>
                </a:solidFill>
              </a:rPr>
              <a:t>Fließtext auf Listenebene Zwei, Verdana 14 pt. Ased diam voluptua. At vero eos et justo duo dolores et ea rebum. Lorem ipsum dolor sit amet, conse tetur, sed diam nonumy eirmod tempor invidunt ut labore et dolore magna.</a:t>
            </a:r>
          </a:p>
          <a:p>
            <a:pPr lvl="2"/>
            <a:r>
              <a:rPr lang="de-DE" dirty="0">
                <a:solidFill>
                  <a:schemeClr val="bg1"/>
                </a:solidFill>
              </a:rPr>
              <a:t>Zwischenüberschrift auf Listenebene Drei</a:t>
            </a:r>
          </a:p>
          <a:p>
            <a:pPr lvl="1"/>
            <a:r>
              <a:rPr lang="de-DE" dirty="0">
                <a:solidFill>
                  <a:schemeClr val="bg1"/>
                </a:solidFill>
              </a:rPr>
              <a:t>Ano sea takimata sanctus ipsum dolor sit amet. Lorem ipsum dolor sit amet, sadipscing elitr, sed diam nonumy eirmod tempor invidunt ut labore et dolore dolores et ea rebum. Stet clita kasd gubergren, no sea takimata sanctus.</a:t>
            </a:r>
          </a:p>
          <a:p>
            <a:r>
              <a:rPr lang="de-DE" dirty="0">
                <a:solidFill>
                  <a:schemeClr val="bg1"/>
                </a:solidFill>
              </a:rPr>
              <a:t>Erste Aufzählungsebene: Ebene Eins</a:t>
            </a:r>
          </a:p>
          <a:p>
            <a:r>
              <a:rPr lang="de-DE" dirty="0">
                <a:solidFill>
                  <a:schemeClr val="bg1"/>
                </a:solidFill>
              </a:rPr>
              <a:t>Lorem ipsum dolor sit amet</a:t>
            </a:r>
          </a:p>
          <a:p>
            <a:pPr lvl="3"/>
            <a:r>
              <a:rPr lang="de-DE" dirty="0">
                <a:solidFill>
                  <a:schemeClr val="bg1"/>
                </a:solidFill>
              </a:rPr>
              <a:t>Weitere Aufzählungsebene ab vierter Ebene</a:t>
            </a:r>
          </a:p>
          <a:p>
            <a:pPr lvl="2"/>
            <a:endParaRPr lang="de-DE" dirty="0">
              <a:solidFill>
                <a:schemeClr val="bg1"/>
              </a:solidFill>
            </a:endParaRPr>
          </a:p>
        </p:txBody>
      </p:sp>
    </p:spTree>
    <p:extLst>
      <p:ext uri="{BB962C8B-B14F-4D97-AF65-F5344CB8AC3E}">
        <p14:creationId xmlns:p14="http://schemas.microsoft.com/office/powerpoint/2010/main" val="192427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EFA68FD-CEFA-44EA-897A-EE8D55D8CBBF}"/>
              </a:ext>
            </a:extLst>
          </p:cNvPr>
          <p:cNvGraphicFramePr>
            <a:graphicFrameLocks noChangeAspect="1"/>
          </p:cNvGraphicFramePr>
          <p:nvPr>
            <p:custDataLst>
              <p:tags r:id="rId1"/>
            </p:custDataLst>
            <p:extLst>
              <p:ext uri="{D42A27DB-BD31-4B8C-83A1-F6EECF244321}">
                <p14:modId xmlns:p14="http://schemas.microsoft.com/office/powerpoint/2010/main" val="2777250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B488D24E-DE4C-4C70-AF1E-90FF502CDC4B}"/>
              </a:ext>
            </a:extLst>
          </p:cNvPr>
          <p:cNvSpPr>
            <a:spLocks noGrp="1"/>
          </p:cNvSpPr>
          <p:nvPr>
            <p:ph type="title"/>
          </p:nvPr>
        </p:nvSpPr>
        <p:spPr bwMode="gray"/>
        <p:txBody>
          <a:bodyPr vert="horz"/>
          <a:lstStyle/>
          <a:p>
            <a:r>
              <a:rPr lang="de-DE" dirty="0"/>
              <a:t>ÜBERSCHRIFT 1</a:t>
            </a:r>
            <a:br>
              <a:rPr lang="de-DE" dirty="0"/>
            </a:br>
            <a:r>
              <a:rPr lang="de-DE" b="0" dirty="0"/>
              <a:t>zweite Zeile ungefettet (Manuell)</a:t>
            </a:r>
          </a:p>
        </p:txBody>
      </p:sp>
      <p:sp>
        <p:nvSpPr>
          <p:cNvPr id="18" name="Date Placeholder 17">
            <a:extLst>
              <a:ext uri="{FF2B5EF4-FFF2-40B4-BE49-F238E27FC236}">
                <a16:creationId xmlns:a16="http://schemas.microsoft.com/office/drawing/2014/main" id="{9ECE8EE5-498B-49CF-90F2-E7E17AF9D061}"/>
              </a:ext>
            </a:extLst>
          </p:cNvPr>
          <p:cNvSpPr>
            <a:spLocks noGrp="1"/>
          </p:cNvSpPr>
          <p:nvPr>
            <p:ph type="dt" sz="half" idx="15"/>
          </p:nvPr>
        </p:nvSpPr>
        <p:spPr bwMode="gray"/>
        <p:txBody>
          <a:bodyPr/>
          <a:lstStyle/>
          <a:p>
            <a:fld id="{548A3D60-E1B2-4F00-AB5D-C6A3B1E9F743}" type="datetime1">
              <a:rPr lang="de-DE" smtClean="0"/>
              <a:t>29.09.25</a:t>
            </a:fld>
            <a:endParaRPr lang="de-DE" dirty="0"/>
          </a:p>
        </p:txBody>
      </p:sp>
      <p:sp>
        <p:nvSpPr>
          <p:cNvPr id="3" name="Fußzeilenplatzhalter 2">
            <a:extLst>
              <a:ext uri="{FF2B5EF4-FFF2-40B4-BE49-F238E27FC236}">
                <a16:creationId xmlns:a16="http://schemas.microsoft.com/office/drawing/2014/main" id="{2FCC3E2D-9CBF-4BF4-99B8-DD3823E0623B}"/>
              </a:ext>
            </a:extLst>
          </p:cNvPr>
          <p:cNvSpPr>
            <a:spLocks noGrp="1"/>
          </p:cNvSpPr>
          <p:nvPr>
            <p:ph type="ftr" sz="quarter" idx="16"/>
          </p:nvPr>
        </p:nvSpPr>
        <p:spPr bwMode="gray"/>
        <p:txBody>
          <a:bodyPr/>
          <a:lstStyle/>
          <a:p>
            <a:r>
              <a:rPr lang="de-DE" dirty="0"/>
              <a:t>TITEL DER PRÄSENTATION | TITEL VORNAME NAME</a:t>
            </a:r>
          </a:p>
        </p:txBody>
      </p:sp>
      <p:sp>
        <p:nvSpPr>
          <p:cNvPr id="4" name="Foliennummernplatzhalter 3">
            <a:extLst>
              <a:ext uri="{FF2B5EF4-FFF2-40B4-BE49-F238E27FC236}">
                <a16:creationId xmlns:a16="http://schemas.microsoft.com/office/drawing/2014/main" id="{BDBD585B-BD52-4C42-ABE6-D3168C9347DF}"/>
              </a:ext>
            </a:extLst>
          </p:cNvPr>
          <p:cNvSpPr>
            <a:spLocks noGrp="1"/>
          </p:cNvSpPr>
          <p:nvPr>
            <p:ph type="sldNum" sz="quarter" idx="17"/>
          </p:nvPr>
        </p:nvSpPr>
        <p:spPr bwMode="gray"/>
        <p:txBody>
          <a:bodyPr/>
          <a:lstStyle/>
          <a:p>
            <a:fld id="{09E9C37E-8A19-4E30-BE2B-5A966AD23C7A}" type="slidenum">
              <a:rPr lang="de-DE" smtClean="0"/>
              <a:pPr/>
              <a:t>11</a:t>
            </a:fld>
            <a:endParaRPr lang="de-DE" dirty="0"/>
          </a:p>
        </p:txBody>
      </p:sp>
      <p:sp>
        <p:nvSpPr>
          <p:cNvPr id="7" name="Textplatzhalter 6">
            <a:extLst>
              <a:ext uri="{FF2B5EF4-FFF2-40B4-BE49-F238E27FC236}">
                <a16:creationId xmlns:a16="http://schemas.microsoft.com/office/drawing/2014/main" id="{C273FE87-6A12-4A35-8525-85399D3E97A6}"/>
              </a:ext>
            </a:extLst>
          </p:cNvPr>
          <p:cNvSpPr>
            <a:spLocks noGrp="1"/>
          </p:cNvSpPr>
          <p:nvPr>
            <p:ph sz="quarter" idx="18"/>
          </p:nvPr>
        </p:nvSpPr>
        <p:spPr bwMode="gray"/>
        <p:txBody>
          <a:bodyPr/>
          <a:lstStyle/>
          <a:p>
            <a:pPr lvl="2"/>
            <a:r>
              <a:rPr lang="de-DE" dirty="0"/>
              <a:t>Zwischenüberschrift auf Listenebene Drei</a:t>
            </a:r>
          </a:p>
          <a:p>
            <a:pPr lvl="1"/>
            <a:r>
              <a:rPr lang="de-DE" dirty="0"/>
              <a:t>Fließtext auf Listenebene Zwei, Verdana 14 pt. Ano sea takimata sanctus est Lorem ipsum dolor sit amet. Lorem ipsum dolor sit amet, consetetur sadipscing elitr. </a:t>
            </a:r>
          </a:p>
          <a:p>
            <a:pPr lvl="1"/>
            <a:r>
              <a:rPr lang="de-DE" dirty="0"/>
              <a:t>Ased diam nonumy eirmod tempor invidunt ut labore et dolore magna aliquyam erat, sed diam voluptua. At vero eos et accusam et justo duo dolores et ea rebum.</a:t>
            </a:r>
          </a:p>
          <a:p>
            <a:r>
              <a:rPr lang="de-DE" dirty="0"/>
              <a:t>Erste Aufzählungsebene: Ebene Eins</a:t>
            </a:r>
          </a:p>
          <a:p>
            <a:r>
              <a:rPr lang="de-DE" dirty="0"/>
              <a:t>Lorem ipsum dolor sit amet</a:t>
            </a:r>
          </a:p>
          <a:p>
            <a:pPr lvl="3"/>
            <a:r>
              <a:rPr lang="de-DE" dirty="0"/>
              <a:t>Weitere Unterpunkte ab vierter Ebene</a:t>
            </a:r>
          </a:p>
        </p:txBody>
      </p:sp>
      <p:sp>
        <p:nvSpPr>
          <p:cNvPr id="5" name="Content Placeholder 4">
            <a:extLst>
              <a:ext uri="{FF2B5EF4-FFF2-40B4-BE49-F238E27FC236}">
                <a16:creationId xmlns:a16="http://schemas.microsoft.com/office/drawing/2014/main" id="{3A8649E3-C7D2-4F4C-8E32-219D17D169BC}"/>
              </a:ext>
            </a:extLst>
          </p:cNvPr>
          <p:cNvSpPr>
            <a:spLocks noGrp="1"/>
          </p:cNvSpPr>
          <p:nvPr>
            <p:ph sz="quarter" idx="19"/>
          </p:nvPr>
        </p:nvSpPr>
        <p:spPr bwMode="gray"/>
        <p:txBody>
          <a:bodyPr/>
          <a:lstStyle/>
          <a:p>
            <a:pPr lvl="2"/>
            <a:r>
              <a:rPr lang="de-DE" dirty="0"/>
              <a:t>Zwischenüberschrift auf Listenebene Drei</a:t>
            </a:r>
          </a:p>
          <a:p>
            <a:pPr lvl="1"/>
            <a:r>
              <a:rPr lang="de-DE" dirty="0"/>
              <a:t>Fließtext auf Listenebene Zwei, Verdana 14 pt. Ano sea takimata sanctus est Lorem ipsum dolor sit amet. Lorem ipsum dolor sit amet, consetetur sadipscing elitr. </a:t>
            </a:r>
          </a:p>
          <a:p>
            <a:pPr lvl="1"/>
            <a:r>
              <a:rPr lang="de-DE" dirty="0"/>
              <a:t>Ased diam nonumy eirmod tempor invidunt ut labore et dolore magna aliquyam erat, sed diam voluptua. At vero eos et accusam et justo duo dolores et ea rebum.</a:t>
            </a:r>
          </a:p>
          <a:p>
            <a:r>
              <a:rPr lang="de-DE" dirty="0"/>
              <a:t>Erste Aufzählungsebene: Ebene Eins</a:t>
            </a:r>
          </a:p>
          <a:p>
            <a:r>
              <a:rPr lang="de-DE" dirty="0"/>
              <a:t>Lorem ipsum dolor sit amet</a:t>
            </a:r>
          </a:p>
          <a:p>
            <a:pPr lvl="3"/>
            <a:r>
              <a:rPr lang="de-DE" dirty="0"/>
              <a:t>Weitere Unterpunkte ab vierter Ebene</a:t>
            </a:r>
          </a:p>
        </p:txBody>
      </p:sp>
    </p:spTree>
    <p:extLst>
      <p:ext uri="{BB962C8B-B14F-4D97-AF65-F5344CB8AC3E}">
        <p14:creationId xmlns:p14="http://schemas.microsoft.com/office/powerpoint/2010/main" val="2516213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lumMod val="60000"/>
            <a:lumOff val="40000"/>
          </a:schemeClr>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EFA68FD-CEFA-44EA-897A-EE8D55D8CB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8" name="Objekt 7" hidden="1">
                        <a:extLst>
                          <a:ext uri="{FF2B5EF4-FFF2-40B4-BE49-F238E27FC236}">
                            <a16:creationId xmlns:a16="http://schemas.microsoft.com/office/drawing/2014/main" id="{BEFA68FD-CEFA-44EA-897A-EE8D55D8CB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B488D24E-DE4C-4C70-AF1E-90FF502CDC4B}"/>
              </a:ext>
            </a:extLst>
          </p:cNvPr>
          <p:cNvSpPr>
            <a:spLocks noGrp="1"/>
          </p:cNvSpPr>
          <p:nvPr>
            <p:ph type="title"/>
          </p:nvPr>
        </p:nvSpPr>
        <p:spPr bwMode="gray"/>
        <p:txBody>
          <a:bodyPr vert="horz"/>
          <a:lstStyle/>
          <a:p>
            <a:r>
              <a:rPr lang="de-DE" dirty="0">
                <a:solidFill>
                  <a:schemeClr val="bg1"/>
                </a:solidFill>
              </a:rPr>
              <a:t>ÜBERSCHRIFT 1</a:t>
            </a:r>
            <a:br>
              <a:rPr lang="de-DE" dirty="0">
                <a:solidFill>
                  <a:schemeClr val="bg1"/>
                </a:solidFill>
              </a:rPr>
            </a:br>
            <a:r>
              <a:rPr lang="de-DE" b="0" dirty="0">
                <a:solidFill>
                  <a:schemeClr val="bg1"/>
                </a:solidFill>
              </a:rPr>
              <a:t>zweite Zeile ungefettet (Manuell)</a:t>
            </a:r>
          </a:p>
        </p:txBody>
      </p:sp>
      <p:sp>
        <p:nvSpPr>
          <p:cNvPr id="18" name="Date Placeholder 17">
            <a:extLst>
              <a:ext uri="{FF2B5EF4-FFF2-40B4-BE49-F238E27FC236}">
                <a16:creationId xmlns:a16="http://schemas.microsoft.com/office/drawing/2014/main" id="{9ECE8EE5-498B-49CF-90F2-E7E17AF9D061}"/>
              </a:ext>
            </a:extLst>
          </p:cNvPr>
          <p:cNvSpPr>
            <a:spLocks noGrp="1"/>
          </p:cNvSpPr>
          <p:nvPr>
            <p:ph type="dt" sz="half" idx="15"/>
          </p:nvPr>
        </p:nvSpPr>
        <p:spPr bwMode="gray"/>
        <p:txBody>
          <a:bodyPr/>
          <a:lstStyle/>
          <a:p>
            <a:fld id="{548A3D60-E1B2-4F00-AB5D-C6A3B1E9F743}" type="datetime1">
              <a:rPr lang="de-DE" smtClean="0">
                <a:solidFill>
                  <a:schemeClr val="bg1"/>
                </a:solidFill>
              </a:rPr>
              <a:t>29.09.25</a:t>
            </a:fld>
            <a:endParaRPr lang="de-DE" dirty="0">
              <a:solidFill>
                <a:schemeClr val="bg1"/>
              </a:solidFill>
            </a:endParaRPr>
          </a:p>
        </p:txBody>
      </p:sp>
      <p:sp>
        <p:nvSpPr>
          <p:cNvPr id="3" name="Fußzeilenplatzhalter 2">
            <a:extLst>
              <a:ext uri="{FF2B5EF4-FFF2-40B4-BE49-F238E27FC236}">
                <a16:creationId xmlns:a16="http://schemas.microsoft.com/office/drawing/2014/main" id="{2FCC3E2D-9CBF-4BF4-99B8-DD3823E0623B}"/>
              </a:ext>
            </a:extLst>
          </p:cNvPr>
          <p:cNvSpPr>
            <a:spLocks noGrp="1"/>
          </p:cNvSpPr>
          <p:nvPr>
            <p:ph type="ftr" sz="quarter" idx="16"/>
          </p:nvPr>
        </p:nvSpPr>
        <p:spPr bwMode="gray"/>
        <p:txBody>
          <a:bodyPr/>
          <a:lstStyle/>
          <a:p>
            <a:r>
              <a:rPr lang="de-DE" dirty="0">
                <a:solidFill>
                  <a:schemeClr val="bg1"/>
                </a:solidFill>
              </a:rPr>
              <a:t>TITEL DER PRÄSENTATION | TITEL VORNAME NAME</a:t>
            </a:r>
          </a:p>
        </p:txBody>
      </p:sp>
      <p:sp>
        <p:nvSpPr>
          <p:cNvPr id="4" name="Foliennummernplatzhalter 3">
            <a:extLst>
              <a:ext uri="{FF2B5EF4-FFF2-40B4-BE49-F238E27FC236}">
                <a16:creationId xmlns:a16="http://schemas.microsoft.com/office/drawing/2014/main" id="{BDBD585B-BD52-4C42-ABE6-D3168C9347DF}"/>
              </a:ext>
            </a:extLst>
          </p:cNvPr>
          <p:cNvSpPr>
            <a:spLocks noGrp="1"/>
          </p:cNvSpPr>
          <p:nvPr>
            <p:ph type="sldNum" sz="quarter" idx="17"/>
          </p:nvPr>
        </p:nvSpPr>
        <p:spPr bwMode="gray"/>
        <p:txBody>
          <a:bodyPr/>
          <a:lstStyle/>
          <a:p>
            <a:fld id="{09E9C37E-8A19-4E30-BE2B-5A966AD23C7A}" type="slidenum">
              <a:rPr lang="de-DE" smtClean="0">
                <a:solidFill>
                  <a:schemeClr val="bg1"/>
                </a:solidFill>
              </a:rPr>
              <a:pPr/>
              <a:t>12</a:t>
            </a:fld>
            <a:endParaRPr lang="de-DE" dirty="0">
              <a:solidFill>
                <a:schemeClr val="bg1"/>
              </a:solidFill>
            </a:endParaRPr>
          </a:p>
        </p:txBody>
      </p:sp>
      <p:sp>
        <p:nvSpPr>
          <p:cNvPr id="7" name="Textplatzhalter 6">
            <a:extLst>
              <a:ext uri="{FF2B5EF4-FFF2-40B4-BE49-F238E27FC236}">
                <a16:creationId xmlns:a16="http://schemas.microsoft.com/office/drawing/2014/main" id="{C273FE87-6A12-4A35-8525-85399D3E97A6}"/>
              </a:ext>
            </a:extLst>
          </p:cNvPr>
          <p:cNvSpPr>
            <a:spLocks noGrp="1"/>
          </p:cNvSpPr>
          <p:nvPr>
            <p:ph sz="quarter" idx="18"/>
          </p:nvPr>
        </p:nvSpPr>
        <p:spPr bwMode="gray"/>
        <p:txBody>
          <a:bodyPr/>
          <a:lstStyle/>
          <a:p>
            <a:pPr lvl="2"/>
            <a:r>
              <a:rPr lang="de-DE" dirty="0">
                <a:solidFill>
                  <a:schemeClr val="bg1"/>
                </a:solidFill>
              </a:rPr>
              <a:t>Zwischenüberschrift auf Listenebene Drei</a:t>
            </a:r>
          </a:p>
          <a:p>
            <a:pPr lvl="1"/>
            <a:r>
              <a:rPr lang="de-DE" dirty="0">
                <a:solidFill>
                  <a:schemeClr val="bg1"/>
                </a:solidFill>
              </a:rPr>
              <a:t>Fließtext auf Listenebene Zwei, Verdana 14 pt. Ano sea takimata sanctus est Lorem ipsum dolor sit amet. Lorem ipsum dolor sit amet, consetetur sadipscing elitr. </a:t>
            </a:r>
          </a:p>
          <a:p>
            <a:pPr lvl="1"/>
            <a:r>
              <a:rPr lang="de-DE" dirty="0">
                <a:solidFill>
                  <a:schemeClr val="bg1"/>
                </a:solidFill>
              </a:rPr>
              <a:t>Ased diam nonumy eirmod tempor invidunt ut labore et dolore magna aliquyam erat, sed diam voluptua. At vero eos et accusam et justo duo dolores et ea rebum.</a:t>
            </a:r>
          </a:p>
          <a:p>
            <a:r>
              <a:rPr lang="de-DE" dirty="0">
                <a:solidFill>
                  <a:schemeClr val="bg1"/>
                </a:solidFill>
              </a:rPr>
              <a:t>Erste Aufzählungsebene: Ebene Eins</a:t>
            </a:r>
          </a:p>
          <a:p>
            <a:r>
              <a:rPr lang="de-DE" dirty="0">
                <a:solidFill>
                  <a:schemeClr val="bg1"/>
                </a:solidFill>
              </a:rPr>
              <a:t>Lorem ipsum dolor sit amet</a:t>
            </a:r>
          </a:p>
          <a:p>
            <a:pPr lvl="3"/>
            <a:r>
              <a:rPr lang="de-DE" dirty="0">
                <a:solidFill>
                  <a:schemeClr val="bg1"/>
                </a:solidFill>
              </a:rPr>
              <a:t>Weitere Unterpunkte ab vierter Ebene</a:t>
            </a:r>
          </a:p>
        </p:txBody>
      </p:sp>
      <p:sp>
        <p:nvSpPr>
          <p:cNvPr id="5" name="Content Placeholder 4">
            <a:extLst>
              <a:ext uri="{FF2B5EF4-FFF2-40B4-BE49-F238E27FC236}">
                <a16:creationId xmlns:a16="http://schemas.microsoft.com/office/drawing/2014/main" id="{3A8649E3-C7D2-4F4C-8E32-219D17D169BC}"/>
              </a:ext>
            </a:extLst>
          </p:cNvPr>
          <p:cNvSpPr>
            <a:spLocks noGrp="1"/>
          </p:cNvSpPr>
          <p:nvPr>
            <p:ph sz="quarter" idx="19"/>
          </p:nvPr>
        </p:nvSpPr>
        <p:spPr bwMode="gray"/>
        <p:txBody>
          <a:bodyPr/>
          <a:lstStyle/>
          <a:p>
            <a:pPr lvl="2"/>
            <a:r>
              <a:rPr lang="de-DE" dirty="0">
                <a:solidFill>
                  <a:schemeClr val="bg1"/>
                </a:solidFill>
              </a:rPr>
              <a:t>Zwischenüberschrift auf Listenebene Drei</a:t>
            </a:r>
          </a:p>
          <a:p>
            <a:pPr lvl="1"/>
            <a:r>
              <a:rPr lang="de-DE" dirty="0">
                <a:solidFill>
                  <a:schemeClr val="bg1"/>
                </a:solidFill>
              </a:rPr>
              <a:t>Fließtext auf Listenebene Zwei, Verdana 14 pt. Ano sea takimata sanctus est Lorem ipsum dolor sit amet. Lorem ipsum dolor sit amet, consetetur sadipscing elitr. </a:t>
            </a:r>
          </a:p>
          <a:p>
            <a:pPr lvl="1"/>
            <a:r>
              <a:rPr lang="de-DE" dirty="0">
                <a:solidFill>
                  <a:schemeClr val="bg1"/>
                </a:solidFill>
              </a:rPr>
              <a:t>Ased diam nonumy eirmod tempor invidunt ut labore et dolore magna aliquyam erat, sed diam voluptua. At vero eos et accusam et justo duo dolores et ea rebum.</a:t>
            </a:r>
          </a:p>
          <a:p>
            <a:r>
              <a:rPr lang="de-DE" dirty="0">
                <a:solidFill>
                  <a:schemeClr val="bg1"/>
                </a:solidFill>
              </a:rPr>
              <a:t>Erste Aufzählungsebene: Ebene Eins</a:t>
            </a:r>
          </a:p>
          <a:p>
            <a:r>
              <a:rPr lang="de-DE" dirty="0">
                <a:solidFill>
                  <a:schemeClr val="bg1"/>
                </a:solidFill>
              </a:rPr>
              <a:t>Lorem ipsum dolor sit amet</a:t>
            </a:r>
          </a:p>
          <a:p>
            <a:pPr lvl="3"/>
            <a:r>
              <a:rPr lang="de-DE" dirty="0">
                <a:solidFill>
                  <a:schemeClr val="bg1"/>
                </a:solidFill>
              </a:rPr>
              <a:t>Weitere Unterpunkte ab vierter Ebene</a:t>
            </a:r>
          </a:p>
        </p:txBody>
      </p:sp>
    </p:spTree>
    <p:extLst>
      <p:ext uri="{BB962C8B-B14F-4D97-AF65-F5344CB8AC3E}">
        <p14:creationId xmlns:p14="http://schemas.microsoft.com/office/powerpoint/2010/main" val="3419343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EFA68FD-CEFA-44EA-897A-EE8D55D8CB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8" name="Objekt 7" hidden="1">
                        <a:extLst>
                          <a:ext uri="{FF2B5EF4-FFF2-40B4-BE49-F238E27FC236}">
                            <a16:creationId xmlns:a16="http://schemas.microsoft.com/office/drawing/2014/main" id="{BEFA68FD-CEFA-44EA-897A-EE8D55D8CB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B488D24E-DE4C-4C70-AF1E-90FF502CDC4B}"/>
              </a:ext>
            </a:extLst>
          </p:cNvPr>
          <p:cNvSpPr>
            <a:spLocks noGrp="1"/>
          </p:cNvSpPr>
          <p:nvPr>
            <p:ph type="title"/>
          </p:nvPr>
        </p:nvSpPr>
        <p:spPr bwMode="gray"/>
        <p:txBody>
          <a:bodyPr vert="horz"/>
          <a:lstStyle/>
          <a:p>
            <a:r>
              <a:rPr lang="de-DE" dirty="0"/>
              <a:t>ÜBERSCHRIFT 1</a:t>
            </a:r>
            <a:br>
              <a:rPr lang="de-DE" dirty="0"/>
            </a:br>
            <a:r>
              <a:rPr lang="de-DE" b="0" dirty="0"/>
              <a:t>zweite Zeile ungefettet (Manuell)</a:t>
            </a:r>
          </a:p>
        </p:txBody>
      </p:sp>
      <p:sp>
        <p:nvSpPr>
          <p:cNvPr id="18" name="Date Placeholder 17">
            <a:extLst>
              <a:ext uri="{FF2B5EF4-FFF2-40B4-BE49-F238E27FC236}">
                <a16:creationId xmlns:a16="http://schemas.microsoft.com/office/drawing/2014/main" id="{9ECE8EE5-498B-49CF-90F2-E7E17AF9D061}"/>
              </a:ext>
            </a:extLst>
          </p:cNvPr>
          <p:cNvSpPr>
            <a:spLocks noGrp="1"/>
          </p:cNvSpPr>
          <p:nvPr>
            <p:ph type="dt" sz="half" idx="15"/>
          </p:nvPr>
        </p:nvSpPr>
        <p:spPr bwMode="gray"/>
        <p:txBody>
          <a:bodyPr/>
          <a:lstStyle/>
          <a:p>
            <a:fld id="{548A3D60-E1B2-4F00-AB5D-C6A3B1E9F743}" type="datetime1">
              <a:rPr lang="de-DE" smtClean="0">
                <a:solidFill>
                  <a:schemeClr val="bg1"/>
                </a:solidFill>
              </a:rPr>
              <a:t>29.09.25</a:t>
            </a:fld>
            <a:endParaRPr lang="de-DE" dirty="0">
              <a:solidFill>
                <a:schemeClr val="bg1"/>
              </a:solidFill>
            </a:endParaRPr>
          </a:p>
        </p:txBody>
      </p:sp>
      <p:sp>
        <p:nvSpPr>
          <p:cNvPr id="3" name="Fußzeilenplatzhalter 2">
            <a:extLst>
              <a:ext uri="{FF2B5EF4-FFF2-40B4-BE49-F238E27FC236}">
                <a16:creationId xmlns:a16="http://schemas.microsoft.com/office/drawing/2014/main" id="{2FCC3E2D-9CBF-4BF4-99B8-DD3823E0623B}"/>
              </a:ext>
            </a:extLst>
          </p:cNvPr>
          <p:cNvSpPr>
            <a:spLocks noGrp="1"/>
          </p:cNvSpPr>
          <p:nvPr>
            <p:ph type="ftr" sz="quarter" idx="16"/>
          </p:nvPr>
        </p:nvSpPr>
        <p:spPr bwMode="gray"/>
        <p:txBody>
          <a:bodyPr/>
          <a:lstStyle/>
          <a:p>
            <a:r>
              <a:rPr lang="de-DE" dirty="0">
                <a:solidFill>
                  <a:schemeClr val="bg1"/>
                </a:solidFill>
              </a:rPr>
              <a:t>TITEL DER PRÄSENTATION | TITEL VORNAME NAME</a:t>
            </a:r>
          </a:p>
        </p:txBody>
      </p:sp>
      <p:sp>
        <p:nvSpPr>
          <p:cNvPr id="4" name="Foliennummernplatzhalter 3">
            <a:extLst>
              <a:ext uri="{FF2B5EF4-FFF2-40B4-BE49-F238E27FC236}">
                <a16:creationId xmlns:a16="http://schemas.microsoft.com/office/drawing/2014/main" id="{BDBD585B-BD52-4C42-ABE6-D3168C9347DF}"/>
              </a:ext>
            </a:extLst>
          </p:cNvPr>
          <p:cNvSpPr>
            <a:spLocks noGrp="1"/>
          </p:cNvSpPr>
          <p:nvPr>
            <p:ph type="sldNum" sz="quarter" idx="17"/>
          </p:nvPr>
        </p:nvSpPr>
        <p:spPr bwMode="gray"/>
        <p:txBody>
          <a:bodyPr/>
          <a:lstStyle/>
          <a:p>
            <a:fld id="{09E9C37E-8A19-4E30-BE2B-5A966AD23C7A}" type="slidenum">
              <a:rPr lang="de-DE" smtClean="0">
                <a:solidFill>
                  <a:schemeClr val="bg1"/>
                </a:solidFill>
              </a:rPr>
              <a:pPr/>
              <a:t>13</a:t>
            </a:fld>
            <a:endParaRPr lang="de-DE" dirty="0">
              <a:solidFill>
                <a:schemeClr val="bg1"/>
              </a:solidFill>
            </a:endParaRPr>
          </a:p>
        </p:txBody>
      </p:sp>
      <p:sp>
        <p:nvSpPr>
          <p:cNvPr id="7" name="Textplatzhalter 6">
            <a:extLst>
              <a:ext uri="{FF2B5EF4-FFF2-40B4-BE49-F238E27FC236}">
                <a16:creationId xmlns:a16="http://schemas.microsoft.com/office/drawing/2014/main" id="{C273FE87-6A12-4A35-8525-85399D3E97A6}"/>
              </a:ext>
            </a:extLst>
          </p:cNvPr>
          <p:cNvSpPr>
            <a:spLocks noGrp="1"/>
          </p:cNvSpPr>
          <p:nvPr>
            <p:ph sz="quarter" idx="18"/>
          </p:nvPr>
        </p:nvSpPr>
        <p:spPr bwMode="gray"/>
        <p:txBody>
          <a:bodyPr/>
          <a:lstStyle/>
          <a:p>
            <a:pPr lvl="2"/>
            <a:r>
              <a:rPr lang="de-DE" dirty="0">
                <a:solidFill>
                  <a:schemeClr val="bg1"/>
                </a:solidFill>
              </a:rPr>
              <a:t>Zwischenüberschrift auf Listenebene Drei</a:t>
            </a:r>
          </a:p>
          <a:p>
            <a:pPr lvl="1"/>
            <a:r>
              <a:rPr lang="de-DE" dirty="0">
                <a:solidFill>
                  <a:schemeClr val="bg1"/>
                </a:solidFill>
              </a:rPr>
              <a:t>Fließtext auf Listenebene Zwei, Verdana 14 pt. Ano sea takimata sanctus est Lorem ipsum dolor sit amet. Lorem ipsum dolor sit amet, consetetur sadipscing elitr. </a:t>
            </a:r>
          </a:p>
          <a:p>
            <a:pPr lvl="1"/>
            <a:r>
              <a:rPr lang="de-DE" dirty="0">
                <a:solidFill>
                  <a:schemeClr val="bg1"/>
                </a:solidFill>
              </a:rPr>
              <a:t>Ased diam nonumy eirmod tempor invidunt ut labore et dolore magna aliquyam erat, sed diam voluptua. At vero eos et accusam et justo duo dolores et ea rebum.</a:t>
            </a:r>
          </a:p>
          <a:p>
            <a:r>
              <a:rPr lang="de-DE" dirty="0">
                <a:solidFill>
                  <a:schemeClr val="bg1"/>
                </a:solidFill>
              </a:rPr>
              <a:t>Erste Aufzählungsebene: Ebene Eins</a:t>
            </a:r>
          </a:p>
          <a:p>
            <a:r>
              <a:rPr lang="de-DE" dirty="0">
                <a:solidFill>
                  <a:schemeClr val="bg1"/>
                </a:solidFill>
              </a:rPr>
              <a:t>Lorem ipsum dolor sit amet</a:t>
            </a:r>
          </a:p>
          <a:p>
            <a:pPr lvl="3"/>
            <a:r>
              <a:rPr lang="de-DE" dirty="0">
                <a:solidFill>
                  <a:schemeClr val="bg1"/>
                </a:solidFill>
              </a:rPr>
              <a:t>Weitere Unterpunkte ab vierter Ebene</a:t>
            </a:r>
          </a:p>
        </p:txBody>
      </p:sp>
      <p:sp>
        <p:nvSpPr>
          <p:cNvPr id="5" name="Content Placeholder 4">
            <a:extLst>
              <a:ext uri="{FF2B5EF4-FFF2-40B4-BE49-F238E27FC236}">
                <a16:creationId xmlns:a16="http://schemas.microsoft.com/office/drawing/2014/main" id="{3A8649E3-C7D2-4F4C-8E32-219D17D169BC}"/>
              </a:ext>
            </a:extLst>
          </p:cNvPr>
          <p:cNvSpPr>
            <a:spLocks noGrp="1"/>
          </p:cNvSpPr>
          <p:nvPr>
            <p:ph sz="quarter" idx="19"/>
          </p:nvPr>
        </p:nvSpPr>
        <p:spPr bwMode="gray"/>
        <p:txBody>
          <a:bodyPr/>
          <a:lstStyle/>
          <a:p>
            <a:pPr lvl="2"/>
            <a:r>
              <a:rPr lang="de-DE" dirty="0">
                <a:solidFill>
                  <a:schemeClr val="bg1"/>
                </a:solidFill>
              </a:rPr>
              <a:t>Zwischenüberschrift auf Listenebene Drei</a:t>
            </a:r>
          </a:p>
          <a:p>
            <a:pPr lvl="1"/>
            <a:r>
              <a:rPr lang="de-DE" dirty="0">
                <a:solidFill>
                  <a:schemeClr val="bg1"/>
                </a:solidFill>
              </a:rPr>
              <a:t>Fließtext auf Listenebene Zwei, Verdana 14 pt. Ano sea takimata sanctus est Lorem ipsum dolor sit amet. Lorem ipsum dolor sit amet, consetetur sadipscing elitr. </a:t>
            </a:r>
          </a:p>
          <a:p>
            <a:pPr lvl="1"/>
            <a:r>
              <a:rPr lang="de-DE" dirty="0">
                <a:solidFill>
                  <a:schemeClr val="bg1"/>
                </a:solidFill>
              </a:rPr>
              <a:t>Ased diam nonumy eirmod tempor invidunt ut labore et dolore magna aliquyam erat, sed diam voluptua. At vero eos et accusam et justo duo dolores et ea rebum.</a:t>
            </a:r>
          </a:p>
          <a:p>
            <a:r>
              <a:rPr lang="de-DE" dirty="0">
                <a:solidFill>
                  <a:schemeClr val="bg1"/>
                </a:solidFill>
              </a:rPr>
              <a:t>Erste Aufzählungsebene: Ebene Eins</a:t>
            </a:r>
          </a:p>
          <a:p>
            <a:r>
              <a:rPr lang="de-DE" dirty="0">
                <a:solidFill>
                  <a:schemeClr val="bg1"/>
                </a:solidFill>
              </a:rPr>
              <a:t>Lorem ipsum dolor sit amet</a:t>
            </a:r>
          </a:p>
          <a:p>
            <a:pPr lvl="3"/>
            <a:r>
              <a:rPr lang="de-DE" dirty="0">
                <a:solidFill>
                  <a:schemeClr val="bg1"/>
                </a:solidFill>
              </a:rPr>
              <a:t>Weitere Unterpunkte ab vierter Ebene</a:t>
            </a:r>
          </a:p>
        </p:txBody>
      </p:sp>
    </p:spTree>
    <p:extLst>
      <p:ext uri="{BB962C8B-B14F-4D97-AF65-F5344CB8AC3E}">
        <p14:creationId xmlns:p14="http://schemas.microsoft.com/office/powerpoint/2010/main" val="1069567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B439993-FBD2-4DE9-BB40-6F74CD5A9FA7}"/>
              </a:ext>
            </a:extLst>
          </p:cNvPr>
          <p:cNvGraphicFramePr>
            <a:graphicFrameLocks noChangeAspect="1"/>
          </p:cNvGraphicFramePr>
          <p:nvPr>
            <p:custDataLst>
              <p:tags r:id="rId1"/>
            </p:custDataLst>
            <p:extLst>
              <p:ext uri="{D42A27DB-BD31-4B8C-83A1-F6EECF244321}">
                <p14:modId xmlns:p14="http://schemas.microsoft.com/office/powerpoint/2010/main" val="91661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B488D24E-DE4C-4C70-AF1E-90FF502CDC4B}"/>
              </a:ext>
            </a:extLst>
          </p:cNvPr>
          <p:cNvSpPr>
            <a:spLocks noGrp="1"/>
          </p:cNvSpPr>
          <p:nvPr>
            <p:ph type="title"/>
          </p:nvPr>
        </p:nvSpPr>
        <p:spPr bwMode="gray"/>
        <p:txBody>
          <a:bodyPr vert="horz"/>
          <a:lstStyle/>
          <a:p>
            <a:r>
              <a:rPr lang="de-DE" dirty="0"/>
              <a:t>ÜBERSCHRIFT 1</a:t>
            </a:r>
            <a:br>
              <a:rPr lang="de-DE" dirty="0"/>
            </a:br>
            <a:r>
              <a:rPr lang="de-DE" b="0" dirty="0"/>
              <a:t>zweite Zeile ungefettet (Manuell)</a:t>
            </a:r>
          </a:p>
        </p:txBody>
      </p:sp>
      <p:sp>
        <p:nvSpPr>
          <p:cNvPr id="18" name="Date Placeholder 17">
            <a:extLst>
              <a:ext uri="{FF2B5EF4-FFF2-40B4-BE49-F238E27FC236}">
                <a16:creationId xmlns:a16="http://schemas.microsoft.com/office/drawing/2014/main" id="{9ECE8EE5-498B-49CF-90F2-E7E17AF9D061}"/>
              </a:ext>
            </a:extLst>
          </p:cNvPr>
          <p:cNvSpPr>
            <a:spLocks noGrp="1"/>
          </p:cNvSpPr>
          <p:nvPr>
            <p:ph type="dt" sz="half" idx="15"/>
          </p:nvPr>
        </p:nvSpPr>
        <p:spPr bwMode="gray"/>
        <p:txBody>
          <a:bodyPr/>
          <a:lstStyle/>
          <a:p>
            <a:fld id="{EE338330-CFD6-47C7-A2DE-1EE053896078}" type="datetime1">
              <a:rPr lang="de-DE" smtClean="0"/>
              <a:t>29.09.25</a:t>
            </a:fld>
            <a:endParaRPr lang="de-DE" dirty="0"/>
          </a:p>
        </p:txBody>
      </p:sp>
      <p:sp>
        <p:nvSpPr>
          <p:cNvPr id="3" name="Fußzeilenplatzhalter 2">
            <a:extLst>
              <a:ext uri="{FF2B5EF4-FFF2-40B4-BE49-F238E27FC236}">
                <a16:creationId xmlns:a16="http://schemas.microsoft.com/office/drawing/2014/main" id="{2FCC3E2D-9CBF-4BF4-99B8-DD3823E0623B}"/>
              </a:ext>
            </a:extLst>
          </p:cNvPr>
          <p:cNvSpPr>
            <a:spLocks noGrp="1"/>
          </p:cNvSpPr>
          <p:nvPr>
            <p:ph type="ftr" sz="quarter" idx="16"/>
          </p:nvPr>
        </p:nvSpPr>
        <p:spPr bwMode="gray"/>
        <p:txBody>
          <a:bodyPr/>
          <a:lstStyle/>
          <a:p>
            <a:r>
              <a:rPr lang="de-DE" dirty="0"/>
              <a:t>TITEL DER PRÄSENTATION | TITEL VORNAME NAME</a:t>
            </a:r>
          </a:p>
        </p:txBody>
      </p:sp>
      <p:sp>
        <p:nvSpPr>
          <p:cNvPr id="4" name="Foliennummernplatzhalter 3">
            <a:extLst>
              <a:ext uri="{FF2B5EF4-FFF2-40B4-BE49-F238E27FC236}">
                <a16:creationId xmlns:a16="http://schemas.microsoft.com/office/drawing/2014/main" id="{BDBD585B-BD52-4C42-ABE6-D3168C9347DF}"/>
              </a:ext>
            </a:extLst>
          </p:cNvPr>
          <p:cNvSpPr>
            <a:spLocks noGrp="1"/>
          </p:cNvSpPr>
          <p:nvPr>
            <p:ph type="sldNum" sz="quarter" idx="17"/>
          </p:nvPr>
        </p:nvSpPr>
        <p:spPr bwMode="gray"/>
        <p:txBody>
          <a:bodyPr/>
          <a:lstStyle/>
          <a:p>
            <a:fld id="{09E9C37E-8A19-4E30-BE2B-5A966AD23C7A}" type="slidenum">
              <a:rPr lang="de-DE" smtClean="0"/>
              <a:pPr/>
              <a:t>14</a:t>
            </a:fld>
            <a:endParaRPr lang="de-DE" dirty="0"/>
          </a:p>
        </p:txBody>
      </p:sp>
      <p:sp>
        <p:nvSpPr>
          <p:cNvPr id="7" name="Textplatzhalter 6">
            <a:extLst>
              <a:ext uri="{FF2B5EF4-FFF2-40B4-BE49-F238E27FC236}">
                <a16:creationId xmlns:a16="http://schemas.microsoft.com/office/drawing/2014/main" id="{C273FE87-6A12-4A35-8525-85399D3E97A6}"/>
              </a:ext>
            </a:extLst>
          </p:cNvPr>
          <p:cNvSpPr>
            <a:spLocks noGrp="1"/>
          </p:cNvSpPr>
          <p:nvPr>
            <p:ph sz="quarter" idx="18"/>
          </p:nvPr>
        </p:nvSpPr>
        <p:spPr bwMode="gray"/>
        <p:txBody>
          <a:bodyPr/>
          <a:lstStyle/>
          <a:p>
            <a:pPr lvl="2"/>
            <a:r>
              <a:rPr lang="de-DE" dirty="0"/>
              <a:t>Zwischenüberschrift auf Listenebene Drei</a:t>
            </a:r>
          </a:p>
          <a:p>
            <a:pPr lvl="1"/>
            <a:r>
              <a:rPr lang="de-DE" dirty="0"/>
              <a:t>Fließtext auf Listenebene Zwei, Verdana 14 pt. Ano sea takimata sanctus est Lorem ipsum dolor sit amet. Lorem ipsum dolor sit amet, consetetur sadipscing elitr. </a:t>
            </a:r>
          </a:p>
          <a:p>
            <a:pPr lvl="1"/>
            <a:r>
              <a:rPr lang="de-DE" dirty="0"/>
              <a:t>Ased diam nonumy eirmod tempor invidunt ut labore et dolore magna aliquyam erat, sed diam voluptua. At vero eos et accusam et justo duo dolores et ea rebum.</a:t>
            </a:r>
          </a:p>
          <a:p>
            <a:r>
              <a:rPr lang="de-DE" dirty="0"/>
              <a:t>Erste Aufzählungsebene: Ebene Eins</a:t>
            </a:r>
          </a:p>
          <a:p>
            <a:r>
              <a:rPr lang="de-DE" dirty="0"/>
              <a:t>Lorem ipsum dolor sit amet</a:t>
            </a:r>
          </a:p>
          <a:p>
            <a:pPr lvl="3"/>
            <a:r>
              <a:rPr lang="de-DE" dirty="0"/>
              <a:t>Weitere Unterpunkte ab vierter Ebene</a:t>
            </a:r>
          </a:p>
        </p:txBody>
      </p:sp>
      <p:graphicFrame>
        <p:nvGraphicFramePr>
          <p:cNvPr id="13" name="Tabelle 4">
            <a:extLst>
              <a:ext uri="{FF2B5EF4-FFF2-40B4-BE49-F238E27FC236}">
                <a16:creationId xmlns:a16="http://schemas.microsoft.com/office/drawing/2014/main" id="{888BD64F-4F63-4E2F-9348-8FD02F97D85D}"/>
              </a:ext>
            </a:extLst>
          </p:cNvPr>
          <p:cNvGraphicFramePr>
            <a:graphicFrameLocks noGrp="1"/>
          </p:cNvGraphicFramePr>
          <p:nvPr>
            <p:ph sz="quarter" idx="19"/>
            <p:extLst>
              <p:ext uri="{D42A27DB-BD31-4B8C-83A1-F6EECF244321}">
                <p14:modId xmlns:p14="http://schemas.microsoft.com/office/powerpoint/2010/main" val="3022931007"/>
              </p:ext>
            </p:extLst>
          </p:nvPr>
        </p:nvGraphicFramePr>
        <p:xfrm>
          <a:off x="6096000" y="1989138"/>
          <a:ext cx="5472000" cy="3008160"/>
        </p:xfrm>
        <a:graphic>
          <a:graphicData uri="http://schemas.openxmlformats.org/drawingml/2006/table">
            <a:tbl>
              <a:tblPr firstRow="1" bandRow="1">
                <a:tableStyleId>{5C22544A-7EE6-4342-B048-85BDC9FD1C3A}</a:tableStyleId>
              </a:tblPr>
              <a:tblGrid>
                <a:gridCol w="2016000">
                  <a:extLst>
                    <a:ext uri="{9D8B030D-6E8A-4147-A177-3AD203B41FA5}">
                      <a16:colId xmlns:a16="http://schemas.microsoft.com/office/drawing/2014/main" val="3444078101"/>
                    </a:ext>
                  </a:extLst>
                </a:gridCol>
                <a:gridCol w="1728000">
                  <a:extLst>
                    <a:ext uri="{9D8B030D-6E8A-4147-A177-3AD203B41FA5}">
                      <a16:colId xmlns:a16="http://schemas.microsoft.com/office/drawing/2014/main" val="3554067948"/>
                    </a:ext>
                  </a:extLst>
                </a:gridCol>
                <a:gridCol w="1728000">
                  <a:extLst>
                    <a:ext uri="{9D8B030D-6E8A-4147-A177-3AD203B41FA5}">
                      <a16:colId xmlns:a16="http://schemas.microsoft.com/office/drawing/2014/main" val="896039492"/>
                    </a:ext>
                  </a:extLst>
                </a:gridCol>
              </a:tblGrid>
              <a:tr h="467916">
                <a:tc>
                  <a:txBody>
                    <a:bodyPr/>
                    <a:lstStyle/>
                    <a:p>
                      <a:r>
                        <a:rPr lang="de-DE" sz="1400" cap="none" baseline="0" dirty="0">
                          <a:solidFill>
                            <a:schemeClr val="bg1"/>
                          </a:solidFill>
                        </a:rPr>
                        <a:t>Lorem ipsum</a:t>
                      </a:r>
                    </a:p>
                  </a:txBody>
                  <a:tcPr marL="144000" marR="144000" marT="144000" marB="144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009EE0"/>
                    </a:solidFill>
                  </a:tcPr>
                </a:tc>
                <a:tc>
                  <a:txBody>
                    <a:bodyPr/>
                    <a:lstStyle/>
                    <a:p>
                      <a:r>
                        <a:rPr lang="de-DE" sz="1400" cap="none" baseline="0" dirty="0">
                          <a:solidFill>
                            <a:schemeClr val="bg1"/>
                          </a:solidFill>
                        </a:rPr>
                        <a:t>Dolor</a:t>
                      </a:r>
                    </a:p>
                  </a:txBody>
                  <a:tcPr marL="144000" marR="144000" marT="144000" marB="144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009EE0"/>
                    </a:solidFill>
                  </a:tcPr>
                </a:tc>
                <a:tc>
                  <a:txBody>
                    <a:bodyPr/>
                    <a:lstStyle/>
                    <a:p>
                      <a:r>
                        <a:rPr lang="de-DE" sz="1400" cap="none" baseline="0" dirty="0">
                          <a:solidFill>
                            <a:schemeClr val="bg1"/>
                          </a:solidFill>
                        </a:rPr>
                        <a:t>Amet</a:t>
                      </a:r>
                    </a:p>
                  </a:txBody>
                  <a:tcPr marL="144000" marR="144000" marT="144000" marB="144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009EE0"/>
                    </a:solidFill>
                  </a:tcPr>
                </a:tc>
                <a:extLst>
                  <a:ext uri="{0D108BD9-81ED-4DB2-BD59-A6C34878D82A}">
                    <a16:rowId xmlns:a16="http://schemas.microsoft.com/office/drawing/2014/main" val="4259198390"/>
                  </a:ext>
                </a:extLst>
              </a:tr>
              <a:tr h="467916">
                <a:tc>
                  <a:txBody>
                    <a:bodyPr/>
                    <a:lstStyle/>
                    <a:p>
                      <a:r>
                        <a:rPr lang="de-DE" sz="1400" cap="none" baseline="0" dirty="0">
                          <a:solidFill>
                            <a:schemeClr val="tx1"/>
                          </a:solidFill>
                        </a:rPr>
                        <a:t>Rebum</a:t>
                      </a:r>
                    </a:p>
                  </a:txBody>
                  <a:tcPr marL="144000" marR="144000" marT="144000" marB="144000" anchor="ctr">
                    <a:lnL w="9525" cap="flat" cmpd="sng" algn="ctr">
                      <a:noFill/>
                      <a:prstDash val="solid"/>
                      <a:round/>
                      <a:headEnd type="none" w="med" len="med"/>
                      <a:tailEnd type="none" w="med" len="med"/>
                    </a:lnL>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r>
                        <a:rPr lang="de-DE" sz="1400" cap="none" baseline="0" dirty="0">
                          <a:solidFill>
                            <a:schemeClr val="tx1"/>
                          </a:solidFill>
                        </a:rPr>
                        <a:t>xx</a:t>
                      </a:r>
                    </a:p>
                  </a:txBody>
                  <a:tcPr marL="144000" marR="144000" marT="144000" marB="144000" anchor="ct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r>
                        <a:rPr lang="de-DE" sz="1400" cap="none" baseline="0" dirty="0">
                          <a:solidFill>
                            <a:schemeClr val="tx1"/>
                          </a:solidFill>
                        </a:rPr>
                        <a:t>xx</a:t>
                      </a:r>
                    </a:p>
                  </a:txBody>
                  <a:tcPr marL="144000" marR="144000" marT="144000" marB="144000" anchor="ctr">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78888331"/>
                  </a:ext>
                </a:extLst>
              </a:tr>
              <a:tr h="467916">
                <a:tc>
                  <a:txBody>
                    <a:bodyPr/>
                    <a:lstStyle/>
                    <a:p>
                      <a:r>
                        <a:rPr lang="de-DE" sz="1400" cap="none" baseline="0" dirty="0">
                          <a:solidFill>
                            <a:schemeClr val="tx1"/>
                          </a:solidFill>
                        </a:rPr>
                        <a:t>Aliquyam</a:t>
                      </a:r>
                    </a:p>
                  </a:txBody>
                  <a:tcPr marL="144000" marR="144000" marT="144000" marB="144000" anchor="ctr">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r>
                        <a:rPr lang="de-DE" sz="1400" cap="none" baseline="0" dirty="0">
                          <a:solidFill>
                            <a:schemeClr val="tx1"/>
                          </a:solidFill>
                        </a:rPr>
                        <a:t>xxxx</a:t>
                      </a:r>
                    </a:p>
                  </a:txBody>
                  <a:tcPr marL="144000" marR="144000" marT="144000" marB="144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r>
                        <a:rPr lang="de-DE" sz="1400" cap="none" baseline="0" dirty="0">
                          <a:solidFill>
                            <a:schemeClr val="tx1"/>
                          </a:solidFill>
                        </a:rPr>
                        <a:t>xxx</a:t>
                      </a:r>
                    </a:p>
                  </a:txBody>
                  <a:tcPr marL="144000" marR="144000" marT="144000" marB="144000" anchor="ctr">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37628179"/>
                  </a:ext>
                </a:extLst>
              </a:tr>
              <a:tr h="467916">
                <a:tc>
                  <a:txBody>
                    <a:bodyPr/>
                    <a:lstStyle/>
                    <a:p>
                      <a:r>
                        <a:rPr lang="de-DE" sz="1400" cap="none" baseline="0" dirty="0">
                          <a:solidFill>
                            <a:schemeClr val="tx1"/>
                          </a:solidFill>
                        </a:rPr>
                        <a:t>Voluptua</a:t>
                      </a:r>
                    </a:p>
                  </a:txBody>
                  <a:tcPr marL="144000" marR="144000" marT="144000" marB="144000" anchor="ctr">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r>
                        <a:rPr lang="de-DE" sz="1400" cap="none" baseline="0" dirty="0">
                          <a:solidFill>
                            <a:schemeClr val="tx1"/>
                          </a:solidFill>
                        </a:rPr>
                        <a:t>xx</a:t>
                      </a:r>
                    </a:p>
                  </a:txBody>
                  <a:tcPr marL="144000" marR="144000" marT="144000" marB="144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r>
                        <a:rPr lang="de-DE" sz="1400" cap="none" baseline="0" dirty="0">
                          <a:solidFill>
                            <a:schemeClr val="tx1"/>
                          </a:solidFill>
                        </a:rPr>
                        <a:t>xx</a:t>
                      </a:r>
                    </a:p>
                  </a:txBody>
                  <a:tcPr marL="144000" marR="144000" marT="144000" marB="144000" anchor="ctr">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65655654"/>
                  </a:ext>
                </a:extLst>
              </a:tr>
              <a:tr h="467916">
                <a:tc>
                  <a:txBody>
                    <a:bodyPr/>
                    <a:lstStyle/>
                    <a:p>
                      <a:r>
                        <a:rPr lang="de-DE" sz="1400" cap="none" baseline="0" dirty="0">
                          <a:solidFill>
                            <a:schemeClr val="tx1"/>
                          </a:solidFill>
                        </a:rPr>
                        <a:t>Tempor</a:t>
                      </a:r>
                    </a:p>
                  </a:txBody>
                  <a:tcPr marL="144000" marR="144000" marT="144000" marB="144000" anchor="ctr">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r>
                        <a:rPr lang="de-DE" sz="1400" cap="none" baseline="0" dirty="0">
                          <a:solidFill>
                            <a:schemeClr val="tx1"/>
                          </a:solidFill>
                        </a:rPr>
                        <a:t>xxx</a:t>
                      </a:r>
                    </a:p>
                  </a:txBody>
                  <a:tcPr marL="144000" marR="144000" marT="144000" marB="144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r>
                        <a:rPr lang="de-DE" sz="1400" cap="none" baseline="0" dirty="0">
                          <a:solidFill>
                            <a:schemeClr val="tx1"/>
                          </a:solidFill>
                        </a:rPr>
                        <a:t>xxxx</a:t>
                      </a:r>
                    </a:p>
                  </a:txBody>
                  <a:tcPr marL="144000" marR="144000" marT="144000" marB="144000" anchor="ctr">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31502459"/>
                  </a:ext>
                </a:extLst>
              </a:tr>
              <a:tr h="467916">
                <a:tc>
                  <a:txBody>
                    <a:bodyPr/>
                    <a:lstStyle/>
                    <a:p>
                      <a:r>
                        <a:rPr lang="de-DE" sz="1400" cap="none" baseline="0" dirty="0">
                          <a:solidFill>
                            <a:schemeClr val="tx1"/>
                          </a:solidFill>
                        </a:rPr>
                        <a:t>Consetetur</a:t>
                      </a:r>
                    </a:p>
                  </a:txBody>
                  <a:tcPr marL="144000" marR="144000" marT="144000" marB="144000" anchor="ctr">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r>
                        <a:rPr lang="de-DE" sz="1400" cap="none" baseline="0" dirty="0">
                          <a:solidFill>
                            <a:schemeClr val="tx1"/>
                          </a:solidFill>
                        </a:rPr>
                        <a:t>XX</a:t>
                      </a:r>
                    </a:p>
                  </a:txBody>
                  <a:tcPr marL="144000" marR="144000" marT="144000" marB="144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r>
                        <a:rPr lang="de-DE" sz="1400" cap="none" baseline="0" dirty="0">
                          <a:solidFill>
                            <a:schemeClr val="tx1"/>
                          </a:solidFill>
                        </a:rPr>
                        <a:t>xxx</a:t>
                      </a:r>
                    </a:p>
                  </a:txBody>
                  <a:tcPr marL="144000" marR="144000" marT="144000" marB="144000" anchor="ctr">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54934934"/>
                  </a:ext>
                </a:extLst>
              </a:tr>
            </a:tbl>
          </a:graphicData>
        </a:graphic>
      </p:graphicFrame>
    </p:spTree>
    <p:extLst>
      <p:ext uri="{BB962C8B-B14F-4D97-AF65-F5344CB8AC3E}">
        <p14:creationId xmlns:p14="http://schemas.microsoft.com/office/powerpoint/2010/main" val="2340785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lumMod val="60000"/>
            <a:lumOff val="40000"/>
          </a:schemeClr>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B439993-FBD2-4DE9-BB40-6F74CD5A9F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5" name="Objekt 4" hidden="1">
                        <a:extLst>
                          <a:ext uri="{FF2B5EF4-FFF2-40B4-BE49-F238E27FC236}">
                            <a16:creationId xmlns:a16="http://schemas.microsoft.com/office/drawing/2014/main" id="{7B439993-FBD2-4DE9-BB40-6F74CD5A9F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B488D24E-DE4C-4C70-AF1E-90FF502CDC4B}"/>
              </a:ext>
            </a:extLst>
          </p:cNvPr>
          <p:cNvSpPr>
            <a:spLocks noGrp="1"/>
          </p:cNvSpPr>
          <p:nvPr>
            <p:ph type="title"/>
          </p:nvPr>
        </p:nvSpPr>
        <p:spPr bwMode="gray"/>
        <p:txBody>
          <a:bodyPr vert="horz"/>
          <a:lstStyle/>
          <a:p>
            <a:r>
              <a:rPr lang="de-DE" dirty="0">
                <a:solidFill>
                  <a:schemeClr val="bg1"/>
                </a:solidFill>
              </a:rPr>
              <a:t>ÜBERSCHRIFT 1</a:t>
            </a:r>
            <a:br>
              <a:rPr lang="de-DE" dirty="0">
                <a:solidFill>
                  <a:schemeClr val="bg1"/>
                </a:solidFill>
              </a:rPr>
            </a:br>
            <a:r>
              <a:rPr lang="de-DE" b="0" dirty="0">
                <a:solidFill>
                  <a:schemeClr val="bg1"/>
                </a:solidFill>
              </a:rPr>
              <a:t>zweite Zeile ungefettet (Manuell)</a:t>
            </a:r>
          </a:p>
        </p:txBody>
      </p:sp>
      <p:sp>
        <p:nvSpPr>
          <p:cNvPr id="18" name="Date Placeholder 17">
            <a:extLst>
              <a:ext uri="{FF2B5EF4-FFF2-40B4-BE49-F238E27FC236}">
                <a16:creationId xmlns:a16="http://schemas.microsoft.com/office/drawing/2014/main" id="{9ECE8EE5-498B-49CF-90F2-E7E17AF9D061}"/>
              </a:ext>
            </a:extLst>
          </p:cNvPr>
          <p:cNvSpPr>
            <a:spLocks noGrp="1"/>
          </p:cNvSpPr>
          <p:nvPr>
            <p:ph type="dt" sz="half" idx="15"/>
          </p:nvPr>
        </p:nvSpPr>
        <p:spPr bwMode="gray"/>
        <p:txBody>
          <a:bodyPr/>
          <a:lstStyle/>
          <a:p>
            <a:fld id="{EE338330-CFD6-47C7-A2DE-1EE053896078}" type="datetime1">
              <a:rPr lang="de-DE" smtClean="0">
                <a:solidFill>
                  <a:schemeClr val="bg1"/>
                </a:solidFill>
              </a:rPr>
              <a:t>29.09.25</a:t>
            </a:fld>
            <a:endParaRPr lang="de-DE" dirty="0">
              <a:solidFill>
                <a:schemeClr val="bg1"/>
              </a:solidFill>
            </a:endParaRPr>
          </a:p>
        </p:txBody>
      </p:sp>
      <p:sp>
        <p:nvSpPr>
          <p:cNvPr id="3" name="Fußzeilenplatzhalter 2">
            <a:extLst>
              <a:ext uri="{FF2B5EF4-FFF2-40B4-BE49-F238E27FC236}">
                <a16:creationId xmlns:a16="http://schemas.microsoft.com/office/drawing/2014/main" id="{2FCC3E2D-9CBF-4BF4-99B8-DD3823E0623B}"/>
              </a:ext>
            </a:extLst>
          </p:cNvPr>
          <p:cNvSpPr>
            <a:spLocks noGrp="1"/>
          </p:cNvSpPr>
          <p:nvPr>
            <p:ph type="ftr" sz="quarter" idx="16"/>
          </p:nvPr>
        </p:nvSpPr>
        <p:spPr bwMode="gray"/>
        <p:txBody>
          <a:bodyPr/>
          <a:lstStyle/>
          <a:p>
            <a:r>
              <a:rPr lang="de-DE" dirty="0">
                <a:solidFill>
                  <a:schemeClr val="bg1"/>
                </a:solidFill>
              </a:rPr>
              <a:t>TITEL DER PRÄSENTATION | TITEL VORNAME NAME</a:t>
            </a:r>
          </a:p>
        </p:txBody>
      </p:sp>
      <p:sp>
        <p:nvSpPr>
          <p:cNvPr id="4" name="Foliennummernplatzhalter 3">
            <a:extLst>
              <a:ext uri="{FF2B5EF4-FFF2-40B4-BE49-F238E27FC236}">
                <a16:creationId xmlns:a16="http://schemas.microsoft.com/office/drawing/2014/main" id="{BDBD585B-BD52-4C42-ABE6-D3168C9347DF}"/>
              </a:ext>
            </a:extLst>
          </p:cNvPr>
          <p:cNvSpPr>
            <a:spLocks noGrp="1"/>
          </p:cNvSpPr>
          <p:nvPr>
            <p:ph type="sldNum" sz="quarter" idx="17"/>
          </p:nvPr>
        </p:nvSpPr>
        <p:spPr bwMode="gray"/>
        <p:txBody>
          <a:bodyPr/>
          <a:lstStyle/>
          <a:p>
            <a:fld id="{09E9C37E-8A19-4E30-BE2B-5A966AD23C7A}" type="slidenum">
              <a:rPr lang="de-DE" smtClean="0">
                <a:solidFill>
                  <a:schemeClr val="bg1"/>
                </a:solidFill>
              </a:rPr>
              <a:pPr/>
              <a:t>15</a:t>
            </a:fld>
            <a:endParaRPr lang="de-DE" dirty="0">
              <a:solidFill>
                <a:schemeClr val="bg1"/>
              </a:solidFill>
            </a:endParaRPr>
          </a:p>
        </p:txBody>
      </p:sp>
      <p:sp>
        <p:nvSpPr>
          <p:cNvPr id="7" name="Textplatzhalter 6">
            <a:extLst>
              <a:ext uri="{FF2B5EF4-FFF2-40B4-BE49-F238E27FC236}">
                <a16:creationId xmlns:a16="http://schemas.microsoft.com/office/drawing/2014/main" id="{C273FE87-6A12-4A35-8525-85399D3E97A6}"/>
              </a:ext>
            </a:extLst>
          </p:cNvPr>
          <p:cNvSpPr>
            <a:spLocks noGrp="1"/>
          </p:cNvSpPr>
          <p:nvPr>
            <p:ph sz="quarter" idx="18"/>
          </p:nvPr>
        </p:nvSpPr>
        <p:spPr bwMode="gray"/>
        <p:txBody>
          <a:bodyPr/>
          <a:lstStyle/>
          <a:p>
            <a:pPr lvl="2"/>
            <a:r>
              <a:rPr lang="de-DE" dirty="0">
                <a:solidFill>
                  <a:schemeClr val="bg1"/>
                </a:solidFill>
              </a:rPr>
              <a:t>Zwischenüberschrift auf Listenebene Drei</a:t>
            </a:r>
          </a:p>
          <a:p>
            <a:pPr lvl="1"/>
            <a:r>
              <a:rPr lang="de-DE" dirty="0">
                <a:solidFill>
                  <a:schemeClr val="bg1"/>
                </a:solidFill>
              </a:rPr>
              <a:t>Fließtext auf Listenebene Zwei, Verdana 14 pt. Ano sea takimata sanctus est Lorem ipsum dolor sit amet. Lorem ipsum dolor sit amet, consetetur sadipscing elitr. </a:t>
            </a:r>
          </a:p>
          <a:p>
            <a:pPr lvl="1"/>
            <a:r>
              <a:rPr lang="de-DE" dirty="0">
                <a:solidFill>
                  <a:schemeClr val="bg1"/>
                </a:solidFill>
              </a:rPr>
              <a:t>Ased diam nonumy eirmod tempor invidunt ut labore et dolore magna aliquyam erat, sed diam voluptua. At vero eos et accusam et justo duo dolores et ea rebum.</a:t>
            </a:r>
          </a:p>
          <a:p>
            <a:r>
              <a:rPr lang="de-DE" dirty="0">
                <a:solidFill>
                  <a:schemeClr val="bg1"/>
                </a:solidFill>
              </a:rPr>
              <a:t>Erste Aufzählungsebene: Ebene Eins</a:t>
            </a:r>
          </a:p>
          <a:p>
            <a:r>
              <a:rPr lang="de-DE" dirty="0">
                <a:solidFill>
                  <a:schemeClr val="bg1"/>
                </a:solidFill>
              </a:rPr>
              <a:t>Lorem ipsum dolor sit amet</a:t>
            </a:r>
          </a:p>
          <a:p>
            <a:pPr lvl="3"/>
            <a:r>
              <a:rPr lang="de-DE" dirty="0">
                <a:solidFill>
                  <a:schemeClr val="bg1"/>
                </a:solidFill>
              </a:rPr>
              <a:t>Weitere Unterpunkte ab vierter Ebene</a:t>
            </a:r>
          </a:p>
        </p:txBody>
      </p:sp>
      <p:graphicFrame>
        <p:nvGraphicFramePr>
          <p:cNvPr id="13" name="Tabelle 4">
            <a:extLst>
              <a:ext uri="{FF2B5EF4-FFF2-40B4-BE49-F238E27FC236}">
                <a16:creationId xmlns:a16="http://schemas.microsoft.com/office/drawing/2014/main" id="{888BD64F-4F63-4E2F-9348-8FD02F97D85D}"/>
              </a:ext>
            </a:extLst>
          </p:cNvPr>
          <p:cNvGraphicFramePr>
            <a:graphicFrameLocks noGrp="1"/>
          </p:cNvGraphicFramePr>
          <p:nvPr>
            <p:ph sz="quarter" idx="19"/>
            <p:extLst>
              <p:ext uri="{D42A27DB-BD31-4B8C-83A1-F6EECF244321}">
                <p14:modId xmlns:p14="http://schemas.microsoft.com/office/powerpoint/2010/main" val="3906261396"/>
              </p:ext>
            </p:extLst>
          </p:nvPr>
        </p:nvGraphicFramePr>
        <p:xfrm>
          <a:off x="6096000" y="1989138"/>
          <a:ext cx="5472000" cy="3008160"/>
        </p:xfrm>
        <a:graphic>
          <a:graphicData uri="http://schemas.openxmlformats.org/drawingml/2006/table">
            <a:tbl>
              <a:tblPr firstRow="1" bandRow="1">
                <a:tableStyleId>{5C22544A-7EE6-4342-B048-85BDC9FD1C3A}</a:tableStyleId>
              </a:tblPr>
              <a:tblGrid>
                <a:gridCol w="2016000">
                  <a:extLst>
                    <a:ext uri="{9D8B030D-6E8A-4147-A177-3AD203B41FA5}">
                      <a16:colId xmlns:a16="http://schemas.microsoft.com/office/drawing/2014/main" val="3444078101"/>
                    </a:ext>
                  </a:extLst>
                </a:gridCol>
                <a:gridCol w="1728000">
                  <a:extLst>
                    <a:ext uri="{9D8B030D-6E8A-4147-A177-3AD203B41FA5}">
                      <a16:colId xmlns:a16="http://schemas.microsoft.com/office/drawing/2014/main" val="3554067948"/>
                    </a:ext>
                  </a:extLst>
                </a:gridCol>
                <a:gridCol w="1728000">
                  <a:extLst>
                    <a:ext uri="{9D8B030D-6E8A-4147-A177-3AD203B41FA5}">
                      <a16:colId xmlns:a16="http://schemas.microsoft.com/office/drawing/2014/main" val="896039492"/>
                    </a:ext>
                  </a:extLst>
                </a:gridCol>
              </a:tblGrid>
              <a:tr h="467916">
                <a:tc>
                  <a:txBody>
                    <a:bodyPr/>
                    <a:lstStyle/>
                    <a:p>
                      <a:r>
                        <a:rPr lang="de-DE" sz="1400" cap="none" baseline="0" dirty="0">
                          <a:solidFill>
                            <a:schemeClr val="bg1"/>
                          </a:solidFill>
                        </a:rPr>
                        <a:t>Lorem ipsum</a:t>
                      </a:r>
                    </a:p>
                  </a:txBody>
                  <a:tcPr marL="144000" marR="144000" marT="144000" marB="144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009EE0"/>
                    </a:solidFill>
                  </a:tcPr>
                </a:tc>
                <a:tc>
                  <a:txBody>
                    <a:bodyPr/>
                    <a:lstStyle/>
                    <a:p>
                      <a:r>
                        <a:rPr lang="de-DE" sz="1400" cap="none" baseline="0" dirty="0">
                          <a:solidFill>
                            <a:schemeClr val="bg1"/>
                          </a:solidFill>
                        </a:rPr>
                        <a:t>Dolor</a:t>
                      </a:r>
                    </a:p>
                  </a:txBody>
                  <a:tcPr marL="144000" marR="144000" marT="144000" marB="144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009EE0"/>
                    </a:solidFill>
                  </a:tcPr>
                </a:tc>
                <a:tc>
                  <a:txBody>
                    <a:bodyPr/>
                    <a:lstStyle/>
                    <a:p>
                      <a:r>
                        <a:rPr lang="de-DE" sz="1400" cap="none" baseline="0" dirty="0">
                          <a:solidFill>
                            <a:schemeClr val="bg1"/>
                          </a:solidFill>
                        </a:rPr>
                        <a:t>Amet</a:t>
                      </a:r>
                    </a:p>
                  </a:txBody>
                  <a:tcPr marL="144000" marR="144000" marT="144000" marB="144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009EE0"/>
                    </a:solidFill>
                  </a:tcPr>
                </a:tc>
                <a:extLst>
                  <a:ext uri="{0D108BD9-81ED-4DB2-BD59-A6C34878D82A}">
                    <a16:rowId xmlns:a16="http://schemas.microsoft.com/office/drawing/2014/main" val="4259198390"/>
                  </a:ext>
                </a:extLst>
              </a:tr>
              <a:tr h="467916">
                <a:tc>
                  <a:txBody>
                    <a:bodyPr/>
                    <a:lstStyle/>
                    <a:p>
                      <a:r>
                        <a:rPr lang="de-DE" sz="1400" cap="none" baseline="0" dirty="0">
                          <a:solidFill>
                            <a:schemeClr val="bg1"/>
                          </a:solidFill>
                        </a:rPr>
                        <a:t>Rebum</a:t>
                      </a:r>
                    </a:p>
                  </a:txBody>
                  <a:tcPr marL="144000" marR="144000" marT="144000" marB="144000" anchor="ctr">
                    <a:lnL w="9525" cap="flat" cmpd="sng" algn="ctr">
                      <a:noFill/>
                      <a:prstDash val="solid"/>
                      <a:round/>
                      <a:headEnd type="none" w="med" len="med"/>
                      <a:tailEnd type="none" w="med" len="med"/>
                    </a:lnL>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de-DE" sz="1400" cap="none" baseline="0" dirty="0">
                          <a:solidFill>
                            <a:schemeClr val="bg1"/>
                          </a:solidFill>
                        </a:rPr>
                        <a:t>xx</a:t>
                      </a:r>
                    </a:p>
                  </a:txBody>
                  <a:tcPr marL="144000" marR="144000" marT="144000" marB="144000" anchor="ct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de-DE" sz="1400" cap="none" baseline="0" dirty="0">
                          <a:solidFill>
                            <a:schemeClr val="bg1"/>
                          </a:solidFill>
                        </a:rPr>
                        <a:t>xx</a:t>
                      </a:r>
                    </a:p>
                  </a:txBody>
                  <a:tcPr marL="144000" marR="144000" marT="144000" marB="144000" anchor="ctr">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78888331"/>
                  </a:ext>
                </a:extLst>
              </a:tr>
              <a:tr h="467916">
                <a:tc>
                  <a:txBody>
                    <a:bodyPr/>
                    <a:lstStyle/>
                    <a:p>
                      <a:r>
                        <a:rPr lang="de-DE" sz="1400" cap="none" baseline="0" dirty="0">
                          <a:solidFill>
                            <a:schemeClr val="bg1"/>
                          </a:solidFill>
                        </a:rPr>
                        <a:t>Aliquyam</a:t>
                      </a:r>
                    </a:p>
                  </a:txBody>
                  <a:tcPr marL="144000" marR="144000" marT="144000" marB="144000" anchor="ctr">
                    <a:lnL w="9525" cap="flat" cmpd="sng" algn="ctr">
                      <a:no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de-DE" sz="1400" cap="none" baseline="0" dirty="0">
                          <a:solidFill>
                            <a:schemeClr val="bg1"/>
                          </a:solidFill>
                        </a:rPr>
                        <a:t>xxxx</a:t>
                      </a:r>
                    </a:p>
                  </a:txBody>
                  <a:tcPr marL="144000" marR="144000" marT="144000" marB="144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de-DE" sz="1400" cap="none" baseline="0" dirty="0">
                          <a:solidFill>
                            <a:schemeClr val="bg1"/>
                          </a:solidFill>
                        </a:rPr>
                        <a:t>xxx</a:t>
                      </a:r>
                    </a:p>
                  </a:txBody>
                  <a:tcPr marL="144000" marR="144000" marT="144000" marB="144000" anchor="ctr">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337628179"/>
                  </a:ext>
                </a:extLst>
              </a:tr>
              <a:tr h="467916">
                <a:tc>
                  <a:txBody>
                    <a:bodyPr/>
                    <a:lstStyle/>
                    <a:p>
                      <a:r>
                        <a:rPr lang="de-DE" sz="1400" cap="none" baseline="0" dirty="0">
                          <a:solidFill>
                            <a:schemeClr val="bg1"/>
                          </a:solidFill>
                        </a:rPr>
                        <a:t>Voluptua</a:t>
                      </a:r>
                    </a:p>
                  </a:txBody>
                  <a:tcPr marL="144000" marR="144000" marT="144000" marB="144000" anchor="ctr">
                    <a:lnL w="9525" cap="flat" cmpd="sng" algn="ctr">
                      <a:no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de-DE" sz="1400" cap="none" baseline="0" dirty="0">
                          <a:solidFill>
                            <a:schemeClr val="bg1"/>
                          </a:solidFill>
                        </a:rPr>
                        <a:t>xx</a:t>
                      </a:r>
                    </a:p>
                  </a:txBody>
                  <a:tcPr marL="144000" marR="144000" marT="144000" marB="144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de-DE" sz="1400" cap="none" baseline="0" dirty="0">
                          <a:solidFill>
                            <a:schemeClr val="bg1"/>
                          </a:solidFill>
                        </a:rPr>
                        <a:t>xx</a:t>
                      </a:r>
                    </a:p>
                  </a:txBody>
                  <a:tcPr marL="144000" marR="144000" marT="144000" marB="144000" anchor="ctr">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65655654"/>
                  </a:ext>
                </a:extLst>
              </a:tr>
              <a:tr h="467916">
                <a:tc>
                  <a:txBody>
                    <a:bodyPr/>
                    <a:lstStyle/>
                    <a:p>
                      <a:r>
                        <a:rPr lang="de-DE" sz="1400" cap="none" baseline="0" dirty="0">
                          <a:solidFill>
                            <a:schemeClr val="bg1"/>
                          </a:solidFill>
                        </a:rPr>
                        <a:t>Tempor</a:t>
                      </a:r>
                    </a:p>
                  </a:txBody>
                  <a:tcPr marL="144000" marR="144000" marT="144000" marB="144000" anchor="ctr">
                    <a:lnL w="9525" cap="flat" cmpd="sng" algn="ctr">
                      <a:no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de-DE" sz="1400" cap="none" baseline="0" dirty="0">
                          <a:solidFill>
                            <a:schemeClr val="bg1"/>
                          </a:solidFill>
                        </a:rPr>
                        <a:t>xxx</a:t>
                      </a:r>
                    </a:p>
                  </a:txBody>
                  <a:tcPr marL="144000" marR="144000" marT="144000" marB="144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de-DE" sz="1400" cap="none" baseline="0" dirty="0">
                          <a:solidFill>
                            <a:schemeClr val="bg1"/>
                          </a:solidFill>
                        </a:rPr>
                        <a:t>xxxx</a:t>
                      </a:r>
                    </a:p>
                  </a:txBody>
                  <a:tcPr marL="144000" marR="144000" marT="144000" marB="144000" anchor="ctr">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31502459"/>
                  </a:ext>
                </a:extLst>
              </a:tr>
              <a:tr h="467916">
                <a:tc>
                  <a:txBody>
                    <a:bodyPr/>
                    <a:lstStyle/>
                    <a:p>
                      <a:r>
                        <a:rPr lang="de-DE" sz="1400" cap="none" baseline="0" dirty="0">
                          <a:solidFill>
                            <a:schemeClr val="bg1"/>
                          </a:solidFill>
                        </a:rPr>
                        <a:t>Consetetur</a:t>
                      </a:r>
                    </a:p>
                  </a:txBody>
                  <a:tcPr marL="144000" marR="144000" marT="144000" marB="144000" anchor="ctr">
                    <a:lnL w="9525" cap="flat" cmpd="sng" algn="ctr">
                      <a:no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de-DE" sz="1400" cap="none" baseline="0" dirty="0">
                          <a:solidFill>
                            <a:schemeClr val="bg1"/>
                          </a:solidFill>
                        </a:rPr>
                        <a:t>XX</a:t>
                      </a:r>
                    </a:p>
                  </a:txBody>
                  <a:tcPr marL="144000" marR="144000" marT="144000" marB="144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de-DE" sz="1400" cap="none" baseline="0" dirty="0">
                          <a:solidFill>
                            <a:schemeClr val="bg1"/>
                          </a:solidFill>
                        </a:rPr>
                        <a:t>xxx</a:t>
                      </a:r>
                    </a:p>
                  </a:txBody>
                  <a:tcPr marL="144000" marR="144000" marT="144000" marB="144000" anchor="ctr">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54934934"/>
                  </a:ext>
                </a:extLst>
              </a:tr>
            </a:tbl>
          </a:graphicData>
        </a:graphic>
      </p:graphicFrame>
    </p:spTree>
    <p:extLst>
      <p:ext uri="{BB962C8B-B14F-4D97-AF65-F5344CB8AC3E}">
        <p14:creationId xmlns:p14="http://schemas.microsoft.com/office/powerpoint/2010/main" val="1200711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B439993-FBD2-4DE9-BB40-6F74CD5A9F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5" name="Objekt 4" hidden="1">
                        <a:extLst>
                          <a:ext uri="{FF2B5EF4-FFF2-40B4-BE49-F238E27FC236}">
                            <a16:creationId xmlns:a16="http://schemas.microsoft.com/office/drawing/2014/main" id="{7B439993-FBD2-4DE9-BB40-6F74CD5A9F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B488D24E-DE4C-4C70-AF1E-90FF502CDC4B}"/>
              </a:ext>
            </a:extLst>
          </p:cNvPr>
          <p:cNvSpPr>
            <a:spLocks noGrp="1"/>
          </p:cNvSpPr>
          <p:nvPr>
            <p:ph type="title"/>
          </p:nvPr>
        </p:nvSpPr>
        <p:spPr bwMode="gray"/>
        <p:txBody>
          <a:bodyPr vert="horz"/>
          <a:lstStyle/>
          <a:p>
            <a:r>
              <a:rPr lang="de-DE" dirty="0">
                <a:solidFill>
                  <a:schemeClr val="tx2"/>
                </a:solidFill>
              </a:rPr>
              <a:t>ÜBERSCHRIFT 1</a:t>
            </a:r>
            <a:br>
              <a:rPr lang="de-DE" dirty="0">
                <a:solidFill>
                  <a:schemeClr val="tx2"/>
                </a:solidFill>
              </a:rPr>
            </a:br>
            <a:r>
              <a:rPr lang="de-DE" b="0" dirty="0">
                <a:solidFill>
                  <a:schemeClr val="tx2"/>
                </a:solidFill>
              </a:rPr>
              <a:t>zweite Zeile ungefettet (Manuell)</a:t>
            </a:r>
          </a:p>
        </p:txBody>
      </p:sp>
      <p:sp>
        <p:nvSpPr>
          <p:cNvPr id="18" name="Date Placeholder 17">
            <a:extLst>
              <a:ext uri="{FF2B5EF4-FFF2-40B4-BE49-F238E27FC236}">
                <a16:creationId xmlns:a16="http://schemas.microsoft.com/office/drawing/2014/main" id="{9ECE8EE5-498B-49CF-90F2-E7E17AF9D061}"/>
              </a:ext>
            </a:extLst>
          </p:cNvPr>
          <p:cNvSpPr>
            <a:spLocks noGrp="1"/>
          </p:cNvSpPr>
          <p:nvPr>
            <p:ph type="dt" sz="half" idx="15"/>
          </p:nvPr>
        </p:nvSpPr>
        <p:spPr bwMode="gray"/>
        <p:txBody>
          <a:bodyPr/>
          <a:lstStyle/>
          <a:p>
            <a:fld id="{EE338330-CFD6-47C7-A2DE-1EE053896078}" type="datetime1">
              <a:rPr lang="de-DE" smtClean="0">
                <a:solidFill>
                  <a:schemeClr val="bg1"/>
                </a:solidFill>
              </a:rPr>
              <a:t>29.09.25</a:t>
            </a:fld>
            <a:endParaRPr lang="de-DE" dirty="0">
              <a:solidFill>
                <a:schemeClr val="bg1"/>
              </a:solidFill>
            </a:endParaRPr>
          </a:p>
        </p:txBody>
      </p:sp>
      <p:sp>
        <p:nvSpPr>
          <p:cNvPr id="3" name="Fußzeilenplatzhalter 2">
            <a:extLst>
              <a:ext uri="{FF2B5EF4-FFF2-40B4-BE49-F238E27FC236}">
                <a16:creationId xmlns:a16="http://schemas.microsoft.com/office/drawing/2014/main" id="{2FCC3E2D-9CBF-4BF4-99B8-DD3823E0623B}"/>
              </a:ext>
            </a:extLst>
          </p:cNvPr>
          <p:cNvSpPr>
            <a:spLocks noGrp="1"/>
          </p:cNvSpPr>
          <p:nvPr>
            <p:ph type="ftr" sz="quarter" idx="16"/>
          </p:nvPr>
        </p:nvSpPr>
        <p:spPr bwMode="gray"/>
        <p:txBody>
          <a:bodyPr/>
          <a:lstStyle/>
          <a:p>
            <a:r>
              <a:rPr lang="de-DE" dirty="0">
                <a:solidFill>
                  <a:schemeClr val="bg1"/>
                </a:solidFill>
              </a:rPr>
              <a:t>TITEL DER PRÄSENTATION | TITEL VORNAME NAME</a:t>
            </a:r>
          </a:p>
        </p:txBody>
      </p:sp>
      <p:sp>
        <p:nvSpPr>
          <p:cNvPr id="4" name="Foliennummernplatzhalter 3">
            <a:extLst>
              <a:ext uri="{FF2B5EF4-FFF2-40B4-BE49-F238E27FC236}">
                <a16:creationId xmlns:a16="http://schemas.microsoft.com/office/drawing/2014/main" id="{BDBD585B-BD52-4C42-ABE6-D3168C9347DF}"/>
              </a:ext>
            </a:extLst>
          </p:cNvPr>
          <p:cNvSpPr>
            <a:spLocks noGrp="1"/>
          </p:cNvSpPr>
          <p:nvPr>
            <p:ph type="sldNum" sz="quarter" idx="17"/>
          </p:nvPr>
        </p:nvSpPr>
        <p:spPr bwMode="gray"/>
        <p:txBody>
          <a:bodyPr/>
          <a:lstStyle/>
          <a:p>
            <a:fld id="{09E9C37E-8A19-4E30-BE2B-5A966AD23C7A}" type="slidenum">
              <a:rPr lang="de-DE" smtClean="0">
                <a:solidFill>
                  <a:schemeClr val="bg1"/>
                </a:solidFill>
              </a:rPr>
              <a:pPr/>
              <a:t>16</a:t>
            </a:fld>
            <a:endParaRPr lang="de-DE" dirty="0">
              <a:solidFill>
                <a:schemeClr val="bg1"/>
              </a:solidFill>
            </a:endParaRPr>
          </a:p>
        </p:txBody>
      </p:sp>
      <p:sp>
        <p:nvSpPr>
          <p:cNvPr id="7" name="Textplatzhalter 6">
            <a:extLst>
              <a:ext uri="{FF2B5EF4-FFF2-40B4-BE49-F238E27FC236}">
                <a16:creationId xmlns:a16="http://schemas.microsoft.com/office/drawing/2014/main" id="{C273FE87-6A12-4A35-8525-85399D3E97A6}"/>
              </a:ext>
            </a:extLst>
          </p:cNvPr>
          <p:cNvSpPr>
            <a:spLocks noGrp="1"/>
          </p:cNvSpPr>
          <p:nvPr>
            <p:ph sz="quarter" idx="18"/>
          </p:nvPr>
        </p:nvSpPr>
        <p:spPr bwMode="gray"/>
        <p:txBody>
          <a:bodyPr/>
          <a:lstStyle/>
          <a:p>
            <a:pPr lvl="2"/>
            <a:r>
              <a:rPr lang="de-DE" dirty="0">
                <a:solidFill>
                  <a:schemeClr val="bg1"/>
                </a:solidFill>
              </a:rPr>
              <a:t>Zwischenüberschrift auf Listenebene Drei</a:t>
            </a:r>
          </a:p>
          <a:p>
            <a:pPr lvl="1"/>
            <a:r>
              <a:rPr lang="de-DE" dirty="0">
                <a:solidFill>
                  <a:schemeClr val="bg1"/>
                </a:solidFill>
              </a:rPr>
              <a:t>Fließtext auf Listenebene Zwei, Verdana 14 pt. Ano sea takimata sanctus est Lorem ipsum dolor sit amet. Lorem ipsum dolor sit amet, consetetur sadipscing elitr. </a:t>
            </a:r>
          </a:p>
          <a:p>
            <a:pPr lvl="1"/>
            <a:r>
              <a:rPr lang="de-DE" dirty="0">
                <a:solidFill>
                  <a:schemeClr val="bg1"/>
                </a:solidFill>
              </a:rPr>
              <a:t>Ased diam nonumy eirmod tempor invidunt ut labore et dolore magna aliquyam erat, sed diam voluptua. At vero eos et accusam et justo duo dolores et ea rebum.</a:t>
            </a:r>
          </a:p>
          <a:p>
            <a:r>
              <a:rPr lang="de-DE" dirty="0">
                <a:solidFill>
                  <a:schemeClr val="bg1"/>
                </a:solidFill>
              </a:rPr>
              <a:t>Erste Aufzählungsebene: Ebene Eins</a:t>
            </a:r>
          </a:p>
          <a:p>
            <a:r>
              <a:rPr lang="de-DE" dirty="0">
                <a:solidFill>
                  <a:schemeClr val="bg1"/>
                </a:solidFill>
              </a:rPr>
              <a:t>Lorem ipsum dolor sit amet</a:t>
            </a:r>
          </a:p>
          <a:p>
            <a:pPr lvl="3"/>
            <a:r>
              <a:rPr lang="de-DE" dirty="0">
                <a:solidFill>
                  <a:schemeClr val="bg1"/>
                </a:solidFill>
              </a:rPr>
              <a:t>Weitere Unterpunkte ab vierter Ebene</a:t>
            </a:r>
          </a:p>
        </p:txBody>
      </p:sp>
      <p:graphicFrame>
        <p:nvGraphicFramePr>
          <p:cNvPr id="13" name="Tabelle 4">
            <a:extLst>
              <a:ext uri="{FF2B5EF4-FFF2-40B4-BE49-F238E27FC236}">
                <a16:creationId xmlns:a16="http://schemas.microsoft.com/office/drawing/2014/main" id="{888BD64F-4F63-4E2F-9348-8FD02F97D85D}"/>
              </a:ext>
            </a:extLst>
          </p:cNvPr>
          <p:cNvGraphicFramePr>
            <a:graphicFrameLocks noGrp="1"/>
          </p:cNvGraphicFramePr>
          <p:nvPr>
            <p:ph sz="quarter" idx="19"/>
            <p:extLst>
              <p:ext uri="{D42A27DB-BD31-4B8C-83A1-F6EECF244321}">
                <p14:modId xmlns:p14="http://schemas.microsoft.com/office/powerpoint/2010/main" val="2807317042"/>
              </p:ext>
            </p:extLst>
          </p:nvPr>
        </p:nvGraphicFramePr>
        <p:xfrm>
          <a:off x="6096000" y="1989138"/>
          <a:ext cx="5472000" cy="3008160"/>
        </p:xfrm>
        <a:graphic>
          <a:graphicData uri="http://schemas.openxmlformats.org/drawingml/2006/table">
            <a:tbl>
              <a:tblPr firstRow="1" bandRow="1">
                <a:tableStyleId>{5C22544A-7EE6-4342-B048-85BDC9FD1C3A}</a:tableStyleId>
              </a:tblPr>
              <a:tblGrid>
                <a:gridCol w="2016000">
                  <a:extLst>
                    <a:ext uri="{9D8B030D-6E8A-4147-A177-3AD203B41FA5}">
                      <a16:colId xmlns:a16="http://schemas.microsoft.com/office/drawing/2014/main" val="3444078101"/>
                    </a:ext>
                  </a:extLst>
                </a:gridCol>
                <a:gridCol w="1728000">
                  <a:extLst>
                    <a:ext uri="{9D8B030D-6E8A-4147-A177-3AD203B41FA5}">
                      <a16:colId xmlns:a16="http://schemas.microsoft.com/office/drawing/2014/main" val="3554067948"/>
                    </a:ext>
                  </a:extLst>
                </a:gridCol>
                <a:gridCol w="1728000">
                  <a:extLst>
                    <a:ext uri="{9D8B030D-6E8A-4147-A177-3AD203B41FA5}">
                      <a16:colId xmlns:a16="http://schemas.microsoft.com/office/drawing/2014/main" val="896039492"/>
                    </a:ext>
                  </a:extLst>
                </a:gridCol>
              </a:tblGrid>
              <a:tr h="467916">
                <a:tc>
                  <a:txBody>
                    <a:bodyPr/>
                    <a:lstStyle/>
                    <a:p>
                      <a:r>
                        <a:rPr lang="de-DE" sz="1400" cap="none" baseline="0" dirty="0">
                          <a:ln>
                            <a:solidFill>
                              <a:schemeClr val="bg1"/>
                            </a:solidFill>
                          </a:ln>
                          <a:solidFill>
                            <a:schemeClr val="bg1"/>
                          </a:solidFill>
                        </a:rPr>
                        <a:t>Lorem ipsum</a:t>
                      </a:r>
                    </a:p>
                  </a:txBody>
                  <a:tcPr marL="144000" marR="144000" marT="144000" marB="144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009EE0"/>
                    </a:solidFill>
                  </a:tcPr>
                </a:tc>
                <a:tc>
                  <a:txBody>
                    <a:bodyPr/>
                    <a:lstStyle/>
                    <a:p>
                      <a:r>
                        <a:rPr lang="de-DE" sz="1400" cap="none" baseline="0" dirty="0">
                          <a:ln>
                            <a:solidFill>
                              <a:schemeClr val="bg1"/>
                            </a:solidFill>
                          </a:ln>
                          <a:solidFill>
                            <a:schemeClr val="bg1"/>
                          </a:solidFill>
                        </a:rPr>
                        <a:t>Dolor</a:t>
                      </a:r>
                    </a:p>
                  </a:txBody>
                  <a:tcPr marL="144000" marR="144000" marT="144000" marB="144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009EE0"/>
                    </a:solidFill>
                  </a:tcPr>
                </a:tc>
                <a:tc>
                  <a:txBody>
                    <a:bodyPr/>
                    <a:lstStyle/>
                    <a:p>
                      <a:r>
                        <a:rPr lang="de-DE" sz="1400" cap="none" baseline="0" dirty="0">
                          <a:ln>
                            <a:solidFill>
                              <a:schemeClr val="bg1"/>
                            </a:solidFill>
                          </a:ln>
                          <a:solidFill>
                            <a:schemeClr val="bg1"/>
                          </a:solidFill>
                        </a:rPr>
                        <a:t>Amet</a:t>
                      </a:r>
                    </a:p>
                  </a:txBody>
                  <a:tcPr marL="144000" marR="144000" marT="144000" marB="144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009EE0"/>
                    </a:solidFill>
                  </a:tcPr>
                </a:tc>
                <a:extLst>
                  <a:ext uri="{0D108BD9-81ED-4DB2-BD59-A6C34878D82A}">
                    <a16:rowId xmlns:a16="http://schemas.microsoft.com/office/drawing/2014/main" val="4259198390"/>
                  </a:ext>
                </a:extLst>
              </a:tr>
              <a:tr h="467916">
                <a:tc>
                  <a:txBody>
                    <a:bodyPr/>
                    <a:lstStyle/>
                    <a:p>
                      <a:r>
                        <a:rPr lang="de-DE" sz="1400" cap="none" baseline="0" dirty="0">
                          <a:ln>
                            <a:solidFill>
                              <a:schemeClr val="bg1"/>
                            </a:solidFill>
                          </a:ln>
                          <a:solidFill>
                            <a:schemeClr val="bg1"/>
                          </a:solidFill>
                        </a:rPr>
                        <a:t>Rebum</a:t>
                      </a:r>
                    </a:p>
                  </a:txBody>
                  <a:tcPr marL="144000" marR="144000" marT="144000" marB="144000" anchor="ctr">
                    <a:lnL w="9525" cap="flat" cmpd="sng" algn="ctr">
                      <a:noFill/>
                      <a:prstDash val="solid"/>
                      <a:round/>
                      <a:headEnd type="none" w="med" len="med"/>
                      <a:tailEnd type="none" w="med" len="med"/>
                    </a:lnL>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de-DE" sz="1400" cap="none" baseline="0" dirty="0">
                          <a:ln>
                            <a:solidFill>
                              <a:schemeClr val="bg1"/>
                            </a:solidFill>
                          </a:ln>
                          <a:solidFill>
                            <a:schemeClr val="bg1"/>
                          </a:solidFill>
                        </a:rPr>
                        <a:t>xx</a:t>
                      </a:r>
                    </a:p>
                  </a:txBody>
                  <a:tcPr marL="144000" marR="144000" marT="144000" marB="144000" anchor="ct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de-DE" sz="1400" cap="none" baseline="0" dirty="0">
                          <a:ln>
                            <a:solidFill>
                              <a:schemeClr val="bg1"/>
                            </a:solidFill>
                          </a:ln>
                          <a:solidFill>
                            <a:schemeClr val="bg1"/>
                          </a:solidFill>
                        </a:rPr>
                        <a:t>xx</a:t>
                      </a:r>
                    </a:p>
                  </a:txBody>
                  <a:tcPr marL="144000" marR="144000" marT="144000" marB="144000" anchor="ctr">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78888331"/>
                  </a:ext>
                </a:extLst>
              </a:tr>
              <a:tr h="467916">
                <a:tc>
                  <a:txBody>
                    <a:bodyPr/>
                    <a:lstStyle/>
                    <a:p>
                      <a:r>
                        <a:rPr lang="de-DE" sz="1400" cap="none" baseline="0" dirty="0">
                          <a:ln>
                            <a:solidFill>
                              <a:schemeClr val="bg1"/>
                            </a:solidFill>
                          </a:ln>
                          <a:solidFill>
                            <a:schemeClr val="bg1"/>
                          </a:solidFill>
                        </a:rPr>
                        <a:t>Aliquyam</a:t>
                      </a:r>
                    </a:p>
                  </a:txBody>
                  <a:tcPr marL="144000" marR="144000" marT="144000" marB="144000" anchor="ctr">
                    <a:lnL w="9525" cap="flat" cmpd="sng" algn="ctr">
                      <a:no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de-DE" sz="1400" cap="none" baseline="0" dirty="0">
                          <a:ln>
                            <a:solidFill>
                              <a:schemeClr val="bg1"/>
                            </a:solidFill>
                          </a:ln>
                          <a:solidFill>
                            <a:schemeClr val="bg1"/>
                          </a:solidFill>
                        </a:rPr>
                        <a:t>xxxx</a:t>
                      </a:r>
                    </a:p>
                  </a:txBody>
                  <a:tcPr marL="144000" marR="144000" marT="144000" marB="144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de-DE" sz="1400" cap="none" baseline="0" dirty="0">
                          <a:ln>
                            <a:solidFill>
                              <a:schemeClr val="bg1"/>
                            </a:solidFill>
                          </a:ln>
                          <a:solidFill>
                            <a:schemeClr val="bg1"/>
                          </a:solidFill>
                        </a:rPr>
                        <a:t>xxx</a:t>
                      </a:r>
                    </a:p>
                  </a:txBody>
                  <a:tcPr marL="144000" marR="144000" marT="144000" marB="144000" anchor="ctr">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337628179"/>
                  </a:ext>
                </a:extLst>
              </a:tr>
              <a:tr h="467916">
                <a:tc>
                  <a:txBody>
                    <a:bodyPr/>
                    <a:lstStyle/>
                    <a:p>
                      <a:r>
                        <a:rPr lang="de-DE" sz="1400" cap="none" baseline="0" dirty="0">
                          <a:ln>
                            <a:solidFill>
                              <a:schemeClr val="bg1"/>
                            </a:solidFill>
                          </a:ln>
                          <a:solidFill>
                            <a:schemeClr val="bg1"/>
                          </a:solidFill>
                        </a:rPr>
                        <a:t>Voluptua</a:t>
                      </a:r>
                    </a:p>
                  </a:txBody>
                  <a:tcPr marL="144000" marR="144000" marT="144000" marB="144000" anchor="ctr">
                    <a:lnL w="9525" cap="flat" cmpd="sng" algn="ctr">
                      <a:no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de-DE" sz="1400" cap="none" baseline="0" dirty="0">
                          <a:ln>
                            <a:solidFill>
                              <a:schemeClr val="bg1"/>
                            </a:solidFill>
                          </a:ln>
                          <a:solidFill>
                            <a:schemeClr val="bg1"/>
                          </a:solidFill>
                        </a:rPr>
                        <a:t>xx</a:t>
                      </a:r>
                    </a:p>
                  </a:txBody>
                  <a:tcPr marL="144000" marR="144000" marT="144000" marB="144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de-DE" sz="1400" cap="none" baseline="0" dirty="0">
                          <a:ln>
                            <a:solidFill>
                              <a:schemeClr val="bg1"/>
                            </a:solidFill>
                          </a:ln>
                          <a:solidFill>
                            <a:schemeClr val="bg1"/>
                          </a:solidFill>
                        </a:rPr>
                        <a:t>xx</a:t>
                      </a:r>
                    </a:p>
                  </a:txBody>
                  <a:tcPr marL="144000" marR="144000" marT="144000" marB="144000" anchor="ctr">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65655654"/>
                  </a:ext>
                </a:extLst>
              </a:tr>
              <a:tr h="467916">
                <a:tc>
                  <a:txBody>
                    <a:bodyPr/>
                    <a:lstStyle/>
                    <a:p>
                      <a:r>
                        <a:rPr lang="de-DE" sz="1400" cap="none" baseline="0" dirty="0">
                          <a:ln>
                            <a:solidFill>
                              <a:schemeClr val="bg1"/>
                            </a:solidFill>
                          </a:ln>
                          <a:solidFill>
                            <a:schemeClr val="bg1"/>
                          </a:solidFill>
                        </a:rPr>
                        <a:t>Tempor</a:t>
                      </a:r>
                    </a:p>
                  </a:txBody>
                  <a:tcPr marL="144000" marR="144000" marT="144000" marB="144000" anchor="ctr">
                    <a:lnL w="9525" cap="flat" cmpd="sng" algn="ctr">
                      <a:no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de-DE" sz="1400" cap="none" baseline="0" dirty="0">
                          <a:ln>
                            <a:solidFill>
                              <a:schemeClr val="bg1"/>
                            </a:solidFill>
                          </a:ln>
                          <a:solidFill>
                            <a:schemeClr val="bg1"/>
                          </a:solidFill>
                        </a:rPr>
                        <a:t>xxx</a:t>
                      </a:r>
                    </a:p>
                  </a:txBody>
                  <a:tcPr marL="144000" marR="144000" marT="144000" marB="144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de-DE" sz="1400" cap="none" baseline="0" dirty="0">
                          <a:ln>
                            <a:solidFill>
                              <a:schemeClr val="bg1"/>
                            </a:solidFill>
                          </a:ln>
                          <a:solidFill>
                            <a:schemeClr val="bg1"/>
                          </a:solidFill>
                        </a:rPr>
                        <a:t>xxxx</a:t>
                      </a:r>
                    </a:p>
                  </a:txBody>
                  <a:tcPr marL="144000" marR="144000" marT="144000" marB="144000" anchor="ctr">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31502459"/>
                  </a:ext>
                </a:extLst>
              </a:tr>
              <a:tr h="467916">
                <a:tc>
                  <a:txBody>
                    <a:bodyPr/>
                    <a:lstStyle/>
                    <a:p>
                      <a:r>
                        <a:rPr lang="de-DE" sz="1400" cap="none" baseline="0" dirty="0">
                          <a:ln>
                            <a:solidFill>
                              <a:schemeClr val="bg1"/>
                            </a:solidFill>
                          </a:ln>
                          <a:solidFill>
                            <a:schemeClr val="bg1"/>
                          </a:solidFill>
                        </a:rPr>
                        <a:t>Consetetur</a:t>
                      </a:r>
                    </a:p>
                  </a:txBody>
                  <a:tcPr marL="144000" marR="144000" marT="144000" marB="144000" anchor="ctr">
                    <a:lnL w="9525" cap="flat" cmpd="sng" algn="ctr">
                      <a:no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de-DE" sz="1400" cap="none" baseline="0" dirty="0">
                          <a:ln>
                            <a:solidFill>
                              <a:schemeClr val="bg1"/>
                            </a:solidFill>
                          </a:ln>
                          <a:solidFill>
                            <a:schemeClr val="bg1"/>
                          </a:solidFill>
                        </a:rPr>
                        <a:t>XX</a:t>
                      </a:r>
                    </a:p>
                  </a:txBody>
                  <a:tcPr marL="144000" marR="144000" marT="144000" marB="144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de-DE" sz="1400" cap="none" baseline="0" dirty="0">
                          <a:ln>
                            <a:solidFill>
                              <a:schemeClr val="bg1"/>
                            </a:solidFill>
                          </a:ln>
                          <a:solidFill>
                            <a:schemeClr val="bg1"/>
                          </a:solidFill>
                        </a:rPr>
                        <a:t>xxx</a:t>
                      </a:r>
                    </a:p>
                  </a:txBody>
                  <a:tcPr marL="144000" marR="144000" marT="144000" marB="144000" anchor="ctr">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54934934"/>
                  </a:ext>
                </a:extLst>
              </a:tr>
            </a:tbl>
          </a:graphicData>
        </a:graphic>
      </p:graphicFrame>
    </p:spTree>
    <p:extLst>
      <p:ext uri="{BB962C8B-B14F-4D97-AF65-F5344CB8AC3E}">
        <p14:creationId xmlns:p14="http://schemas.microsoft.com/office/powerpoint/2010/main" val="1020092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8E6AD344-D317-455E-A49A-03CBAE1B7F04}"/>
              </a:ext>
            </a:extLst>
          </p:cNvPr>
          <p:cNvGraphicFramePr>
            <a:graphicFrameLocks noChangeAspect="1"/>
          </p:cNvGraphicFramePr>
          <p:nvPr>
            <p:custDataLst>
              <p:tags r:id="rId1"/>
            </p:custDataLst>
            <p:extLst>
              <p:ext uri="{D42A27DB-BD31-4B8C-83A1-F6EECF244321}">
                <p14:modId xmlns:p14="http://schemas.microsoft.com/office/powerpoint/2010/main" val="2524631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B488D24E-DE4C-4C70-AF1E-90FF502CDC4B}"/>
              </a:ext>
            </a:extLst>
          </p:cNvPr>
          <p:cNvSpPr>
            <a:spLocks noGrp="1"/>
          </p:cNvSpPr>
          <p:nvPr>
            <p:ph type="title"/>
          </p:nvPr>
        </p:nvSpPr>
        <p:spPr bwMode="gray"/>
        <p:txBody>
          <a:bodyPr vert="horz" lIns="144000"/>
          <a:lstStyle/>
          <a:p>
            <a:r>
              <a:rPr lang="de-DE" dirty="0"/>
              <a:t>ÜBERSCHRIFT 1</a:t>
            </a:r>
            <a:br>
              <a:rPr lang="de-DE" dirty="0"/>
            </a:br>
            <a:r>
              <a:rPr lang="de-DE" b="0" dirty="0"/>
              <a:t>zweite Zeile ungefettet (Manuell)</a:t>
            </a:r>
          </a:p>
        </p:txBody>
      </p:sp>
      <p:sp>
        <p:nvSpPr>
          <p:cNvPr id="14" name="Date Placeholder 13">
            <a:extLst>
              <a:ext uri="{FF2B5EF4-FFF2-40B4-BE49-F238E27FC236}">
                <a16:creationId xmlns:a16="http://schemas.microsoft.com/office/drawing/2014/main" id="{4C603B63-0204-4302-914C-06E82358D7FE}"/>
              </a:ext>
            </a:extLst>
          </p:cNvPr>
          <p:cNvSpPr>
            <a:spLocks noGrp="1"/>
          </p:cNvSpPr>
          <p:nvPr>
            <p:ph type="dt" sz="half" idx="19"/>
          </p:nvPr>
        </p:nvSpPr>
        <p:spPr bwMode="gray"/>
        <p:txBody>
          <a:bodyPr/>
          <a:lstStyle/>
          <a:p>
            <a:fld id="{4BC43B3C-3B55-46C7-8140-93BEB8AB218D}" type="datetime1">
              <a:rPr lang="de-DE" smtClean="0"/>
              <a:t>29.09.25</a:t>
            </a:fld>
            <a:endParaRPr lang="de-DE" dirty="0"/>
          </a:p>
        </p:txBody>
      </p:sp>
      <p:sp>
        <p:nvSpPr>
          <p:cNvPr id="3" name="Fußzeilenplatzhalter 2">
            <a:extLst>
              <a:ext uri="{FF2B5EF4-FFF2-40B4-BE49-F238E27FC236}">
                <a16:creationId xmlns:a16="http://schemas.microsoft.com/office/drawing/2014/main" id="{2FCC3E2D-9CBF-4BF4-99B8-DD3823E0623B}"/>
              </a:ext>
            </a:extLst>
          </p:cNvPr>
          <p:cNvSpPr>
            <a:spLocks noGrp="1"/>
          </p:cNvSpPr>
          <p:nvPr>
            <p:ph type="ftr" sz="quarter" idx="20"/>
          </p:nvPr>
        </p:nvSpPr>
        <p:spPr bwMode="gray"/>
        <p:txBody>
          <a:bodyPr/>
          <a:lstStyle/>
          <a:p>
            <a:r>
              <a:rPr lang="de-DE" dirty="0"/>
              <a:t>TITEL DER PRÄSENTATION | TITEL VORNAME NAME</a:t>
            </a:r>
          </a:p>
        </p:txBody>
      </p:sp>
      <p:sp>
        <p:nvSpPr>
          <p:cNvPr id="4" name="Foliennummernplatzhalter 3">
            <a:extLst>
              <a:ext uri="{FF2B5EF4-FFF2-40B4-BE49-F238E27FC236}">
                <a16:creationId xmlns:a16="http://schemas.microsoft.com/office/drawing/2014/main" id="{BDBD585B-BD52-4C42-ABE6-D3168C9347DF}"/>
              </a:ext>
            </a:extLst>
          </p:cNvPr>
          <p:cNvSpPr>
            <a:spLocks noGrp="1"/>
          </p:cNvSpPr>
          <p:nvPr>
            <p:ph type="sldNum" sz="quarter" idx="21"/>
          </p:nvPr>
        </p:nvSpPr>
        <p:spPr bwMode="gray"/>
        <p:txBody>
          <a:bodyPr/>
          <a:lstStyle/>
          <a:p>
            <a:fld id="{09E9C37E-8A19-4E30-BE2B-5A966AD23C7A}" type="slidenum">
              <a:rPr lang="de-DE" smtClean="0"/>
              <a:pPr/>
              <a:t>17</a:t>
            </a:fld>
            <a:endParaRPr lang="de-DE" dirty="0"/>
          </a:p>
        </p:txBody>
      </p:sp>
      <p:sp>
        <p:nvSpPr>
          <p:cNvPr id="7" name="Textplatzhalter 6">
            <a:extLst>
              <a:ext uri="{FF2B5EF4-FFF2-40B4-BE49-F238E27FC236}">
                <a16:creationId xmlns:a16="http://schemas.microsoft.com/office/drawing/2014/main" id="{C273FE87-6A12-4A35-8525-85399D3E97A6}"/>
              </a:ext>
            </a:extLst>
          </p:cNvPr>
          <p:cNvSpPr>
            <a:spLocks noGrp="1"/>
          </p:cNvSpPr>
          <p:nvPr>
            <p:ph sz="quarter" idx="22"/>
          </p:nvPr>
        </p:nvSpPr>
        <p:spPr bwMode="gray">
          <a:noFill/>
        </p:spPr>
        <p:txBody>
          <a:bodyPr lIns="144000" tIns="144000" rIns="144000" bIns="0"/>
          <a:lstStyle/>
          <a:p>
            <a:pPr lvl="2"/>
            <a:r>
              <a:rPr lang="de-DE" dirty="0"/>
              <a:t>Zwischenüberschrift, Ebene 3</a:t>
            </a:r>
          </a:p>
          <a:p>
            <a:pPr lvl="1"/>
            <a:r>
              <a:rPr lang="de-DE" dirty="0"/>
              <a:t>Fließtext mit kleiner Schriftgröße für ausführliche Textbeschreibun-gen auf Listenebene Zwei, Verdana 14 pt. Ano sea takimata sanctus est Lorem ipsum dolor sit amet. Lorem ipsum dolor sit amet, consetetur sadipscing. </a:t>
            </a:r>
          </a:p>
          <a:p>
            <a:pPr lvl="1"/>
            <a:r>
              <a:rPr lang="de-DE" dirty="0"/>
              <a:t>Ased diam nonumy eirmod tempor invidunt ut labore et dolore magna aliquyam erat, sed diam voluptua. At vero eos et accusam et justo duo dolores et ea rebum.</a:t>
            </a:r>
          </a:p>
        </p:txBody>
      </p:sp>
      <p:sp>
        <p:nvSpPr>
          <p:cNvPr id="8" name="Textplatzhalter 7">
            <a:extLst>
              <a:ext uri="{FF2B5EF4-FFF2-40B4-BE49-F238E27FC236}">
                <a16:creationId xmlns:a16="http://schemas.microsoft.com/office/drawing/2014/main" id="{C939148C-C1B4-413C-83AC-D23685D78BED}"/>
              </a:ext>
            </a:extLst>
          </p:cNvPr>
          <p:cNvSpPr>
            <a:spLocks noGrp="1"/>
          </p:cNvSpPr>
          <p:nvPr>
            <p:ph sz="quarter" idx="23"/>
          </p:nvPr>
        </p:nvSpPr>
        <p:spPr bwMode="gray">
          <a:noFill/>
        </p:spPr>
        <p:txBody>
          <a:bodyPr lIns="144000" tIns="144000" rIns="144000" bIns="0"/>
          <a:lstStyle/>
          <a:p>
            <a:pPr lvl="2"/>
            <a:r>
              <a:rPr lang="de-DE" dirty="0"/>
              <a:t>Zwischenüberschrift, Ebene 3</a:t>
            </a:r>
          </a:p>
          <a:p>
            <a:pPr lvl="1"/>
            <a:r>
              <a:rPr lang="de-DE" dirty="0"/>
              <a:t>Fließtext mit kleiner Schriftgröße für ausführliche Textbeschreibungen auf Listenebene Zwei, Verdana 14 pt. Ano sea takimata sanctus est Lorem ipsum dolor sit amet. Lorem ipsum dolor sit amet, consetetur sadipscing. </a:t>
            </a:r>
          </a:p>
          <a:p>
            <a:pPr lvl="1"/>
            <a:r>
              <a:rPr lang="de-DE" dirty="0"/>
              <a:t>Ased diam nonumy eirmod tempor invidunt ut labore et dolore magna aliquyam erat, sed diam voluptua. At vero eos et accusam et justo duo dolores et ea rebum.</a:t>
            </a:r>
          </a:p>
        </p:txBody>
      </p:sp>
      <p:sp>
        <p:nvSpPr>
          <p:cNvPr id="2" name="Textplatzhalter 1">
            <a:extLst>
              <a:ext uri="{FF2B5EF4-FFF2-40B4-BE49-F238E27FC236}">
                <a16:creationId xmlns:a16="http://schemas.microsoft.com/office/drawing/2014/main" id="{D35E66D7-AD36-420B-BFE8-69AA63DE8C83}"/>
              </a:ext>
            </a:extLst>
          </p:cNvPr>
          <p:cNvSpPr>
            <a:spLocks noGrp="1"/>
          </p:cNvSpPr>
          <p:nvPr>
            <p:ph sz="quarter" idx="24"/>
          </p:nvPr>
        </p:nvSpPr>
        <p:spPr bwMode="gray">
          <a:noFill/>
        </p:spPr>
        <p:txBody>
          <a:bodyPr lIns="144000" tIns="144000" rIns="144000" bIns="0"/>
          <a:lstStyle/>
          <a:p>
            <a:pPr lvl="2"/>
            <a:r>
              <a:rPr lang="de-DE" dirty="0"/>
              <a:t>Zwischenüberschrift, Ebene 3</a:t>
            </a:r>
          </a:p>
          <a:p>
            <a:pPr lvl="1"/>
            <a:r>
              <a:rPr lang="de-DE" dirty="0"/>
              <a:t>Fließtext mit kleiner Schriftgröße für ausführliche Textbeschreibun-gen auf Listenebene Zwei, Verdana 14 pt. Ano sea takimata sanctus est Lorem ipsum dolor sit amet. Lorem ipsum dolor sit amet, consetetur sadipscing. </a:t>
            </a:r>
          </a:p>
          <a:p>
            <a:pPr lvl="1"/>
            <a:r>
              <a:rPr lang="de-DE" dirty="0"/>
              <a:t>Ased diam nonumy eirmod tempor invidunt ut labore et dolore magna aliquyam erat, sed diam voluptua. At vero eos et accusam et justo duo dolores et ea rebum.</a:t>
            </a:r>
          </a:p>
        </p:txBody>
      </p:sp>
    </p:spTree>
    <p:extLst>
      <p:ext uri="{BB962C8B-B14F-4D97-AF65-F5344CB8AC3E}">
        <p14:creationId xmlns:p14="http://schemas.microsoft.com/office/powerpoint/2010/main" val="121215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lumMod val="60000"/>
            <a:lumOff val="40000"/>
          </a:schemeClr>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8E6AD344-D317-455E-A49A-03CBAE1B7F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9" name="Objekt 8" hidden="1">
                        <a:extLst>
                          <a:ext uri="{FF2B5EF4-FFF2-40B4-BE49-F238E27FC236}">
                            <a16:creationId xmlns:a16="http://schemas.microsoft.com/office/drawing/2014/main" id="{8E6AD344-D317-455E-A49A-03CBAE1B7F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B488D24E-DE4C-4C70-AF1E-90FF502CDC4B}"/>
              </a:ext>
            </a:extLst>
          </p:cNvPr>
          <p:cNvSpPr>
            <a:spLocks noGrp="1"/>
          </p:cNvSpPr>
          <p:nvPr>
            <p:ph type="title"/>
          </p:nvPr>
        </p:nvSpPr>
        <p:spPr bwMode="gray"/>
        <p:txBody>
          <a:bodyPr vert="horz" lIns="144000"/>
          <a:lstStyle/>
          <a:p>
            <a:r>
              <a:rPr lang="de-DE" dirty="0">
                <a:solidFill>
                  <a:schemeClr val="bg1"/>
                </a:solidFill>
              </a:rPr>
              <a:t>ÜBERSCHRIFT 1</a:t>
            </a:r>
            <a:br>
              <a:rPr lang="de-DE" dirty="0">
                <a:solidFill>
                  <a:schemeClr val="bg1"/>
                </a:solidFill>
              </a:rPr>
            </a:br>
            <a:r>
              <a:rPr lang="de-DE" b="0" dirty="0">
                <a:solidFill>
                  <a:schemeClr val="bg1"/>
                </a:solidFill>
              </a:rPr>
              <a:t>zweite Zeile ungefettet (Manuell)</a:t>
            </a:r>
          </a:p>
        </p:txBody>
      </p:sp>
      <p:sp>
        <p:nvSpPr>
          <p:cNvPr id="14" name="Date Placeholder 13">
            <a:extLst>
              <a:ext uri="{FF2B5EF4-FFF2-40B4-BE49-F238E27FC236}">
                <a16:creationId xmlns:a16="http://schemas.microsoft.com/office/drawing/2014/main" id="{4C603B63-0204-4302-914C-06E82358D7FE}"/>
              </a:ext>
            </a:extLst>
          </p:cNvPr>
          <p:cNvSpPr>
            <a:spLocks noGrp="1"/>
          </p:cNvSpPr>
          <p:nvPr>
            <p:ph type="dt" sz="half" idx="19"/>
          </p:nvPr>
        </p:nvSpPr>
        <p:spPr bwMode="gray"/>
        <p:txBody>
          <a:bodyPr/>
          <a:lstStyle/>
          <a:p>
            <a:fld id="{4BC43B3C-3B55-46C7-8140-93BEB8AB218D}" type="datetime1">
              <a:rPr lang="de-DE" smtClean="0">
                <a:solidFill>
                  <a:schemeClr val="bg1"/>
                </a:solidFill>
              </a:rPr>
              <a:t>29.09.25</a:t>
            </a:fld>
            <a:endParaRPr lang="de-DE" dirty="0">
              <a:solidFill>
                <a:schemeClr val="bg1"/>
              </a:solidFill>
            </a:endParaRPr>
          </a:p>
        </p:txBody>
      </p:sp>
      <p:sp>
        <p:nvSpPr>
          <p:cNvPr id="3" name="Fußzeilenplatzhalter 2">
            <a:extLst>
              <a:ext uri="{FF2B5EF4-FFF2-40B4-BE49-F238E27FC236}">
                <a16:creationId xmlns:a16="http://schemas.microsoft.com/office/drawing/2014/main" id="{2FCC3E2D-9CBF-4BF4-99B8-DD3823E0623B}"/>
              </a:ext>
            </a:extLst>
          </p:cNvPr>
          <p:cNvSpPr>
            <a:spLocks noGrp="1"/>
          </p:cNvSpPr>
          <p:nvPr>
            <p:ph type="ftr" sz="quarter" idx="20"/>
          </p:nvPr>
        </p:nvSpPr>
        <p:spPr bwMode="gray"/>
        <p:txBody>
          <a:bodyPr/>
          <a:lstStyle/>
          <a:p>
            <a:r>
              <a:rPr lang="de-DE" dirty="0">
                <a:solidFill>
                  <a:schemeClr val="bg1"/>
                </a:solidFill>
              </a:rPr>
              <a:t>TITEL DER PRÄSENTATION | TITEL VORNAME NAME</a:t>
            </a:r>
          </a:p>
        </p:txBody>
      </p:sp>
      <p:sp>
        <p:nvSpPr>
          <p:cNvPr id="4" name="Foliennummernplatzhalter 3">
            <a:extLst>
              <a:ext uri="{FF2B5EF4-FFF2-40B4-BE49-F238E27FC236}">
                <a16:creationId xmlns:a16="http://schemas.microsoft.com/office/drawing/2014/main" id="{BDBD585B-BD52-4C42-ABE6-D3168C9347DF}"/>
              </a:ext>
            </a:extLst>
          </p:cNvPr>
          <p:cNvSpPr>
            <a:spLocks noGrp="1"/>
          </p:cNvSpPr>
          <p:nvPr>
            <p:ph type="sldNum" sz="quarter" idx="21"/>
          </p:nvPr>
        </p:nvSpPr>
        <p:spPr bwMode="gray"/>
        <p:txBody>
          <a:bodyPr/>
          <a:lstStyle/>
          <a:p>
            <a:fld id="{09E9C37E-8A19-4E30-BE2B-5A966AD23C7A}" type="slidenum">
              <a:rPr lang="de-DE" smtClean="0">
                <a:solidFill>
                  <a:schemeClr val="bg1"/>
                </a:solidFill>
              </a:rPr>
              <a:pPr/>
              <a:t>18</a:t>
            </a:fld>
            <a:endParaRPr lang="de-DE" dirty="0">
              <a:solidFill>
                <a:schemeClr val="bg1"/>
              </a:solidFill>
            </a:endParaRPr>
          </a:p>
        </p:txBody>
      </p:sp>
      <p:sp>
        <p:nvSpPr>
          <p:cNvPr id="7" name="Textplatzhalter 6">
            <a:extLst>
              <a:ext uri="{FF2B5EF4-FFF2-40B4-BE49-F238E27FC236}">
                <a16:creationId xmlns:a16="http://schemas.microsoft.com/office/drawing/2014/main" id="{C273FE87-6A12-4A35-8525-85399D3E97A6}"/>
              </a:ext>
            </a:extLst>
          </p:cNvPr>
          <p:cNvSpPr>
            <a:spLocks noGrp="1"/>
          </p:cNvSpPr>
          <p:nvPr>
            <p:ph sz="quarter" idx="22"/>
          </p:nvPr>
        </p:nvSpPr>
        <p:spPr bwMode="gray">
          <a:noFill/>
        </p:spPr>
        <p:txBody>
          <a:bodyPr lIns="144000" tIns="144000" rIns="144000" bIns="0"/>
          <a:lstStyle/>
          <a:p>
            <a:pPr lvl="2"/>
            <a:r>
              <a:rPr lang="de-DE" dirty="0">
                <a:solidFill>
                  <a:schemeClr val="bg1"/>
                </a:solidFill>
              </a:rPr>
              <a:t>Zwischenüberschrift, Ebene 3</a:t>
            </a:r>
          </a:p>
          <a:p>
            <a:pPr lvl="1"/>
            <a:r>
              <a:rPr lang="de-DE" dirty="0">
                <a:solidFill>
                  <a:schemeClr val="bg1"/>
                </a:solidFill>
              </a:rPr>
              <a:t>Fließtext mit kleiner Schriftgröße für ausführliche Textbeschreibun-gen auf Listenebene Zwei, Verdana 14 pt. Ano sea takimata sanctus est Lorem ipsum dolor sit amet. Lorem ipsum dolor sit amet, consetetur sadipscing. </a:t>
            </a:r>
          </a:p>
          <a:p>
            <a:pPr lvl="1"/>
            <a:r>
              <a:rPr lang="de-DE" dirty="0">
                <a:solidFill>
                  <a:schemeClr val="bg1"/>
                </a:solidFill>
              </a:rPr>
              <a:t>Ased diam nonumy eirmod tempor invidunt ut labore et dolore magna aliquyam erat, sed diam voluptua. At vero eos et accusam et justo duo dolores et ea rebum.</a:t>
            </a:r>
          </a:p>
        </p:txBody>
      </p:sp>
      <p:sp>
        <p:nvSpPr>
          <p:cNvPr id="8" name="Textplatzhalter 7">
            <a:extLst>
              <a:ext uri="{FF2B5EF4-FFF2-40B4-BE49-F238E27FC236}">
                <a16:creationId xmlns:a16="http://schemas.microsoft.com/office/drawing/2014/main" id="{C939148C-C1B4-413C-83AC-D23685D78BED}"/>
              </a:ext>
            </a:extLst>
          </p:cNvPr>
          <p:cNvSpPr>
            <a:spLocks noGrp="1"/>
          </p:cNvSpPr>
          <p:nvPr>
            <p:ph sz="quarter" idx="23"/>
          </p:nvPr>
        </p:nvSpPr>
        <p:spPr bwMode="gray">
          <a:noFill/>
        </p:spPr>
        <p:txBody>
          <a:bodyPr lIns="144000" tIns="144000" rIns="144000" bIns="0"/>
          <a:lstStyle/>
          <a:p>
            <a:pPr lvl="2"/>
            <a:r>
              <a:rPr lang="de-DE" dirty="0">
                <a:solidFill>
                  <a:schemeClr val="bg1"/>
                </a:solidFill>
              </a:rPr>
              <a:t>Zwischenüberschrift, Ebene 3</a:t>
            </a:r>
          </a:p>
          <a:p>
            <a:pPr lvl="1"/>
            <a:r>
              <a:rPr lang="de-DE" dirty="0">
                <a:solidFill>
                  <a:schemeClr val="bg1"/>
                </a:solidFill>
              </a:rPr>
              <a:t>Fließtext mit kleiner Schriftgröße für ausführliche Textbeschreibungen auf Listenebene Zwei, Verdana 14 pt. Ano sea takimata sanctus est Lorem ipsum dolor sit amet. Lorem ipsum dolor sit amet, consetetur sadipscing. </a:t>
            </a:r>
          </a:p>
          <a:p>
            <a:pPr lvl="1"/>
            <a:r>
              <a:rPr lang="de-DE" dirty="0">
                <a:solidFill>
                  <a:schemeClr val="bg1"/>
                </a:solidFill>
              </a:rPr>
              <a:t>Ased diam nonumy eirmod tempor invidunt ut labore et dolore magna aliquyam erat, sed diam voluptua. At vero eos et accusam et justo duo dolores et ea rebum.</a:t>
            </a:r>
          </a:p>
        </p:txBody>
      </p:sp>
      <p:sp>
        <p:nvSpPr>
          <p:cNvPr id="2" name="Textplatzhalter 1">
            <a:extLst>
              <a:ext uri="{FF2B5EF4-FFF2-40B4-BE49-F238E27FC236}">
                <a16:creationId xmlns:a16="http://schemas.microsoft.com/office/drawing/2014/main" id="{D35E66D7-AD36-420B-BFE8-69AA63DE8C83}"/>
              </a:ext>
            </a:extLst>
          </p:cNvPr>
          <p:cNvSpPr>
            <a:spLocks noGrp="1"/>
          </p:cNvSpPr>
          <p:nvPr>
            <p:ph sz="quarter" idx="24"/>
          </p:nvPr>
        </p:nvSpPr>
        <p:spPr bwMode="gray">
          <a:noFill/>
        </p:spPr>
        <p:txBody>
          <a:bodyPr lIns="144000" tIns="144000" rIns="144000" bIns="0"/>
          <a:lstStyle/>
          <a:p>
            <a:pPr lvl="2"/>
            <a:r>
              <a:rPr lang="de-DE" dirty="0">
                <a:solidFill>
                  <a:schemeClr val="bg1"/>
                </a:solidFill>
              </a:rPr>
              <a:t>Zwischenüberschrift, Ebene 3</a:t>
            </a:r>
          </a:p>
          <a:p>
            <a:pPr lvl="1"/>
            <a:r>
              <a:rPr lang="de-DE" dirty="0">
                <a:solidFill>
                  <a:schemeClr val="bg1"/>
                </a:solidFill>
              </a:rPr>
              <a:t>Fließtext mit kleiner Schriftgröße für ausführliche Textbeschreibun-gen auf Listenebene Zwei, Verdana 14 pt. Ano sea takimata sanctus est Lorem ipsum dolor sit amet. Lorem ipsum dolor sit amet, consetetur sadipscing. </a:t>
            </a:r>
          </a:p>
          <a:p>
            <a:pPr lvl="1"/>
            <a:r>
              <a:rPr lang="de-DE" dirty="0">
                <a:solidFill>
                  <a:schemeClr val="bg1"/>
                </a:solidFill>
              </a:rPr>
              <a:t>Ased diam nonumy eirmod tempor invidunt ut labore et dolore magna aliquyam erat, sed diam voluptua. At vero eos et accusam et justo duo dolores et ea rebum.</a:t>
            </a:r>
          </a:p>
        </p:txBody>
      </p:sp>
    </p:spTree>
    <p:extLst>
      <p:ext uri="{BB962C8B-B14F-4D97-AF65-F5344CB8AC3E}">
        <p14:creationId xmlns:p14="http://schemas.microsoft.com/office/powerpoint/2010/main" val="3275063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8E6AD344-D317-455E-A49A-03CBAE1B7F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9" name="Objekt 8" hidden="1">
                        <a:extLst>
                          <a:ext uri="{FF2B5EF4-FFF2-40B4-BE49-F238E27FC236}">
                            <a16:creationId xmlns:a16="http://schemas.microsoft.com/office/drawing/2014/main" id="{8E6AD344-D317-455E-A49A-03CBAE1B7F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B488D24E-DE4C-4C70-AF1E-90FF502CDC4B}"/>
              </a:ext>
            </a:extLst>
          </p:cNvPr>
          <p:cNvSpPr>
            <a:spLocks noGrp="1"/>
          </p:cNvSpPr>
          <p:nvPr>
            <p:ph type="title"/>
          </p:nvPr>
        </p:nvSpPr>
        <p:spPr bwMode="gray"/>
        <p:txBody>
          <a:bodyPr vert="horz" lIns="144000"/>
          <a:lstStyle/>
          <a:p>
            <a:r>
              <a:rPr lang="de-DE" dirty="0"/>
              <a:t>ÜBERSCHRIFT 1</a:t>
            </a:r>
            <a:br>
              <a:rPr lang="de-DE" dirty="0"/>
            </a:br>
            <a:r>
              <a:rPr lang="de-DE" b="0" dirty="0"/>
              <a:t>zweite Zeile ungefettet (Manuell)</a:t>
            </a:r>
          </a:p>
        </p:txBody>
      </p:sp>
      <p:sp>
        <p:nvSpPr>
          <p:cNvPr id="14" name="Date Placeholder 13">
            <a:extLst>
              <a:ext uri="{FF2B5EF4-FFF2-40B4-BE49-F238E27FC236}">
                <a16:creationId xmlns:a16="http://schemas.microsoft.com/office/drawing/2014/main" id="{4C603B63-0204-4302-914C-06E82358D7FE}"/>
              </a:ext>
            </a:extLst>
          </p:cNvPr>
          <p:cNvSpPr>
            <a:spLocks noGrp="1"/>
          </p:cNvSpPr>
          <p:nvPr>
            <p:ph type="dt" sz="half" idx="19"/>
          </p:nvPr>
        </p:nvSpPr>
        <p:spPr bwMode="gray"/>
        <p:txBody>
          <a:bodyPr/>
          <a:lstStyle/>
          <a:p>
            <a:fld id="{4BC43B3C-3B55-46C7-8140-93BEB8AB218D}" type="datetime1">
              <a:rPr lang="de-DE" smtClean="0">
                <a:solidFill>
                  <a:schemeClr val="bg1"/>
                </a:solidFill>
              </a:rPr>
              <a:t>29.09.25</a:t>
            </a:fld>
            <a:endParaRPr lang="de-DE" dirty="0">
              <a:solidFill>
                <a:schemeClr val="bg1"/>
              </a:solidFill>
            </a:endParaRPr>
          </a:p>
        </p:txBody>
      </p:sp>
      <p:sp>
        <p:nvSpPr>
          <p:cNvPr id="3" name="Fußzeilenplatzhalter 2">
            <a:extLst>
              <a:ext uri="{FF2B5EF4-FFF2-40B4-BE49-F238E27FC236}">
                <a16:creationId xmlns:a16="http://schemas.microsoft.com/office/drawing/2014/main" id="{2FCC3E2D-9CBF-4BF4-99B8-DD3823E0623B}"/>
              </a:ext>
            </a:extLst>
          </p:cNvPr>
          <p:cNvSpPr>
            <a:spLocks noGrp="1"/>
          </p:cNvSpPr>
          <p:nvPr>
            <p:ph type="ftr" sz="quarter" idx="20"/>
          </p:nvPr>
        </p:nvSpPr>
        <p:spPr bwMode="gray"/>
        <p:txBody>
          <a:bodyPr/>
          <a:lstStyle/>
          <a:p>
            <a:r>
              <a:rPr lang="de-DE" dirty="0">
                <a:solidFill>
                  <a:schemeClr val="bg1"/>
                </a:solidFill>
              </a:rPr>
              <a:t>TITEL DER PRÄSENTATION | TITEL VORNAME NAME</a:t>
            </a:r>
          </a:p>
        </p:txBody>
      </p:sp>
      <p:sp>
        <p:nvSpPr>
          <p:cNvPr id="4" name="Foliennummernplatzhalter 3">
            <a:extLst>
              <a:ext uri="{FF2B5EF4-FFF2-40B4-BE49-F238E27FC236}">
                <a16:creationId xmlns:a16="http://schemas.microsoft.com/office/drawing/2014/main" id="{BDBD585B-BD52-4C42-ABE6-D3168C9347DF}"/>
              </a:ext>
            </a:extLst>
          </p:cNvPr>
          <p:cNvSpPr>
            <a:spLocks noGrp="1"/>
          </p:cNvSpPr>
          <p:nvPr>
            <p:ph type="sldNum" sz="quarter" idx="21"/>
          </p:nvPr>
        </p:nvSpPr>
        <p:spPr bwMode="gray"/>
        <p:txBody>
          <a:bodyPr/>
          <a:lstStyle/>
          <a:p>
            <a:fld id="{09E9C37E-8A19-4E30-BE2B-5A966AD23C7A}" type="slidenum">
              <a:rPr lang="de-DE" smtClean="0">
                <a:solidFill>
                  <a:schemeClr val="bg1"/>
                </a:solidFill>
              </a:rPr>
              <a:pPr/>
              <a:t>19</a:t>
            </a:fld>
            <a:endParaRPr lang="de-DE" dirty="0">
              <a:solidFill>
                <a:schemeClr val="bg1"/>
              </a:solidFill>
            </a:endParaRPr>
          </a:p>
        </p:txBody>
      </p:sp>
      <p:sp>
        <p:nvSpPr>
          <p:cNvPr id="7" name="Textplatzhalter 6">
            <a:extLst>
              <a:ext uri="{FF2B5EF4-FFF2-40B4-BE49-F238E27FC236}">
                <a16:creationId xmlns:a16="http://schemas.microsoft.com/office/drawing/2014/main" id="{C273FE87-6A12-4A35-8525-85399D3E97A6}"/>
              </a:ext>
            </a:extLst>
          </p:cNvPr>
          <p:cNvSpPr>
            <a:spLocks noGrp="1"/>
          </p:cNvSpPr>
          <p:nvPr>
            <p:ph sz="quarter" idx="22"/>
          </p:nvPr>
        </p:nvSpPr>
        <p:spPr bwMode="gray">
          <a:noFill/>
        </p:spPr>
        <p:txBody>
          <a:bodyPr lIns="144000" tIns="144000" rIns="144000" bIns="0"/>
          <a:lstStyle/>
          <a:p>
            <a:pPr lvl="2"/>
            <a:r>
              <a:rPr lang="de-DE" dirty="0">
                <a:solidFill>
                  <a:schemeClr val="bg1"/>
                </a:solidFill>
              </a:rPr>
              <a:t>Zwischenüberschrift, Ebene 3</a:t>
            </a:r>
          </a:p>
          <a:p>
            <a:pPr lvl="1"/>
            <a:r>
              <a:rPr lang="de-DE" dirty="0">
                <a:solidFill>
                  <a:schemeClr val="bg1"/>
                </a:solidFill>
              </a:rPr>
              <a:t>Fließtext mit kleiner Schriftgröße für ausführliche Textbeschreibun-gen auf Listenebene Zwei, Verdana 14 pt. Ano sea takimata sanctus est Lorem ipsum dolor sit amet. Lorem ipsum dolor sit amet, consetetur sadipscing. </a:t>
            </a:r>
          </a:p>
          <a:p>
            <a:pPr lvl="1"/>
            <a:r>
              <a:rPr lang="de-DE" dirty="0">
                <a:solidFill>
                  <a:schemeClr val="bg1"/>
                </a:solidFill>
              </a:rPr>
              <a:t>Ased diam nonumy eirmod tempor invidunt ut labore et dolore magna aliquyam erat, sed diam voluptua. At vero eos et accusam et justo duo dolores et ea rebum.</a:t>
            </a:r>
          </a:p>
        </p:txBody>
      </p:sp>
      <p:sp>
        <p:nvSpPr>
          <p:cNvPr id="8" name="Textplatzhalter 7">
            <a:extLst>
              <a:ext uri="{FF2B5EF4-FFF2-40B4-BE49-F238E27FC236}">
                <a16:creationId xmlns:a16="http://schemas.microsoft.com/office/drawing/2014/main" id="{C939148C-C1B4-413C-83AC-D23685D78BED}"/>
              </a:ext>
            </a:extLst>
          </p:cNvPr>
          <p:cNvSpPr>
            <a:spLocks noGrp="1"/>
          </p:cNvSpPr>
          <p:nvPr>
            <p:ph sz="quarter" idx="23"/>
          </p:nvPr>
        </p:nvSpPr>
        <p:spPr bwMode="gray">
          <a:noFill/>
        </p:spPr>
        <p:txBody>
          <a:bodyPr lIns="144000" tIns="144000" rIns="144000" bIns="0"/>
          <a:lstStyle/>
          <a:p>
            <a:pPr lvl="2"/>
            <a:r>
              <a:rPr lang="de-DE" dirty="0">
                <a:solidFill>
                  <a:schemeClr val="bg1"/>
                </a:solidFill>
              </a:rPr>
              <a:t>Zwischenüberschrift, Ebene 3</a:t>
            </a:r>
          </a:p>
          <a:p>
            <a:pPr lvl="1"/>
            <a:r>
              <a:rPr lang="de-DE" dirty="0">
                <a:solidFill>
                  <a:schemeClr val="bg1"/>
                </a:solidFill>
              </a:rPr>
              <a:t>Fließtext mit kleiner Schriftgröße für ausführliche Textbeschreibungen auf Listenebene Zwei, Verdana 14 pt. Ano sea takimata sanctus est Lorem ipsum dolor sit amet. Lorem ipsum dolor sit amet, consetetur sadipscing. </a:t>
            </a:r>
          </a:p>
          <a:p>
            <a:pPr lvl="1"/>
            <a:r>
              <a:rPr lang="de-DE" dirty="0">
                <a:solidFill>
                  <a:schemeClr val="bg1"/>
                </a:solidFill>
              </a:rPr>
              <a:t>Ased diam nonumy eirmod tempor invidunt ut labore et dolore magna aliquyam erat, sed diam voluptua. At vero eos et accusam et justo duo dolores et ea rebum.</a:t>
            </a:r>
          </a:p>
        </p:txBody>
      </p:sp>
      <p:sp>
        <p:nvSpPr>
          <p:cNvPr id="2" name="Textplatzhalter 1">
            <a:extLst>
              <a:ext uri="{FF2B5EF4-FFF2-40B4-BE49-F238E27FC236}">
                <a16:creationId xmlns:a16="http://schemas.microsoft.com/office/drawing/2014/main" id="{D35E66D7-AD36-420B-BFE8-69AA63DE8C83}"/>
              </a:ext>
            </a:extLst>
          </p:cNvPr>
          <p:cNvSpPr>
            <a:spLocks noGrp="1"/>
          </p:cNvSpPr>
          <p:nvPr>
            <p:ph sz="quarter" idx="24"/>
          </p:nvPr>
        </p:nvSpPr>
        <p:spPr bwMode="gray">
          <a:noFill/>
        </p:spPr>
        <p:txBody>
          <a:bodyPr lIns="144000" tIns="144000" rIns="144000" bIns="0"/>
          <a:lstStyle/>
          <a:p>
            <a:pPr lvl="2"/>
            <a:r>
              <a:rPr lang="de-DE" dirty="0">
                <a:solidFill>
                  <a:schemeClr val="bg1"/>
                </a:solidFill>
              </a:rPr>
              <a:t>Zwischenüberschrift, Ebene 3</a:t>
            </a:r>
          </a:p>
          <a:p>
            <a:pPr lvl="1"/>
            <a:r>
              <a:rPr lang="de-DE" dirty="0">
                <a:solidFill>
                  <a:schemeClr val="bg1"/>
                </a:solidFill>
              </a:rPr>
              <a:t>Fließtext mit kleiner Schriftgröße für ausführliche Textbeschreibun-gen auf Listenebene Zwei, Verdana 14 pt. Ano sea takimata sanctus est Lorem ipsum dolor sit amet. Lorem ipsum dolor sit amet, consetetur sadipscing. </a:t>
            </a:r>
          </a:p>
          <a:p>
            <a:pPr lvl="1"/>
            <a:r>
              <a:rPr lang="de-DE" dirty="0">
                <a:solidFill>
                  <a:schemeClr val="bg1"/>
                </a:solidFill>
              </a:rPr>
              <a:t>Ased diam nonumy eirmod tempor invidunt ut labore et dolore magna aliquyam erat, sed diam voluptua. At vero eos et accusam et justo duo dolores et ea rebum.</a:t>
            </a:r>
          </a:p>
        </p:txBody>
      </p:sp>
    </p:spTree>
    <p:extLst>
      <p:ext uri="{BB962C8B-B14F-4D97-AF65-F5344CB8AC3E}">
        <p14:creationId xmlns:p14="http://schemas.microsoft.com/office/powerpoint/2010/main" val="1148044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294BD54-8D3E-4A5A-9FA1-84F1560EC153}"/>
              </a:ext>
            </a:extLst>
          </p:cNvPr>
          <p:cNvGraphicFramePr>
            <a:graphicFrameLocks noChangeAspect="1"/>
          </p:cNvGraphicFramePr>
          <p:nvPr>
            <p:custDataLst>
              <p:tags r:id="rId1"/>
            </p:custDataLst>
            <p:extLst>
              <p:ext uri="{D42A27DB-BD31-4B8C-83A1-F6EECF244321}">
                <p14:modId xmlns:p14="http://schemas.microsoft.com/office/powerpoint/2010/main" val="13932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Bildplatzhalter 6">
            <a:extLst>
              <a:ext uri="{FF2B5EF4-FFF2-40B4-BE49-F238E27FC236}">
                <a16:creationId xmlns:a16="http://schemas.microsoft.com/office/drawing/2014/main" id="{9F068320-72AB-49DD-A336-8C0996C4B864}"/>
              </a:ext>
            </a:extLst>
          </p:cNvPr>
          <p:cNvPicPr>
            <a:picLocks noGrp="1" noChangeAspect="1"/>
          </p:cNvPicPr>
          <p:nvPr>
            <p:ph type="pic" sz="quarter" idx="13"/>
          </p:nvPr>
        </p:nvPicPr>
        <p:blipFill>
          <a:blip r:embed="rId5" cstate="screen">
            <a:extLst>
              <a:ext uri="{28A0092B-C50C-407E-A947-70E740481C1C}">
                <a14:useLocalDpi xmlns:a14="http://schemas.microsoft.com/office/drawing/2010/main"/>
              </a:ext>
            </a:extLst>
          </a:blip>
          <a:srcRect t="7823" b="7823"/>
          <a:stretch/>
        </p:blipFill>
        <p:spPr bwMode="gray"/>
      </p:pic>
      <p:sp>
        <p:nvSpPr>
          <p:cNvPr id="5" name="Untertitel 4">
            <a:extLst>
              <a:ext uri="{FF2B5EF4-FFF2-40B4-BE49-F238E27FC236}">
                <a16:creationId xmlns:a16="http://schemas.microsoft.com/office/drawing/2014/main" id="{D1396377-B6ED-427D-98BA-D1744163F334}"/>
              </a:ext>
            </a:extLst>
          </p:cNvPr>
          <p:cNvSpPr>
            <a:spLocks noGrp="1"/>
          </p:cNvSpPr>
          <p:nvPr>
            <p:ph type="subTitle" idx="1"/>
          </p:nvPr>
        </p:nvSpPr>
        <p:spPr bwMode="gray"/>
        <p:txBody>
          <a:bodyPr/>
          <a:lstStyle/>
          <a:p>
            <a:r>
              <a:rPr lang="de-DE" dirty="0">
                <a:solidFill>
                  <a:schemeClr val="bg1"/>
                </a:solidFill>
              </a:rPr>
              <a:t>Optionale Kopfzeile über </a:t>
            </a:r>
            <a:br>
              <a:rPr lang="de-DE" dirty="0">
                <a:solidFill>
                  <a:schemeClr val="bg1"/>
                </a:solidFill>
              </a:rPr>
            </a:br>
            <a:r>
              <a:rPr lang="de-DE" dirty="0">
                <a:solidFill>
                  <a:schemeClr val="bg1"/>
                </a:solidFill>
              </a:rPr>
              <a:t>zwei Zeilen maximal</a:t>
            </a:r>
          </a:p>
        </p:txBody>
      </p:sp>
      <p:sp>
        <p:nvSpPr>
          <p:cNvPr id="7" name="Fußzeilenplatzhalter 6">
            <a:extLst>
              <a:ext uri="{FF2B5EF4-FFF2-40B4-BE49-F238E27FC236}">
                <a16:creationId xmlns:a16="http://schemas.microsoft.com/office/drawing/2014/main" id="{1AFCE673-F66C-4500-85F5-57C26007F7BA}"/>
              </a:ext>
            </a:extLst>
          </p:cNvPr>
          <p:cNvSpPr>
            <a:spLocks noGrp="1"/>
          </p:cNvSpPr>
          <p:nvPr>
            <p:ph type="ftr" sz="quarter" idx="18"/>
          </p:nvPr>
        </p:nvSpPr>
        <p:spPr bwMode="gray"/>
        <p:txBody>
          <a:bodyPr/>
          <a:lstStyle/>
          <a:p>
            <a:r>
              <a:rPr lang="de-DE" dirty="0">
                <a:solidFill>
                  <a:schemeClr val="bg1"/>
                </a:solidFill>
              </a:rPr>
              <a:t>TITEL DER PRÄSENTATION | TITEL VORNAME NAME</a:t>
            </a:r>
          </a:p>
        </p:txBody>
      </p:sp>
      <p:sp>
        <p:nvSpPr>
          <p:cNvPr id="2" name="Textplatzhalter 1">
            <a:extLst>
              <a:ext uri="{FF2B5EF4-FFF2-40B4-BE49-F238E27FC236}">
                <a16:creationId xmlns:a16="http://schemas.microsoft.com/office/drawing/2014/main" id="{4BC55D29-9844-4EDD-8338-22FDBA1DA1AD}"/>
              </a:ext>
            </a:extLst>
          </p:cNvPr>
          <p:cNvSpPr>
            <a:spLocks noGrp="1"/>
          </p:cNvSpPr>
          <p:nvPr>
            <p:ph type="body" sz="quarter" idx="14"/>
          </p:nvPr>
        </p:nvSpPr>
        <p:spPr bwMode="gray">
          <a:xfrm>
            <a:off x="0" y="3966324"/>
            <a:ext cx="4282441" cy="514738"/>
          </a:xfrm>
          <a:solidFill>
            <a:schemeClr val="tx2"/>
          </a:solidFill>
        </p:spPr>
        <p:txBody>
          <a:bodyPr/>
          <a:lstStyle/>
          <a:p>
            <a:r>
              <a:rPr lang="de-DE" dirty="0"/>
              <a:t>dann der Zweiten,</a:t>
            </a:r>
          </a:p>
        </p:txBody>
      </p:sp>
      <p:sp>
        <p:nvSpPr>
          <p:cNvPr id="4" name="Textplatzhalter 3">
            <a:extLst>
              <a:ext uri="{FF2B5EF4-FFF2-40B4-BE49-F238E27FC236}">
                <a16:creationId xmlns:a16="http://schemas.microsoft.com/office/drawing/2014/main" id="{8398F7AA-EA1D-49F6-BE34-24CB8EFD562A}"/>
              </a:ext>
            </a:extLst>
          </p:cNvPr>
          <p:cNvSpPr>
            <a:spLocks noGrp="1"/>
          </p:cNvSpPr>
          <p:nvPr>
            <p:ph type="body" sz="quarter" idx="15"/>
          </p:nvPr>
        </p:nvSpPr>
        <p:spPr bwMode="gray">
          <a:xfrm>
            <a:off x="0" y="5129962"/>
            <a:ext cx="2535168" cy="268517"/>
          </a:xfrm>
          <a:solidFill>
            <a:schemeClr val="tx2"/>
          </a:solidFill>
        </p:spPr>
        <p:txBody>
          <a:bodyPr/>
          <a:lstStyle/>
          <a:p>
            <a:r>
              <a:rPr lang="de-DE" dirty="0"/>
              <a:t>DATUM | ORT | STUDIENGANG ETC. </a:t>
            </a:r>
          </a:p>
        </p:txBody>
      </p:sp>
      <p:sp>
        <p:nvSpPr>
          <p:cNvPr id="6" name="Titel 5">
            <a:extLst>
              <a:ext uri="{FF2B5EF4-FFF2-40B4-BE49-F238E27FC236}">
                <a16:creationId xmlns:a16="http://schemas.microsoft.com/office/drawing/2014/main" id="{8CDD7727-5365-4C77-8E71-5BECC1A69642}"/>
              </a:ext>
            </a:extLst>
          </p:cNvPr>
          <p:cNvSpPr>
            <a:spLocks noGrp="1"/>
          </p:cNvSpPr>
          <p:nvPr>
            <p:ph type="ctrTitle"/>
          </p:nvPr>
        </p:nvSpPr>
        <p:spPr bwMode="gray">
          <a:xfrm>
            <a:off x="0" y="3401174"/>
            <a:ext cx="4925246" cy="514738"/>
          </a:xfrm>
          <a:solidFill>
            <a:schemeClr val="tx2"/>
          </a:solidFill>
        </p:spPr>
        <p:txBody>
          <a:bodyPr vert="horz"/>
          <a:lstStyle/>
          <a:p>
            <a:r>
              <a:rPr lang="de-DE" dirty="0"/>
              <a:t>Titel mit erster Zeile</a:t>
            </a:r>
          </a:p>
        </p:txBody>
      </p:sp>
      <p:sp>
        <p:nvSpPr>
          <p:cNvPr id="3" name="Textplatzhalter 2">
            <a:extLst>
              <a:ext uri="{FF2B5EF4-FFF2-40B4-BE49-F238E27FC236}">
                <a16:creationId xmlns:a16="http://schemas.microsoft.com/office/drawing/2014/main" id="{43D7B6F7-E142-4312-B3FE-72C36A94A69A}"/>
              </a:ext>
            </a:extLst>
          </p:cNvPr>
          <p:cNvSpPr>
            <a:spLocks noGrp="1"/>
          </p:cNvSpPr>
          <p:nvPr>
            <p:ph type="body" sz="quarter" idx="16"/>
          </p:nvPr>
        </p:nvSpPr>
        <p:spPr bwMode="gray">
          <a:xfrm>
            <a:off x="0" y="4542587"/>
            <a:ext cx="4086875" cy="514738"/>
          </a:xfrm>
          <a:solidFill>
            <a:schemeClr val="tx2"/>
          </a:solidFill>
        </p:spPr>
        <p:txBody>
          <a:bodyPr/>
          <a:lstStyle/>
          <a:p>
            <a:r>
              <a:rPr lang="de-DE" dirty="0"/>
              <a:t>der Dritten Zeile</a:t>
            </a:r>
          </a:p>
        </p:txBody>
      </p:sp>
    </p:spTree>
    <p:extLst>
      <p:ext uri="{BB962C8B-B14F-4D97-AF65-F5344CB8AC3E}">
        <p14:creationId xmlns:p14="http://schemas.microsoft.com/office/powerpoint/2010/main" val="316908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443EEE5-989C-44B2-A03F-0A07BC25E2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5" name="Objekt 4" hidden="1">
                        <a:extLst>
                          <a:ext uri="{FF2B5EF4-FFF2-40B4-BE49-F238E27FC236}">
                            <a16:creationId xmlns:a16="http://schemas.microsoft.com/office/drawing/2014/main" id="{B443EEE5-989C-44B2-A03F-0A07BC25E2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B488D24E-DE4C-4C70-AF1E-90FF502CDC4B}"/>
              </a:ext>
            </a:extLst>
          </p:cNvPr>
          <p:cNvSpPr>
            <a:spLocks noGrp="1"/>
          </p:cNvSpPr>
          <p:nvPr>
            <p:ph type="title"/>
          </p:nvPr>
        </p:nvSpPr>
        <p:spPr bwMode="gray"/>
        <p:txBody>
          <a:bodyPr vert="horz"/>
          <a:lstStyle/>
          <a:p>
            <a:r>
              <a:rPr lang="de-DE" dirty="0"/>
              <a:t>ÜBERSCHRIFT 1</a:t>
            </a:r>
            <a:br>
              <a:rPr lang="de-DE" dirty="0"/>
            </a:br>
            <a:r>
              <a:rPr lang="de-DE" b="0" dirty="0"/>
              <a:t>zweite Zeile ungefettet (Manuell)</a:t>
            </a:r>
          </a:p>
        </p:txBody>
      </p:sp>
      <p:sp>
        <p:nvSpPr>
          <p:cNvPr id="14" name="Date Placeholder 13">
            <a:extLst>
              <a:ext uri="{FF2B5EF4-FFF2-40B4-BE49-F238E27FC236}">
                <a16:creationId xmlns:a16="http://schemas.microsoft.com/office/drawing/2014/main" id="{4C603B63-0204-4302-914C-06E82358D7FE}"/>
              </a:ext>
            </a:extLst>
          </p:cNvPr>
          <p:cNvSpPr>
            <a:spLocks noGrp="1"/>
          </p:cNvSpPr>
          <p:nvPr>
            <p:ph type="dt" sz="half" idx="19"/>
          </p:nvPr>
        </p:nvSpPr>
        <p:spPr bwMode="gray"/>
        <p:txBody>
          <a:bodyPr/>
          <a:lstStyle/>
          <a:p>
            <a:fld id="{3518DD14-9A4D-4F3C-B9DE-98491EF0DE38}" type="datetime1">
              <a:rPr lang="de-DE" smtClean="0"/>
              <a:t>29.09.25</a:t>
            </a:fld>
            <a:endParaRPr lang="de-DE" dirty="0"/>
          </a:p>
        </p:txBody>
      </p:sp>
      <p:sp>
        <p:nvSpPr>
          <p:cNvPr id="3" name="Fußzeilenplatzhalter 2">
            <a:extLst>
              <a:ext uri="{FF2B5EF4-FFF2-40B4-BE49-F238E27FC236}">
                <a16:creationId xmlns:a16="http://schemas.microsoft.com/office/drawing/2014/main" id="{2FCC3E2D-9CBF-4BF4-99B8-DD3823E0623B}"/>
              </a:ext>
            </a:extLst>
          </p:cNvPr>
          <p:cNvSpPr>
            <a:spLocks noGrp="1"/>
          </p:cNvSpPr>
          <p:nvPr>
            <p:ph type="ftr" sz="quarter" idx="20"/>
          </p:nvPr>
        </p:nvSpPr>
        <p:spPr bwMode="gray"/>
        <p:txBody>
          <a:bodyPr/>
          <a:lstStyle/>
          <a:p>
            <a:r>
              <a:rPr lang="de-DE" dirty="0"/>
              <a:t>TITEL DER PRÄSENTATION | TITEL VORNAME NAME</a:t>
            </a:r>
          </a:p>
        </p:txBody>
      </p:sp>
      <p:sp>
        <p:nvSpPr>
          <p:cNvPr id="4" name="Foliennummernplatzhalter 3">
            <a:extLst>
              <a:ext uri="{FF2B5EF4-FFF2-40B4-BE49-F238E27FC236}">
                <a16:creationId xmlns:a16="http://schemas.microsoft.com/office/drawing/2014/main" id="{BDBD585B-BD52-4C42-ABE6-D3168C9347DF}"/>
              </a:ext>
            </a:extLst>
          </p:cNvPr>
          <p:cNvSpPr>
            <a:spLocks noGrp="1"/>
          </p:cNvSpPr>
          <p:nvPr>
            <p:ph type="sldNum" sz="quarter" idx="21"/>
          </p:nvPr>
        </p:nvSpPr>
        <p:spPr bwMode="gray"/>
        <p:txBody>
          <a:bodyPr/>
          <a:lstStyle/>
          <a:p>
            <a:fld id="{09E9C37E-8A19-4E30-BE2B-5A966AD23C7A}" type="slidenum">
              <a:rPr lang="de-DE" smtClean="0"/>
              <a:pPr/>
              <a:t>20</a:t>
            </a:fld>
            <a:endParaRPr lang="de-DE" dirty="0"/>
          </a:p>
        </p:txBody>
      </p:sp>
      <p:sp>
        <p:nvSpPr>
          <p:cNvPr id="7" name="Textplatzhalter 6">
            <a:extLst>
              <a:ext uri="{FF2B5EF4-FFF2-40B4-BE49-F238E27FC236}">
                <a16:creationId xmlns:a16="http://schemas.microsoft.com/office/drawing/2014/main" id="{C273FE87-6A12-4A35-8525-85399D3E97A6}"/>
              </a:ext>
            </a:extLst>
          </p:cNvPr>
          <p:cNvSpPr>
            <a:spLocks noGrp="1"/>
          </p:cNvSpPr>
          <p:nvPr>
            <p:ph sz="quarter" idx="22"/>
          </p:nvPr>
        </p:nvSpPr>
        <p:spPr bwMode="gray">
          <a:noFill/>
        </p:spPr>
        <p:txBody>
          <a:bodyPr/>
          <a:lstStyle/>
          <a:p>
            <a:pPr lvl="2"/>
            <a:r>
              <a:rPr lang="de-DE" dirty="0"/>
              <a:t>Zwischenüberschrift, Ebene 3</a:t>
            </a:r>
          </a:p>
          <a:p>
            <a:pPr lvl="1"/>
            <a:r>
              <a:rPr lang="de-DE" dirty="0"/>
              <a:t>Fließtext mit kleiner Schriftgröße für ausführliche Textbeschreibun-gen auf Listenebene Zwei, Verdana 14 pt. Ano sea takimata sanctus est Lorem ipsum dolor sit amet. Lorem ipsum dolor sit amet, consetetur sadipscing. </a:t>
            </a:r>
          </a:p>
          <a:p>
            <a:pPr lvl="1"/>
            <a:r>
              <a:rPr lang="de-DE" dirty="0"/>
              <a:t>Ased diam nonumy eirmod tempor invidunt ut labore et dolore magna aliquyam erat, sed diam voluptua. At vero eos et accusam et justo duo dolores et ea rebum.</a:t>
            </a:r>
          </a:p>
        </p:txBody>
      </p:sp>
      <p:sp>
        <p:nvSpPr>
          <p:cNvPr id="8" name="Textplatzhalter 7">
            <a:extLst>
              <a:ext uri="{FF2B5EF4-FFF2-40B4-BE49-F238E27FC236}">
                <a16:creationId xmlns:a16="http://schemas.microsoft.com/office/drawing/2014/main" id="{C939148C-C1B4-413C-83AC-D23685D78BED}"/>
              </a:ext>
            </a:extLst>
          </p:cNvPr>
          <p:cNvSpPr>
            <a:spLocks noGrp="1"/>
          </p:cNvSpPr>
          <p:nvPr>
            <p:ph sz="quarter" idx="23"/>
          </p:nvPr>
        </p:nvSpPr>
        <p:spPr bwMode="gray"/>
        <p:txBody>
          <a:bodyPr/>
          <a:lstStyle/>
          <a:p>
            <a:pPr lvl="2"/>
            <a:r>
              <a:rPr lang="de-DE" dirty="0"/>
              <a:t>Zwischenüberschrift, Ebene 3</a:t>
            </a:r>
          </a:p>
          <a:p>
            <a:pPr lvl="1"/>
            <a:r>
              <a:rPr lang="de-DE" dirty="0"/>
              <a:t>Fließtext mit kleiner Schriftgröße für ausführliche Textbeschreibun-gen auf Listenebene Zwei, Verdana 14 pt. Ano sea takimata sanctus est Lorem ipsum dolor sit amet. Lorem ipsum dolor sit amet, consetetur sadipscing. </a:t>
            </a:r>
          </a:p>
          <a:p>
            <a:pPr lvl="1"/>
            <a:r>
              <a:rPr lang="de-DE" dirty="0"/>
              <a:t>Ased diam nonumy eirmod tempor invidunt ut labore et dolore magna aliquyam erat, sed diam voluptua. At vero eos et accusam et justo duo dolores et ea rebum.</a:t>
            </a:r>
          </a:p>
        </p:txBody>
      </p:sp>
      <p:graphicFrame>
        <p:nvGraphicFramePr>
          <p:cNvPr id="16" name="Diagramm 10">
            <a:extLst>
              <a:ext uri="{FF2B5EF4-FFF2-40B4-BE49-F238E27FC236}">
                <a16:creationId xmlns:a16="http://schemas.microsoft.com/office/drawing/2014/main" id="{444250E3-EC76-4090-935B-65214A8F45CC}"/>
              </a:ext>
            </a:extLst>
          </p:cNvPr>
          <p:cNvGraphicFramePr>
            <a:graphicFrameLocks noGrp="1"/>
          </p:cNvGraphicFramePr>
          <p:nvPr>
            <p:ph sz="quarter" idx="24"/>
          </p:nvPr>
        </p:nvGraphicFramePr>
        <p:xfrm>
          <a:off x="8040688" y="1989138"/>
          <a:ext cx="3527425" cy="374332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3785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443EEE5-989C-44B2-A03F-0A07BC25E2BC}"/>
              </a:ext>
            </a:extLst>
          </p:cNvPr>
          <p:cNvGraphicFramePr>
            <a:graphicFrameLocks noChangeAspect="1"/>
          </p:cNvGraphicFramePr>
          <p:nvPr>
            <p:custDataLst>
              <p:tags r:id="rId1"/>
            </p:custDataLst>
            <p:extLst>
              <p:ext uri="{D42A27DB-BD31-4B8C-83A1-F6EECF244321}">
                <p14:modId xmlns:p14="http://schemas.microsoft.com/office/powerpoint/2010/main" val="2593733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B488D24E-DE4C-4C70-AF1E-90FF502CDC4B}"/>
              </a:ext>
            </a:extLst>
          </p:cNvPr>
          <p:cNvSpPr>
            <a:spLocks noGrp="1"/>
          </p:cNvSpPr>
          <p:nvPr>
            <p:ph type="title"/>
          </p:nvPr>
        </p:nvSpPr>
        <p:spPr bwMode="gray"/>
        <p:txBody>
          <a:bodyPr vert="horz"/>
          <a:lstStyle/>
          <a:p>
            <a:r>
              <a:rPr lang="de-DE" dirty="0"/>
              <a:t>ÜBERSCHRIFT 1</a:t>
            </a:r>
            <a:br>
              <a:rPr lang="de-DE" dirty="0"/>
            </a:br>
            <a:r>
              <a:rPr lang="de-DE" b="0" dirty="0"/>
              <a:t>zweite Zeile ungefettet (Manuell)</a:t>
            </a:r>
          </a:p>
        </p:txBody>
      </p:sp>
      <p:sp>
        <p:nvSpPr>
          <p:cNvPr id="14" name="Date Placeholder 13">
            <a:extLst>
              <a:ext uri="{FF2B5EF4-FFF2-40B4-BE49-F238E27FC236}">
                <a16:creationId xmlns:a16="http://schemas.microsoft.com/office/drawing/2014/main" id="{4C603B63-0204-4302-914C-06E82358D7FE}"/>
              </a:ext>
            </a:extLst>
          </p:cNvPr>
          <p:cNvSpPr>
            <a:spLocks noGrp="1"/>
          </p:cNvSpPr>
          <p:nvPr>
            <p:ph type="dt" sz="half" idx="19"/>
          </p:nvPr>
        </p:nvSpPr>
        <p:spPr bwMode="gray"/>
        <p:txBody>
          <a:bodyPr/>
          <a:lstStyle/>
          <a:p>
            <a:fld id="{3518DD14-9A4D-4F3C-B9DE-98491EF0DE38}" type="datetime1">
              <a:rPr lang="de-DE" smtClean="0"/>
              <a:t>29.09.25</a:t>
            </a:fld>
            <a:endParaRPr lang="de-DE" dirty="0"/>
          </a:p>
        </p:txBody>
      </p:sp>
      <p:sp>
        <p:nvSpPr>
          <p:cNvPr id="3" name="Fußzeilenplatzhalter 2">
            <a:extLst>
              <a:ext uri="{FF2B5EF4-FFF2-40B4-BE49-F238E27FC236}">
                <a16:creationId xmlns:a16="http://schemas.microsoft.com/office/drawing/2014/main" id="{2FCC3E2D-9CBF-4BF4-99B8-DD3823E0623B}"/>
              </a:ext>
            </a:extLst>
          </p:cNvPr>
          <p:cNvSpPr>
            <a:spLocks noGrp="1"/>
          </p:cNvSpPr>
          <p:nvPr>
            <p:ph type="ftr" sz="quarter" idx="20"/>
          </p:nvPr>
        </p:nvSpPr>
        <p:spPr bwMode="gray"/>
        <p:txBody>
          <a:bodyPr/>
          <a:lstStyle/>
          <a:p>
            <a:r>
              <a:rPr lang="de-DE" dirty="0"/>
              <a:t>TITEL DER PRÄSENTATION | TITEL VORNAME NAME</a:t>
            </a:r>
          </a:p>
        </p:txBody>
      </p:sp>
      <p:sp>
        <p:nvSpPr>
          <p:cNvPr id="4" name="Foliennummernplatzhalter 3">
            <a:extLst>
              <a:ext uri="{FF2B5EF4-FFF2-40B4-BE49-F238E27FC236}">
                <a16:creationId xmlns:a16="http://schemas.microsoft.com/office/drawing/2014/main" id="{BDBD585B-BD52-4C42-ABE6-D3168C9347DF}"/>
              </a:ext>
            </a:extLst>
          </p:cNvPr>
          <p:cNvSpPr>
            <a:spLocks noGrp="1"/>
          </p:cNvSpPr>
          <p:nvPr>
            <p:ph type="sldNum" sz="quarter" idx="21"/>
          </p:nvPr>
        </p:nvSpPr>
        <p:spPr bwMode="gray"/>
        <p:txBody>
          <a:bodyPr/>
          <a:lstStyle/>
          <a:p>
            <a:fld id="{09E9C37E-8A19-4E30-BE2B-5A966AD23C7A}" type="slidenum">
              <a:rPr lang="de-DE" smtClean="0"/>
              <a:pPr/>
              <a:t>21</a:t>
            </a:fld>
            <a:endParaRPr lang="de-DE" dirty="0"/>
          </a:p>
        </p:txBody>
      </p:sp>
      <p:sp>
        <p:nvSpPr>
          <p:cNvPr id="7" name="Textplatzhalter 6">
            <a:extLst>
              <a:ext uri="{FF2B5EF4-FFF2-40B4-BE49-F238E27FC236}">
                <a16:creationId xmlns:a16="http://schemas.microsoft.com/office/drawing/2014/main" id="{C273FE87-6A12-4A35-8525-85399D3E97A6}"/>
              </a:ext>
            </a:extLst>
          </p:cNvPr>
          <p:cNvSpPr>
            <a:spLocks noGrp="1"/>
          </p:cNvSpPr>
          <p:nvPr>
            <p:ph sz="quarter" idx="22"/>
          </p:nvPr>
        </p:nvSpPr>
        <p:spPr bwMode="gray">
          <a:solidFill>
            <a:schemeClr val="tx2"/>
          </a:solidFill>
        </p:spPr>
        <p:txBody>
          <a:bodyPr/>
          <a:lstStyle/>
          <a:p>
            <a:pPr lvl="2"/>
            <a:r>
              <a:rPr lang="de-DE" dirty="0">
                <a:solidFill>
                  <a:schemeClr val="bg1"/>
                </a:solidFill>
              </a:rPr>
              <a:t>Zwischenüberschrift, Ebene 3</a:t>
            </a:r>
          </a:p>
          <a:p>
            <a:pPr lvl="1"/>
            <a:r>
              <a:rPr lang="de-DE" dirty="0">
                <a:solidFill>
                  <a:schemeClr val="bg1"/>
                </a:solidFill>
              </a:rPr>
              <a:t>Fließtext mit kleiner Schriftgröße für ausführliche Textbeschreibun-gen auf Listenebene Zwei, Verdana 14 pt. Ano sea takimata sanctus est Lorem ipsum dolor sit amet. Lorem ipsum dolor sit amet, consetetur sadipscing. </a:t>
            </a:r>
          </a:p>
          <a:p>
            <a:pPr lvl="1"/>
            <a:r>
              <a:rPr lang="de-DE" dirty="0">
                <a:solidFill>
                  <a:schemeClr val="bg1"/>
                </a:solidFill>
              </a:rPr>
              <a:t>Ased diam nonumy eirmod tempor invidunt ut labore et dolore magna aliquyam erat, sed diam voluptua. At vero eos et accusam et justo duo dolores et ea rebum.</a:t>
            </a:r>
          </a:p>
        </p:txBody>
      </p:sp>
      <p:sp>
        <p:nvSpPr>
          <p:cNvPr id="8" name="Textplatzhalter 7">
            <a:extLst>
              <a:ext uri="{FF2B5EF4-FFF2-40B4-BE49-F238E27FC236}">
                <a16:creationId xmlns:a16="http://schemas.microsoft.com/office/drawing/2014/main" id="{C939148C-C1B4-413C-83AC-D23685D78BED}"/>
              </a:ext>
            </a:extLst>
          </p:cNvPr>
          <p:cNvSpPr>
            <a:spLocks noGrp="1"/>
          </p:cNvSpPr>
          <p:nvPr>
            <p:ph sz="quarter" idx="23"/>
          </p:nvPr>
        </p:nvSpPr>
        <p:spPr bwMode="gray"/>
        <p:txBody>
          <a:bodyPr/>
          <a:lstStyle/>
          <a:p>
            <a:pPr lvl="2"/>
            <a:r>
              <a:rPr lang="de-DE" dirty="0"/>
              <a:t>Zwischenüberschrift, Ebene 3</a:t>
            </a:r>
          </a:p>
          <a:p>
            <a:pPr lvl="1"/>
            <a:r>
              <a:rPr lang="de-DE" dirty="0"/>
              <a:t>Fließtext mit kleiner Schriftgröße für ausführliche Textbeschreibun-gen auf Listenebene Zwei, Verdana 14 pt. Ano sea takimata sanctus est Lorem ipsum dolor sit amet. Lorem ipsum dolor sit amet, consetetur sadipscing. </a:t>
            </a:r>
          </a:p>
          <a:p>
            <a:pPr lvl="1"/>
            <a:r>
              <a:rPr lang="de-DE" dirty="0"/>
              <a:t>Ased diam nonumy eirmod tempor invidunt ut labore et dolore magna aliquyam erat, sed diam voluptua. At vero eos et accusam et justo duo dolores et ea rebum.</a:t>
            </a:r>
          </a:p>
        </p:txBody>
      </p:sp>
      <p:graphicFrame>
        <p:nvGraphicFramePr>
          <p:cNvPr id="16" name="Diagramm 10">
            <a:extLst>
              <a:ext uri="{FF2B5EF4-FFF2-40B4-BE49-F238E27FC236}">
                <a16:creationId xmlns:a16="http://schemas.microsoft.com/office/drawing/2014/main" id="{444250E3-EC76-4090-935B-65214A8F45CC}"/>
              </a:ext>
            </a:extLst>
          </p:cNvPr>
          <p:cNvGraphicFramePr>
            <a:graphicFrameLocks noGrp="1"/>
          </p:cNvGraphicFramePr>
          <p:nvPr>
            <p:ph sz="quarter" idx="24"/>
            <p:extLst>
              <p:ext uri="{D42A27DB-BD31-4B8C-83A1-F6EECF244321}">
                <p14:modId xmlns:p14="http://schemas.microsoft.com/office/powerpoint/2010/main" val="3133191843"/>
              </p:ext>
            </p:extLst>
          </p:nvPr>
        </p:nvGraphicFramePr>
        <p:xfrm>
          <a:off x="8040688" y="1989138"/>
          <a:ext cx="3527425" cy="374332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36522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lumMod val="60000"/>
            <a:lumOff val="40000"/>
          </a:schemeClr>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443EEE5-989C-44B2-A03F-0A07BC25E2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5" name="Objekt 4" hidden="1">
                        <a:extLst>
                          <a:ext uri="{FF2B5EF4-FFF2-40B4-BE49-F238E27FC236}">
                            <a16:creationId xmlns:a16="http://schemas.microsoft.com/office/drawing/2014/main" id="{B443EEE5-989C-44B2-A03F-0A07BC25E2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B488D24E-DE4C-4C70-AF1E-90FF502CDC4B}"/>
              </a:ext>
            </a:extLst>
          </p:cNvPr>
          <p:cNvSpPr>
            <a:spLocks noGrp="1"/>
          </p:cNvSpPr>
          <p:nvPr>
            <p:ph type="title"/>
          </p:nvPr>
        </p:nvSpPr>
        <p:spPr bwMode="gray"/>
        <p:txBody>
          <a:bodyPr vert="horz"/>
          <a:lstStyle/>
          <a:p>
            <a:r>
              <a:rPr lang="de-DE" dirty="0">
                <a:solidFill>
                  <a:schemeClr val="bg1"/>
                </a:solidFill>
              </a:rPr>
              <a:t>ÜBERSCHRIFT 1</a:t>
            </a:r>
            <a:br>
              <a:rPr lang="de-DE" dirty="0">
                <a:solidFill>
                  <a:schemeClr val="bg1"/>
                </a:solidFill>
              </a:rPr>
            </a:br>
            <a:r>
              <a:rPr lang="de-DE" b="0" dirty="0">
                <a:solidFill>
                  <a:schemeClr val="bg1"/>
                </a:solidFill>
              </a:rPr>
              <a:t>zweite Zeile ungefettet (Manuell)</a:t>
            </a:r>
          </a:p>
        </p:txBody>
      </p:sp>
      <p:sp>
        <p:nvSpPr>
          <p:cNvPr id="14" name="Date Placeholder 13">
            <a:extLst>
              <a:ext uri="{FF2B5EF4-FFF2-40B4-BE49-F238E27FC236}">
                <a16:creationId xmlns:a16="http://schemas.microsoft.com/office/drawing/2014/main" id="{4C603B63-0204-4302-914C-06E82358D7FE}"/>
              </a:ext>
            </a:extLst>
          </p:cNvPr>
          <p:cNvSpPr>
            <a:spLocks noGrp="1"/>
          </p:cNvSpPr>
          <p:nvPr>
            <p:ph type="dt" sz="half" idx="19"/>
          </p:nvPr>
        </p:nvSpPr>
        <p:spPr bwMode="gray"/>
        <p:txBody>
          <a:bodyPr/>
          <a:lstStyle/>
          <a:p>
            <a:fld id="{3518DD14-9A4D-4F3C-B9DE-98491EF0DE38}" type="datetime1">
              <a:rPr lang="de-DE" smtClean="0">
                <a:solidFill>
                  <a:schemeClr val="bg1"/>
                </a:solidFill>
              </a:rPr>
              <a:t>29.09.25</a:t>
            </a:fld>
            <a:endParaRPr lang="de-DE" dirty="0">
              <a:solidFill>
                <a:schemeClr val="bg1"/>
              </a:solidFill>
            </a:endParaRPr>
          </a:p>
        </p:txBody>
      </p:sp>
      <p:sp>
        <p:nvSpPr>
          <p:cNvPr id="3" name="Fußzeilenplatzhalter 2">
            <a:extLst>
              <a:ext uri="{FF2B5EF4-FFF2-40B4-BE49-F238E27FC236}">
                <a16:creationId xmlns:a16="http://schemas.microsoft.com/office/drawing/2014/main" id="{2FCC3E2D-9CBF-4BF4-99B8-DD3823E0623B}"/>
              </a:ext>
            </a:extLst>
          </p:cNvPr>
          <p:cNvSpPr>
            <a:spLocks noGrp="1"/>
          </p:cNvSpPr>
          <p:nvPr>
            <p:ph type="ftr" sz="quarter" idx="20"/>
          </p:nvPr>
        </p:nvSpPr>
        <p:spPr bwMode="gray"/>
        <p:txBody>
          <a:bodyPr/>
          <a:lstStyle/>
          <a:p>
            <a:r>
              <a:rPr lang="de-DE" dirty="0">
                <a:solidFill>
                  <a:schemeClr val="bg1"/>
                </a:solidFill>
              </a:rPr>
              <a:t>TITEL DER PRÄSENTATION | TITEL VORNAME NAME</a:t>
            </a:r>
          </a:p>
        </p:txBody>
      </p:sp>
      <p:sp>
        <p:nvSpPr>
          <p:cNvPr id="4" name="Foliennummernplatzhalter 3">
            <a:extLst>
              <a:ext uri="{FF2B5EF4-FFF2-40B4-BE49-F238E27FC236}">
                <a16:creationId xmlns:a16="http://schemas.microsoft.com/office/drawing/2014/main" id="{BDBD585B-BD52-4C42-ABE6-D3168C9347DF}"/>
              </a:ext>
            </a:extLst>
          </p:cNvPr>
          <p:cNvSpPr>
            <a:spLocks noGrp="1"/>
          </p:cNvSpPr>
          <p:nvPr>
            <p:ph type="sldNum" sz="quarter" idx="21"/>
          </p:nvPr>
        </p:nvSpPr>
        <p:spPr bwMode="gray"/>
        <p:txBody>
          <a:bodyPr/>
          <a:lstStyle/>
          <a:p>
            <a:fld id="{09E9C37E-8A19-4E30-BE2B-5A966AD23C7A}" type="slidenum">
              <a:rPr lang="de-DE" smtClean="0">
                <a:solidFill>
                  <a:schemeClr val="bg1"/>
                </a:solidFill>
              </a:rPr>
              <a:pPr/>
              <a:t>22</a:t>
            </a:fld>
            <a:endParaRPr lang="de-DE" dirty="0">
              <a:solidFill>
                <a:schemeClr val="bg1"/>
              </a:solidFill>
            </a:endParaRPr>
          </a:p>
        </p:txBody>
      </p:sp>
      <p:sp>
        <p:nvSpPr>
          <p:cNvPr id="7" name="Textplatzhalter 6">
            <a:extLst>
              <a:ext uri="{FF2B5EF4-FFF2-40B4-BE49-F238E27FC236}">
                <a16:creationId xmlns:a16="http://schemas.microsoft.com/office/drawing/2014/main" id="{C273FE87-6A12-4A35-8525-85399D3E97A6}"/>
              </a:ext>
            </a:extLst>
          </p:cNvPr>
          <p:cNvSpPr>
            <a:spLocks noGrp="1"/>
          </p:cNvSpPr>
          <p:nvPr>
            <p:ph sz="quarter" idx="22"/>
          </p:nvPr>
        </p:nvSpPr>
        <p:spPr bwMode="gray"/>
        <p:txBody>
          <a:bodyPr/>
          <a:lstStyle/>
          <a:p>
            <a:pPr lvl="2"/>
            <a:r>
              <a:rPr lang="de-DE" dirty="0">
                <a:solidFill>
                  <a:schemeClr val="bg1"/>
                </a:solidFill>
              </a:rPr>
              <a:t>Zwischenüberschrift, Ebene 3</a:t>
            </a:r>
          </a:p>
          <a:p>
            <a:pPr lvl="1"/>
            <a:r>
              <a:rPr lang="de-DE" dirty="0">
                <a:solidFill>
                  <a:schemeClr val="bg1"/>
                </a:solidFill>
              </a:rPr>
              <a:t>Fließtext mit kleiner Schriftgröße für ausführliche Textbeschreibun-gen auf Listenebene Zwei, Verdana 14 pt. Ano sea takimata sanctus est Lorem ipsum dolor sit amet. Lorem ipsum dolor sit amet, consetetur sadipscing. </a:t>
            </a:r>
          </a:p>
          <a:p>
            <a:pPr lvl="1"/>
            <a:r>
              <a:rPr lang="de-DE" dirty="0">
                <a:solidFill>
                  <a:schemeClr val="bg1"/>
                </a:solidFill>
              </a:rPr>
              <a:t>Ased diam nonumy eirmod tempor invidunt ut labore et dolore magna aliquyam erat, sed diam voluptua. At vero eos et accusam et justo duo dolores et ea rebum.</a:t>
            </a:r>
          </a:p>
        </p:txBody>
      </p:sp>
      <p:sp>
        <p:nvSpPr>
          <p:cNvPr id="8" name="Textplatzhalter 7">
            <a:extLst>
              <a:ext uri="{FF2B5EF4-FFF2-40B4-BE49-F238E27FC236}">
                <a16:creationId xmlns:a16="http://schemas.microsoft.com/office/drawing/2014/main" id="{C939148C-C1B4-413C-83AC-D23685D78BED}"/>
              </a:ext>
            </a:extLst>
          </p:cNvPr>
          <p:cNvSpPr>
            <a:spLocks noGrp="1"/>
          </p:cNvSpPr>
          <p:nvPr>
            <p:ph sz="quarter" idx="23"/>
          </p:nvPr>
        </p:nvSpPr>
        <p:spPr bwMode="gray"/>
        <p:txBody>
          <a:bodyPr/>
          <a:lstStyle/>
          <a:p>
            <a:pPr lvl="2"/>
            <a:r>
              <a:rPr lang="de-DE" dirty="0">
                <a:solidFill>
                  <a:schemeClr val="bg1"/>
                </a:solidFill>
              </a:rPr>
              <a:t>Zwischenüberschrift, Ebene 3</a:t>
            </a:r>
          </a:p>
          <a:p>
            <a:pPr lvl="1"/>
            <a:r>
              <a:rPr lang="de-DE" dirty="0">
                <a:solidFill>
                  <a:schemeClr val="bg1"/>
                </a:solidFill>
              </a:rPr>
              <a:t>Fließtext mit kleiner Schriftgröße für ausführliche Textbeschreibun-gen auf Listenebene Zwei, Verdana 14 pt. Ano sea takimata sanctus est Lorem ipsum dolor sit amet. Lorem ipsum dolor sit amet, consetetur sadipscing. </a:t>
            </a:r>
          </a:p>
          <a:p>
            <a:pPr lvl="1"/>
            <a:r>
              <a:rPr lang="de-DE" dirty="0">
                <a:solidFill>
                  <a:schemeClr val="bg1"/>
                </a:solidFill>
              </a:rPr>
              <a:t>Ased diam nonumy eirmod tempor invidunt ut labore et dolore magna aliquyam erat, sed diam voluptua. At vero eos et accusam et justo duo dolores et ea rebum.</a:t>
            </a:r>
          </a:p>
        </p:txBody>
      </p:sp>
      <p:graphicFrame>
        <p:nvGraphicFramePr>
          <p:cNvPr id="16" name="Diagramm 10">
            <a:extLst>
              <a:ext uri="{FF2B5EF4-FFF2-40B4-BE49-F238E27FC236}">
                <a16:creationId xmlns:a16="http://schemas.microsoft.com/office/drawing/2014/main" id="{444250E3-EC76-4090-935B-65214A8F45CC}"/>
              </a:ext>
            </a:extLst>
          </p:cNvPr>
          <p:cNvGraphicFramePr>
            <a:graphicFrameLocks noGrp="1"/>
          </p:cNvGraphicFramePr>
          <p:nvPr>
            <p:ph sz="quarter" idx="24"/>
            <p:extLst>
              <p:ext uri="{D42A27DB-BD31-4B8C-83A1-F6EECF244321}">
                <p14:modId xmlns:p14="http://schemas.microsoft.com/office/powerpoint/2010/main" val="1748775056"/>
              </p:ext>
            </p:extLst>
          </p:nvPr>
        </p:nvGraphicFramePr>
        <p:xfrm>
          <a:off x="8040688" y="1989138"/>
          <a:ext cx="3527425" cy="374332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1290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443EEE5-989C-44B2-A03F-0A07BC25E2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5" name="Objekt 4" hidden="1">
                        <a:extLst>
                          <a:ext uri="{FF2B5EF4-FFF2-40B4-BE49-F238E27FC236}">
                            <a16:creationId xmlns:a16="http://schemas.microsoft.com/office/drawing/2014/main" id="{B443EEE5-989C-44B2-A03F-0A07BC25E2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B488D24E-DE4C-4C70-AF1E-90FF502CDC4B}"/>
              </a:ext>
            </a:extLst>
          </p:cNvPr>
          <p:cNvSpPr>
            <a:spLocks noGrp="1"/>
          </p:cNvSpPr>
          <p:nvPr>
            <p:ph type="title"/>
          </p:nvPr>
        </p:nvSpPr>
        <p:spPr bwMode="gray"/>
        <p:txBody>
          <a:bodyPr vert="horz"/>
          <a:lstStyle/>
          <a:p>
            <a:r>
              <a:rPr lang="de-DE" dirty="0"/>
              <a:t>ÜBERSCHRIFT 1</a:t>
            </a:r>
            <a:br>
              <a:rPr lang="de-DE" dirty="0"/>
            </a:br>
            <a:r>
              <a:rPr lang="de-DE" b="0" dirty="0"/>
              <a:t>zweite Zeile ungefettet (Manuell)</a:t>
            </a:r>
          </a:p>
        </p:txBody>
      </p:sp>
      <p:sp>
        <p:nvSpPr>
          <p:cNvPr id="14" name="Date Placeholder 13">
            <a:extLst>
              <a:ext uri="{FF2B5EF4-FFF2-40B4-BE49-F238E27FC236}">
                <a16:creationId xmlns:a16="http://schemas.microsoft.com/office/drawing/2014/main" id="{4C603B63-0204-4302-914C-06E82358D7FE}"/>
              </a:ext>
            </a:extLst>
          </p:cNvPr>
          <p:cNvSpPr>
            <a:spLocks noGrp="1"/>
          </p:cNvSpPr>
          <p:nvPr>
            <p:ph type="dt" sz="half" idx="19"/>
          </p:nvPr>
        </p:nvSpPr>
        <p:spPr bwMode="gray"/>
        <p:txBody>
          <a:bodyPr/>
          <a:lstStyle/>
          <a:p>
            <a:fld id="{3518DD14-9A4D-4F3C-B9DE-98491EF0DE38}" type="datetime1">
              <a:rPr lang="de-DE" smtClean="0">
                <a:solidFill>
                  <a:schemeClr val="bg1"/>
                </a:solidFill>
              </a:rPr>
              <a:t>29.09.25</a:t>
            </a:fld>
            <a:endParaRPr lang="de-DE" dirty="0">
              <a:solidFill>
                <a:schemeClr val="bg1"/>
              </a:solidFill>
            </a:endParaRPr>
          </a:p>
        </p:txBody>
      </p:sp>
      <p:sp>
        <p:nvSpPr>
          <p:cNvPr id="3" name="Fußzeilenplatzhalter 2">
            <a:extLst>
              <a:ext uri="{FF2B5EF4-FFF2-40B4-BE49-F238E27FC236}">
                <a16:creationId xmlns:a16="http://schemas.microsoft.com/office/drawing/2014/main" id="{2FCC3E2D-9CBF-4BF4-99B8-DD3823E0623B}"/>
              </a:ext>
            </a:extLst>
          </p:cNvPr>
          <p:cNvSpPr>
            <a:spLocks noGrp="1"/>
          </p:cNvSpPr>
          <p:nvPr>
            <p:ph type="ftr" sz="quarter" idx="20"/>
          </p:nvPr>
        </p:nvSpPr>
        <p:spPr bwMode="gray"/>
        <p:txBody>
          <a:bodyPr/>
          <a:lstStyle/>
          <a:p>
            <a:r>
              <a:rPr lang="de-DE" dirty="0">
                <a:solidFill>
                  <a:schemeClr val="bg1"/>
                </a:solidFill>
              </a:rPr>
              <a:t>TITEL DER PRÄSENTATION | TITEL VORNAME NAME</a:t>
            </a:r>
          </a:p>
        </p:txBody>
      </p:sp>
      <p:sp>
        <p:nvSpPr>
          <p:cNvPr id="4" name="Foliennummernplatzhalter 3">
            <a:extLst>
              <a:ext uri="{FF2B5EF4-FFF2-40B4-BE49-F238E27FC236}">
                <a16:creationId xmlns:a16="http://schemas.microsoft.com/office/drawing/2014/main" id="{BDBD585B-BD52-4C42-ABE6-D3168C9347DF}"/>
              </a:ext>
            </a:extLst>
          </p:cNvPr>
          <p:cNvSpPr>
            <a:spLocks noGrp="1"/>
          </p:cNvSpPr>
          <p:nvPr>
            <p:ph type="sldNum" sz="quarter" idx="21"/>
          </p:nvPr>
        </p:nvSpPr>
        <p:spPr bwMode="gray"/>
        <p:txBody>
          <a:bodyPr/>
          <a:lstStyle/>
          <a:p>
            <a:fld id="{09E9C37E-8A19-4E30-BE2B-5A966AD23C7A}" type="slidenum">
              <a:rPr lang="de-DE" smtClean="0">
                <a:solidFill>
                  <a:schemeClr val="bg1"/>
                </a:solidFill>
              </a:rPr>
              <a:pPr/>
              <a:t>23</a:t>
            </a:fld>
            <a:endParaRPr lang="de-DE" dirty="0">
              <a:solidFill>
                <a:schemeClr val="bg1"/>
              </a:solidFill>
            </a:endParaRPr>
          </a:p>
        </p:txBody>
      </p:sp>
      <p:sp>
        <p:nvSpPr>
          <p:cNvPr id="7" name="Textplatzhalter 6">
            <a:extLst>
              <a:ext uri="{FF2B5EF4-FFF2-40B4-BE49-F238E27FC236}">
                <a16:creationId xmlns:a16="http://schemas.microsoft.com/office/drawing/2014/main" id="{C273FE87-6A12-4A35-8525-85399D3E97A6}"/>
              </a:ext>
            </a:extLst>
          </p:cNvPr>
          <p:cNvSpPr>
            <a:spLocks noGrp="1"/>
          </p:cNvSpPr>
          <p:nvPr>
            <p:ph sz="quarter" idx="22"/>
          </p:nvPr>
        </p:nvSpPr>
        <p:spPr bwMode="gray"/>
        <p:txBody>
          <a:bodyPr/>
          <a:lstStyle/>
          <a:p>
            <a:pPr lvl="2"/>
            <a:r>
              <a:rPr lang="de-DE" dirty="0">
                <a:solidFill>
                  <a:schemeClr val="bg1"/>
                </a:solidFill>
              </a:rPr>
              <a:t>Zwischenüberschrift, Ebene 3</a:t>
            </a:r>
          </a:p>
          <a:p>
            <a:pPr lvl="1"/>
            <a:r>
              <a:rPr lang="de-DE" dirty="0">
                <a:solidFill>
                  <a:schemeClr val="bg1"/>
                </a:solidFill>
              </a:rPr>
              <a:t>Fließtext mit kleiner Schriftgröße für ausführliche Textbeschreibun-gen auf Listenebene Zwei, Verdana 14 pt. Ano sea takimata sanctus est Lorem ipsum dolor sit amet. Lorem ipsum dolor sit amet, consetetur sadipscing. </a:t>
            </a:r>
          </a:p>
          <a:p>
            <a:pPr lvl="1"/>
            <a:r>
              <a:rPr lang="de-DE" dirty="0">
                <a:solidFill>
                  <a:schemeClr val="bg1"/>
                </a:solidFill>
              </a:rPr>
              <a:t>Ased diam nonumy eirmod tempor invidunt ut labore et dolore magna aliquyam erat, sed diam voluptua. At vero eos et accusam et justo duo dolores et ea rebum.</a:t>
            </a:r>
          </a:p>
        </p:txBody>
      </p:sp>
      <p:sp>
        <p:nvSpPr>
          <p:cNvPr id="8" name="Textplatzhalter 7">
            <a:extLst>
              <a:ext uri="{FF2B5EF4-FFF2-40B4-BE49-F238E27FC236}">
                <a16:creationId xmlns:a16="http://schemas.microsoft.com/office/drawing/2014/main" id="{C939148C-C1B4-413C-83AC-D23685D78BED}"/>
              </a:ext>
            </a:extLst>
          </p:cNvPr>
          <p:cNvSpPr>
            <a:spLocks noGrp="1"/>
          </p:cNvSpPr>
          <p:nvPr>
            <p:ph sz="quarter" idx="23"/>
          </p:nvPr>
        </p:nvSpPr>
        <p:spPr bwMode="gray"/>
        <p:txBody>
          <a:bodyPr/>
          <a:lstStyle/>
          <a:p>
            <a:pPr lvl="2"/>
            <a:r>
              <a:rPr lang="de-DE" dirty="0">
                <a:solidFill>
                  <a:schemeClr val="bg1"/>
                </a:solidFill>
              </a:rPr>
              <a:t>Zwischenüberschrift, Ebene 3</a:t>
            </a:r>
          </a:p>
          <a:p>
            <a:pPr lvl="1"/>
            <a:r>
              <a:rPr lang="de-DE" dirty="0">
                <a:solidFill>
                  <a:schemeClr val="bg1"/>
                </a:solidFill>
              </a:rPr>
              <a:t>Fließtext mit kleiner Schriftgröße für ausführliche Textbeschreibun-gen auf Listenebene Zwei, Verdana 14 pt. Ano sea takimata sanctus est Lorem ipsum dolor sit amet. Lorem ipsum dolor sit amet, consetetur sadipscing. </a:t>
            </a:r>
          </a:p>
          <a:p>
            <a:pPr lvl="1"/>
            <a:r>
              <a:rPr lang="de-DE" dirty="0">
                <a:solidFill>
                  <a:schemeClr val="bg1"/>
                </a:solidFill>
              </a:rPr>
              <a:t>Ased diam nonumy eirmod tempor invidunt ut labore et dolore magna aliquyam erat, sed diam voluptua. At vero eos et accusam et justo duo dolores et ea rebum.</a:t>
            </a:r>
          </a:p>
        </p:txBody>
      </p:sp>
      <p:graphicFrame>
        <p:nvGraphicFramePr>
          <p:cNvPr id="16" name="Diagramm 10">
            <a:extLst>
              <a:ext uri="{FF2B5EF4-FFF2-40B4-BE49-F238E27FC236}">
                <a16:creationId xmlns:a16="http://schemas.microsoft.com/office/drawing/2014/main" id="{444250E3-EC76-4090-935B-65214A8F45CC}"/>
              </a:ext>
            </a:extLst>
          </p:cNvPr>
          <p:cNvGraphicFramePr>
            <a:graphicFrameLocks noGrp="1"/>
          </p:cNvGraphicFramePr>
          <p:nvPr>
            <p:ph sz="quarter" idx="24"/>
            <p:extLst>
              <p:ext uri="{D42A27DB-BD31-4B8C-83A1-F6EECF244321}">
                <p14:modId xmlns:p14="http://schemas.microsoft.com/office/powerpoint/2010/main" val="891920773"/>
              </p:ext>
            </p:extLst>
          </p:nvPr>
        </p:nvGraphicFramePr>
        <p:xfrm>
          <a:off x="8040688" y="1989138"/>
          <a:ext cx="3527425" cy="374332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45961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DBCD624D-1B47-4607-9D44-FC2BF58E21AB}"/>
              </a:ext>
            </a:extLst>
          </p:cNvPr>
          <p:cNvGraphicFramePr>
            <a:graphicFrameLocks noChangeAspect="1"/>
          </p:cNvGraphicFramePr>
          <p:nvPr>
            <p:custDataLst>
              <p:tags r:id="rId1"/>
            </p:custDataLst>
            <p:extLst>
              <p:ext uri="{D42A27DB-BD31-4B8C-83A1-F6EECF244321}">
                <p14:modId xmlns:p14="http://schemas.microsoft.com/office/powerpoint/2010/main" val="3867916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AE3F3ED6-4F0D-4862-919F-8863939667F6}"/>
              </a:ext>
            </a:extLst>
          </p:cNvPr>
          <p:cNvSpPr>
            <a:spLocks noGrp="1"/>
          </p:cNvSpPr>
          <p:nvPr>
            <p:ph type="title"/>
          </p:nvPr>
        </p:nvSpPr>
        <p:spPr bwMode="gray">
          <a:noFill/>
        </p:spPr>
        <p:txBody>
          <a:bodyPr vert="horz"/>
          <a:lstStyle/>
          <a:p>
            <a:r>
              <a:rPr lang="de-DE" dirty="0"/>
              <a:t>Layout Nur Titel</a:t>
            </a:r>
            <a:br>
              <a:rPr lang="de-DE" dirty="0"/>
            </a:br>
            <a:r>
              <a:rPr lang="de-DE" b="0" dirty="0"/>
              <a:t>zweite Zeile ungefettet (Manuell)</a:t>
            </a:r>
            <a:endParaRPr lang="de-DE" dirty="0"/>
          </a:p>
        </p:txBody>
      </p:sp>
      <p:sp>
        <p:nvSpPr>
          <p:cNvPr id="5" name="Date Placeholder 4">
            <a:extLst>
              <a:ext uri="{FF2B5EF4-FFF2-40B4-BE49-F238E27FC236}">
                <a16:creationId xmlns:a16="http://schemas.microsoft.com/office/drawing/2014/main" id="{2F590BB9-6FC8-405C-9950-7A4534207594}"/>
              </a:ext>
            </a:extLst>
          </p:cNvPr>
          <p:cNvSpPr>
            <a:spLocks noGrp="1"/>
          </p:cNvSpPr>
          <p:nvPr>
            <p:ph type="dt" sz="half" idx="10"/>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333085-62A1-42C4-BD03-F40BC39607D1}" type="datetime1">
              <a:rPr kumimoji="0" lang="de-DE" sz="800" b="0" i="0" u="none" strike="noStrike" kern="1200" cap="none" spc="0" normalizeH="0" baseline="0" noProof="0" smtClean="0">
                <a:ln>
                  <a:noFill/>
                </a:ln>
                <a:solidFill>
                  <a:srgbClr val="38414A"/>
                </a:solidFill>
                <a:effectLst/>
                <a:uLnTx/>
                <a:uFillTx/>
                <a:latin typeface="Verdana"/>
                <a:ea typeface="+mn-ea"/>
                <a:cs typeface="+mn-cs"/>
              </a:rPr>
              <a:t>29.09.25</a:t>
            </a:fld>
            <a:endParaRPr kumimoji="0" lang="de-DE" sz="800" b="0" i="0" u="none" strike="noStrike" kern="1200" cap="none" spc="0" normalizeH="0" baseline="0" noProof="0" dirty="0">
              <a:ln>
                <a:noFill/>
              </a:ln>
              <a:solidFill>
                <a:srgbClr val="38414A"/>
              </a:solidFill>
              <a:effectLst/>
              <a:uLnTx/>
              <a:uFillTx/>
              <a:latin typeface="Verdana"/>
              <a:ea typeface="+mn-ea"/>
              <a:cs typeface="+mn-cs"/>
            </a:endParaRPr>
          </a:p>
        </p:txBody>
      </p:sp>
      <p:sp>
        <p:nvSpPr>
          <p:cNvPr id="2" name="Fußzeilenplatzhalter 1">
            <a:extLst>
              <a:ext uri="{FF2B5EF4-FFF2-40B4-BE49-F238E27FC236}">
                <a16:creationId xmlns:a16="http://schemas.microsoft.com/office/drawing/2014/main" id="{2A833BCF-5087-460B-A045-A09AEDFDE8C8}"/>
              </a:ext>
            </a:extLst>
          </p:cNvPr>
          <p:cNvSpPr>
            <a:spLocks noGrp="1"/>
          </p:cNvSpPr>
          <p:nvPr>
            <p:ph type="ftr" sz="quarter"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all" spc="0" normalizeH="0" baseline="0" noProof="0" dirty="0">
                <a:ln>
                  <a:noFill/>
                </a:ln>
                <a:solidFill>
                  <a:srgbClr val="38414A"/>
                </a:solidFill>
                <a:effectLst/>
                <a:uLnTx/>
                <a:uFillTx/>
                <a:latin typeface="Verdana"/>
                <a:ea typeface="+mn-ea"/>
                <a:cs typeface="+mn-cs"/>
              </a:rPr>
              <a:t>TITEL DER PRÄSENTATION | TITEL VORNAME NAME</a:t>
            </a:r>
          </a:p>
        </p:txBody>
      </p:sp>
      <p:sp>
        <p:nvSpPr>
          <p:cNvPr id="3" name="Foliennummernplatzhalter 2">
            <a:extLst>
              <a:ext uri="{FF2B5EF4-FFF2-40B4-BE49-F238E27FC236}">
                <a16:creationId xmlns:a16="http://schemas.microsoft.com/office/drawing/2014/main" id="{18D509AD-5CC8-4388-A25B-FD6C925D8872}"/>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9C37E-8A19-4E30-BE2B-5A966AD23C7A}" type="slidenum">
              <a:rPr kumimoji="0" lang="de-DE" sz="800" b="0" i="0" u="none" strike="noStrike" kern="1200" cap="none" spc="0" normalizeH="0" baseline="0" noProof="0" smtClean="0">
                <a:ln>
                  <a:noFill/>
                </a:ln>
                <a:solidFill>
                  <a:srgbClr val="38414A"/>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de-DE" sz="800" b="0" i="0" u="none" strike="noStrike" kern="1200" cap="none" spc="0" normalizeH="0" baseline="0" noProof="0" dirty="0">
              <a:ln>
                <a:noFill/>
              </a:ln>
              <a:solidFill>
                <a:srgbClr val="38414A"/>
              </a:solidFill>
              <a:effectLst/>
              <a:uLnTx/>
              <a:uFillTx/>
              <a:latin typeface="Verdana"/>
              <a:ea typeface="+mn-ea"/>
              <a:cs typeface="+mn-cs"/>
            </a:endParaRPr>
          </a:p>
        </p:txBody>
      </p:sp>
      <p:grpSp>
        <p:nvGrpSpPr>
          <p:cNvPr id="7" name="Grafik 15">
            <a:extLst>
              <a:ext uri="{FF2B5EF4-FFF2-40B4-BE49-F238E27FC236}">
                <a16:creationId xmlns:a16="http://schemas.microsoft.com/office/drawing/2014/main" id="{95763D5C-AABD-47AE-B08B-4D03FE548C52}"/>
              </a:ext>
            </a:extLst>
          </p:cNvPr>
          <p:cNvGrpSpPr>
            <a:grpSpLocks noChangeAspect="1"/>
          </p:cNvGrpSpPr>
          <p:nvPr/>
        </p:nvGrpSpPr>
        <p:grpSpPr bwMode="gray">
          <a:xfrm>
            <a:off x="8328000" y="2120578"/>
            <a:ext cx="864000" cy="609621"/>
            <a:chOff x="509337" y="2228854"/>
            <a:chExt cx="937642" cy="660423"/>
          </a:xfrm>
        </p:grpSpPr>
        <p:sp>
          <p:nvSpPr>
            <p:cNvPr id="8" name="Freihandform: Form 65">
              <a:extLst>
                <a:ext uri="{FF2B5EF4-FFF2-40B4-BE49-F238E27FC236}">
                  <a16:creationId xmlns:a16="http://schemas.microsoft.com/office/drawing/2014/main" id="{5FF1BF2F-56B9-4FDF-9C95-EE3A0FF38329}"/>
                </a:ext>
              </a:extLst>
            </p:cNvPr>
            <p:cNvSpPr/>
            <p:nvPr/>
          </p:nvSpPr>
          <p:spPr bwMode="gray">
            <a:xfrm>
              <a:off x="509337" y="2228854"/>
              <a:ext cx="937642" cy="423715"/>
            </a:xfrm>
            <a:custGeom>
              <a:avLst/>
              <a:gdLst>
                <a:gd name="connsiteX0" fmla="*/ 185998 w 937642"/>
                <a:gd name="connsiteY0" fmla="*/ 274924 h 423715"/>
                <a:gd name="connsiteX1" fmla="*/ 298323 w 937642"/>
                <a:gd name="connsiteY1" fmla="*/ 326317 h 423715"/>
                <a:gd name="connsiteX2" fmla="*/ 269757 w 937642"/>
                <a:gd name="connsiteY2" fmla="*/ 403460 h 423715"/>
                <a:gd name="connsiteX3" fmla="*/ 307044 w 937642"/>
                <a:gd name="connsiteY3" fmla="*/ 403460 h 423715"/>
                <a:gd name="connsiteX4" fmla="*/ 466279 w 937642"/>
                <a:gd name="connsiteY4" fmla="*/ 270332 h 423715"/>
                <a:gd name="connsiteX5" fmla="*/ 625514 w 937642"/>
                <a:gd name="connsiteY5" fmla="*/ 403460 h 423715"/>
                <a:gd name="connsiteX6" fmla="*/ 662856 w 937642"/>
                <a:gd name="connsiteY6" fmla="*/ 403460 h 423715"/>
                <a:gd name="connsiteX7" fmla="*/ 637542 w 937642"/>
                <a:gd name="connsiteY7" fmla="*/ 331702 h 423715"/>
                <a:gd name="connsiteX8" fmla="*/ 803283 w 937642"/>
                <a:gd name="connsiteY8" fmla="*/ 283207 h 423715"/>
                <a:gd name="connsiteX9" fmla="*/ 903362 w 937642"/>
                <a:gd name="connsiteY9" fmla="*/ 423963 h 423715"/>
                <a:gd name="connsiteX10" fmla="*/ 940267 w 937642"/>
                <a:gd name="connsiteY10" fmla="*/ 423963 h 423715"/>
                <a:gd name="connsiteX11" fmla="*/ 811894 w 937642"/>
                <a:gd name="connsiteY11" fmla="*/ 247232 h 423715"/>
                <a:gd name="connsiteX12" fmla="*/ 869465 w 937642"/>
                <a:gd name="connsiteY12" fmla="*/ 111316 h 423715"/>
                <a:gd name="connsiteX13" fmla="*/ 752274 w 937642"/>
                <a:gd name="connsiteY13" fmla="*/ 21543 h 423715"/>
                <a:gd name="connsiteX14" fmla="*/ 636039 w 937642"/>
                <a:gd name="connsiteY14" fmla="*/ 112546 h 423715"/>
                <a:gd name="connsiteX15" fmla="*/ 695031 w 937642"/>
                <a:gd name="connsiteY15" fmla="*/ 247861 h 423715"/>
                <a:gd name="connsiteX16" fmla="*/ 615181 w 937642"/>
                <a:gd name="connsiteY16" fmla="*/ 300976 h 423715"/>
                <a:gd name="connsiteX17" fmla="*/ 524752 w 937642"/>
                <a:gd name="connsiteY17" fmla="*/ 242257 h 423715"/>
                <a:gd name="connsiteX18" fmla="*/ 589539 w 937642"/>
                <a:gd name="connsiteY18" fmla="*/ 97374 h 423715"/>
                <a:gd name="connsiteX19" fmla="*/ 464174 w 937642"/>
                <a:gd name="connsiteY19" fmla="*/ 1 h 423715"/>
                <a:gd name="connsiteX20" fmla="*/ 339793 w 937642"/>
                <a:gd name="connsiteY20" fmla="*/ 98577 h 423715"/>
                <a:gd name="connsiteX21" fmla="*/ 405975 w 937642"/>
                <a:gd name="connsiteY21" fmla="*/ 242804 h 423715"/>
                <a:gd name="connsiteX22" fmla="*/ 321122 w 937642"/>
                <a:gd name="connsiteY22" fmla="*/ 296711 h 423715"/>
                <a:gd name="connsiteX23" fmla="*/ 243459 w 937642"/>
                <a:gd name="connsiteY23" fmla="*/ 247232 h 423715"/>
                <a:gd name="connsiteX24" fmla="*/ 301112 w 937642"/>
                <a:gd name="connsiteY24" fmla="*/ 111288 h 423715"/>
                <a:gd name="connsiteX25" fmla="*/ 183920 w 937642"/>
                <a:gd name="connsiteY25" fmla="*/ 21488 h 423715"/>
                <a:gd name="connsiteX26" fmla="*/ 67658 w 937642"/>
                <a:gd name="connsiteY26" fmla="*/ 112546 h 423715"/>
                <a:gd name="connsiteX27" fmla="*/ 126732 w 937642"/>
                <a:gd name="connsiteY27" fmla="*/ 247889 h 423715"/>
                <a:gd name="connsiteX28" fmla="*/ 0 w 937642"/>
                <a:gd name="connsiteY28" fmla="*/ 423963 h 423715"/>
                <a:gd name="connsiteX29" fmla="*/ 36904 w 937642"/>
                <a:gd name="connsiteY29" fmla="*/ 423963 h 423715"/>
                <a:gd name="connsiteX30" fmla="*/ 185998 w 937642"/>
                <a:gd name="connsiteY30" fmla="*/ 274924 h 423715"/>
                <a:gd name="connsiteX31" fmla="*/ 185998 w 937642"/>
                <a:gd name="connsiteY31" fmla="*/ 274924 h 423715"/>
                <a:gd name="connsiteX32" fmla="*/ 669253 w 937642"/>
                <a:gd name="connsiteY32" fmla="*/ 142096 h 423715"/>
                <a:gd name="connsiteX33" fmla="*/ 720919 w 937642"/>
                <a:gd name="connsiteY33" fmla="*/ 64734 h 423715"/>
                <a:gd name="connsiteX34" fmla="*/ 812140 w 937642"/>
                <a:gd name="connsiteY34" fmla="*/ 82886 h 423715"/>
                <a:gd name="connsiteX35" fmla="*/ 830292 w 937642"/>
                <a:gd name="connsiteY35" fmla="*/ 174107 h 423715"/>
                <a:gd name="connsiteX36" fmla="*/ 752957 w 937642"/>
                <a:gd name="connsiteY36" fmla="*/ 225801 h 423715"/>
                <a:gd name="connsiteX37" fmla="*/ 669253 w 937642"/>
                <a:gd name="connsiteY37" fmla="*/ 142096 h 423715"/>
                <a:gd name="connsiteX38" fmla="*/ 669253 w 937642"/>
                <a:gd name="connsiteY38" fmla="*/ 142096 h 423715"/>
                <a:gd name="connsiteX39" fmla="*/ 373253 w 937642"/>
                <a:gd name="connsiteY39" fmla="*/ 128702 h 423715"/>
                <a:gd name="connsiteX40" fmla="*/ 429839 w 937642"/>
                <a:gd name="connsiteY40" fmla="*/ 44122 h 423715"/>
                <a:gd name="connsiteX41" fmla="*/ 529645 w 937642"/>
                <a:gd name="connsiteY41" fmla="*/ 64023 h 423715"/>
                <a:gd name="connsiteX42" fmla="*/ 549464 w 937642"/>
                <a:gd name="connsiteY42" fmla="*/ 163856 h 423715"/>
                <a:gd name="connsiteX43" fmla="*/ 464830 w 937642"/>
                <a:gd name="connsiteY43" fmla="*/ 220388 h 423715"/>
                <a:gd name="connsiteX44" fmla="*/ 373253 w 937642"/>
                <a:gd name="connsiteY44" fmla="*/ 128702 h 423715"/>
                <a:gd name="connsiteX45" fmla="*/ 373253 w 937642"/>
                <a:gd name="connsiteY45" fmla="*/ 128702 h 423715"/>
                <a:gd name="connsiteX46" fmla="*/ 100954 w 937642"/>
                <a:gd name="connsiteY46" fmla="*/ 142096 h 423715"/>
                <a:gd name="connsiteX47" fmla="*/ 152620 w 937642"/>
                <a:gd name="connsiteY47" fmla="*/ 64734 h 423715"/>
                <a:gd name="connsiteX48" fmla="*/ 243869 w 937642"/>
                <a:gd name="connsiteY48" fmla="*/ 82886 h 423715"/>
                <a:gd name="connsiteX49" fmla="*/ 262020 w 937642"/>
                <a:gd name="connsiteY49" fmla="*/ 174107 h 423715"/>
                <a:gd name="connsiteX50" fmla="*/ 184658 w 937642"/>
                <a:gd name="connsiteY50" fmla="*/ 225801 h 423715"/>
                <a:gd name="connsiteX51" fmla="*/ 100954 w 937642"/>
                <a:gd name="connsiteY51" fmla="*/ 142096 h 423715"/>
                <a:gd name="connsiteX52" fmla="*/ 100954 w 937642"/>
                <a:gd name="connsiteY52" fmla="*/ 142096 h 42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937642" h="423715">
                  <a:moveTo>
                    <a:pt x="185998" y="274924"/>
                  </a:moveTo>
                  <a:cubicBezTo>
                    <a:pt x="229107" y="274952"/>
                    <a:pt x="270112" y="293677"/>
                    <a:pt x="298323" y="326317"/>
                  </a:cubicBezTo>
                  <a:cubicBezTo>
                    <a:pt x="283480" y="349744"/>
                    <a:pt x="273748" y="376015"/>
                    <a:pt x="269757" y="403460"/>
                  </a:cubicBezTo>
                  <a:lnTo>
                    <a:pt x="307044" y="403460"/>
                  </a:lnTo>
                  <a:cubicBezTo>
                    <a:pt x="320931" y="326399"/>
                    <a:pt x="387987" y="270332"/>
                    <a:pt x="466279" y="270332"/>
                  </a:cubicBezTo>
                  <a:cubicBezTo>
                    <a:pt x="544571" y="270332"/>
                    <a:pt x="611627" y="326399"/>
                    <a:pt x="625514" y="403460"/>
                  </a:cubicBezTo>
                  <a:lnTo>
                    <a:pt x="662856" y="403460"/>
                  </a:lnTo>
                  <a:cubicBezTo>
                    <a:pt x="659165" y="378120"/>
                    <a:pt x="650554" y="353735"/>
                    <a:pt x="637542" y="331702"/>
                  </a:cubicBezTo>
                  <a:cubicBezTo>
                    <a:pt x="676825" y="281868"/>
                    <a:pt x="743362" y="262404"/>
                    <a:pt x="803283" y="283207"/>
                  </a:cubicBezTo>
                  <a:cubicBezTo>
                    <a:pt x="863205" y="304010"/>
                    <a:pt x="903390" y="360515"/>
                    <a:pt x="903362" y="423963"/>
                  </a:cubicBezTo>
                  <a:lnTo>
                    <a:pt x="940267" y="423963"/>
                  </a:lnTo>
                  <a:cubicBezTo>
                    <a:pt x="940157" y="343512"/>
                    <a:pt x="888382" y="272218"/>
                    <a:pt x="811894" y="247232"/>
                  </a:cubicBezTo>
                  <a:cubicBezTo>
                    <a:pt x="859843" y="220333"/>
                    <a:pt x="883516" y="164430"/>
                    <a:pt x="869465" y="111316"/>
                  </a:cubicBezTo>
                  <a:cubicBezTo>
                    <a:pt x="855441" y="58173"/>
                    <a:pt x="807220" y="21269"/>
                    <a:pt x="752274" y="21543"/>
                  </a:cubicBezTo>
                  <a:cubicBezTo>
                    <a:pt x="697300" y="21843"/>
                    <a:pt x="649516" y="59240"/>
                    <a:pt x="636039" y="112546"/>
                  </a:cubicBezTo>
                  <a:cubicBezTo>
                    <a:pt x="622562" y="165824"/>
                    <a:pt x="646809" y="221482"/>
                    <a:pt x="695031" y="247861"/>
                  </a:cubicBezTo>
                  <a:cubicBezTo>
                    <a:pt x="664250" y="258276"/>
                    <a:pt x="636695" y="276592"/>
                    <a:pt x="615181" y="300976"/>
                  </a:cubicBezTo>
                  <a:cubicBezTo>
                    <a:pt x="591015" y="273448"/>
                    <a:pt x="559715" y="253137"/>
                    <a:pt x="524752" y="242257"/>
                  </a:cubicBezTo>
                  <a:cubicBezTo>
                    <a:pt x="577128" y="214647"/>
                    <a:pt x="603891" y="154835"/>
                    <a:pt x="589539" y="97374"/>
                  </a:cubicBezTo>
                  <a:cubicBezTo>
                    <a:pt x="575160" y="39940"/>
                    <a:pt x="523412" y="-272"/>
                    <a:pt x="464174" y="1"/>
                  </a:cubicBezTo>
                  <a:cubicBezTo>
                    <a:pt x="404963" y="275"/>
                    <a:pt x="353598" y="41006"/>
                    <a:pt x="339793" y="98577"/>
                  </a:cubicBezTo>
                  <a:cubicBezTo>
                    <a:pt x="325988" y="156175"/>
                    <a:pt x="353324" y="215714"/>
                    <a:pt x="405975" y="242804"/>
                  </a:cubicBezTo>
                  <a:cubicBezTo>
                    <a:pt x="373526" y="253219"/>
                    <a:pt x="344331" y="271781"/>
                    <a:pt x="321122" y="296711"/>
                  </a:cubicBezTo>
                  <a:cubicBezTo>
                    <a:pt x="299800" y="273968"/>
                    <a:pt x="273092" y="256964"/>
                    <a:pt x="243459" y="247232"/>
                  </a:cubicBezTo>
                  <a:cubicBezTo>
                    <a:pt x="291435" y="220361"/>
                    <a:pt x="315135" y="164430"/>
                    <a:pt x="301112" y="111288"/>
                  </a:cubicBezTo>
                  <a:cubicBezTo>
                    <a:pt x="287115" y="58146"/>
                    <a:pt x="238894" y="21187"/>
                    <a:pt x="183920" y="21488"/>
                  </a:cubicBezTo>
                  <a:cubicBezTo>
                    <a:pt x="128946" y="21789"/>
                    <a:pt x="81135" y="59240"/>
                    <a:pt x="67658" y="112546"/>
                  </a:cubicBezTo>
                  <a:cubicBezTo>
                    <a:pt x="54181" y="165852"/>
                    <a:pt x="78483" y="221509"/>
                    <a:pt x="126732" y="247889"/>
                  </a:cubicBezTo>
                  <a:cubicBezTo>
                    <a:pt x="51119" y="273339"/>
                    <a:pt x="137" y="344168"/>
                    <a:pt x="0" y="423963"/>
                  </a:cubicBezTo>
                  <a:lnTo>
                    <a:pt x="36904" y="423963"/>
                  </a:lnTo>
                  <a:cubicBezTo>
                    <a:pt x="36986" y="341680"/>
                    <a:pt x="103715" y="274979"/>
                    <a:pt x="185998" y="274924"/>
                  </a:cubicBezTo>
                  <a:lnTo>
                    <a:pt x="185998" y="274924"/>
                  </a:lnTo>
                  <a:close/>
                  <a:moveTo>
                    <a:pt x="669253" y="142096"/>
                  </a:moveTo>
                  <a:cubicBezTo>
                    <a:pt x="669253" y="108254"/>
                    <a:pt x="689618" y="77719"/>
                    <a:pt x="720919" y="64734"/>
                  </a:cubicBezTo>
                  <a:cubicBezTo>
                    <a:pt x="752191" y="51777"/>
                    <a:pt x="788194" y="58939"/>
                    <a:pt x="812140" y="82886"/>
                  </a:cubicBezTo>
                  <a:cubicBezTo>
                    <a:pt x="836087" y="106805"/>
                    <a:pt x="843249" y="142834"/>
                    <a:pt x="830292" y="174107"/>
                  </a:cubicBezTo>
                  <a:cubicBezTo>
                    <a:pt x="817334" y="205408"/>
                    <a:pt x="786800" y="225801"/>
                    <a:pt x="752957" y="225801"/>
                  </a:cubicBezTo>
                  <a:cubicBezTo>
                    <a:pt x="706731" y="225746"/>
                    <a:pt x="669307" y="188295"/>
                    <a:pt x="669253" y="142096"/>
                  </a:cubicBezTo>
                  <a:lnTo>
                    <a:pt x="669253" y="142096"/>
                  </a:lnTo>
                  <a:close/>
                  <a:moveTo>
                    <a:pt x="373253" y="128702"/>
                  </a:moveTo>
                  <a:cubicBezTo>
                    <a:pt x="373280" y="91661"/>
                    <a:pt x="395614" y="58255"/>
                    <a:pt x="429839" y="44122"/>
                  </a:cubicBezTo>
                  <a:cubicBezTo>
                    <a:pt x="464065" y="29962"/>
                    <a:pt x="503457" y="37808"/>
                    <a:pt x="529645" y="64023"/>
                  </a:cubicBezTo>
                  <a:cubicBezTo>
                    <a:pt x="555833" y="90239"/>
                    <a:pt x="563652" y="129631"/>
                    <a:pt x="549464" y="163856"/>
                  </a:cubicBezTo>
                  <a:cubicBezTo>
                    <a:pt x="535276" y="198082"/>
                    <a:pt x="501871" y="220388"/>
                    <a:pt x="464830" y="220388"/>
                  </a:cubicBezTo>
                  <a:cubicBezTo>
                    <a:pt x="414230" y="220279"/>
                    <a:pt x="373280" y="179274"/>
                    <a:pt x="373253" y="128702"/>
                  </a:cubicBezTo>
                  <a:lnTo>
                    <a:pt x="373253" y="128702"/>
                  </a:lnTo>
                  <a:close/>
                  <a:moveTo>
                    <a:pt x="100954" y="142096"/>
                  </a:moveTo>
                  <a:cubicBezTo>
                    <a:pt x="100954" y="108254"/>
                    <a:pt x="121347" y="77719"/>
                    <a:pt x="152620" y="64734"/>
                  </a:cubicBezTo>
                  <a:cubicBezTo>
                    <a:pt x="183893" y="51777"/>
                    <a:pt x="219922" y="58939"/>
                    <a:pt x="243869" y="82886"/>
                  </a:cubicBezTo>
                  <a:cubicBezTo>
                    <a:pt x="267816" y="106805"/>
                    <a:pt x="274978" y="142834"/>
                    <a:pt x="262020" y="174107"/>
                  </a:cubicBezTo>
                  <a:cubicBezTo>
                    <a:pt x="249036" y="205408"/>
                    <a:pt x="218528" y="225801"/>
                    <a:pt x="184658" y="225801"/>
                  </a:cubicBezTo>
                  <a:cubicBezTo>
                    <a:pt x="138459" y="225746"/>
                    <a:pt x="101008" y="188295"/>
                    <a:pt x="100954" y="142096"/>
                  </a:cubicBezTo>
                  <a:lnTo>
                    <a:pt x="100954" y="142096"/>
                  </a:lnTo>
                  <a:close/>
                </a:path>
              </a:pathLst>
            </a:custGeom>
            <a:solidFill>
              <a:srgbClr val="38414A"/>
            </a:solidFill>
            <a:ln w="27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38414A"/>
                </a:solidFill>
                <a:effectLst/>
                <a:uLnTx/>
                <a:uFillTx/>
                <a:latin typeface="Verdana"/>
                <a:ea typeface="+mn-ea"/>
                <a:cs typeface="+mn-cs"/>
              </a:endParaRPr>
            </a:p>
          </p:txBody>
        </p:sp>
        <p:sp>
          <p:nvSpPr>
            <p:cNvPr id="9" name="Freihandform: Form 66">
              <a:extLst>
                <a:ext uri="{FF2B5EF4-FFF2-40B4-BE49-F238E27FC236}">
                  <a16:creationId xmlns:a16="http://schemas.microsoft.com/office/drawing/2014/main" id="{AA994982-A841-442C-B204-65188B3F555B}"/>
                </a:ext>
              </a:extLst>
            </p:cNvPr>
            <p:cNvSpPr/>
            <p:nvPr/>
          </p:nvSpPr>
          <p:spPr bwMode="gray">
            <a:xfrm>
              <a:off x="746618" y="2673319"/>
              <a:ext cx="456520" cy="215958"/>
            </a:xfrm>
            <a:custGeom>
              <a:avLst/>
              <a:gdLst>
                <a:gd name="connsiteX0" fmla="*/ 359612 w 456519"/>
                <a:gd name="connsiteY0" fmla="*/ 0 h 215958"/>
                <a:gd name="connsiteX1" fmla="*/ 229025 w 456519"/>
                <a:gd name="connsiteY1" fmla="*/ 118531 h 215958"/>
                <a:gd name="connsiteX2" fmla="*/ 98411 w 456519"/>
                <a:gd name="connsiteY2" fmla="*/ 0 h 215958"/>
                <a:gd name="connsiteX3" fmla="*/ 0 w 456519"/>
                <a:gd name="connsiteY3" fmla="*/ 0 h 215958"/>
                <a:gd name="connsiteX4" fmla="*/ 229025 w 456519"/>
                <a:gd name="connsiteY4" fmla="*/ 217489 h 215958"/>
                <a:gd name="connsiteX5" fmla="*/ 458023 w 456519"/>
                <a:gd name="connsiteY5" fmla="*/ 0 h 215958"/>
                <a:gd name="connsiteX6" fmla="*/ 359612 w 456519"/>
                <a:gd name="connsiteY6" fmla="*/ 0 h 215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6519" h="215958">
                  <a:moveTo>
                    <a:pt x="359612" y="0"/>
                  </a:moveTo>
                  <a:cubicBezTo>
                    <a:pt x="353078" y="67220"/>
                    <a:pt x="296574" y="118531"/>
                    <a:pt x="229025" y="118531"/>
                  </a:cubicBezTo>
                  <a:cubicBezTo>
                    <a:pt x="161449" y="118531"/>
                    <a:pt x="104945" y="67248"/>
                    <a:pt x="98411" y="0"/>
                  </a:cubicBezTo>
                  <a:lnTo>
                    <a:pt x="0" y="0"/>
                  </a:lnTo>
                  <a:cubicBezTo>
                    <a:pt x="6342" y="120964"/>
                    <a:pt x="106503" y="217489"/>
                    <a:pt x="229025" y="217489"/>
                  </a:cubicBezTo>
                  <a:cubicBezTo>
                    <a:pt x="351548" y="217489"/>
                    <a:pt x="451654" y="120964"/>
                    <a:pt x="458023" y="0"/>
                  </a:cubicBezTo>
                  <a:lnTo>
                    <a:pt x="359612" y="0"/>
                  </a:lnTo>
                  <a:close/>
                </a:path>
              </a:pathLst>
            </a:custGeom>
            <a:solidFill>
              <a:srgbClr val="009EE0"/>
            </a:solidFill>
            <a:ln w="27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38414A"/>
                </a:solidFill>
                <a:effectLst/>
                <a:uLnTx/>
                <a:uFillTx/>
                <a:latin typeface="Verdana"/>
                <a:ea typeface="+mn-ea"/>
                <a:cs typeface="+mn-cs"/>
              </a:endParaRPr>
            </a:p>
          </p:txBody>
        </p:sp>
        <p:sp>
          <p:nvSpPr>
            <p:cNvPr id="10" name="Freihandform: Form 67">
              <a:extLst>
                <a:ext uri="{FF2B5EF4-FFF2-40B4-BE49-F238E27FC236}">
                  <a16:creationId xmlns:a16="http://schemas.microsoft.com/office/drawing/2014/main" id="{593E05DD-BB56-4D49-A22D-9291DB744357}"/>
                </a:ext>
              </a:extLst>
            </p:cNvPr>
            <p:cNvSpPr/>
            <p:nvPr/>
          </p:nvSpPr>
          <p:spPr bwMode="gray">
            <a:xfrm>
              <a:off x="895247" y="2579173"/>
              <a:ext cx="164019" cy="164019"/>
            </a:xfrm>
            <a:custGeom>
              <a:avLst/>
              <a:gdLst>
                <a:gd name="connsiteX0" fmla="*/ 100462 w 164019"/>
                <a:gd name="connsiteY0" fmla="*/ 0 h 164018"/>
                <a:gd name="connsiteX1" fmla="*/ 63557 w 164019"/>
                <a:gd name="connsiteY1" fmla="*/ 0 h 164018"/>
                <a:gd name="connsiteX2" fmla="*/ 63557 w 164019"/>
                <a:gd name="connsiteY2" fmla="*/ 63557 h 164018"/>
                <a:gd name="connsiteX3" fmla="*/ 0 w 164019"/>
                <a:gd name="connsiteY3" fmla="*/ 63557 h 164018"/>
                <a:gd name="connsiteX4" fmla="*/ 0 w 164019"/>
                <a:gd name="connsiteY4" fmla="*/ 100462 h 164018"/>
                <a:gd name="connsiteX5" fmla="*/ 63557 w 164019"/>
                <a:gd name="connsiteY5" fmla="*/ 100462 h 164018"/>
                <a:gd name="connsiteX6" fmla="*/ 63557 w 164019"/>
                <a:gd name="connsiteY6" fmla="*/ 164019 h 164018"/>
                <a:gd name="connsiteX7" fmla="*/ 100462 w 164019"/>
                <a:gd name="connsiteY7" fmla="*/ 164019 h 164018"/>
                <a:gd name="connsiteX8" fmla="*/ 100462 w 164019"/>
                <a:gd name="connsiteY8" fmla="*/ 100462 h 164018"/>
                <a:gd name="connsiteX9" fmla="*/ 164019 w 164019"/>
                <a:gd name="connsiteY9" fmla="*/ 100462 h 164018"/>
                <a:gd name="connsiteX10" fmla="*/ 164019 w 164019"/>
                <a:gd name="connsiteY10" fmla="*/ 63557 h 164018"/>
                <a:gd name="connsiteX11" fmla="*/ 100462 w 164019"/>
                <a:gd name="connsiteY11" fmla="*/ 63557 h 164018"/>
                <a:gd name="connsiteX12" fmla="*/ 100462 w 164019"/>
                <a:gd name="connsiteY12" fmla="*/ 0 h 16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4019" h="164018">
                  <a:moveTo>
                    <a:pt x="100462" y="0"/>
                  </a:moveTo>
                  <a:lnTo>
                    <a:pt x="63557" y="0"/>
                  </a:lnTo>
                  <a:lnTo>
                    <a:pt x="63557" y="63557"/>
                  </a:lnTo>
                  <a:lnTo>
                    <a:pt x="0" y="63557"/>
                  </a:lnTo>
                  <a:lnTo>
                    <a:pt x="0" y="100462"/>
                  </a:lnTo>
                  <a:lnTo>
                    <a:pt x="63557" y="100462"/>
                  </a:lnTo>
                  <a:lnTo>
                    <a:pt x="63557" y="164019"/>
                  </a:lnTo>
                  <a:lnTo>
                    <a:pt x="100462" y="164019"/>
                  </a:lnTo>
                  <a:lnTo>
                    <a:pt x="100462" y="100462"/>
                  </a:lnTo>
                  <a:lnTo>
                    <a:pt x="164019" y="100462"/>
                  </a:lnTo>
                  <a:lnTo>
                    <a:pt x="164019" y="63557"/>
                  </a:lnTo>
                  <a:lnTo>
                    <a:pt x="100462" y="63557"/>
                  </a:lnTo>
                  <a:lnTo>
                    <a:pt x="100462" y="0"/>
                  </a:lnTo>
                  <a:close/>
                </a:path>
              </a:pathLst>
            </a:custGeom>
            <a:solidFill>
              <a:srgbClr val="38414A"/>
            </a:solidFill>
            <a:ln w="27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38414A"/>
                </a:solidFill>
                <a:effectLst/>
                <a:uLnTx/>
                <a:uFillTx/>
                <a:latin typeface="Verdana"/>
                <a:ea typeface="+mn-ea"/>
                <a:cs typeface="+mn-cs"/>
              </a:endParaRPr>
            </a:p>
          </p:txBody>
        </p:sp>
      </p:grpSp>
      <p:sp>
        <p:nvSpPr>
          <p:cNvPr id="12" name="Content Placeholder 9">
            <a:extLst>
              <a:ext uri="{FF2B5EF4-FFF2-40B4-BE49-F238E27FC236}">
                <a16:creationId xmlns:a16="http://schemas.microsoft.com/office/drawing/2014/main" id="{5E5F689B-0DE0-4B25-8A30-C2AEE4BFF0F3}"/>
              </a:ext>
            </a:extLst>
          </p:cNvPr>
          <p:cNvSpPr txBox="1">
            <a:spLocks/>
          </p:cNvSpPr>
          <p:nvPr/>
        </p:nvSpPr>
        <p:spPr bwMode="gray">
          <a:xfrm>
            <a:off x="8040688" y="3285000"/>
            <a:ext cx="3527425" cy="24473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marL="180000" marR="0" lvl="0" indent="-180000" algn="l" defTabSz="914400" rtl="0" eaLnBrk="1" fontAlgn="auto" latinLnBrk="0" hangingPunct="1">
              <a:lnSpc>
                <a:spcPct val="113000"/>
              </a:lnSpc>
              <a:spcBef>
                <a:spcPts val="300"/>
              </a:spcBef>
              <a:spcAft>
                <a:spcPts val="300"/>
              </a:spcAft>
              <a:buClrTx/>
              <a:buSzPct val="100000"/>
              <a:buFont typeface="Wingdings" panose="05000000000000000000" pitchFamily="2" charset="2"/>
              <a:buChar char=""/>
              <a:tabLst/>
              <a:defRPr/>
            </a:pPr>
            <a:r>
              <a:rPr kumimoji="0" lang="de-DE" sz="1400" b="0" i="0" u="none" strike="noStrike" kern="1200" cap="none" spc="0" normalizeH="0" baseline="0" noProof="0" dirty="0">
                <a:ln>
                  <a:noFill/>
                </a:ln>
                <a:solidFill>
                  <a:srgbClr val="38414A"/>
                </a:solidFill>
                <a:effectLst/>
                <a:uLnTx/>
                <a:uFillTx/>
                <a:latin typeface="Verdana"/>
                <a:ea typeface="+mn-ea"/>
                <a:cs typeface="+mn-cs"/>
              </a:rPr>
              <a:t>Lorem ipsum dolor sit amet, maete ate. Aenean commodo ligula eget dolor</a:t>
            </a:r>
          </a:p>
          <a:p>
            <a:pPr marL="180000" marR="0" lvl="0" indent="-180000" algn="l" defTabSz="914400" rtl="0" eaLnBrk="1" fontAlgn="auto" latinLnBrk="0" hangingPunct="1">
              <a:lnSpc>
                <a:spcPct val="113000"/>
              </a:lnSpc>
              <a:spcBef>
                <a:spcPts val="300"/>
              </a:spcBef>
              <a:spcAft>
                <a:spcPts val="300"/>
              </a:spcAft>
              <a:buClrTx/>
              <a:buSzPct val="100000"/>
              <a:buFont typeface="Wingdings" panose="05000000000000000000" pitchFamily="2" charset="2"/>
              <a:buChar char=""/>
              <a:tabLst/>
              <a:defRPr/>
            </a:pPr>
            <a:r>
              <a:rPr kumimoji="0" lang="de-DE" sz="1400" b="0" i="0" u="none" strike="noStrike" kern="1200" cap="none" spc="0" normalizeH="0" baseline="0" noProof="0" dirty="0">
                <a:ln>
                  <a:noFill/>
                </a:ln>
                <a:solidFill>
                  <a:srgbClr val="38414A"/>
                </a:solidFill>
                <a:effectLst/>
                <a:uLnTx/>
                <a:uFillTx/>
                <a:latin typeface="Verdana"/>
                <a:ea typeface="+mn-ea"/>
                <a:cs typeface="+mn-cs"/>
              </a:rPr>
              <a:t>Quisque rutrum. Aenean imperdiet. Etiam ultricies nisi vel augue. Nam eget dui </a:t>
            </a:r>
          </a:p>
        </p:txBody>
      </p:sp>
      <p:graphicFrame>
        <p:nvGraphicFramePr>
          <p:cNvPr id="16" name="Diagramm 7">
            <a:extLst>
              <a:ext uri="{FF2B5EF4-FFF2-40B4-BE49-F238E27FC236}">
                <a16:creationId xmlns:a16="http://schemas.microsoft.com/office/drawing/2014/main" id="{31757E41-CFA5-4416-943F-05D8E2B7AAE6}"/>
              </a:ext>
            </a:extLst>
          </p:cNvPr>
          <p:cNvGraphicFramePr/>
          <p:nvPr>
            <p:extLst>
              <p:ext uri="{D42A27DB-BD31-4B8C-83A1-F6EECF244321}">
                <p14:modId xmlns:p14="http://schemas.microsoft.com/office/powerpoint/2010/main" val="1207898054"/>
              </p:ext>
            </p:extLst>
          </p:nvPr>
        </p:nvGraphicFramePr>
        <p:xfrm>
          <a:off x="336550" y="1988999"/>
          <a:ext cx="7415213" cy="374346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61482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lumMod val="60000"/>
            <a:lumOff val="40000"/>
          </a:schemeClr>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E1FFF24-1AA7-499A-B53B-56ED57DBD57C}"/>
              </a:ext>
            </a:extLst>
          </p:cNvPr>
          <p:cNvGraphicFramePr>
            <a:graphicFrameLocks noChangeAspect="1"/>
          </p:cNvGraphicFramePr>
          <p:nvPr>
            <p:custDataLst>
              <p:tags r:id="rId1"/>
            </p:custDataLst>
            <p:extLst>
              <p:ext uri="{D42A27DB-BD31-4B8C-83A1-F6EECF244321}">
                <p14:modId xmlns:p14="http://schemas.microsoft.com/office/powerpoint/2010/main" val="244836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AE3F3ED6-4F0D-4862-919F-8863939667F6}"/>
              </a:ext>
            </a:extLst>
          </p:cNvPr>
          <p:cNvSpPr>
            <a:spLocks noGrp="1"/>
          </p:cNvSpPr>
          <p:nvPr>
            <p:ph type="title"/>
          </p:nvPr>
        </p:nvSpPr>
        <p:spPr bwMode="gray">
          <a:noFill/>
        </p:spPr>
        <p:txBody>
          <a:bodyPr vert="horz"/>
          <a:lstStyle/>
          <a:p>
            <a:r>
              <a:rPr lang="de-DE" dirty="0"/>
              <a:t>Layout Nur Titel</a:t>
            </a:r>
            <a:br>
              <a:rPr lang="de-DE" dirty="0"/>
            </a:br>
            <a:r>
              <a:rPr lang="de-DE" b="0" dirty="0"/>
              <a:t>Hintergrund generell umfärbbar</a:t>
            </a:r>
          </a:p>
        </p:txBody>
      </p:sp>
      <p:sp>
        <p:nvSpPr>
          <p:cNvPr id="5" name="Date Placeholder 4">
            <a:extLst>
              <a:ext uri="{FF2B5EF4-FFF2-40B4-BE49-F238E27FC236}">
                <a16:creationId xmlns:a16="http://schemas.microsoft.com/office/drawing/2014/main" id="{2F590BB9-6FC8-405C-9950-7A4534207594}"/>
              </a:ext>
            </a:extLst>
          </p:cNvPr>
          <p:cNvSpPr>
            <a:spLocks noGrp="1"/>
          </p:cNvSpPr>
          <p:nvPr>
            <p:ph type="dt" sz="half" idx="10"/>
          </p:nvPr>
        </p:nvSpPr>
        <p:spPr bwMode="gray"/>
        <p:txBody>
          <a:bodyPr/>
          <a:lstStyle/>
          <a:p>
            <a:pPr lvl="0"/>
            <a:fld id="{E3CDC64B-B86D-4D1A-81C4-E1FB6F0C161A}" type="datetime1">
              <a:rPr lang="de-DE" noProof="0" smtClean="0"/>
              <a:t>29.09.25</a:t>
            </a:fld>
            <a:endParaRPr lang="de-DE" noProof="0" dirty="0"/>
          </a:p>
        </p:txBody>
      </p:sp>
      <p:sp>
        <p:nvSpPr>
          <p:cNvPr id="2" name="Fußzeilenplatzhalter 1">
            <a:extLst>
              <a:ext uri="{FF2B5EF4-FFF2-40B4-BE49-F238E27FC236}">
                <a16:creationId xmlns:a16="http://schemas.microsoft.com/office/drawing/2014/main" id="{2A833BCF-5087-460B-A045-A09AEDFDE8C8}"/>
              </a:ext>
            </a:extLst>
          </p:cNvPr>
          <p:cNvSpPr>
            <a:spLocks noGrp="1"/>
          </p:cNvSpPr>
          <p:nvPr>
            <p:ph type="ftr" sz="quarter" idx="11"/>
          </p:nvPr>
        </p:nvSpPr>
        <p:spPr bwMode="gray"/>
        <p:txBody>
          <a:bodyPr/>
          <a:lstStyle/>
          <a:p>
            <a:pPr lvl="0"/>
            <a:r>
              <a:rPr lang="de-DE" noProof="0" dirty="0"/>
              <a:t>TITEL DER PRÄSENTATION | TITEL VORNAME NAME</a:t>
            </a:r>
          </a:p>
        </p:txBody>
      </p:sp>
      <p:sp>
        <p:nvSpPr>
          <p:cNvPr id="3" name="Foliennummernplatzhalter 2">
            <a:extLst>
              <a:ext uri="{FF2B5EF4-FFF2-40B4-BE49-F238E27FC236}">
                <a16:creationId xmlns:a16="http://schemas.microsoft.com/office/drawing/2014/main" id="{18D509AD-5CC8-4388-A25B-FD6C925D8872}"/>
              </a:ext>
            </a:extLst>
          </p:cNvPr>
          <p:cNvSpPr>
            <a:spLocks noGrp="1"/>
          </p:cNvSpPr>
          <p:nvPr>
            <p:ph type="sldNum" sz="quarter" idx="12"/>
          </p:nvPr>
        </p:nvSpPr>
        <p:spPr bwMode="gray"/>
        <p:txBody>
          <a:bodyPr/>
          <a:lstStyle/>
          <a:p>
            <a:pPr lvl="0"/>
            <a:fld id="{09E9C37E-8A19-4E30-BE2B-5A966AD23C7A}" type="slidenum">
              <a:rPr lang="de-DE" noProof="0" smtClean="0"/>
              <a:pPr lvl="0"/>
              <a:t>25</a:t>
            </a:fld>
            <a:endParaRPr lang="de-DE" noProof="0" dirty="0"/>
          </a:p>
        </p:txBody>
      </p:sp>
      <p:sp>
        <p:nvSpPr>
          <p:cNvPr id="12" name="Content Placeholder 9">
            <a:extLst>
              <a:ext uri="{FF2B5EF4-FFF2-40B4-BE49-F238E27FC236}">
                <a16:creationId xmlns:a16="http://schemas.microsoft.com/office/drawing/2014/main" id="{5E5F689B-0DE0-4B25-8A30-C2AEE4BFF0F3}"/>
              </a:ext>
            </a:extLst>
          </p:cNvPr>
          <p:cNvSpPr txBox="1">
            <a:spLocks/>
          </p:cNvSpPr>
          <p:nvPr/>
        </p:nvSpPr>
        <p:spPr bwMode="gray">
          <a:xfrm>
            <a:off x="8040688" y="3285000"/>
            <a:ext cx="3527425" cy="24473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marL="180000" marR="0" lvl="0" indent="-180000" algn="l" defTabSz="914400" rtl="0" eaLnBrk="1" fontAlgn="auto" latinLnBrk="0" hangingPunct="1">
              <a:lnSpc>
                <a:spcPct val="113000"/>
              </a:lnSpc>
              <a:spcBef>
                <a:spcPts val="300"/>
              </a:spcBef>
              <a:spcAft>
                <a:spcPts val="300"/>
              </a:spcAft>
              <a:buClrTx/>
              <a:buSzPct val="100000"/>
              <a:buFont typeface="Wingdings" panose="05000000000000000000" pitchFamily="2" charset="2"/>
              <a:buChar char=""/>
              <a:tabLst/>
              <a:defRPr/>
            </a:pPr>
            <a:r>
              <a:rPr kumimoji="0" lang="de-DE" sz="1400" b="0" i="0" u="none" strike="noStrike" kern="1200" cap="none" spc="0" normalizeH="0" baseline="0" noProof="0" dirty="0">
                <a:ln>
                  <a:noFill/>
                </a:ln>
                <a:solidFill>
                  <a:schemeClr val="bg1"/>
                </a:solidFill>
                <a:effectLst/>
                <a:uLnTx/>
                <a:uFillTx/>
                <a:latin typeface="Verdana"/>
                <a:ea typeface="+mn-ea"/>
                <a:cs typeface="+mn-cs"/>
              </a:rPr>
              <a:t>Lorem ipsum dolor sit amet, maete ate. Aenean commodo ligula eget dolor</a:t>
            </a:r>
          </a:p>
          <a:p>
            <a:pPr marL="180000" marR="0" lvl="0" indent="-180000" algn="l" defTabSz="914400" rtl="0" eaLnBrk="1" fontAlgn="auto" latinLnBrk="0" hangingPunct="1">
              <a:lnSpc>
                <a:spcPct val="113000"/>
              </a:lnSpc>
              <a:spcBef>
                <a:spcPts val="300"/>
              </a:spcBef>
              <a:spcAft>
                <a:spcPts val="300"/>
              </a:spcAft>
              <a:buClrTx/>
              <a:buSzPct val="100000"/>
              <a:buFont typeface="Wingdings" panose="05000000000000000000" pitchFamily="2" charset="2"/>
              <a:buChar char=""/>
              <a:tabLst/>
              <a:defRPr/>
            </a:pPr>
            <a:r>
              <a:rPr kumimoji="0" lang="de-DE" sz="1400" b="0" i="0" u="none" strike="noStrike" kern="1200" cap="none" spc="0" normalizeH="0" baseline="0" noProof="0" dirty="0">
                <a:ln>
                  <a:noFill/>
                </a:ln>
                <a:solidFill>
                  <a:schemeClr val="bg1"/>
                </a:solidFill>
                <a:effectLst/>
                <a:uLnTx/>
                <a:uFillTx/>
                <a:latin typeface="Verdana"/>
                <a:ea typeface="+mn-ea"/>
                <a:cs typeface="+mn-cs"/>
              </a:rPr>
              <a:t>Quisque rutrum. Aenean imperdiet. Etiam ultricies nisi vel augue. Nam eget dui </a:t>
            </a:r>
          </a:p>
        </p:txBody>
      </p:sp>
      <p:graphicFrame>
        <p:nvGraphicFramePr>
          <p:cNvPr id="16" name="Diagramm 7">
            <a:extLst>
              <a:ext uri="{FF2B5EF4-FFF2-40B4-BE49-F238E27FC236}">
                <a16:creationId xmlns:a16="http://schemas.microsoft.com/office/drawing/2014/main" id="{31757E41-CFA5-4416-943F-05D8E2B7AAE6}"/>
              </a:ext>
            </a:extLst>
          </p:cNvPr>
          <p:cNvGraphicFramePr/>
          <p:nvPr>
            <p:extLst>
              <p:ext uri="{D42A27DB-BD31-4B8C-83A1-F6EECF244321}">
                <p14:modId xmlns:p14="http://schemas.microsoft.com/office/powerpoint/2010/main" val="72003668"/>
              </p:ext>
            </p:extLst>
          </p:nvPr>
        </p:nvGraphicFramePr>
        <p:xfrm>
          <a:off x="336550" y="1988999"/>
          <a:ext cx="7415213" cy="3743463"/>
        </p:xfrm>
        <a:graphic>
          <a:graphicData uri="http://schemas.openxmlformats.org/drawingml/2006/chart">
            <c:chart xmlns:c="http://schemas.openxmlformats.org/drawingml/2006/chart" xmlns:r="http://schemas.openxmlformats.org/officeDocument/2006/relationships" r:id="rId5"/>
          </a:graphicData>
        </a:graphic>
      </p:graphicFrame>
      <p:pic>
        <p:nvPicPr>
          <p:cNvPr id="17" name="Grafik 16">
            <a:extLst>
              <a:ext uri="{FF2B5EF4-FFF2-40B4-BE49-F238E27FC236}">
                <a16:creationId xmlns:a16="http://schemas.microsoft.com/office/drawing/2014/main" id="{47CDBF4B-F550-4EC2-BFCB-A52500D66E6B}"/>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bwMode="gray">
          <a:xfrm>
            <a:off x="8256000" y="1989000"/>
            <a:ext cx="1008000" cy="1008000"/>
          </a:xfrm>
          <a:prstGeom prst="rect">
            <a:avLst/>
          </a:prstGeom>
          <a:noFill/>
        </p:spPr>
      </p:pic>
    </p:spTree>
    <p:extLst>
      <p:ext uri="{BB962C8B-B14F-4D97-AF65-F5344CB8AC3E}">
        <p14:creationId xmlns:p14="http://schemas.microsoft.com/office/powerpoint/2010/main" val="227583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E1FFF24-1AA7-499A-B53B-56ED57DBD5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7" name="Objekt 6" hidden="1">
                        <a:extLst>
                          <a:ext uri="{FF2B5EF4-FFF2-40B4-BE49-F238E27FC236}">
                            <a16:creationId xmlns:a16="http://schemas.microsoft.com/office/drawing/2014/main" id="{0E1FFF24-1AA7-499A-B53B-56ED57DBD5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AE3F3ED6-4F0D-4862-919F-8863939667F6}"/>
              </a:ext>
            </a:extLst>
          </p:cNvPr>
          <p:cNvSpPr>
            <a:spLocks noGrp="1"/>
          </p:cNvSpPr>
          <p:nvPr>
            <p:ph type="title"/>
          </p:nvPr>
        </p:nvSpPr>
        <p:spPr bwMode="gray">
          <a:noFill/>
        </p:spPr>
        <p:txBody>
          <a:bodyPr vert="horz"/>
          <a:lstStyle/>
          <a:p>
            <a:r>
              <a:rPr lang="de-DE" dirty="0"/>
              <a:t>Layout Nur Titel</a:t>
            </a:r>
            <a:br>
              <a:rPr lang="de-DE" dirty="0"/>
            </a:br>
            <a:r>
              <a:rPr lang="de-DE" b="0" dirty="0"/>
              <a:t>Hintergrund generell umfärbbar</a:t>
            </a:r>
          </a:p>
        </p:txBody>
      </p:sp>
      <p:sp>
        <p:nvSpPr>
          <p:cNvPr id="5" name="Date Placeholder 4">
            <a:extLst>
              <a:ext uri="{FF2B5EF4-FFF2-40B4-BE49-F238E27FC236}">
                <a16:creationId xmlns:a16="http://schemas.microsoft.com/office/drawing/2014/main" id="{2F590BB9-6FC8-405C-9950-7A4534207594}"/>
              </a:ext>
            </a:extLst>
          </p:cNvPr>
          <p:cNvSpPr>
            <a:spLocks noGrp="1"/>
          </p:cNvSpPr>
          <p:nvPr>
            <p:ph type="dt" sz="half" idx="10"/>
          </p:nvPr>
        </p:nvSpPr>
        <p:spPr bwMode="gray"/>
        <p:txBody>
          <a:bodyPr/>
          <a:lstStyle/>
          <a:p>
            <a:pPr lvl="0"/>
            <a:fld id="{E3CDC64B-B86D-4D1A-81C4-E1FB6F0C161A}" type="datetime1">
              <a:rPr lang="de-DE" noProof="0" smtClean="0"/>
              <a:t>29.09.25</a:t>
            </a:fld>
            <a:endParaRPr lang="de-DE" noProof="0" dirty="0"/>
          </a:p>
        </p:txBody>
      </p:sp>
      <p:sp>
        <p:nvSpPr>
          <p:cNvPr id="2" name="Fußzeilenplatzhalter 1">
            <a:extLst>
              <a:ext uri="{FF2B5EF4-FFF2-40B4-BE49-F238E27FC236}">
                <a16:creationId xmlns:a16="http://schemas.microsoft.com/office/drawing/2014/main" id="{2A833BCF-5087-460B-A045-A09AEDFDE8C8}"/>
              </a:ext>
            </a:extLst>
          </p:cNvPr>
          <p:cNvSpPr>
            <a:spLocks noGrp="1"/>
          </p:cNvSpPr>
          <p:nvPr>
            <p:ph type="ftr" sz="quarter" idx="11"/>
          </p:nvPr>
        </p:nvSpPr>
        <p:spPr bwMode="gray"/>
        <p:txBody>
          <a:bodyPr/>
          <a:lstStyle/>
          <a:p>
            <a:pPr lvl="0"/>
            <a:r>
              <a:rPr lang="de-DE" noProof="0" dirty="0"/>
              <a:t>TITEL DER PRÄSENTATION | TITEL VORNAME NAME</a:t>
            </a:r>
          </a:p>
        </p:txBody>
      </p:sp>
      <p:sp>
        <p:nvSpPr>
          <p:cNvPr id="3" name="Foliennummernplatzhalter 2">
            <a:extLst>
              <a:ext uri="{FF2B5EF4-FFF2-40B4-BE49-F238E27FC236}">
                <a16:creationId xmlns:a16="http://schemas.microsoft.com/office/drawing/2014/main" id="{18D509AD-5CC8-4388-A25B-FD6C925D8872}"/>
              </a:ext>
            </a:extLst>
          </p:cNvPr>
          <p:cNvSpPr>
            <a:spLocks noGrp="1"/>
          </p:cNvSpPr>
          <p:nvPr>
            <p:ph type="sldNum" sz="quarter" idx="12"/>
          </p:nvPr>
        </p:nvSpPr>
        <p:spPr bwMode="gray"/>
        <p:txBody>
          <a:bodyPr/>
          <a:lstStyle/>
          <a:p>
            <a:pPr lvl="0"/>
            <a:fld id="{09E9C37E-8A19-4E30-BE2B-5A966AD23C7A}" type="slidenum">
              <a:rPr lang="de-DE" noProof="0" smtClean="0"/>
              <a:pPr lvl="0"/>
              <a:t>26</a:t>
            </a:fld>
            <a:endParaRPr lang="de-DE" noProof="0" dirty="0"/>
          </a:p>
        </p:txBody>
      </p:sp>
      <p:sp>
        <p:nvSpPr>
          <p:cNvPr id="12" name="Content Placeholder 9">
            <a:extLst>
              <a:ext uri="{FF2B5EF4-FFF2-40B4-BE49-F238E27FC236}">
                <a16:creationId xmlns:a16="http://schemas.microsoft.com/office/drawing/2014/main" id="{5E5F689B-0DE0-4B25-8A30-C2AEE4BFF0F3}"/>
              </a:ext>
            </a:extLst>
          </p:cNvPr>
          <p:cNvSpPr txBox="1">
            <a:spLocks/>
          </p:cNvSpPr>
          <p:nvPr/>
        </p:nvSpPr>
        <p:spPr bwMode="gray">
          <a:xfrm>
            <a:off x="8040688" y="3285000"/>
            <a:ext cx="3527425" cy="24473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marL="180000" marR="0" lvl="0" indent="-180000" algn="l" defTabSz="914400" rtl="0" eaLnBrk="1" fontAlgn="auto" latinLnBrk="0" hangingPunct="1">
              <a:lnSpc>
                <a:spcPct val="113000"/>
              </a:lnSpc>
              <a:spcBef>
                <a:spcPts val="300"/>
              </a:spcBef>
              <a:spcAft>
                <a:spcPts val="300"/>
              </a:spcAft>
              <a:buClrTx/>
              <a:buSzPct val="100000"/>
              <a:buFont typeface="Wingdings" panose="05000000000000000000" pitchFamily="2" charset="2"/>
              <a:buChar char=""/>
              <a:tabLst/>
              <a:defRPr/>
            </a:pPr>
            <a:r>
              <a:rPr kumimoji="0" lang="de-DE" sz="1400" b="0" i="0" u="none" strike="noStrike" kern="1200" cap="none" spc="0" normalizeH="0" baseline="0" noProof="0" dirty="0">
                <a:ln>
                  <a:noFill/>
                </a:ln>
                <a:solidFill>
                  <a:schemeClr val="bg1"/>
                </a:solidFill>
                <a:effectLst/>
                <a:uLnTx/>
                <a:uFillTx/>
                <a:latin typeface="Verdana"/>
                <a:ea typeface="+mn-ea"/>
                <a:cs typeface="+mn-cs"/>
              </a:rPr>
              <a:t>Lorem ipsum dolor sit amet, maete ate. Aenean commodo ligula eget dolor</a:t>
            </a:r>
          </a:p>
          <a:p>
            <a:pPr marL="180000" marR="0" lvl="0" indent="-180000" algn="l" defTabSz="914400" rtl="0" eaLnBrk="1" fontAlgn="auto" latinLnBrk="0" hangingPunct="1">
              <a:lnSpc>
                <a:spcPct val="113000"/>
              </a:lnSpc>
              <a:spcBef>
                <a:spcPts val="300"/>
              </a:spcBef>
              <a:spcAft>
                <a:spcPts val="300"/>
              </a:spcAft>
              <a:buClrTx/>
              <a:buSzPct val="100000"/>
              <a:buFont typeface="Wingdings" panose="05000000000000000000" pitchFamily="2" charset="2"/>
              <a:buChar char=""/>
              <a:tabLst/>
              <a:defRPr/>
            </a:pPr>
            <a:r>
              <a:rPr kumimoji="0" lang="de-DE" sz="1400" b="0" i="0" u="none" strike="noStrike" kern="1200" cap="none" spc="0" normalizeH="0" baseline="0" noProof="0" dirty="0">
                <a:ln>
                  <a:noFill/>
                </a:ln>
                <a:solidFill>
                  <a:schemeClr val="bg1"/>
                </a:solidFill>
                <a:effectLst/>
                <a:uLnTx/>
                <a:uFillTx/>
                <a:latin typeface="Verdana"/>
                <a:ea typeface="+mn-ea"/>
                <a:cs typeface="+mn-cs"/>
              </a:rPr>
              <a:t>Quisque rutrum. Aenean imperdiet. Etiam ultricies nisi vel augue. Nam eget dui </a:t>
            </a:r>
          </a:p>
        </p:txBody>
      </p:sp>
      <p:graphicFrame>
        <p:nvGraphicFramePr>
          <p:cNvPr id="16" name="Diagramm 7">
            <a:extLst>
              <a:ext uri="{FF2B5EF4-FFF2-40B4-BE49-F238E27FC236}">
                <a16:creationId xmlns:a16="http://schemas.microsoft.com/office/drawing/2014/main" id="{31757E41-CFA5-4416-943F-05D8E2B7AAE6}"/>
              </a:ext>
            </a:extLst>
          </p:cNvPr>
          <p:cNvGraphicFramePr/>
          <p:nvPr/>
        </p:nvGraphicFramePr>
        <p:xfrm>
          <a:off x="336550" y="1988999"/>
          <a:ext cx="7415213" cy="3743463"/>
        </p:xfrm>
        <a:graphic>
          <a:graphicData uri="http://schemas.openxmlformats.org/drawingml/2006/chart">
            <c:chart xmlns:c="http://schemas.openxmlformats.org/drawingml/2006/chart" xmlns:r="http://schemas.openxmlformats.org/officeDocument/2006/relationships" r:id="rId5"/>
          </a:graphicData>
        </a:graphic>
      </p:graphicFrame>
      <p:pic>
        <p:nvPicPr>
          <p:cNvPr id="17" name="Grafik 16">
            <a:extLst>
              <a:ext uri="{FF2B5EF4-FFF2-40B4-BE49-F238E27FC236}">
                <a16:creationId xmlns:a16="http://schemas.microsoft.com/office/drawing/2014/main" id="{47CDBF4B-F550-4EC2-BFCB-A52500D66E6B}"/>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bwMode="gray">
          <a:xfrm>
            <a:off x="8256000" y="1989000"/>
            <a:ext cx="1008000" cy="1008000"/>
          </a:xfrm>
          <a:prstGeom prst="rect">
            <a:avLst/>
          </a:prstGeom>
          <a:noFill/>
        </p:spPr>
      </p:pic>
    </p:spTree>
    <p:extLst>
      <p:ext uri="{BB962C8B-B14F-4D97-AF65-F5344CB8AC3E}">
        <p14:creationId xmlns:p14="http://schemas.microsoft.com/office/powerpoint/2010/main" val="890031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38AAA24-661E-448D-813A-22A1A36A35E9}"/>
              </a:ext>
            </a:extLst>
          </p:cNvPr>
          <p:cNvGraphicFramePr>
            <a:graphicFrameLocks noChangeAspect="1"/>
          </p:cNvGraphicFramePr>
          <p:nvPr>
            <p:custDataLst>
              <p:tags r:id="rId1"/>
            </p:custDataLst>
            <p:extLst>
              <p:ext uri="{D42A27DB-BD31-4B8C-83A1-F6EECF244321}">
                <p14:modId xmlns:p14="http://schemas.microsoft.com/office/powerpoint/2010/main" val="2853438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61FF4E21-F376-4BAD-8F59-88E3C4FCFE86}"/>
              </a:ext>
            </a:extLst>
          </p:cNvPr>
          <p:cNvSpPr>
            <a:spLocks noGrp="1"/>
          </p:cNvSpPr>
          <p:nvPr>
            <p:ph type="title"/>
          </p:nvPr>
        </p:nvSpPr>
        <p:spPr bwMode="gray"/>
        <p:txBody>
          <a:bodyPr vert="horz"/>
          <a:lstStyle/>
          <a:p>
            <a:r>
              <a:rPr lang="de-DE" dirty="0"/>
              <a:t>ÜBERSCHRIFT 1</a:t>
            </a:r>
            <a:br>
              <a:rPr lang="de-DE" dirty="0"/>
            </a:br>
            <a:r>
              <a:rPr lang="de-DE" b="0" dirty="0"/>
              <a:t>HIER AUCH DREIZEILIG</a:t>
            </a:r>
            <a:br>
              <a:rPr lang="de-DE" b="0" dirty="0"/>
            </a:br>
            <a:r>
              <a:rPr lang="de-DE" b="0" dirty="0"/>
              <a:t>MÖGLICH</a:t>
            </a:r>
          </a:p>
        </p:txBody>
      </p:sp>
      <p:sp>
        <p:nvSpPr>
          <p:cNvPr id="6" name="Textplatzhalter 5">
            <a:extLst>
              <a:ext uri="{FF2B5EF4-FFF2-40B4-BE49-F238E27FC236}">
                <a16:creationId xmlns:a16="http://schemas.microsoft.com/office/drawing/2014/main" id="{95A4C6AD-DA9B-4C70-A046-91B2FD719E29}"/>
              </a:ext>
            </a:extLst>
          </p:cNvPr>
          <p:cNvSpPr>
            <a:spLocks noGrp="1"/>
          </p:cNvSpPr>
          <p:nvPr>
            <p:ph type="body" sz="quarter" idx="14"/>
          </p:nvPr>
        </p:nvSpPr>
        <p:spPr bwMode="gray"/>
        <p:txBody>
          <a:bodyPr/>
          <a:lstStyle/>
          <a:p>
            <a:r>
              <a:rPr lang="de-DE" dirty="0"/>
              <a:t>Platzhalter für Bildbeschreibung </a:t>
            </a:r>
            <a:br>
              <a:rPr lang="de-DE" dirty="0"/>
            </a:br>
            <a:r>
              <a:rPr lang="de-DE" dirty="0"/>
              <a:t>auch zweizeilig möglich</a:t>
            </a:r>
          </a:p>
        </p:txBody>
      </p:sp>
      <p:pic>
        <p:nvPicPr>
          <p:cNvPr id="15" name="Bildplatzhalter 14">
            <a:extLst>
              <a:ext uri="{FF2B5EF4-FFF2-40B4-BE49-F238E27FC236}">
                <a16:creationId xmlns:a16="http://schemas.microsoft.com/office/drawing/2014/main" id="{EEF936D1-70B5-4E95-9EB0-4CBDA0A8729E}"/>
              </a:ext>
            </a:extLst>
          </p:cNvPr>
          <p:cNvPicPr>
            <a:picLocks noGrp="1" noChangeAspect="1"/>
          </p:cNvPicPr>
          <p:nvPr>
            <p:ph type="pic" sz="quarter" idx="15"/>
          </p:nvPr>
        </p:nvPicPr>
        <p:blipFill>
          <a:blip r:embed="rId5" cstate="screen">
            <a:extLst>
              <a:ext uri="{28A0092B-C50C-407E-A947-70E740481C1C}">
                <a14:useLocalDpi xmlns:a14="http://schemas.microsoft.com/office/drawing/2010/main"/>
              </a:ext>
            </a:extLst>
          </a:blip>
          <a:srcRect t="4669" b="4669"/>
          <a:stretch/>
        </p:blipFill>
        <p:spPr bwMode="gray"/>
      </p:pic>
      <p:sp>
        <p:nvSpPr>
          <p:cNvPr id="13" name="Date Placeholder 12">
            <a:extLst>
              <a:ext uri="{FF2B5EF4-FFF2-40B4-BE49-F238E27FC236}">
                <a16:creationId xmlns:a16="http://schemas.microsoft.com/office/drawing/2014/main" id="{EEE3D79F-A93E-455D-9F13-DF4ECB70E1C5}"/>
              </a:ext>
            </a:extLst>
          </p:cNvPr>
          <p:cNvSpPr>
            <a:spLocks noGrp="1"/>
          </p:cNvSpPr>
          <p:nvPr>
            <p:ph type="dt" sz="half" idx="16"/>
          </p:nvPr>
        </p:nvSpPr>
        <p:spPr bwMode="gray"/>
        <p:txBody>
          <a:bodyPr/>
          <a:lstStyle/>
          <a:p>
            <a:fld id="{0A37BBCC-3ED3-47AC-9295-176504C9193D}" type="datetime1">
              <a:rPr lang="de-DE" smtClean="0"/>
              <a:t>29.09.25</a:t>
            </a:fld>
            <a:endParaRPr lang="de-DE" dirty="0"/>
          </a:p>
        </p:txBody>
      </p:sp>
      <p:sp>
        <p:nvSpPr>
          <p:cNvPr id="2" name="Fußzeilenplatzhalter 1">
            <a:extLst>
              <a:ext uri="{FF2B5EF4-FFF2-40B4-BE49-F238E27FC236}">
                <a16:creationId xmlns:a16="http://schemas.microsoft.com/office/drawing/2014/main" id="{5E554738-D1AB-4BC0-AE9C-41D6D69A5B44}"/>
              </a:ext>
            </a:extLst>
          </p:cNvPr>
          <p:cNvSpPr>
            <a:spLocks noGrp="1"/>
          </p:cNvSpPr>
          <p:nvPr>
            <p:ph type="ftr" sz="quarter" idx="17"/>
          </p:nvPr>
        </p:nvSpPr>
        <p:spPr bwMode="gray"/>
        <p:txBody>
          <a:bodyPr/>
          <a:lstStyle/>
          <a:p>
            <a:r>
              <a:rPr lang="de-DE" dirty="0"/>
              <a:t>TITEL DER PRÄSENTATION | TITEL VORNAME NAME</a:t>
            </a:r>
          </a:p>
        </p:txBody>
      </p:sp>
      <p:sp>
        <p:nvSpPr>
          <p:cNvPr id="3" name="Foliennummernplatzhalter 2">
            <a:extLst>
              <a:ext uri="{FF2B5EF4-FFF2-40B4-BE49-F238E27FC236}">
                <a16:creationId xmlns:a16="http://schemas.microsoft.com/office/drawing/2014/main" id="{C33097EB-E49B-41BE-B6C4-CC80440B1BC1}"/>
              </a:ext>
            </a:extLst>
          </p:cNvPr>
          <p:cNvSpPr>
            <a:spLocks noGrp="1"/>
          </p:cNvSpPr>
          <p:nvPr>
            <p:ph type="sldNum" sz="quarter" idx="18"/>
          </p:nvPr>
        </p:nvSpPr>
        <p:spPr bwMode="gray"/>
        <p:txBody>
          <a:bodyPr/>
          <a:lstStyle/>
          <a:p>
            <a:fld id="{09E9C37E-8A19-4E30-BE2B-5A966AD23C7A}" type="slidenum">
              <a:rPr lang="de-DE" smtClean="0"/>
              <a:pPr/>
              <a:t>27</a:t>
            </a:fld>
            <a:endParaRPr lang="de-DE" dirty="0"/>
          </a:p>
        </p:txBody>
      </p:sp>
      <p:sp>
        <p:nvSpPr>
          <p:cNvPr id="5" name="Textplatzhalter 4">
            <a:extLst>
              <a:ext uri="{FF2B5EF4-FFF2-40B4-BE49-F238E27FC236}">
                <a16:creationId xmlns:a16="http://schemas.microsoft.com/office/drawing/2014/main" id="{F101656B-A13B-46FC-8C72-1D5DDD388011}"/>
              </a:ext>
            </a:extLst>
          </p:cNvPr>
          <p:cNvSpPr>
            <a:spLocks noGrp="1"/>
          </p:cNvSpPr>
          <p:nvPr>
            <p:ph sz="quarter" idx="19"/>
          </p:nvPr>
        </p:nvSpPr>
        <p:spPr bwMode="gray"/>
        <p:txBody>
          <a:bodyPr/>
          <a:lstStyle/>
          <a:p>
            <a:pPr lvl="2"/>
            <a:r>
              <a:rPr lang="de-DE" dirty="0"/>
              <a:t>Zwischenüberschrift auf Listenebene Drei</a:t>
            </a:r>
          </a:p>
          <a:p>
            <a:pPr lvl="1"/>
            <a:r>
              <a:rPr lang="de-DE" dirty="0"/>
              <a:t>Fließtext auf Ebene Zwei. Lorem ipsum dolor sit amet, consetetur sadipscing elitr, sed diam nonumy eirmod tempor invidunt ut labore et dolore magna aliquyam erat.</a:t>
            </a:r>
          </a:p>
          <a:p>
            <a:pPr lvl="1"/>
            <a:r>
              <a:rPr lang="de-DE" dirty="0"/>
              <a:t>Ased diam voluptua. At vero eos et accusam et justo duo dolores et ea rebum. </a:t>
            </a:r>
          </a:p>
          <a:p>
            <a:r>
              <a:rPr lang="de-DE" dirty="0"/>
              <a:t>Erste Aufzählungsebene: Ebene Eins</a:t>
            </a:r>
          </a:p>
          <a:p>
            <a:r>
              <a:rPr lang="de-DE" dirty="0"/>
              <a:t>Lorem ipsum dolor sit amet</a:t>
            </a:r>
          </a:p>
          <a:p>
            <a:pPr lvl="3"/>
            <a:r>
              <a:rPr lang="de-DE" dirty="0"/>
              <a:t>Weitere Unterpunkte ab vierter Ebene</a:t>
            </a:r>
          </a:p>
          <a:p>
            <a:pPr lvl="3"/>
            <a:r>
              <a:rPr lang="de-DE" dirty="0"/>
              <a:t>Lorem ipsum dolor sit amet</a:t>
            </a:r>
          </a:p>
        </p:txBody>
      </p:sp>
    </p:spTree>
    <p:extLst>
      <p:ext uri="{BB962C8B-B14F-4D97-AF65-F5344CB8AC3E}">
        <p14:creationId xmlns:p14="http://schemas.microsoft.com/office/powerpoint/2010/main" val="2055449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lumMod val="60000"/>
            <a:lumOff val="40000"/>
          </a:schemeClr>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FBA2ACF0-0AE3-4027-A333-74D1750F87B3}"/>
              </a:ext>
            </a:extLst>
          </p:cNvPr>
          <p:cNvGraphicFramePr>
            <a:graphicFrameLocks noChangeAspect="1"/>
          </p:cNvGraphicFramePr>
          <p:nvPr>
            <p:custDataLst>
              <p:tags r:id="rId1"/>
            </p:custDataLst>
            <p:extLst>
              <p:ext uri="{D42A27DB-BD31-4B8C-83A1-F6EECF244321}">
                <p14:modId xmlns:p14="http://schemas.microsoft.com/office/powerpoint/2010/main" val="216240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hteck 6">
            <a:extLst>
              <a:ext uri="{FF2B5EF4-FFF2-40B4-BE49-F238E27FC236}">
                <a16:creationId xmlns:a16="http://schemas.microsoft.com/office/drawing/2014/main" id="{65553F10-165E-4F5A-9048-2F51DDDD0D3F}"/>
              </a:ext>
            </a:extLst>
          </p:cNvPr>
          <p:cNvSpPr/>
          <p:nvPr/>
        </p:nvSpPr>
        <p:spPr bwMode="gray">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4" name="Titel 3">
            <a:extLst>
              <a:ext uri="{FF2B5EF4-FFF2-40B4-BE49-F238E27FC236}">
                <a16:creationId xmlns:a16="http://schemas.microsoft.com/office/drawing/2014/main" id="{61FF4E21-F376-4BAD-8F59-88E3C4FCFE86}"/>
              </a:ext>
            </a:extLst>
          </p:cNvPr>
          <p:cNvSpPr>
            <a:spLocks noGrp="1"/>
          </p:cNvSpPr>
          <p:nvPr>
            <p:ph type="title"/>
          </p:nvPr>
        </p:nvSpPr>
        <p:spPr bwMode="gray">
          <a:xfrm>
            <a:off x="336000" y="765000"/>
            <a:ext cx="5472663" cy="936000"/>
          </a:xfrm>
        </p:spPr>
        <p:txBody>
          <a:bodyPr vert="horz"/>
          <a:lstStyle/>
          <a:p>
            <a:r>
              <a:rPr lang="de-DE" dirty="0">
                <a:solidFill>
                  <a:schemeClr val="tx2"/>
                </a:solidFill>
              </a:rPr>
              <a:t>ÜBERSCHRIFT 1</a:t>
            </a:r>
            <a:br>
              <a:rPr lang="de-DE" dirty="0">
                <a:solidFill>
                  <a:schemeClr val="tx2"/>
                </a:solidFill>
              </a:rPr>
            </a:br>
            <a:r>
              <a:rPr lang="de-DE" b="0" dirty="0"/>
              <a:t>HIER AUCH DREIZEILIG MÖGLICH,</a:t>
            </a:r>
            <a:br>
              <a:rPr lang="de-DE" b="0" dirty="0"/>
            </a:br>
            <a:r>
              <a:rPr lang="de-DE" b="0" dirty="0"/>
              <a:t>Hintergrund generell umfärbbar</a:t>
            </a:r>
            <a:endParaRPr lang="de-DE" b="0" dirty="0">
              <a:solidFill>
                <a:schemeClr val="tx2"/>
              </a:solidFill>
            </a:endParaRPr>
          </a:p>
        </p:txBody>
      </p:sp>
      <p:sp>
        <p:nvSpPr>
          <p:cNvPr id="6" name="Textplatzhalter 5">
            <a:extLst>
              <a:ext uri="{FF2B5EF4-FFF2-40B4-BE49-F238E27FC236}">
                <a16:creationId xmlns:a16="http://schemas.microsoft.com/office/drawing/2014/main" id="{95A4C6AD-DA9B-4C70-A046-91B2FD719E29}"/>
              </a:ext>
            </a:extLst>
          </p:cNvPr>
          <p:cNvSpPr>
            <a:spLocks noGrp="1"/>
          </p:cNvSpPr>
          <p:nvPr>
            <p:ph type="body" sz="quarter" idx="14"/>
          </p:nvPr>
        </p:nvSpPr>
        <p:spPr bwMode="gray"/>
        <p:txBody>
          <a:bodyPr/>
          <a:lstStyle/>
          <a:p>
            <a:r>
              <a:rPr lang="de-DE" dirty="0">
                <a:solidFill>
                  <a:schemeClr val="bg1"/>
                </a:solidFill>
              </a:rPr>
              <a:t>Platzhalter für Bildbeschreibung </a:t>
            </a:r>
            <a:br>
              <a:rPr lang="de-DE" dirty="0">
                <a:solidFill>
                  <a:schemeClr val="bg1"/>
                </a:solidFill>
              </a:rPr>
            </a:br>
            <a:r>
              <a:rPr lang="de-DE" dirty="0">
                <a:solidFill>
                  <a:schemeClr val="bg1"/>
                </a:solidFill>
              </a:rPr>
              <a:t>auch zweizeilig möglich</a:t>
            </a:r>
          </a:p>
        </p:txBody>
      </p:sp>
      <p:pic>
        <p:nvPicPr>
          <p:cNvPr id="15" name="Bildplatzhalter 14">
            <a:extLst>
              <a:ext uri="{FF2B5EF4-FFF2-40B4-BE49-F238E27FC236}">
                <a16:creationId xmlns:a16="http://schemas.microsoft.com/office/drawing/2014/main" id="{EEF936D1-70B5-4E95-9EB0-4CBDA0A8729E}"/>
              </a:ext>
            </a:extLst>
          </p:cNvPr>
          <p:cNvPicPr>
            <a:picLocks noGrp="1" noChangeAspect="1"/>
          </p:cNvPicPr>
          <p:nvPr>
            <p:ph type="pic" sz="quarter" idx="15"/>
          </p:nvPr>
        </p:nvPicPr>
        <p:blipFill>
          <a:blip r:embed="rId5" cstate="screen">
            <a:extLst>
              <a:ext uri="{28A0092B-C50C-407E-A947-70E740481C1C}">
                <a14:useLocalDpi xmlns:a14="http://schemas.microsoft.com/office/drawing/2010/main"/>
              </a:ext>
            </a:extLst>
          </a:blip>
          <a:srcRect t="4669" b="4669"/>
          <a:stretch/>
        </p:blipFill>
        <p:spPr bwMode="gray"/>
      </p:pic>
      <p:sp>
        <p:nvSpPr>
          <p:cNvPr id="13" name="Date Placeholder 12">
            <a:extLst>
              <a:ext uri="{FF2B5EF4-FFF2-40B4-BE49-F238E27FC236}">
                <a16:creationId xmlns:a16="http://schemas.microsoft.com/office/drawing/2014/main" id="{EEE3D79F-A93E-455D-9F13-DF4ECB70E1C5}"/>
              </a:ext>
            </a:extLst>
          </p:cNvPr>
          <p:cNvSpPr>
            <a:spLocks noGrp="1"/>
          </p:cNvSpPr>
          <p:nvPr>
            <p:ph type="dt" sz="half" idx="16"/>
          </p:nvPr>
        </p:nvSpPr>
        <p:spPr bwMode="gray"/>
        <p:txBody>
          <a:bodyPr/>
          <a:lstStyle/>
          <a:p>
            <a:fld id="{C10783C4-2CB3-41BF-BB2E-D62D9E050EE1}" type="datetime1">
              <a:rPr lang="de-DE" smtClean="0">
                <a:solidFill>
                  <a:schemeClr val="bg1"/>
                </a:solidFill>
              </a:rPr>
              <a:t>29.09.25</a:t>
            </a:fld>
            <a:endParaRPr lang="de-DE" dirty="0">
              <a:solidFill>
                <a:schemeClr val="bg1"/>
              </a:solidFill>
            </a:endParaRPr>
          </a:p>
        </p:txBody>
      </p:sp>
      <p:sp>
        <p:nvSpPr>
          <p:cNvPr id="2" name="Fußzeilenplatzhalter 1">
            <a:extLst>
              <a:ext uri="{FF2B5EF4-FFF2-40B4-BE49-F238E27FC236}">
                <a16:creationId xmlns:a16="http://schemas.microsoft.com/office/drawing/2014/main" id="{5E554738-D1AB-4BC0-AE9C-41D6D69A5B44}"/>
              </a:ext>
            </a:extLst>
          </p:cNvPr>
          <p:cNvSpPr>
            <a:spLocks noGrp="1"/>
          </p:cNvSpPr>
          <p:nvPr>
            <p:ph type="ftr" sz="quarter" idx="17"/>
          </p:nvPr>
        </p:nvSpPr>
        <p:spPr bwMode="gray"/>
        <p:txBody>
          <a:bodyPr/>
          <a:lstStyle/>
          <a:p>
            <a:r>
              <a:rPr lang="de-DE" dirty="0"/>
              <a:t>TITEL DER PRÄSENTATION | TITEL VORNAME NAME</a:t>
            </a:r>
          </a:p>
        </p:txBody>
      </p:sp>
      <p:sp>
        <p:nvSpPr>
          <p:cNvPr id="3" name="Foliennummernplatzhalter 2">
            <a:extLst>
              <a:ext uri="{FF2B5EF4-FFF2-40B4-BE49-F238E27FC236}">
                <a16:creationId xmlns:a16="http://schemas.microsoft.com/office/drawing/2014/main" id="{C33097EB-E49B-41BE-B6C4-CC80440B1BC1}"/>
              </a:ext>
            </a:extLst>
          </p:cNvPr>
          <p:cNvSpPr>
            <a:spLocks noGrp="1"/>
          </p:cNvSpPr>
          <p:nvPr>
            <p:ph type="sldNum" sz="quarter" idx="18"/>
          </p:nvPr>
        </p:nvSpPr>
        <p:spPr bwMode="gray"/>
        <p:txBody>
          <a:bodyPr/>
          <a:lstStyle/>
          <a:p>
            <a:fld id="{09E9C37E-8A19-4E30-BE2B-5A966AD23C7A}" type="slidenum">
              <a:rPr lang="de-DE" smtClean="0">
                <a:solidFill>
                  <a:schemeClr val="bg1"/>
                </a:solidFill>
              </a:rPr>
              <a:pPr/>
              <a:t>28</a:t>
            </a:fld>
            <a:endParaRPr lang="de-DE" dirty="0">
              <a:solidFill>
                <a:schemeClr val="bg1"/>
              </a:solidFill>
            </a:endParaRPr>
          </a:p>
        </p:txBody>
      </p:sp>
      <p:sp>
        <p:nvSpPr>
          <p:cNvPr id="5" name="Textplatzhalter 4">
            <a:extLst>
              <a:ext uri="{FF2B5EF4-FFF2-40B4-BE49-F238E27FC236}">
                <a16:creationId xmlns:a16="http://schemas.microsoft.com/office/drawing/2014/main" id="{F101656B-A13B-46FC-8C72-1D5DDD388011}"/>
              </a:ext>
            </a:extLst>
          </p:cNvPr>
          <p:cNvSpPr>
            <a:spLocks noGrp="1"/>
          </p:cNvSpPr>
          <p:nvPr>
            <p:ph sz="quarter" idx="19"/>
          </p:nvPr>
        </p:nvSpPr>
        <p:spPr bwMode="gray">
          <a:xfrm>
            <a:off x="336000" y="1989000"/>
            <a:ext cx="3527975" cy="3744000"/>
          </a:xfrm>
        </p:spPr>
        <p:txBody>
          <a:bodyPr/>
          <a:lstStyle/>
          <a:p>
            <a:pPr lvl="2"/>
            <a:r>
              <a:rPr lang="de-DE" dirty="0"/>
              <a:t>Optionale Zwischenüberschrift</a:t>
            </a:r>
          </a:p>
          <a:p>
            <a:pPr lvl="1"/>
            <a:r>
              <a:rPr lang="de-DE" dirty="0"/>
              <a:t>Fließtext auf Ebene Zwei. Lorem ipsum dolor sit amet, consetetur sadipscing elitr, sed diam nonumy eirmod tempor invidunt ut labore et dolore magna aliquyam erat.</a:t>
            </a:r>
          </a:p>
          <a:p>
            <a:pPr lvl="1"/>
            <a:r>
              <a:rPr lang="de-DE" dirty="0"/>
              <a:t>Ased diam voluptua. At vero eos et accusam et justo duo dolores.</a:t>
            </a:r>
          </a:p>
        </p:txBody>
      </p:sp>
    </p:spTree>
    <p:extLst>
      <p:ext uri="{BB962C8B-B14F-4D97-AF65-F5344CB8AC3E}">
        <p14:creationId xmlns:p14="http://schemas.microsoft.com/office/powerpoint/2010/main" val="789138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FBA2ACF0-0AE3-4027-A333-74D1750F87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9" name="Objekt 8" hidden="1">
                        <a:extLst>
                          <a:ext uri="{FF2B5EF4-FFF2-40B4-BE49-F238E27FC236}">
                            <a16:creationId xmlns:a16="http://schemas.microsoft.com/office/drawing/2014/main" id="{FBA2ACF0-0AE3-4027-A333-74D1750F87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hteck 6">
            <a:extLst>
              <a:ext uri="{FF2B5EF4-FFF2-40B4-BE49-F238E27FC236}">
                <a16:creationId xmlns:a16="http://schemas.microsoft.com/office/drawing/2014/main" id="{65553F10-165E-4F5A-9048-2F51DDDD0D3F}"/>
              </a:ext>
            </a:extLst>
          </p:cNvPr>
          <p:cNvSpPr/>
          <p:nvPr/>
        </p:nvSpPr>
        <p:spPr bwMode="gray">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4" name="Titel 3">
            <a:extLst>
              <a:ext uri="{FF2B5EF4-FFF2-40B4-BE49-F238E27FC236}">
                <a16:creationId xmlns:a16="http://schemas.microsoft.com/office/drawing/2014/main" id="{61FF4E21-F376-4BAD-8F59-88E3C4FCFE86}"/>
              </a:ext>
            </a:extLst>
          </p:cNvPr>
          <p:cNvSpPr>
            <a:spLocks noGrp="1"/>
          </p:cNvSpPr>
          <p:nvPr>
            <p:ph type="title"/>
          </p:nvPr>
        </p:nvSpPr>
        <p:spPr bwMode="gray">
          <a:xfrm>
            <a:off x="336000" y="765000"/>
            <a:ext cx="5472663" cy="936000"/>
          </a:xfrm>
        </p:spPr>
        <p:txBody>
          <a:bodyPr vert="horz"/>
          <a:lstStyle/>
          <a:p>
            <a:r>
              <a:rPr lang="de-DE" dirty="0">
                <a:solidFill>
                  <a:schemeClr val="tx2"/>
                </a:solidFill>
              </a:rPr>
              <a:t>ÜBERSCHRIFT 1</a:t>
            </a:r>
            <a:br>
              <a:rPr lang="de-DE" dirty="0">
                <a:solidFill>
                  <a:schemeClr val="tx2"/>
                </a:solidFill>
              </a:rPr>
            </a:br>
            <a:r>
              <a:rPr lang="de-DE" b="0" dirty="0"/>
              <a:t>HIER AUCH DREIZEILIG MÖGLICH,</a:t>
            </a:r>
            <a:br>
              <a:rPr lang="de-DE" b="0" dirty="0"/>
            </a:br>
            <a:r>
              <a:rPr lang="de-DE" b="0" dirty="0"/>
              <a:t>Hintergrund generell umfärbbar</a:t>
            </a:r>
            <a:endParaRPr lang="de-DE" b="0" dirty="0">
              <a:solidFill>
                <a:schemeClr val="tx2"/>
              </a:solidFill>
            </a:endParaRPr>
          </a:p>
        </p:txBody>
      </p:sp>
      <p:sp>
        <p:nvSpPr>
          <p:cNvPr id="6" name="Textplatzhalter 5">
            <a:extLst>
              <a:ext uri="{FF2B5EF4-FFF2-40B4-BE49-F238E27FC236}">
                <a16:creationId xmlns:a16="http://schemas.microsoft.com/office/drawing/2014/main" id="{95A4C6AD-DA9B-4C70-A046-91B2FD719E29}"/>
              </a:ext>
            </a:extLst>
          </p:cNvPr>
          <p:cNvSpPr>
            <a:spLocks noGrp="1"/>
          </p:cNvSpPr>
          <p:nvPr>
            <p:ph type="body" sz="quarter" idx="14"/>
          </p:nvPr>
        </p:nvSpPr>
        <p:spPr bwMode="gray"/>
        <p:txBody>
          <a:bodyPr/>
          <a:lstStyle/>
          <a:p>
            <a:r>
              <a:rPr lang="de-DE" dirty="0">
                <a:solidFill>
                  <a:schemeClr val="bg1"/>
                </a:solidFill>
              </a:rPr>
              <a:t>Platzhalter für Bildbeschreibung </a:t>
            </a:r>
            <a:br>
              <a:rPr lang="de-DE" dirty="0">
                <a:solidFill>
                  <a:schemeClr val="bg1"/>
                </a:solidFill>
              </a:rPr>
            </a:br>
            <a:r>
              <a:rPr lang="de-DE" dirty="0">
                <a:solidFill>
                  <a:schemeClr val="bg1"/>
                </a:solidFill>
              </a:rPr>
              <a:t>auch zweizeilig möglich</a:t>
            </a:r>
          </a:p>
        </p:txBody>
      </p:sp>
      <p:pic>
        <p:nvPicPr>
          <p:cNvPr id="15" name="Bildplatzhalter 14">
            <a:extLst>
              <a:ext uri="{FF2B5EF4-FFF2-40B4-BE49-F238E27FC236}">
                <a16:creationId xmlns:a16="http://schemas.microsoft.com/office/drawing/2014/main" id="{EEF936D1-70B5-4E95-9EB0-4CBDA0A8729E}"/>
              </a:ext>
            </a:extLst>
          </p:cNvPr>
          <p:cNvPicPr>
            <a:picLocks noGrp="1" noChangeAspect="1"/>
          </p:cNvPicPr>
          <p:nvPr>
            <p:ph type="pic" sz="quarter" idx="15"/>
          </p:nvPr>
        </p:nvPicPr>
        <p:blipFill>
          <a:blip r:embed="rId5" cstate="screen">
            <a:extLst>
              <a:ext uri="{28A0092B-C50C-407E-A947-70E740481C1C}">
                <a14:useLocalDpi xmlns:a14="http://schemas.microsoft.com/office/drawing/2010/main"/>
              </a:ext>
            </a:extLst>
          </a:blip>
          <a:srcRect t="4669" b="4669"/>
          <a:stretch/>
        </p:blipFill>
        <p:spPr bwMode="gray"/>
      </p:pic>
      <p:sp>
        <p:nvSpPr>
          <p:cNvPr id="13" name="Date Placeholder 12">
            <a:extLst>
              <a:ext uri="{FF2B5EF4-FFF2-40B4-BE49-F238E27FC236}">
                <a16:creationId xmlns:a16="http://schemas.microsoft.com/office/drawing/2014/main" id="{EEE3D79F-A93E-455D-9F13-DF4ECB70E1C5}"/>
              </a:ext>
            </a:extLst>
          </p:cNvPr>
          <p:cNvSpPr>
            <a:spLocks noGrp="1"/>
          </p:cNvSpPr>
          <p:nvPr>
            <p:ph type="dt" sz="half" idx="16"/>
          </p:nvPr>
        </p:nvSpPr>
        <p:spPr bwMode="gray"/>
        <p:txBody>
          <a:bodyPr/>
          <a:lstStyle/>
          <a:p>
            <a:fld id="{C10783C4-2CB3-41BF-BB2E-D62D9E050EE1}" type="datetime1">
              <a:rPr lang="de-DE" smtClean="0">
                <a:solidFill>
                  <a:schemeClr val="bg1"/>
                </a:solidFill>
              </a:rPr>
              <a:t>29.09.25</a:t>
            </a:fld>
            <a:endParaRPr lang="de-DE" dirty="0">
              <a:solidFill>
                <a:schemeClr val="bg1"/>
              </a:solidFill>
            </a:endParaRPr>
          </a:p>
        </p:txBody>
      </p:sp>
      <p:sp>
        <p:nvSpPr>
          <p:cNvPr id="2" name="Fußzeilenplatzhalter 1">
            <a:extLst>
              <a:ext uri="{FF2B5EF4-FFF2-40B4-BE49-F238E27FC236}">
                <a16:creationId xmlns:a16="http://schemas.microsoft.com/office/drawing/2014/main" id="{5E554738-D1AB-4BC0-AE9C-41D6D69A5B44}"/>
              </a:ext>
            </a:extLst>
          </p:cNvPr>
          <p:cNvSpPr>
            <a:spLocks noGrp="1"/>
          </p:cNvSpPr>
          <p:nvPr>
            <p:ph type="ftr" sz="quarter" idx="17"/>
          </p:nvPr>
        </p:nvSpPr>
        <p:spPr bwMode="gray"/>
        <p:txBody>
          <a:bodyPr/>
          <a:lstStyle/>
          <a:p>
            <a:r>
              <a:rPr lang="de-DE" dirty="0"/>
              <a:t>TITEL DER PRÄSENTATION | TITEL VORNAME NAME</a:t>
            </a:r>
          </a:p>
        </p:txBody>
      </p:sp>
      <p:sp>
        <p:nvSpPr>
          <p:cNvPr id="3" name="Foliennummernplatzhalter 2">
            <a:extLst>
              <a:ext uri="{FF2B5EF4-FFF2-40B4-BE49-F238E27FC236}">
                <a16:creationId xmlns:a16="http://schemas.microsoft.com/office/drawing/2014/main" id="{C33097EB-E49B-41BE-B6C4-CC80440B1BC1}"/>
              </a:ext>
            </a:extLst>
          </p:cNvPr>
          <p:cNvSpPr>
            <a:spLocks noGrp="1"/>
          </p:cNvSpPr>
          <p:nvPr>
            <p:ph type="sldNum" sz="quarter" idx="18"/>
          </p:nvPr>
        </p:nvSpPr>
        <p:spPr bwMode="gray"/>
        <p:txBody>
          <a:bodyPr/>
          <a:lstStyle/>
          <a:p>
            <a:fld id="{09E9C37E-8A19-4E30-BE2B-5A966AD23C7A}" type="slidenum">
              <a:rPr lang="de-DE" smtClean="0">
                <a:solidFill>
                  <a:schemeClr val="bg1"/>
                </a:solidFill>
              </a:rPr>
              <a:pPr/>
              <a:t>29</a:t>
            </a:fld>
            <a:endParaRPr lang="de-DE" dirty="0">
              <a:solidFill>
                <a:schemeClr val="bg1"/>
              </a:solidFill>
            </a:endParaRPr>
          </a:p>
        </p:txBody>
      </p:sp>
      <p:sp>
        <p:nvSpPr>
          <p:cNvPr id="5" name="Textplatzhalter 4">
            <a:extLst>
              <a:ext uri="{FF2B5EF4-FFF2-40B4-BE49-F238E27FC236}">
                <a16:creationId xmlns:a16="http://schemas.microsoft.com/office/drawing/2014/main" id="{F101656B-A13B-46FC-8C72-1D5DDD388011}"/>
              </a:ext>
            </a:extLst>
          </p:cNvPr>
          <p:cNvSpPr>
            <a:spLocks noGrp="1"/>
          </p:cNvSpPr>
          <p:nvPr>
            <p:ph sz="quarter" idx="19"/>
          </p:nvPr>
        </p:nvSpPr>
        <p:spPr bwMode="gray">
          <a:xfrm>
            <a:off x="336000" y="1989000"/>
            <a:ext cx="3527975" cy="3744000"/>
          </a:xfrm>
        </p:spPr>
        <p:txBody>
          <a:bodyPr/>
          <a:lstStyle/>
          <a:p>
            <a:pPr lvl="2"/>
            <a:r>
              <a:rPr lang="de-DE" dirty="0"/>
              <a:t>Optionale Zwischenüberschrift</a:t>
            </a:r>
          </a:p>
          <a:p>
            <a:pPr lvl="1"/>
            <a:r>
              <a:rPr lang="de-DE" dirty="0"/>
              <a:t>Fließtext auf Ebene Zwei. Lorem ipsum dolor sit amet, consetetur sadipscing elitr, sed diam nonumy eirmod tempor invidunt ut labore et dolore magna aliquyam erat.</a:t>
            </a:r>
          </a:p>
          <a:p>
            <a:pPr lvl="1"/>
            <a:r>
              <a:rPr lang="de-DE" dirty="0"/>
              <a:t>Ased diam voluptua. At vero eos et accusam et justo duo dolores.</a:t>
            </a:r>
          </a:p>
        </p:txBody>
      </p:sp>
    </p:spTree>
    <p:extLst>
      <p:ext uri="{BB962C8B-B14F-4D97-AF65-F5344CB8AC3E}">
        <p14:creationId xmlns:p14="http://schemas.microsoft.com/office/powerpoint/2010/main" val="2273152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AEF19DC0-48E5-594D-939D-C8742BC0945D}"/>
              </a:ext>
            </a:extLst>
          </p:cNvPr>
          <p:cNvSpPr/>
          <p:nvPr/>
        </p:nvSpPr>
        <p:spPr bwMode="gray">
          <a:xfrm>
            <a:off x="0" y="-3490"/>
            <a:ext cx="12192000" cy="6861489"/>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6485 h 6864485"/>
              <a:gd name="connsiteX1" fmla="*/ 9422860 w 12192000"/>
              <a:gd name="connsiteY1" fmla="*/ 0 h 6864485"/>
              <a:gd name="connsiteX2" fmla="*/ 12192000 w 12192000"/>
              <a:gd name="connsiteY2" fmla="*/ 6485 h 6864485"/>
              <a:gd name="connsiteX3" fmla="*/ 12192000 w 12192000"/>
              <a:gd name="connsiteY3" fmla="*/ 6864485 h 6864485"/>
              <a:gd name="connsiteX4" fmla="*/ 0 w 12192000"/>
              <a:gd name="connsiteY4" fmla="*/ 6864485 h 6864485"/>
              <a:gd name="connsiteX5" fmla="*/ 0 w 12192000"/>
              <a:gd name="connsiteY5" fmla="*/ 6485 h 6864485"/>
              <a:gd name="connsiteX0" fmla="*/ 0 w 12192000"/>
              <a:gd name="connsiteY0" fmla="*/ 6485 h 6864485"/>
              <a:gd name="connsiteX1" fmla="*/ 9422860 w 12192000"/>
              <a:gd name="connsiteY1" fmla="*/ 0 h 6864485"/>
              <a:gd name="connsiteX2" fmla="*/ 10655030 w 12192000"/>
              <a:gd name="connsiteY2" fmla="*/ 12971 h 6864485"/>
              <a:gd name="connsiteX3" fmla="*/ 12192000 w 12192000"/>
              <a:gd name="connsiteY3" fmla="*/ 6485 h 6864485"/>
              <a:gd name="connsiteX4" fmla="*/ 12192000 w 12192000"/>
              <a:gd name="connsiteY4" fmla="*/ 6864485 h 6864485"/>
              <a:gd name="connsiteX5" fmla="*/ 0 w 12192000"/>
              <a:gd name="connsiteY5" fmla="*/ 6864485 h 6864485"/>
              <a:gd name="connsiteX6" fmla="*/ 0 w 12192000"/>
              <a:gd name="connsiteY6" fmla="*/ 6485 h 6864485"/>
              <a:gd name="connsiteX0" fmla="*/ 0 w 12192000"/>
              <a:gd name="connsiteY0" fmla="*/ 6485 h 6864485"/>
              <a:gd name="connsiteX1" fmla="*/ 9422860 w 12192000"/>
              <a:gd name="connsiteY1" fmla="*/ 0 h 6864485"/>
              <a:gd name="connsiteX2" fmla="*/ 9429344 w 12192000"/>
              <a:gd name="connsiteY2" fmla="*/ 693907 h 6864485"/>
              <a:gd name="connsiteX3" fmla="*/ 12192000 w 12192000"/>
              <a:gd name="connsiteY3" fmla="*/ 6485 h 6864485"/>
              <a:gd name="connsiteX4" fmla="*/ 12192000 w 12192000"/>
              <a:gd name="connsiteY4" fmla="*/ 6864485 h 6864485"/>
              <a:gd name="connsiteX5" fmla="*/ 0 w 12192000"/>
              <a:gd name="connsiteY5" fmla="*/ 6864485 h 6864485"/>
              <a:gd name="connsiteX6" fmla="*/ 0 w 12192000"/>
              <a:gd name="connsiteY6" fmla="*/ 6485 h 6864485"/>
              <a:gd name="connsiteX0" fmla="*/ 0 w 12192000"/>
              <a:gd name="connsiteY0" fmla="*/ 6485 h 6864485"/>
              <a:gd name="connsiteX1" fmla="*/ 9478701 w 12192000"/>
              <a:gd name="connsiteY1" fmla="*/ 0 h 6864485"/>
              <a:gd name="connsiteX2" fmla="*/ 9429344 w 12192000"/>
              <a:gd name="connsiteY2" fmla="*/ 693907 h 6864485"/>
              <a:gd name="connsiteX3" fmla="*/ 12192000 w 12192000"/>
              <a:gd name="connsiteY3" fmla="*/ 6485 h 6864485"/>
              <a:gd name="connsiteX4" fmla="*/ 12192000 w 12192000"/>
              <a:gd name="connsiteY4" fmla="*/ 6864485 h 6864485"/>
              <a:gd name="connsiteX5" fmla="*/ 0 w 12192000"/>
              <a:gd name="connsiteY5" fmla="*/ 6864485 h 6864485"/>
              <a:gd name="connsiteX6" fmla="*/ 0 w 12192000"/>
              <a:gd name="connsiteY6" fmla="*/ 6485 h 6864485"/>
              <a:gd name="connsiteX0" fmla="*/ 0 w 12192000"/>
              <a:gd name="connsiteY0" fmla="*/ 6485 h 6864485"/>
              <a:gd name="connsiteX1" fmla="*/ 9478701 w 12192000"/>
              <a:gd name="connsiteY1" fmla="*/ 0 h 6864485"/>
              <a:gd name="connsiteX2" fmla="*/ 9265311 w 12192000"/>
              <a:gd name="connsiteY2" fmla="*/ 1583876 h 6864485"/>
              <a:gd name="connsiteX3" fmla="*/ 12192000 w 12192000"/>
              <a:gd name="connsiteY3" fmla="*/ 6485 h 6864485"/>
              <a:gd name="connsiteX4" fmla="*/ 12192000 w 12192000"/>
              <a:gd name="connsiteY4" fmla="*/ 6864485 h 6864485"/>
              <a:gd name="connsiteX5" fmla="*/ 0 w 12192000"/>
              <a:gd name="connsiteY5" fmla="*/ 6864485 h 6864485"/>
              <a:gd name="connsiteX6" fmla="*/ 0 w 12192000"/>
              <a:gd name="connsiteY6" fmla="*/ 6485 h 6864485"/>
              <a:gd name="connsiteX0" fmla="*/ 0 w 12192000"/>
              <a:gd name="connsiteY0" fmla="*/ 6485 h 6864485"/>
              <a:gd name="connsiteX1" fmla="*/ 9478701 w 12192000"/>
              <a:gd name="connsiteY1" fmla="*/ 0 h 6864485"/>
              <a:gd name="connsiteX2" fmla="*/ 9481695 w 12192000"/>
              <a:gd name="connsiteY2" fmla="*/ 1144127 h 6864485"/>
              <a:gd name="connsiteX3" fmla="*/ 12192000 w 12192000"/>
              <a:gd name="connsiteY3" fmla="*/ 6485 h 6864485"/>
              <a:gd name="connsiteX4" fmla="*/ 12192000 w 12192000"/>
              <a:gd name="connsiteY4" fmla="*/ 6864485 h 6864485"/>
              <a:gd name="connsiteX5" fmla="*/ 0 w 12192000"/>
              <a:gd name="connsiteY5" fmla="*/ 6864485 h 6864485"/>
              <a:gd name="connsiteX6" fmla="*/ 0 w 12192000"/>
              <a:gd name="connsiteY6" fmla="*/ 6485 h 6864485"/>
              <a:gd name="connsiteX0" fmla="*/ 0 w 12192000"/>
              <a:gd name="connsiteY0" fmla="*/ 6485 h 6864485"/>
              <a:gd name="connsiteX1" fmla="*/ 9478701 w 12192000"/>
              <a:gd name="connsiteY1" fmla="*/ 0 h 6864485"/>
              <a:gd name="connsiteX2" fmla="*/ 9481695 w 12192000"/>
              <a:gd name="connsiteY2" fmla="*/ 1144127 h 6864485"/>
              <a:gd name="connsiteX3" fmla="*/ 11395099 w 12192000"/>
              <a:gd name="connsiteY3" fmla="*/ 338043 h 6864485"/>
              <a:gd name="connsiteX4" fmla="*/ 12192000 w 12192000"/>
              <a:gd name="connsiteY4" fmla="*/ 6485 h 6864485"/>
              <a:gd name="connsiteX5" fmla="*/ 12192000 w 12192000"/>
              <a:gd name="connsiteY5" fmla="*/ 6864485 h 6864485"/>
              <a:gd name="connsiteX6" fmla="*/ 0 w 12192000"/>
              <a:gd name="connsiteY6" fmla="*/ 6864485 h 6864485"/>
              <a:gd name="connsiteX7" fmla="*/ 0 w 12192000"/>
              <a:gd name="connsiteY7" fmla="*/ 6485 h 6864485"/>
              <a:gd name="connsiteX0" fmla="*/ 0 w 12192000"/>
              <a:gd name="connsiteY0" fmla="*/ 6485 h 6864485"/>
              <a:gd name="connsiteX1" fmla="*/ 9478701 w 12192000"/>
              <a:gd name="connsiteY1" fmla="*/ 0 h 6864485"/>
              <a:gd name="connsiteX2" fmla="*/ 9481695 w 12192000"/>
              <a:gd name="connsiteY2" fmla="*/ 1144127 h 6864485"/>
              <a:gd name="connsiteX3" fmla="*/ 11841829 w 12192000"/>
              <a:gd name="connsiteY3" fmla="*/ 1126800 h 6864485"/>
              <a:gd name="connsiteX4" fmla="*/ 12192000 w 12192000"/>
              <a:gd name="connsiteY4" fmla="*/ 6485 h 6864485"/>
              <a:gd name="connsiteX5" fmla="*/ 12192000 w 12192000"/>
              <a:gd name="connsiteY5" fmla="*/ 6864485 h 6864485"/>
              <a:gd name="connsiteX6" fmla="*/ 0 w 12192000"/>
              <a:gd name="connsiteY6" fmla="*/ 6864485 h 6864485"/>
              <a:gd name="connsiteX7" fmla="*/ 0 w 12192000"/>
              <a:gd name="connsiteY7" fmla="*/ 6485 h 6864485"/>
              <a:gd name="connsiteX0" fmla="*/ 0 w 12192000"/>
              <a:gd name="connsiteY0" fmla="*/ 6485 h 6864485"/>
              <a:gd name="connsiteX1" fmla="*/ 9478701 w 12192000"/>
              <a:gd name="connsiteY1" fmla="*/ 0 h 6864485"/>
              <a:gd name="connsiteX2" fmla="*/ 9481695 w 12192000"/>
              <a:gd name="connsiteY2" fmla="*/ 1144127 h 6864485"/>
              <a:gd name="connsiteX3" fmla="*/ 11841829 w 12192000"/>
              <a:gd name="connsiteY3" fmla="*/ 1126800 h 6864485"/>
              <a:gd name="connsiteX4" fmla="*/ 12037273 w 12192000"/>
              <a:gd name="connsiteY4" fmla="*/ 512547 h 6864485"/>
              <a:gd name="connsiteX5" fmla="*/ 12192000 w 12192000"/>
              <a:gd name="connsiteY5" fmla="*/ 6485 h 6864485"/>
              <a:gd name="connsiteX6" fmla="*/ 12192000 w 12192000"/>
              <a:gd name="connsiteY6" fmla="*/ 6864485 h 6864485"/>
              <a:gd name="connsiteX7" fmla="*/ 0 w 12192000"/>
              <a:gd name="connsiteY7" fmla="*/ 6864485 h 6864485"/>
              <a:gd name="connsiteX8" fmla="*/ 0 w 12192000"/>
              <a:gd name="connsiteY8" fmla="*/ 6485 h 6864485"/>
              <a:gd name="connsiteX0" fmla="*/ 0 w 12192000"/>
              <a:gd name="connsiteY0" fmla="*/ 6485 h 6864485"/>
              <a:gd name="connsiteX1" fmla="*/ 9478701 w 12192000"/>
              <a:gd name="connsiteY1" fmla="*/ 0 h 6864485"/>
              <a:gd name="connsiteX2" fmla="*/ 9481695 w 12192000"/>
              <a:gd name="connsiteY2" fmla="*/ 1144127 h 6864485"/>
              <a:gd name="connsiteX3" fmla="*/ 11841829 w 12192000"/>
              <a:gd name="connsiteY3" fmla="*/ 1126800 h 6864485"/>
              <a:gd name="connsiteX4" fmla="*/ 11855789 w 12192000"/>
              <a:gd name="connsiteY4" fmla="*/ 2996 h 6864485"/>
              <a:gd name="connsiteX5" fmla="*/ 12192000 w 12192000"/>
              <a:gd name="connsiteY5" fmla="*/ 6485 h 6864485"/>
              <a:gd name="connsiteX6" fmla="*/ 12192000 w 12192000"/>
              <a:gd name="connsiteY6" fmla="*/ 6864485 h 6864485"/>
              <a:gd name="connsiteX7" fmla="*/ 0 w 12192000"/>
              <a:gd name="connsiteY7" fmla="*/ 6864485 h 6864485"/>
              <a:gd name="connsiteX8" fmla="*/ 0 w 12192000"/>
              <a:gd name="connsiteY8" fmla="*/ 6485 h 6864485"/>
              <a:gd name="connsiteX0" fmla="*/ 0 w 12192000"/>
              <a:gd name="connsiteY0" fmla="*/ 6485 h 6864485"/>
              <a:gd name="connsiteX1" fmla="*/ 9478701 w 12192000"/>
              <a:gd name="connsiteY1" fmla="*/ 0 h 6864485"/>
              <a:gd name="connsiteX2" fmla="*/ 9481695 w 12192000"/>
              <a:gd name="connsiteY2" fmla="*/ 1144127 h 6864485"/>
              <a:gd name="connsiteX3" fmla="*/ 11841829 w 12192000"/>
              <a:gd name="connsiteY3" fmla="*/ 1241972 h 6864485"/>
              <a:gd name="connsiteX4" fmla="*/ 11855789 w 12192000"/>
              <a:gd name="connsiteY4" fmla="*/ 2996 h 6864485"/>
              <a:gd name="connsiteX5" fmla="*/ 12192000 w 12192000"/>
              <a:gd name="connsiteY5" fmla="*/ 6485 h 6864485"/>
              <a:gd name="connsiteX6" fmla="*/ 12192000 w 12192000"/>
              <a:gd name="connsiteY6" fmla="*/ 6864485 h 6864485"/>
              <a:gd name="connsiteX7" fmla="*/ 0 w 12192000"/>
              <a:gd name="connsiteY7" fmla="*/ 6864485 h 6864485"/>
              <a:gd name="connsiteX8" fmla="*/ 0 w 12192000"/>
              <a:gd name="connsiteY8" fmla="*/ 6485 h 6864485"/>
              <a:gd name="connsiteX0" fmla="*/ 0 w 12192000"/>
              <a:gd name="connsiteY0" fmla="*/ 6485 h 6864485"/>
              <a:gd name="connsiteX1" fmla="*/ 9478701 w 12192000"/>
              <a:gd name="connsiteY1" fmla="*/ 0 h 6864485"/>
              <a:gd name="connsiteX2" fmla="*/ 9481695 w 12192000"/>
              <a:gd name="connsiteY2" fmla="*/ 1144127 h 6864485"/>
              <a:gd name="connsiteX3" fmla="*/ 11970962 w 12192000"/>
              <a:gd name="connsiteY3" fmla="*/ 1186131 h 6864485"/>
              <a:gd name="connsiteX4" fmla="*/ 11855789 w 12192000"/>
              <a:gd name="connsiteY4" fmla="*/ 2996 h 6864485"/>
              <a:gd name="connsiteX5" fmla="*/ 12192000 w 12192000"/>
              <a:gd name="connsiteY5" fmla="*/ 6485 h 6864485"/>
              <a:gd name="connsiteX6" fmla="*/ 12192000 w 12192000"/>
              <a:gd name="connsiteY6" fmla="*/ 6864485 h 6864485"/>
              <a:gd name="connsiteX7" fmla="*/ 0 w 12192000"/>
              <a:gd name="connsiteY7" fmla="*/ 6864485 h 6864485"/>
              <a:gd name="connsiteX8" fmla="*/ 0 w 12192000"/>
              <a:gd name="connsiteY8" fmla="*/ 6485 h 6864485"/>
              <a:gd name="connsiteX0" fmla="*/ 0 w 12192000"/>
              <a:gd name="connsiteY0" fmla="*/ 6485 h 6864485"/>
              <a:gd name="connsiteX1" fmla="*/ 9478701 w 12192000"/>
              <a:gd name="connsiteY1" fmla="*/ 0 h 6864485"/>
              <a:gd name="connsiteX2" fmla="*/ 9481695 w 12192000"/>
              <a:gd name="connsiteY2" fmla="*/ 1144127 h 6864485"/>
              <a:gd name="connsiteX3" fmla="*/ 11862026 w 12192000"/>
              <a:gd name="connsiteY3" fmla="*/ 1130012 h 6864485"/>
              <a:gd name="connsiteX4" fmla="*/ 11855789 w 12192000"/>
              <a:gd name="connsiteY4" fmla="*/ 2996 h 6864485"/>
              <a:gd name="connsiteX5" fmla="*/ 12192000 w 12192000"/>
              <a:gd name="connsiteY5" fmla="*/ 6485 h 6864485"/>
              <a:gd name="connsiteX6" fmla="*/ 12192000 w 12192000"/>
              <a:gd name="connsiteY6" fmla="*/ 6864485 h 6864485"/>
              <a:gd name="connsiteX7" fmla="*/ 0 w 12192000"/>
              <a:gd name="connsiteY7" fmla="*/ 6864485 h 6864485"/>
              <a:gd name="connsiteX8" fmla="*/ 0 w 12192000"/>
              <a:gd name="connsiteY8" fmla="*/ 6485 h 6864485"/>
              <a:gd name="connsiteX0" fmla="*/ 0 w 12192000"/>
              <a:gd name="connsiteY0" fmla="*/ 6485 h 6864485"/>
              <a:gd name="connsiteX1" fmla="*/ 9478701 w 12192000"/>
              <a:gd name="connsiteY1" fmla="*/ 0 h 6864485"/>
              <a:gd name="connsiteX2" fmla="*/ 9481695 w 12192000"/>
              <a:gd name="connsiteY2" fmla="*/ 1131427 h 6864485"/>
              <a:gd name="connsiteX3" fmla="*/ 11862026 w 12192000"/>
              <a:gd name="connsiteY3" fmla="*/ 1130012 h 6864485"/>
              <a:gd name="connsiteX4" fmla="*/ 11855789 w 12192000"/>
              <a:gd name="connsiteY4" fmla="*/ 2996 h 6864485"/>
              <a:gd name="connsiteX5" fmla="*/ 12192000 w 12192000"/>
              <a:gd name="connsiteY5" fmla="*/ 6485 h 6864485"/>
              <a:gd name="connsiteX6" fmla="*/ 12192000 w 12192000"/>
              <a:gd name="connsiteY6" fmla="*/ 6864485 h 6864485"/>
              <a:gd name="connsiteX7" fmla="*/ 0 w 12192000"/>
              <a:gd name="connsiteY7" fmla="*/ 6864485 h 6864485"/>
              <a:gd name="connsiteX8" fmla="*/ 0 w 12192000"/>
              <a:gd name="connsiteY8" fmla="*/ 6485 h 6864485"/>
              <a:gd name="connsiteX0" fmla="*/ 0 w 12192000"/>
              <a:gd name="connsiteY0" fmla="*/ 3489 h 6861489"/>
              <a:gd name="connsiteX1" fmla="*/ 9478701 w 12192000"/>
              <a:gd name="connsiteY1" fmla="*/ 179 h 6861489"/>
              <a:gd name="connsiteX2" fmla="*/ 9481695 w 12192000"/>
              <a:gd name="connsiteY2" fmla="*/ 1128431 h 6861489"/>
              <a:gd name="connsiteX3" fmla="*/ 11862026 w 12192000"/>
              <a:gd name="connsiteY3" fmla="*/ 1127016 h 6861489"/>
              <a:gd name="connsiteX4" fmla="*/ 11855789 w 12192000"/>
              <a:gd name="connsiteY4" fmla="*/ 0 h 6861489"/>
              <a:gd name="connsiteX5" fmla="*/ 12192000 w 12192000"/>
              <a:gd name="connsiteY5" fmla="*/ 3489 h 6861489"/>
              <a:gd name="connsiteX6" fmla="*/ 12192000 w 12192000"/>
              <a:gd name="connsiteY6" fmla="*/ 6861489 h 6861489"/>
              <a:gd name="connsiteX7" fmla="*/ 0 w 12192000"/>
              <a:gd name="connsiteY7" fmla="*/ 6861489 h 6861489"/>
              <a:gd name="connsiteX8" fmla="*/ 0 w 12192000"/>
              <a:gd name="connsiteY8" fmla="*/ 3489 h 686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61489">
                <a:moveTo>
                  <a:pt x="0" y="3489"/>
                </a:moveTo>
                <a:lnTo>
                  <a:pt x="9478701" y="179"/>
                </a:lnTo>
                <a:cubicBezTo>
                  <a:pt x="9480862" y="231481"/>
                  <a:pt x="9479534" y="897129"/>
                  <a:pt x="9481695" y="1128431"/>
                </a:cubicBezTo>
                <a:lnTo>
                  <a:pt x="11862026" y="1127016"/>
                </a:lnTo>
                <a:lnTo>
                  <a:pt x="11855789" y="0"/>
                </a:lnTo>
                <a:lnTo>
                  <a:pt x="12192000" y="3489"/>
                </a:lnTo>
                <a:lnTo>
                  <a:pt x="12192000" y="6861489"/>
                </a:lnTo>
                <a:lnTo>
                  <a:pt x="0" y="6861489"/>
                </a:lnTo>
                <a:lnTo>
                  <a:pt x="0" y="348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err="1"/>
          </a:p>
        </p:txBody>
      </p:sp>
      <p:graphicFrame>
        <p:nvGraphicFramePr>
          <p:cNvPr id="8" name="Objekt 7" hidden="1">
            <a:extLst>
              <a:ext uri="{FF2B5EF4-FFF2-40B4-BE49-F238E27FC236}">
                <a16:creationId xmlns:a16="http://schemas.microsoft.com/office/drawing/2014/main" id="{BB665082-B866-4260-939E-1E00BF74F067}"/>
              </a:ext>
            </a:extLst>
          </p:cNvPr>
          <p:cNvGraphicFramePr>
            <a:graphicFrameLocks noChangeAspect="1"/>
          </p:cNvGraphicFramePr>
          <p:nvPr>
            <p:custDataLst>
              <p:tags r:id="rId1"/>
            </p:custDataLst>
            <p:extLst>
              <p:ext uri="{D42A27DB-BD31-4B8C-83A1-F6EECF244321}">
                <p14:modId xmlns:p14="http://schemas.microsoft.com/office/powerpoint/2010/main" val="195273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Untertitel 4">
            <a:extLst>
              <a:ext uri="{FF2B5EF4-FFF2-40B4-BE49-F238E27FC236}">
                <a16:creationId xmlns:a16="http://schemas.microsoft.com/office/drawing/2014/main" id="{D1396377-B6ED-427D-98BA-D1744163F334}"/>
              </a:ext>
            </a:extLst>
          </p:cNvPr>
          <p:cNvSpPr>
            <a:spLocks noGrp="1"/>
          </p:cNvSpPr>
          <p:nvPr>
            <p:ph type="subTitle" idx="1"/>
          </p:nvPr>
        </p:nvSpPr>
        <p:spPr bwMode="gray"/>
        <p:txBody>
          <a:bodyPr/>
          <a:lstStyle/>
          <a:p>
            <a:r>
              <a:rPr lang="de-DE" dirty="0">
                <a:solidFill>
                  <a:schemeClr val="bg1"/>
                </a:solidFill>
              </a:rPr>
              <a:t>Optionale Kopfzeile über </a:t>
            </a:r>
            <a:br>
              <a:rPr lang="de-DE" dirty="0">
                <a:solidFill>
                  <a:schemeClr val="bg1"/>
                </a:solidFill>
              </a:rPr>
            </a:br>
            <a:r>
              <a:rPr lang="de-DE" dirty="0">
                <a:solidFill>
                  <a:schemeClr val="bg1"/>
                </a:solidFill>
              </a:rPr>
              <a:t>zwei Zeilen maximal</a:t>
            </a:r>
          </a:p>
        </p:txBody>
      </p:sp>
      <p:sp>
        <p:nvSpPr>
          <p:cNvPr id="7" name="Fußzeilenplatzhalter 6">
            <a:extLst>
              <a:ext uri="{FF2B5EF4-FFF2-40B4-BE49-F238E27FC236}">
                <a16:creationId xmlns:a16="http://schemas.microsoft.com/office/drawing/2014/main" id="{1AFCE673-F66C-4500-85F5-57C26007F7BA}"/>
              </a:ext>
            </a:extLst>
          </p:cNvPr>
          <p:cNvSpPr>
            <a:spLocks noGrp="1"/>
          </p:cNvSpPr>
          <p:nvPr>
            <p:ph type="ftr" sz="quarter" idx="18"/>
          </p:nvPr>
        </p:nvSpPr>
        <p:spPr bwMode="gray"/>
        <p:txBody>
          <a:bodyPr/>
          <a:lstStyle/>
          <a:p>
            <a:r>
              <a:rPr lang="de-DE" dirty="0">
                <a:solidFill>
                  <a:schemeClr val="bg1"/>
                </a:solidFill>
              </a:rPr>
              <a:t>TITEL DER PRÄSENTATION | TITEL VORNAME NAME</a:t>
            </a:r>
          </a:p>
        </p:txBody>
      </p:sp>
      <p:sp>
        <p:nvSpPr>
          <p:cNvPr id="2" name="Textplatzhalter 1">
            <a:extLst>
              <a:ext uri="{FF2B5EF4-FFF2-40B4-BE49-F238E27FC236}">
                <a16:creationId xmlns:a16="http://schemas.microsoft.com/office/drawing/2014/main" id="{4BC55D29-9844-4EDD-8338-22FDBA1DA1AD}"/>
              </a:ext>
            </a:extLst>
          </p:cNvPr>
          <p:cNvSpPr>
            <a:spLocks noGrp="1"/>
          </p:cNvSpPr>
          <p:nvPr>
            <p:ph type="body" sz="quarter" idx="14"/>
          </p:nvPr>
        </p:nvSpPr>
        <p:spPr bwMode="gray">
          <a:xfrm>
            <a:off x="0" y="3921362"/>
            <a:ext cx="4282441" cy="514738"/>
          </a:xfrm>
          <a:solidFill>
            <a:schemeClr val="tx2"/>
          </a:solidFill>
        </p:spPr>
        <p:txBody>
          <a:bodyPr/>
          <a:lstStyle/>
          <a:p>
            <a:r>
              <a:rPr lang="de-DE"/>
              <a:t>Dann der Zweiten,</a:t>
            </a:r>
            <a:endParaRPr lang="de-DE" dirty="0"/>
          </a:p>
        </p:txBody>
      </p:sp>
      <p:sp>
        <p:nvSpPr>
          <p:cNvPr id="4" name="Textplatzhalter 3">
            <a:extLst>
              <a:ext uri="{FF2B5EF4-FFF2-40B4-BE49-F238E27FC236}">
                <a16:creationId xmlns:a16="http://schemas.microsoft.com/office/drawing/2014/main" id="{8398F7AA-EA1D-49F6-BE34-24CB8EFD562A}"/>
              </a:ext>
            </a:extLst>
          </p:cNvPr>
          <p:cNvSpPr>
            <a:spLocks noGrp="1"/>
          </p:cNvSpPr>
          <p:nvPr>
            <p:ph type="body" sz="quarter" idx="15"/>
          </p:nvPr>
        </p:nvSpPr>
        <p:spPr bwMode="gray">
          <a:xfrm>
            <a:off x="0" y="5085000"/>
            <a:ext cx="2535168" cy="268517"/>
          </a:xfrm>
          <a:solidFill>
            <a:schemeClr val="tx2"/>
          </a:solidFill>
        </p:spPr>
        <p:txBody>
          <a:bodyPr/>
          <a:lstStyle/>
          <a:p>
            <a:r>
              <a:rPr lang="de-DE"/>
              <a:t>DATUM | ORT | STUDIENGANG ETC. </a:t>
            </a:r>
            <a:endParaRPr lang="de-DE" dirty="0"/>
          </a:p>
        </p:txBody>
      </p:sp>
      <p:sp>
        <p:nvSpPr>
          <p:cNvPr id="6" name="Titel 5">
            <a:extLst>
              <a:ext uri="{FF2B5EF4-FFF2-40B4-BE49-F238E27FC236}">
                <a16:creationId xmlns:a16="http://schemas.microsoft.com/office/drawing/2014/main" id="{8CDD7727-5365-4C77-8E71-5BECC1A69642}"/>
              </a:ext>
            </a:extLst>
          </p:cNvPr>
          <p:cNvSpPr>
            <a:spLocks noGrp="1"/>
          </p:cNvSpPr>
          <p:nvPr>
            <p:ph type="ctrTitle"/>
          </p:nvPr>
        </p:nvSpPr>
        <p:spPr bwMode="gray">
          <a:xfrm>
            <a:off x="0" y="3356212"/>
            <a:ext cx="4925246" cy="514738"/>
          </a:xfrm>
          <a:solidFill>
            <a:schemeClr val="tx2"/>
          </a:solidFill>
        </p:spPr>
        <p:txBody>
          <a:bodyPr vert="horz"/>
          <a:lstStyle/>
          <a:p>
            <a:r>
              <a:rPr lang="de-DE" dirty="0"/>
              <a:t>Titel mit erster Zeile</a:t>
            </a:r>
          </a:p>
        </p:txBody>
      </p:sp>
      <p:sp>
        <p:nvSpPr>
          <p:cNvPr id="3" name="Textplatzhalter 2">
            <a:extLst>
              <a:ext uri="{FF2B5EF4-FFF2-40B4-BE49-F238E27FC236}">
                <a16:creationId xmlns:a16="http://schemas.microsoft.com/office/drawing/2014/main" id="{43D7B6F7-E142-4312-B3FE-72C36A94A69A}"/>
              </a:ext>
            </a:extLst>
          </p:cNvPr>
          <p:cNvSpPr>
            <a:spLocks noGrp="1"/>
          </p:cNvSpPr>
          <p:nvPr>
            <p:ph type="body" sz="quarter" idx="16"/>
          </p:nvPr>
        </p:nvSpPr>
        <p:spPr bwMode="gray">
          <a:xfrm>
            <a:off x="0" y="4497625"/>
            <a:ext cx="4086875" cy="514738"/>
          </a:xfrm>
          <a:solidFill>
            <a:schemeClr val="tx2"/>
          </a:solidFill>
        </p:spPr>
        <p:txBody>
          <a:bodyPr/>
          <a:lstStyle/>
          <a:p>
            <a:r>
              <a:rPr lang="de-DE"/>
              <a:t>der dritten Zeile</a:t>
            </a:r>
            <a:endParaRPr lang="de-DE" dirty="0"/>
          </a:p>
        </p:txBody>
      </p:sp>
    </p:spTree>
    <p:extLst>
      <p:ext uri="{BB962C8B-B14F-4D97-AF65-F5344CB8AC3E}">
        <p14:creationId xmlns:p14="http://schemas.microsoft.com/office/powerpoint/2010/main" val="4198360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CFAC503-0CE6-4FFB-A3A9-C427B644B29E}"/>
              </a:ext>
            </a:extLst>
          </p:cNvPr>
          <p:cNvGraphicFramePr>
            <a:graphicFrameLocks noChangeAspect="1"/>
          </p:cNvGraphicFramePr>
          <p:nvPr>
            <p:custDataLst>
              <p:tags r:id="rId1"/>
            </p:custDataLst>
            <p:extLst>
              <p:ext uri="{D42A27DB-BD31-4B8C-83A1-F6EECF244321}">
                <p14:modId xmlns:p14="http://schemas.microsoft.com/office/powerpoint/2010/main" val="10515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61FF4E21-F376-4BAD-8F59-88E3C4FCFE86}"/>
              </a:ext>
            </a:extLst>
          </p:cNvPr>
          <p:cNvSpPr>
            <a:spLocks noGrp="1"/>
          </p:cNvSpPr>
          <p:nvPr>
            <p:ph type="title"/>
          </p:nvPr>
        </p:nvSpPr>
        <p:spPr bwMode="gray"/>
        <p:txBody>
          <a:bodyPr vert="horz"/>
          <a:lstStyle/>
          <a:p>
            <a:r>
              <a:rPr lang="de-DE" dirty="0"/>
              <a:t>ÜBERSCHRIFT 1</a:t>
            </a:r>
            <a:br>
              <a:rPr lang="de-DE" dirty="0"/>
            </a:br>
            <a:r>
              <a:rPr lang="de-DE" b="0" dirty="0"/>
              <a:t>HIER AUCH DREIZEILIG</a:t>
            </a:r>
            <a:br>
              <a:rPr lang="de-DE" b="0" dirty="0"/>
            </a:br>
            <a:r>
              <a:rPr lang="de-DE" b="0" dirty="0"/>
              <a:t>MÖGLICH</a:t>
            </a:r>
          </a:p>
        </p:txBody>
      </p:sp>
      <p:sp>
        <p:nvSpPr>
          <p:cNvPr id="6" name="Textplatzhalter 5">
            <a:extLst>
              <a:ext uri="{FF2B5EF4-FFF2-40B4-BE49-F238E27FC236}">
                <a16:creationId xmlns:a16="http://schemas.microsoft.com/office/drawing/2014/main" id="{95A4C6AD-DA9B-4C70-A046-91B2FD719E29}"/>
              </a:ext>
            </a:extLst>
          </p:cNvPr>
          <p:cNvSpPr>
            <a:spLocks noGrp="1"/>
          </p:cNvSpPr>
          <p:nvPr>
            <p:ph type="body" sz="quarter" idx="14"/>
          </p:nvPr>
        </p:nvSpPr>
        <p:spPr bwMode="gray"/>
        <p:txBody>
          <a:bodyPr/>
          <a:lstStyle/>
          <a:p>
            <a:r>
              <a:rPr lang="de-DE" dirty="0"/>
              <a:t>Platzhalter für Bildbeschreibung </a:t>
            </a:r>
            <a:br>
              <a:rPr lang="de-DE" dirty="0"/>
            </a:br>
            <a:r>
              <a:rPr lang="de-DE" dirty="0"/>
              <a:t>auch zweizeilig möglich</a:t>
            </a:r>
          </a:p>
        </p:txBody>
      </p:sp>
      <p:pic>
        <p:nvPicPr>
          <p:cNvPr id="15" name="Bildplatzhalter 14">
            <a:extLst>
              <a:ext uri="{FF2B5EF4-FFF2-40B4-BE49-F238E27FC236}">
                <a16:creationId xmlns:a16="http://schemas.microsoft.com/office/drawing/2014/main" id="{EEF936D1-70B5-4E95-9EB0-4CBDA0A8729E}"/>
              </a:ext>
            </a:extLst>
          </p:cNvPr>
          <p:cNvPicPr>
            <a:picLocks noGrp="1" noChangeAspect="1"/>
          </p:cNvPicPr>
          <p:nvPr>
            <p:ph type="pic" sz="quarter" idx="15"/>
          </p:nvPr>
        </p:nvPicPr>
        <p:blipFill>
          <a:blip r:embed="rId5" cstate="screen">
            <a:extLst>
              <a:ext uri="{28A0092B-C50C-407E-A947-70E740481C1C}">
                <a14:useLocalDpi xmlns:a14="http://schemas.microsoft.com/office/drawing/2010/main"/>
              </a:ext>
            </a:extLst>
          </a:blip>
          <a:srcRect l="23873" r="23873"/>
          <a:stretch/>
        </p:blipFill>
        <p:spPr bwMode="gray"/>
      </p:pic>
      <p:sp>
        <p:nvSpPr>
          <p:cNvPr id="7" name="Textplatzhalter 6">
            <a:extLst>
              <a:ext uri="{FF2B5EF4-FFF2-40B4-BE49-F238E27FC236}">
                <a16:creationId xmlns:a16="http://schemas.microsoft.com/office/drawing/2014/main" id="{D3724D98-4184-4DD9-A3B0-ADE11BFC9940}"/>
              </a:ext>
            </a:extLst>
          </p:cNvPr>
          <p:cNvSpPr>
            <a:spLocks noGrp="1"/>
          </p:cNvSpPr>
          <p:nvPr>
            <p:ph type="body" sz="quarter" idx="19"/>
          </p:nvPr>
        </p:nvSpPr>
        <p:spPr bwMode="gray"/>
        <p:txBody>
          <a:bodyPr/>
          <a:lstStyle/>
          <a:p>
            <a:r>
              <a:rPr lang="de-DE" dirty="0"/>
              <a:t>Platzhalter für Bildbeschreibung </a:t>
            </a:r>
            <a:br>
              <a:rPr lang="de-DE" dirty="0"/>
            </a:br>
            <a:r>
              <a:rPr lang="de-DE" dirty="0"/>
              <a:t>auch zweizeilig möglich</a:t>
            </a:r>
          </a:p>
        </p:txBody>
      </p:sp>
      <p:pic>
        <p:nvPicPr>
          <p:cNvPr id="10" name="Bildplatzhalter 9">
            <a:extLst>
              <a:ext uri="{FF2B5EF4-FFF2-40B4-BE49-F238E27FC236}">
                <a16:creationId xmlns:a16="http://schemas.microsoft.com/office/drawing/2014/main" id="{2C3EF9CC-80B8-4D13-B99C-810B769969A6}"/>
              </a:ext>
            </a:extLst>
          </p:cNvPr>
          <p:cNvPicPr>
            <a:picLocks noGrp="1" noChangeAspect="1"/>
          </p:cNvPicPr>
          <p:nvPr>
            <p:ph type="pic" sz="quarter" idx="20"/>
          </p:nvPr>
        </p:nvPicPr>
        <p:blipFill>
          <a:blip r:embed="rId6" cstate="screen">
            <a:extLst>
              <a:ext uri="{28A0092B-C50C-407E-A947-70E740481C1C}">
                <a14:useLocalDpi xmlns:a14="http://schemas.microsoft.com/office/drawing/2010/main"/>
              </a:ext>
            </a:extLst>
          </a:blip>
          <a:srcRect l="23873" r="23873"/>
          <a:stretch/>
        </p:blipFill>
        <p:spPr bwMode="gray"/>
      </p:pic>
      <p:sp>
        <p:nvSpPr>
          <p:cNvPr id="26" name="Date Placeholder 25">
            <a:extLst>
              <a:ext uri="{FF2B5EF4-FFF2-40B4-BE49-F238E27FC236}">
                <a16:creationId xmlns:a16="http://schemas.microsoft.com/office/drawing/2014/main" id="{36B6CAAD-273E-435B-BE6D-521A41C7E15C}"/>
              </a:ext>
            </a:extLst>
          </p:cNvPr>
          <p:cNvSpPr>
            <a:spLocks noGrp="1"/>
          </p:cNvSpPr>
          <p:nvPr>
            <p:ph type="dt" sz="half" idx="21"/>
          </p:nvPr>
        </p:nvSpPr>
        <p:spPr bwMode="gray"/>
        <p:txBody>
          <a:bodyPr/>
          <a:lstStyle/>
          <a:p>
            <a:fld id="{DCC1F3D2-2B5E-4F66-B261-C78991777BC9}" type="datetime1">
              <a:rPr lang="de-DE" smtClean="0"/>
              <a:t>29.09.25</a:t>
            </a:fld>
            <a:endParaRPr lang="de-DE" dirty="0"/>
          </a:p>
        </p:txBody>
      </p:sp>
      <p:sp>
        <p:nvSpPr>
          <p:cNvPr id="2" name="Fußzeilenplatzhalter 1">
            <a:extLst>
              <a:ext uri="{FF2B5EF4-FFF2-40B4-BE49-F238E27FC236}">
                <a16:creationId xmlns:a16="http://schemas.microsoft.com/office/drawing/2014/main" id="{5E554738-D1AB-4BC0-AE9C-41D6D69A5B44}"/>
              </a:ext>
            </a:extLst>
          </p:cNvPr>
          <p:cNvSpPr>
            <a:spLocks noGrp="1"/>
          </p:cNvSpPr>
          <p:nvPr>
            <p:ph type="ftr" sz="quarter" idx="22"/>
          </p:nvPr>
        </p:nvSpPr>
        <p:spPr bwMode="gray"/>
        <p:txBody>
          <a:bodyPr/>
          <a:lstStyle/>
          <a:p>
            <a:r>
              <a:rPr lang="de-DE" dirty="0"/>
              <a:t>TITEL DER PRÄSENTATION | TITEL VORNAME NAME</a:t>
            </a:r>
          </a:p>
        </p:txBody>
      </p:sp>
      <p:sp>
        <p:nvSpPr>
          <p:cNvPr id="3" name="Foliennummernplatzhalter 2">
            <a:extLst>
              <a:ext uri="{FF2B5EF4-FFF2-40B4-BE49-F238E27FC236}">
                <a16:creationId xmlns:a16="http://schemas.microsoft.com/office/drawing/2014/main" id="{C33097EB-E49B-41BE-B6C4-CC80440B1BC1}"/>
              </a:ext>
            </a:extLst>
          </p:cNvPr>
          <p:cNvSpPr>
            <a:spLocks noGrp="1"/>
          </p:cNvSpPr>
          <p:nvPr>
            <p:ph type="sldNum" sz="quarter" idx="23"/>
          </p:nvPr>
        </p:nvSpPr>
        <p:spPr bwMode="gray"/>
        <p:txBody>
          <a:bodyPr/>
          <a:lstStyle/>
          <a:p>
            <a:fld id="{09E9C37E-8A19-4E30-BE2B-5A966AD23C7A}" type="slidenum">
              <a:rPr lang="de-DE" smtClean="0"/>
              <a:pPr/>
              <a:t>30</a:t>
            </a:fld>
            <a:endParaRPr lang="de-DE" dirty="0"/>
          </a:p>
        </p:txBody>
      </p:sp>
      <p:sp>
        <p:nvSpPr>
          <p:cNvPr id="5" name="Textplatzhalter 4">
            <a:extLst>
              <a:ext uri="{FF2B5EF4-FFF2-40B4-BE49-F238E27FC236}">
                <a16:creationId xmlns:a16="http://schemas.microsoft.com/office/drawing/2014/main" id="{F101656B-A13B-46FC-8C72-1D5DDD388011}"/>
              </a:ext>
            </a:extLst>
          </p:cNvPr>
          <p:cNvSpPr>
            <a:spLocks noGrp="1"/>
          </p:cNvSpPr>
          <p:nvPr>
            <p:ph sz="quarter" idx="24"/>
          </p:nvPr>
        </p:nvSpPr>
        <p:spPr bwMode="gray"/>
        <p:txBody>
          <a:bodyPr/>
          <a:lstStyle/>
          <a:p>
            <a:pPr lvl="2"/>
            <a:r>
              <a:rPr lang="de-DE" dirty="0"/>
              <a:t>Zwischenüberschrift auf Listenebene Drei</a:t>
            </a:r>
          </a:p>
          <a:p>
            <a:pPr lvl="1"/>
            <a:r>
              <a:rPr lang="de-DE" dirty="0"/>
              <a:t>Fließtext auf Ebene Zwei. Lorem ipsum dolor sit amet, consetetur sadipscing elitr, sed diam nonumy eirmod tempor invidunt ut labore et dolore magna aliquyam erat.</a:t>
            </a:r>
          </a:p>
          <a:p>
            <a:pPr lvl="1"/>
            <a:r>
              <a:rPr lang="de-DE" dirty="0"/>
              <a:t>Ased diam voluptua. At vero eos et accusam et justo duo dolores et ea rebum. </a:t>
            </a:r>
          </a:p>
          <a:p>
            <a:r>
              <a:rPr lang="de-DE" dirty="0"/>
              <a:t>Erste Aufzählungsebene: Ebene Eins</a:t>
            </a:r>
          </a:p>
          <a:p>
            <a:r>
              <a:rPr lang="de-DE" dirty="0"/>
              <a:t>Lorem ipsum dolor sit amet</a:t>
            </a:r>
          </a:p>
          <a:p>
            <a:pPr lvl="3"/>
            <a:r>
              <a:rPr lang="de-DE" dirty="0"/>
              <a:t>Weitere Unterpunkte ab vierter Ebene</a:t>
            </a:r>
          </a:p>
          <a:p>
            <a:pPr lvl="3"/>
            <a:r>
              <a:rPr lang="de-DE" dirty="0"/>
              <a:t>Lorem ipsum dolor sit amet</a:t>
            </a:r>
          </a:p>
        </p:txBody>
      </p:sp>
    </p:spTree>
    <p:extLst>
      <p:ext uri="{BB962C8B-B14F-4D97-AF65-F5344CB8AC3E}">
        <p14:creationId xmlns:p14="http://schemas.microsoft.com/office/powerpoint/2010/main" val="2537010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lumMod val="60000"/>
            <a:lumOff val="40000"/>
          </a:schemeClr>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2C176749-3BB5-4473-BF11-7F2143BCCE8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9" name="Objekt 8" hidden="1">
                        <a:extLst>
                          <a:ext uri="{FF2B5EF4-FFF2-40B4-BE49-F238E27FC236}">
                            <a16:creationId xmlns:a16="http://schemas.microsoft.com/office/drawing/2014/main" id="{2C176749-3BB5-4473-BF11-7F2143BCCE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0217F5AB-CB39-4EF8-A019-AB8DCFDE59EE}"/>
              </a:ext>
            </a:extLst>
          </p:cNvPr>
          <p:cNvSpPr/>
          <p:nvPr/>
        </p:nvSpPr>
        <p:spPr bwMode="gray">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4" name="Titel 3">
            <a:extLst>
              <a:ext uri="{FF2B5EF4-FFF2-40B4-BE49-F238E27FC236}">
                <a16:creationId xmlns:a16="http://schemas.microsoft.com/office/drawing/2014/main" id="{61FF4E21-F376-4BAD-8F59-88E3C4FCFE86}"/>
              </a:ext>
            </a:extLst>
          </p:cNvPr>
          <p:cNvSpPr>
            <a:spLocks noGrp="1"/>
          </p:cNvSpPr>
          <p:nvPr>
            <p:ph type="title"/>
          </p:nvPr>
        </p:nvSpPr>
        <p:spPr bwMode="gray">
          <a:xfrm>
            <a:off x="336000" y="765000"/>
            <a:ext cx="5472000" cy="936000"/>
          </a:xfrm>
        </p:spPr>
        <p:txBody>
          <a:bodyPr vert="horz"/>
          <a:lstStyle/>
          <a:p>
            <a:r>
              <a:rPr lang="de-DE" dirty="0"/>
              <a:t>ÜBERSCHRIFT 1</a:t>
            </a:r>
            <a:br>
              <a:rPr lang="de-DE" dirty="0"/>
            </a:br>
            <a:r>
              <a:rPr lang="de-DE" b="0" dirty="0"/>
              <a:t>HIER AUCH DREIZEILIG MÖGLICH,</a:t>
            </a:r>
            <a:br>
              <a:rPr lang="de-DE" b="0" dirty="0"/>
            </a:br>
            <a:r>
              <a:rPr lang="de-DE" b="0" dirty="0"/>
              <a:t>Hintergrund generell umfärbbar</a:t>
            </a:r>
          </a:p>
        </p:txBody>
      </p:sp>
      <p:sp>
        <p:nvSpPr>
          <p:cNvPr id="6" name="Textplatzhalter 5">
            <a:extLst>
              <a:ext uri="{FF2B5EF4-FFF2-40B4-BE49-F238E27FC236}">
                <a16:creationId xmlns:a16="http://schemas.microsoft.com/office/drawing/2014/main" id="{95A4C6AD-DA9B-4C70-A046-91B2FD719E29}"/>
              </a:ext>
            </a:extLst>
          </p:cNvPr>
          <p:cNvSpPr>
            <a:spLocks noGrp="1"/>
          </p:cNvSpPr>
          <p:nvPr>
            <p:ph type="body" sz="quarter" idx="14"/>
          </p:nvPr>
        </p:nvSpPr>
        <p:spPr bwMode="gray"/>
        <p:txBody>
          <a:bodyPr/>
          <a:lstStyle/>
          <a:p>
            <a:r>
              <a:rPr lang="de-DE" dirty="0">
                <a:solidFill>
                  <a:schemeClr val="bg1"/>
                </a:solidFill>
              </a:rPr>
              <a:t>Platzhalter für Bildbeschreibung </a:t>
            </a:r>
            <a:br>
              <a:rPr lang="de-DE" dirty="0">
                <a:solidFill>
                  <a:schemeClr val="bg1"/>
                </a:solidFill>
              </a:rPr>
            </a:br>
            <a:r>
              <a:rPr lang="de-DE" dirty="0">
                <a:solidFill>
                  <a:schemeClr val="bg1"/>
                </a:solidFill>
              </a:rPr>
              <a:t>auch zweizeilig möglich</a:t>
            </a:r>
          </a:p>
        </p:txBody>
      </p:sp>
      <p:pic>
        <p:nvPicPr>
          <p:cNvPr id="21" name="Bildplatzhalter 20" descr="Ein Bild, das Text, Tisch, drinnen, Person enthält.&#10;&#10;Automatisch generierte Beschreibung">
            <a:extLst>
              <a:ext uri="{FF2B5EF4-FFF2-40B4-BE49-F238E27FC236}">
                <a16:creationId xmlns:a16="http://schemas.microsoft.com/office/drawing/2014/main" id="{63B8086B-587B-6C49-9399-C6E718D93795}"/>
              </a:ext>
            </a:extLst>
          </p:cNvPr>
          <p:cNvPicPr>
            <a:picLocks noGrp="1" noChangeAspect="1"/>
          </p:cNvPicPr>
          <p:nvPr>
            <p:ph type="pic" sz="quarter" idx="15"/>
          </p:nvPr>
        </p:nvPicPr>
        <p:blipFill>
          <a:blip r:embed="rId5" cstate="screen">
            <a:extLst>
              <a:ext uri="{28A0092B-C50C-407E-A947-70E740481C1C}">
                <a14:useLocalDpi xmlns:a14="http://schemas.microsoft.com/office/drawing/2010/main"/>
              </a:ext>
            </a:extLst>
          </a:blip>
          <a:srcRect l="23892" r="23892"/>
          <a:stretch>
            <a:fillRect/>
          </a:stretch>
        </p:blipFill>
        <p:spPr/>
      </p:pic>
      <p:sp>
        <p:nvSpPr>
          <p:cNvPr id="7" name="Textplatzhalter 6">
            <a:extLst>
              <a:ext uri="{FF2B5EF4-FFF2-40B4-BE49-F238E27FC236}">
                <a16:creationId xmlns:a16="http://schemas.microsoft.com/office/drawing/2014/main" id="{D3724D98-4184-4DD9-A3B0-ADE11BFC9940}"/>
              </a:ext>
            </a:extLst>
          </p:cNvPr>
          <p:cNvSpPr>
            <a:spLocks noGrp="1"/>
          </p:cNvSpPr>
          <p:nvPr>
            <p:ph type="body" sz="quarter" idx="19"/>
          </p:nvPr>
        </p:nvSpPr>
        <p:spPr bwMode="gray"/>
        <p:txBody>
          <a:bodyPr/>
          <a:lstStyle/>
          <a:p>
            <a:r>
              <a:rPr lang="de-DE" dirty="0">
                <a:solidFill>
                  <a:schemeClr val="bg1"/>
                </a:solidFill>
              </a:rPr>
              <a:t>Platzhalter für Bildbeschreibung </a:t>
            </a:r>
            <a:br>
              <a:rPr lang="de-DE" dirty="0">
                <a:solidFill>
                  <a:schemeClr val="bg1"/>
                </a:solidFill>
              </a:rPr>
            </a:br>
            <a:r>
              <a:rPr lang="de-DE" dirty="0">
                <a:solidFill>
                  <a:schemeClr val="bg1"/>
                </a:solidFill>
              </a:rPr>
              <a:t>auch zweizeilig möglich</a:t>
            </a:r>
          </a:p>
        </p:txBody>
      </p:sp>
      <p:pic>
        <p:nvPicPr>
          <p:cNvPr id="23" name="Bildplatzhalter 22" descr="Ein Bild, das drinnen, Person, Wand, Esstisch enthält.&#10;&#10;Automatisch generierte Beschreibung">
            <a:extLst>
              <a:ext uri="{FF2B5EF4-FFF2-40B4-BE49-F238E27FC236}">
                <a16:creationId xmlns:a16="http://schemas.microsoft.com/office/drawing/2014/main" id="{AA9FF581-DC2D-4C44-8C74-94CE473C3F45}"/>
              </a:ext>
            </a:extLst>
          </p:cNvPr>
          <p:cNvPicPr>
            <a:picLocks noGrp="1" noChangeAspect="1"/>
          </p:cNvPicPr>
          <p:nvPr>
            <p:ph type="pic" sz="quarter" idx="20"/>
          </p:nvPr>
        </p:nvPicPr>
        <p:blipFill>
          <a:blip r:embed="rId6" cstate="screen">
            <a:extLst>
              <a:ext uri="{28A0092B-C50C-407E-A947-70E740481C1C}">
                <a14:useLocalDpi xmlns:a14="http://schemas.microsoft.com/office/drawing/2010/main"/>
              </a:ext>
            </a:extLst>
          </a:blip>
          <a:srcRect l="23892" r="23892"/>
          <a:stretch>
            <a:fillRect/>
          </a:stretch>
        </p:blipFill>
        <p:spPr/>
      </p:pic>
      <p:sp>
        <p:nvSpPr>
          <p:cNvPr id="26" name="Date Placeholder 25">
            <a:extLst>
              <a:ext uri="{FF2B5EF4-FFF2-40B4-BE49-F238E27FC236}">
                <a16:creationId xmlns:a16="http://schemas.microsoft.com/office/drawing/2014/main" id="{36B6CAAD-273E-435B-BE6D-521A41C7E15C}"/>
              </a:ext>
            </a:extLst>
          </p:cNvPr>
          <p:cNvSpPr>
            <a:spLocks noGrp="1"/>
          </p:cNvSpPr>
          <p:nvPr>
            <p:ph type="dt" sz="half" idx="21"/>
          </p:nvPr>
        </p:nvSpPr>
        <p:spPr bwMode="gray"/>
        <p:txBody>
          <a:bodyPr/>
          <a:lstStyle/>
          <a:p>
            <a:fld id="{22152937-EE4A-43C0-A221-16B115BA82DC}" type="datetime1">
              <a:rPr lang="de-DE" smtClean="0">
                <a:solidFill>
                  <a:schemeClr val="bg1"/>
                </a:solidFill>
              </a:rPr>
              <a:t>29.09.25</a:t>
            </a:fld>
            <a:endParaRPr lang="de-DE" dirty="0">
              <a:solidFill>
                <a:schemeClr val="bg1"/>
              </a:solidFill>
            </a:endParaRPr>
          </a:p>
        </p:txBody>
      </p:sp>
      <p:sp>
        <p:nvSpPr>
          <p:cNvPr id="2" name="Fußzeilenplatzhalter 1">
            <a:extLst>
              <a:ext uri="{FF2B5EF4-FFF2-40B4-BE49-F238E27FC236}">
                <a16:creationId xmlns:a16="http://schemas.microsoft.com/office/drawing/2014/main" id="{5E554738-D1AB-4BC0-AE9C-41D6D69A5B44}"/>
              </a:ext>
            </a:extLst>
          </p:cNvPr>
          <p:cNvSpPr>
            <a:spLocks noGrp="1"/>
          </p:cNvSpPr>
          <p:nvPr>
            <p:ph type="ftr" sz="quarter" idx="22"/>
          </p:nvPr>
        </p:nvSpPr>
        <p:spPr bwMode="gray"/>
        <p:txBody>
          <a:bodyPr/>
          <a:lstStyle/>
          <a:p>
            <a:r>
              <a:rPr lang="de-DE" dirty="0"/>
              <a:t>TITEL DER PRÄSENTATION | TITEL VORNAME NAME</a:t>
            </a:r>
          </a:p>
        </p:txBody>
      </p:sp>
      <p:sp>
        <p:nvSpPr>
          <p:cNvPr id="3" name="Foliennummernplatzhalter 2">
            <a:extLst>
              <a:ext uri="{FF2B5EF4-FFF2-40B4-BE49-F238E27FC236}">
                <a16:creationId xmlns:a16="http://schemas.microsoft.com/office/drawing/2014/main" id="{C33097EB-E49B-41BE-B6C4-CC80440B1BC1}"/>
              </a:ext>
            </a:extLst>
          </p:cNvPr>
          <p:cNvSpPr>
            <a:spLocks noGrp="1"/>
          </p:cNvSpPr>
          <p:nvPr>
            <p:ph type="sldNum" sz="quarter" idx="23"/>
          </p:nvPr>
        </p:nvSpPr>
        <p:spPr bwMode="gray"/>
        <p:txBody>
          <a:bodyPr/>
          <a:lstStyle/>
          <a:p>
            <a:fld id="{09E9C37E-8A19-4E30-BE2B-5A966AD23C7A}" type="slidenum">
              <a:rPr lang="de-DE" smtClean="0">
                <a:solidFill>
                  <a:schemeClr val="bg1"/>
                </a:solidFill>
              </a:rPr>
              <a:pPr/>
              <a:t>31</a:t>
            </a:fld>
            <a:endParaRPr lang="de-DE" dirty="0">
              <a:solidFill>
                <a:schemeClr val="bg1"/>
              </a:solidFill>
            </a:endParaRPr>
          </a:p>
        </p:txBody>
      </p:sp>
      <p:sp>
        <p:nvSpPr>
          <p:cNvPr id="5" name="Textplatzhalter 4">
            <a:extLst>
              <a:ext uri="{FF2B5EF4-FFF2-40B4-BE49-F238E27FC236}">
                <a16:creationId xmlns:a16="http://schemas.microsoft.com/office/drawing/2014/main" id="{F101656B-A13B-46FC-8C72-1D5DDD388011}"/>
              </a:ext>
            </a:extLst>
          </p:cNvPr>
          <p:cNvSpPr>
            <a:spLocks noGrp="1"/>
          </p:cNvSpPr>
          <p:nvPr>
            <p:ph sz="quarter" idx="24"/>
          </p:nvPr>
        </p:nvSpPr>
        <p:spPr bwMode="gray">
          <a:xfrm>
            <a:off x="336550" y="1989138"/>
            <a:ext cx="3527425" cy="3743325"/>
          </a:xfrm>
        </p:spPr>
        <p:txBody>
          <a:bodyPr/>
          <a:lstStyle/>
          <a:p>
            <a:pPr lvl="2"/>
            <a:r>
              <a:rPr lang="de-DE" dirty="0"/>
              <a:t>Optionale Zwischenüberschrift</a:t>
            </a:r>
          </a:p>
          <a:p>
            <a:pPr lvl="1"/>
            <a:r>
              <a:rPr lang="de-DE" dirty="0"/>
              <a:t>Fließtext auf Ebene Zwei. Lorem ipsum dolor sit amet, consetetur sadipscing elitr, sed diam nonumy eirmod tempor invidunt ut labore et dolore magna aliquyam erat.</a:t>
            </a:r>
          </a:p>
          <a:p>
            <a:pPr lvl="1"/>
            <a:r>
              <a:rPr lang="de-DE" dirty="0"/>
              <a:t>Ased diam voluptua. At vero eos et accusam et justo duo dolores.</a:t>
            </a:r>
          </a:p>
        </p:txBody>
      </p:sp>
    </p:spTree>
    <p:extLst>
      <p:ext uri="{BB962C8B-B14F-4D97-AF65-F5344CB8AC3E}">
        <p14:creationId xmlns:p14="http://schemas.microsoft.com/office/powerpoint/2010/main" val="2424215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2C176749-3BB5-4473-BF11-7F2143BCCE83}"/>
              </a:ext>
            </a:extLst>
          </p:cNvPr>
          <p:cNvGraphicFramePr>
            <a:graphicFrameLocks noChangeAspect="1"/>
          </p:cNvGraphicFramePr>
          <p:nvPr>
            <p:custDataLst>
              <p:tags r:id="rId1"/>
            </p:custDataLst>
            <p:extLst>
              <p:ext uri="{D42A27DB-BD31-4B8C-83A1-F6EECF244321}">
                <p14:modId xmlns:p14="http://schemas.microsoft.com/office/powerpoint/2010/main" val="3172372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0217F5AB-CB39-4EF8-A019-AB8DCFDE59EE}"/>
              </a:ext>
            </a:extLst>
          </p:cNvPr>
          <p:cNvSpPr/>
          <p:nvPr/>
        </p:nvSpPr>
        <p:spPr bwMode="gray">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4" name="Titel 3">
            <a:extLst>
              <a:ext uri="{FF2B5EF4-FFF2-40B4-BE49-F238E27FC236}">
                <a16:creationId xmlns:a16="http://schemas.microsoft.com/office/drawing/2014/main" id="{61FF4E21-F376-4BAD-8F59-88E3C4FCFE86}"/>
              </a:ext>
            </a:extLst>
          </p:cNvPr>
          <p:cNvSpPr>
            <a:spLocks noGrp="1"/>
          </p:cNvSpPr>
          <p:nvPr>
            <p:ph type="title"/>
          </p:nvPr>
        </p:nvSpPr>
        <p:spPr bwMode="gray">
          <a:xfrm>
            <a:off x="336000" y="765000"/>
            <a:ext cx="5472000" cy="936000"/>
          </a:xfrm>
        </p:spPr>
        <p:txBody>
          <a:bodyPr vert="horz"/>
          <a:lstStyle/>
          <a:p>
            <a:r>
              <a:rPr lang="de-DE" dirty="0"/>
              <a:t>ÜBERSCHRIFT 1</a:t>
            </a:r>
            <a:br>
              <a:rPr lang="de-DE" dirty="0"/>
            </a:br>
            <a:r>
              <a:rPr lang="de-DE" b="0" dirty="0"/>
              <a:t>HIER AUCH DREIZEILIG MÖGLICH,</a:t>
            </a:r>
            <a:br>
              <a:rPr lang="de-DE" b="0" dirty="0"/>
            </a:br>
            <a:r>
              <a:rPr lang="de-DE" b="0" dirty="0"/>
              <a:t>Hintergrund generell umfärbbar</a:t>
            </a:r>
          </a:p>
        </p:txBody>
      </p:sp>
      <p:sp>
        <p:nvSpPr>
          <p:cNvPr id="6" name="Textplatzhalter 5">
            <a:extLst>
              <a:ext uri="{FF2B5EF4-FFF2-40B4-BE49-F238E27FC236}">
                <a16:creationId xmlns:a16="http://schemas.microsoft.com/office/drawing/2014/main" id="{95A4C6AD-DA9B-4C70-A046-91B2FD719E29}"/>
              </a:ext>
            </a:extLst>
          </p:cNvPr>
          <p:cNvSpPr>
            <a:spLocks noGrp="1"/>
          </p:cNvSpPr>
          <p:nvPr>
            <p:ph type="body" sz="quarter" idx="14"/>
          </p:nvPr>
        </p:nvSpPr>
        <p:spPr bwMode="gray"/>
        <p:txBody>
          <a:bodyPr/>
          <a:lstStyle/>
          <a:p>
            <a:r>
              <a:rPr lang="de-DE" dirty="0">
                <a:solidFill>
                  <a:schemeClr val="bg1"/>
                </a:solidFill>
              </a:rPr>
              <a:t>Platzhalter für Bildbeschreibung </a:t>
            </a:r>
            <a:br>
              <a:rPr lang="de-DE" dirty="0">
                <a:solidFill>
                  <a:schemeClr val="bg1"/>
                </a:solidFill>
              </a:rPr>
            </a:br>
            <a:r>
              <a:rPr lang="de-DE" dirty="0">
                <a:solidFill>
                  <a:schemeClr val="bg1"/>
                </a:solidFill>
              </a:rPr>
              <a:t>auch zweizeilig möglich</a:t>
            </a:r>
          </a:p>
        </p:txBody>
      </p:sp>
      <p:pic>
        <p:nvPicPr>
          <p:cNvPr id="21" name="Bildplatzhalter 20" descr="Ein Bild, das Text, Tisch, drinnen, Person enthält.&#10;&#10;Automatisch generierte Beschreibung">
            <a:extLst>
              <a:ext uri="{FF2B5EF4-FFF2-40B4-BE49-F238E27FC236}">
                <a16:creationId xmlns:a16="http://schemas.microsoft.com/office/drawing/2014/main" id="{63B8086B-587B-6C49-9399-C6E718D93795}"/>
              </a:ext>
            </a:extLst>
          </p:cNvPr>
          <p:cNvPicPr>
            <a:picLocks noGrp="1" noChangeAspect="1"/>
          </p:cNvPicPr>
          <p:nvPr>
            <p:ph type="pic" sz="quarter" idx="15"/>
          </p:nvPr>
        </p:nvPicPr>
        <p:blipFill>
          <a:blip r:embed="rId5" cstate="screen">
            <a:extLst>
              <a:ext uri="{28A0092B-C50C-407E-A947-70E740481C1C}">
                <a14:useLocalDpi xmlns:a14="http://schemas.microsoft.com/office/drawing/2010/main"/>
              </a:ext>
            </a:extLst>
          </a:blip>
          <a:srcRect l="23892" r="23892"/>
          <a:stretch>
            <a:fillRect/>
          </a:stretch>
        </p:blipFill>
        <p:spPr/>
      </p:pic>
      <p:sp>
        <p:nvSpPr>
          <p:cNvPr id="7" name="Textplatzhalter 6">
            <a:extLst>
              <a:ext uri="{FF2B5EF4-FFF2-40B4-BE49-F238E27FC236}">
                <a16:creationId xmlns:a16="http://schemas.microsoft.com/office/drawing/2014/main" id="{D3724D98-4184-4DD9-A3B0-ADE11BFC9940}"/>
              </a:ext>
            </a:extLst>
          </p:cNvPr>
          <p:cNvSpPr>
            <a:spLocks noGrp="1"/>
          </p:cNvSpPr>
          <p:nvPr>
            <p:ph type="body" sz="quarter" idx="19"/>
          </p:nvPr>
        </p:nvSpPr>
        <p:spPr bwMode="gray"/>
        <p:txBody>
          <a:bodyPr/>
          <a:lstStyle/>
          <a:p>
            <a:r>
              <a:rPr lang="de-DE" dirty="0">
                <a:solidFill>
                  <a:schemeClr val="bg1"/>
                </a:solidFill>
              </a:rPr>
              <a:t>Platzhalter für Bildbeschreibung </a:t>
            </a:r>
            <a:br>
              <a:rPr lang="de-DE" dirty="0">
                <a:solidFill>
                  <a:schemeClr val="bg1"/>
                </a:solidFill>
              </a:rPr>
            </a:br>
            <a:r>
              <a:rPr lang="de-DE" dirty="0">
                <a:solidFill>
                  <a:schemeClr val="bg1"/>
                </a:solidFill>
              </a:rPr>
              <a:t>auch zweizeilig möglich</a:t>
            </a:r>
          </a:p>
        </p:txBody>
      </p:sp>
      <p:pic>
        <p:nvPicPr>
          <p:cNvPr id="23" name="Bildplatzhalter 22" descr="Ein Bild, das drinnen, Person, Wand, Esstisch enthält.&#10;&#10;Automatisch generierte Beschreibung">
            <a:extLst>
              <a:ext uri="{FF2B5EF4-FFF2-40B4-BE49-F238E27FC236}">
                <a16:creationId xmlns:a16="http://schemas.microsoft.com/office/drawing/2014/main" id="{AA9FF581-DC2D-4C44-8C74-94CE473C3F45}"/>
              </a:ext>
            </a:extLst>
          </p:cNvPr>
          <p:cNvPicPr>
            <a:picLocks noGrp="1" noChangeAspect="1"/>
          </p:cNvPicPr>
          <p:nvPr>
            <p:ph type="pic" sz="quarter" idx="20"/>
          </p:nvPr>
        </p:nvPicPr>
        <p:blipFill>
          <a:blip r:embed="rId6" cstate="screen">
            <a:extLst>
              <a:ext uri="{28A0092B-C50C-407E-A947-70E740481C1C}">
                <a14:useLocalDpi xmlns:a14="http://schemas.microsoft.com/office/drawing/2010/main"/>
              </a:ext>
            </a:extLst>
          </a:blip>
          <a:srcRect l="23892" r="23892"/>
          <a:stretch>
            <a:fillRect/>
          </a:stretch>
        </p:blipFill>
        <p:spPr/>
      </p:pic>
      <p:sp>
        <p:nvSpPr>
          <p:cNvPr id="26" name="Date Placeholder 25">
            <a:extLst>
              <a:ext uri="{FF2B5EF4-FFF2-40B4-BE49-F238E27FC236}">
                <a16:creationId xmlns:a16="http://schemas.microsoft.com/office/drawing/2014/main" id="{36B6CAAD-273E-435B-BE6D-521A41C7E15C}"/>
              </a:ext>
            </a:extLst>
          </p:cNvPr>
          <p:cNvSpPr>
            <a:spLocks noGrp="1"/>
          </p:cNvSpPr>
          <p:nvPr>
            <p:ph type="dt" sz="half" idx="21"/>
          </p:nvPr>
        </p:nvSpPr>
        <p:spPr bwMode="gray"/>
        <p:txBody>
          <a:bodyPr/>
          <a:lstStyle/>
          <a:p>
            <a:fld id="{22152937-EE4A-43C0-A221-16B115BA82DC}" type="datetime1">
              <a:rPr lang="de-DE" smtClean="0">
                <a:solidFill>
                  <a:schemeClr val="bg1"/>
                </a:solidFill>
              </a:rPr>
              <a:t>29.09.25</a:t>
            </a:fld>
            <a:endParaRPr lang="de-DE" dirty="0">
              <a:solidFill>
                <a:schemeClr val="bg1"/>
              </a:solidFill>
            </a:endParaRPr>
          </a:p>
        </p:txBody>
      </p:sp>
      <p:sp>
        <p:nvSpPr>
          <p:cNvPr id="2" name="Fußzeilenplatzhalter 1">
            <a:extLst>
              <a:ext uri="{FF2B5EF4-FFF2-40B4-BE49-F238E27FC236}">
                <a16:creationId xmlns:a16="http://schemas.microsoft.com/office/drawing/2014/main" id="{5E554738-D1AB-4BC0-AE9C-41D6D69A5B44}"/>
              </a:ext>
            </a:extLst>
          </p:cNvPr>
          <p:cNvSpPr>
            <a:spLocks noGrp="1"/>
          </p:cNvSpPr>
          <p:nvPr>
            <p:ph type="ftr" sz="quarter" idx="22"/>
          </p:nvPr>
        </p:nvSpPr>
        <p:spPr bwMode="gray"/>
        <p:txBody>
          <a:bodyPr/>
          <a:lstStyle/>
          <a:p>
            <a:r>
              <a:rPr lang="de-DE" dirty="0"/>
              <a:t>TITEL DER PRÄSENTATION | TITEL VORNAME NAME</a:t>
            </a:r>
          </a:p>
        </p:txBody>
      </p:sp>
      <p:sp>
        <p:nvSpPr>
          <p:cNvPr id="3" name="Foliennummernplatzhalter 2">
            <a:extLst>
              <a:ext uri="{FF2B5EF4-FFF2-40B4-BE49-F238E27FC236}">
                <a16:creationId xmlns:a16="http://schemas.microsoft.com/office/drawing/2014/main" id="{C33097EB-E49B-41BE-B6C4-CC80440B1BC1}"/>
              </a:ext>
            </a:extLst>
          </p:cNvPr>
          <p:cNvSpPr>
            <a:spLocks noGrp="1"/>
          </p:cNvSpPr>
          <p:nvPr>
            <p:ph type="sldNum" sz="quarter" idx="23"/>
          </p:nvPr>
        </p:nvSpPr>
        <p:spPr bwMode="gray"/>
        <p:txBody>
          <a:bodyPr/>
          <a:lstStyle/>
          <a:p>
            <a:fld id="{09E9C37E-8A19-4E30-BE2B-5A966AD23C7A}" type="slidenum">
              <a:rPr lang="de-DE" smtClean="0">
                <a:solidFill>
                  <a:schemeClr val="bg1"/>
                </a:solidFill>
              </a:rPr>
              <a:pPr/>
              <a:t>32</a:t>
            </a:fld>
            <a:endParaRPr lang="de-DE" dirty="0">
              <a:solidFill>
                <a:schemeClr val="bg1"/>
              </a:solidFill>
            </a:endParaRPr>
          </a:p>
        </p:txBody>
      </p:sp>
      <p:sp>
        <p:nvSpPr>
          <p:cNvPr id="5" name="Textplatzhalter 4">
            <a:extLst>
              <a:ext uri="{FF2B5EF4-FFF2-40B4-BE49-F238E27FC236}">
                <a16:creationId xmlns:a16="http://schemas.microsoft.com/office/drawing/2014/main" id="{F101656B-A13B-46FC-8C72-1D5DDD388011}"/>
              </a:ext>
            </a:extLst>
          </p:cNvPr>
          <p:cNvSpPr>
            <a:spLocks noGrp="1"/>
          </p:cNvSpPr>
          <p:nvPr>
            <p:ph sz="quarter" idx="24"/>
          </p:nvPr>
        </p:nvSpPr>
        <p:spPr bwMode="gray">
          <a:xfrm>
            <a:off x="336550" y="1989138"/>
            <a:ext cx="3527425" cy="3743325"/>
          </a:xfrm>
        </p:spPr>
        <p:txBody>
          <a:bodyPr/>
          <a:lstStyle/>
          <a:p>
            <a:pPr lvl="2"/>
            <a:r>
              <a:rPr lang="de-DE" dirty="0"/>
              <a:t>Optionale Zwischenüberschrift</a:t>
            </a:r>
          </a:p>
          <a:p>
            <a:pPr lvl="1"/>
            <a:r>
              <a:rPr lang="de-DE" dirty="0"/>
              <a:t>Fließtext auf Ebene Zwei. Lorem ipsum dolor sit amet, consetetur sadipscing elitr, sed diam nonumy eirmod tempor invidunt ut labore et dolore magna aliquyam erat.</a:t>
            </a:r>
          </a:p>
          <a:p>
            <a:pPr lvl="1"/>
            <a:r>
              <a:rPr lang="de-DE" dirty="0"/>
              <a:t>Ased diam voluptua. At vero eos et accusam et justo duo dolores.</a:t>
            </a:r>
          </a:p>
        </p:txBody>
      </p:sp>
    </p:spTree>
    <p:extLst>
      <p:ext uri="{BB962C8B-B14F-4D97-AF65-F5344CB8AC3E}">
        <p14:creationId xmlns:p14="http://schemas.microsoft.com/office/powerpoint/2010/main" val="2021456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lumMod val="60000"/>
            <a:lumOff val="40000"/>
          </a:schemeClr>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8776D2B-01C0-43F6-83AE-A39DD57D3A40}"/>
              </a:ext>
            </a:extLst>
          </p:cNvPr>
          <p:cNvGraphicFramePr>
            <a:graphicFrameLocks noChangeAspect="1"/>
          </p:cNvGraphicFramePr>
          <p:nvPr>
            <p:custDataLst>
              <p:tags r:id="rId1"/>
            </p:custDataLst>
            <p:extLst>
              <p:ext uri="{D42A27DB-BD31-4B8C-83A1-F6EECF244321}">
                <p14:modId xmlns:p14="http://schemas.microsoft.com/office/powerpoint/2010/main" val="4236179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61FF4E21-F376-4BAD-8F59-88E3C4FCFE86}"/>
              </a:ext>
            </a:extLst>
          </p:cNvPr>
          <p:cNvSpPr>
            <a:spLocks noGrp="1"/>
          </p:cNvSpPr>
          <p:nvPr>
            <p:ph type="title"/>
          </p:nvPr>
        </p:nvSpPr>
        <p:spPr bwMode="gray"/>
        <p:txBody>
          <a:bodyPr vert="horz"/>
          <a:lstStyle/>
          <a:p>
            <a:r>
              <a:rPr lang="de-DE" dirty="0">
                <a:solidFill>
                  <a:schemeClr val="bg1"/>
                </a:solidFill>
              </a:rPr>
              <a:t>ÜBERSCHRIFT 1</a:t>
            </a:r>
            <a:br>
              <a:rPr lang="de-DE" dirty="0">
                <a:solidFill>
                  <a:schemeClr val="bg1"/>
                </a:solidFill>
              </a:rPr>
            </a:br>
            <a:r>
              <a:rPr lang="de-DE" b="0" dirty="0">
                <a:solidFill>
                  <a:schemeClr val="bg1"/>
                </a:solidFill>
              </a:rPr>
              <a:t>HIER AUCH DREIZEILIG MÖGLICH,</a:t>
            </a:r>
            <a:br>
              <a:rPr lang="de-DE" b="0" dirty="0">
                <a:solidFill>
                  <a:schemeClr val="bg1"/>
                </a:solidFill>
              </a:rPr>
            </a:br>
            <a:r>
              <a:rPr lang="de-DE" b="0" dirty="0">
                <a:solidFill>
                  <a:schemeClr val="bg1"/>
                </a:solidFill>
              </a:rPr>
              <a:t>Hintergrund generell umfärbbar</a:t>
            </a:r>
          </a:p>
        </p:txBody>
      </p:sp>
      <p:sp>
        <p:nvSpPr>
          <p:cNvPr id="6" name="Textplatzhalter 5">
            <a:extLst>
              <a:ext uri="{FF2B5EF4-FFF2-40B4-BE49-F238E27FC236}">
                <a16:creationId xmlns:a16="http://schemas.microsoft.com/office/drawing/2014/main" id="{95A4C6AD-DA9B-4C70-A046-91B2FD719E29}"/>
              </a:ext>
            </a:extLst>
          </p:cNvPr>
          <p:cNvSpPr>
            <a:spLocks noGrp="1"/>
          </p:cNvSpPr>
          <p:nvPr>
            <p:ph type="body" sz="quarter" idx="14"/>
          </p:nvPr>
        </p:nvSpPr>
        <p:spPr bwMode="gray"/>
        <p:txBody>
          <a:bodyPr/>
          <a:lstStyle/>
          <a:p>
            <a:r>
              <a:rPr lang="de-DE" dirty="0">
                <a:solidFill>
                  <a:schemeClr val="bg1"/>
                </a:solidFill>
              </a:rPr>
              <a:t>Platzhalter für Bildbeschreibung </a:t>
            </a:r>
            <a:br>
              <a:rPr lang="de-DE" dirty="0">
                <a:solidFill>
                  <a:schemeClr val="bg1"/>
                </a:solidFill>
              </a:rPr>
            </a:br>
            <a:r>
              <a:rPr lang="de-DE" dirty="0">
                <a:solidFill>
                  <a:schemeClr val="bg1"/>
                </a:solidFill>
              </a:rPr>
              <a:t>auch zweizeilig möglich</a:t>
            </a:r>
          </a:p>
        </p:txBody>
      </p:sp>
      <p:pic>
        <p:nvPicPr>
          <p:cNvPr id="16" name="Bildplatzhalter 15" descr="Ein Bild, das Text, Tisch, drinnen, Person enthält.&#10;&#10;Automatisch generierte Beschreibung">
            <a:extLst>
              <a:ext uri="{FF2B5EF4-FFF2-40B4-BE49-F238E27FC236}">
                <a16:creationId xmlns:a16="http://schemas.microsoft.com/office/drawing/2014/main" id="{C2A81CA5-A3C2-3A4B-9DFD-D303D7389AC8}"/>
              </a:ext>
            </a:extLst>
          </p:cNvPr>
          <p:cNvPicPr>
            <a:picLocks noGrp="1" noChangeAspect="1"/>
          </p:cNvPicPr>
          <p:nvPr>
            <p:ph type="pic" sz="quarter" idx="15"/>
          </p:nvPr>
        </p:nvPicPr>
        <p:blipFill>
          <a:blip r:embed="rId5" cstate="screen">
            <a:extLst>
              <a:ext uri="{28A0092B-C50C-407E-A947-70E740481C1C}">
                <a14:useLocalDpi xmlns:a14="http://schemas.microsoft.com/office/drawing/2010/main"/>
              </a:ext>
            </a:extLst>
          </a:blip>
          <a:srcRect l="23892" r="23892"/>
          <a:stretch>
            <a:fillRect/>
          </a:stretch>
        </p:blipFill>
        <p:spPr/>
      </p:pic>
      <p:sp>
        <p:nvSpPr>
          <p:cNvPr id="7" name="Textplatzhalter 6">
            <a:extLst>
              <a:ext uri="{FF2B5EF4-FFF2-40B4-BE49-F238E27FC236}">
                <a16:creationId xmlns:a16="http://schemas.microsoft.com/office/drawing/2014/main" id="{D3724D98-4184-4DD9-A3B0-ADE11BFC9940}"/>
              </a:ext>
            </a:extLst>
          </p:cNvPr>
          <p:cNvSpPr>
            <a:spLocks noGrp="1"/>
          </p:cNvSpPr>
          <p:nvPr>
            <p:ph type="body" sz="quarter" idx="19"/>
          </p:nvPr>
        </p:nvSpPr>
        <p:spPr bwMode="gray"/>
        <p:txBody>
          <a:bodyPr/>
          <a:lstStyle/>
          <a:p>
            <a:r>
              <a:rPr lang="de-DE" dirty="0">
                <a:solidFill>
                  <a:schemeClr val="bg1"/>
                </a:solidFill>
              </a:rPr>
              <a:t>Platzhalter für Bildbeschreibung </a:t>
            </a:r>
            <a:br>
              <a:rPr lang="de-DE" dirty="0">
                <a:solidFill>
                  <a:schemeClr val="bg1"/>
                </a:solidFill>
              </a:rPr>
            </a:br>
            <a:r>
              <a:rPr lang="de-DE" dirty="0">
                <a:solidFill>
                  <a:schemeClr val="bg1"/>
                </a:solidFill>
              </a:rPr>
              <a:t>auch zweizeilig möglich</a:t>
            </a:r>
          </a:p>
        </p:txBody>
      </p:sp>
      <p:pic>
        <p:nvPicPr>
          <p:cNvPr id="18" name="Bildplatzhalter 17" descr="Ein Bild, das drinnen, Person, Wand, Esstisch enthält.&#10;&#10;Automatisch generierte Beschreibung">
            <a:extLst>
              <a:ext uri="{FF2B5EF4-FFF2-40B4-BE49-F238E27FC236}">
                <a16:creationId xmlns:a16="http://schemas.microsoft.com/office/drawing/2014/main" id="{E0D12D73-24FC-CC45-9908-BC25A8174C56}"/>
              </a:ext>
            </a:extLst>
          </p:cNvPr>
          <p:cNvPicPr>
            <a:picLocks noGrp="1" noChangeAspect="1"/>
          </p:cNvPicPr>
          <p:nvPr>
            <p:ph type="pic" sz="quarter" idx="20"/>
          </p:nvPr>
        </p:nvPicPr>
        <p:blipFill>
          <a:blip r:embed="rId6" cstate="screen">
            <a:extLst>
              <a:ext uri="{28A0092B-C50C-407E-A947-70E740481C1C}">
                <a14:useLocalDpi xmlns:a14="http://schemas.microsoft.com/office/drawing/2010/main"/>
              </a:ext>
            </a:extLst>
          </a:blip>
          <a:srcRect l="23892" r="23892"/>
          <a:stretch>
            <a:fillRect/>
          </a:stretch>
        </p:blipFill>
        <p:spPr/>
      </p:pic>
      <p:sp>
        <p:nvSpPr>
          <p:cNvPr id="26" name="Date Placeholder 25">
            <a:extLst>
              <a:ext uri="{FF2B5EF4-FFF2-40B4-BE49-F238E27FC236}">
                <a16:creationId xmlns:a16="http://schemas.microsoft.com/office/drawing/2014/main" id="{36B6CAAD-273E-435B-BE6D-521A41C7E15C}"/>
              </a:ext>
            </a:extLst>
          </p:cNvPr>
          <p:cNvSpPr>
            <a:spLocks noGrp="1"/>
          </p:cNvSpPr>
          <p:nvPr>
            <p:ph type="dt" sz="half" idx="21"/>
          </p:nvPr>
        </p:nvSpPr>
        <p:spPr bwMode="gray"/>
        <p:txBody>
          <a:bodyPr/>
          <a:lstStyle/>
          <a:p>
            <a:fld id="{92782E33-FCD5-442B-8BBF-5234BC2A171F}" type="datetime1">
              <a:rPr lang="de-DE" smtClean="0">
                <a:solidFill>
                  <a:schemeClr val="bg1"/>
                </a:solidFill>
              </a:rPr>
              <a:t>29.09.25</a:t>
            </a:fld>
            <a:endParaRPr lang="de-DE" dirty="0">
              <a:solidFill>
                <a:schemeClr val="bg1"/>
              </a:solidFill>
            </a:endParaRPr>
          </a:p>
        </p:txBody>
      </p:sp>
      <p:sp>
        <p:nvSpPr>
          <p:cNvPr id="2" name="Fußzeilenplatzhalter 1">
            <a:extLst>
              <a:ext uri="{FF2B5EF4-FFF2-40B4-BE49-F238E27FC236}">
                <a16:creationId xmlns:a16="http://schemas.microsoft.com/office/drawing/2014/main" id="{5E554738-D1AB-4BC0-AE9C-41D6D69A5B44}"/>
              </a:ext>
            </a:extLst>
          </p:cNvPr>
          <p:cNvSpPr>
            <a:spLocks noGrp="1"/>
          </p:cNvSpPr>
          <p:nvPr>
            <p:ph type="ftr" sz="quarter" idx="22"/>
          </p:nvPr>
        </p:nvSpPr>
        <p:spPr bwMode="gray"/>
        <p:txBody>
          <a:bodyPr/>
          <a:lstStyle/>
          <a:p>
            <a:r>
              <a:rPr lang="de-DE" dirty="0">
                <a:solidFill>
                  <a:schemeClr val="bg1"/>
                </a:solidFill>
              </a:rPr>
              <a:t>TITEL DER PRÄSENTATION | TITEL VORNAME NAME</a:t>
            </a:r>
          </a:p>
        </p:txBody>
      </p:sp>
      <p:sp>
        <p:nvSpPr>
          <p:cNvPr id="3" name="Foliennummernplatzhalter 2">
            <a:extLst>
              <a:ext uri="{FF2B5EF4-FFF2-40B4-BE49-F238E27FC236}">
                <a16:creationId xmlns:a16="http://schemas.microsoft.com/office/drawing/2014/main" id="{C33097EB-E49B-41BE-B6C4-CC80440B1BC1}"/>
              </a:ext>
            </a:extLst>
          </p:cNvPr>
          <p:cNvSpPr>
            <a:spLocks noGrp="1"/>
          </p:cNvSpPr>
          <p:nvPr>
            <p:ph type="sldNum" sz="quarter" idx="23"/>
          </p:nvPr>
        </p:nvSpPr>
        <p:spPr bwMode="gray"/>
        <p:txBody>
          <a:bodyPr/>
          <a:lstStyle/>
          <a:p>
            <a:fld id="{09E9C37E-8A19-4E30-BE2B-5A966AD23C7A}" type="slidenum">
              <a:rPr lang="de-DE" smtClean="0">
                <a:solidFill>
                  <a:schemeClr val="bg1"/>
                </a:solidFill>
              </a:rPr>
              <a:pPr/>
              <a:t>33</a:t>
            </a:fld>
            <a:endParaRPr lang="de-DE" dirty="0">
              <a:solidFill>
                <a:schemeClr val="bg1"/>
              </a:solidFill>
            </a:endParaRPr>
          </a:p>
        </p:txBody>
      </p:sp>
      <p:sp>
        <p:nvSpPr>
          <p:cNvPr id="5" name="Textplatzhalter 4">
            <a:extLst>
              <a:ext uri="{FF2B5EF4-FFF2-40B4-BE49-F238E27FC236}">
                <a16:creationId xmlns:a16="http://schemas.microsoft.com/office/drawing/2014/main" id="{F101656B-A13B-46FC-8C72-1D5DDD388011}"/>
              </a:ext>
            </a:extLst>
          </p:cNvPr>
          <p:cNvSpPr>
            <a:spLocks noGrp="1"/>
          </p:cNvSpPr>
          <p:nvPr>
            <p:ph sz="quarter" idx="24"/>
          </p:nvPr>
        </p:nvSpPr>
        <p:spPr bwMode="gray">
          <a:xfrm>
            <a:off x="336551" y="1989138"/>
            <a:ext cx="3527424" cy="3743325"/>
          </a:xfrm>
        </p:spPr>
        <p:txBody>
          <a:bodyPr/>
          <a:lstStyle/>
          <a:p>
            <a:pPr lvl="2"/>
            <a:r>
              <a:rPr lang="de-DE" dirty="0">
                <a:solidFill>
                  <a:schemeClr val="bg1"/>
                </a:solidFill>
              </a:rPr>
              <a:t>Optionale Zwischenüberschrift</a:t>
            </a:r>
          </a:p>
          <a:p>
            <a:pPr lvl="1"/>
            <a:r>
              <a:rPr lang="de-DE" dirty="0">
                <a:solidFill>
                  <a:schemeClr val="bg1"/>
                </a:solidFill>
              </a:rPr>
              <a:t>Fließtext auf Ebene Zwei. Lorem ipsum dolor sit amet, consetetur sadipscing elitr, sed diam nonumy eirmod tempor invidunt ut labore et dolore magna aliquyam erat.</a:t>
            </a:r>
          </a:p>
          <a:p>
            <a:pPr lvl="1"/>
            <a:r>
              <a:rPr lang="de-DE" dirty="0">
                <a:solidFill>
                  <a:schemeClr val="bg1"/>
                </a:solidFill>
              </a:rPr>
              <a:t>Ased diam voluptua. At vero eos et accusam et justo duo dolores.</a:t>
            </a:r>
          </a:p>
        </p:txBody>
      </p:sp>
    </p:spTree>
    <p:extLst>
      <p:ext uri="{BB962C8B-B14F-4D97-AF65-F5344CB8AC3E}">
        <p14:creationId xmlns:p14="http://schemas.microsoft.com/office/powerpoint/2010/main" val="78516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2E233972-6555-497C-ADB8-D99FF8A379D0}"/>
              </a:ext>
            </a:extLst>
          </p:cNvPr>
          <p:cNvGraphicFramePr>
            <a:graphicFrameLocks noChangeAspect="1"/>
          </p:cNvGraphicFramePr>
          <p:nvPr>
            <p:custDataLst>
              <p:tags r:id="rId1"/>
            </p:custDataLst>
            <p:extLst>
              <p:ext uri="{D42A27DB-BD31-4B8C-83A1-F6EECF244321}">
                <p14:modId xmlns:p14="http://schemas.microsoft.com/office/powerpoint/2010/main" val="1812065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61FF4E21-F376-4BAD-8F59-88E3C4FCFE86}"/>
              </a:ext>
            </a:extLst>
          </p:cNvPr>
          <p:cNvSpPr>
            <a:spLocks noGrp="1"/>
          </p:cNvSpPr>
          <p:nvPr>
            <p:ph type="title"/>
          </p:nvPr>
        </p:nvSpPr>
        <p:spPr bwMode="gray"/>
        <p:txBody>
          <a:bodyPr vert="horz"/>
          <a:lstStyle/>
          <a:p>
            <a:r>
              <a:rPr lang="de-DE" dirty="0"/>
              <a:t>ÜBERSCHRIFT 1</a:t>
            </a:r>
            <a:br>
              <a:rPr lang="de-DE" dirty="0"/>
            </a:br>
            <a:r>
              <a:rPr lang="de-DE" b="0" dirty="0"/>
              <a:t>HIER AUCH DREIZEILIG</a:t>
            </a:r>
            <a:br>
              <a:rPr lang="de-DE" b="0" dirty="0"/>
            </a:br>
            <a:r>
              <a:rPr lang="de-DE" b="0" dirty="0"/>
              <a:t>MÖGLICH</a:t>
            </a:r>
          </a:p>
        </p:txBody>
      </p:sp>
      <p:sp>
        <p:nvSpPr>
          <p:cNvPr id="6" name="Textplatzhalter 5">
            <a:extLst>
              <a:ext uri="{FF2B5EF4-FFF2-40B4-BE49-F238E27FC236}">
                <a16:creationId xmlns:a16="http://schemas.microsoft.com/office/drawing/2014/main" id="{95A4C6AD-DA9B-4C70-A046-91B2FD719E29}"/>
              </a:ext>
            </a:extLst>
          </p:cNvPr>
          <p:cNvSpPr>
            <a:spLocks noGrp="1"/>
          </p:cNvSpPr>
          <p:nvPr>
            <p:ph type="body" sz="quarter" idx="14"/>
          </p:nvPr>
        </p:nvSpPr>
        <p:spPr bwMode="gray"/>
        <p:txBody>
          <a:bodyPr/>
          <a:lstStyle/>
          <a:p>
            <a:r>
              <a:rPr lang="de-DE" dirty="0"/>
              <a:t>Platzhalter für Bildbeschreibung </a:t>
            </a:r>
            <a:br>
              <a:rPr lang="de-DE" dirty="0"/>
            </a:br>
            <a:r>
              <a:rPr lang="de-DE" dirty="0"/>
              <a:t>auch zweizeilig möglich</a:t>
            </a:r>
          </a:p>
        </p:txBody>
      </p:sp>
      <p:pic>
        <p:nvPicPr>
          <p:cNvPr id="16" name="Bildplatzhalter 15">
            <a:extLst>
              <a:ext uri="{FF2B5EF4-FFF2-40B4-BE49-F238E27FC236}">
                <a16:creationId xmlns:a16="http://schemas.microsoft.com/office/drawing/2014/main" id="{F5C81D2B-7A9B-4735-A92B-04E1732EF2F9}"/>
              </a:ext>
            </a:extLst>
          </p:cNvPr>
          <p:cNvPicPr>
            <a:picLocks noGrp="1" noChangeAspect="1"/>
          </p:cNvPicPr>
          <p:nvPr>
            <p:ph type="pic" sz="quarter" idx="15"/>
          </p:nvPr>
        </p:nvPicPr>
        <p:blipFill>
          <a:blip r:embed="rId5" cstate="screen">
            <a:extLst>
              <a:ext uri="{28A0092B-C50C-407E-A947-70E740481C1C}">
                <a14:useLocalDpi xmlns:a14="http://schemas.microsoft.com/office/drawing/2010/main"/>
              </a:ext>
            </a:extLst>
          </a:blip>
          <a:srcRect t="21423" b="21423"/>
          <a:stretch/>
        </p:blipFill>
        <p:spPr bwMode="gray">
          <a:prstGeom prst="rect">
            <a:avLst/>
          </a:prstGeom>
          <a:ln w="57150">
            <a:noFill/>
          </a:ln>
        </p:spPr>
      </p:pic>
      <p:sp>
        <p:nvSpPr>
          <p:cNvPr id="8" name="Textplatzhalter 7">
            <a:extLst>
              <a:ext uri="{FF2B5EF4-FFF2-40B4-BE49-F238E27FC236}">
                <a16:creationId xmlns:a16="http://schemas.microsoft.com/office/drawing/2014/main" id="{2C17687E-6B1E-4A43-82B7-E5ECA20A5B87}"/>
              </a:ext>
            </a:extLst>
          </p:cNvPr>
          <p:cNvSpPr>
            <a:spLocks noGrp="1"/>
          </p:cNvSpPr>
          <p:nvPr>
            <p:ph type="body" sz="quarter" idx="20"/>
          </p:nvPr>
        </p:nvSpPr>
        <p:spPr bwMode="gray"/>
        <p:txBody>
          <a:bodyPr lIns="144000"/>
          <a:lstStyle/>
          <a:p>
            <a:r>
              <a:rPr lang="de-DE" dirty="0"/>
              <a:t>Platzhalter für Bildbeschreibung </a:t>
            </a:r>
            <a:br>
              <a:rPr lang="de-DE" dirty="0"/>
            </a:br>
            <a:r>
              <a:rPr lang="de-DE" dirty="0"/>
              <a:t>auch zweizeilig möglich</a:t>
            </a:r>
          </a:p>
        </p:txBody>
      </p:sp>
      <p:pic>
        <p:nvPicPr>
          <p:cNvPr id="10" name="Bildplatzhalter 9">
            <a:extLst>
              <a:ext uri="{FF2B5EF4-FFF2-40B4-BE49-F238E27FC236}">
                <a16:creationId xmlns:a16="http://schemas.microsoft.com/office/drawing/2014/main" id="{2C3EF9CC-80B8-4D13-B99C-810B769969A6}"/>
              </a:ext>
            </a:extLst>
          </p:cNvPr>
          <p:cNvPicPr>
            <a:picLocks noGrp="1" noChangeAspect="1"/>
          </p:cNvPicPr>
          <p:nvPr>
            <p:ph type="pic" sz="quarter" idx="21"/>
          </p:nvPr>
        </p:nvPicPr>
        <p:blipFill>
          <a:blip r:embed="rId6" cstate="screen">
            <a:extLst>
              <a:ext uri="{28A0092B-C50C-407E-A947-70E740481C1C}">
                <a14:useLocalDpi xmlns:a14="http://schemas.microsoft.com/office/drawing/2010/main"/>
              </a:ext>
            </a:extLst>
          </a:blip>
          <a:srcRect t="21423" b="21423"/>
          <a:stretch/>
        </p:blipFill>
        <p:spPr bwMode="gray"/>
      </p:pic>
      <p:sp>
        <p:nvSpPr>
          <p:cNvPr id="38" name="Date Placeholder 37">
            <a:extLst>
              <a:ext uri="{FF2B5EF4-FFF2-40B4-BE49-F238E27FC236}">
                <a16:creationId xmlns:a16="http://schemas.microsoft.com/office/drawing/2014/main" id="{0D274E68-0A0B-4F1F-B4DC-8804C9DEF0BB}"/>
              </a:ext>
            </a:extLst>
          </p:cNvPr>
          <p:cNvSpPr>
            <a:spLocks noGrp="1"/>
          </p:cNvSpPr>
          <p:nvPr>
            <p:ph type="dt" sz="half" idx="22"/>
          </p:nvPr>
        </p:nvSpPr>
        <p:spPr bwMode="gray"/>
        <p:txBody>
          <a:bodyPr/>
          <a:lstStyle/>
          <a:p>
            <a:fld id="{3EF533E7-E0A9-4115-BF9C-07CEAACC288E}" type="datetime1">
              <a:rPr lang="de-DE" smtClean="0"/>
              <a:t>29.09.25</a:t>
            </a:fld>
            <a:endParaRPr lang="de-DE" dirty="0"/>
          </a:p>
        </p:txBody>
      </p:sp>
      <p:sp>
        <p:nvSpPr>
          <p:cNvPr id="2" name="Fußzeilenplatzhalter 1">
            <a:extLst>
              <a:ext uri="{FF2B5EF4-FFF2-40B4-BE49-F238E27FC236}">
                <a16:creationId xmlns:a16="http://schemas.microsoft.com/office/drawing/2014/main" id="{5E554738-D1AB-4BC0-AE9C-41D6D69A5B44}"/>
              </a:ext>
            </a:extLst>
          </p:cNvPr>
          <p:cNvSpPr>
            <a:spLocks noGrp="1"/>
          </p:cNvSpPr>
          <p:nvPr>
            <p:ph type="ftr" sz="quarter" idx="23"/>
          </p:nvPr>
        </p:nvSpPr>
        <p:spPr bwMode="gray"/>
        <p:txBody>
          <a:bodyPr/>
          <a:lstStyle/>
          <a:p>
            <a:r>
              <a:rPr lang="de-DE" dirty="0"/>
              <a:t>TITEL DER PRÄSENTATION | TITEL VORNAME NAME</a:t>
            </a:r>
          </a:p>
        </p:txBody>
      </p:sp>
      <p:sp>
        <p:nvSpPr>
          <p:cNvPr id="3" name="Foliennummernplatzhalter 2">
            <a:extLst>
              <a:ext uri="{FF2B5EF4-FFF2-40B4-BE49-F238E27FC236}">
                <a16:creationId xmlns:a16="http://schemas.microsoft.com/office/drawing/2014/main" id="{C33097EB-E49B-41BE-B6C4-CC80440B1BC1}"/>
              </a:ext>
            </a:extLst>
          </p:cNvPr>
          <p:cNvSpPr>
            <a:spLocks noGrp="1"/>
          </p:cNvSpPr>
          <p:nvPr>
            <p:ph type="sldNum" sz="quarter" idx="24"/>
          </p:nvPr>
        </p:nvSpPr>
        <p:spPr bwMode="gray"/>
        <p:txBody>
          <a:bodyPr/>
          <a:lstStyle/>
          <a:p>
            <a:fld id="{09E9C37E-8A19-4E30-BE2B-5A966AD23C7A}" type="slidenum">
              <a:rPr lang="de-DE" smtClean="0"/>
              <a:pPr/>
              <a:t>34</a:t>
            </a:fld>
            <a:endParaRPr lang="de-DE" dirty="0"/>
          </a:p>
        </p:txBody>
      </p:sp>
      <p:sp>
        <p:nvSpPr>
          <p:cNvPr id="5" name="Textplatzhalter 4">
            <a:extLst>
              <a:ext uri="{FF2B5EF4-FFF2-40B4-BE49-F238E27FC236}">
                <a16:creationId xmlns:a16="http://schemas.microsoft.com/office/drawing/2014/main" id="{F101656B-A13B-46FC-8C72-1D5DDD388011}"/>
              </a:ext>
            </a:extLst>
          </p:cNvPr>
          <p:cNvSpPr>
            <a:spLocks noGrp="1"/>
          </p:cNvSpPr>
          <p:nvPr>
            <p:ph type="body" sz="quarter" idx="25"/>
          </p:nvPr>
        </p:nvSpPr>
        <p:spPr bwMode="gray">
          <a:noFill/>
        </p:spPr>
        <p:txBody>
          <a:bodyPr/>
          <a:lstStyle/>
          <a:p>
            <a:pPr lvl="2"/>
            <a:r>
              <a:rPr lang="de-DE" dirty="0"/>
              <a:t>Lorem ipsum dolor sit amet</a:t>
            </a:r>
          </a:p>
          <a:p>
            <a:pPr lvl="1"/>
            <a:r>
              <a:rPr lang="de-DE" dirty="0"/>
              <a:t>Consetetur sadipscing elitr, sed diam nonumy eirmod tempor invidunt ut labore et dolore magna aliquyam erat.</a:t>
            </a:r>
          </a:p>
        </p:txBody>
      </p:sp>
      <p:sp>
        <p:nvSpPr>
          <p:cNvPr id="7" name="Textplatzhalter 6">
            <a:extLst>
              <a:ext uri="{FF2B5EF4-FFF2-40B4-BE49-F238E27FC236}">
                <a16:creationId xmlns:a16="http://schemas.microsoft.com/office/drawing/2014/main" id="{D3724D98-4184-4DD9-A3B0-ADE11BFC9940}"/>
              </a:ext>
            </a:extLst>
          </p:cNvPr>
          <p:cNvSpPr>
            <a:spLocks noGrp="1"/>
          </p:cNvSpPr>
          <p:nvPr>
            <p:ph type="body" sz="quarter" idx="26"/>
          </p:nvPr>
        </p:nvSpPr>
        <p:spPr bwMode="gray">
          <a:noFill/>
        </p:spPr>
        <p:txBody>
          <a:bodyPr/>
          <a:lstStyle/>
          <a:p>
            <a:pPr lvl="2"/>
            <a:r>
              <a:rPr lang="de-DE" dirty="0"/>
              <a:t>Lorem ipsum dolor sit amet</a:t>
            </a:r>
          </a:p>
          <a:p>
            <a:pPr lvl="1"/>
            <a:r>
              <a:rPr lang="de-DE" dirty="0"/>
              <a:t>Consetetur sadipscing elitr, sed diam nonumy eirmod tempor invidunt ut labore et dolore magna aliquyam erat.</a:t>
            </a:r>
          </a:p>
        </p:txBody>
      </p:sp>
    </p:spTree>
    <p:extLst>
      <p:ext uri="{BB962C8B-B14F-4D97-AF65-F5344CB8AC3E}">
        <p14:creationId xmlns:p14="http://schemas.microsoft.com/office/powerpoint/2010/main" val="1572794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lumMod val="60000"/>
            <a:lumOff val="40000"/>
          </a:schemeClr>
        </a:solidFill>
        <a:effectLst/>
      </p:bgPr>
    </p:bg>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823655FD-0DEF-4381-B1C5-DD3372D778E5}"/>
              </a:ext>
            </a:extLst>
          </p:cNvPr>
          <p:cNvGraphicFramePr>
            <a:graphicFrameLocks noChangeAspect="1"/>
          </p:cNvGraphicFramePr>
          <p:nvPr>
            <p:custDataLst>
              <p:tags r:id="rId1"/>
            </p:custDataLst>
            <p:extLst>
              <p:ext uri="{D42A27DB-BD31-4B8C-83A1-F6EECF244321}">
                <p14:modId xmlns:p14="http://schemas.microsoft.com/office/powerpoint/2010/main" val="2829508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D3E74947-E170-46FC-B56C-B4869EE33232}"/>
              </a:ext>
            </a:extLst>
          </p:cNvPr>
          <p:cNvSpPr/>
          <p:nvPr/>
        </p:nvSpPr>
        <p:spPr bwMode="gray">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4" name="Titel 3">
            <a:extLst>
              <a:ext uri="{FF2B5EF4-FFF2-40B4-BE49-F238E27FC236}">
                <a16:creationId xmlns:a16="http://schemas.microsoft.com/office/drawing/2014/main" id="{61FF4E21-F376-4BAD-8F59-88E3C4FCFE86}"/>
              </a:ext>
            </a:extLst>
          </p:cNvPr>
          <p:cNvSpPr>
            <a:spLocks noGrp="1"/>
          </p:cNvSpPr>
          <p:nvPr>
            <p:ph type="title"/>
          </p:nvPr>
        </p:nvSpPr>
        <p:spPr bwMode="gray">
          <a:xfrm>
            <a:off x="336000" y="765000"/>
            <a:ext cx="5472000" cy="936000"/>
          </a:xfrm>
        </p:spPr>
        <p:txBody>
          <a:bodyPr vert="horz"/>
          <a:lstStyle/>
          <a:p>
            <a:r>
              <a:rPr lang="de-DE" dirty="0"/>
              <a:t>ÜBERSCHRIFT 1</a:t>
            </a:r>
            <a:br>
              <a:rPr lang="de-DE" dirty="0"/>
            </a:br>
            <a:r>
              <a:rPr lang="de-DE" b="0" dirty="0"/>
              <a:t>HIER AUCH DREIZEILIG MÖGLICH,</a:t>
            </a:r>
            <a:br>
              <a:rPr lang="de-DE" b="0" dirty="0"/>
            </a:br>
            <a:r>
              <a:rPr lang="de-DE" b="0" dirty="0"/>
              <a:t>Hintergrund generell umfärbbar</a:t>
            </a:r>
          </a:p>
        </p:txBody>
      </p:sp>
      <p:sp>
        <p:nvSpPr>
          <p:cNvPr id="6" name="Textplatzhalter 5">
            <a:extLst>
              <a:ext uri="{FF2B5EF4-FFF2-40B4-BE49-F238E27FC236}">
                <a16:creationId xmlns:a16="http://schemas.microsoft.com/office/drawing/2014/main" id="{95A4C6AD-DA9B-4C70-A046-91B2FD719E29}"/>
              </a:ext>
            </a:extLst>
          </p:cNvPr>
          <p:cNvSpPr>
            <a:spLocks noGrp="1"/>
          </p:cNvSpPr>
          <p:nvPr>
            <p:ph type="body" sz="quarter" idx="14"/>
          </p:nvPr>
        </p:nvSpPr>
        <p:spPr bwMode="gray"/>
        <p:txBody>
          <a:bodyPr/>
          <a:lstStyle/>
          <a:p>
            <a:r>
              <a:rPr lang="de-DE" dirty="0"/>
              <a:t>Platzhalter für Bildbeschreibung </a:t>
            </a:r>
            <a:br>
              <a:rPr lang="de-DE" dirty="0"/>
            </a:br>
            <a:r>
              <a:rPr lang="de-DE" dirty="0"/>
              <a:t>auch zweizeilig möglich</a:t>
            </a:r>
          </a:p>
        </p:txBody>
      </p:sp>
      <p:pic>
        <p:nvPicPr>
          <p:cNvPr id="16" name="Bildplatzhalter 15">
            <a:extLst>
              <a:ext uri="{FF2B5EF4-FFF2-40B4-BE49-F238E27FC236}">
                <a16:creationId xmlns:a16="http://schemas.microsoft.com/office/drawing/2014/main" id="{F5C81D2B-7A9B-4735-A92B-04E1732EF2F9}"/>
              </a:ext>
            </a:extLst>
          </p:cNvPr>
          <p:cNvPicPr>
            <a:picLocks noGrp="1" noChangeAspect="1"/>
          </p:cNvPicPr>
          <p:nvPr>
            <p:ph type="pic" sz="quarter" idx="15"/>
          </p:nvPr>
        </p:nvPicPr>
        <p:blipFill>
          <a:blip r:embed="rId5" cstate="screen">
            <a:extLst>
              <a:ext uri="{28A0092B-C50C-407E-A947-70E740481C1C}">
                <a14:useLocalDpi xmlns:a14="http://schemas.microsoft.com/office/drawing/2010/main"/>
              </a:ext>
            </a:extLst>
          </a:blip>
          <a:srcRect t="21423" b="21423"/>
          <a:stretch/>
        </p:blipFill>
        <p:spPr bwMode="gray">
          <a:prstGeom prst="rect">
            <a:avLst/>
          </a:prstGeom>
          <a:ln w="57150">
            <a:noFill/>
          </a:ln>
        </p:spPr>
      </p:pic>
      <p:sp>
        <p:nvSpPr>
          <p:cNvPr id="8" name="Textplatzhalter 7">
            <a:extLst>
              <a:ext uri="{FF2B5EF4-FFF2-40B4-BE49-F238E27FC236}">
                <a16:creationId xmlns:a16="http://schemas.microsoft.com/office/drawing/2014/main" id="{2C17687E-6B1E-4A43-82B7-E5ECA20A5B87}"/>
              </a:ext>
            </a:extLst>
          </p:cNvPr>
          <p:cNvSpPr>
            <a:spLocks noGrp="1"/>
          </p:cNvSpPr>
          <p:nvPr>
            <p:ph type="body" sz="quarter" idx="20"/>
          </p:nvPr>
        </p:nvSpPr>
        <p:spPr bwMode="gray"/>
        <p:txBody>
          <a:bodyPr lIns="144000"/>
          <a:lstStyle/>
          <a:p>
            <a:r>
              <a:rPr lang="de-DE" dirty="0">
                <a:solidFill>
                  <a:schemeClr val="bg1"/>
                </a:solidFill>
              </a:rPr>
              <a:t>Platzhalter für Bildbeschreibung </a:t>
            </a:r>
            <a:br>
              <a:rPr lang="de-DE" dirty="0">
                <a:solidFill>
                  <a:schemeClr val="bg1"/>
                </a:solidFill>
              </a:rPr>
            </a:br>
            <a:r>
              <a:rPr lang="de-DE" dirty="0">
                <a:solidFill>
                  <a:schemeClr val="bg1"/>
                </a:solidFill>
              </a:rPr>
              <a:t>auch zweizeilig möglich</a:t>
            </a:r>
          </a:p>
        </p:txBody>
      </p:sp>
      <p:pic>
        <p:nvPicPr>
          <p:cNvPr id="10" name="Bildplatzhalter 9">
            <a:extLst>
              <a:ext uri="{FF2B5EF4-FFF2-40B4-BE49-F238E27FC236}">
                <a16:creationId xmlns:a16="http://schemas.microsoft.com/office/drawing/2014/main" id="{2C3EF9CC-80B8-4D13-B99C-810B769969A6}"/>
              </a:ext>
            </a:extLst>
          </p:cNvPr>
          <p:cNvPicPr>
            <a:picLocks noGrp="1" noChangeAspect="1"/>
          </p:cNvPicPr>
          <p:nvPr>
            <p:ph type="pic" sz="quarter" idx="21"/>
          </p:nvPr>
        </p:nvPicPr>
        <p:blipFill>
          <a:blip r:embed="rId6" cstate="screen">
            <a:extLst>
              <a:ext uri="{28A0092B-C50C-407E-A947-70E740481C1C}">
                <a14:useLocalDpi xmlns:a14="http://schemas.microsoft.com/office/drawing/2010/main"/>
              </a:ext>
            </a:extLst>
          </a:blip>
          <a:srcRect t="21423" b="21423"/>
          <a:stretch/>
        </p:blipFill>
        <p:spPr bwMode="gray"/>
      </p:pic>
      <p:sp>
        <p:nvSpPr>
          <p:cNvPr id="38" name="Date Placeholder 37">
            <a:extLst>
              <a:ext uri="{FF2B5EF4-FFF2-40B4-BE49-F238E27FC236}">
                <a16:creationId xmlns:a16="http://schemas.microsoft.com/office/drawing/2014/main" id="{0D274E68-0A0B-4F1F-B4DC-8804C9DEF0BB}"/>
              </a:ext>
            </a:extLst>
          </p:cNvPr>
          <p:cNvSpPr>
            <a:spLocks noGrp="1"/>
          </p:cNvSpPr>
          <p:nvPr>
            <p:ph type="dt" sz="half" idx="22"/>
          </p:nvPr>
        </p:nvSpPr>
        <p:spPr bwMode="gray"/>
        <p:txBody>
          <a:bodyPr/>
          <a:lstStyle/>
          <a:p>
            <a:fld id="{1935843C-F130-4DE2-B68F-95F209F07632}" type="datetime1">
              <a:rPr lang="de-DE" smtClean="0">
                <a:solidFill>
                  <a:schemeClr val="bg1"/>
                </a:solidFill>
              </a:rPr>
              <a:t>29.09.25</a:t>
            </a:fld>
            <a:endParaRPr lang="de-DE" dirty="0">
              <a:solidFill>
                <a:schemeClr val="bg1"/>
              </a:solidFill>
            </a:endParaRPr>
          </a:p>
        </p:txBody>
      </p:sp>
      <p:sp>
        <p:nvSpPr>
          <p:cNvPr id="2" name="Fußzeilenplatzhalter 1">
            <a:extLst>
              <a:ext uri="{FF2B5EF4-FFF2-40B4-BE49-F238E27FC236}">
                <a16:creationId xmlns:a16="http://schemas.microsoft.com/office/drawing/2014/main" id="{5E554738-D1AB-4BC0-AE9C-41D6D69A5B44}"/>
              </a:ext>
            </a:extLst>
          </p:cNvPr>
          <p:cNvSpPr>
            <a:spLocks noGrp="1"/>
          </p:cNvSpPr>
          <p:nvPr>
            <p:ph type="ftr" sz="quarter" idx="23"/>
          </p:nvPr>
        </p:nvSpPr>
        <p:spPr bwMode="gray"/>
        <p:txBody>
          <a:bodyPr/>
          <a:lstStyle/>
          <a:p>
            <a:r>
              <a:rPr lang="de-DE" dirty="0"/>
              <a:t>TITEL DER PRÄSENTATION | TITEL VORNAME NAME</a:t>
            </a:r>
          </a:p>
        </p:txBody>
      </p:sp>
      <p:sp>
        <p:nvSpPr>
          <p:cNvPr id="3" name="Foliennummernplatzhalter 2">
            <a:extLst>
              <a:ext uri="{FF2B5EF4-FFF2-40B4-BE49-F238E27FC236}">
                <a16:creationId xmlns:a16="http://schemas.microsoft.com/office/drawing/2014/main" id="{C33097EB-E49B-41BE-B6C4-CC80440B1BC1}"/>
              </a:ext>
            </a:extLst>
          </p:cNvPr>
          <p:cNvSpPr>
            <a:spLocks noGrp="1"/>
          </p:cNvSpPr>
          <p:nvPr>
            <p:ph type="sldNum" sz="quarter" idx="24"/>
          </p:nvPr>
        </p:nvSpPr>
        <p:spPr bwMode="gray"/>
        <p:txBody>
          <a:bodyPr/>
          <a:lstStyle/>
          <a:p>
            <a:fld id="{09E9C37E-8A19-4E30-BE2B-5A966AD23C7A}" type="slidenum">
              <a:rPr lang="de-DE" smtClean="0">
                <a:solidFill>
                  <a:schemeClr val="bg1"/>
                </a:solidFill>
              </a:rPr>
              <a:pPr/>
              <a:t>35</a:t>
            </a:fld>
            <a:endParaRPr lang="de-DE" dirty="0">
              <a:solidFill>
                <a:schemeClr val="bg1"/>
              </a:solidFill>
            </a:endParaRPr>
          </a:p>
        </p:txBody>
      </p:sp>
      <p:sp>
        <p:nvSpPr>
          <p:cNvPr id="5" name="Textplatzhalter 4">
            <a:extLst>
              <a:ext uri="{FF2B5EF4-FFF2-40B4-BE49-F238E27FC236}">
                <a16:creationId xmlns:a16="http://schemas.microsoft.com/office/drawing/2014/main" id="{F101656B-A13B-46FC-8C72-1D5DDD388011}"/>
              </a:ext>
            </a:extLst>
          </p:cNvPr>
          <p:cNvSpPr>
            <a:spLocks noGrp="1"/>
          </p:cNvSpPr>
          <p:nvPr>
            <p:ph type="body" sz="quarter" idx="25"/>
          </p:nvPr>
        </p:nvSpPr>
        <p:spPr bwMode="gray">
          <a:noFill/>
        </p:spPr>
        <p:txBody>
          <a:bodyPr/>
          <a:lstStyle/>
          <a:p>
            <a:pPr lvl="2"/>
            <a:r>
              <a:rPr lang="de-DE" dirty="0"/>
              <a:t>Lorem ipsum dolor sit amet</a:t>
            </a:r>
          </a:p>
          <a:p>
            <a:pPr lvl="1"/>
            <a:r>
              <a:rPr lang="de-DE" dirty="0"/>
              <a:t>Consetetur sadipscing elitr, sed diam nonumy eirmod tempor invidunt ut labore et dolore magna aliquyam erat.</a:t>
            </a:r>
          </a:p>
        </p:txBody>
      </p:sp>
      <p:sp>
        <p:nvSpPr>
          <p:cNvPr id="7" name="Textplatzhalter 6">
            <a:extLst>
              <a:ext uri="{FF2B5EF4-FFF2-40B4-BE49-F238E27FC236}">
                <a16:creationId xmlns:a16="http://schemas.microsoft.com/office/drawing/2014/main" id="{D3724D98-4184-4DD9-A3B0-ADE11BFC9940}"/>
              </a:ext>
            </a:extLst>
          </p:cNvPr>
          <p:cNvSpPr>
            <a:spLocks noGrp="1"/>
          </p:cNvSpPr>
          <p:nvPr>
            <p:ph type="body" sz="quarter" idx="26"/>
          </p:nvPr>
        </p:nvSpPr>
        <p:spPr bwMode="gray">
          <a:noFill/>
        </p:spPr>
        <p:txBody>
          <a:bodyPr/>
          <a:lstStyle/>
          <a:p>
            <a:pPr lvl="2"/>
            <a:r>
              <a:rPr lang="de-DE" dirty="0">
                <a:solidFill>
                  <a:schemeClr val="bg1"/>
                </a:solidFill>
              </a:rPr>
              <a:t>Lorem ipsum dolor sit amet</a:t>
            </a:r>
          </a:p>
          <a:p>
            <a:pPr lvl="1"/>
            <a:r>
              <a:rPr lang="de-DE" dirty="0">
                <a:solidFill>
                  <a:schemeClr val="bg1"/>
                </a:solidFill>
              </a:rPr>
              <a:t>Consetetur sadipscing elitr, sed diam nonumy eirmod tempor invidunt ut labore et dolore magna aliquyam erat.</a:t>
            </a:r>
          </a:p>
        </p:txBody>
      </p:sp>
    </p:spTree>
    <p:extLst>
      <p:ext uri="{BB962C8B-B14F-4D97-AF65-F5344CB8AC3E}">
        <p14:creationId xmlns:p14="http://schemas.microsoft.com/office/powerpoint/2010/main" val="3694793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823655FD-0DEF-4381-B1C5-DD3372D778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12" name="Objekt 11" hidden="1">
                        <a:extLst>
                          <a:ext uri="{FF2B5EF4-FFF2-40B4-BE49-F238E27FC236}">
                            <a16:creationId xmlns:a16="http://schemas.microsoft.com/office/drawing/2014/main" id="{823655FD-0DEF-4381-B1C5-DD3372D778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D3E74947-E170-46FC-B56C-B4869EE33232}"/>
              </a:ext>
            </a:extLst>
          </p:cNvPr>
          <p:cNvSpPr/>
          <p:nvPr/>
        </p:nvSpPr>
        <p:spPr bwMode="gray">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4" name="Titel 3">
            <a:extLst>
              <a:ext uri="{FF2B5EF4-FFF2-40B4-BE49-F238E27FC236}">
                <a16:creationId xmlns:a16="http://schemas.microsoft.com/office/drawing/2014/main" id="{61FF4E21-F376-4BAD-8F59-88E3C4FCFE86}"/>
              </a:ext>
            </a:extLst>
          </p:cNvPr>
          <p:cNvSpPr>
            <a:spLocks noGrp="1"/>
          </p:cNvSpPr>
          <p:nvPr>
            <p:ph type="title"/>
          </p:nvPr>
        </p:nvSpPr>
        <p:spPr bwMode="gray">
          <a:xfrm>
            <a:off x="336000" y="765000"/>
            <a:ext cx="5472000" cy="936000"/>
          </a:xfrm>
        </p:spPr>
        <p:txBody>
          <a:bodyPr vert="horz"/>
          <a:lstStyle/>
          <a:p>
            <a:r>
              <a:rPr lang="de-DE" dirty="0"/>
              <a:t>ÜBERSCHRIFT 1</a:t>
            </a:r>
            <a:br>
              <a:rPr lang="de-DE" dirty="0"/>
            </a:br>
            <a:r>
              <a:rPr lang="de-DE" b="0" dirty="0"/>
              <a:t>HIER AUCH DREIZEILIG MÖGLICH,</a:t>
            </a:r>
            <a:br>
              <a:rPr lang="de-DE" b="0" dirty="0"/>
            </a:br>
            <a:r>
              <a:rPr lang="de-DE" b="0" dirty="0"/>
              <a:t>Hintergrund generell umfärbbar</a:t>
            </a:r>
          </a:p>
        </p:txBody>
      </p:sp>
      <p:sp>
        <p:nvSpPr>
          <p:cNvPr id="6" name="Textplatzhalter 5">
            <a:extLst>
              <a:ext uri="{FF2B5EF4-FFF2-40B4-BE49-F238E27FC236}">
                <a16:creationId xmlns:a16="http://schemas.microsoft.com/office/drawing/2014/main" id="{95A4C6AD-DA9B-4C70-A046-91B2FD719E29}"/>
              </a:ext>
            </a:extLst>
          </p:cNvPr>
          <p:cNvSpPr>
            <a:spLocks noGrp="1"/>
          </p:cNvSpPr>
          <p:nvPr>
            <p:ph type="body" sz="quarter" idx="14"/>
          </p:nvPr>
        </p:nvSpPr>
        <p:spPr bwMode="gray"/>
        <p:txBody>
          <a:bodyPr/>
          <a:lstStyle/>
          <a:p>
            <a:r>
              <a:rPr lang="de-DE" dirty="0"/>
              <a:t>Platzhalter für Bildbeschreibung </a:t>
            </a:r>
            <a:br>
              <a:rPr lang="de-DE" dirty="0"/>
            </a:br>
            <a:r>
              <a:rPr lang="de-DE" dirty="0"/>
              <a:t>auch zweizeilig möglich</a:t>
            </a:r>
          </a:p>
        </p:txBody>
      </p:sp>
      <p:pic>
        <p:nvPicPr>
          <p:cNvPr id="16" name="Bildplatzhalter 15">
            <a:extLst>
              <a:ext uri="{FF2B5EF4-FFF2-40B4-BE49-F238E27FC236}">
                <a16:creationId xmlns:a16="http://schemas.microsoft.com/office/drawing/2014/main" id="{F5C81D2B-7A9B-4735-A92B-04E1732EF2F9}"/>
              </a:ext>
            </a:extLst>
          </p:cNvPr>
          <p:cNvPicPr>
            <a:picLocks noGrp="1" noChangeAspect="1"/>
          </p:cNvPicPr>
          <p:nvPr>
            <p:ph type="pic" sz="quarter" idx="15"/>
          </p:nvPr>
        </p:nvPicPr>
        <p:blipFill>
          <a:blip r:embed="rId5" cstate="screen">
            <a:extLst>
              <a:ext uri="{28A0092B-C50C-407E-A947-70E740481C1C}">
                <a14:useLocalDpi xmlns:a14="http://schemas.microsoft.com/office/drawing/2010/main"/>
              </a:ext>
            </a:extLst>
          </a:blip>
          <a:srcRect t="21423" b="21423"/>
          <a:stretch/>
        </p:blipFill>
        <p:spPr bwMode="gray">
          <a:prstGeom prst="rect">
            <a:avLst/>
          </a:prstGeom>
          <a:ln w="57150">
            <a:noFill/>
          </a:ln>
        </p:spPr>
      </p:pic>
      <p:sp>
        <p:nvSpPr>
          <p:cNvPr id="8" name="Textplatzhalter 7">
            <a:extLst>
              <a:ext uri="{FF2B5EF4-FFF2-40B4-BE49-F238E27FC236}">
                <a16:creationId xmlns:a16="http://schemas.microsoft.com/office/drawing/2014/main" id="{2C17687E-6B1E-4A43-82B7-E5ECA20A5B87}"/>
              </a:ext>
            </a:extLst>
          </p:cNvPr>
          <p:cNvSpPr>
            <a:spLocks noGrp="1"/>
          </p:cNvSpPr>
          <p:nvPr>
            <p:ph type="body" sz="quarter" idx="20"/>
          </p:nvPr>
        </p:nvSpPr>
        <p:spPr bwMode="gray"/>
        <p:txBody>
          <a:bodyPr lIns="144000"/>
          <a:lstStyle/>
          <a:p>
            <a:r>
              <a:rPr lang="de-DE" dirty="0">
                <a:solidFill>
                  <a:schemeClr val="bg1"/>
                </a:solidFill>
              </a:rPr>
              <a:t>Platzhalter für Bildbeschreibung </a:t>
            </a:r>
            <a:br>
              <a:rPr lang="de-DE" dirty="0">
                <a:solidFill>
                  <a:schemeClr val="bg1"/>
                </a:solidFill>
              </a:rPr>
            </a:br>
            <a:r>
              <a:rPr lang="de-DE" dirty="0">
                <a:solidFill>
                  <a:schemeClr val="bg1"/>
                </a:solidFill>
              </a:rPr>
              <a:t>auch zweizeilig möglich</a:t>
            </a:r>
          </a:p>
        </p:txBody>
      </p:sp>
      <p:pic>
        <p:nvPicPr>
          <p:cNvPr id="10" name="Bildplatzhalter 9">
            <a:extLst>
              <a:ext uri="{FF2B5EF4-FFF2-40B4-BE49-F238E27FC236}">
                <a16:creationId xmlns:a16="http://schemas.microsoft.com/office/drawing/2014/main" id="{2C3EF9CC-80B8-4D13-B99C-810B769969A6}"/>
              </a:ext>
            </a:extLst>
          </p:cNvPr>
          <p:cNvPicPr>
            <a:picLocks noGrp="1" noChangeAspect="1"/>
          </p:cNvPicPr>
          <p:nvPr>
            <p:ph type="pic" sz="quarter" idx="21"/>
          </p:nvPr>
        </p:nvPicPr>
        <p:blipFill>
          <a:blip r:embed="rId6" cstate="screen">
            <a:extLst>
              <a:ext uri="{28A0092B-C50C-407E-A947-70E740481C1C}">
                <a14:useLocalDpi xmlns:a14="http://schemas.microsoft.com/office/drawing/2010/main"/>
              </a:ext>
            </a:extLst>
          </a:blip>
          <a:srcRect t="21423" b="21423"/>
          <a:stretch/>
        </p:blipFill>
        <p:spPr bwMode="gray"/>
      </p:pic>
      <p:sp>
        <p:nvSpPr>
          <p:cNvPr id="38" name="Date Placeholder 37">
            <a:extLst>
              <a:ext uri="{FF2B5EF4-FFF2-40B4-BE49-F238E27FC236}">
                <a16:creationId xmlns:a16="http://schemas.microsoft.com/office/drawing/2014/main" id="{0D274E68-0A0B-4F1F-B4DC-8804C9DEF0BB}"/>
              </a:ext>
            </a:extLst>
          </p:cNvPr>
          <p:cNvSpPr>
            <a:spLocks noGrp="1"/>
          </p:cNvSpPr>
          <p:nvPr>
            <p:ph type="dt" sz="half" idx="22"/>
          </p:nvPr>
        </p:nvSpPr>
        <p:spPr bwMode="gray"/>
        <p:txBody>
          <a:bodyPr/>
          <a:lstStyle/>
          <a:p>
            <a:fld id="{1935843C-F130-4DE2-B68F-95F209F07632}" type="datetime1">
              <a:rPr lang="de-DE" smtClean="0">
                <a:solidFill>
                  <a:schemeClr val="bg1"/>
                </a:solidFill>
              </a:rPr>
              <a:t>29.09.25</a:t>
            </a:fld>
            <a:endParaRPr lang="de-DE" dirty="0">
              <a:solidFill>
                <a:schemeClr val="bg1"/>
              </a:solidFill>
            </a:endParaRPr>
          </a:p>
        </p:txBody>
      </p:sp>
      <p:sp>
        <p:nvSpPr>
          <p:cNvPr id="2" name="Fußzeilenplatzhalter 1">
            <a:extLst>
              <a:ext uri="{FF2B5EF4-FFF2-40B4-BE49-F238E27FC236}">
                <a16:creationId xmlns:a16="http://schemas.microsoft.com/office/drawing/2014/main" id="{5E554738-D1AB-4BC0-AE9C-41D6D69A5B44}"/>
              </a:ext>
            </a:extLst>
          </p:cNvPr>
          <p:cNvSpPr>
            <a:spLocks noGrp="1"/>
          </p:cNvSpPr>
          <p:nvPr>
            <p:ph type="ftr" sz="quarter" idx="23"/>
          </p:nvPr>
        </p:nvSpPr>
        <p:spPr bwMode="gray"/>
        <p:txBody>
          <a:bodyPr/>
          <a:lstStyle/>
          <a:p>
            <a:r>
              <a:rPr lang="de-DE" dirty="0"/>
              <a:t>TITEL DER PRÄSENTATION | TITEL VORNAME NAME</a:t>
            </a:r>
          </a:p>
        </p:txBody>
      </p:sp>
      <p:sp>
        <p:nvSpPr>
          <p:cNvPr id="3" name="Foliennummernplatzhalter 2">
            <a:extLst>
              <a:ext uri="{FF2B5EF4-FFF2-40B4-BE49-F238E27FC236}">
                <a16:creationId xmlns:a16="http://schemas.microsoft.com/office/drawing/2014/main" id="{C33097EB-E49B-41BE-B6C4-CC80440B1BC1}"/>
              </a:ext>
            </a:extLst>
          </p:cNvPr>
          <p:cNvSpPr>
            <a:spLocks noGrp="1"/>
          </p:cNvSpPr>
          <p:nvPr>
            <p:ph type="sldNum" sz="quarter" idx="24"/>
          </p:nvPr>
        </p:nvSpPr>
        <p:spPr bwMode="gray"/>
        <p:txBody>
          <a:bodyPr/>
          <a:lstStyle/>
          <a:p>
            <a:fld id="{09E9C37E-8A19-4E30-BE2B-5A966AD23C7A}" type="slidenum">
              <a:rPr lang="de-DE" smtClean="0">
                <a:solidFill>
                  <a:schemeClr val="bg1"/>
                </a:solidFill>
              </a:rPr>
              <a:pPr/>
              <a:t>36</a:t>
            </a:fld>
            <a:endParaRPr lang="de-DE" dirty="0">
              <a:solidFill>
                <a:schemeClr val="bg1"/>
              </a:solidFill>
            </a:endParaRPr>
          </a:p>
        </p:txBody>
      </p:sp>
      <p:sp>
        <p:nvSpPr>
          <p:cNvPr id="5" name="Textplatzhalter 4">
            <a:extLst>
              <a:ext uri="{FF2B5EF4-FFF2-40B4-BE49-F238E27FC236}">
                <a16:creationId xmlns:a16="http://schemas.microsoft.com/office/drawing/2014/main" id="{F101656B-A13B-46FC-8C72-1D5DDD388011}"/>
              </a:ext>
            </a:extLst>
          </p:cNvPr>
          <p:cNvSpPr>
            <a:spLocks noGrp="1"/>
          </p:cNvSpPr>
          <p:nvPr>
            <p:ph type="body" sz="quarter" idx="25"/>
          </p:nvPr>
        </p:nvSpPr>
        <p:spPr bwMode="gray">
          <a:noFill/>
        </p:spPr>
        <p:txBody>
          <a:bodyPr/>
          <a:lstStyle/>
          <a:p>
            <a:pPr lvl="2"/>
            <a:r>
              <a:rPr lang="de-DE" dirty="0"/>
              <a:t>Lorem ipsum dolor sit amet</a:t>
            </a:r>
          </a:p>
          <a:p>
            <a:pPr lvl="1"/>
            <a:r>
              <a:rPr lang="de-DE" dirty="0"/>
              <a:t>Consetetur sadipscing elitr, sed diam nonumy eirmod tempor invidunt ut labore et dolore magna aliquyam erat.</a:t>
            </a:r>
          </a:p>
        </p:txBody>
      </p:sp>
      <p:sp>
        <p:nvSpPr>
          <p:cNvPr id="7" name="Textplatzhalter 6">
            <a:extLst>
              <a:ext uri="{FF2B5EF4-FFF2-40B4-BE49-F238E27FC236}">
                <a16:creationId xmlns:a16="http://schemas.microsoft.com/office/drawing/2014/main" id="{D3724D98-4184-4DD9-A3B0-ADE11BFC9940}"/>
              </a:ext>
            </a:extLst>
          </p:cNvPr>
          <p:cNvSpPr>
            <a:spLocks noGrp="1"/>
          </p:cNvSpPr>
          <p:nvPr>
            <p:ph type="body" sz="quarter" idx="26"/>
          </p:nvPr>
        </p:nvSpPr>
        <p:spPr bwMode="gray">
          <a:noFill/>
        </p:spPr>
        <p:txBody>
          <a:bodyPr/>
          <a:lstStyle/>
          <a:p>
            <a:pPr lvl="2"/>
            <a:r>
              <a:rPr lang="de-DE" dirty="0">
                <a:solidFill>
                  <a:schemeClr val="bg1"/>
                </a:solidFill>
              </a:rPr>
              <a:t>Lorem ipsum dolor sit amet</a:t>
            </a:r>
          </a:p>
          <a:p>
            <a:pPr lvl="1"/>
            <a:r>
              <a:rPr lang="de-DE" dirty="0">
                <a:solidFill>
                  <a:schemeClr val="bg1"/>
                </a:solidFill>
              </a:rPr>
              <a:t>Consetetur sadipscing elitr, sed diam nonumy eirmod tempor invidunt ut labore et dolore magna aliquyam erat.</a:t>
            </a:r>
          </a:p>
        </p:txBody>
      </p:sp>
    </p:spTree>
    <p:extLst>
      <p:ext uri="{BB962C8B-B14F-4D97-AF65-F5344CB8AC3E}">
        <p14:creationId xmlns:p14="http://schemas.microsoft.com/office/powerpoint/2010/main" val="294109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lumMod val="60000"/>
            <a:lumOff val="40000"/>
          </a:schemeClr>
        </a:solidFill>
        <a:effectLst/>
      </p:bgPr>
    </p:bg>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500932C1-C115-409F-8B24-08EC032534FA}"/>
              </a:ext>
            </a:extLst>
          </p:cNvPr>
          <p:cNvGraphicFramePr>
            <a:graphicFrameLocks noChangeAspect="1"/>
          </p:cNvGraphicFramePr>
          <p:nvPr>
            <p:custDataLst>
              <p:tags r:id="rId1"/>
            </p:custDataLst>
            <p:extLst>
              <p:ext uri="{D42A27DB-BD31-4B8C-83A1-F6EECF244321}">
                <p14:modId xmlns:p14="http://schemas.microsoft.com/office/powerpoint/2010/main" val="3705136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61FF4E21-F376-4BAD-8F59-88E3C4FCFE86}"/>
              </a:ext>
            </a:extLst>
          </p:cNvPr>
          <p:cNvSpPr>
            <a:spLocks noGrp="1"/>
          </p:cNvSpPr>
          <p:nvPr>
            <p:ph type="title"/>
          </p:nvPr>
        </p:nvSpPr>
        <p:spPr bwMode="gray"/>
        <p:txBody>
          <a:bodyPr vert="horz"/>
          <a:lstStyle/>
          <a:p>
            <a:r>
              <a:rPr lang="de-DE" dirty="0">
                <a:solidFill>
                  <a:schemeClr val="bg1"/>
                </a:solidFill>
              </a:rPr>
              <a:t>ÜBERSCHRIFT 1</a:t>
            </a:r>
            <a:br>
              <a:rPr lang="de-DE" dirty="0">
                <a:solidFill>
                  <a:schemeClr val="bg1"/>
                </a:solidFill>
              </a:rPr>
            </a:br>
            <a:r>
              <a:rPr lang="de-DE" b="0" dirty="0">
                <a:solidFill>
                  <a:schemeClr val="bg1"/>
                </a:solidFill>
              </a:rPr>
              <a:t>HIER AUCH DREIZEILIG MÖGLICH,</a:t>
            </a:r>
            <a:br>
              <a:rPr lang="de-DE" b="0" dirty="0">
                <a:solidFill>
                  <a:schemeClr val="bg1"/>
                </a:solidFill>
              </a:rPr>
            </a:br>
            <a:r>
              <a:rPr lang="de-DE" b="0" dirty="0">
                <a:solidFill>
                  <a:schemeClr val="bg1"/>
                </a:solidFill>
              </a:rPr>
              <a:t>Hintergrund generell umfärbbar</a:t>
            </a:r>
          </a:p>
        </p:txBody>
      </p:sp>
      <p:sp>
        <p:nvSpPr>
          <p:cNvPr id="6" name="Textplatzhalter 5">
            <a:extLst>
              <a:ext uri="{FF2B5EF4-FFF2-40B4-BE49-F238E27FC236}">
                <a16:creationId xmlns:a16="http://schemas.microsoft.com/office/drawing/2014/main" id="{95A4C6AD-DA9B-4C70-A046-91B2FD719E29}"/>
              </a:ext>
            </a:extLst>
          </p:cNvPr>
          <p:cNvSpPr>
            <a:spLocks noGrp="1"/>
          </p:cNvSpPr>
          <p:nvPr>
            <p:ph type="body" sz="quarter" idx="14"/>
          </p:nvPr>
        </p:nvSpPr>
        <p:spPr bwMode="gray"/>
        <p:txBody>
          <a:bodyPr/>
          <a:lstStyle/>
          <a:p>
            <a:r>
              <a:rPr lang="de-DE" dirty="0">
                <a:solidFill>
                  <a:schemeClr val="bg1"/>
                </a:solidFill>
              </a:rPr>
              <a:t>Platzhalter für Bildbeschreibung </a:t>
            </a:r>
            <a:br>
              <a:rPr lang="de-DE" dirty="0">
                <a:solidFill>
                  <a:schemeClr val="bg1"/>
                </a:solidFill>
              </a:rPr>
            </a:br>
            <a:r>
              <a:rPr lang="de-DE" dirty="0">
                <a:solidFill>
                  <a:schemeClr val="bg1"/>
                </a:solidFill>
              </a:rPr>
              <a:t>auch zweizeilig möglich</a:t>
            </a:r>
          </a:p>
        </p:txBody>
      </p:sp>
      <p:pic>
        <p:nvPicPr>
          <p:cNvPr id="16" name="Bildplatzhalter 15">
            <a:extLst>
              <a:ext uri="{FF2B5EF4-FFF2-40B4-BE49-F238E27FC236}">
                <a16:creationId xmlns:a16="http://schemas.microsoft.com/office/drawing/2014/main" id="{F5C81D2B-7A9B-4735-A92B-04E1732EF2F9}"/>
              </a:ext>
            </a:extLst>
          </p:cNvPr>
          <p:cNvPicPr>
            <a:picLocks noGrp="1" noChangeAspect="1"/>
          </p:cNvPicPr>
          <p:nvPr>
            <p:ph type="pic" sz="quarter" idx="15"/>
          </p:nvPr>
        </p:nvPicPr>
        <p:blipFill>
          <a:blip r:embed="rId5" cstate="screen">
            <a:extLst>
              <a:ext uri="{28A0092B-C50C-407E-A947-70E740481C1C}">
                <a14:useLocalDpi xmlns:a14="http://schemas.microsoft.com/office/drawing/2010/main"/>
              </a:ext>
            </a:extLst>
          </a:blip>
          <a:srcRect t="21402" b="21402"/>
          <a:stretch/>
        </p:blipFill>
        <p:spPr bwMode="gray">
          <a:prstGeom prst="rect">
            <a:avLst/>
          </a:prstGeom>
          <a:ln w="57150">
            <a:noFill/>
          </a:ln>
        </p:spPr>
      </p:pic>
      <p:sp>
        <p:nvSpPr>
          <p:cNvPr id="8" name="Textplatzhalter 7">
            <a:extLst>
              <a:ext uri="{FF2B5EF4-FFF2-40B4-BE49-F238E27FC236}">
                <a16:creationId xmlns:a16="http://schemas.microsoft.com/office/drawing/2014/main" id="{2C17687E-6B1E-4A43-82B7-E5ECA20A5B87}"/>
              </a:ext>
            </a:extLst>
          </p:cNvPr>
          <p:cNvSpPr>
            <a:spLocks noGrp="1"/>
          </p:cNvSpPr>
          <p:nvPr>
            <p:ph type="body" sz="quarter" idx="20"/>
          </p:nvPr>
        </p:nvSpPr>
        <p:spPr bwMode="gray"/>
        <p:txBody>
          <a:bodyPr lIns="144000"/>
          <a:lstStyle/>
          <a:p>
            <a:r>
              <a:rPr lang="de-DE" dirty="0">
                <a:solidFill>
                  <a:schemeClr val="bg1"/>
                </a:solidFill>
              </a:rPr>
              <a:t>Platzhalter für Bildbeschreibung </a:t>
            </a:r>
            <a:br>
              <a:rPr lang="de-DE" dirty="0">
                <a:solidFill>
                  <a:schemeClr val="bg1"/>
                </a:solidFill>
              </a:rPr>
            </a:br>
            <a:r>
              <a:rPr lang="de-DE" dirty="0">
                <a:solidFill>
                  <a:schemeClr val="bg1"/>
                </a:solidFill>
              </a:rPr>
              <a:t>auch zweizeilig möglich</a:t>
            </a:r>
          </a:p>
        </p:txBody>
      </p:sp>
      <p:pic>
        <p:nvPicPr>
          <p:cNvPr id="10" name="Bildplatzhalter 9">
            <a:extLst>
              <a:ext uri="{FF2B5EF4-FFF2-40B4-BE49-F238E27FC236}">
                <a16:creationId xmlns:a16="http://schemas.microsoft.com/office/drawing/2014/main" id="{2C3EF9CC-80B8-4D13-B99C-810B769969A6}"/>
              </a:ext>
            </a:extLst>
          </p:cNvPr>
          <p:cNvPicPr>
            <a:picLocks noGrp="1" noChangeAspect="1"/>
          </p:cNvPicPr>
          <p:nvPr>
            <p:ph type="pic" sz="quarter" idx="21"/>
          </p:nvPr>
        </p:nvPicPr>
        <p:blipFill>
          <a:blip r:embed="rId6" cstate="screen">
            <a:extLst>
              <a:ext uri="{28A0092B-C50C-407E-A947-70E740481C1C}">
                <a14:useLocalDpi xmlns:a14="http://schemas.microsoft.com/office/drawing/2010/main"/>
              </a:ext>
            </a:extLst>
          </a:blip>
          <a:srcRect t="21423" b="21423"/>
          <a:stretch/>
        </p:blipFill>
        <p:spPr bwMode="gray"/>
      </p:pic>
      <p:sp>
        <p:nvSpPr>
          <p:cNvPr id="38" name="Date Placeholder 37">
            <a:extLst>
              <a:ext uri="{FF2B5EF4-FFF2-40B4-BE49-F238E27FC236}">
                <a16:creationId xmlns:a16="http://schemas.microsoft.com/office/drawing/2014/main" id="{0D274E68-0A0B-4F1F-B4DC-8804C9DEF0BB}"/>
              </a:ext>
            </a:extLst>
          </p:cNvPr>
          <p:cNvSpPr>
            <a:spLocks noGrp="1"/>
          </p:cNvSpPr>
          <p:nvPr>
            <p:ph type="dt" sz="half" idx="22"/>
          </p:nvPr>
        </p:nvSpPr>
        <p:spPr bwMode="gray"/>
        <p:txBody>
          <a:bodyPr/>
          <a:lstStyle/>
          <a:p>
            <a:fld id="{05260E65-5E36-49D7-B5EF-2926C1273525}" type="datetime1">
              <a:rPr lang="de-DE" smtClean="0">
                <a:solidFill>
                  <a:schemeClr val="bg1"/>
                </a:solidFill>
              </a:rPr>
              <a:t>29.09.25</a:t>
            </a:fld>
            <a:endParaRPr lang="de-DE" dirty="0">
              <a:solidFill>
                <a:schemeClr val="bg1"/>
              </a:solidFill>
            </a:endParaRPr>
          </a:p>
        </p:txBody>
      </p:sp>
      <p:sp>
        <p:nvSpPr>
          <p:cNvPr id="2" name="Fußzeilenplatzhalter 1">
            <a:extLst>
              <a:ext uri="{FF2B5EF4-FFF2-40B4-BE49-F238E27FC236}">
                <a16:creationId xmlns:a16="http://schemas.microsoft.com/office/drawing/2014/main" id="{5E554738-D1AB-4BC0-AE9C-41D6D69A5B44}"/>
              </a:ext>
            </a:extLst>
          </p:cNvPr>
          <p:cNvSpPr>
            <a:spLocks noGrp="1"/>
          </p:cNvSpPr>
          <p:nvPr>
            <p:ph type="ftr" sz="quarter" idx="23"/>
          </p:nvPr>
        </p:nvSpPr>
        <p:spPr bwMode="gray"/>
        <p:txBody>
          <a:bodyPr/>
          <a:lstStyle/>
          <a:p>
            <a:r>
              <a:rPr lang="de-DE" dirty="0">
                <a:solidFill>
                  <a:schemeClr val="bg1"/>
                </a:solidFill>
              </a:rPr>
              <a:t>TITEL DER PRÄSENTATION | TITEL VORNAME NAME</a:t>
            </a:r>
          </a:p>
        </p:txBody>
      </p:sp>
      <p:sp>
        <p:nvSpPr>
          <p:cNvPr id="3" name="Foliennummernplatzhalter 2">
            <a:extLst>
              <a:ext uri="{FF2B5EF4-FFF2-40B4-BE49-F238E27FC236}">
                <a16:creationId xmlns:a16="http://schemas.microsoft.com/office/drawing/2014/main" id="{C33097EB-E49B-41BE-B6C4-CC80440B1BC1}"/>
              </a:ext>
            </a:extLst>
          </p:cNvPr>
          <p:cNvSpPr>
            <a:spLocks noGrp="1"/>
          </p:cNvSpPr>
          <p:nvPr>
            <p:ph type="sldNum" sz="quarter" idx="24"/>
          </p:nvPr>
        </p:nvSpPr>
        <p:spPr bwMode="gray"/>
        <p:txBody>
          <a:bodyPr/>
          <a:lstStyle/>
          <a:p>
            <a:fld id="{09E9C37E-8A19-4E30-BE2B-5A966AD23C7A}" type="slidenum">
              <a:rPr lang="de-DE" smtClean="0">
                <a:solidFill>
                  <a:schemeClr val="bg1"/>
                </a:solidFill>
              </a:rPr>
              <a:pPr/>
              <a:t>37</a:t>
            </a:fld>
            <a:endParaRPr lang="de-DE" dirty="0">
              <a:solidFill>
                <a:schemeClr val="bg1"/>
              </a:solidFill>
            </a:endParaRPr>
          </a:p>
        </p:txBody>
      </p:sp>
      <p:sp>
        <p:nvSpPr>
          <p:cNvPr id="5" name="Textplatzhalter 4">
            <a:extLst>
              <a:ext uri="{FF2B5EF4-FFF2-40B4-BE49-F238E27FC236}">
                <a16:creationId xmlns:a16="http://schemas.microsoft.com/office/drawing/2014/main" id="{F101656B-A13B-46FC-8C72-1D5DDD388011}"/>
              </a:ext>
            </a:extLst>
          </p:cNvPr>
          <p:cNvSpPr>
            <a:spLocks noGrp="1"/>
          </p:cNvSpPr>
          <p:nvPr>
            <p:ph type="body" sz="quarter" idx="25"/>
          </p:nvPr>
        </p:nvSpPr>
        <p:spPr bwMode="gray">
          <a:noFill/>
        </p:spPr>
        <p:txBody>
          <a:bodyPr/>
          <a:lstStyle/>
          <a:p>
            <a:pPr lvl="2"/>
            <a:r>
              <a:rPr lang="de-DE" dirty="0">
                <a:solidFill>
                  <a:schemeClr val="bg1"/>
                </a:solidFill>
              </a:rPr>
              <a:t>Lorem ipsum dolor sit amet</a:t>
            </a:r>
          </a:p>
          <a:p>
            <a:pPr lvl="1"/>
            <a:r>
              <a:rPr lang="de-DE" dirty="0">
                <a:solidFill>
                  <a:schemeClr val="bg1"/>
                </a:solidFill>
              </a:rPr>
              <a:t>Consetetur sadipscing elitr, sed diam nonumy eirmod tempor invidunt ut labore et dolore magna aliquyam erat.</a:t>
            </a:r>
          </a:p>
        </p:txBody>
      </p:sp>
      <p:sp>
        <p:nvSpPr>
          <p:cNvPr id="7" name="Textplatzhalter 6">
            <a:extLst>
              <a:ext uri="{FF2B5EF4-FFF2-40B4-BE49-F238E27FC236}">
                <a16:creationId xmlns:a16="http://schemas.microsoft.com/office/drawing/2014/main" id="{D3724D98-4184-4DD9-A3B0-ADE11BFC9940}"/>
              </a:ext>
            </a:extLst>
          </p:cNvPr>
          <p:cNvSpPr>
            <a:spLocks noGrp="1"/>
          </p:cNvSpPr>
          <p:nvPr>
            <p:ph type="body" sz="quarter" idx="26"/>
          </p:nvPr>
        </p:nvSpPr>
        <p:spPr bwMode="gray">
          <a:noFill/>
        </p:spPr>
        <p:txBody>
          <a:bodyPr/>
          <a:lstStyle/>
          <a:p>
            <a:pPr lvl="2"/>
            <a:r>
              <a:rPr lang="de-DE" dirty="0">
                <a:solidFill>
                  <a:schemeClr val="bg1"/>
                </a:solidFill>
              </a:rPr>
              <a:t>Lorem ipsum dolor sit amet</a:t>
            </a:r>
          </a:p>
          <a:p>
            <a:pPr lvl="1"/>
            <a:r>
              <a:rPr lang="de-DE" dirty="0">
                <a:solidFill>
                  <a:schemeClr val="bg1"/>
                </a:solidFill>
              </a:rPr>
              <a:t>Consetetur sadipscing elitr, sed diam nonumy eirmod tempor invidunt ut labore et dolore magna aliquyam erat.</a:t>
            </a:r>
          </a:p>
        </p:txBody>
      </p:sp>
    </p:spTree>
    <p:extLst>
      <p:ext uri="{BB962C8B-B14F-4D97-AF65-F5344CB8AC3E}">
        <p14:creationId xmlns:p14="http://schemas.microsoft.com/office/powerpoint/2010/main" val="3744536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500932C1-C115-409F-8B24-08EC032534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11" name="Objekt 10" hidden="1">
                        <a:extLst>
                          <a:ext uri="{FF2B5EF4-FFF2-40B4-BE49-F238E27FC236}">
                            <a16:creationId xmlns:a16="http://schemas.microsoft.com/office/drawing/2014/main" id="{500932C1-C115-409F-8B24-08EC032534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61FF4E21-F376-4BAD-8F59-88E3C4FCFE86}"/>
              </a:ext>
            </a:extLst>
          </p:cNvPr>
          <p:cNvSpPr>
            <a:spLocks noGrp="1"/>
          </p:cNvSpPr>
          <p:nvPr>
            <p:ph type="title"/>
          </p:nvPr>
        </p:nvSpPr>
        <p:spPr bwMode="gray"/>
        <p:txBody>
          <a:bodyPr vert="horz"/>
          <a:lstStyle/>
          <a:p>
            <a:r>
              <a:rPr lang="de-DE" dirty="0">
                <a:solidFill>
                  <a:schemeClr val="tx2"/>
                </a:solidFill>
              </a:rPr>
              <a:t>ÜBERSCHRIFT 1</a:t>
            </a:r>
            <a:br>
              <a:rPr lang="de-DE" dirty="0">
                <a:solidFill>
                  <a:schemeClr val="tx2"/>
                </a:solidFill>
              </a:rPr>
            </a:br>
            <a:r>
              <a:rPr lang="de-DE" b="0" dirty="0">
                <a:solidFill>
                  <a:schemeClr val="tx2"/>
                </a:solidFill>
              </a:rPr>
              <a:t>HIER AUCH DREIZEILIG MÖGLICH,</a:t>
            </a:r>
            <a:br>
              <a:rPr lang="de-DE" b="0" dirty="0">
                <a:solidFill>
                  <a:schemeClr val="tx2"/>
                </a:solidFill>
              </a:rPr>
            </a:br>
            <a:r>
              <a:rPr lang="de-DE" b="0" dirty="0">
                <a:solidFill>
                  <a:schemeClr val="tx2"/>
                </a:solidFill>
              </a:rPr>
              <a:t>Hintergrund generell umfärbbar</a:t>
            </a:r>
          </a:p>
        </p:txBody>
      </p:sp>
      <p:sp>
        <p:nvSpPr>
          <p:cNvPr id="6" name="Textplatzhalter 5">
            <a:extLst>
              <a:ext uri="{FF2B5EF4-FFF2-40B4-BE49-F238E27FC236}">
                <a16:creationId xmlns:a16="http://schemas.microsoft.com/office/drawing/2014/main" id="{95A4C6AD-DA9B-4C70-A046-91B2FD719E29}"/>
              </a:ext>
            </a:extLst>
          </p:cNvPr>
          <p:cNvSpPr>
            <a:spLocks noGrp="1"/>
          </p:cNvSpPr>
          <p:nvPr>
            <p:ph type="body" sz="quarter" idx="14"/>
          </p:nvPr>
        </p:nvSpPr>
        <p:spPr bwMode="gray"/>
        <p:txBody>
          <a:bodyPr/>
          <a:lstStyle/>
          <a:p>
            <a:r>
              <a:rPr lang="de-DE" dirty="0">
                <a:solidFill>
                  <a:schemeClr val="bg1"/>
                </a:solidFill>
              </a:rPr>
              <a:t>Platzhalter für Bildbeschreibung </a:t>
            </a:r>
            <a:br>
              <a:rPr lang="de-DE" dirty="0">
                <a:solidFill>
                  <a:schemeClr val="bg1"/>
                </a:solidFill>
              </a:rPr>
            </a:br>
            <a:r>
              <a:rPr lang="de-DE" dirty="0">
                <a:solidFill>
                  <a:schemeClr val="bg1"/>
                </a:solidFill>
              </a:rPr>
              <a:t>auch zweizeilig möglich</a:t>
            </a:r>
          </a:p>
        </p:txBody>
      </p:sp>
      <p:pic>
        <p:nvPicPr>
          <p:cNvPr id="16" name="Bildplatzhalter 15">
            <a:extLst>
              <a:ext uri="{FF2B5EF4-FFF2-40B4-BE49-F238E27FC236}">
                <a16:creationId xmlns:a16="http://schemas.microsoft.com/office/drawing/2014/main" id="{F5C81D2B-7A9B-4735-A92B-04E1732EF2F9}"/>
              </a:ext>
            </a:extLst>
          </p:cNvPr>
          <p:cNvPicPr>
            <a:picLocks noGrp="1" noChangeAspect="1"/>
          </p:cNvPicPr>
          <p:nvPr>
            <p:ph type="pic" sz="quarter" idx="15"/>
          </p:nvPr>
        </p:nvPicPr>
        <p:blipFill>
          <a:blip r:embed="rId5" cstate="screen">
            <a:extLst>
              <a:ext uri="{28A0092B-C50C-407E-A947-70E740481C1C}">
                <a14:useLocalDpi xmlns:a14="http://schemas.microsoft.com/office/drawing/2010/main"/>
              </a:ext>
            </a:extLst>
          </a:blip>
          <a:srcRect t="21402" b="21402"/>
          <a:stretch/>
        </p:blipFill>
        <p:spPr bwMode="gray">
          <a:prstGeom prst="rect">
            <a:avLst/>
          </a:prstGeom>
          <a:ln w="57150">
            <a:noFill/>
          </a:ln>
        </p:spPr>
      </p:pic>
      <p:sp>
        <p:nvSpPr>
          <p:cNvPr id="8" name="Textplatzhalter 7">
            <a:extLst>
              <a:ext uri="{FF2B5EF4-FFF2-40B4-BE49-F238E27FC236}">
                <a16:creationId xmlns:a16="http://schemas.microsoft.com/office/drawing/2014/main" id="{2C17687E-6B1E-4A43-82B7-E5ECA20A5B87}"/>
              </a:ext>
            </a:extLst>
          </p:cNvPr>
          <p:cNvSpPr>
            <a:spLocks noGrp="1"/>
          </p:cNvSpPr>
          <p:nvPr>
            <p:ph type="body" sz="quarter" idx="20"/>
          </p:nvPr>
        </p:nvSpPr>
        <p:spPr bwMode="gray"/>
        <p:txBody>
          <a:bodyPr lIns="144000"/>
          <a:lstStyle/>
          <a:p>
            <a:r>
              <a:rPr lang="de-DE" dirty="0">
                <a:solidFill>
                  <a:schemeClr val="bg1"/>
                </a:solidFill>
              </a:rPr>
              <a:t>Platzhalter für Bildbeschreibung </a:t>
            </a:r>
            <a:br>
              <a:rPr lang="de-DE" dirty="0">
                <a:solidFill>
                  <a:schemeClr val="bg1"/>
                </a:solidFill>
              </a:rPr>
            </a:br>
            <a:r>
              <a:rPr lang="de-DE" dirty="0">
                <a:solidFill>
                  <a:schemeClr val="bg1"/>
                </a:solidFill>
              </a:rPr>
              <a:t>auch zweizeilig möglich</a:t>
            </a:r>
          </a:p>
        </p:txBody>
      </p:sp>
      <p:pic>
        <p:nvPicPr>
          <p:cNvPr id="10" name="Bildplatzhalter 9">
            <a:extLst>
              <a:ext uri="{FF2B5EF4-FFF2-40B4-BE49-F238E27FC236}">
                <a16:creationId xmlns:a16="http://schemas.microsoft.com/office/drawing/2014/main" id="{2C3EF9CC-80B8-4D13-B99C-810B769969A6}"/>
              </a:ext>
            </a:extLst>
          </p:cNvPr>
          <p:cNvPicPr>
            <a:picLocks noGrp="1" noChangeAspect="1"/>
          </p:cNvPicPr>
          <p:nvPr>
            <p:ph type="pic" sz="quarter" idx="21"/>
          </p:nvPr>
        </p:nvPicPr>
        <p:blipFill>
          <a:blip r:embed="rId6" cstate="screen">
            <a:extLst>
              <a:ext uri="{28A0092B-C50C-407E-A947-70E740481C1C}">
                <a14:useLocalDpi xmlns:a14="http://schemas.microsoft.com/office/drawing/2010/main"/>
              </a:ext>
            </a:extLst>
          </a:blip>
          <a:srcRect t="21423" b="21423"/>
          <a:stretch/>
        </p:blipFill>
        <p:spPr bwMode="gray"/>
      </p:pic>
      <p:sp>
        <p:nvSpPr>
          <p:cNvPr id="38" name="Date Placeholder 37">
            <a:extLst>
              <a:ext uri="{FF2B5EF4-FFF2-40B4-BE49-F238E27FC236}">
                <a16:creationId xmlns:a16="http://schemas.microsoft.com/office/drawing/2014/main" id="{0D274E68-0A0B-4F1F-B4DC-8804C9DEF0BB}"/>
              </a:ext>
            </a:extLst>
          </p:cNvPr>
          <p:cNvSpPr>
            <a:spLocks noGrp="1"/>
          </p:cNvSpPr>
          <p:nvPr>
            <p:ph type="dt" sz="half" idx="22"/>
          </p:nvPr>
        </p:nvSpPr>
        <p:spPr bwMode="gray"/>
        <p:txBody>
          <a:bodyPr/>
          <a:lstStyle/>
          <a:p>
            <a:fld id="{05260E65-5E36-49D7-B5EF-2926C1273525}" type="datetime1">
              <a:rPr lang="de-DE" smtClean="0">
                <a:solidFill>
                  <a:schemeClr val="bg1"/>
                </a:solidFill>
              </a:rPr>
              <a:t>29.09.25</a:t>
            </a:fld>
            <a:endParaRPr lang="de-DE" dirty="0">
              <a:solidFill>
                <a:schemeClr val="bg1"/>
              </a:solidFill>
            </a:endParaRPr>
          </a:p>
        </p:txBody>
      </p:sp>
      <p:sp>
        <p:nvSpPr>
          <p:cNvPr id="2" name="Fußzeilenplatzhalter 1">
            <a:extLst>
              <a:ext uri="{FF2B5EF4-FFF2-40B4-BE49-F238E27FC236}">
                <a16:creationId xmlns:a16="http://schemas.microsoft.com/office/drawing/2014/main" id="{5E554738-D1AB-4BC0-AE9C-41D6D69A5B44}"/>
              </a:ext>
            </a:extLst>
          </p:cNvPr>
          <p:cNvSpPr>
            <a:spLocks noGrp="1"/>
          </p:cNvSpPr>
          <p:nvPr>
            <p:ph type="ftr" sz="quarter" idx="23"/>
          </p:nvPr>
        </p:nvSpPr>
        <p:spPr bwMode="gray"/>
        <p:txBody>
          <a:bodyPr/>
          <a:lstStyle/>
          <a:p>
            <a:r>
              <a:rPr lang="de-DE" dirty="0">
                <a:solidFill>
                  <a:schemeClr val="bg1"/>
                </a:solidFill>
              </a:rPr>
              <a:t>TITEL DER PRÄSENTATION | TITEL VORNAME NAME</a:t>
            </a:r>
          </a:p>
        </p:txBody>
      </p:sp>
      <p:sp>
        <p:nvSpPr>
          <p:cNvPr id="3" name="Foliennummernplatzhalter 2">
            <a:extLst>
              <a:ext uri="{FF2B5EF4-FFF2-40B4-BE49-F238E27FC236}">
                <a16:creationId xmlns:a16="http://schemas.microsoft.com/office/drawing/2014/main" id="{C33097EB-E49B-41BE-B6C4-CC80440B1BC1}"/>
              </a:ext>
            </a:extLst>
          </p:cNvPr>
          <p:cNvSpPr>
            <a:spLocks noGrp="1"/>
          </p:cNvSpPr>
          <p:nvPr>
            <p:ph type="sldNum" sz="quarter" idx="24"/>
          </p:nvPr>
        </p:nvSpPr>
        <p:spPr bwMode="gray"/>
        <p:txBody>
          <a:bodyPr/>
          <a:lstStyle/>
          <a:p>
            <a:fld id="{09E9C37E-8A19-4E30-BE2B-5A966AD23C7A}" type="slidenum">
              <a:rPr lang="de-DE" smtClean="0">
                <a:solidFill>
                  <a:schemeClr val="bg1"/>
                </a:solidFill>
              </a:rPr>
              <a:pPr/>
              <a:t>38</a:t>
            </a:fld>
            <a:endParaRPr lang="de-DE" dirty="0">
              <a:solidFill>
                <a:schemeClr val="bg1"/>
              </a:solidFill>
            </a:endParaRPr>
          </a:p>
        </p:txBody>
      </p:sp>
      <p:sp>
        <p:nvSpPr>
          <p:cNvPr id="5" name="Textplatzhalter 4">
            <a:extLst>
              <a:ext uri="{FF2B5EF4-FFF2-40B4-BE49-F238E27FC236}">
                <a16:creationId xmlns:a16="http://schemas.microsoft.com/office/drawing/2014/main" id="{F101656B-A13B-46FC-8C72-1D5DDD388011}"/>
              </a:ext>
            </a:extLst>
          </p:cNvPr>
          <p:cNvSpPr>
            <a:spLocks noGrp="1"/>
          </p:cNvSpPr>
          <p:nvPr>
            <p:ph type="body" sz="quarter" idx="25"/>
          </p:nvPr>
        </p:nvSpPr>
        <p:spPr bwMode="gray">
          <a:noFill/>
        </p:spPr>
        <p:txBody>
          <a:bodyPr/>
          <a:lstStyle/>
          <a:p>
            <a:pPr lvl="2"/>
            <a:r>
              <a:rPr lang="de-DE" dirty="0">
                <a:solidFill>
                  <a:schemeClr val="bg1"/>
                </a:solidFill>
              </a:rPr>
              <a:t>Lorem ipsum dolor sit amet</a:t>
            </a:r>
          </a:p>
          <a:p>
            <a:pPr lvl="1"/>
            <a:r>
              <a:rPr lang="de-DE" dirty="0">
                <a:solidFill>
                  <a:schemeClr val="bg1"/>
                </a:solidFill>
              </a:rPr>
              <a:t>Consetetur sadipscing elitr, sed diam nonumy eirmod tempor invidunt ut labore et dolore magna aliquyam erat.</a:t>
            </a:r>
          </a:p>
        </p:txBody>
      </p:sp>
      <p:sp>
        <p:nvSpPr>
          <p:cNvPr id="7" name="Textplatzhalter 6">
            <a:extLst>
              <a:ext uri="{FF2B5EF4-FFF2-40B4-BE49-F238E27FC236}">
                <a16:creationId xmlns:a16="http://schemas.microsoft.com/office/drawing/2014/main" id="{D3724D98-4184-4DD9-A3B0-ADE11BFC9940}"/>
              </a:ext>
            </a:extLst>
          </p:cNvPr>
          <p:cNvSpPr>
            <a:spLocks noGrp="1"/>
          </p:cNvSpPr>
          <p:nvPr>
            <p:ph type="body" sz="quarter" idx="26"/>
          </p:nvPr>
        </p:nvSpPr>
        <p:spPr bwMode="gray">
          <a:noFill/>
        </p:spPr>
        <p:txBody>
          <a:bodyPr/>
          <a:lstStyle/>
          <a:p>
            <a:pPr lvl="2"/>
            <a:r>
              <a:rPr lang="de-DE" dirty="0">
                <a:solidFill>
                  <a:schemeClr val="bg1"/>
                </a:solidFill>
              </a:rPr>
              <a:t>Lorem ipsum dolor sit amet</a:t>
            </a:r>
          </a:p>
          <a:p>
            <a:pPr lvl="1"/>
            <a:r>
              <a:rPr lang="de-DE" dirty="0">
                <a:solidFill>
                  <a:schemeClr val="bg1"/>
                </a:solidFill>
              </a:rPr>
              <a:t>Consetetur sadipscing elitr, sed diam nonumy eirmod tempor invidunt ut labore et dolore magna aliquyam erat.</a:t>
            </a:r>
          </a:p>
        </p:txBody>
      </p:sp>
    </p:spTree>
    <p:extLst>
      <p:ext uri="{BB962C8B-B14F-4D97-AF65-F5344CB8AC3E}">
        <p14:creationId xmlns:p14="http://schemas.microsoft.com/office/powerpoint/2010/main" val="907329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3C7793-A0AA-8A4E-B2EF-FCBE6049228D}"/>
              </a:ext>
            </a:extLst>
          </p:cNvPr>
          <p:cNvSpPr>
            <a:spLocks noGrp="1"/>
          </p:cNvSpPr>
          <p:nvPr>
            <p:ph type="title"/>
          </p:nvPr>
        </p:nvSpPr>
        <p:spPr/>
        <p:txBody>
          <a:bodyPr/>
          <a:lstStyle/>
          <a:p>
            <a:endParaRPr lang="de-DE"/>
          </a:p>
        </p:txBody>
      </p:sp>
      <p:sp>
        <p:nvSpPr>
          <p:cNvPr id="3" name="Datumsplatzhalter 2">
            <a:extLst>
              <a:ext uri="{FF2B5EF4-FFF2-40B4-BE49-F238E27FC236}">
                <a16:creationId xmlns:a16="http://schemas.microsoft.com/office/drawing/2014/main" id="{4047D159-5682-004F-871A-891388547291}"/>
              </a:ext>
            </a:extLst>
          </p:cNvPr>
          <p:cNvSpPr>
            <a:spLocks noGrp="1"/>
          </p:cNvSpPr>
          <p:nvPr>
            <p:ph type="dt" sz="half" idx="10"/>
          </p:nvPr>
        </p:nvSpPr>
        <p:spPr/>
        <p:txBody>
          <a:bodyPr/>
          <a:lstStyle/>
          <a:p>
            <a:fld id="{B52ABA71-AAD9-4CC1-80AF-004D4F11852E}" type="datetime1">
              <a:rPr lang="de-DE" smtClean="0"/>
              <a:pPr/>
              <a:t>29.09.25</a:t>
            </a:fld>
            <a:endParaRPr lang="de-DE" dirty="0"/>
          </a:p>
        </p:txBody>
      </p:sp>
      <p:sp>
        <p:nvSpPr>
          <p:cNvPr id="4" name="Fußzeilenplatzhalter 3">
            <a:extLst>
              <a:ext uri="{FF2B5EF4-FFF2-40B4-BE49-F238E27FC236}">
                <a16:creationId xmlns:a16="http://schemas.microsoft.com/office/drawing/2014/main" id="{2DDDA967-CF5B-B643-80BE-E26B9FE2DBEE}"/>
              </a:ext>
            </a:extLst>
          </p:cNvPr>
          <p:cNvSpPr>
            <a:spLocks noGrp="1"/>
          </p:cNvSpPr>
          <p:nvPr>
            <p:ph type="ftr" sz="quarter" idx="11"/>
          </p:nvPr>
        </p:nvSpPr>
        <p:spPr/>
        <p:txBody>
          <a:bodyPr/>
          <a:lstStyle/>
          <a:p>
            <a:r>
              <a:rPr lang="de-DE"/>
              <a:t>TITEL DER PRÄSENTATION | TITEL VORNAME NAME</a:t>
            </a:r>
            <a:endParaRPr lang="de-DE" dirty="0"/>
          </a:p>
        </p:txBody>
      </p:sp>
      <p:sp>
        <p:nvSpPr>
          <p:cNvPr id="5" name="Foliennummernplatzhalter 4">
            <a:extLst>
              <a:ext uri="{FF2B5EF4-FFF2-40B4-BE49-F238E27FC236}">
                <a16:creationId xmlns:a16="http://schemas.microsoft.com/office/drawing/2014/main" id="{965C4453-FB22-6745-AEE0-673D70E9836B}"/>
              </a:ext>
            </a:extLst>
          </p:cNvPr>
          <p:cNvSpPr>
            <a:spLocks noGrp="1"/>
          </p:cNvSpPr>
          <p:nvPr>
            <p:ph type="sldNum" sz="quarter" idx="12"/>
          </p:nvPr>
        </p:nvSpPr>
        <p:spPr/>
        <p:txBody>
          <a:bodyPr/>
          <a:lstStyle/>
          <a:p>
            <a:fld id="{09E9C37E-8A19-4E30-BE2B-5A966AD23C7A}" type="slidenum">
              <a:rPr lang="de-DE" smtClean="0"/>
              <a:pPr/>
              <a:t>39</a:t>
            </a:fld>
            <a:endParaRPr lang="de-DE" dirty="0"/>
          </a:p>
        </p:txBody>
      </p:sp>
      <p:sp>
        <p:nvSpPr>
          <p:cNvPr id="6" name="Bildplatzhalter 5">
            <a:extLst>
              <a:ext uri="{FF2B5EF4-FFF2-40B4-BE49-F238E27FC236}">
                <a16:creationId xmlns:a16="http://schemas.microsoft.com/office/drawing/2014/main" id="{748D8564-ACAE-F047-98EB-6FBCD37FA835}"/>
              </a:ext>
            </a:extLst>
          </p:cNvPr>
          <p:cNvSpPr>
            <a:spLocks noGrp="1"/>
          </p:cNvSpPr>
          <p:nvPr>
            <p:ph type="pic" sz="quarter" idx="13"/>
          </p:nvPr>
        </p:nvSpPr>
        <p:spPr/>
        <p:txBody>
          <a:bodyPr/>
          <a:lstStyle/>
          <a:p>
            <a:endParaRPr lang="de-DE"/>
          </a:p>
        </p:txBody>
      </p:sp>
      <p:sp>
        <p:nvSpPr>
          <p:cNvPr id="7" name="Textplatzhalter 6">
            <a:extLst>
              <a:ext uri="{FF2B5EF4-FFF2-40B4-BE49-F238E27FC236}">
                <a16:creationId xmlns:a16="http://schemas.microsoft.com/office/drawing/2014/main" id="{0622FE33-FD80-9343-A519-86E5DBD23341}"/>
              </a:ext>
            </a:extLst>
          </p:cNvPr>
          <p:cNvSpPr>
            <a:spLocks noGrp="1"/>
          </p:cNvSpPr>
          <p:nvPr>
            <p:ph type="body" sz="quarter" idx="14"/>
          </p:nvPr>
        </p:nvSpPr>
        <p:spPr/>
        <p:txBody>
          <a:bodyPr/>
          <a:lstStyle/>
          <a:p>
            <a:endParaRPr lang="de-DE"/>
          </a:p>
        </p:txBody>
      </p:sp>
      <p:sp>
        <p:nvSpPr>
          <p:cNvPr id="8" name="Textplatzhalter 7">
            <a:extLst>
              <a:ext uri="{FF2B5EF4-FFF2-40B4-BE49-F238E27FC236}">
                <a16:creationId xmlns:a16="http://schemas.microsoft.com/office/drawing/2014/main" id="{0C7AD688-CEDE-534F-87DF-5C298C269054}"/>
              </a:ext>
            </a:extLst>
          </p:cNvPr>
          <p:cNvSpPr>
            <a:spLocks noGrp="1"/>
          </p:cNvSpPr>
          <p:nvPr>
            <p:ph type="body" sz="quarter" idx="15"/>
          </p:nvPr>
        </p:nvSpPr>
        <p:spPr/>
        <p:txBody>
          <a:bodyPr/>
          <a:lstStyle/>
          <a:p>
            <a:endParaRPr lang="de-DE"/>
          </a:p>
        </p:txBody>
      </p:sp>
    </p:spTree>
    <p:extLst>
      <p:ext uri="{BB962C8B-B14F-4D97-AF65-F5344CB8AC3E}">
        <p14:creationId xmlns:p14="http://schemas.microsoft.com/office/powerpoint/2010/main" val="770619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475E444-58D4-4E3A-B1EA-AB9EE0337F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7" name="Objekt 6" hidden="1">
                        <a:extLst>
                          <a:ext uri="{FF2B5EF4-FFF2-40B4-BE49-F238E27FC236}">
                            <a16:creationId xmlns:a16="http://schemas.microsoft.com/office/drawing/2014/main" id="{7475E444-58D4-4E3A-B1EA-AB9EE0337F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F2B4F8-69B3-40E0-B120-7FA24ADA9200}"/>
              </a:ext>
            </a:extLst>
          </p:cNvPr>
          <p:cNvSpPr>
            <a:spLocks noGrp="1"/>
          </p:cNvSpPr>
          <p:nvPr>
            <p:ph type="title"/>
          </p:nvPr>
        </p:nvSpPr>
        <p:spPr bwMode="gray"/>
        <p:txBody>
          <a:bodyPr vert="horz"/>
          <a:lstStyle/>
          <a:p>
            <a:r>
              <a:rPr lang="de-DE" dirty="0"/>
              <a:t>Orientierungsseite</a:t>
            </a:r>
            <a:br>
              <a:rPr lang="de-DE" dirty="0"/>
            </a:br>
            <a:r>
              <a:rPr lang="de-DE" b="0" dirty="0"/>
              <a:t>Diese Seite enthält einen Leitfaden für Ihre </a:t>
            </a:r>
            <a:br>
              <a:rPr lang="de-DE" b="0" dirty="0"/>
            </a:br>
            <a:r>
              <a:rPr lang="de-DE" b="0" dirty="0"/>
              <a:t>Präsentation</a:t>
            </a:r>
          </a:p>
        </p:txBody>
      </p:sp>
      <p:sp>
        <p:nvSpPr>
          <p:cNvPr id="14" name="Date Placeholder 13">
            <a:extLst>
              <a:ext uri="{FF2B5EF4-FFF2-40B4-BE49-F238E27FC236}">
                <a16:creationId xmlns:a16="http://schemas.microsoft.com/office/drawing/2014/main" id="{DC64BB43-C60C-462D-957F-6AB41D5519AF}"/>
              </a:ext>
            </a:extLst>
          </p:cNvPr>
          <p:cNvSpPr>
            <a:spLocks noGrp="1"/>
          </p:cNvSpPr>
          <p:nvPr>
            <p:ph type="dt" sz="half" idx="14"/>
          </p:nvPr>
        </p:nvSpPr>
        <p:spPr bwMode="gray"/>
        <p:txBody>
          <a:bodyPr/>
          <a:lstStyle/>
          <a:p>
            <a:fld id="{C11FD278-B085-429C-A912-3C04F3D2EBF9}" type="datetime1">
              <a:rPr lang="de-DE" smtClean="0"/>
              <a:t>29.09.25</a:t>
            </a:fld>
            <a:endParaRPr lang="de-DE" dirty="0"/>
          </a:p>
        </p:txBody>
      </p:sp>
      <p:sp>
        <p:nvSpPr>
          <p:cNvPr id="5" name="Fußzeilenplatzhalter 4">
            <a:extLst>
              <a:ext uri="{FF2B5EF4-FFF2-40B4-BE49-F238E27FC236}">
                <a16:creationId xmlns:a16="http://schemas.microsoft.com/office/drawing/2014/main" id="{910957FD-CF3A-4367-8B11-DF91FE2155C2}"/>
              </a:ext>
            </a:extLst>
          </p:cNvPr>
          <p:cNvSpPr>
            <a:spLocks noGrp="1"/>
          </p:cNvSpPr>
          <p:nvPr>
            <p:ph type="ftr" sz="quarter" idx="15"/>
          </p:nvPr>
        </p:nvSpPr>
        <p:spPr bwMode="gray"/>
        <p:txBody>
          <a:bodyPr/>
          <a:lstStyle/>
          <a:p>
            <a:r>
              <a:rPr lang="de-DE" dirty="0"/>
              <a:t>TITEL DER PRÄSENTATION | TITEL VORNAME NAME</a:t>
            </a:r>
          </a:p>
        </p:txBody>
      </p:sp>
      <p:sp>
        <p:nvSpPr>
          <p:cNvPr id="6" name="Foliennummernplatzhalter 5">
            <a:extLst>
              <a:ext uri="{FF2B5EF4-FFF2-40B4-BE49-F238E27FC236}">
                <a16:creationId xmlns:a16="http://schemas.microsoft.com/office/drawing/2014/main" id="{6D197547-2CF3-4E2D-8366-79AC5445288C}"/>
              </a:ext>
            </a:extLst>
          </p:cNvPr>
          <p:cNvSpPr>
            <a:spLocks noGrp="1"/>
          </p:cNvSpPr>
          <p:nvPr>
            <p:ph type="sldNum" sz="quarter" idx="16"/>
          </p:nvPr>
        </p:nvSpPr>
        <p:spPr bwMode="gray"/>
        <p:txBody>
          <a:bodyPr/>
          <a:lstStyle/>
          <a:p>
            <a:fld id="{09E9C37E-8A19-4E30-BE2B-5A966AD23C7A}" type="slidenum">
              <a:rPr lang="de-DE" smtClean="0"/>
              <a:pPr/>
              <a:t>4</a:t>
            </a:fld>
            <a:endParaRPr lang="de-DE" dirty="0"/>
          </a:p>
        </p:txBody>
      </p:sp>
      <p:sp>
        <p:nvSpPr>
          <p:cNvPr id="3" name="Textplatzhalter 2">
            <a:extLst>
              <a:ext uri="{FF2B5EF4-FFF2-40B4-BE49-F238E27FC236}">
                <a16:creationId xmlns:a16="http://schemas.microsoft.com/office/drawing/2014/main" id="{52912098-EC81-4307-B2FA-DA6B8A7282E2}"/>
              </a:ext>
            </a:extLst>
          </p:cNvPr>
          <p:cNvSpPr>
            <a:spLocks noGrp="1"/>
          </p:cNvSpPr>
          <p:nvPr>
            <p:ph sz="quarter" idx="17"/>
          </p:nvPr>
        </p:nvSpPr>
        <p:spPr bwMode="gray">
          <a:xfrm>
            <a:off x="336000" y="1989000"/>
            <a:ext cx="11520000" cy="3744000"/>
          </a:xfrm>
        </p:spPr>
        <p:txBody>
          <a:bodyPr/>
          <a:lstStyle/>
          <a:p>
            <a:pPr marL="128585" indent="-128585">
              <a:buFont typeface="Arial" panose="020B0604020202020204" pitchFamily="34" charset="0"/>
              <a:buChar char="•"/>
            </a:pPr>
            <a:r>
              <a:rPr lang="de-DE" dirty="0"/>
              <a:t>Stellen Sie sicher, dass folgende Folien aufgenommen werden: Master/Titel, Gliederung, abschließende Zusammenfassung, Quellenverzeichnis.</a:t>
            </a:r>
          </a:p>
          <a:p>
            <a:pPr marL="128585" indent="-128585">
              <a:buFont typeface="Arial" panose="020B0604020202020204" pitchFamily="34" charset="0"/>
              <a:buChar char="•"/>
            </a:pPr>
            <a:r>
              <a:rPr lang="de-DE" dirty="0"/>
              <a:t>Wenn Sie Bildmaterial verwenden, achten Sie bitte auf eine gewissenhafte Quellenwahl und beachten Sie die Urheberrechte. Sie können den Platz unter den Abbildungen für diese Informationen nutzen.</a:t>
            </a:r>
          </a:p>
          <a:p>
            <a:pPr marL="128585" indent="-128585">
              <a:buFont typeface="Arial" panose="020B0604020202020204" pitchFamily="34" charset="0"/>
              <a:buChar char="•"/>
            </a:pPr>
            <a:r>
              <a:rPr lang="de-DE" dirty="0"/>
              <a:t>Denken Sie daran, das Quellenverzeichnis mit Literaturhinweisen und Bildnachweisen zu befüllen.</a:t>
            </a:r>
          </a:p>
          <a:p>
            <a:pPr marL="128585" indent="-128585">
              <a:buFont typeface="Arial" panose="020B0604020202020204" pitchFamily="34" charset="0"/>
              <a:buChar char="•"/>
            </a:pPr>
            <a:r>
              <a:rPr lang="de-DE" dirty="0"/>
              <a:t>Wenn Sie eine neue Folie einfügen wollen, nutzen Sie bitte die Layout-Vorlagen. Diese sind bereits mit dem Corporate Design der HSF abgestimmt.</a:t>
            </a:r>
          </a:p>
          <a:p>
            <a:pPr marL="128585" indent="-128585">
              <a:buFont typeface="Arial" panose="020B0604020202020204" pitchFamily="34" charset="0"/>
              <a:buChar char="•"/>
            </a:pPr>
            <a:r>
              <a:rPr lang="de-DE" dirty="0"/>
              <a:t>Fußzeile: Um die Fußzeile zu ändern, klicken Sie auf „Einfügen“ -&gt; „Kopf- und Fußzeile“. In dem sich öffnenden Fenster tragen Sie Ihre Angaben ein.</a:t>
            </a:r>
          </a:p>
          <a:p>
            <a:pPr marL="128585" indent="-128585">
              <a:buFont typeface="Arial" panose="020B0604020202020204" pitchFamily="34" charset="0"/>
              <a:buChar char="•"/>
            </a:pPr>
            <a:r>
              <a:rPr lang="de-DE" dirty="0"/>
              <a:t>Diese Vorlage verfügt über mehrere Abschnitte: „Richtlinien und Kopierelemente“ und „Folienbibliothek“ nutzen Sie diese gerne als Inspiration und kopieren Sie sich gewünschte Elemente für Ihre Präsentation. Alle nicht verwendeten Folien (Abschnitte) bitte löschen.</a:t>
            </a:r>
          </a:p>
          <a:p>
            <a:pPr marL="128585" indent="-128585">
              <a:buFont typeface="Arial" panose="020B0604020202020204" pitchFamily="34" charset="0"/>
              <a:buChar char="•"/>
            </a:pPr>
            <a:r>
              <a:rPr lang="de-DE" b="1" dirty="0">
                <a:solidFill>
                  <a:srgbClr val="FF0000"/>
                </a:solidFill>
              </a:rPr>
              <a:t>Bitte löschen Sie diese Seite, wenn Sie Ihre Präsentation fertiggestellt haben.</a:t>
            </a:r>
          </a:p>
        </p:txBody>
      </p:sp>
    </p:spTree>
    <p:extLst>
      <p:ext uri="{BB962C8B-B14F-4D97-AF65-F5344CB8AC3E}">
        <p14:creationId xmlns:p14="http://schemas.microsoft.com/office/powerpoint/2010/main" val="3982600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ildplatzhalter 1">
            <a:extLst>
              <a:ext uri="{FF2B5EF4-FFF2-40B4-BE49-F238E27FC236}">
                <a16:creationId xmlns:a16="http://schemas.microsoft.com/office/drawing/2014/main" id="{C6ED5B6F-B233-454C-BD68-B518A60421E1}"/>
              </a:ext>
            </a:extLst>
          </p:cNvPr>
          <p:cNvSpPr>
            <a:spLocks noGrp="1"/>
          </p:cNvSpPr>
          <p:nvPr>
            <p:ph type="pic" sz="quarter" idx="13"/>
          </p:nvPr>
        </p:nvSpPr>
        <p:spPr/>
        <p:txBody>
          <a:bodyPr/>
          <a:lstStyle/>
          <a:p>
            <a:endParaRPr lang="de-DE"/>
          </a:p>
        </p:txBody>
      </p:sp>
      <p:sp>
        <p:nvSpPr>
          <p:cNvPr id="3" name="Datumsplatzhalter 2">
            <a:extLst>
              <a:ext uri="{FF2B5EF4-FFF2-40B4-BE49-F238E27FC236}">
                <a16:creationId xmlns:a16="http://schemas.microsoft.com/office/drawing/2014/main" id="{923ADCF6-7694-2E41-A0BC-966A9584E266}"/>
              </a:ext>
            </a:extLst>
          </p:cNvPr>
          <p:cNvSpPr>
            <a:spLocks noGrp="1"/>
          </p:cNvSpPr>
          <p:nvPr>
            <p:ph type="dt" sz="half" idx="10"/>
          </p:nvPr>
        </p:nvSpPr>
        <p:spPr/>
        <p:txBody>
          <a:bodyPr/>
          <a:lstStyle/>
          <a:p>
            <a:fld id="{B52ABA71-AAD9-4CC1-80AF-004D4F11852E}" type="datetime1">
              <a:rPr lang="de-DE" smtClean="0"/>
              <a:pPr/>
              <a:t>29.09.25</a:t>
            </a:fld>
            <a:endParaRPr lang="de-DE" dirty="0"/>
          </a:p>
        </p:txBody>
      </p:sp>
      <p:sp>
        <p:nvSpPr>
          <p:cNvPr id="4" name="Fußzeilenplatzhalter 3">
            <a:extLst>
              <a:ext uri="{FF2B5EF4-FFF2-40B4-BE49-F238E27FC236}">
                <a16:creationId xmlns:a16="http://schemas.microsoft.com/office/drawing/2014/main" id="{E6A261B7-053E-C84C-811A-48B21EFFE7ED}"/>
              </a:ext>
            </a:extLst>
          </p:cNvPr>
          <p:cNvSpPr>
            <a:spLocks noGrp="1"/>
          </p:cNvSpPr>
          <p:nvPr>
            <p:ph type="ftr" sz="quarter" idx="11"/>
          </p:nvPr>
        </p:nvSpPr>
        <p:spPr/>
        <p:txBody>
          <a:bodyPr/>
          <a:lstStyle/>
          <a:p>
            <a:r>
              <a:rPr lang="de-DE"/>
              <a:t>TITEL DER PRÄSENTATION | TITEL VORNAME NAME</a:t>
            </a:r>
            <a:endParaRPr lang="de-DE" dirty="0"/>
          </a:p>
        </p:txBody>
      </p:sp>
      <p:sp>
        <p:nvSpPr>
          <p:cNvPr id="5" name="Foliennummernplatzhalter 4">
            <a:extLst>
              <a:ext uri="{FF2B5EF4-FFF2-40B4-BE49-F238E27FC236}">
                <a16:creationId xmlns:a16="http://schemas.microsoft.com/office/drawing/2014/main" id="{E37E8B50-ABD7-3D45-A4A4-405D67F82326}"/>
              </a:ext>
            </a:extLst>
          </p:cNvPr>
          <p:cNvSpPr>
            <a:spLocks noGrp="1"/>
          </p:cNvSpPr>
          <p:nvPr>
            <p:ph type="sldNum" sz="quarter" idx="12"/>
          </p:nvPr>
        </p:nvSpPr>
        <p:spPr/>
        <p:txBody>
          <a:bodyPr/>
          <a:lstStyle/>
          <a:p>
            <a:fld id="{09E9C37E-8A19-4E30-BE2B-5A966AD23C7A}" type="slidenum">
              <a:rPr lang="de-DE" smtClean="0"/>
              <a:pPr/>
              <a:t>40</a:t>
            </a:fld>
            <a:endParaRPr lang="de-DE" dirty="0"/>
          </a:p>
        </p:txBody>
      </p:sp>
      <p:sp>
        <p:nvSpPr>
          <p:cNvPr id="6" name="Textplatzhalter 5">
            <a:extLst>
              <a:ext uri="{FF2B5EF4-FFF2-40B4-BE49-F238E27FC236}">
                <a16:creationId xmlns:a16="http://schemas.microsoft.com/office/drawing/2014/main" id="{2757FA7B-10AB-7545-B0AA-0AD89DF9A80A}"/>
              </a:ext>
            </a:extLst>
          </p:cNvPr>
          <p:cNvSpPr>
            <a:spLocks noGrp="1"/>
          </p:cNvSpPr>
          <p:nvPr>
            <p:ph type="body" sz="quarter" idx="16"/>
          </p:nvPr>
        </p:nvSpPr>
        <p:spPr/>
        <p:txBody>
          <a:bodyPr/>
          <a:lstStyle/>
          <a:p>
            <a:endParaRPr lang="de-DE"/>
          </a:p>
        </p:txBody>
      </p:sp>
      <p:sp>
        <p:nvSpPr>
          <p:cNvPr id="7" name="Textplatzhalter 6">
            <a:extLst>
              <a:ext uri="{FF2B5EF4-FFF2-40B4-BE49-F238E27FC236}">
                <a16:creationId xmlns:a16="http://schemas.microsoft.com/office/drawing/2014/main" id="{662C671C-342F-FD45-A9C6-330AEB20E249}"/>
              </a:ext>
            </a:extLst>
          </p:cNvPr>
          <p:cNvSpPr>
            <a:spLocks noGrp="1"/>
          </p:cNvSpPr>
          <p:nvPr>
            <p:ph type="body" sz="quarter" idx="17"/>
          </p:nvPr>
        </p:nvSpPr>
        <p:spPr/>
        <p:txBody>
          <a:bodyPr/>
          <a:lstStyle/>
          <a:p>
            <a:endParaRPr lang="de-DE" dirty="0"/>
          </a:p>
        </p:txBody>
      </p:sp>
    </p:spTree>
    <p:extLst>
      <p:ext uri="{BB962C8B-B14F-4D97-AF65-F5344CB8AC3E}">
        <p14:creationId xmlns:p14="http://schemas.microsoft.com/office/powerpoint/2010/main" val="2935808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ildplatzhalter 1">
            <a:extLst>
              <a:ext uri="{FF2B5EF4-FFF2-40B4-BE49-F238E27FC236}">
                <a16:creationId xmlns:a16="http://schemas.microsoft.com/office/drawing/2014/main" id="{A979BB57-8209-E740-9D6E-A0BEC3522AA2}"/>
              </a:ext>
            </a:extLst>
          </p:cNvPr>
          <p:cNvSpPr>
            <a:spLocks noGrp="1"/>
          </p:cNvSpPr>
          <p:nvPr>
            <p:ph type="pic" sz="quarter" idx="13"/>
          </p:nvPr>
        </p:nvSpPr>
        <p:spPr/>
        <p:txBody>
          <a:bodyPr/>
          <a:lstStyle/>
          <a:p>
            <a:endParaRPr lang="de-DE"/>
          </a:p>
        </p:txBody>
      </p:sp>
      <p:sp>
        <p:nvSpPr>
          <p:cNvPr id="3" name="Datumsplatzhalter 2">
            <a:extLst>
              <a:ext uri="{FF2B5EF4-FFF2-40B4-BE49-F238E27FC236}">
                <a16:creationId xmlns:a16="http://schemas.microsoft.com/office/drawing/2014/main" id="{4363934A-07F1-3A4D-9790-8D652BFABBE5}"/>
              </a:ext>
            </a:extLst>
          </p:cNvPr>
          <p:cNvSpPr>
            <a:spLocks noGrp="1"/>
          </p:cNvSpPr>
          <p:nvPr>
            <p:ph type="dt" sz="half" idx="10"/>
          </p:nvPr>
        </p:nvSpPr>
        <p:spPr/>
        <p:txBody>
          <a:bodyPr/>
          <a:lstStyle/>
          <a:p>
            <a:fld id="{B52ABA71-AAD9-4CC1-80AF-004D4F11852E}" type="datetime1">
              <a:rPr lang="de-DE" smtClean="0"/>
              <a:pPr/>
              <a:t>29.09.25</a:t>
            </a:fld>
            <a:endParaRPr lang="de-DE" dirty="0"/>
          </a:p>
        </p:txBody>
      </p:sp>
      <p:sp>
        <p:nvSpPr>
          <p:cNvPr id="4" name="Fußzeilenplatzhalter 3">
            <a:extLst>
              <a:ext uri="{FF2B5EF4-FFF2-40B4-BE49-F238E27FC236}">
                <a16:creationId xmlns:a16="http://schemas.microsoft.com/office/drawing/2014/main" id="{55662DDA-29C7-7A4C-86AD-A100254D62E5}"/>
              </a:ext>
            </a:extLst>
          </p:cNvPr>
          <p:cNvSpPr>
            <a:spLocks noGrp="1"/>
          </p:cNvSpPr>
          <p:nvPr>
            <p:ph type="ftr" sz="quarter" idx="11"/>
          </p:nvPr>
        </p:nvSpPr>
        <p:spPr/>
        <p:txBody>
          <a:bodyPr/>
          <a:lstStyle/>
          <a:p>
            <a:r>
              <a:rPr lang="de-DE"/>
              <a:t>TITEL DER PRÄSENTATION | TITEL VORNAME NAME</a:t>
            </a:r>
            <a:endParaRPr lang="de-DE" dirty="0"/>
          </a:p>
        </p:txBody>
      </p:sp>
      <p:sp>
        <p:nvSpPr>
          <p:cNvPr id="5" name="Foliennummernplatzhalter 4">
            <a:extLst>
              <a:ext uri="{FF2B5EF4-FFF2-40B4-BE49-F238E27FC236}">
                <a16:creationId xmlns:a16="http://schemas.microsoft.com/office/drawing/2014/main" id="{50582A09-4B78-D841-BDB0-E975C3F47044}"/>
              </a:ext>
            </a:extLst>
          </p:cNvPr>
          <p:cNvSpPr>
            <a:spLocks noGrp="1"/>
          </p:cNvSpPr>
          <p:nvPr>
            <p:ph type="sldNum" sz="quarter" idx="12"/>
          </p:nvPr>
        </p:nvSpPr>
        <p:spPr/>
        <p:txBody>
          <a:bodyPr/>
          <a:lstStyle/>
          <a:p>
            <a:fld id="{09E9C37E-8A19-4E30-BE2B-5A966AD23C7A}" type="slidenum">
              <a:rPr lang="de-DE" smtClean="0"/>
              <a:pPr/>
              <a:t>41</a:t>
            </a:fld>
            <a:endParaRPr lang="de-DE" dirty="0"/>
          </a:p>
        </p:txBody>
      </p:sp>
      <p:sp>
        <p:nvSpPr>
          <p:cNvPr id="6" name="Bildplatzhalter 5">
            <a:extLst>
              <a:ext uri="{FF2B5EF4-FFF2-40B4-BE49-F238E27FC236}">
                <a16:creationId xmlns:a16="http://schemas.microsoft.com/office/drawing/2014/main" id="{9F2F5863-D6B0-8B40-9E1D-305EFC7BB597}"/>
              </a:ext>
            </a:extLst>
          </p:cNvPr>
          <p:cNvSpPr>
            <a:spLocks noGrp="1"/>
          </p:cNvSpPr>
          <p:nvPr>
            <p:ph type="pic" sz="quarter" idx="16"/>
          </p:nvPr>
        </p:nvSpPr>
        <p:spPr/>
        <p:txBody>
          <a:bodyPr/>
          <a:lstStyle/>
          <a:p>
            <a:endParaRPr lang="de-DE"/>
          </a:p>
        </p:txBody>
      </p:sp>
      <p:sp>
        <p:nvSpPr>
          <p:cNvPr id="7" name="Textplatzhalter 6">
            <a:extLst>
              <a:ext uri="{FF2B5EF4-FFF2-40B4-BE49-F238E27FC236}">
                <a16:creationId xmlns:a16="http://schemas.microsoft.com/office/drawing/2014/main" id="{A6407546-27B9-BF43-9CE9-07D236F7D876}"/>
              </a:ext>
            </a:extLst>
          </p:cNvPr>
          <p:cNvSpPr>
            <a:spLocks noGrp="1"/>
          </p:cNvSpPr>
          <p:nvPr>
            <p:ph type="body" sz="quarter" idx="19"/>
          </p:nvPr>
        </p:nvSpPr>
        <p:spPr/>
        <p:txBody>
          <a:bodyPr/>
          <a:lstStyle/>
          <a:p>
            <a:endParaRPr lang="de-DE"/>
          </a:p>
        </p:txBody>
      </p:sp>
      <p:sp>
        <p:nvSpPr>
          <p:cNvPr id="8" name="Textplatzhalter 7">
            <a:extLst>
              <a:ext uri="{FF2B5EF4-FFF2-40B4-BE49-F238E27FC236}">
                <a16:creationId xmlns:a16="http://schemas.microsoft.com/office/drawing/2014/main" id="{B88AE36B-927E-2C4F-8705-543BA3D5A8EE}"/>
              </a:ext>
            </a:extLst>
          </p:cNvPr>
          <p:cNvSpPr>
            <a:spLocks noGrp="1"/>
          </p:cNvSpPr>
          <p:nvPr>
            <p:ph type="body" sz="quarter" idx="20"/>
          </p:nvPr>
        </p:nvSpPr>
        <p:spPr/>
        <p:txBody>
          <a:bodyPr/>
          <a:lstStyle/>
          <a:p>
            <a:endParaRPr lang="de-DE"/>
          </a:p>
        </p:txBody>
      </p:sp>
      <p:sp>
        <p:nvSpPr>
          <p:cNvPr id="9" name="Textplatzhalter 8">
            <a:extLst>
              <a:ext uri="{FF2B5EF4-FFF2-40B4-BE49-F238E27FC236}">
                <a16:creationId xmlns:a16="http://schemas.microsoft.com/office/drawing/2014/main" id="{81D341F9-AC64-5A41-A50A-9EBD6D22FFA9}"/>
              </a:ext>
            </a:extLst>
          </p:cNvPr>
          <p:cNvSpPr>
            <a:spLocks noGrp="1"/>
          </p:cNvSpPr>
          <p:nvPr>
            <p:ph type="body" sz="quarter" idx="21"/>
          </p:nvPr>
        </p:nvSpPr>
        <p:spPr/>
        <p:txBody>
          <a:bodyPr/>
          <a:lstStyle/>
          <a:p>
            <a:endParaRPr lang="de-DE"/>
          </a:p>
        </p:txBody>
      </p:sp>
      <p:sp>
        <p:nvSpPr>
          <p:cNvPr id="10" name="Textplatzhalter 9">
            <a:extLst>
              <a:ext uri="{FF2B5EF4-FFF2-40B4-BE49-F238E27FC236}">
                <a16:creationId xmlns:a16="http://schemas.microsoft.com/office/drawing/2014/main" id="{9A88A22C-0A04-3340-9436-4D7F1F93236D}"/>
              </a:ext>
            </a:extLst>
          </p:cNvPr>
          <p:cNvSpPr>
            <a:spLocks noGrp="1"/>
          </p:cNvSpPr>
          <p:nvPr>
            <p:ph type="body" sz="quarter" idx="22"/>
          </p:nvPr>
        </p:nvSpPr>
        <p:spPr/>
        <p:txBody>
          <a:bodyPr/>
          <a:lstStyle/>
          <a:p>
            <a:endParaRPr lang="de-DE"/>
          </a:p>
        </p:txBody>
      </p:sp>
    </p:spTree>
    <p:extLst>
      <p:ext uri="{BB962C8B-B14F-4D97-AF65-F5344CB8AC3E}">
        <p14:creationId xmlns:p14="http://schemas.microsoft.com/office/powerpoint/2010/main" val="1965844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ildplatzhalter 1">
            <a:extLst>
              <a:ext uri="{FF2B5EF4-FFF2-40B4-BE49-F238E27FC236}">
                <a16:creationId xmlns:a16="http://schemas.microsoft.com/office/drawing/2014/main" id="{044DDEC5-8812-FD40-AC44-3015A31B1A38}"/>
              </a:ext>
            </a:extLst>
          </p:cNvPr>
          <p:cNvSpPr>
            <a:spLocks noGrp="1"/>
          </p:cNvSpPr>
          <p:nvPr>
            <p:ph type="pic" sz="quarter" idx="13"/>
          </p:nvPr>
        </p:nvSpPr>
        <p:spPr/>
        <p:txBody>
          <a:bodyPr/>
          <a:lstStyle/>
          <a:p>
            <a:endParaRPr lang="de-DE"/>
          </a:p>
        </p:txBody>
      </p:sp>
      <p:sp>
        <p:nvSpPr>
          <p:cNvPr id="3" name="Datumsplatzhalter 2">
            <a:extLst>
              <a:ext uri="{FF2B5EF4-FFF2-40B4-BE49-F238E27FC236}">
                <a16:creationId xmlns:a16="http://schemas.microsoft.com/office/drawing/2014/main" id="{ACE90371-65A7-D641-8BF0-E2B2C69E7040}"/>
              </a:ext>
            </a:extLst>
          </p:cNvPr>
          <p:cNvSpPr>
            <a:spLocks noGrp="1"/>
          </p:cNvSpPr>
          <p:nvPr>
            <p:ph type="dt" sz="half" idx="10"/>
          </p:nvPr>
        </p:nvSpPr>
        <p:spPr/>
        <p:txBody>
          <a:bodyPr/>
          <a:lstStyle/>
          <a:p>
            <a:fld id="{B52ABA71-AAD9-4CC1-80AF-004D4F11852E}" type="datetime1">
              <a:rPr lang="de-DE" smtClean="0"/>
              <a:pPr/>
              <a:t>29.09.25</a:t>
            </a:fld>
            <a:endParaRPr lang="de-DE" dirty="0"/>
          </a:p>
        </p:txBody>
      </p:sp>
      <p:sp>
        <p:nvSpPr>
          <p:cNvPr id="4" name="Fußzeilenplatzhalter 3">
            <a:extLst>
              <a:ext uri="{FF2B5EF4-FFF2-40B4-BE49-F238E27FC236}">
                <a16:creationId xmlns:a16="http://schemas.microsoft.com/office/drawing/2014/main" id="{B5A42B67-B7A3-454E-9EE3-3A37F8170A8A}"/>
              </a:ext>
            </a:extLst>
          </p:cNvPr>
          <p:cNvSpPr>
            <a:spLocks noGrp="1"/>
          </p:cNvSpPr>
          <p:nvPr>
            <p:ph type="ftr" sz="quarter" idx="11"/>
          </p:nvPr>
        </p:nvSpPr>
        <p:spPr/>
        <p:txBody>
          <a:bodyPr/>
          <a:lstStyle/>
          <a:p>
            <a:r>
              <a:rPr lang="de-DE"/>
              <a:t>TITEL DER PRÄSENTATION | TITEL VORNAME NAME</a:t>
            </a:r>
            <a:endParaRPr lang="de-DE" dirty="0"/>
          </a:p>
        </p:txBody>
      </p:sp>
      <p:sp>
        <p:nvSpPr>
          <p:cNvPr id="5" name="Foliennummernplatzhalter 4">
            <a:extLst>
              <a:ext uri="{FF2B5EF4-FFF2-40B4-BE49-F238E27FC236}">
                <a16:creationId xmlns:a16="http://schemas.microsoft.com/office/drawing/2014/main" id="{77A30084-7EC2-7047-8BB1-848EDA29B2C4}"/>
              </a:ext>
            </a:extLst>
          </p:cNvPr>
          <p:cNvSpPr>
            <a:spLocks noGrp="1"/>
          </p:cNvSpPr>
          <p:nvPr>
            <p:ph type="sldNum" sz="quarter" idx="12"/>
          </p:nvPr>
        </p:nvSpPr>
        <p:spPr/>
        <p:txBody>
          <a:bodyPr/>
          <a:lstStyle/>
          <a:p>
            <a:fld id="{09E9C37E-8A19-4E30-BE2B-5A966AD23C7A}" type="slidenum">
              <a:rPr lang="de-DE" smtClean="0"/>
              <a:pPr/>
              <a:t>42</a:t>
            </a:fld>
            <a:endParaRPr lang="de-DE" dirty="0"/>
          </a:p>
        </p:txBody>
      </p:sp>
      <p:sp>
        <p:nvSpPr>
          <p:cNvPr id="6" name="Bildplatzhalter 5">
            <a:extLst>
              <a:ext uri="{FF2B5EF4-FFF2-40B4-BE49-F238E27FC236}">
                <a16:creationId xmlns:a16="http://schemas.microsoft.com/office/drawing/2014/main" id="{CBCAA311-A20E-2C45-B485-16D69821FCAB}"/>
              </a:ext>
            </a:extLst>
          </p:cNvPr>
          <p:cNvSpPr>
            <a:spLocks noGrp="1"/>
          </p:cNvSpPr>
          <p:nvPr>
            <p:ph type="pic" sz="quarter" idx="16"/>
          </p:nvPr>
        </p:nvSpPr>
        <p:spPr/>
        <p:txBody>
          <a:bodyPr/>
          <a:lstStyle/>
          <a:p>
            <a:endParaRPr lang="de-DE"/>
          </a:p>
        </p:txBody>
      </p:sp>
      <p:sp>
        <p:nvSpPr>
          <p:cNvPr id="7" name="Bildplatzhalter 6">
            <a:extLst>
              <a:ext uri="{FF2B5EF4-FFF2-40B4-BE49-F238E27FC236}">
                <a16:creationId xmlns:a16="http://schemas.microsoft.com/office/drawing/2014/main" id="{7FABDDF5-73F1-024D-AD66-40519CC34605}"/>
              </a:ext>
            </a:extLst>
          </p:cNvPr>
          <p:cNvSpPr>
            <a:spLocks noGrp="1"/>
          </p:cNvSpPr>
          <p:nvPr>
            <p:ph type="pic" sz="quarter" idx="19"/>
          </p:nvPr>
        </p:nvSpPr>
        <p:spPr/>
        <p:txBody>
          <a:bodyPr/>
          <a:lstStyle/>
          <a:p>
            <a:endParaRPr lang="de-DE"/>
          </a:p>
        </p:txBody>
      </p:sp>
      <p:sp>
        <p:nvSpPr>
          <p:cNvPr id="8" name="Textplatzhalter 7">
            <a:extLst>
              <a:ext uri="{FF2B5EF4-FFF2-40B4-BE49-F238E27FC236}">
                <a16:creationId xmlns:a16="http://schemas.microsoft.com/office/drawing/2014/main" id="{A3A5C666-4F30-CD4D-92A2-F49094C01A62}"/>
              </a:ext>
            </a:extLst>
          </p:cNvPr>
          <p:cNvSpPr>
            <a:spLocks noGrp="1"/>
          </p:cNvSpPr>
          <p:nvPr>
            <p:ph type="body" sz="quarter" idx="22"/>
          </p:nvPr>
        </p:nvSpPr>
        <p:spPr/>
        <p:txBody>
          <a:bodyPr/>
          <a:lstStyle/>
          <a:p>
            <a:endParaRPr lang="de-DE"/>
          </a:p>
        </p:txBody>
      </p:sp>
      <p:sp>
        <p:nvSpPr>
          <p:cNvPr id="9" name="Textplatzhalter 8">
            <a:extLst>
              <a:ext uri="{FF2B5EF4-FFF2-40B4-BE49-F238E27FC236}">
                <a16:creationId xmlns:a16="http://schemas.microsoft.com/office/drawing/2014/main" id="{EF7A293B-A7A5-CE41-ADD4-9E1279CDF5D6}"/>
              </a:ext>
            </a:extLst>
          </p:cNvPr>
          <p:cNvSpPr>
            <a:spLocks noGrp="1"/>
          </p:cNvSpPr>
          <p:nvPr>
            <p:ph type="body" sz="quarter" idx="23"/>
          </p:nvPr>
        </p:nvSpPr>
        <p:spPr/>
        <p:txBody>
          <a:bodyPr/>
          <a:lstStyle/>
          <a:p>
            <a:endParaRPr lang="de-DE"/>
          </a:p>
        </p:txBody>
      </p:sp>
      <p:sp>
        <p:nvSpPr>
          <p:cNvPr id="10" name="Textplatzhalter 9">
            <a:extLst>
              <a:ext uri="{FF2B5EF4-FFF2-40B4-BE49-F238E27FC236}">
                <a16:creationId xmlns:a16="http://schemas.microsoft.com/office/drawing/2014/main" id="{317E3D6E-F83D-F845-8AA5-9B78B3AA0A48}"/>
              </a:ext>
            </a:extLst>
          </p:cNvPr>
          <p:cNvSpPr>
            <a:spLocks noGrp="1"/>
          </p:cNvSpPr>
          <p:nvPr>
            <p:ph type="body" sz="quarter" idx="24"/>
          </p:nvPr>
        </p:nvSpPr>
        <p:spPr/>
        <p:txBody>
          <a:bodyPr/>
          <a:lstStyle/>
          <a:p>
            <a:endParaRPr lang="de-DE"/>
          </a:p>
        </p:txBody>
      </p:sp>
      <p:sp>
        <p:nvSpPr>
          <p:cNvPr id="11" name="Textplatzhalter 10">
            <a:extLst>
              <a:ext uri="{FF2B5EF4-FFF2-40B4-BE49-F238E27FC236}">
                <a16:creationId xmlns:a16="http://schemas.microsoft.com/office/drawing/2014/main" id="{F0A4D573-6E56-8D4F-8BE8-7F0091D687B0}"/>
              </a:ext>
            </a:extLst>
          </p:cNvPr>
          <p:cNvSpPr>
            <a:spLocks noGrp="1"/>
          </p:cNvSpPr>
          <p:nvPr>
            <p:ph type="body" sz="quarter" idx="25"/>
          </p:nvPr>
        </p:nvSpPr>
        <p:spPr/>
        <p:txBody>
          <a:bodyPr/>
          <a:lstStyle/>
          <a:p>
            <a:endParaRPr lang="de-DE"/>
          </a:p>
        </p:txBody>
      </p:sp>
      <p:sp>
        <p:nvSpPr>
          <p:cNvPr id="12" name="Textplatzhalter 11">
            <a:extLst>
              <a:ext uri="{FF2B5EF4-FFF2-40B4-BE49-F238E27FC236}">
                <a16:creationId xmlns:a16="http://schemas.microsoft.com/office/drawing/2014/main" id="{438FB39F-EC0D-B941-8014-8542B2A9011E}"/>
              </a:ext>
            </a:extLst>
          </p:cNvPr>
          <p:cNvSpPr>
            <a:spLocks noGrp="1"/>
          </p:cNvSpPr>
          <p:nvPr>
            <p:ph type="body" sz="quarter" idx="26"/>
          </p:nvPr>
        </p:nvSpPr>
        <p:spPr/>
        <p:txBody>
          <a:bodyPr/>
          <a:lstStyle/>
          <a:p>
            <a:endParaRPr lang="de-DE"/>
          </a:p>
        </p:txBody>
      </p:sp>
      <p:sp>
        <p:nvSpPr>
          <p:cNvPr id="13" name="Textplatzhalter 12">
            <a:extLst>
              <a:ext uri="{FF2B5EF4-FFF2-40B4-BE49-F238E27FC236}">
                <a16:creationId xmlns:a16="http://schemas.microsoft.com/office/drawing/2014/main" id="{A7B42669-4715-BE45-8E18-565FA25FCCD2}"/>
              </a:ext>
            </a:extLst>
          </p:cNvPr>
          <p:cNvSpPr>
            <a:spLocks noGrp="1"/>
          </p:cNvSpPr>
          <p:nvPr>
            <p:ph type="body" sz="quarter" idx="27"/>
          </p:nvPr>
        </p:nvSpPr>
        <p:spPr/>
        <p:txBody>
          <a:bodyPr/>
          <a:lstStyle/>
          <a:p>
            <a:endParaRPr lang="de-DE"/>
          </a:p>
        </p:txBody>
      </p:sp>
    </p:spTree>
    <p:extLst>
      <p:ext uri="{BB962C8B-B14F-4D97-AF65-F5344CB8AC3E}">
        <p14:creationId xmlns:p14="http://schemas.microsoft.com/office/powerpoint/2010/main" val="130953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ildplatzhalter 1">
            <a:extLst>
              <a:ext uri="{FF2B5EF4-FFF2-40B4-BE49-F238E27FC236}">
                <a16:creationId xmlns:a16="http://schemas.microsoft.com/office/drawing/2014/main" id="{7E163895-BCBD-CD4E-897C-AA831E94644E}"/>
              </a:ext>
            </a:extLst>
          </p:cNvPr>
          <p:cNvSpPr>
            <a:spLocks noGrp="1"/>
          </p:cNvSpPr>
          <p:nvPr>
            <p:ph type="pic" sz="quarter" idx="13"/>
          </p:nvPr>
        </p:nvSpPr>
        <p:spPr/>
        <p:txBody>
          <a:bodyPr/>
          <a:lstStyle/>
          <a:p>
            <a:endParaRPr lang="de-DE"/>
          </a:p>
        </p:txBody>
      </p:sp>
      <p:sp>
        <p:nvSpPr>
          <p:cNvPr id="3" name="Datumsplatzhalter 2">
            <a:extLst>
              <a:ext uri="{FF2B5EF4-FFF2-40B4-BE49-F238E27FC236}">
                <a16:creationId xmlns:a16="http://schemas.microsoft.com/office/drawing/2014/main" id="{FCDAB833-4704-384A-8AB7-39508EF9766B}"/>
              </a:ext>
            </a:extLst>
          </p:cNvPr>
          <p:cNvSpPr>
            <a:spLocks noGrp="1"/>
          </p:cNvSpPr>
          <p:nvPr>
            <p:ph type="dt" sz="half" idx="10"/>
          </p:nvPr>
        </p:nvSpPr>
        <p:spPr/>
        <p:txBody>
          <a:bodyPr/>
          <a:lstStyle/>
          <a:p>
            <a:fld id="{B52ABA71-AAD9-4CC1-80AF-004D4F11852E}" type="datetime1">
              <a:rPr lang="de-DE" smtClean="0"/>
              <a:pPr/>
              <a:t>29.09.25</a:t>
            </a:fld>
            <a:endParaRPr lang="de-DE" dirty="0"/>
          </a:p>
        </p:txBody>
      </p:sp>
      <p:sp>
        <p:nvSpPr>
          <p:cNvPr id="4" name="Fußzeilenplatzhalter 3">
            <a:extLst>
              <a:ext uri="{FF2B5EF4-FFF2-40B4-BE49-F238E27FC236}">
                <a16:creationId xmlns:a16="http://schemas.microsoft.com/office/drawing/2014/main" id="{C044A44B-8E47-9047-A17B-E503002FC7F6}"/>
              </a:ext>
            </a:extLst>
          </p:cNvPr>
          <p:cNvSpPr>
            <a:spLocks noGrp="1"/>
          </p:cNvSpPr>
          <p:nvPr>
            <p:ph type="ftr" sz="quarter" idx="11"/>
          </p:nvPr>
        </p:nvSpPr>
        <p:spPr/>
        <p:txBody>
          <a:bodyPr/>
          <a:lstStyle/>
          <a:p>
            <a:r>
              <a:rPr lang="de-DE"/>
              <a:t>TITEL DER PRÄSENTATION | TITEL VORNAME NAME</a:t>
            </a:r>
            <a:endParaRPr lang="de-DE" dirty="0"/>
          </a:p>
        </p:txBody>
      </p:sp>
      <p:sp>
        <p:nvSpPr>
          <p:cNvPr id="5" name="Foliennummernplatzhalter 4">
            <a:extLst>
              <a:ext uri="{FF2B5EF4-FFF2-40B4-BE49-F238E27FC236}">
                <a16:creationId xmlns:a16="http://schemas.microsoft.com/office/drawing/2014/main" id="{582A6815-A1BC-3A4A-9E4E-F52D73833437}"/>
              </a:ext>
            </a:extLst>
          </p:cNvPr>
          <p:cNvSpPr>
            <a:spLocks noGrp="1"/>
          </p:cNvSpPr>
          <p:nvPr>
            <p:ph type="sldNum" sz="quarter" idx="12"/>
          </p:nvPr>
        </p:nvSpPr>
        <p:spPr/>
        <p:txBody>
          <a:bodyPr/>
          <a:lstStyle/>
          <a:p>
            <a:fld id="{09E9C37E-8A19-4E30-BE2B-5A966AD23C7A}" type="slidenum">
              <a:rPr lang="de-DE" smtClean="0"/>
              <a:pPr/>
              <a:t>43</a:t>
            </a:fld>
            <a:endParaRPr lang="de-DE" dirty="0"/>
          </a:p>
        </p:txBody>
      </p:sp>
      <p:sp>
        <p:nvSpPr>
          <p:cNvPr id="6" name="Bildplatzhalter 5">
            <a:extLst>
              <a:ext uri="{FF2B5EF4-FFF2-40B4-BE49-F238E27FC236}">
                <a16:creationId xmlns:a16="http://schemas.microsoft.com/office/drawing/2014/main" id="{C2605E32-CC7C-ED46-BF2A-6D41413C1DFD}"/>
              </a:ext>
            </a:extLst>
          </p:cNvPr>
          <p:cNvSpPr>
            <a:spLocks noGrp="1"/>
          </p:cNvSpPr>
          <p:nvPr>
            <p:ph type="pic" sz="quarter" idx="16"/>
          </p:nvPr>
        </p:nvSpPr>
        <p:spPr/>
        <p:txBody>
          <a:bodyPr/>
          <a:lstStyle/>
          <a:p>
            <a:endParaRPr lang="de-DE"/>
          </a:p>
        </p:txBody>
      </p:sp>
      <p:sp>
        <p:nvSpPr>
          <p:cNvPr id="7" name="Bildplatzhalter 6">
            <a:extLst>
              <a:ext uri="{FF2B5EF4-FFF2-40B4-BE49-F238E27FC236}">
                <a16:creationId xmlns:a16="http://schemas.microsoft.com/office/drawing/2014/main" id="{0076064D-5331-0443-BE28-DB110C08F8A2}"/>
              </a:ext>
            </a:extLst>
          </p:cNvPr>
          <p:cNvSpPr>
            <a:spLocks noGrp="1"/>
          </p:cNvSpPr>
          <p:nvPr>
            <p:ph type="pic" sz="quarter" idx="19"/>
          </p:nvPr>
        </p:nvSpPr>
        <p:spPr/>
        <p:txBody>
          <a:bodyPr/>
          <a:lstStyle/>
          <a:p>
            <a:endParaRPr lang="de-DE"/>
          </a:p>
        </p:txBody>
      </p:sp>
      <p:sp>
        <p:nvSpPr>
          <p:cNvPr id="8" name="Textplatzhalter 7">
            <a:extLst>
              <a:ext uri="{FF2B5EF4-FFF2-40B4-BE49-F238E27FC236}">
                <a16:creationId xmlns:a16="http://schemas.microsoft.com/office/drawing/2014/main" id="{8DF6D363-8500-D14C-88D1-DF863724789D}"/>
              </a:ext>
            </a:extLst>
          </p:cNvPr>
          <p:cNvSpPr>
            <a:spLocks noGrp="1"/>
          </p:cNvSpPr>
          <p:nvPr>
            <p:ph type="body" sz="quarter" idx="22"/>
          </p:nvPr>
        </p:nvSpPr>
        <p:spPr/>
        <p:txBody>
          <a:bodyPr/>
          <a:lstStyle/>
          <a:p>
            <a:endParaRPr lang="de-DE"/>
          </a:p>
        </p:txBody>
      </p:sp>
      <p:sp>
        <p:nvSpPr>
          <p:cNvPr id="9" name="Textplatzhalter 8">
            <a:extLst>
              <a:ext uri="{FF2B5EF4-FFF2-40B4-BE49-F238E27FC236}">
                <a16:creationId xmlns:a16="http://schemas.microsoft.com/office/drawing/2014/main" id="{85FC4A96-EEFC-B344-9E15-9445593A631A}"/>
              </a:ext>
            </a:extLst>
          </p:cNvPr>
          <p:cNvSpPr>
            <a:spLocks noGrp="1"/>
          </p:cNvSpPr>
          <p:nvPr>
            <p:ph type="body" sz="quarter" idx="23"/>
          </p:nvPr>
        </p:nvSpPr>
        <p:spPr/>
        <p:txBody>
          <a:bodyPr/>
          <a:lstStyle/>
          <a:p>
            <a:endParaRPr lang="de-DE"/>
          </a:p>
        </p:txBody>
      </p:sp>
      <p:sp>
        <p:nvSpPr>
          <p:cNvPr id="10" name="Textplatzhalter 9">
            <a:extLst>
              <a:ext uri="{FF2B5EF4-FFF2-40B4-BE49-F238E27FC236}">
                <a16:creationId xmlns:a16="http://schemas.microsoft.com/office/drawing/2014/main" id="{8449FF61-7D61-BA4A-AD71-1464D669F9D2}"/>
              </a:ext>
            </a:extLst>
          </p:cNvPr>
          <p:cNvSpPr>
            <a:spLocks noGrp="1"/>
          </p:cNvSpPr>
          <p:nvPr>
            <p:ph type="body" sz="quarter" idx="24"/>
          </p:nvPr>
        </p:nvSpPr>
        <p:spPr/>
        <p:txBody>
          <a:bodyPr/>
          <a:lstStyle/>
          <a:p>
            <a:endParaRPr lang="de-DE"/>
          </a:p>
        </p:txBody>
      </p:sp>
      <p:sp>
        <p:nvSpPr>
          <p:cNvPr id="11" name="Textplatzhalter 10">
            <a:extLst>
              <a:ext uri="{FF2B5EF4-FFF2-40B4-BE49-F238E27FC236}">
                <a16:creationId xmlns:a16="http://schemas.microsoft.com/office/drawing/2014/main" id="{9E489686-C807-CE43-8A8B-CDB9A6CE172D}"/>
              </a:ext>
            </a:extLst>
          </p:cNvPr>
          <p:cNvSpPr>
            <a:spLocks noGrp="1"/>
          </p:cNvSpPr>
          <p:nvPr>
            <p:ph type="body" sz="quarter" idx="25"/>
          </p:nvPr>
        </p:nvSpPr>
        <p:spPr/>
        <p:txBody>
          <a:bodyPr/>
          <a:lstStyle/>
          <a:p>
            <a:endParaRPr lang="de-DE"/>
          </a:p>
        </p:txBody>
      </p:sp>
      <p:sp>
        <p:nvSpPr>
          <p:cNvPr id="12" name="Textplatzhalter 11">
            <a:extLst>
              <a:ext uri="{FF2B5EF4-FFF2-40B4-BE49-F238E27FC236}">
                <a16:creationId xmlns:a16="http://schemas.microsoft.com/office/drawing/2014/main" id="{6DF25249-45C2-7747-8549-EC0027DB0D3A}"/>
              </a:ext>
            </a:extLst>
          </p:cNvPr>
          <p:cNvSpPr>
            <a:spLocks noGrp="1"/>
          </p:cNvSpPr>
          <p:nvPr>
            <p:ph type="body" sz="quarter" idx="26"/>
          </p:nvPr>
        </p:nvSpPr>
        <p:spPr/>
        <p:txBody>
          <a:bodyPr/>
          <a:lstStyle/>
          <a:p>
            <a:endParaRPr lang="de-DE"/>
          </a:p>
        </p:txBody>
      </p:sp>
      <p:sp>
        <p:nvSpPr>
          <p:cNvPr id="13" name="Textplatzhalter 12">
            <a:extLst>
              <a:ext uri="{FF2B5EF4-FFF2-40B4-BE49-F238E27FC236}">
                <a16:creationId xmlns:a16="http://schemas.microsoft.com/office/drawing/2014/main" id="{4CE8B5FC-2594-D647-9AC5-1910EEA94AB5}"/>
              </a:ext>
            </a:extLst>
          </p:cNvPr>
          <p:cNvSpPr>
            <a:spLocks noGrp="1"/>
          </p:cNvSpPr>
          <p:nvPr>
            <p:ph type="body" sz="quarter" idx="27"/>
          </p:nvPr>
        </p:nvSpPr>
        <p:spPr/>
        <p:txBody>
          <a:bodyPr/>
          <a:lstStyle/>
          <a:p>
            <a:endParaRPr lang="de-DE"/>
          </a:p>
        </p:txBody>
      </p:sp>
    </p:spTree>
    <p:extLst>
      <p:ext uri="{BB962C8B-B14F-4D97-AF65-F5344CB8AC3E}">
        <p14:creationId xmlns:p14="http://schemas.microsoft.com/office/powerpoint/2010/main" val="2624105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ildplatzhalter 1">
            <a:extLst>
              <a:ext uri="{FF2B5EF4-FFF2-40B4-BE49-F238E27FC236}">
                <a16:creationId xmlns:a16="http://schemas.microsoft.com/office/drawing/2014/main" id="{ACB62403-0341-BD4F-BA1C-CA539746B9F6}"/>
              </a:ext>
            </a:extLst>
          </p:cNvPr>
          <p:cNvSpPr>
            <a:spLocks noGrp="1"/>
          </p:cNvSpPr>
          <p:nvPr>
            <p:ph type="pic" sz="quarter" idx="22"/>
          </p:nvPr>
        </p:nvSpPr>
        <p:spPr/>
        <p:txBody>
          <a:bodyPr/>
          <a:lstStyle/>
          <a:p>
            <a:endParaRPr lang="de-DE"/>
          </a:p>
        </p:txBody>
      </p:sp>
      <p:sp>
        <p:nvSpPr>
          <p:cNvPr id="3" name="Bildplatzhalter 2">
            <a:extLst>
              <a:ext uri="{FF2B5EF4-FFF2-40B4-BE49-F238E27FC236}">
                <a16:creationId xmlns:a16="http://schemas.microsoft.com/office/drawing/2014/main" id="{2160735B-608F-2341-A1CB-869A0D6A879C}"/>
              </a:ext>
            </a:extLst>
          </p:cNvPr>
          <p:cNvSpPr>
            <a:spLocks noGrp="1"/>
          </p:cNvSpPr>
          <p:nvPr>
            <p:ph type="pic" sz="quarter" idx="13"/>
          </p:nvPr>
        </p:nvSpPr>
        <p:spPr/>
        <p:txBody>
          <a:bodyPr/>
          <a:lstStyle/>
          <a:p>
            <a:endParaRPr lang="de-DE"/>
          </a:p>
        </p:txBody>
      </p:sp>
      <p:sp>
        <p:nvSpPr>
          <p:cNvPr id="4" name="Datumsplatzhalter 3">
            <a:extLst>
              <a:ext uri="{FF2B5EF4-FFF2-40B4-BE49-F238E27FC236}">
                <a16:creationId xmlns:a16="http://schemas.microsoft.com/office/drawing/2014/main" id="{45492A8E-383E-6849-97E3-8446FDB1B340}"/>
              </a:ext>
            </a:extLst>
          </p:cNvPr>
          <p:cNvSpPr>
            <a:spLocks noGrp="1"/>
          </p:cNvSpPr>
          <p:nvPr>
            <p:ph type="dt" sz="half" idx="10"/>
          </p:nvPr>
        </p:nvSpPr>
        <p:spPr/>
        <p:txBody>
          <a:bodyPr/>
          <a:lstStyle/>
          <a:p>
            <a:fld id="{B52ABA71-AAD9-4CC1-80AF-004D4F11852E}" type="datetime1">
              <a:rPr lang="de-DE" smtClean="0"/>
              <a:pPr/>
              <a:t>29.09.25</a:t>
            </a:fld>
            <a:endParaRPr lang="de-DE" dirty="0"/>
          </a:p>
        </p:txBody>
      </p:sp>
      <p:sp>
        <p:nvSpPr>
          <p:cNvPr id="5" name="Fußzeilenplatzhalter 4">
            <a:extLst>
              <a:ext uri="{FF2B5EF4-FFF2-40B4-BE49-F238E27FC236}">
                <a16:creationId xmlns:a16="http://schemas.microsoft.com/office/drawing/2014/main" id="{76B55C9B-CD52-FE4A-B616-352B603A2AA8}"/>
              </a:ext>
            </a:extLst>
          </p:cNvPr>
          <p:cNvSpPr>
            <a:spLocks noGrp="1"/>
          </p:cNvSpPr>
          <p:nvPr>
            <p:ph type="ftr" sz="quarter" idx="11"/>
          </p:nvPr>
        </p:nvSpPr>
        <p:spPr/>
        <p:txBody>
          <a:bodyPr/>
          <a:lstStyle/>
          <a:p>
            <a:r>
              <a:rPr lang="de-DE"/>
              <a:t>TITEL DER PRÄSENTATION | TITEL VORNAME NAME</a:t>
            </a:r>
            <a:endParaRPr lang="de-DE" dirty="0"/>
          </a:p>
        </p:txBody>
      </p:sp>
      <p:sp>
        <p:nvSpPr>
          <p:cNvPr id="6" name="Foliennummernplatzhalter 5">
            <a:extLst>
              <a:ext uri="{FF2B5EF4-FFF2-40B4-BE49-F238E27FC236}">
                <a16:creationId xmlns:a16="http://schemas.microsoft.com/office/drawing/2014/main" id="{33A05E89-6059-5F4C-B509-7FAE98642F50}"/>
              </a:ext>
            </a:extLst>
          </p:cNvPr>
          <p:cNvSpPr>
            <a:spLocks noGrp="1"/>
          </p:cNvSpPr>
          <p:nvPr>
            <p:ph type="sldNum" sz="quarter" idx="12"/>
          </p:nvPr>
        </p:nvSpPr>
        <p:spPr/>
        <p:txBody>
          <a:bodyPr/>
          <a:lstStyle/>
          <a:p>
            <a:fld id="{09E9C37E-8A19-4E30-BE2B-5A966AD23C7A}" type="slidenum">
              <a:rPr lang="de-DE" smtClean="0"/>
              <a:pPr/>
              <a:t>44</a:t>
            </a:fld>
            <a:endParaRPr lang="de-DE" dirty="0"/>
          </a:p>
        </p:txBody>
      </p:sp>
      <p:sp>
        <p:nvSpPr>
          <p:cNvPr id="7" name="Bildplatzhalter 6">
            <a:extLst>
              <a:ext uri="{FF2B5EF4-FFF2-40B4-BE49-F238E27FC236}">
                <a16:creationId xmlns:a16="http://schemas.microsoft.com/office/drawing/2014/main" id="{2C7DFFE4-8C01-C947-9491-1D926F961119}"/>
              </a:ext>
            </a:extLst>
          </p:cNvPr>
          <p:cNvSpPr>
            <a:spLocks noGrp="1"/>
          </p:cNvSpPr>
          <p:nvPr>
            <p:ph type="pic" sz="quarter" idx="25"/>
          </p:nvPr>
        </p:nvSpPr>
        <p:spPr/>
        <p:txBody>
          <a:bodyPr/>
          <a:lstStyle/>
          <a:p>
            <a:endParaRPr lang="de-DE"/>
          </a:p>
        </p:txBody>
      </p:sp>
      <p:sp>
        <p:nvSpPr>
          <p:cNvPr id="8" name="Bildplatzhalter 7">
            <a:extLst>
              <a:ext uri="{FF2B5EF4-FFF2-40B4-BE49-F238E27FC236}">
                <a16:creationId xmlns:a16="http://schemas.microsoft.com/office/drawing/2014/main" id="{691D8402-DEAF-3842-9E64-FEB4983F17E4}"/>
              </a:ext>
            </a:extLst>
          </p:cNvPr>
          <p:cNvSpPr>
            <a:spLocks noGrp="1"/>
          </p:cNvSpPr>
          <p:nvPr>
            <p:ph type="pic" sz="quarter" idx="28"/>
          </p:nvPr>
        </p:nvSpPr>
        <p:spPr/>
        <p:txBody>
          <a:bodyPr/>
          <a:lstStyle/>
          <a:p>
            <a:endParaRPr lang="de-DE"/>
          </a:p>
        </p:txBody>
      </p:sp>
      <p:sp>
        <p:nvSpPr>
          <p:cNvPr id="9" name="Textplatzhalter 8">
            <a:extLst>
              <a:ext uri="{FF2B5EF4-FFF2-40B4-BE49-F238E27FC236}">
                <a16:creationId xmlns:a16="http://schemas.microsoft.com/office/drawing/2014/main" id="{1D7F1E88-A7A6-774A-BF62-F17D482C9B39}"/>
              </a:ext>
            </a:extLst>
          </p:cNvPr>
          <p:cNvSpPr>
            <a:spLocks noGrp="1"/>
          </p:cNvSpPr>
          <p:nvPr>
            <p:ph type="body" sz="quarter" idx="16"/>
          </p:nvPr>
        </p:nvSpPr>
        <p:spPr/>
        <p:txBody>
          <a:bodyPr/>
          <a:lstStyle/>
          <a:p>
            <a:endParaRPr lang="de-DE"/>
          </a:p>
        </p:txBody>
      </p:sp>
      <p:sp>
        <p:nvSpPr>
          <p:cNvPr id="10" name="Textplatzhalter 9">
            <a:extLst>
              <a:ext uri="{FF2B5EF4-FFF2-40B4-BE49-F238E27FC236}">
                <a16:creationId xmlns:a16="http://schemas.microsoft.com/office/drawing/2014/main" id="{F806CC8C-BB71-B547-BAE8-24F2FFF3BD4C}"/>
              </a:ext>
            </a:extLst>
          </p:cNvPr>
          <p:cNvSpPr>
            <a:spLocks noGrp="1"/>
          </p:cNvSpPr>
          <p:nvPr>
            <p:ph type="body" sz="quarter" idx="17"/>
          </p:nvPr>
        </p:nvSpPr>
        <p:spPr/>
        <p:txBody>
          <a:bodyPr/>
          <a:lstStyle/>
          <a:p>
            <a:endParaRPr lang="de-DE"/>
          </a:p>
        </p:txBody>
      </p:sp>
      <p:sp>
        <p:nvSpPr>
          <p:cNvPr id="11" name="Textplatzhalter 10">
            <a:extLst>
              <a:ext uri="{FF2B5EF4-FFF2-40B4-BE49-F238E27FC236}">
                <a16:creationId xmlns:a16="http://schemas.microsoft.com/office/drawing/2014/main" id="{94D3B970-A9F3-F94A-AF2C-08804C34980F}"/>
              </a:ext>
            </a:extLst>
          </p:cNvPr>
          <p:cNvSpPr>
            <a:spLocks noGrp="1"/>
          </p:cNvSpPr>
          <p:nvPr>
            <p:ph type="body" sz="quarter" idx="31"/>
          </p:nvPr>
        </p:nvSpPr>
        <p:spPr/>
        <p:txBody>
          <a:bodyPr/>
          <a:lstStyle/>
          <a:p>
            <a:endParaRPr lang="de-DE"/>
          </a:p>
        </p:txBody>
      </p:sp>
      <p:sp>
        <p:nvSpPr>
          <p:cNvPr id="12" name="Textplatzhalter 11">
            <a:extLst>
              <a:ext uri="{FF2B5EF4-FFF2-40B4-BE49-F238E27FC236}">
                <a16:creationId xmlns:a16="http://schemas.microsoft.com/office/drawing/2014/main" id="{1BFEF4F9-77AA-0848-A0CC-FBDB750E4547}"/>
              </a:ext>
            </a:extLst>
          </p:cNvPr>
          <p:cNvSpPr>
            <a:spLocks noGrp="1"/>
          </p:cNvSpPr>
          <p:nvPr>
            <p:ph type="body" sz="quarter" idx="32"/>
          </p:nvPr>
        </p:nvSpPr>
        <p:spPr/>
        <p:txBody>
          <a:bodyPr/>
          <a:lstStyle/>
          <a:p>
            <a:endParaRPr lang="de-DE"/>
          </a:p>
        </p:txBody>
      </p:sp>
      <p:sp>
        <p:nvSpPr>
          <p:cNvPr id="13" name="Textplatzhalter 12">
            <a:extLst>
              <a:ext uri="{FF2B5EF4-FFF2-40B4-BE49-F238E27FC236}">
                <a16:creationId xmlns:a16="http://schemas.microsoft.com/office/drawing/2014/main" id="{CD9E68A1-449F-AE4A-847B-0B5AA588F097}"/>
              </a:ext>
            </a:extLst>
          </p:cNvPr>
          <p:cNvSpPr>
            <a:spLocks noGrp="1"/>
          </p:cNvSpPr>
          <p:nvPr>
            <p:ph type="body" sz="quarter" idx="33"/>
          </p:nvPr>
        </p:nvSpPr>
        <p:spPr/>
        <p:txBody>
          <a:bodyPr/>
          <a:lstStyle/>
          <a:p>
            <a:endParaRPr lang="de-DE"/>
          </a:p>
        </p:txBody>
      </p:sp>
      <p:sp>
        <p:nvSpPr>
          <p:cNvPr id="14" name="Textplatzhalter 13">
            <a:extLst>
              <a:ext uri="{FF2B5EF4-FFF2-40B4-BE49-F238E27FC236}">
                <a16:creationId xmlns:a16="http://schemas.microsoft.com/office/drawing/2014/main" id="{35C7FC13-E3F4-6D4F-99B4-ABBE3D890D06}"/>
              </a:ext>
            </a:extLst>
          </p:cNvPr>
          <p:cNvSpPr>
            <a:spLocks noGrp="1"/>
          </p:cNvSpPr>
          <p:nvPr>
            <p:ph type="body" sz="quarter" idx="34"/>
          </p:nvPr>
        </p:nvSpPr>
        <p:spPr/>
        <p:txBody>
          <a:bodyPr/>
          <a:lstStyle/>
          <a:p>
            <a:endParaRPr lang="de-DE"/>
          </a:p>
        </p:txBody>
      </p:sp>
      <p:sp>
        <p:nvSpPr>
          <p:cNvPr id="15" name="Textplatzhalter 14">
            <a:extLst>
              <a:ext uri="{FF2B5EF4-FFF2-40B4-BE49-F238E27FC236}">
                <a16:creationId xmlns:a16="http://schemas.microsoft.com/office/drawing/2014/main" id="{BA293BF8-AA97-864D-99B5-33728B642690}"/>
              </a:ext>
            </a:extLst>
          </p:cNvPr>
          <p:cNvSpPr>
            <a:spLocks noGrp="1"/>
          </p:cNvSpPr>
          <p:nvPr>
            <p:ph type="body" sz="quarter" idx="35"/>
          </p:nvPr>
        </p:nvSpPr>
        <p:spPr/>
        <p:txBody>
          <a:bodyPr/>
          <a:lstStyle/>
          <a:p>
            <a:endParaRPr lang="de-DE"/>
          </a:p>
        </p:txBody>
      </p:sp>
      <p:sp>
        <p:nvSpPr>
          <p:cNvPr id="16" name="Textplatzhalter 15">
            <a:extLst>
              <a:ext uri="{FF2B5EF4-FFF2-40B4-BE49-F238E27FC236}">
                <a16:creationId xmlns:a16="http://schemas.microsoft.com/office/drawing/2014/main" id="{89830A8F-FEDB-084A-9986-3B442D9E94F1}"/>
              </a:ext>
            </a:extLst>
          </p:cNvPr>
          <p:cNvSpPr>
            <a:spLocks noGrp="1"/>
          </p:cNvSpPr>
          <p:nvPr>
            <p:ph type="body" sz="quarter" idx="36"/>
          </p:nvPr>
        </p:nvSpPr>
        <p:spPr/>
        <p:txBody>
          <a:bodyPr/>
          <a:lstStyle/>
          <a:p>
            <a:endParaRPr lang="de-DE"/>
          </a:p>
        </p:txBody>
      </p:sp>
    </p:spTree>
    <p:extLst>
      <p:ext uri="{BB962C8B-B14F-4D97-AF65-F5344CB8AC3E}">
        <p14:creationId xmlns:p14="http://schemas.microsoft.com/office/powerpoint/2010/main" val="1483658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AEDB71-0E50-4B8C-97CB-465A1E26D544}"/>
              </a:ext>
            </a:extLst>
          </p:cNvPr>
          <p:cNvSpPr>
            <a:spLocks noGrp="1"/>
          </p:cNvSpPr>
          <p:nvPr>
            <p:ph type="body" sz="quarter" idx="13"/>
          </p:nvPr>
        </p:nvSpPr>
        <p:spPr bwMode="gray"/>
        <p:txBody>
          <a:bodyPr/>
          <a:lstStyle/>
          <a:p>
            <a:pPr lvl="0"/>
            <a:r>
              <a:rPr lang="de-DE" dirty="0"/>
              <a:t>Hochschule Fresenius </a:t>
            </a:r>
            <a:br>
              <a:rPr lang="de-DE" dirty="0"/>
            </a:br>
            <a:r>
              <a:rPr lang="de-DE" dirty="0"/>
              <a:t>University of Applied </a:t>
            </a:r>
            <a:r>
              <a:rPr lang="de-DE" dirty="0" err="1"/>
              <a:t>Sciences</a:t>
            </a:r>
            <a:endParaRPr lang="de-DE" dirty="0"/>
          </a:p>
          <a:p>
            <a:pPr lvl="1"/>
            <a:r>
              <a:rPr lang="de-DE" dirty="0"/>
              <a:t>Limburger Straße 2</a:t>
            </a:r>
            <a:br>
              <a:rPr lang="de-DE" dirty="0"/>
            </a:br>
            <a:r>
              <a:rPr lang="de-DE" dirty="0"/>
              <a:t>D-65510 Idstein</a:t>
            </a:r>
          </a:p>
          <a:p>
            <a:pPr lvl="1"/>
            <a:r>
              <a:rPr lang="de-DE" dirty="0" err="1"/>
              <a:t>idstein@hs-fresenius.de</a:t>
            </a:r>
            <a:br>
              <a:rPr lang="de-DE" dirty="0"/>
            </a:br>
            <a:r>
              <a:rPr lang="de-DE" dirty="0" err="1"/>
              <a:t>www.hs-fresenius.de</a:t>
            </a:r>
            <a:endParaRPr lang="de-DE" dirty="0"/>
          </a:p>
        </p:txBody>
      </p:sp>
      <p:sp>
        <p:nvSpPr>
          <p:cNvPr id="3" name="Text Placeholder 2">
            <a:extLst>
              <a:ext uri="{FF2B5EF4-FFF2-40B4-BE49-F238E27FC236}">
                <a16:creationId xmlns:a16="http://schemas.microsoft.com/office/drawing/2014/main" id="{26270ADB-B54D-49D0-B7D3-315DCC9D2118}"/>
              </a:ext>
            </a:extLst>
          </p:cNvPr>
          <p:cNvSpPr>
            <a:spLocks noGrp="1"/>
          </p:cNvSpPr>
          <p:nvPr>
            <p:ph type="body" sz="quarter" idx="14"/>
          </p:nvPr>
        </p:nvSpPr>
        <p:spPr bwMode="gray"/>
        <p:txBody>
          <a:bodyPr/>
          <a:lstStyle/>
          <a:p>
            <a:pPr lvl="0"/>
            <a:r>
              <a:rPr lang="de-DE" noProof="0" dirty="0"/>
              <a:t>Vorname und Nachname</a:t>
            </a:r>
            <a:br>
              <a:rPr lang="de-DE" noProof="0" dirty="0"/>
            </a:br>
            <a:r>
              <a:rPr lang="de-DE" noProof="0" dirty="0"/>
              <a:t>Position</a:t>
            </a:r>
          </a:p>
          <a:p>
            <a:pPr lvl="1"/>
            <a:r>
              <a:rPr lang="de-DE" dirty="0"/>
              <a:t>Email </a:t>
            </a:r>
            <a:br>
              <a:rPr lang="de-DE" dirty="0"/>
            </a:br>
            <a:r>
              <a:rPr lang="de-DE" dirty="0"/>
              <a:t>Telefon</a:t>
            </a:r>
          </a:p>
        </p:txBody>
      </p:sp>
      <p:sp>
        <p:nvSpPr>
          <p:cNvPr id="44" name="Text Placeholder 43">
            <a:extLst>
              <a:ext uri="{FF2B5EF4-FFF2-40B4-BE49-F238E27FC236}">
                <a16:creationId xmlns:a16="http://schemas.microsoft.com/office/drawing/2014/main" id="{27F0ED10-D1AD-4E49-81C6-BEAF99509948}"/>
              </a:ext>
            </a:extLst>
          </p:cNvPr>
          <p:cNvSpPr>
            <a:spLocks noGrp="1"/>
          </p:cNvSpPr>
          <p:nvPr>
            <p:ph type="body" sz="quarter" idx="15"/>
          </p:nvPr>
        </p:nvSpPr>
        <p:spPr bwMode="gray"/>
        <p:txBody>
          <a:bodyPr/>
          <a:lstStyle/>
          <a:p>
            <a:pPr lvl="0"/>
            <a:r>
              <a:rPr lang="de-DE" noProof="0" dirty="0"/>
              <a:t>Vorname und Nachname</a:t>
            </a:r>
            <a:br>
              <a:rPr lang="de-DE" noProof="0" dirty="0"/>
            </a:br>
            <a:r>
              <a:rPr lang="de-DE" noProof="0" dirty="0"/>
              <a:t>Position</a:t>
            </a:r>
          </a:p>
          <a:p>
            <a:pPr lvl="1"/>
            <a:r>
              <a:rPr lang="de-DE" dirty="0"/>
              <a:t>Email </a:t>
            </a:r>
            <a:br>
              <a:rPr lang="de-DE" dirty="0"/>
            </a:br>
            <a:r>
              <a:rPr lang="de-DE" dirty="0"/>
              <a:t>Telefon</a:t>
            </a:r>
          </a:p>
        </p:txBody>
      </p:sp>
      <p:sp>
        <p:nvSpPr>
          <p:cNvPr id="45" name="Text Placeholder 44">
            <a:extLst>
              <a:ext uri="{FF2B5EF4-FFF2-40B4-BE49-F238E27FC236}">
                <a16:creationId xmlns:a16="http://schemas.microsoft.com/office/drawing/2014/main" id="{B13B09AC-774B-4ADC-896F-331FE6F7186B}"/>
              </a:ext>
            </a:extLst>
          </p:cNvPr>
          <p:cNvSpPr>
            <a:spLocks noGrp="1"/>
          </p:cNvSpPr>
          <p:nvPr>
            <p:ph type="body" sz="quarter" idx="16"/>
          </p:nvPr>
        </p:nvSpPr>
        <p:spPr bwMode="gray"/>
        <p:txBody>
          <a:bodyPr/>
          <a:lstStyle/>
          <a:p>
            <a:pPr lvl="0"/>
            <a:r>
              <a:rPr lang="de-DE" noProof="0" dirty="0"/>
              <a:t>Vorname und Nachname</a:t>
            </a:r>
            <a:br>
              <a:rPr lang="de-DE" noProof="0" dirty="0"/>
            </a:br>
            <a:r>
              <a:rPr lang="de-DE" noProof="0" dirty="0"/>
              <a:t>Position</a:t>
            </a:r>
          </a:p>
          <a:p>
            <a:pPr lvl="1"/>
            <a:r>
              <a:rPr lang="de-DE" dirty="0"/>
              <a:t>Email </a:t>
            </a:r>
            <a:br>
              <a:rPr lang="de-DE" dirty="0"/>
            </a:br>
            <a:r>
              <a:rPr lang="de-DE" dirty="0"/>
              <a:t>Telefon</a:t>
            </a:r>
          </a:p>
        </p:txBody>
      </p:sp>
    </p:spTree>
    <p:extLst>
      <p:ext uri="{BB962C8B-B14F-4D97-AF65-F5344CB8AC3E}">
        <p14:creationId xmlns:p14="http://schemas.microsoft.com/office/powerpoint/2010/main" val="2122225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75653E8-2008-4F56-BF2D-58706EA35A22}"/>
              </a:ext>
            </a:extLst>
          </p:cNvPr>
          <p:cNvGraphicFramePr>
            <a:graphicFrameLocks noChangeAspect="1"/>
          </p:cNvGraphicFramePr>
          <p:nvPr>
            <p:custDataLst>
              <p:tags r:id="rId1"/>
            </p:custDataLst>
            <p:extLst>
              <p:ext uri="{D42A27DB-BD31-4B8C-83A1-F6EECF244321}">
                <p14:modId xmlns:p14="http://schemas.microsoft.com/office/powerpoint/2010/main" val="1209458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8873297-7CFC-48F0-A9F3-6BDCC221C31B}"/>
              </a:ext>
            </a:extLst>
          </p:cNvPr>
          <p:cNvSpPr>
            <a:spLocks noGrp="1"/>
          </p:cNvSpPr>
          <p:nvPr>
            <p:ph type="title"/>
          </p:nvPr>
        </p:nvSpPr>
        <p:spPr bwMode="gray"/>
        <p:txBody>
          <a:bodyPr vert="horz"/>
          <a:lstStyle/>
          <a:p>
            <a:r>
              <a:rPr lang="de-DE" dirty="0"/>
              <a:t>Icons I </a:t>
            </a:r>
            <a:br>
              <a:rPr lang="de-DE" dirty="0"/>
            </a:br>
            <a:r>
              <a:rPr lang="de-DE" b="0" dirty="0"/>
              <a:t>positiv | Cyan</a:t>
            </a:r>
          </a:p>
        </p:txBody>
      </p:sp>
      <p:sp>
        <p:nvSpPr>
          <p:cNvPr id="8" name="Date Placeholder 7">
            <a:extLst>
              <a:ext uri="{FF2B5EF4-FFF2-40B4-BE49-F238E27FC236}">
                <a16:creationId xmlns:a16="http://schemas.microsoft.com/office/drawing/2014/main" id="{1AC5802E-2235-4F79-AB4A-54F25F8908CD}"/>
              </a:ext>
            </a:extLst>
          </p:cNvPr>
          <p:cNvSpPr>
            <a:spLocks noGrp="1"/>
          </p:cNvSpPr>
          <p:nvPr>
            <p:ph type="dt" sz="half" idx="10"/>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61ECF5-F50A-462A-99CB-C72E37059685}" type="datetime1">
              <a:rPr kumimoji="0" lang="de-DE" sz="800" b="0" i="0" u="none" strike="noStrike" kern="1200" cap="none" spc="0" normalizeH="0" baseline="0" noProof="0" smtClean="0">
                <a:ln>
                  <a:noFill/>
                </a:ln>
                <a:solidFill>
                  <a:srgbClr val="38414A"/>
                </a:solidFill>
                <a:effectLst/>
                <a:uLnTx/>
                <a:uFillTx/>
                <a:latin typeface="Verdana"/>
                <a:ea typeface="+mn-ea"/>
                <a:cs typeface="+mn-cs"/>
              </a:rPr>
              <a:t>29.09.25</a:t>
            </a:fld>
            <a:endParaRPr kumimoji="0" lang="de-DE" sz="800" b="0" i="0" u="none" strike="noStrike" kern="1200" cap="none" spc="0" normalizeH="0" baseline="0" noProof="0" dirty="0">
              <a:ln>
                <a:noFill/>
              </a:ln>
              <a:solidFill>
                <a:srgbClr val="38414A"/>
              </a:solidFill>
              <a:effectLst/>
              <a:uLnTx/>
              <a:uFillTx/>
              <a:latin typeface="Verdana"/>
              <a:ea typeface="+mn-ea"/>
              <a:cs typeface="+mn-cs"/>
            </a:endParaRPr>
          </a:p>
        </p:txBody>
      </p:sp>
      <p:sp>
        <p:nvSpPr>
          <p:cNvPr id="3" name="Fußzeilenplatzhalter 2">
            <a:extLst>
              <a:ext uri="{FF2B5EF4-FFF2-40B4-BE49-F238E27FC236}">
                <a16:creationId xmlns:a16="http://schemas.microsoft.com/office/drawing/2014/main" id="{719E5376-D5E1-4E1C-A687-F622EC74BD21}"/>
              </a:ext>
            </a:extLst>
          </p:cNvPr>
          <p:cNvSpPr>
            <a:spLocks noGrp="1"/>
          </p:cNvSpPr>
          <p:nvPr>
            <p:ph type="ftr" sz="quarter"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all" spc="0" normalizeH="0" baseline="0" noProof="0" dirty="0">
                <a:ln>
                  <a:noFill/>
                </a:ln>
                <a:solidFill>
                  <a:srgbClr val="38414A"/>
                </a:solidFill>
                <a:effectLst/>
                <a:uLnTx/>
                <a:uFillTx/>
                <a:latin typeface="Verdana"/>
                <a:ea typeface="+mn-ea"/>
                <a:cs typeface="+mn-cs"/>
              </a:rPr>
              <a:t>TITEL DER PRÄSENTATION | TITEL VORNAME NAME</a:t>
            </a:r>
          </a:p>
        </p:txBody>
      </p:sp>
      <p:sp>
        <p:nvSpPr>
          <p:cNvPr id="4" name="Foliennummernplatzhalter 3">
            <a:extLst>
              <a:ext uri="{FF2B5EF4-FFF2-40B4-BE49-F238E27FC236}">
                <a16:creationId xmlns:a16="http://schemas.microsoft.com/office/drawing/2014/main" id="{6F0F3D92-6905-4E0A-8342-A03F733B35F7}"/>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9C37E-8A19-4E30-BE2B-5A966AD23C7A}" type="slidenum">
              <a:rPr kumimoji="0" lang="de-DE" sz="800" b="0" i="0" u="none" strike="noStrike" kern="1200" cap="none" spc="0" normalizeH="0" baseline="0" noProof="0" smtClean="0">
                <a:ln>
                  <a:noFill/>
                </a:ln>
                <a:solidFill>
                  <a:srgbClr val="38414A"/>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de-DE" sz="800" b="0" i="0" u="none" strike="noStrike" kern="1200" cap="none" spc="0" normalizeH="0" baseline="0" noProof="0" dirty="0">
              <a:ln>
                <a:noFill/>
              </a:ln>
              <a:solidFill>
                <a:srgbClr val="38414A"/>
              </a:solidFill>
              <a:effectLst/>
              <a:uLnTx/>
              <a:uFillTx/>
              <a:latin typeface="Verdana"/>
              <a:ea typeface="+mn-ea"/>
              <a:cs typeface="+mn-cs"/>
            </a:endParaRPr>
          </a:p>
        </p:txBody>
      </p:sp>
      <p:pic>
        <p:nvPicPr>
          <p:cNvPr id="105" name="Grafik 104">
            <a:extLst>
              <a:ext uri="{FF2B5EF4-FFF2-40B4-BE49-F238E27FC236}">
                <a16:creationId xmlns:a16="http://schemas.microsoft.com/office/drawing/2014/main" id="{10A29B5C-92C1-48AF-AE84-F09962E40D3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bwMode="gray">
          <a:xfrm>
            <a:off x="10632000" y="1989138"/>
            <a:ext cx="720000" cy="720000"/>
          </a:xfrm>
          <a:prstGeom prst="rect">
            <a:avLst/>
          </a:prstGeom>
          <a:noFill/>
        </p:spPr>
      </p:pic>
      <p:pic>
        <p:nvPicPr>
          <p:cNvPr id="106" name="Grafik 105">
            <a:extLst>
              <a:ext uri="{FF2B5EF4-FFF2-40B4-BE49-F238E27FC236}">
                <a16:creationId xmlns:a16="http://schemas.microsoft.com/office/drawing/2014/main" id="{72E8A7BA-B4E1-4087-86FB-0A9FD7082D87}"/>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bwMode="gray">
          <a:xfrm>
            <a:off x="336000" y="2781000"/>
            <a:ext cx="720000" cy="720000"/>
          </a:xfrm>
          <a:prstGeom prst="rect">
            <a:avLst/>
          </a:prstGeom>
          <a:noFill/>
        </p:spPr>
      </p:pic>
      <p:pic>
        <p:nvPicPr>
          <p:cNvPr id="107" name="Grafik 106">
            <a:extLst>
              <a:ext uri="{FF2B5EF4-FFF2-40B4-BE49-F238E27FC236}">
                <a16:creationId xmlns:a16="http://schemas.microsoft.com/office/drawing/2014/main" id="{11B71FC6-8BA4-4619-9AB2-280BE416E3F0}"/>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bwMode="gray">
          <a:xfrm>
            <a:off x="1128000" y="2781000"/>
            <a:ext cx="720000" cy="720000"/>
          </a:xfrm>
          <a:prstGeom prst="rect">
            <a:avLst/>
          </a:prstGeom>
          <a:noFill/>
        </p:spPr>
      </p:pic>
      <p:pic>
        <p:nvPicPr>
          <p:cNvPr id="108" name="Grafik 107">
            <a:extLst>
              <a:ext uri="{FF2B5EF4-FFF2-40B4-BE49-F238E27FC236}">
                <a16:creationId xmlns:a16="http://schemas.microsoft.com/office/drawing/2014/main" id="{FD1F16C5-5669-4BAE-AC73-6D31411E1214}"/>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bwMode="gray">
          <a:xfrm>
            <a:off x="1920000" y="2781000"/>
            <a:ext cx="720000" cy="720000"/>
          </a:xfrm>
          <a:prstGeom prst="rect">
            <a:avLst/>
          </a:prstGeom>
          <a:noFill/>
        </p:spPr>
      </p:pic>
      <p:pic>
        <p:nvPicPr>
          <p:cNvPr id="109" name="Grafik 108">
            <a:extLst>
              <a:ext uri="{FF2B5EF4-FFF2-40B4-BE49-F238E27FC236}">
                <a16:creationId xmlns:a16="http://schemas.microsoft.com/office/drawing/2014/main" id="{8A0B8548-39A6-432A-BCF6-68C67E946062}"/>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bwMode="gray">
          <a:xfrm>
            <a:off x="2712000" y="2781000"/>
            <a:ext cx="720000" cy="720000"/>
          </a:xfrm>
          <a:prstGeom prst="rect">
            <a:avLst/>
          </a:prstGeom>
          <a:noFill/>
        </p:spPr>
      </p:pic>
      <p:pic>
        <p:nvPicPr>
          <p:cNvPr id="110" name="Grafik 109">
            <a:extLst>
              <a:ext uri="{FF2B5EF4-FFF2-40B4-BE49-F238E27FC236}">
                <a16:creationId xmlns:a16="http://schemas.microsoft.com/office/drawing/2014/main" id="{E910F74A-DF07-46D5-8461-A89FAB30E92F}"/>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bwMode="gray">
          <a:xfrm>
            <a:off x="4296000" y="2781000"/>
            <a:ext cx="720000" cy="720000"/>
          </a:xfrm>
          <a:prstGeom prst="rect">
            <a:avLst/>
          </a:prstGeom>
          <a:noFill/>
        </p:spPr>
      </p:pic>
      <p:pic>
        <p:nvPicPr>
          <p:cNvPr id="111" name="Grafik 110">
            <a:extLst>
              <a:ext uri="{FF2B5EF4-FFF2-40B4-BE49-F238E27FC236}">
                <a16:creationId xmlns:a16="http://schemas.microsoft.com/office/drawing/2014/main" id="{32556A42-E1C4-4C36-A8CD-3D3CA8A65CD6}"/>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bwMode="gray">
          <a:xfrm>
            <a:off x="5088000" y="2781000"/>
            <a:ext cx="720000" cy="720000"/>
          </a:xfrm>
          <a:prstGeom prst="rect">
            <a:avLst/>
          </a:prstGeom>
          <a:noFill/>
        </p:spPr>
      </p:pic>
      <p:pic>
        <p:nvPicPr>
          <p:cNvPr id="112" name="Grafik 111">
            <a:extLst>
              <a:ext uri="{FF2B5EF4-FFF2-40B4-BE49-F238E27FC236}">
                <a16:creationId xmlns:a16="http://schemas.microsoft.com/office/drawing/2014/main" id="{E26A0ADC-FFEC-4114-9D28-E85F7EA33087}"/>
              </a:ext>
            </a:extLst>
          </p:cNvPr>
          <p:cNvPicPr>
            <a:picLocks noChangeAspect="1"/>
          </p:cNvPicPr>
          <p:nvPr/>
        </p:nvPicPr>
        <p:blipFill>
          <a:blip r:embed="rId12" cstate="screen">
            <a:extLst>
              <a:ext uri="{28A0092B-C50C-407E-A947-70E740481C1C}">
                <a14:useLocalDpi xmlns:a14="http://schemas.microsoft.com/office/drawing/2010/main"/>
              </a:ext>
            </a:extLst>
          </a:blip>
          <a:srcRect/>
          <a:stretch/>
        </p:blipFill>
        <p:spPr bwMode="gray">
          <a:xfrm>
            <a:off x="5880000" y="2781000"/>
            <a:ext cx="720000" cy="720000"/>
          </a:xfrm>
          <a:prstGeom prst="rect">
            <a:avLst/>
          </a:prstGeom>
          <a:noFill/>
        </p:spPr>
      </p:pic>
      <p:pic>
        <p:nvPicPr>
          <p:cNvPr id="113" name="Grafik 112">
            <a:extLst>
              <a:ext uri="{FF2B5EF4-FFF2-40B4-BE49-F238E27FC236}">
                <a16:creationId xmlns:a16="http://schemas.microsoft.com/office/drawing/2014/main" id="{EFA00239-6426-437D-8B0B-4A2B459B2A1A}"/>
              </a:ext>
            </a:extLst>
          </p:cNvPr>
          <p:cNvPicPr>
            <a:picLocks noChangeAspect="1"/>
          </p:cNvPicPr>
          <p:nvPr/>
        </p:nvPicPr>
        <p:blipFill>
          <a:blip r:embed="rId13" cstate="screen">
            <a:extLst>
              <a:ext uri="{28A0092B-C50C-407E-A947-70E740481C1C}">
                <a14:useLocalDpi xmlns:a14="http://schemas.microsoft.com/office/drawing/2010/main"/>
              </a:ext>
            </a:extLst>
          </a:blip>
          <a:srcRect/>
          <a:stretch/>
        </p:blipFill>
        <p:spPr bwMode="gray">
          <a:xfrm>
            <a:off x="6672000" y="2781000"/>
            <a:ext cx="720000" cy="720000"/>
          </a:xfrm>
          <a:prstGeom prst="rect">
            <a:avLst/>
          </a:prstGeom>
          <a:noFill/>
        </p:spPr>
      </p:pic>
      <p:pic>
        <p:nvPicPr>
          <p:cNvPr id="114" name="Grafik 113">
            <a:extLst>
              <a:ext uri="{FF2B5EF4-FFF2-40B4-BE49-F238E27FC236}">
                <a16:creationId xmlns:a16="http://schemas.microsoft.com/office/drawing/2014/main" id="{EED1631A-9054-459C-826B-9EEB3DB7649E}"/>
              </a:ext>
            </a:extLst>
          </p:cNvPr>
          <p:cNvPicPr>
            <a:picLocks noChangeAspect="1"/>
          </p:cNvPicPr>
          <p:nvPr/>
        </p:nvPicPr>
        <p:blipFill>
          <a:blip r:embed="rId14" cstate="screen">
            <a:extLst>
              <a:ext uri="{28A0092B-C50C-407E-A947-70E740481C1C}">
                <a14:useLocalDpi xmlns:a14="http://schemas.microsoft.com/office/drawing/2010/main"/>
              </a:ext>
            </a:extLst>
          </a:blip>
          <a:srcRect/>
          <a:stretch/>
        </p:blipFill>
        <p:spPr bwMode="gray">
          <a:xfrm>
            <a:off x="7464000" y="2781000"/>
            <a:ext cx="720000" cy="720000"/>
          </a:xfrm>
          <a:prstGeom prst="rect">
            <a:avLst/>
          </a:prstGeom>
          <a:noFill/>
        </p:spPr>
      </p:pic>
      <p:pic>
        <p:nvPicPr>
          <p:cNvPr id="115" name="Grafik 114">
            <a:extLst>
              <a:ext uri="{FF2B5EF4-FFF2-40B4-BE49-F238E27FC236}">
                <a16:creationId xmlns:a16="http://schemas.microsoft.com/office/drawing/2014/main" id="{10C7B1CD-E3CD-4CA9-A97D-806BC52AB6ED}"/>
              </a:ext>
            </a:extLst>
          </p:cNvPr>
          <p:cNvPicPr>
            <a:picLocks noChangeAspect="1"/>
          </p:cNvPicPr>
          <p:nvPr/>
        </p:nvPicPr>
        <p:blipFill>
          <a:blip r:embed="rId15" cstate="screen">
            <a:extLst>
              <a:ext uri="{28A0092B-C50C-407E-A947-70E740481C1C}">
                <a14:useLocalDpi xmlns:a14="http://schemas.microsoft.com/office/drawing/2010/main"/>
              </a:ext>
            </a:extLst>
          </a:blip>
          <a:srcRect/>
          <a:stretch/>
        </p:blipFill>
        <p:spPr bwMode="gray">
          <a:xfrm>
            <a:off x="8256000" y="2781000"/>
            <a:ext cx="720000" cy="720000"/>
          </a:xfrm>
          <a:prstGeom prst="rect">
            <a:avLst/>
          </a:prstGeom>
          <a:noFill/>
        </p:spPr>
      </p:pic>
      <p:pic>
        <p:nvPicPr>
          <p:cNvPr id="116" name="Grafik 115">
            <a:extLst>
              <a:ext uri="{FF2B5EF4-FFF2-40B4-BE49-F238E27FC236}">
                <a16:creationId xmlns:a16="http://schemas.microsoft.com/office/drawing/2014/main" id="{04CE3706-F547-43B3-AB16-170AE2E25413}"/>
              </a:ext>
            </a:extLst>
          </p:cNvPr>
          <p:cNvPicPr>
            <a:picLocks noChangeAspect="1"/>
          </p:cNvPicPr>
          <p:nvPr/>
        </p:nvPicPr>
        <p:blipFill>
          <a:blip r:embed="rId16" cstate="screen">
            <a:extLst>
              <a:ext uri="{28A0092B-C50C-407E-A947-70E740481C1C}">
                <a14:useLocalDpi xmlns:a14="http://schemas.microsoft.com/office/drawing/2010/main"/>
              </a:ext>
            </a:extLst>
          </a:blip>
          <a:srcRect/>
          <a:stretch/>
        </p:blipFill>
        <p:spPr bwMode="gray">
          <a:xfrm>
            <a:off x="9048000" y="2781000"/>
            <a:ext cx="720000" cy="720000"/>
          </a:xfrm>
          <a:prstGeom prst="rect">
            <a:avLst/>
          </a:prstGeom>
          <a:noFill/>
        </p:spPr>
      </p:pic>
      <p:pic>
        <p:nvPicPr>
          <p:cNvPr id="117" name="Grafik 116">
            <a:extLst>
              <a:ext uri="{FF2B5EF4-FFF2-40B4-BE49-F238E27FC236}">
                <a16:creationId xmlns:a16="http://schemas.microsoft.com/office/drawing/2014/main" id="{FC130E6C-EC23-4FB5-B823-F323287E3413}"/>
              </a:ext>
            </a:extLst>
          </p:cNvPr>
          <p:cNvPicPr>
            <a:picLocks noChangeAspect="1"/>
          </p:cNvPicPr>
          <p:nvPr/>
        </p:nvPicPr>
        <p:blipFill>
          <a:blip r:embed="rId17" cstate="screen">
            <a:extLst>
              <a:ext uri="{28A0092B-C50C-407E-A947-70E740481C1C}">
                <a14:useLocalDpi xmlns:a14="http://schemas.microsoft.com/office/drawing/2010/main"/>
              </a:ext>
            </a:extLst>
          </a:blip>
          <a:srcRect/>
          <a:stretch/>
        </p:blipFill>
        <p:spPr bwMode="gray">
          <a:xfrm>
            <a:off x="9840000" y="2781000"/>
            <a:ext cx="720000" cy="720000"/>
          </a:xfrm>
          <a:prstGeom prst="rect">
            <a:avLst/>
          </a:prstGeom>
          <a:noFill/>
        </p:spPr>
      </p:pic>
      <p:pic>
        <p:nvPicPr>
          <p:cNvPr id="118" name="Grafik 117">
            <a:extLst>
              <a:ext uri="{FF2B5EF4-FFF2-40B4-BE49-F238E27FC236}">
                <a16:creationId xmlns:a16="http://schemas.microsoft.com/office/drawing/2014/main" id="{543AD7C9-11F4-4147-A53C-B1AD87BAE485}"/>
              </a:ext>
            </a:extLst>
          </p:cNvPr>
          <p:cNvPicPr>
            <a:picLocks noChangeAspect="1"/>
          </p:cNvPicPr>
          <p:nvPr/>
        </p:nvPicPr>
        <p:blipFill>
          <a:blip r:embed="rId18" cstate="screen">
            <a:extLst>
              <a:ext uri="{28A0092B-C50C-407E-A947-70E740481C1C}">
                <a14:useLocalDpi xmlns:a14="http://schemas.microsoft.com/office/drawing/2010/main"/>
              </a:ext>
            </a:extLst>
          </a:blip>
          <a:srcRect/>
          <a:stretch/>
        </p:blipFill>
        <p:spPr bwMode="gray">
          <a:xfrm>
            <a:off x="10632000" y="2781000"/>
            <a:ext cx="720000" cy="720000"/>
          </a:xfrm>
          <a:prstGeom prst="rect">
            <a:avLst/>
          </a:prstGeom>
          <a:noFill/>
        </p:spPr>
      </p:pic>
      <p:pic>
        <p:nvPicPr>
          <p:cNvPr id="119" name="Grafik 118">
            <a:extLst>
              <a:ext uri="{FF2B5EF4-FFF2-40B4-BE49-F238E27FC236}">
                <a16:creationId xmlns:a16="http://schemas.microsoft.com/office/drawing/2014/main" id="{850DD12E-AE63-425C-910F-A3EB4CBE4FAB}"/>
              </a:ext>
            </a:extLst>
          </p:cNvPr>
          <p:cNvPicPr>
            <a:picLocks noChangeAspect="1"/>
          </p:cNvPicPr>
          <p:nvPr/>
        </p:nvPicPr>
        <p:blipFill>
          <a:blip r:embed="rId19" cstate="screen">
            <a:extLst>
              <a:ext uri="{28A0092B-C50C-407E-A947-70E740481C1C}">
                <a14:useLocalDpi xmlns:a14="http://schemas.microsoft.com/office/drawing/2010/main"/>
              </a:ext>
            </a:extLst>
          </a:blip>
          <a:srcRect/>
          <a:stretch/>
        </p:blipFill>
        <p:spPr bwMode="gray">
          <a:xfrm>
            <a:off x="336000" y="3573000"/>
            <a:ext cx="720000" cy="720000"/>
          </a:xfrm>
          <a:prstGeom prst="rect">
            <a:avLst/>
          </a:prstGeom>
          <a:noFill/>
        </p:spPr>
      </p:pic>
      <p:pic>
        <p:nvPicPr>
          <p:cNvPr id="120" name="Grafik 119">
            <a:extLst>
              <a:ext uri="{FF2B5EF4-FFF2-40B4-BE49-F238E27FC236}">
                <a16:creationId xmlns:a16="http://schemas.microsoft.com/office/drawing/2014/main" id="{5E32EF1B-7496-4E04-B0B1-4B24680E956E}"/>
              </a:ext>
            </a:extLst>
          </p:cNvPr>
          <p:cNvPicPr>
            <a:picLocks noChangeAspect="1"/>
          </p:cNvPicPr>
          <p:nvPr/>
        </p:nvPicPr>
        <p:blipFill>
          <a:blip r:embed="rId20" cstate="screen">
            <a:extLst>
              <a:ext uri="{28A0092B-C50C-407E-A947-70E740481C1C}">
                <a14:useLocalDpi xmlns:a14="http://schemas.microsoft.com/office/drawing/2010/main"/>
              </a:ext>
            </a:extLst>
          </a:blip>
          <a:srcRect/>
          <a:stretch/>
        </p:blipFill>
        <p:spPr bwMode="gray">
          <a:xfrm>
            <a:off x="1128000" y="3573000"/>
            <a:ext cx="720000" cy="720000"/>
          </a:xfrm>
          <a:prstGeom prst="rect">
            <a:avLst/>
          </a:prstGeom>
          <a:noFill/>
        </p:spPr>
      </p:pic>
      <p:pic>
        <p:nvPicPr>
          <p:cNvPr id="121" name="Grafik 120">
            <a:extLst>
              <a:ext uri="{FF2B5EF4-FFF2-40B4-BE49-F238E27FC236}">
                <a16:creationId xmlns:a16="http://schemas.microsoft.com/office/drawing/2014/main" id="{AA4C18CC-3796-41E8-8209-2BCFB968E710}"/>
              </a:ext>
            </a:extLst>
          </p:cNvPr>
          <p:cNvPicPr>
            <a:picLocks noChangeAspect="1"/>
          </p:cNvPicPr>
          <p:nvPr/>
        </p:nvPicPr>
        <p:blipFill>
          <a:blip r:embed="rId21" cstate="screen">
            <a:extLst>
              <a:ext uri="{28A0092B-C50C-407E-A947-70E740481C1C}">
                <a14:useLocalDpi xmlns:a14="http://schemas.microsoft.com/office/drawing/2010/main"/>
              </a:ext>
            </a:extLst>
          </a:blip>
          <a:srcRect/>
          <a:stretch/>
        </p:blipFill>
        <p:spPr bwMode="gray">
          <a:xfrm>
            <a:off x="1920000" y="3573000"/>
            <a:ext cx="720000" cy="720000"/>
          </a:xfrm>
          <a:prstGeom prst="rect">
            <a:avLst/>
          </a:prstGeom>
          <a:noFill/>
        </p:spPr>
      </p:pic>
      <p:pic>
        <p:nvPicPr>
          <p:cNvPr id="122" name="Grafik 121">
            <a:extLst>
              <a:ext uri="{FF2B5EF4-FFF2-40B4-BE49-F238E27FC236}">
                <a16:creationId xmlns:a16="http://schemas.microsoft.com/office/drawing/2014/main" id="{35C368B7-C842-48B1-AAE3-304797703A2D}"/>
              </a:ext>
            </a:extLst>
          </p:cNvPr>
          <p:cNvPicPr>
            <a:picLocks noChangeAspect="1"/>
          </p:cNvPicPr>
          <p:nvPr/>
        </p:nvPicPr>
        <p:blipFill>
          <a:blip r:embed="rId22" cstate="screen">
            <a:extLst>
              <a:ext uri="{28A0092B-C50C-407E-A947-70E740481C1C}">
                <a14:useLocalDpi xmlns:a14="http://schemas.microsoft.com/office/drawing/2010/main"/>
              </a:ext>
            </a:extLst>
          </a:blip>
          <a:srcRect/>
          <a:stretch/>
        </p:blipFill>
        <p:spPr bwMode="gray">
          <a:xfrm>
            <a:off x="2712000" y="3573000"/>
            <a:ext cx="720000" cy="720000"/>
          </a:xfrm>
          <a:prstGeom prst="rect">
            <a:avLst/>
          </a:prstGeom>
          <a:noFill/>
        </p:spPr>
      </p:pic>
      <p:pic>
        <p:nvPicPr>
          <p:cNvPr id="123" name="Grafik 122">
            <a:extLst>
              <a:ext uri="{FF2B5EF4-FFF2-40B4-BE49-F238E27FC236}">
                <a16:creationId xmlns:a16="http://schemas.microsoft.com/office/drawing/2014/main" id="{4D2B0FDA-D181-4B37-A93D-F6F37FD99DBB}"/>
              </a:ext>
            </a:extLst>
          </p:cNvPr>
          <p:cNvPicPr>
            <a:picLocks noChangeAspect="1"/>
          </p:cNvPicPr>
          <p:nvPr/>
        </p:nvPicPr>
        <p:blipFill>
          <a:blip r:embed="rId23" cstate="screen">
            <a:extLst>
              <a:ext uri="{28A0092B-C50C-407E-A947-70E740481C1C}">
                <a14:useLocalDpi xmlns:a14="http://schemas.microsoft.com/office/drawing/2010/main"/>
              </a:ext>
            </a:extLst>
          </a:blip>
          <a:srcRect/>
          <a:stretch/>
        </p:blipFill>
        <p:spPr bwMode="gray">
          <a:xfrm>
            <a:off x="3504000" y="3573000"/>
            <a:ext cx="720000" cy="720000"/>
          </a:xfrm>
          <a:prstGeom prst="rect">
            <a:avLst/>
          </a:prstGeom>
          <a:noFill/>
        </p:spPr>
      </p:pic>
      <p:pic>
        <p:nvPicPr>
          <p:cNvPr id="124" name="Grafik 123">
            <a:extLst>
              <a:ext uri="{FF2B5EF4-FFF2-40B4-BE49-F238E27FC236}">
                <a16:creationId xmlns:a16="http://schemas.microsoft.com/office/drawing/2014/main" id="{DFFD12A5-9ABD-4292-93C8-C5CBAA860760}"/>
              </a:ext>
            </a:extLst>
          </p:cNvPr>
          <p:cNvPicPr>
            <a:picLocks noChangeAspect="1"/>
          </p:cNvPicPr>
          <p:nvPr/>
        </p:nvPicPr>
        <p:blipFill>
          <a:blip r:embed="rId24" cstate="screen">
            <a:extLst>
              <a:ext uri="{28A0092B-C50C-407E-A947-70E740481C1C}">
                <a14:useLocalDpi xmlns:a14="http://schemas.microsoft.com/office/drawing/2010/main"/>
              </a:ext>
            </a:extLst>
          </a:blip>
          <a:srcRect/>
          <a:stretch/>
        </p:blipFill>
        <p:spPr bwMode="gray">
          <a:xfrm>
            <a:off x="4296000" y="3573000"/>
            <a:ext cx="720000" cy="720000"/>
          </a:xfrm>
          <a:prstGeom prst="rect">
            <a:avLst/>
          </a:prstGeom>
          <a:noFill/>
        </p:spPr>
      </p:pic>
      <p:pic>
        <p:nvPicPr>
          <p:cNvPr id="125" name="Grafik 124">
            <a:extLst>
              <a:ext uri="{FF2B5EF4-FFF2-40B4-BE49-F238E27FC236}">
                <a16:creationId xmlns:a16="http://schemas.microsoft.com/office/drawing/2014/main" id="{287DF7C9-B60A-43FB-93AB-C38CFD3658EC}"/>
              </a:ext>
            </a:extLst>
          </p:cNvPr>
          <p:cNvPicPr>
            <a:picLocks noChangeAspect="1"/>
          </p:cNvPicPr>
          <p:nvPr/>
        </p:nvPicPr>
        <p:blipFill>
          <a:blip r:embed="rId25" cstate="screen">
            <a:extLst>
              <a:ext uri="{28A0092B-C50C-407E-A947-70E740481C1C}">
                <a14:useLocalDpi xmlns:a14="http://schemas.microsoft.com/office/drawing/2010/main"/>
              </a:ext>
            </a:extLst>
          </a:blip>
          <a:srcRect/>
          <a:stretch/>
        </p:blipFill>
        <p:spPr bwMode="gray">
          <a:xfrm>
            <a:off x="5088000" y="3573000"/>
            <a:ext cx="720000" cy="720000"/>
          </a:xfrm>
          <a:prstGeom prst="rect">
            <a:avLst/>
          </a:prstGeom>
          <a:noFill/>
        </p:spPr>
      </p:pic>
      <p:pic>
        <p:nvPicPr>
          <p:cNvPr id="126" name="Grafik 125">
            <a:extLst>
              <a:ext uri="{FF2B5EF4-FFF2-40B4-BE49-F238E27FC236}">
                <a16:creationId xmlns:a16="http://schemas.microsoft.com/office/drawing/2014/main" id="{707A0370-AD56-4C06-B372-76439F605CA5}"/>
              </a:ext>
            </a:extLst>
          </p:cNvPr>
          <p:cNvPicPr>
            <a:picLocks noChangeAspect="1"/>
          </p:cNvPicPr>
          <p:nvPr/>
        </p:nvPicPr>
        <p:blipFill>
          <a:blip r:embed="rId26" cstate="screen">
            <a:extLst>
              <a:ext uri="{28A0092B-C50C-407E-A947-70E740481C1C}">
                <a14:useLocalDpi xmlns:a14="http://schemas.microsoft.com/office/drawing/2010/main"/>
              </a:ext>
            </a:extLst>
          </a:blip>
          <a:srcRect/>
          <a:stretch/>
        </p:blipFill>
        <p:spPr bwMode="gray">
          <a:xfrm>
            <a:off x="5880000" y="3573000"/>
            <a:ext cx="720000" cy="720000"/>
          </a:xfrm>
          <a:prstGeom prst="rect">
            <a:avLst/>
          </a:prstGeom>
          <a:noFill/>
        </p:spPr>
      </p:pic>
      <p:pic>
        <p:nvPicPr>
          <p:cNvPr id="127" name="Grafik 126">
            <a:extLst>
              <a:ext uri="{FF2B5EF4-FFF2-40B4-BE49-F238E27FC236}">
                <a16:creationId xmlns:a16="http://schemas.microsoft.com/office/drawing/2014/main" id="{EC1E0ADC-E9D9-4345-A702-E2B4A235C062}"/>
              </a:ext>
            </a:extLst>
          </p:cNvPr>
          <p:cNvPicPr>
            <a:picLocks noChangeAspect="1"/>
          </p:cNvPicPr>
          <p:nvPr/>
        </p:nvPicPr>
        <p:blipFill>
          <a:blip r:embed="rId27" cstate="screen">
            <a:extLst>
              <a:ext uri="{28A0092B-C50C-407E-A947-70E740481C1C}">
                <a14:useLocalDpi xmlns:a14="http://schemas.microsoft.com/office/drawing/2010/main"/>
              </a:ext>
            </a:extLst>
          </a:blip>
          <a:srcRect/>
          <a:stretch/>
        </p:blipFill>
        <p:spPr bwMode="gray">
          <a:xfrm>
            <a:off x="6672000" y="3573000"/>
            <a:ext cx="720000" cy="720000"/>
          </a:xfrm>
          <a:prstGeom prst="rect">
            <a:avLst/>
          </a:prstGeom>
          <a:noFill/>
        </p:spPr>
      </p:pic>
      <p:pic>
        <p:nvPicPr>
          <p:cNvPr id="128" name="Grafik 127">
            <a:extLst>
              <a:ext uri="{FF2B5EF4-FFF2-40B4-BE49-F238E27FC236}">
                <a16:creationId xmlns:a16="http://schemas.microsoft.com/office/drawing/2014/main" id="{9780CA18-994C-4F5B-BC23-38D30AFBEDE1}"/>
              </a:ext>
            </a:extLst>
          </p:cNvPr>
          <p:cNvPicPr>
            <a:picLocks noChangeAspect="1"/>
          </p:cNvPicPr>
          <p:nvPr/>
        </p:nvPicPr>
        <p:blipFill>
          <a:blip r:embed="rId28" cstate="screen">
            <a:extLst>
              <a:ext uri="{28A0092B-C50C-407E-A947-70E740481C1C}">
                <a14:useLocalDpi xmlns:a14="http://schemas.microsoft.com/office/drawing/2010/main"/>
              </a:ext>
            </a:extLst>
          </a:blip>
          <a:srcRect/>
          <a:stretch/>
        </p:blipFill>
        <p:spPr bwMode="gray">
          <a:xfrm>
            <a:off x="7464000" y="3573000"/>
            <a:ext cx="720000" cy="720000"/>
          </a:xfrm>
          <a:prstGeom prst="rect">
            <a:avLst/>
          </a:prstGeom>
          <a:noFill/>
        </p:spPr>
      </p:pic>
      <p:pic>
        <p:nvPicPr>
          <p:cNvPr id="129" name="Grafik 128">
            <a:extLst>
              <a:ext uri="{FF2B5EF4-FFF2-40B4-BE49-F238E27FC236}">
                <a16:creationId xmlns:a16="http://schemas.microsoft.com/office/drawing/2014/main" id="{5014D5E5-FABB-4CFC-8897-DC6963071081}"/>
              </a:ext>
            </a:extLst>
          </p:cNvPr>
          <p:cNvPicPr>
            <a:picLocks noChangeAspect="1"/>
          </p:cNvPicPr>
          <p:nvPr/>
        </p:nvPicPr>
        <p:blipFill>
          <a:blip r:embed="rId29" cstate="screen">
            <a:extLst>
              <a:ext uri="{28A0092B-C50C-407E-A947-70E740481C1C}">
                <a14:useLocalDpi xmlns:a14="http://schemas.microsoft.com/office/drawing/2010/main"/>
              </a:ext>
            </a:extLst>
          </a:blip>
          <a:srcRect/>
          <a:stretch/>
        </p:blipFill>
        <p:spPr bwMode="gray">
          <a:xfrm>
            <a:off x="8256000" y="3573000"/>
            <a:ext cx="720000" cy="720000"/>
          </a:xfrm>
          <a:prstGeom prst="rect">
            <a:avLst/>
          </a:prstGeom>
          <a:noFill/>
        </p:spPr>
      </p:pic>
      <p:pic>
        <p:nvPicPr>
          <p:cNvPr id="130" name="Grafik 129">
            <a:extLst>
              <a:ext uri="{FF2B5EF4-FFF2-40B4-BE49-F238E27FC236}">
                <a16:creationId xmlns:a16="http://schemas.microsoft.com/office/drawing/2014/main" id="{A91B9030-A13A-4240-9460-09BA8730B3D8}"/>
              </a:ext>
            </a:extLst>
          </p:cNvPr>
          <p:cNvPicPr>
            <a:picLocks noChangeAspect="1"/>
          </p:cNvPicPr>
          <p:nvPr/>
        </p:nvPicPr>
        <p:blipFill>
          <a:blip r:embed="rId30" cstate="screen">
            <a:extLst>
              <a:ext uri="{28A0092B-C50C-407E-A947-70E740481C1C}">
                <a14:useLocalDpi xmlns:a14="http://schemas.microsoft.com/office/drawing/2010/main"/>
              </a:ext>
            </a:extLst>
          </a:blip>
          <a:srcRect/>
          <a:stretch/>
        </p:blipFill>
        <p:spPr bwMode="gray">
          <a:xfrm>
            <a:off x="9048000" y="3573000"/>
            <a:ext cx="720000" cy="720000"/>
          </a:xfrm>
          <a:prstGeom prst="rect">
            <a:avLst/>
          </a:prstGeom>
          <a:noFill/>
        </p:spPr>
      </p:pic>
      <p:pic>
        <p:nvPicPr>
          <p:cNvPr id="131" name="Grafik 130">
            <a:extLst>
              <a:ext uri="{FF2B5EF4-FFF2-40B4-BE49-F238E27FC236}">
                <a16:creationId xmlns:a16="http://schemas.microsoft.com/office/drawing/2014/main" id="{3B059CC8-E7A1-4D2F-8BD7-B6E6AE4B9518}"/>
              </a:ext>
            </a:extLst>
          </p:cNvPr>
          <p:cNvPicPr>
            <a:picLocks noChangeAspect="1"/>
          </p:cNvPicPr>
          <p:nvPr/>
        </p:nvPicPr>
        <p:blipFill>
          <a:blip r:embed="rId31" cstate="screen">
            <a:extLst>
              <a:ext uri="{28A0092B-C50C-407E-A947-70E740481C1C}">
                <a14:useLocalDpi xmlns:a14="http://schemas.microsoft.com/office/drawing/2010/main"/>
              </a:ext>
            </a:extLst>
          </a:blip>
          <a:srcRect/>
          <a:stretch/>
        </p:blipFill>
        <p:spPr bwMode="gray">
          <a:xfrm>
            <a:off x="9840000" y="3573000"/>
            <a:ext cx="720000" cy="720000"/>
          </a:xfrm>
          <a:prstGeom prst="rect">
            <a:avLst/>
          </a:prstGeom>
          <a:noFill/>
        </p:spPr>
      </p:pic>
      <p:pic>
        <p:nvPicPr>
          <p:cNvPr id="132" name="Grafik 131">
            <a:extLst>
              <a:ext uri="{FF2B5EF4-FFF2-40B4-BE49-F238E27FC236}">
                <a16:creationId xmlns:a16="http://schemas.microsoft.com/office/drawing/2014/main" id="{1C16D0F0-C5AF-464A-A3B7-959B7B53AEC2}"/>
              </a:ext>
            </a:extLst>
          </p:cNvPr>
          <p:cNvPicPr>
            <a:picLocks noChangeAspect="1"/>
          </p:cNvPicPr>
          <p:nvPr/>
        </p:nvPicPr>
        <p:blipFill>
          <a:blip r:embed="rId32" cstate="screen">
            <a:extLst>
              <a:ext uri="{28A0092B-C50C-407E-A947-70E740481C1C}">
                <a14:useLocalDpi xmlns:a14="http://schemas.microsoft.com/office/drawing/2010/main"/>
              </a:ext>
            </a:extLst>
          </a:blip>
          <a:srcRect/>
          <a:stretch/>
        </p:blipFill>
        <p:spPr bwMode="gray">
          <a:xfrm>
            <a:off x="10632000" y="3573000"/>
            <a:ext cx="720000" cy="720000"/>
          </a:xfrm>
          <a:prstGeom prst="rect">
            <a:avLst/>
          </a:prstGeom>
          <a:noFill/>
        </p:spPr>
      </p:pic>
      <p:pic>
        <p:nvPicPr>
          <p:cNvPr id="133" name="Grafik 132">
            <a:extLst>
              <a:ext uri="{FF2B5EF4-FFF2-40B4-BE49-F238E27FC236}">
                <a16:creationId xmlns:a16="http://schemas.microsoft.com/office/drawing/2014/main" id="{877297AA-45C3-4E61-A4D9-6D4AD059C7F2}"/>
              </a:ext>
            </a:extLst>
          </p:cNvPr>
          <p:cNvPicPr>
            <a:picLocks noChangeAspect="1"/>
          </p:cNvPicPr>
          <p:nvPr/>
        </p:nvPicPr>
        <p:blipFill>
          <a:blip r:embed="rId33" cstate="screen">
            <a:extLst>
              <a:ext uri="{28A0092B-C50C-407E-A947-70E740481C1C}">
                <a14:useLocalDpi xmlns:a14="http://schemas.microsoft.com/office/drawing/2010/main"/>
              </a:ext>
            </a:extLst>
          </a:blip>
          <a:srcRect/>
          <a:stretch/>
        </p:blipFill>
        <p:spPr bwMode="gray">
          <a:xfrm>
            <a:off x="336000" y="4365000"/>
            <a:ext cx="720000" cy="720000"/>
          </a:xfrm>
          <a:prstGeom prst="rect">
            <a:avLst/>
          </a:prstGeom>
          <a:noFill/>
        </p:spPr>
      </p:pic>
      <p:pic>
        <p:nvPicPr>
          <p:cNvPr id="134" name="Grafik 133">
            <a:extLst>
              <a:ext uri="{FF2B5EF4-FFF2-40B4-BE49-F238E27FC236}">
                <a16:creationId xmlns:a16="http://schemas.microsoft.com/office/drawing/2014/main" id="{C04815F6-F72C-4ED1-99D0-295977B100F9}"/>
              </a:ext>
            </a:extLst>
          </p:cNvPr>
          <p:cNvPicPr>
            <a:picLocks noChangeAspect="1"/>
          </p:cNvPicPr>
          <p:nvPr/>
        </p:nvPicPr>
        <p:blipFill>
          <a:blip r:embed="rId34" cstate="screen">
            <a:extLst>
              <a:ext uri="{28A0092B-C50C-407E-A947-70E740481C1C}">
                <a14:useLocalDpi xmlns:a14="http://schemas.microsoft.com/office/drawing/2010/main"/>
              </a:ext>
            </a:extLst>
          </a:blip>
          <a:srcRect/>
          <a:stretch/>
        </p:blipFill>
        <p:spPr bwMode="gray">
          <a:xfrm>
            <a:off x="1128550" y="4365000"/>
            <a:ext cx="720000" cy="720000"/>
          </a:xfrm>
          <a:prstGeom prst="rect">
            <a:avLst/>
          </a:prstGeom>
          <a:noFill/>
        </p:spPr>
      </p:pic>
      <p:pic>
        <p:nvPicPr>
          <p:cNvPr id="135" name="Grafik 134">
            <a:extLst>
              <a:ext uri="{FF2B5EF4-FFF2-40B4-BE49-F238E27FC236}">
                <a16:creationId xmlns:a16="http://schemas.microsoft.com/office/drawing/2014/main" id="{9569616A-B463-4E20-A3C7-31173B0D8BD2}"/>
              </a:ext>
            </a:extLst>
          </p:cNvPr>
          <p:cNvPicPr>
            <a:picLocks noChangeAspect="1"/>
          </p:cNvPicPr>
          <p:nvPr/>
        </p:nvPicPr>
        <p:blipFill>
          <a:blip r:embed="rId35" cstate="screen">
            <a:extLst>
              <a:ext uri="{28A0092B-C50C-407E-A947-70E740481C1C}">
                <a14:useLocalDpi xmlns:a14="http://schemas.microsoft.com/office/drawing/2010/main"/>
              </a:ext>
            </a:extLst>
          </a:blip>
          <a:srcRect/>
          <a:stretch/>
        </p:blipFill>
        <p:spPr bwMode="gray">
          <a:xfrm>
            <a:off x="1920550" y="4365000"/>
            <a:ext cx="720000" cy="720000"/>
          </a:xfrm>
          <a:prstGeom prst="rect">
            <a:avLst/>
          </a:prstGeom>
          <a:noFill/>
        </p:spPr>
      </p:pic>
      <p:pic>
        <p:nvPicPr>
          <p:cNvPr id="136" name="Grafik 135">
            <a:extLst>
              <a:ext uri="{FF2B5EF4-FFF2-40B4-BE49-F238E27FC236}">
                <a16:creationId xmlns:a16="http://schemas.microsoft.com/office/drawing/2014/main" id="{18481E32-CB45-4206-B010-D62345510C38}"/>
              </a:ext>
            </a:extLst>
          </p:cNvPr>
          <p:cNvPicPr>
            <a:picLocks noChangeAspect="1"/>
          </p:cNvPicPr>
          <p:nvPr/>
        </p:nvPicPr>
        <p:blipFill>
          <a:blip r:embed="rId36" cstate="screen">
            <a:extLst>
              <a:ext uri="{28A0092B-C50C-407E-A947-70E740481C1C}">
                <a14:useLocalDpi xmlns:a14="http://schemas.microsoft.com/office/drawing/2010/main"/>
              </a:ext>
            </a:extLst>
          </a:blip>
          <a:srcRect/>
          <a:stretch/>
        </p:blipFill>
        <p:spPr bwMode="gray">
          <a:xfrm>
            <a:off x="2712550" y="4365000"/>
            <a:ext cx="720000" cy="720000"/>
          </a:xfrm>
          <a:prstGeom prst="rect">
            <a:avLst/>
          </a:prstGeom>
          <a:noFill/>
        </p:spPr>
      </p:pic>
      <p:pic>
        <p:nvPicPr>
          <p:cNvPr id="137" name="Grafik 136">
            <a:extLst>
              <a:ext uri="{FF2B5EF4-FFF2-40B4-BE49-F238E27FC236}">
                <a16:creationId xmlns:a16="http://schemas.microsoft.com/office/drawing/2014/main" id="{05A473CE-63CB-46F3-9D57-4E6E23D4F4A5}"/>
              </a:ext>
            </a:extLst>
          </p:cNvPr>
          <p:cNvPicPr>
            <a:picLocks noChangeAspect="1"/>
          </p:cNvPicPr>
          <p:nvPr/>
        </p:nvPicPr>
        <p:blipFill>
          <a:blip r:embed="rId37" cstate="screen">
            <a:extLst>
              <a:ext uri="{28A0092B-C50C-407E-A947-70E740481C1C}">
                <a14:useLocalDpi xmlns:a14="http://schemas.microsoft.com/office/drawing/2010/main"/>
              </a:ext>
            </a:extLst>
          </a:blip>
          <a:srcRect/>
          <a:stretch/>
        </p:blipFill>
        <p:spPr bwMode="gray">
          <a:xfrm>
            <a:off x="3504550" y="4365000"/>
            <a:ext cx="720000" cy="720000"/>
          </a:xfrm>
          <a:prstGeom prst="rect">
            <a:avLst/>
          </a:prstGeom>
          <a:noFill/>
        </p:spPr>
      </p:pic>
      <p:pic>
        <p:nvPicPr>
          <p:cNvPr id="138" name="Grafik 137">
            <a:extLst>
              <a:ext uri="{FF2B5EF4-FFF2-40B4-BE49-F238E27FC236}">
                <a16:creationId xmlns:a16="http://schemas.microsoft.com/office/drawing/2014/main" id="{694E5240-57BF-4518-9012-F9D54B00D422}"/>
              </a:ext>
            </a:extLst>
          </p:cNvPr>
          <p:cNvPicPr>
            <a:picLocks noChangeAspect="1"/>
          </p:cNvPicPr>
          <p:nvPr/>
        </p:nvPicPr>
        <p:blipFill>
          <a:blip r:embed="rId38" cstate="screen">
            <a:extLst>
              <a:ext uri="{28A0092B-C50C-407E-A947-70E740481C1C}">
                <a14:useLocalDpi xmlns:a14="http://schemas.microsoft.com/office/drawing/2010/main"/>
              </a:ext>
            </a:extLst>
          </a:blip>
          <a:srcRect/>
          <a:stretch/>
        </p:blipFill>
        <p:spPr bwMode="gray">
          <a:xfrm>
            <a:off x="336000" y="1989000"/>
            <a:ext cx="720000" cy="720000"/>
          </a:xfrm>
          <a:prstGeom prst="rect">
            <a:avLst/>
          </a:prstGeom>
          <a:noFill/>
        </p:spPr>
      </p:pic>
      <p:pic>
        <p:nvPicPr>
          <p:cNvPr id="139" name="Grafik 138">
            <a:extLst>
              <a:ext uri="{FF2B5EF4-FFF2-40B4-BE49-F238E27FC236}">
                <a16:creationId xmlns:a16="http://schemas.microsoft.com/office/drawing/2014/main" id="{A743A744-80E9-4924-AE99-6B91B2C255F3}"/>
              </a:ext>
            </a:extLst>
          </p:cNvPr>
          <p:cNvPicPr>
            <a:picLocks noChangeAspect="1"/>
          </p:cNvPicPr>
          <p:nvPr/>
        </p:nvPicPr>
        <p:blipFill>
          <a:blip r:embed="rId39" cstate="screen">
            <a:extLst>
              <a:ext uri="{28A0092B-C50C-407E-A947-70E740481C1C}">
                <a14:useLocalDpi xmlns:a14="http://schemas.microsoft.com/office/drawing/2010/main"/>
              </a:ext>
            </a:extLst>
          </a:blip>
          <a:srcRect/>
          <a:stretch/>
        </p:blipFill>
        <p:spPr bwMode="gray">
          <a:xfrm>
            <a:off x="1128000" y="1989000"/>
            <a:ext cx="720000" cy="720000"/>
          </a:xfrm>
          <a:prstGeom prst="rect">
            <a:avLst/>
          </a:prstGeom>
          <a:noFill/>
        </p:spPr>
      </p:pic>
      <p:pic>
        <p:nvPicPr>
          <p:cNvPr id="140" name="Grafik 139">
            <a:extLst>
              <a:ext uri="{FF2B5EF4-FFF2-40B4-BE49-F238E27FC236}">
                <a16:creationId xmlns:a16="http://schemas.microsoft.com/office/drawing/2014/main" id="{B21EA821-DCE8-4DD2-86A7-DD558D8EE140}"/>
              </a:ext>
            </a:extLst>
          </p:cNvPr>
          <p:cNvPicPr>
            <a:picLocks noChangeAspect="1"/>
          </p:cNvPicPr>
          <p:nvPr/>
        </p:nvPicPr>
        <p:blipFill>
          <a:blip r:embed="rId40" cstate="screen">
            <a:extLst>
              <a:ext uri="{28A0092B-C50C-407E-A947-70E740481C1C}">
                <a14:useLocalDpi xmlns:a14="http://schemas.microsoft.com/office/drawing/2010/main"/>
              </a:ext>
            </a:extLst>
          </a:blip>
          <a:srcRect/>
          <a:stretch/>
        </p:blipFill>
        <p:spPr bwMode="gray">
          <a:xfrm>
            <a:off x="1920000" y="1989000"/>
            <a:ext cx="720000" cy="720000"/>
          </a:xfrm>
          <a:prstGeom prst="rect">
            <a:avLst/>
          </a:prstGeom>
          <a:noFill/>
        </p:spPr>
      </p:pic>
      <p:pic>
        <p:nvPicPr>
          <p:cNvPr id="141" name="Grafik 140">
            <a:extLst>
              <a:ext uri="{FF2B5EF4-FFF2-40B4-BE49-F238E27FC236}">
                <a16:creationId xmlns:a16="http://schemas.microsoft.com/office/drawing/2014/main" id="{BF06892E-759B-4230-8178-C9E69BAD2F08}"/>
              </a:ext>
            </a:extLst>
          </p:cNvPr>
          <p:cNvPicPr>
            <a:picLocks noChangeAspect="1"/>
          </p:cNvPicPr>
          <p:nvPr/>
        </p:nvPicPr>
        <p:blipFill>
          <a:blip r:embed="rId41" cstate="screen">
            <a:extLst>
              <a:ext uri="{28A0092B-C50C-407E-A947-70E740481C1C}">
                <a14:useLocalDpi xmlns:a14="http://schemas.microsoft.com/office/drawing/2010/main"/>
              </a:ext>
            </a:extLst>
          </a:blip>
          <a:srcRect/>
          <a:stretch/>
        </p:blipFill>
        <p:spPr bwMode="gray">
          <a:xfrm>
            <a:off x="2712000" y="1989000"/>
            <a:ext cx="720000" cy="720000"/>
          </a:xfrm>
          <a:prstGeom prst="rect">
            <a:avLst/>
          </a:prstGeom>
          <a:noFill/>
        </p:spPr>
      </p:pic>
      <p:pic>
        <p:nvPicPr>
          <p:cNvPr id="142" name="Grafik 141">
            <a:extLst>
              <a:ext uri="{FF2B5EF4-FFF2-40B4-BE49-F238E27FC236}">
                <a16:creationId xmlns:a16="http://schemas.microsoft.com/office/drawing/2014/main" id="{13ACE94F-FB1D-40B4-94CA-287D5A8D8722}"/>
              </a:ext>
            </a:extLst>
          </p:cNvPr>
          <p:cNvPicPr>
            <a:picLocks noChangeAspect="1"/>
          </p:cNvPicPr>
          <p:nvPr/>
        </p:nvPicPr>
        <p:blipFill>
          <a:blip r:embed="rId42" cstate="screen">
            <a:extLst>
              <a:ext uri="{28A0092B-C50C-407E-A947-70E740481C1C}">
                <a14:useLocalDpi xmlns:a14="http://schemas.microsoft.com/office/drawing/2010/main"/>
              </a:ext>
            </a:extLst>
          </a:blip>
          <a:srcRect/>
          <a:stretch/>
        </p:blipFill>
        <p:spPr bwMode="gray">
          <a:xfrm>
            <a:off x="3504000" y="1989000"/>
            <a:ext cx="720000" cy="720000"/>
          </a:xfrm>
          <a:prstGeom prst="rect">
            <a:avLst/>
          </a:prstGeom>
          <a:noFill/>
        </p:spPr>
      </p:pic>
      <p:pic>
        <p:nvPicPr>
          <p:cNvPr id="143" name="Grafik 142">
            <a:extLst>
              <a:ext uri="{FF2B5EF4-FFF2-40B4-BE49-F238E27FC236}">
                <a16:creationId xmlns:a16="http://schemas.microsoft.com/office/drawing/2014/main" id="{22429F09-CF77-4FC9-8313-03C9D6CFA565}"/>
              </a:ext>
            </a:extLst>
          </p:cNvPr>
          <p:cNvPicPr>
            <a:picLocks noChangeAspect="1"/>
          </p:cNvPicPr>
          <p:nvPr/>
        </p:nvPicPr>
        <p:blipFill>
          <a:blip r:embed="rId43" cstate="screen">
            <a:extLst>
              <a:ext uri="{28A0092B-C50C-407E-A947-70E740481C1C}">
                <a14:useLocalDpi xmlns:a14="http://schemas.microsoft.com/office/drawing/2010/main"/>
              </a:ext>
            </a:extLst>
          </a:blip>
          <a:srcRect/>
          <a:stretch/>
        </p:blipFill>
        <p:spPr bwMode="gray">
          <a:xfrm>
            <a:off x="4296000" y="1989000"/>
            <a:ext cx="720000" cy="720000"/>
          </a:xfrm>
          <a:prstGeom prst="rect">
            <a:avLst/>
          </a:prstGeom>
          <a:noFill/>
        </p:spPr>
      </p:pic>
      <p:pic>
        <p:nvPicPr>
          <p:cNvPr id="144" name="Grafik 143">
            <a:extLst>
              <a:ext uri="{FF2B5EF4-FFF2-40B4-BE49-F238E27FC236}">
                <a16:creationId xmlns:a16="http://schemas.microsoft.com/office/drawing/2014/main" id="{6C1296C2-0275-4CD0-A765-BA067002DCFD}"/>
              </a:ext>
            </a:extLst>
          </p:cNvPr>
          <p:cNvPicPr>
            <a:picLocks noChangeAspect="1"/>
          </p:cNvPicPr>
          <p:nvPr/>
        </p:nvPicPr>
        <p:blipFill>
          <a:blip r:embed="rId44" cstate="screen">
            <a:extLst>
              <a:ext uri="{28A0092B-C50C-407E-A947-70E740481C1C}">
                <a14:useLocalDpi xmlns:a14="http://schemas.microsoft.com/office/drawing/2010/main"/>
              </a:ext>
            </a:extLst>
          </a:blip>
          <a:srcRect/>
          <a:stretch/>
        </p:blipFill>
        <p:spPr bwMode="gray">
          <a:xfrm>
            <a:off x="5088000" y="1989000"/>
            <a:ext cx="720000" cy="720000"/>
          </a:xfrm>
          <a:prstGeom prst="rect">
            <a:avLst/>
          </a:prstGeom>
          <a:noFill/>
        </p:spPr>
      </p:pic>
      <p:pic>
        <p:nvPicPr>
          <p:cNvPr id="145" name="Grafik 144">
            <a:extLst>
              <a:ext uri="{FF2B5EF4-FFF2-40B4-BE49-F238E27FC236}">
                <a16:creationId xmlns:a16="http://schemas.microsoft.com/office/drawing/2014/main" id="{B055DF26-C24C-448A-A5CD-639C031D4607}"/>
              </a:ext>
            </a:extLst>
          </p:cNvPr>
          <p:cNvPicPr>
            <a:picLocks noChangeAspect="1"/>
          </p:cNvPicPr>
          <p:nvPr/>
        </p:nvPicPr>
        <p:blipFill>
          <a:blip r:embed="rId45" cstate="screen">
            <a:extLst>
              <a:ext uri="{28A0092B-C50C-407E-A947-70E740481C1C}">
                <a14:useLocalDpi xmlns:a14="http://schemas.microsoft.com/office/drawing/2010/main"/>
              </a:ext>
            </a:extLst>
          </a:blip>
          <a:srcRect/>
          <a:stretch/>
        </p:blipFill>
        <p:spPr bwMode="gray">
          <a:xfrm>
            <a:off x="5880000" y="1989000"/>
            <a:ext cx="720000" cy="720000"/>
          </a:xfrm>
          <a:prstGeom prst="rect">
            <a:avLst/>
          </a:prstGeom>
          <a:noFill/>
        </p:spPr>
      </p:pic>
      <p:pic>
        <p:nvPicPr>
          <p:cNvPr id="146" name="Grafik 145">
            <a:extLst>
              <a:ext uri="{FF2B5EF4-FFF2-40B4-BE49-F238E27FC236}">
                <a16:creationId xmlns:a16="http://schemas.microsoft.com/office/drawing/2014/main" id="{232A5242-A4D7-4D36-A662-F03C8556F412}"/>
              </a:ext>
            </a:extLst>
          </p:cNvPr>
          <p:cNvPicPr>
            <a:picLocks noChangeAspect="1"/>
          </p:cNvPicPr>
          <p:nvPr/>
        </p:nvPicPr>
        <p:blipFill>
          <a:blip r:embed="rId46" cstate="screen">
            <a:extLst>
              <a:ext uri="{28A0092B-C50C-407E-A947-70E740481C1C}">
                <a14:useLocalDpi xmlns:a14="http://schemas.microsoft.com/office/drawing/2010/main"/>
              </a:ext>
            </a:extLst>
          </a:blip>
          <a:srcRect/>
          <a:stretch/>
        </p:blipFill>
        <p:spPr bwMode="gray">
          <a:xfrm>
            <a:off x="6672000" y="1989000"/>
            <a:ext cx="720000" cy="720000"/>
          </a:xfrm>
          <a:prstGeom prst="rect">
            <a:avLst/>
          </a:prstGeom>
          <a:noFill/>
        </p:spPr>
      </p:pic>
      <p:pic>
        <p:nvPicPr>
          <p:cNvPr id="147" name="Grafik 146">
            <a:extLst>
              <a:ext uri="{FF2B5EF4-FFF2-40B4-BE49-F238E27FC236}">
                <a16:creationId xmlns:a16="http://schemas.microsoft.com/office/drawing/2014/main" id="{A4FA8E9C-A529-4D93-BD8C-F8278028FDBC}"/>
              </a:ext>
            </a:extLst>
          </p:cNvPr>
          <p:cNvPicPr>
            <a:picLocks noChangeAspect="1"/>
          </p:cNvPicPr>
          <p:nvPr/>
        </p:nvPicPr>
        <p:blipFill>
          <a:blip r:embed="rId47" cstate="screen">
            <a:extLst>
              <a:ext uri="{28A0092B-C50C-407E-A947-70E740481C1C}">
                <a14:useLocalDpi xmlns:a14="http://schemas.microsoft.com/office/drawing/2010/main"/>
              </a:ext>
            </a:extLst>
          </a:blip>
          <a:srcRect/>
          <a:stretch/>
        </p:blipFill>
        <p:spPr bwMode="gray">
          <a:xfrm>
            <a:off x="7464000" y="1989000"/>
            <a:ext cx="720000" cy="720000"/>
          </a:xfrm>
          <a:prstGeom prst="rect">
            <a:avLst/>
          </a:prstGeom>
          <a:noFill/>
        </p:spPr>
      </p:pic>
      <p:pic>
        <p:nvPicPr>
          <p:cNvPr id="148" name="Grafik 147">
            <a:extLst>
              <a:ext uri="{FF2B5EF4-FFF2-40B4-BE49-F238E27FC236}">
                <a16:creationId xmlns:a16="http://schemas.microsoft.com/office/drawing/2014/main" id="{5EFE5858-AD87-4FF7-A2F5-E1E30D42203C}"/>
              </a:ext>
            </a:extLst>
          </p:cNvPr>
          <p:cNvPicPr>
            <a:picLocks noChangeAspect="1"/>
          </p:cNvPicPr>
          <p:nvPr/>
        </p:nvPicPr>
        <p:blipFill>
          <a:blip r:embed="rId48" cstate="screen">
            <a:extLst>
              <a:ext uri="{28A0092B-C50C-407E-A947-70E740481C1C}">
                <a14:useLocalDpi xmlns:a14="http://schemas.microsoft.com/office/drawing/2010/main"/>
              </a:ext>
            </a:extLst>
          </a:blip>
          <a:srcRect/>
          <a:stretch/>
        </p:blipFill>
        <p:spPr bwMode="gray">
          <a:xfrm>
            <a:off x="8256000" y="1989000"/>
            <a:ext cx="720000" cy="720000"/>
          </a:xfrm>
          <a:prstGeom prst="rect">
            <a:avLst/>
          </a:prstGeom>
          <a:noFill/>
        </p:spPr>
      </p:pic>
      <p:pic>
        <p:nvPicPr>
          <p:cNvPr id="50" name="Grafik 49">
            <a:extLst>
              <a:ext uri="{FF2B5EF4-FFF2-40B4-BE49-F238E27FC236}">
                <a16:creationId xmlns:a16="http://schemas.microsoft.com/office/drawing/2014/main" id="{7A943CF5-871F-4B6B-BBAB-868480189E58}"/>
              </a:ext>
            </a:extLst>
          </p:cNvPr>
          <p:cNvPicPr>
            <a:picLocks noChangeAspect="1"/>
          </p:cNvPicPr>
          <p:nvPr/>
        </p:nvPicPr>
        <p:blipFill>
          <a:blip r:embed="rId49" cstate="screen">
            <a:extLst>
              <a:ext uri="{28A0092B-C50C-407E-A947-70E740481C1C}">
                <a14:useLocalDpi xmlns:a14="http://schemas.microsoft.com/office/drawing/2010/main"/>
              </a:ext>
            </a:extLst>
          </a:blip>
          <a:srcRect/>
          <a:stretch/>
        </p:blipFill>
        <p:spPr bwMode="gray">
          <a:xfrm>
            <a:off x="9048000" y="1989000"/>
            <a:ext cx="720000" cy="720000"/>
          </a:xfrm>
          <a:prstGeom prst="rect">
            <a:avLst/>
          </a:prstGeom>
          <a:noFill/>
        </p:spPr>
      </p:pic>
      <p:pic>
        <p:nvPicPr>
          <p:cNvPr id="51" name="Grafik 50">
            <a:extLst>
              <a:ext uri="{FF2B5EF4-FFF2-40B4-BE49-F238E27FC236}">
                <a16:creationId xmlns:a16="http://schemas.microsoft.com/office/drawing/2014/main" id="{01F37AE1-2FD7-4188-B021-AF52B3BC0799}"/>
              </a:ext>
            </a:extLst>
          </p:cNvPr>
          <p:cNvPicPr>
            <a:picLocks noChangeAspect="1"/>
          </p:cNvPicPr>
          <p:nvPr/>
        </p:nvPicPr>
        <p:blipFill>
          <a:blip r:embed="rId50" cstate="screen">
            <a:extLst>
              <a:ext uri="{28A0092B-C50C-407E-A947-70E740481C1C}">
                <a14:useLocalDpi xmlns:a14="http://schemas.microsoft.com/office/drawing/2010/main"/>
              </a:ext>
            </a:extLst>
          </a:blip>
          <a:srcRect/>
          <a:stretch/>
        </p:blipFill>
        <p:spPr bwMode="gray">
          <a:xfrm>
            <a:off x="9840000" y="1989000"/>
            <a:ext cx="720000" cy="720000"/>
          </a:xfrm>
          <a:prstGeom prst="rect">
            <a:avLst/>
          </a:prstGeom>
          <a:noFill/>
        </p:spPr>
      </p:pic>
      <p:pic>
        <p:nvPicPr>
          <p:cNvPr id="52" name="Grafik 51">
            <a:extLst>
              <a:ext uri="{FF2B5EF4-FFF2-40B4-BE49-F238E27FC236}">
                <a16:creationId xmlns:a16="http://schemas.microsoft.com/office/drawing/2014/main" id="{F79B2105-CF0E-4455-AA42-B1D6D6C3F50D}"/>
              </a:ext>
            </a:extLst>
          </p:cNvPr>
          <p:cNvPicPr>
            <a:picLocks noChangeAspect="1"/>
          </p:cNvPicPr>
          <p:nvPr/>
        </p:nvPicPr>
        <p:blipFill>
          <a:blip r:embed="rId51" cstate="screen">
            <a:extLst>
              <a:ext uri="{28A0092B-C50C-407E-A947-70E740481C1C}">
                <a14:useLocalDpi xmlns:a14="http://schemas.microsoft.com/office/drawing/2010/main"/>
              </a:ext>
            </a:extLst>
          </a:blip>
          <a:srcRect/>
          <a:stretch/>
        </p:blipFill>
        <p:spPr bwMode="gray">
          <a:xfrm>
            <a:off x="4296000" y="4365000"/>
            <a:ext cx="720000" cy="720000"/>
          </a:xfrm>
          <a:prstGeom prst="rect">
            <a:avLst/>
          </a:prstGeom>
          <a:noFill/>
        </p:spPr>
      </p:pic>
      <p:pic>
        <p:nvPicPr>
          <p:cNvPr id="53" name="Grafik 52">
            <a:extLst>
              <a:ext uri="{FF2B5EF4-FFF2-40B4-BE49-F238E27FC236}">
                <a16:creationId xmlns:a16="http://schemas.microsoft.com/office/drawing/2014/main" id="{B38E903D-7A46-4F2E-87E4-EBEABC537BF4}"/>
              </a:ext>
            </a:extLst>
          </p:cNvPr>
          <p:cNvPicPr>
            <a:picLocks noChangeAspect="1"/>
          </p:cNvPicPr>
          <p:nvPr/>
        </p:nvPicPr>
        <p:blipFill>
          <a:blip r:embed="rId52" cstate="screen">
            <a:extLst>
              <a:ext uri="{28A0092B-C50C-407E-A947-70E740481C1C}">
                <a14:useLocalDpi xmlns:a14="http://schemas.microsoft.com/office/drawing/2010/main"/>
              </a:ext>
            </a:extLst>
          </a:blip>
          <a:srcRect/>
          <a:stretch/>
        </p:blipFill>
        <p:spPr bwMode="gray">
          <a:xfrm>
            <a:off x="5088000" y="4365000"/>
            <a:ext cx="720000" cy="720000"/>
          </a:xfrm>
          <a:prstGeom prst="rect">
            <a:avLst/>
          </a:prstGeom>
          <a:noFill/>
        </p:spPr>
      </p:pic>
      <p:pic>
        <p:nvPicPr>
          <p:cNvPr id="54" name="Grafik 53">
            <a:extLst>
              <a:ext uri="{FF2B5EF4-FFF2-40B4-BE49-F238E27FC236}">
                <a16:creationId xmlns:a16="http://schemas.microsoft.com/office/drawing/2014/main" id="{AC153B7B-2931-4109-8517-389B97D8FCD8}"/>
              </a:ext>
            </a:extLst>
          </p:cNvPr>
          <p:cNvPicPr>
            <a:picLocks noChangeAspect="1"/>
          </p:cNvPicPr>
          <p:nvPr/>
        </p:nvPicPr>
        <p:blipFill>
          <a:blip r:embed="rId53" cstate="screen">
            <a:extLst>
              <a:ext uri="{28A0092B-C50C-407E-A947-70E740481C1C}">
                <a14:useLocalDpi xmlns:a14="http://schemas.microsoft.com/office/drawing/2010/main"/>
              </a:ext>
            </a:extLst>
          </a:blip>
          <a:srcRect/>
          <a:stretch/>
        </p:blipFill>
        <p:spPr bwMode="gray">
          <a:xfrm>
            <a:off x="5880000" y="4365000"/>
            <a:ext cx="720000" cy="720000"/>
          </a:xfrm>
          <a:prstGeom prst="rect">
            <a:avLst/>
          </a:prstGeom>
          <a:noFill/>
        </p:spPr>
      </p:pic>
      <p:pic>
        <p:nvPicPr>
          <p:cNvPr id="55" name="Grafik 54">
            <a:extLst>
              <a:ext uri="{FF2B5EF4-FFF2-40B4-BE49-F238E27FC236}">
                <a16:creationId xmlns:a16="http://schemas.microsoft.com/office/drawing/2014/main" id="{91FF8107-9E85-4C7E-9400-6F43225B5882}"/>
              </a:ext>
            </a:extLst>
          </p:cNvPr>
          <p:cNvPicPr>
            <a:picLocks noChangeAspect="1"/>
          </p:cNvPicPr>
          <p:nvPr/>
        </p:nvPicPr>
        <p:blipFill>
          <a:blip r:embed="rId54" cstate="screen">
            <a:extLst>
              <a:ext uri="{28A0092B-C50C-407E-A947-70E740481C1C}">
                <a14:useLocalDpi xmlns:a14="http://schemas.microsoft.com/office/drawing/2010/main"/>
              </a:ext>
            </a:extLst>
          </a:blip>
          <a:srcRect/>
          <a:stretch/>
        </p:blipFill>
        <p:spPr bwMode="gray">
          <a:xfrm>
            <a:off x="6672000" y="4365000"/>
            <a:ext cx="720000" cy="720000"/>
          </a:xfrm>
          <a:prstGeom prst="rect">
            <a:avLst/>
          </a:prstGeom>
          <a:noFill/>
        </p:spPr>
      </p:pic>
      <p:pic>
        <p:nvPicPr>
          <p:cNvPr id="56" name="Grafik 55">
            <a:extLst>
              <a:ext uri="{FF2B5EF4-FFF2-40B4-BE49-F238E27FC236}">
                <a16:creationId xmlns:a16="http://schemas.microsoft.com/office/drawing/2014/main" id="{DD4607B0-2F44-4C77-9334-09589C62B03D}"/>
              </a:ext>
            </a:extLst>
          </p:cNvPr>
          <p:cNvPicPr>
            <a:picLocks noChangeAspect="1"/>
          </p:cNvPicPr>
          <p:nvPr/>
        </p:nvPicPr>
        <p:blipFill>
          <a:blip r:embed="rId55" cstate="screen">
            <a:extLst>
              <a:ext uri="{28A0092B-C50C-407E-A947-70E740481C1C}">
                <a14:useLocalDpi xmlns:a14="http://schemas.microsoft.com/office/drawing/2010/main"/>
              </a:ext>
            </a:extLst>
          </a:blip>
          <a:srcRect/>
          <a:stretch/>
        </p:blipFill>
        <p:spPr bwMode="gray">
          <a:xfrm>
            <a:off x="7464000" y="4365000"/>
            <a:ext cx="720000" cy="720000"/>
          </a:xfrm>
          <a:prstGeom prst="rect">
            <a:avLst/>
          </a:prstGeom>
          <a:noFill/>
        </p:spPr>
      </p:pic>
      <p:pic>
        <p:nvPicPr>
          <p:cNvPr id="57" name="Grafik 56">
            <a:extLst>
              <a:ext uri="{FF2B5EF4-FFF2-40B4-BE49-F238E27FC236}">
                <a16:creationId xmlns:a16="http://schemas.microsoft.com/office/drawing/2014/main" id="{4D8EF4EE-0DE6-47E9-97EA-F02C20449BB1}"/>
              </a:ext>
            </a:extLst>
          </p:cNvPr>
          <p:cNvPicPr>
            <a:picLocks noChangeAspect="1"/>
          </p:cNvPicPr>
          <p:nvPr/>
        </p:nvPicPr>
        <p:blipFill>
          <a:blip r:embed="rId56" cstate="screen">
            <a:extLst>
              <a:ext uri="{28A0092B-C50C-407E-A947-70E740481C1C}">
                <a14:useLocalDpi xmlns:a14="http://schemas.microsoft.com/office/drawing/2010/main"/>
              </a:ext>
            </a:extLst>
          </a:blip>
          <a:srcRect/>
          <a:stretch/>
        </p:blipFill>
        <p:spPr bwMode="gray">
          <a:xfrm>
            <a:off x="8256000" y="4365000"/>
            <a:ext cx="720000" cy="720000"/>
          </a:xfrm>
          <a:prstGeom prst="rect">
            <a:avLst/>
          </a:prstGeom>
          <a:noFill/>
        </p:spPr>
      </p:pic>
      <p:pic>
        <p:nvPicPr>
          <p:cNvPr id="58" name="Grafik 57">
            <a:extLst>
              <a:ext uri="{FF2B5EF4-FFF2-40B4-BE49-F238E27FC236}">
                <a16:creationId xmlns:a16="http://schemas.microsoft.com/office/drawing/2014/main" id="{06CA127E-804A-45BA-98FF-3F4A3077C4BB}"/>
              </a:ext>
            </a:extLst>
          </p:cNvPr>
          <p:cNvPicPr>
            <a:picLocks noChangeAspect="1"/>
          </p:cNvPicPr>
          <p:nvPr/>
        </p:nvPicPr>
        <p:blipFill>
          <a:blip r:embed="rId57" cstate="screen">
            <a:extLst>
              <a:ext uri="{28A0092B-C50C-407E-A947-70E740481C1C}">
                <a14:useLocalDpi xmlns:a14="http://schemas.microsoft.com/office/drawing/2010/main"/>
              </a:ext>
            </a:extLst>
          </a:blip>
          <a:srcRect/>
          <a:stretch/>
        </p:blipFill>
        <p:spPr bwMode="gray">
          <a:xfrm>
            <a:off x="9048000" y="4365000"/>
            <a:ext cx="720000" cy="720000"/>
          </a:xfrm>
          <a:prstGeom prst="rect">
            <a:avLst/>
          </a:prstGeom>
          <a:noFill/>
        </p:spPr>
      </p:pic>
      <p:pic>
        <p:nvPicPr>
          <p:cNvPr id="59" name="Grafik 58">
            <a:extLst>
              <a:ext uri="{FF2B5EF4-FFF2-40B4-BE49-F238E27FC236}">
                <a16:creationId xmlns:a16="http://schemas.microsoft.com/office/drawing/2014/main" id="{40C6CF9F-8A8D-44AB-930F-447359155CC2}"/>
              </a:ext>
            </a:extLst>
          </p:cNvPr>
          <p:cNvPicPr>
            <a:picLocks noChangeAspect="1"/>
          </p:cNvPicPr>
          <p:nvPr/>
        </p:nvPicPr>
        <p:blipFill>
          <a:blip r:embed="rId58" cstate="screen">
            <a:extLst>
              <a:ext uri="{28A0092B-C50C-407E-A947-70E740481C1C}">
                <a14:useLocalDpi xmlns:a14="http://schemas.microsoft.com/office/drawing/2010/main"/>
              </a:ext>
            </a:extLst>
          </a:blip>
          <a:srcRect/>
          <a:stretch/>
        </p:blipFill>
        <p:spPr bwMode="gray">
          <a:xfrm>
            <a:off x="9840000" y="4365000"/>
            <a:ext cx="720000" cy="720000"/>
          </a:xfrm>
          <a:prstGeom prst="rect">
            <a:avLst/>
          </a:prstGeom>
          <a:noFill/>
        </p:spPr>
      </p:pic>
      <p:pic>
        <p:nvPicPr>
          <p:cNvPr id="60" name="Grafik 59">
            <a:extLst>
              <a:ext uri="{FF2B5EF4-FFF2-40B4-BE49-F238E27FC236}">
                <a16:creationId xmlns:a16="http://schemas.microsoft.com/office/drawing/2014/main" id="{C4532CF7-79C8-41CD-87D0-9142419A2A01}"/>
              </a:ext>
            </a:extLst>
          </p:cNvPr>
          <p:cNvPicPr>
            <a:picLocks noChangeAspect="1"/>
          </p:cNvPicPr>
          <p:nvPr/>
        </p:nvPicPr>
        <p:blipFill>
          <a:blip r:embed="rId59" cstate="screen">
            <a:extLst>
              <a:ext uri="{28A0092B-C50C-407E-A947-70E740481C1C}">
                <a14:useLocalDpi xmlns:a14="http://schemas.microsoft.com/office/drawing/2010/main"/>
              </a:ext>
            </a:extLst>
          </a:blip>
          <a:srcRect/>
          <a:stretch/>
        </p:blipFill>
        <p:spPr bwMode="gray">
          <a:xfrm>
            <a:off x="10632000" y="4365000"/>
            <a:ext cx="720000" cy="720000"/>
          </a:xfrm>
          <a:prstGeom prst="rect">
            <a:avLst/>
          </a:prstGeom>
          <a:noFill/>
        </p:spPr>
      </p:pic>
      <p:pic>
        <p:nvPicPr>
          <p:cNvPr id="64" name="Grafik 63">
            <a:extLst>
              <a:ext uri="{FF2B5EF4-FFF2-40B4-BE49-F238E27FC236}">
                <a16:creationId xmlns:a16="http://schemas.microsoft.com/office/drawing/2014/main" id="{5F7D9AB5-C980-4B62-B7F6-7560DABD7B59}"/>
              </a:ext>
            </a:extLst>
          </p:cNvPr>
          <p:cNvPicPr>
            <a:picLocks noChangeAspect="1"/>
          </p:cNvPicPr>
          <p:nvPr/>
        </p:nvPicPr>
        <p:blipFill>
          <a:blip r:embed="rId60" cstate="screen">
            <a:extLst>
              <a:ext uri="{28A0092B-C50C-407E-A947-70E740481C1C}">
                <a14:useLocalDpi xmlns:a14="http://schemas.microsoft.com/office/drawing/2010/main"/>
              </a:ext>
            </a:extLst>
          </a:blip>
          <a:srcRect/>
          <a:stretch/>
        </p:blipFill>
        <p:spPr bwMode="gray">
          <a:xfrm>
            <a:off x="3504000" y="2781000"/>
            <a:ext cx="720000" cy="720000"/>
          </a:xfrm>
          <a:prstGeom prst="rect">
            <a:avLst/>
          </a:prstGeom>
          <a:noFill/>
        </p:spPr>
      </p:pic>
    </p:spTree>
    <p:extLst>
      <p:ext uri="{BB962C8B-B14F-4D97-AF65-F5344CB8AC3E}">
        <p14:creationId xmlns:p14="http://schemas.microsoft.com/office/powerpoint/2010/main" val="3699396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C848B24-9DCB-4D39-B6DA-01AC426EEE24}"/>
              </a:ext>
            </a:extLst>
          </p:cNvPr>
          <p:cNvGraphicFramePr>
            <a:graphicFrameLocks noChangeAspect="1"/>
          </p:cNvGraphicFramePr>
          <p:nvPr>
            <p:custDataLst>
              <p:tags r:id="rId1"/>
            </p:custDataLst>
            <p:extLst>
              <p:ext uri="{D42A27DB-BD31-4B8C-83A1-F6EECF244321}">
                <p14:modId xmlns:p14="http://schemas.microsoft.com/office/powerpoint/2010/main" val="2589186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8873297-7CFC-48F0-A9F3-6BDCC221C31B}"/>
              </a:ext>
            </a:extLst>
          </p:cNvPr>
          <p:cNvSpPr>
            <a:spLocks noGrp="1"/>
          </p:cNvSpPr>
          <p:nvPr>
            <p:ph type="title"/>
          </p:nvPr>
        </p:nvSpPr>
        <p:spPr bwMode="gray"/>
        <p:txBody>
          <a:bodyPr vert="horz"/>
          <a:lstStyle/>
          <a:p>
            <a:r>
              <a:rPr lang="de-DE" dirty="0"/>
              <a:t>Icons II </a:t>
            </a:r>
            <a:br>
              <a:rPr lang="de-DE" dirty="0"/>
            </a:br>
            <a:r>
              <a:rPr lang="de-DE" b="0" dirty="0"/>
              <a:t>positiv | Cyan</a:t>
            </a:r>
            <a:endParaRPr lang="de-DE" dirty="0"/>
          </a:p>
        </p:txBody>
      </p:sp>
      <p:sp>
        <p:nvSpPr>
          <p:cNvPr id="8" name="Date Placeholder 7">
            <a:extLst>
              <a:ext uri="{FF2B5EF4-FFF2-40B4-BE49-F238E27FC236}">
                <a16:creationId xmlns:a16="http://schemas.microsoft.com/office/drawing/2014/main" id="{1AC5802E-2235-4F79-AB4A-54F25F8908CD}"/>
              </a:ext>
            </a:extLst>
          </p:cNvPr>
          <p:cNvSpPr>
            <a:spLocks noGrp="1"/>
          </p:cNvSpPr>
          <p:nvPr>
            <p:ph type="dt" sz="half" idx="10"/>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6A1ACA-76D5-4F0F-B2AB-F716BBD4D993}" type="datetime1">
              <a:rPr kumimoji="0" lang="de-DE" sz="800" b="0" i="0" u="none" strike="noStrike" kern="1200" cap="none" spc="0" normalizeH="0" baseline="0" noProof="0" smtClean="0">
                <a:ln>
                  <a:noFill/>
                </a:ln>
                <a:solidFill>
                  <a:srgbClr val="38414A"/>
                </a:solidFill>
                <a:effectLst/>
                <a:uLnTx/>
                <a:uFillTx/>
                <a:latin typeface="Verdana"/>
                <a:ea typeface="+mn-ea"/>
                <a:cs typeface="+mn-cs"/>
              </a:rPr>
              <a:t>29.09.25</a:t>
            </a:fld>
            <a:endParaRPr kumimoji="0" lang="de-DE" sz="800" b="0" i="0" u="none" strike="noStrike" kern="1200" cap="none" spc="0" normalizeH="0" baseline="0" noProof="0" dirty="0">
              <a:ln>
                <a:noFill/>
              </a:ln>
              <a:solidFill>
                <a:srgbClr val="38414A"/>
              </a:solidFill>
              <a:effectLst/>
              <a:uLnTx/>
              <a:uFillTx/>
              <a:latin typeface="Verdana"/>
              <a:ea typeface="+mn-ea"/>
              <a:cs typeface="+mn-cs"/>
            </a:endParaRPr>
          </a:p>
        </p:txBody>
      </p:sp>
      <p:sp>
        <p:nvSpPr>
          <p:cNvPr id="3" name="Fußzeilenplatzhalter 2">
            <a:extLst>
              <a:ext uri="{FF2B5EF4-FFF2-40B4-BE49-F238E27FC236}">
                <a16:creationId xmlns:a16="http://schemas.microsoft.com/office/drawing/2014/main" id="{719E5376-D5E1-4E1C-A687-F622EC74BD21}"/>
              </a:ext>
            </a:extLst>
          </p:cNvPr>
          <p:cNvSpPr>
            <a:spLocks noGrp="1"/>
          </p:cNvSpPr>
          <p:nvPr>
            <p:ph type="ftr" sz="quarter"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all" spc="0" normalizeH="0" baseline="0" noProof="0" dirty="0">
                <a:ln>
                  <a:noFill/>
                </a:ln>
                <a:solidFill>
                  <a:srgbClr val="38414A"/>
                </a:solidFill>
                <a:effectLst/>
                <a:uLnTx/>
                <a:uFillTx/>
                <a:latin typeface="Verdana"/>
                <a:ea typeface="+mn-ea"/>
                <a:cs typeface="+mn-cs"/>
              </a:rPr>
              <a:t>TITEL DER PRÄSENTATION | TITEL VORNAME NAME</a:t>
            </a:r>
          </a:p>
        </p:txBody>
      </p:sp>
      <p:sp>
        <p:nvSpPr>
          <p:cNvPr id="4" name="Foliennummernplatzhalter 3">
            <a:extLst>
              <a:ext uri="{FF2B5EF4-FFF2-40B4-BE49-F238E27FC236}">
                <a16:creationId xmlns:a16="http://schemas.microsoft.com/office/drawing/2014/main" id="{6F0F3D92-6905-4E0A-8342-A03F733B35F7}"/>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9C37E-8A19-4E30-BE2B-5A966AD23C7A}" type="slidenum">
              <a:rPr kumimoji="0" lang="de-DE" sz="800" b="0" i="0" u="none" strike="noStrike" kern="1200" cap="none" spc="0" normalizeH="0" baseline="0" noProof="0" smtClean="0">
                <a:ln>
                  <a:noFill/>
                </a:ln>
                <a:solidFill>
                  <a:srgbClr val="38414A"/>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de-DE" sz="800" b="0" i="0" u="none" strike="noStrike" kern="1200" cap="none" spc="0" normalizeH="0" baseline="0" noProof="0" dirty="0">
              <a:ln>
                <a:noFill/>
              </a:ln>
              <a:solidFill>
                <a:srgbClr val="38414A"/>
              </a:solidFill>
              <a:effectLst/>
              <a:uLnTx/>
              <a:uFillTx/>
              <a:latin typeface="Verdana"/>
              <a:ea typeface="+mn-ea"/>
              <a:cs typeface="+mn-cs"/>
            </a:endParaRPr>
          </a:p>
        </p:txBody>
      </p:sp>
      <p:pic>
        <p:nvPicPr>
          <p:cNvPr id="105" name="Grafik 104">
            <a:extLst>
              <a:ext uri="{FF2B5EF4-FFF2-40B4-BE49-F238E27FC236}">
                <a16:creationId xmlns:a16="http://schemas.microsoft.com/office/drawing/2014/main" id="{10A29B5C-92C1-48AF-AE84-F09962E40D3F}"/>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bwMode="gray">
          <a:xfrm>
            <a:off x="336000" y="2781000"/>
            <a:ext cx="720000" cy="720000"/>
          </a:xfrm>
          <a:prstGeom prst="rect">
            <a:avLst/>
          </a:prstGeom>
          <a:noFill/>
        </p:spPr>
      </p:pic>
      <p:pic>
        <p:nvPicPr>
          <p:cNvPr id="106" name="Grafik 105">
            <a:extLst>
              <a:ext uri="{FF2B5EF4-FFF2-40B4-BE49-F238E27FC236}">
                <a16:creationId xmlns:a16="http://schemas.microsoft.com/office/drawing/2014/main" id="{72E8A7BA-B4E1-4087-86FB-0A9FD7082D87}"/>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bwMode="gray">
          <a:xfrm>
            <a:off x="1128000" y="2781000"/>
            <a:ext cx="720000" cy="720000"/>
          </a:xfrm>
          <a:prstGeom prst="rect">
            <a:avLst/>
          </a:prstGeom>
          <a:noFill/>
        </p:spPr>
      </p:pic>
      <p:pic>
        <p:nvPicPr>
          <p:cNvPr id="107" name="Grafik 106">
            <a:extLst>
              <a:ext uri="{FF2B5EF4-FFF2-40B4-BE49-F238E27FC236}">
                <a16:creationId xmlns:a16="http://schemas.microsoft.com/office/drawing/2014/main" id="{11B71FC6-8BA4-4619-9AB2-280BE416E3F0}"/>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bwMode="gray">
          <a:xfrm>
            <a:off x="1920000" y="2781000"/>
            <a:ext cx="720000" cy="720000"/>
          </a:xfrm>
          <a:prstGeom prst="rect">
            <a:avLst/>
          </a:prstGeom>
          <a:noFill/>
        </p:spPr>
      </p:pic>
      <p:pic>
        <p:nvPicPr>
          <p:cNvPr id="108" name="Grafik 107">
            <a:extLst>
              <a:ext uri="{FF2B5EF4-FFF2-40B4-BE49-F238E27FC236}">
                <a16:creationId xmlns:a16="http://schemas.microsoft.com/office/drawing/2014/main" id="{FD1F16C5-5669-4BAE-AC73-6D31411E1214}"/>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bwMode="gray">
          <a:xfrm>
            <a:off x="2712000" y="2781000"/>
            <a:ext cx="720000" cy="720000"/>
          </a:xfrm>
          <a:prstGeom prst="rect">
            <a:avLst/>
          </a:prstGeom>
          <a:noFill/>
        </p:spPr>
      </p:pic>
      <p:pic>
        <p:nvPicPr>
          <p:cNvPr id="109" name="Grafik 108">
            <a:extLst>
              <a:ext uri="{FF2B5EF4-FFF2-40B4-BE49-F238E27FC236}">
                <a16:creationId xmlns:a16="http://schemas.microsoft.com/office/drawing/2014/main" id="{8A0B8548-39A6-432A-BCF6-68C67E946062}"/>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bwMode="gray">
          <a:xfrm>
            <a:off x="3504000" y="2781000"/>
            <a:ext cx="720000" cy="720000"/>
          </a:xfrm>
          <a:prstGeom prst="rect">
            <a:avLst/>
          </a:prstGeom>
          <a:noFill/>
        </p:spPr>
      </p:pic>
      <p:pic>
        <p:nvPicPr>
          <p:cNvPr id="110" name="Grafik 109">
            <a:extLst>
              <a:ext uri="{FF2B5EF4-FFF2-40B4-BE49-F238E27FC236}">
                <a16:creationId xmlns:a16="http://schemas.microsoft.com/office/drawing/2014/main" id="{E910F74A-DF07-46D5-8461-A89FAB30E92F}"/>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bwMode="gray">
          <a:xfrm>
            <a:off x="4296000" y="2781000"/>
            <a:ext cx="720000" cy="720000"/>
          </a:xfrm>
          <a:prstGeom prst="rect">
            <a:avLst/>
          </a:prstGeom>
          <a:noFill/>
        </p:spPr>
      </p:pic>
      <p:pic>
        <p:nvPicPr>
          <p:cNvPr id="111" name="Grafik 110">
            <a:extLst>
              <a:ext uri="{FF2B5EF4-FFF2-40B4-BE49-F238E27FC236}">
                <a16:creationId xmlns:a16="http://schemas.microsoft.com/office/drawing/2014/main" id="{32556A42-E1C4-4C36-A8CD-3D3CA8A65CD6}"/>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bwMode="gray">
          <a:xfrm>
            <a:off x="5088000" y="2781000"/>
            <a:ext cx="720000" cy="720000"/>
          </a:xfrm>
          <a:prstGeom prst="rect">
            <a:avLst/>
          </a:prstGeom>
          <a:noFill/>
        </p:spPr>
      </p:pic>
      <p:pic>
        <p:nvPicPr>
          <p:cNvPr id="112" name="Grafik 111">
            <a:extLst>
              <a:ext uri="{FF2B5EF4-FFF2-40B4-BE49-F238E27FC236}">
                <a16:creationId xmlns:a16="http://schemas.microsoft.com/office/drawing/2014/main" id="{E26A0ADC-FFEC-4114-9D28-E85F7EA33087}"/>
              </a:ext>
            </a:extLst>
          </p:cNvPr>
          <p:cNvPicPr>
            <a:picLocks noChangeAspect="1"/>
          </p:cNvPicPr>
          <p:nvPr/>
        </p:nvPicPr>
        <p:blipFill>
          <a:blip r:embed="rId12" cstate="screen">
            <a:extLst>
              <a:ext uri="{28A0092B-C50C-407E-A947-70E740481C1C}">
                <a14:useLocalDpi xmlns:a14="http://schemas.microsoft.com/office/drawing/2010/main"/>
              </a:ext>
            </a:extLst>
          </a:blip>
          <a:srcRect/>
          <a:stretch/>
        </p:blipFill>
        <p:spPr bwMode="gray">
          <a:xfrm>
            <a:off x="5880000" y="2781000"/>
            <a:ext cx="720000" cy="720000"/>
          </a:xfrm>
          <a:prstGeom prst="rect">
            <a:avLst/>
          </a:prstGeom>
          <a:noFill/>
        </p:spPr>
      </p:pic>
      <p:pic>
        <p:nvPicPr>
          <p:cNvPr id="113" name="Grafik 112">
            <a:extLst>
              <a:ext uri="{FF2B5EF4-FFF2-40B4-BE49-F238E27FC236}">
                <a16:creationId xmlns:a16="http://schemas.microsoft.com/office/drawing/2014/main" id="{EFA00239-6426-437D-8B0B-4A2B459B2A1A}"/>
              </a:ext>
            </a:extLst>
          </p:cNvPr>
          <p:cNvPicPr>
            <a:picLocks noChangeAspect="1"/>
          </p:cNvPicPr>
          <p:nvPr/>
        </p:nvPicPr>
        <p:blipFill>
          <a:blip r:embed="rId13" cstate="screen">
            <a:extLst>
              <a:ext uri="{28A0092B-C50C-407E-A947-70E740481C1C}">
                <a14:useLocalDpi xmlns:a14="http://schemas.microsoft.com/office/drawing/2010/main"/>
              </a:ext>
            </a:extLst>
          </a:blip>
          <a:srcRect/>
          <a:stretch/>
        </p:blipFill>
        <p:spPr bwMode="gray">
          <a:xfrm>
            <a:off x="6672000" y="2781000"/>
            <a:ext cx="720000" cy="720000"/>
          </a:xfrm>
          <a:prstGeom prst="rect">
            <a:avLst/>
          </a:prstGeom>
          <a:noFill/>
        </p:spPr>
      </p:pic>
      <p:pic>
        <p:nvPicPr>
          <p:cNvPr id="114" name="Grafik 113">
            <a:extLst>
              <a:ext uri="{FF2B5EF4-FFF2-40B4-BE49-F238E27FC236}">
                <a16:creationId xmlns:a16="http://schemas.microsoft.com/office/drawing/2014/main" id="{EED1631A-9054-459C-826B-9EEB3DB7649E}"/>
              </a:ext>
            </a:extLst>
          </p:cNvPr>
          <p:cNvPicPr>
            <a:picLocks noChangeAspect="1"/>
          </p:cNvPicPr>
          <p:nvPr/>
        </p:nvPicPr>
        <p:blipFill>
          <a:blip r:embed="rId14" cstate="screen">
            <a:extLst>
              <a:ext uri="{28A0092B-C50C-407E-A947-70E740481C1C}">
                <a14:useLocalDpi xmlns:a14="http://schemas.microsoft.com/office/drawing/2010/main"/>
              </a:ext>
            </a:extLst>
          </a:blip>
          <a:srcRect/>
          <a:stretch/>
        </p:blipFill>
        <p:spPr bwMode="gray">
          <a:xfrm>
            <a:off x="7464000" y="2781000"/>
            <a:ext cx="720000" cy="720000"/>
          </a:xfrm>
          <a:prstGeom prst="rect">
            <a:avLst/>
          </a:prstGeom>
          <a:noFill/>
        </p:spPr>
      </p:pic>
      <p:pic>
        <p:nvPicPr>
          <p:cNvPr id="115" name="Grafik 114">
            <a:extLst>
              <a:ext uri="{FF2B5EF4-FFF2-40B4-BE49-F238E27FC236}">
                <a16:creationId xmlns:a16="http://schemas.microsoft.com/office/drawing/2014/main" id="{10C7B1CD-E3CD-4CA9-A97D-806BC52AB6ED}"/>
              </a:ext>
            </a:extLst>
          </p:cNvPr>
          <p:cNvPicPr>
            <a:picLocks noChangeAspect="1"/>
          </p:cNvPicPr>
          <p:nvPr/>
        </p:nvPicPr>
        <p:blipFill>
          <a:blip r:embed="rId15" cstate="screen">
            <a:extLst>
              <a:ext uri="{28A0092B-C50C-407E-A947-70E740481C1C}">
                <a14:useLocalDpi xmlns:a14="http://schemas.microsoft.com/office/drawing/2010/main"/>
              </a:ext>
            </a:extLst>
          </a:blip>
          <a:srcRect/>
          <a:stretch/>
        </p:blipFill>
        <p:spPr bwMode="gray">
          <a:xfrm>
            <a:off x="8256000" y="2781000"/>
            <a:ext cx="720000" cy="720000"/>
          </a:xfrm>
          <a:prstGeom prst="rect">
            <a:avLst/>
          </a:prstGeom>
          <a:noFill/>
        </p:spPr>
      </p:pic>
      <p:pic>
        <p:nvPicPr>
          <p:cNvPr id="116" name="Grafik 115">
            <a:extLst>
              <a:ext uri="{FF2B5EF4-FFF2-40B4-BE49-F238E27FC236}">
                <a16:creationId xmlns:a16="http://schemas.microsoft.com/office/drawing/2014/main" id="{04CE3706-F547-43B3-AB16-170AE2E25413}"/>
              </a:ext>
            </a:extLst>
          </p:cNvPr>
          <p:cNvPicPr>
            <a:picLocks noChangeAspect="1"/>
          </p:cNvPicPr>
          <p:nvPr/>
        </p:nvPicPr>
        <p:blipFill>
          <a:blip r:embed="rId16" cstate="screen">
            <a:extLst>
              <a:ext uri="{28A0092B-C50C-407E-A947-70E740481C1C}">
                <a14:useLocalDpi xmlns:a14="http://schemas.microsoft.com/office/drawing/2010/main"/>
              </a:ext>
            </a:extLst>
          </a:blip>
          <a:srcRect/>
          <a:stretch/>
        </p:blipFill>
        <p:spPr bwMode="gray">
          <a:xfrm>
            <a:off x="9048000" y="2781000"/>
            <a:ext cx="720000" cy="720000"/>
          </a:xfrm>
          <a:prstGeom prst="rect">
            <a:avLst/>
          </a:prstGeom>
          <a:noFill/>
        </p:spPr>
      </p:pic>
      <p:pic>
        <p:nvPicPr>
          <p:cNvPr id="117" name="Grafik 116">
            <a:extLst>
              <a:ext uri="{FF2B5EF4-FFF2-40B4-BE49-F238E27FC236}">
                <a16:creationId xmlns:a16="http://schemas.microsoft.com/office/drawing/2014/main" id="{FC130E6C-EC23-4FB5-B823-F323287E3413}"/>
              </a:ext>
            </a:extLst>
          </p:cNvPr>
          <p:cNvPicPr>
            <a:picLocks noChangeAspect="1"/>
          </p:cNvPicPr>
          <p:nvPr/>
        </p:nvPicPr>
        <p:blipFill>
          <a:blip r:embed="rId17" cstate="screen">
            <a:extLst>
              <a:ext uri="{28A0092B-C50C-407E-A947-70E740481C1C}">
                <a14:useLocalDpi xmlns:a14="http://schemas.microsoft.com/office/drawing/2010/main"/>
              </a:ext>
            </a:extLst>
          </a:blip>
          <a:srcRect/>
          <a:stretch/>
        </p:blipFill>
        <p:spPr bwMode="gray">
          <a:xfrm>
            <a:off x="9840000" y="2781000"/>
            <a:ext cx="720000" cy="720000"/>
          </a:xfrm>
          <a:prstGeom prst="rect">
            <a:avLst/>
          </a:prstGeom>
          <a:noFill/>
        </p:spPr>
      </p:pic>
      <p:pic>
        <p:nvPicPr>
          <p:cNvPr id="118" name="Grafik 117">
            <a:extLst>
              <a:ext uri="{FF2B5EF4-FFF2-40B4-BE49-F238E27FC236}">
                <a16:creationId xmlns:a16="http://schemas.microsoft.com/office/drawing/2014/main" id="{543AD7C9-11F4-4147-A53C-B1AD87BAE485}"/>
              </a:ext>
            </a:extLst>
          </p:cNvPr>
          <p:cNvPicPr>
            <a:picLocks noChangeAspect="1"/>
          </p:cNvPicPr>
          <p:nvPr/>
        </p:nvPicPr>
        <p:blipFill>
          <a:blip r:embed="rId18" cstate="screen">
            <a:extLst>
              <a:ext uri="{28A0092B-C50C-407E-A947-70E740481C1C}">
                <a14:useLocalDpi xmlns:a14="http://schemas.microsoft.com/office/drawing/2010/main"/>
              </a:ext>
            </a:extLst>
          </a:blip>
          <a:srcRect/>
          <a:stretch/>
        </p:blipFill>
        <p:spPr bwMode="gray">
          <a:xfrm>
            <a:off x="10632000" y="2781000"/>
            <a:ext cx="720000" cy="720000"/>
          </a:xfrm>
          <a:prstGeom prst="rect">
            <a:avLst/>
          </a:prstGeom>
          <a:noFill/>
        </p:spPr>
      </p:pic>
      <p:pic>
        <p:nvPicPr>
          <p:cNvPr id="119" name="Grafik 118">
            <a:extLst>
              <a:ext uri="{FF2B5EF4-FFF2-40B4-BE49-F238E27FC236}">
                <a16:creationId xmlns:a16="http://schemas.microsoft.com/office/drawing/2014/main" id="{850DD12E-AE63-425C-910F-A3EB4CBE4FAB}"/>
              </a:ext>
            </a:extLst>
          </p:cNvPr>
          <p:cNvPicPr>
            <a:picLocks noChangeAspect="1"/>
          </p:cNvPicPr>
          <p:nvPr/>
        </p:nvPicPr>
        <p:blipFill>
          <a:blip r:embed="rId19" cstate="screen">
            <a:extLst>
              <a:ext uri="{28A0092B-C50C-407E-A947-70E740481C1C}">
                <a14:useLocalDpi xmlns:a14="http://schemas.microsoft.com/office/drawing/2010/main"/>
              </a:ext>
            </a:extLst>
          </a:blip>
          <a:srcRect/>
          <a:stretch/>
        </p:blipFill>
        <p:spPr bwMode="gray">
          <a:xfrm>
            <a:off x="336000" y="3573000"/>
            <a:ext cx="720000" cy="720000"/>
          </a:xfrm>
          <a:prstGeom prst="rect">
            <a:avLst/>
          </a:prstGeom>
          <a:noFill/>
        </p:spPr>
      </p:pic>
      <p:pic>
        <p:nvPicPr>
          <p:cNvPr id="120" name="Grafik 119">
            <a:extLst>
              <a:ext uri="{FF2B5EF4-FFF2-40B4-BE49-F238E27FC236}">
                <a16:creationId xmlns:a16="http://schemas.microsoft.com/office/drawing/2014/main" id="{5E32EF1B-7496-4E04-B0B1-4B24680E956E}"/>
              </a:ext>
            </a:extLst>
          </p:cNvPr>
          <p:cNvPicPr>
            <a:picLocks noChangeAspect="1"/>
          </p:cNvPicPr>
          <p:nvPr/>
        </p:nvPicPr>
        <p:blipFill>
          <a:blip r:embed="rId20" cstate="screen">
            <a:extLst>
              <a:ext uri="{28A0092B-C50C-407E-A947-70E740481C1C}">
                <a14:useLocalDpi xmlns:a14="http://schemas.microsoft.com/office/drawing/2010/main"/>
              </a:ext>
            </a:extLst>
          </a:blip>
          <a:srcRect/>
          <a:stretch/>
        </p:blipFill>
        <p:spPr bwMode="gray">
          <a:xfrm>
            <a:off x="1128000" y="3573000"/>
            <a:ext cx="720000" cy="720000"/>
          </a:xfrm>
          <a:prstGeom prst="rect">
            <a:avLst/>
          </a:prstGeom>
          <a:noFill/>
        </p:spPr>
      </p:pic>
      <p:pic>
        <p:nvPicPr>
          <p:cNvPr id="121" name="Grafik 120">
            <a:extLst>
              <a:ext uri="{FF2B5EF4-FFF2-40B4-BE49-F238E27FC236}">
                <a16:creationId xmlns:a16="http://schemas.microsoft.com/office/drawing/2014/main" id="{AA4C18CC-3796-41E8-8209-2BCFB968E710}"/>
              </a:ext>
            </a:extLst>
          </p:cNvPr>
          <p:cNvPicPr>
            <a:picLocks noChangeAspect="1"/>
          </p:cNvPicPr>
          <p:nvPr/>
        </p:nvPicPr>
        <p:blipFill>
          <a:blip r:embed="rId21" cstate="screen">
            <a:extLst>
              <a:ext uri="{28A0092B-C50C-407E-A947-70E740481C1C}">
                <a14:useLocalDpi xmlns:a14="http://schemas.microsoft.com/office/drawing/2010/main"/>
              </a:ext>
            </a:extLst>
          </a:blip>
          <a:srcRect/>
          <a:stretch/>
        </p:blipFill>
        <p:spPr bwMode="gray">
          <a:xfrm>
            <a:off x="1920000" y="3573000"/>
            <a:ext cx="720000" cy="720000"/>
          </a:xfrm>
          <a:prstGeom prst="rect">
            <a:avLst/>
          </a:prstGeom>
          <a:noFill/>
        </p:spPr>
      </p:pic>
      <p:pic>
        <p:nvPicPr>
          <p:cNvPr id="122" name="Grafik 121">
            <a:extLst>
              <a:ext uri="{FF2B5EF4-FFF2-40B4-BE49-F238E27FC236}">
                <a16:creationId xmlns:a16="http://schemas.microsoft.com/office/drawing/2014/main" id="{35C368B7-C842-48B1-AAE3-304797703A2D}"/>
              </a:ext>
            </a:extLst>
          </p:cNvPr>
          <p:cNvPicPr>
            <a:picLocks noChangeAspect="1"/>
          </p:cNvPicPr>
          <p:nvPr/>
        </p:nvPicPr>
        <p:blipFill>
          <a:blip r:embed="rId22" cstate="screen">
            <a:extLst>
              <a:ext uri="{28A0092B-C50C-407E-A947-70E740481C1C}">
                <a14:useLocalDpi xmlns:a14="http://schemas.microsoft.com/office/drawing/2010/main"/>
              </a:ext>
            </a:extLst>
          </a:blip>
          <a:srcRect/>
          <a:stretch/>
        </p:blipFill>
        <p:spPr bwMode="gray">
          <a:xfrm>
            <a:off x="2712000" y="3573000"/>
            <a:ext cx="720000" cy="720000"/>
          </a:xfrm>
          <a:prstGeom prst="rect">
            <a:avLst/>
          </a:prstGeom>
          <a:noFill/>
        </p:spPr>
      </p:pic>
      <p:pic>
        <p:nvPicPr>
          <p:cNvPr id="123" name="Grafik 122">
            <a:extLst>
              <a:ext uri="{FF2B5EF4-FFF2-40B4-BE49-F238E27FC236}">
                <a16:creationId xmlns:a16="http://schemas.microsoft.com/office/drawing/2014/main" id="{4D2B0FDA-D181-4B37-A93D-F6F37FD99DBB}"/>
              </a:ext>
            </a:extLst>
          </p:cNvPr>
          <p:cNvPicPr>
            <a:picLocks noChangeAspect="1"/>
          </p:cNvPicPr>
          <p:nvPr/>
        </p:nvPicPr>
        <p:blipFill>
          <a:blip r:embed="rId23" cstate="screen">
            <a:extLst>
              <a:ext uri="{28A0092B-C50C-407E-A947-70E740481C1C}">
                <a14:useLocalDpi xmlns:a14="http://schemas.microsoft.com/office/drawing/2010/main"/>
              </a:ext>
            </a:extLst>
          </a:blip>
          <a:srcRect/>
          <a:stretch/>
        </p:blipFill>
        <p:spPr bwMode="gray">
          <a:xfrm>
            <a:off x="3504000" y="3573000"/>
            <a:ext cx="720000" cy="720000"/>
          </a:xfrm>
          <a:prstGeom prst="rect">
            <a:avLst/>
          </a:prstGeom>
          <a:noFill/>
        </p:spPr>
      </p:pic>
      <p:pic>
        <p:nvPicPr>
          <p:cNvPr id="124" name="Grafik 123">
            <a:extLst>
              <a:ext uri="{FF2B5EF4-FFF2-40B4-BE49-F238E27FC236}">
                <a16:creationId xmlns:a16="http://schemas.microsoft.com/office/drawing/2014/main" id="{DFFD12A5-9ABD-4292-93C8-C5CBAA860760}"/>
              </a:ext>
            </a:extLst>
          </p:cNvPr>
          <p:cNvPicPr>
            <a:picLocks noChangeAspect="1"/>
          </p:cNvPicPr>
          <p:nvPr/>
        </p:nvPicPr>
        <p:blipFill>
          <a:blip r:embed="rId24" cstate="screen">
            <a:extLst>
              <a:ext uri="{28A0092B-C50C-407E-A947-70E740481C1C}">
                <a14:useLocalDpi xmlns:a14="http://schemas.microsoft.com/office/drawing/2010/main"/>
              </a:ext>
            </a:extLst>
          </a:blip>
          <a:srcRect/>
          <a:stretch/>
        </p:blipFill>
        <p:spPr bwMode="gray">
          <a:xfrm>
            <a:off x="4296000" y="3573000"/>
            <a:ext cx="720000" cy="720000"/>
          </a:xfrm>
          <a:prstGeom prst="rect">
            <a:avLst/>
          </a:prstGeom>
          <a:noFill/>
        </p:spPr>
      </p:pic>
      <p:pic>
        <p:nvPicPr>
          <p:cNvPr id="125" name="Grafik 124">
            <a:extLst>
              <a:ext uri="{FF2B5EF4-FFF2-40B4-BE49-F238E27FC236}">
                <a16:creationId xmlns:a16="http://schemas.microsoft.com/office/drawing/2014/main" id="{287DF7C9-B60A-43FB-93AB-C38CFD3658EC}"/>
              </a:ext>
            </a:extLst>
          </p:cNvPr>
          <p:cNvPicPr>
            <a:picLocks noChangeAspect="1"/>
          </p:cNvPicPr>
          <p:nvPr/>
        </p:nvPicPr>
        <p:blipFill>
          <a:blip r:embed="rId25" cstate="screen">
            <a:extLst>
              <a:ext uri="{28A0092B-C50C-407E-A947-70E740481C1C}">
                <a14:useLocalDpi xmlns:a14="http://schemas.microsoft.com/office/drawing/2010/main"/>
              </a:ext>
            </a:extLst>
          </a:blip>
          <a:srcRect/>
          <a:stretch/>
        </p:blipFill>
        <p:spPr bwMode="gray">
          <a:xfrm>
            <a:off x="5088000" y="3573000"/>
            <a:ext cx="720000" cy="720000"/>
          </a:xfrm>
          <a:prstGeom prst="rect">
            <a:avLst/>
          </a:prstGeom>
          <a:noFill/>
        </p:spPr>
      </p:pic>
      <p:pic>
        <p:nvPicPr>
          <p:cNvPr id="126" name="Grafik 125">
            <a:extLst>
              <a:ext uri="{FF2B5EF4-FFF2-40B4-BE49-F238E27FC236}">
                <a16:creationId xmlns:a16="http://schemas.microsoft.com/office/drawing/2014/main" id="{707A0370-AD56-4C06-B372-76439F605CA5}"/>
              </a:ext>
            </a:extLst>
          </p:cNvPr>
          <p:cNvPicPr>
            <a:picLocks noChangeAspect="1"/>
          </p:cNvPicPr>
          <p:nvPr/>
        </p:nvPicPr>
        <p:blipFill>
          <a:blip r:embed="rId26" cstate="screen">
            <a:extLst>
              <a:ext uri="{28A0092B-C50C-407E-A947-70E740481C1C}">
                <a14:useLocalDpi xmlns:a14="http://schemas.microsoft.com/office/drawing/2010/main"/>
              </a:ext>
            </a:extLst>
          </a:blip>
          <a:srcRect/>
          <a:stretch/>
        </p:blipFill>
        <p:spPr bwMode="gray">
          <a:xfrm>
            <a:off x="5880000" y="3573000"/>
            <a:ext cx="720000" cy="720000"/>
          </a:xfrm>
          <a:prstGeom prst="rect">
            <a:avLst/>
          </a:prstGeom>
          <a:noFill/>
        </p:spPr>
      </p:pic>
      <p:pic>
        <p:nvPicPr>
          <p:cNvPr id="127" name="Grafik 126">
            <a:extLst>
              <a:ext uri="{FF2B5EF4-FFF2-40B4-BE49-F238E27FC236}">
                <a16:creationId xmlns:a16="http://schemas.microsoft.com/office/drawing/2014/main" id="{EC1E0ADC-E9D9-4345-A702-E2B4A235C062}"/>
              </a:ext>
            </a:extLst>
          </p:cNvPr>
          <p:cNvPicPr>
            <a:picLocks noChangeAspect="1"/>
          </p:cNvPicPr>
          <p:nvPr/>
        </p:nvPicPr>
        <p:blipFill>
          <a:blip r:embed="rId27" cstate="screen">
            <a:extLst>
              <a:ext uri="{28A0092B-C50C-407E-A947-70E740481C1C}">
                <a14:useLocalDpi xmlns:a14="http://schemas.microsoft.com/office/drawing/2010/main"/>
              </a:ext>
            </a:extLst>
          </a:blip>
          <a:srcRect/>
          <a:stretch/>
        </p:blipFill>
        <p:spPr bwMode="gray">
          <a:xfrm>
            <a:off x="6672000" y="3573000"/>
            <a:ext cx="720000" cy="720000"/>
          </a:xfrm>
          <a:prstGeom prst="rect">
            <a:avLst/>
          </a:prstGeom>
          <a:noFill/>
        </p:spPr>
      </p:pic>
      <p:pic>
        <p:nvPicPr>
          <p:cNvPr id="128" name="Grafik 127">
            <a:extLst>
              <a:ext uri="{FF2B5EF4-FFF2-40B4-BE49-F238E27FC236}">
                <a16:creationId xmlns:a16="http://schemas.microsoft.com/office/drawing/2014/main" id="{9780CA18-994C-4F5B-BC23-38D30AFBEDE1}"/>
              </a:ext>
            </a:extLst>
          </p:cNvPr>
          <p:cNvPicPr>
            <a:picLocks noChangeAspect="1"/>
          </p:cNvPicPr>
          <p:nvPr/>
        </p:nvPicPr>
        <p:blipFill>
          <a:blip r:embed="rId28" cstate="screen">
            <a:extLst>
              <a:ext uri="{28A0092B-C50C-407E-A947-70E740481C1C}">
                <a14:useLocalDpi xmlns:a14="http://schemas.microsoft.com/office/drawing/2010/main"/>
              </a:ext>
            </a:extLst>
          </a:blip>
          <a:srcRect/>
          <a:stretch/>
        </p:blipFill>
        <p:spPr bwMode="gray">
          <a:xfrm>
            <a:off x="7464000" y="3573000"/>
            <a:ext cx="720000" cy="720000"/>
          </a:xfrm>
          <a:prstGeom prst="rect">
            <a:avLst/>
          </a:prstGeom>
          <a:noFill/>
        </p:spPr>
      </p:pic>
      <p:pic>
        <p:nvPicPr>
          <p:cNvPr id="129" name="Grafik 128">
            <a:extLst>
              <a:ext uri="{FF2B5EF4-FFF2-40B4-BE49-F238E27FC236}">
                <a16:creationId xmlns:a16="http://schemas.microsoft.com/office/drawing/2014/main" id="{5014D5E5-FABB-4CFC-8897-DC6963071081}"/>
              </a:ext>
            </a:extLst>
          </p:cNvPr>
          <p:cNvPicPr>
            <a:picLocks noChangeAspect="1"/>
          </p:cNvPicPr>
          <p:nvPr/>
        </p:nvPicPr>
        <p:blipFill>
          <a:blip r:embed="rId29" cstate="screen">
            <a:extLst>
              <a:ext uri="{28A0092B-C50C-407E-A947-70E740481C1C}">
                <a14:useLocalDpi xmlns:a14="http://schemas.microsoft.com/office/drawing/2010/main"/>
              </a:ext>
            </a:extLst>
          </a:blip>
          <a:srcRect/>
          <a:stretch/>
        </p:blipFill>
        <p:spPr bwMode="gray">
          <a:xfrm>
            <a:off x="8256000" y="3573000"/>
            <a:ext cx="720000" cy="720000"/>
          </a:xfrm>
          <a:prstGeom prst="rect">
            <a:avLst/>
          </a:prstGeom>
          <a:noFill/>
        </p:spPr>
      </p:pic>
      <p:pic>
        <p:nvPicPr>
          <p:cNvPr id="130" name="Grafik 129">
            <a:extLst>
              <a:ext uri="{FF2B5EF4-FFF2-40B4-BE49-F238E27FC236}">
                <a16:creationId xmlns:a16="http://schemas.microsoft.com/office/drawing/2014/main" id="{A91B9030-A13A-4240-9460-09BA8730B3D8}"/>
              </a:ext>
            </a:extLst>
          </p:cNvPr>
          <p:cNvPicPr>
            <a:picLocks noChangeAspect="1"/>
          </p:cNvPicPr>
          <p:nvPr/>
        </p:nvPicPr>
        <p:blipFill>
          <a:blip r:embed="rId30" cstate="screen">
            <a:extLst>
              <a:ext uri="{28A0092B-C50C-407E-A947-70E740481C1C}">
                <a14:useLocalDpi xmlns:a14="http://schemas.microsoft.com/office/drawing/2010/main"/>
              </a:ext>
            </a:extLst>
          </a:blip>
          <a:srcRect/>
          <a:stretch/>
        </p:blipFill>
        <p:spPr bwMode="gray">
          <a:xfrm>
            <a:off x="9048000" y="3573000"/>
            <a:ext cx="720000" cy="720000"/>
          </a:xfrm>
          <a:prstGeom prst="rect">
            <a:avLst/>
          </a:prstGeom>
          <a:noFill/>
        </p:spPr>
      </p:pic>
      <p:pic>
        <p:nvPicPr>
          <p:cNvPr id="131" name="Grafik 130">
            <a:extLst>
              <a:ext uri="{FF2B5EF4-FFF2-40B4-BE49-F238E27FC236}">
                <a16:creationId xmlns:a16="http://schemas.microsoft.com/office/drawing/2014/main" id="{3B059CC8-E7A1-4D2F-8BD7-B6E6AE4B9518}"/>
              </a:ext>
            </a:extLst>
          </p:cNvPr>
          <p:cNvPicPr>
            <a:picLocks noChangeAspect="1"/>
          </p:cNvPicPr>
          <p:nvPr/>
        </p:nvPicPr>
        <p:blipFill>
          <a:blip r:embed="rId31" cstate="screen">
            <a:extLst>
              <a:ext uri="{28A0092B-C50C-407E-A947-70E740481C1C}">
                <a14:useLocalDpi xmlns:a14="http://schemas.microsoft.com/office/drawing/2010/main"/>
              </a:ext>
            </a:extLst>
          </a:blip>
          <a:srcRect/>
          <a:stretch/>
        </p:blipFill>
        <p:spPr bwMode="gray">
          <a:xfrm>
            <a:off x="9840000" y="3573000"/>
            <a:ext cx="720000" cy="720000"/>
          </a:xfrm>
          <a:prstGeom prst="rect">
            <a:avLst/>
          </a:prstGeom>
          <a:noFill/>
        </p:spPr>
      </p:pic>
      <p:pic>
        <p:nvPicPr>
          <p:cNvPr id="132" name="Grafik 131">
            <a:extLst>
              <a:ext uri="{FF2B5EF4-FFF2-40B4-BE49-F238E27FC236}">
                <a16:creationId xmlns:a16="http://schemas.microsoft.com/office/drawing/2014/main" id="{1C16D0F0-C5AF-464A-A3B7-959B7B53AEC2}"/>
              </a:ext>
            </a:extLst>
          </p:cNvPr>
          <p:cNvPicPr>
            <a:picLocks noChangeAspect="1"/>
          </p:cNvPicPr>
          <p:nvPr/>
        </p:nvPicPr>
        <p:blipFill>
          <a:blip r:embed="rId32" cstate="screen">
            <a:extLst>
              <a:ext uri="{28A0092B-C50C-407E-A947-70E740481C1C}">
                <a14:useLocalDpi xmlns:a14="http://schemas.microsoft.com/office/drawing/2010/main"/>
              </a:ext>
            </a:extLst>
          </a:blip>
          <a:srcRect/>
          <a:stretch/>
        </p:blipFill>
        <p:spPr bwMode="gray">
          <a:xfrm>
            <a:off x="10632000" y="3573000"/>
            <a:ext cx="720000" cy="720000"/>
          </a:xfrm>
          <a:prstGeom prst="rect">
            <a:avLst/>
          </a:prstGeom>
          <a:noFill/>
        </p:spPr>
      </p:pic>
      <p:pic>
        <p:nvPicPr>
          <p:cNvPr id="133" name="Grafik 132">
            <a:extLst>
              <a:ext uri="{FF2B5EF4-FFF2-40B4-BE49-F238E27FC236}">
                <a16:creationId xmlns:a16="http://schemas.microsoft.com/office/drawing/2014/main" id="{877297AA-45C3-4E61-A4D9-6D4AD059C7F2}"/>
              </a:ext>
            </a:extLst>
          </p:cNvPr>
          <p:cNvPicPr>
            <a:picLocks noChangeAspect="1"/>
          </p:cNvPicPr>
          <p:nvPr/>
        </p:nvPicPr>
        <p:blipFill>
          <a:blip r:embed="rId33" cstate="screen">
            <a:extLst>
              <a:ext uri="{28A0092B-C50C-407E-A947-70E740481C1C}">
                <a14:useLocalDpi xmlns:a14="http://schemas.microsoft.com/office/drawing/2010/main"/>
              </a:ext>
            </a:extLst>
          </a:blip>
          <a:srcRect/>
          <a:stretch/>
        </p:blipFill>
        <p:spPr bwMode="gray">
          <a:xfrm>
            <a:off x="336000" y="4365000"/>
            <a:ext cx="720000" cy="720000"/>
          </a:xfrm>
          <a:prstGeom prst="rect">
            <a:avLst/>
          </a:prstGeom>
          <a:noFill/>
        </p:spPr>
      </p:pic>
      <p:pic>
        <p:nvPicPr>
          <p:cNvPr id="134" name="Grafik 133">
            <a:extLst>
              <a:ext uri="{FF2B5EF4-FFF2-40B4-BE49-F238E27FC236}">
                <a16:creationId xmlns:a16="http://schemas.microsoft.com/office/drawing/2014/main" id="{C04815F6-F72C-4ED1-99D0-295977B100F9}"/>
              </a:ext>
            </a:extLst>
          </p:cNvPr>
          <p:cNvPicPr>
            <a:picLocks noChangeAspect="1"/>
          </p:cNvPicPr>
          <p:nvPr/>
        </p:nvPicPr>
        <p:blipFill>
          <a:blip r:embed="rId34" cstate="screen">
            <a:extLst>
              <a:ext uri="{28A0092B-C50C-407E-A947-70E740481C1C}">
                <a14:useLocalDpi xmlns:a14="http://schemas.microsoft.com/office/drawing/2010/main"/>
              </a:ext>
            </a:extLst>
          </a:blip>
          <a:srcRect/>
          <a:stretch/>
        </p:blipFill>
        <p:spPr bwMode="gray">
          <a:xfrm>
            <a:off x="1128550" y="4365000"/>
            <a:ext cx="720000" cy="720000"/>
          </a:xfrm>
          <a:prstGeom prst="rect">
            <a:avLst/>
          </a:prstGeom>
          <a:noFill/>
        </p:spPr>
      </p:pic>
      <p:pic>
        <p:nvPicPr>
          <p:cNvPr id="135" name="Grafik 134">
            <a:extLst>
              <a:ext uri="{FF2B5EF4-FFF2-40B4-BE49-F238E27FC236}">
                <a16:creationId xmlns:a16="http://schemas.microsoft.com/office/drawing/2014/main" id="{9569616A-B463-4E20-A3C7-31173B0D8BD2}"/>
              </a:ext>
            </a:extLst>
          </p:cNvPr>
          <p:cNvPicPr>
            <a:picLocks noChangeAspect="1"/>
          </p:cNvPicPr>
          <p:nvPr/>
        </p:nvPicPr>
        <p:blipFill>
          <a:blip r:embed="rId35" cstate="screen">
            <a:extLst>
              <a:ext uri="{28A0092B-C50C-407E-A947-70E740481C1C}">
                <a14:useLocalDpi xmlns:a14="http://schemas.microsoft.com/office/drawing/2010/main"/>
              </a:ext>
            </a:extLst>
          </a:blip>
          <a:srcRect/>
          <a:stretch/>
        </p:blipFill>
        <p:spPr bwMode="gray">
          <a:xfrm>
            <a:off x="1920550" y="4365000"/>
            <a:ext cx="720000" cy="720000"/>
          </a:xfrm>
          <a:prstGeom prst="rect">
            <a:avLst/>
          </a:prstGeom>
          <a:noFill/>
        </p:spPr>
      </p:pic>
      <p:pic>
        <p:nvPicPr>
          <p:cNvPr id="136" name="Grafik 135">
            <a:extLst>
              <a:ext uri="{FF2B5EF4-FFF2-40B4-BE49-F238E27FC236}">
                <a16:creationId xmlns:a16="http://schemas.microsoft.com/office/drawing/2014/main" id="{18481E32-CB45-4206-B010-D62345510C38}"/>
              </a:ext>
            </a:extLst>
          </p:cNvPr>
          <p:cNvPicPr>
            <a:picLocks noChangeAspect="1"/>
          </p:cNvPicPr>
          <p:nvPr/>
        </p:nvPicPr>
        <p:blipFill>
          <a:blip r:embed="rId36" cstate="screen">
            <a:extLst>
              <a:ext uri="{28A0092B-C50C-407E-A947-70E740481C1C}">
                <a14:useLocalDpi xmlns:a14="http://schemas.microsoft.com/office/drawing/2010/main"/>
              </a:ext>
            </a:extLst>
          </a:blip>
          <a:srcRect/>
          <a:stretch/>
        </p:blipFill>
        <p:spPr bwMode="gray">
          <a:xfrm>
            <a:off x="2712550" y="4365000"/>
            <a:ext cx="720000" cy="720000"/>
          </a:xfrm>
          <a:prstGeom prst="rect">
            <a:avLst/>
          </a:prstGeom>
          <a:noFill/>
        </p:spPr>
      </p:pic>
      <p:pic>
        <p:nvPicPr>
          <p:cNvPr id="137" name="Grafik 136">
            <a:extLst>
              <a:ext uri="{FF2B5EF4-FFF2-40B4-BE49-F238E27FC236}">
                <a16:creationId xmlns:a16="http://schemas.microsoft.com/office/drawing/2014/main" id="{05A473CE-63CB-46F3-9D57-4E6E23D4F4A5}"/>
              </a:ext>
            </a:extLst>
          </p:cNvPr>
          <p:cNvPicPr>
            <a:picLocks noChangeAspect="1"/>
          </p:cNvPicPr>
          <p:nvPr/>
        </p:nvPicPr>
        <p:blipFill>
          <a:blip r:embed="rId37" cstate="screen">
            <a:extLst>
              <a:ext uri="{28A0092B-C50C-407E-A947-70E740481C1C}">
                <a14:useLocalDpi xmlns:a14="http://schemas.microsoft.com/office/drawing/2010/main"/>
              </a:ext>
            </a:extLst>
          </a:blip>
          <a:srcRect/>
          <a:stretch/>
        </p:blipFill>
        <p:spPr bwMode="gray">
          <a:xfrm>
            <a:off x="3504550" y="4365000"/>
            <a:ext cx="720000" cy="720000"/>
          </a:xfrm>
          <a:prstGeom prst="rect">
            <a:avLst/>
          </a:prstGeom>
          <a:noFill/>
        </p:spPr>
      </p:pic>
      <p:pic>
        <p:nvPicPr>
          <p:cNvPr id="138" name="Grafik 137">
            <a:extLst>
              <a:ext uri="{FF2B5EF4-FFF2-40B4-BE49-F238E27FC236}">
                <a16:creationId xmlns:a16="http://schemas.microsoft.com/office/drawing/2014/main" id="{694E5240-57BF-4518-9012-F9D54B00D422}"/>
              </a:ext>
            </a:extLst>
          </p:cNvPr>
          <p:cNvPicPr>
            <a:picLocks noChangeAspect="1"/>
          </p:cNvPicPr>
          <p:nvPr/>
        </p:nvPicPr>
        <p:blipFill>
          <a:blip r:embed="rId38" cstate="screen">
            <a:extLst>
              <a:ext uri="{28A0092B-C50C-407E-A947-70E740481C1C}">
                <a14:useLocalDpi xmlns:a14="http://schemas.microsoft.com/office/drawing/2010/main"/>
              </a:ext>
            </a:extLst>
          </a:blip>
          <a:srcRect/>
          <a:stretch/>
        </p:blipFill>
        <p:spPr bwMode="gray">
          <a:xfrm>
            <a:off x="1128000" y="1989000"/>
            <a:ext cx="720000" cy="720000"/>
          </a:xfrm>
          <a:prstGeom prst="rect">
            <a:avLst/>
          </a:prstGeom>
          <a:noFill/>
        </p:spPr>
      </p:pic>
      <p:pic>
        <p:nvPicPr>
          <p:cNvPr id="139" name="Grafik 138">
            <a:extLst>
              <a:ext uri="{FF2B5EF4-FFF2-40B4-BE49-F238E27FC236}">
                <a16:creationId xmlns:a16="http://schemas.microsoft.com/office/drawing/2014/main" id="{A743A744-80E9-4924-AE99-6B91B2C255F3}"/>
              </a:ext>
            </a:extLst>
          </p:cNvPr>
          <p:cNvPicPr>
            <a:picLocks noChangeAspect="1"/>
          </p:cNvPicPr>
          <p:nvPr/>
        </p:nvPicPr>
        <p:blipFill>
          <a:blip r:embed="rId39" cstate="screen">
            <a:extLst>
              <a:ext uri="{28A0092B-C50C-407E-A947-70E740481C1C}">
                <a14:useLocalDpi xmlns:a14="http://schemas.microsoft.com/office/drawing/2010/main"/>
              </a:ext>
            </a:extLst>
          </a:blip>
          <a:srcRect/>
          <a:stretch/>
        </p:blipFill>
        <p:spPr bwMode="gray">
          <a:xfrm>
            <a:off x="1920000" y="1989000"/>
            <a:ext cx="720000" cy="720000"/>
          </a:xfrm>
          <a:prstGeom prst="rect">
            <a:avLst/>
          </a:prstGeom>
          <a:noFill/>
        </p:spPr>
      </p:pic>
      <p:pic>
        <p:nvPicPr>
          <p:cNvPr id="140" name="Grafik 139">
            <a:extLst>
              <a:ext uri="{FF2B5EF4-FFF2-40B4-BE49-F238E27FC236}">
                <a16:creationId xmlns:a16="http://schemas.microsoft.com/office/drawing/2014/main" id="{B21EA821-DCE8-4DD2-86A7-DD558D8EE140}"/>
              </a:ext>
            </a:extLst>
          </p:cNvPr>
          <p:cNvPicPr>
            <a:picLocks noChangeAspect="1"/>
          </p:cNvPicPr>
          <p:nvPr/>
        </p:nvPicPr>
        <p:blipFill>
          <a:blip r:embed="rId40" cstate="screen">
            <a:extLst>
              <a:ext uri="{28A0092B-C50C-407E-A947-70E740481C1C}">
                <a14:useLocalDpi xmlns:a14="http://schemas.microsoft.com/office/drawing/2010/main"/>
              </a:ext>
            </a:extLst>
          </a:blip>
          <a:srcRect/>
          <a:stretch/>
        </p:blipFill>
        <p:spPr bwMode="gray">
          <a:xfrm>
            <a:off x="2712000" y="1989000"/>
            <a:ext cx="720000" cy="720000"/>
          </a:xfrm>
          <a:prstGeom prst="rect">
            <a:avLst/>
          </a:prstGeom>
          <a:noFill/>
        </p:spPr>
      </p:pic>
      <p:pic>
        <p:nvPicPr>
          <p:cNvPr id="141" name="Grafik 140">
            <a:extLst>
              <a:ext uri="{FF2B5EF4-FFF2-40B4-BE49-F238E27FC236}">
                <a16:creationId xmlns:a16="http://schemas.microsoft.com/office/drawing/2014/main" id="{BF06892E-759B-4230-8178-C9E69BAD2F08}"/>
              </a:ext>
            </a:extLst>
          </p:cNvPr>
          <p:cNvPicPr>
            <a:picLocks noChangeAspect="1"/>
          </p:cNvPicPr>
          <p:nvPr/>
        </p:nvPicPr>
        <p:blipFill>
          <a:blip r:embed="rId41" cstate="screen">
            <a:extLst>
              <a:ext uri="{28A0092B-C50C-407E-A947-70E740481C1C}">
                <a14:useLocalDpi xmlns:a14="http://schemas.microsoft.com/office/drawing/2010/main"/>
              </a:ext>
            </a:extLst>
          </a:blip>
          <a:srcRect/>
          <a:stretch/>
        </p:blipFill>
        <p:spPr bwMode="gray">
          <a:xfrm>
            <a:off x="3504000" y="1989000"/>
            <a:ext cx="720000" cy="720000"/>
          </a:xfrm>
          <a:prstGeom prst="rect">
            <a:avLst/>
          </a:prstGeom>
          <a:noFill/>
        </p:spPr>
      </p:pic>
      <p:pic>
        <p:nvPicPr>
          <p:cNvPr id="142" name="Grafik 141">
            <a:extLst>
              <a:ext uri="{FF2B5EF4-FFF2-40B4-BE49-F238E27FC236}">
                <a16:creationId xmlns:a16="http://schemas.microsoft.com/office/drawing/2014/main" id="{13ACE94F-FB1D-40B4-94CA-287D5A8D8722}"/>
              </a:ext>
            </a:extLst>
          </p:cNvPr>
          <p:cNvPicPr>
            <a:picLocks noChangeAspect="1"/>
          </p:cNvPicPr>
          <p:nvPr/>
        </p:nvPicPr>
        <p:blipFill>
          <a:blip r:embed="rId42" cstate="screen">
            <a:extLst>
              <a:ext uri="{28A0092B-C50C-407E-A947-70E740481C1C}">
                <a14:useLocalDpi xmlns:a14="http://schemas.microsoft.com/office/drawing/2010/main"/>
              </a:ext>
            </a:extLst>
          </a:blip>
          <a:srcRect/>
          <a:stretch/>
        </p:blipFill>
        <p:spPr bwMode="gray">
          <a:xfrm>
            <a:off x="4296000" y="1989000"/>
            <a:ext cx="720000" cy="720000"/>
          </a:xfrm>
          <a:prstGeom prst="rect">
            <a:avLst/>
          </a:prstGeom>
          <a:noFill/>
        </p:spPr>
      </p:pic>
      <p:pic>
        <p:nvPicPr>
          <p:cNvPr id="143" name="Grafik 142">
            <a:extLst>
              <a:ext uri="{FF2B5EF4-FFF2-40B4-BE49-F238E27FC236}">
                <a16:creationId xmlns:a16="http://schemas.microsoft.com/office/drawing/2014/main" id="{22429F09-CF77-4FC9-8313-03C9D6CFA565}"/>
              </a:ext>
            </a:extLst>
          </p:cNvPr>
          <p:cNvPicPr>
            <a:picLocks noChangeAspect="1"/>
          </p:cNvPicPr>
          <p:nvPr/>
        </p:nvPicPr>
        <p:blipFill>
          <a:blip r:embed="rId43" cstate="screen">
            <a:extLst>
              <a:ext uri="{28A0092B-C50C-407E-A947-70E740481C1C}">
                <a14:useLocalDpi xmlns:a14="http://schemas.microsoft.com/office/drawing/2010/main"/>
              </a:ext>
            </a:extLst>
          </a:blip>
          <a:srcRect/>
          <a:stretch/>
        </p:blipFill>
        <p:spPr bwMode="gray">
          <a:xfrm>
            <a:off x="5088000" y="1989000"/>
            <a:ext cx="720000" cy="720000"/>
          </a:xfrm>
          <a:prstGeom prst="rect">
            <a:avLst/>
          </a:prstGeom>
          <a:noFill/>
        </p:spPr>
      </p:pic>
      <p:pic>
        <p:nvPicPr>
          <p:cNvPr id="144" name="Grafik 143">
            <a:extLst>
              <a:ext uri="{FF2B5EF4-FFF2-40B4-BE49-F238E27FC236}">
                <a16:creationId xmlns:a16="http://schemas.microsoft.com/office/drawing/2014/main" id="{6C1296C2-0275-4CD0-A765-BA067002DCFD}"/>
              </a:ext>
            </a:extLst>
          </p:cNvPr>
          <p:cNvPicPr>
            <a:picLocks noChangeAspect="1"/>
          </p:cNvPicPr>
          <p:nvPr/>
        </p:nvPicPr>
        <p:blipFill>
          <a:blip r:embed="rId44" cstate="screen">
            <a:extLst>
              <a:ext uri="{28A0092B-C50C-407E-A947-70E740481C1C}">
                <a14:useLocalDpi xmlns:a14="http://schemas.microsoft.com/office/drawing/2010/main"/>
              </a:ext>
            </a:extLst>
          </a:blip>
          <a:srcRect/>
          <a:stretch/>
        </p:blipFill>
        <p:spPr bwMode="gray">
          <a:xfrm>
            <a:off x="5880000" y="1989000"/>
            <a:ext cx="720000" cy="720000"/>
          </a:xfrm>
          <a:prstGeom prst="rect">
            <a:avLst/>
          </a:prstGeom>
          <a:noFill/>
        </p:spPr>
      </p:pic>
      <p:pic>
        <p:nvPicPr>
          <p:cNvPr id="145" name="Grafik 144">
            <a:extLst>
              <a:ext uri="{FF2B5EF4-FFF2-40B4-BE49-F238E27FC236}">
                <a16:creationId xmlns:a16="http://schemas.microsoft.com/office/drawing/2014/main" id="{B055DF26-C24C-448A-A5CD-639C031D4607}"/>
              </a:ext>
            </a:extLst>
          </p:cNvPr>
          <p:cNvPicPr>
            <a:picLocks noChangeAspect="1"/>
          </p:cNvPicPr>
          <p:nvPr/>
        </p:nvPicPr>
        <p:blipFill>
          <a:blip r:embed="rId45" cstate="screen">
            <a:extLst>
              <a:ext uri="{28A0092B-C50C-407E-A947-70E740481C1C}">
                <a14:useLocalDpi xmlns:a14="http://schemas.microsoft.com/office/drawing/2010/main"/>
              </a:ext>
            </a:extLst>
          </a:blip>
          <a:srcRect/>
          <a:stretch/>
        </p:blipFill>
        <p:spPr bwMode="gray">
          <a:xfrm>
            <a:off x="6672000" y="1989000"/>
            <a:ext cx="720000" cy="720000"/>
          </a:xfrm>
          <a:prstGeom prst="rect">
            <a:avLst/>
          </a:prstGeom>
          <a:noFill/>
        </p:spPr>
      </p:pic>
      <p:pic>
        <p:nvPicPr>
          <p:cNvPr id="146" name="Grafik 145">
            <a:extLst>
              <a:ext uri="{FF2B5EF4-FFF2-40B4-BE49-F238E27FC236}">
                <a16:creationId xmlns:a16="http://schemas.microsoft.com/office/drawing/2014/main" id="{232A5242-A4D7-4D36-A662-F03C8556F412}"/>
              </a:ext>
            </a:extLst>
          </p:cNvPr>
          <p:cNvPicPr>
            <a:picLocks noChangeAspect="1"/>
          </p:cNvPicPr>
          <p:nvPr/>
        </p:nvPicPr>
        <p:blipFill>
          <a:blip r:embed="rId46" cstate="screen">
            <a:extLst>
              <a:ext uri="{28A0092B-C50C-407E-A947-70E740481C1C}">
                <a14:useLocalDpi xmlns:a14="http://schemas.microsoft.com/office/drawing/2010/main"/>
              </a:ext>
            </a:extLst>
          </a:blip>
          <a:srcRect/>
          <a:stretch/>
        </p:blipFill>
        <p:spPr bwMode="gray">
          <a:xfrm>
            <a:off x="7464000" y="1989000"/>
            <a:ext cx="720000" cy="720000"/>
          </a:xfrm>
          <a:prstGeom prst="rect">
            <a:avLst/>
          </a:prstGeom>
          <a:noFill/>
        </p:spPr>
      </p:pic>
      <p:pic>
        <p:nvPicPr>
          <p:cNvPr id="147" name="Grafik 146">
            <a:extLst>
              <a:ext uri="{FF2B5EF4-FFF2-40B4-BE49-F238E27FC236}">
                <a16:creationId xmlns:a16="http://schemas.microsoft.com/office/drawing/2014/main" id="{A4FA8E9C-A529-4D93-BD8C-F8278028FDBC}"/>
              </a:ext>
            </a:extLst>
          </p:cNvPr>
          <p:cNvPicPr>
            <a:picLocks noChangeAspect="1"/>
          </p:cNvPicPr>
          <p:nvPr/>
        </p:nvPicPr>
        <p:blipFill>
          <a:blip r:embed="rId47" cstate="screen">
            <a:extLst>
              <a:ext uri="{28A0092B-C50C-407E-A947-70E740481C1C}">
                <a14:useLocalDpi xmlns:a14="http://schemas.microsoft.com/office/drawing/2010/main"/>
              </a:ext>
            </a:extLst>
          </a:blip>
          <a:srcRect/>
          <a:stretch/>
        </p:blipFill>
        <p:spPr bwMode="gray">
          <a:xfrm>
            <a:off x="8256000" y="1989000"/>
            <a:ext cx="720000" cy="720000"/>
          </a:xfrm>
          <a:prstGeom prst="rect">
            <a:avLst/>
          </a:prstGeom>
          <a:noFill/>
        </p:spPr>
      </p:pic>
      <p:pic>
        <p:nvPicPr>
          <p:cNvPr id="148" name="Grafik 147">
            <a:extLst>
              <a:ext uri="{FF2B5EF4-FFF2-40B4-BE49-F238E27FC236}">
                <a16:creationId xmlns:a16="http://schemas.microsoft.com/office/drawing/2014/main" id="{5EFE5858-AD87-4FF7-A2F5-E1E30D42203C}"/>
              </a:ext>
            </a:extLst>
          </p:cNvPr>
          <p:cNvPicPr>
            <a:picLocks noChangeAspect="1"/>
          </p:cNvPicPr>
          <p:nvPr/>
        </p:nvPicPr>
        <p:blipFill>
          <a:blip r:embed="rId48" cstate="screen">
            <a:extLst>
              <a:ext uri="{28A0092B-C50C-407E-A947-70E740481C1C}">
                <a14:useLocalDpi xmlns:a14="http://schemas.microsoft.com/office/drawing/2010/main"/>
              </a:ext>
            </a:extLst>
          </a:blip>
          <a:srcRect/>
          <a:stretch/>
        </p:blipFill>
        <p:spPr bwMode="gray">
          <a:xfrm>
            <a:off x="9048000" y="1989000"/>
            <a:ext cx="720000" cy="720000"/>
          </a:xfrm>
          <a:prstGeom prst="rect">
            <a:avLst/>
          </a:prstGeom>
          <a:noFill/>
        </p:spPr>
      </p:pic>
      <p:pic>
        <p:nvPicPr>
          <p:cNvPr id="50" name="Grafik 49">
            <a:extLst>
              <a:ext uri="{FF2B5EF4-FFF2-40B4-BE49-F238E27FC236}">
                <a16:creationId xmlns:a16="http://schemas.microsoft.com/office/drawing/2014/main" id="{7A943CF5-871F-4B6B-BBAB-868480189E58}"/>
              </a:ext>
            </a:extLst>
          </p:cNvPr>
          <p:cNvPicPr>
            <a:picLocks noChangeAspect="1"/>
          </p:cNvPicPr>
          <p:nvPr/>
        </p:nvPicPr>
        <p:blipFill>
          <a:blip r:embed="rId49" cstate="screen">
            <a:extLst>
              <a:ext uri="{28A0092B-C50C-407E-A947-70E740481C1C}">
                <a14:useLocalDpi xmlns:a14="http://schemas.microsoft.com/office/drawing/2010/main"/>
              </a:ext>
            </a:extLst>
          </a:blip>
          <a:srcRect/>
          <a:stretch/>
        </p:blipFill>
        <p:spPr bwMode="gray">
          <a:xfrm>
            <a:off x="9840000" y="1989000"/>
            <a:ext cx="720000" cy="720000"/>
          </a:xfrm>
          <a:prstGeom prst="rect">
            <a:avLst/>
          </a:prstGeom>
          <a:noFill/>
        </p:spPr>
      </p:pic>
      <p:pic>
        <p:nvPicPr>
          <p:cNvPr id="51" name="Grafik 50">
            <a:extLst>
              <a:ext uri="{FF2B5EF4-FFF2-40B4-BE49-F238E27FC236}">
                <a16:creationId xmlns:a16="http://schemas.microsoft.com/office/drawing/2014/main" id="{01F37AE1-2FD7-4188-B021-AF52B3BC0799}"/>
              </a:ext>
            </a:extLst>
          </p:cNvPr>
          <p:cNvPicPr>
            <a:picLocks noChangeAspect="1"/>
          </p:cNvPicPr>
          <p:nvPr/>
        </p:nvPicPr>
        <p:blipFill>
          <a:blip r:embed="rId50" cstate="screen">
            <a:extLst>
              <a:ext uri="{28A0092B-C50C-407E-A947-70E740481C1C}">
                <a14:useLocalDpi xmlns:a14="http://schemas.microsoft.com/office/drawing/2010/main"/>
              </a:ext>
            </a:extLst>
          </a:blip>
          <a:srcRect/>
          <a:stretch/>
        </p:blipFill>
        <p:spPr bwMode="gray">
          <a:xfrm>
            <a:off x="10632000" y="1989000"/>
            <a:ext cx="720000" cy="720000"/>
          </a:xfrm>
          <a:prstGeom prst="rect">
            <a:avLst/>
          </a:prstGeom>
          <a:noFill/>
        </p:spPr>
      </p:pic>
      <p:pic>
        <p:nvPicPr>
          <p:cNvPr id="52" name="Grafik 51">
            <a:extLst>
              <a:ext uri="{FF2B5EF4-FFF2-40B4-BE49-F238E27FC236}">
                <a16:creationId xmlns:a16="http://schemas.microsoft.com/office/drawing/2014/main" id="{F79B2105-CF0E-4455-AA42-B1D6D6C3F50D}"/>
              </a:ext>
            </a:extLst>
          </p:cNvPr>
          <p:cNvPicPr>
            <a:picLocks noChangeAspect="1"/>
          </p:cNvPicPr>
          <p:nvPr/>
        </p:nvPicPr>
        <p:blipFill>
          <a:blip r:embed="rId51" cstate="screen">
            <a:extLst>
              <a:ext uri="{28A0092B-C50C-407E-A947-70E740481C1C}">
                <a14:useLocalDpi xmlns:a14="http://schemas.microsoft.com/office/drawing/2010/main"/>
              </a:ext>
            </a:extLst>
          </a:blip>
          <a:srcRect/>
          <a:stretch/>
        </p:blipFill>
        <p:spPr bwMode="gray">
          <a:xfrm>
            <a:off x="4296000" y="4365000"/>
            <a:ext cx="720000" cy="720000"/>
          </a:xfrm>
          <a:prstGeom prst="rect">
            <a:avLst/>
          </a:prstGeom>
          <a:noFill/>
        </p:spPr>
      </p:pic>
      <p:pic>
        <p:nvPicPr>
          <p:cNvPr id="53" name="Grafik 52">
            <a:extLst>
              <a:ext uri="{FF2B5EF4-FFF2-40B4-BE49-F238E27FC236}">
                <a16:creationId xmlns:a16="http://schemas.microsoft.com/office/drawing/2014/main" id="{B38E903D-7A46-4F2E-87E4-EBEABC537BF4}"/>
              </a:ext>
            </a:extLst>
          </p:cNvPr>
          <p:cNvPicPr>
            <a:picLocks noChangeAspect="1"/>
          </p:cNvPicPr>
          <p:nvPr/>
        </p:nvPicPr>
        <p:blipFill>
          <a:blip r:embed="rId52" cstate="screen">
            <a:extLst>
              <a:ext uri="{28A0092B-C50C-407E-A947-70E740481C1C}">
                <a14:useLocalDpi xmlns:a14="http://schemas.microsoft.com/office/drawing/2010/main"/>
              </a:ext>
            </a:extLst>
          </a:blip>
          <a:srcRect/>
          <a:stretch/>
        </p:blipFill>
        <p:spPr bwMode="gray">
          <a:xfrm>
            <a:off x="5088000" y="4365000"/>
            <a:ext cx="720000" cy="720000"/>
          </a:xfrm>
          <a:prstGeom prst="rect">
            <a:avLst/>
          </a:prstGeom>
          <a:noFill/>
        </p:spPr>
      </p:pic>
      <p:pic>
        <p:nvPicPr>
          <p:cNvPr id="54" name="Grafik 53">
            <a:extLst>
              <a:ext uri="{FF2B5EF4-FFF2-40B4-BE49-F238E27FC236}">
                <a16:creationId xmlns:a16="http://schemas.microsoft.com/office/drawing/2014/main" id="{AC153B7B-2931-4109-8517-389B97D8FCD8}"/>
              </a:ext>
            </a:extLst>
          </p:cNvPr>
          <p:cNvPicPr>
            <a:picLocks noChangeAspect="1"/>
          </p:cNvPicPr>
          <p:nvPr/>
        </p:nvPicPr>
        <p:blipFill>
          <a:blip r:embed="rId53" cstate="screen">
            <a:extLst>
              <a:ext uri="{28A0092B-C50C-407E-A947-70E740481C1C}">
                <a14:useLocalDpi xmlns:a14="http://schemas.microsoft.com/office/drawing/2010/main"/>
              </a:ext>
            </a:extLst>
          </a:blip>
          <a:srcRect/>
          <a:stretch/>
        </p:blipFill>
        <p:spPr bwMode="gray">
          <a:xfrm>
            <a:off x="5880000" y="4365000"/>
            <a:ext cx="720000" cy="720000"/>
          </a:xfrm>
          <a:prstGeom prst="rect">
            <a:avLst/>
          </a:prstGeom>
          <a:noFill/>
        </p:spPr>
      </p:pic>
      <p:pic>
        <p:nvPicPr>
          <p:cNvPr id="55" name="Grafik 54">
            <a:extLst>
              <a:ext uri="{FF2B5EF4-FFF2-40B4-BE49-F238E27FC236}">
                <a16:creationId xmlns:a16="http://schemas.microsoft.com/office/drawing/2014/main" id="{91FF8107-9E85-4C7E-9400-6F43225B5882}"/>
              </a:ext>
            </a:extLst>
          </p:cNvPr>
          <p:cNvPicPr>
            <a:picLocks noChangeAspect="1"/>
          </p:cNvPicPr>
          <p:nvPr/>
        </p:nvPicPr>
        <p:blipFill>
          <a:blip r:embed="rId54" cstate="screen">
            <a:extLst>
              <a:ext uri="{28A0092B-C50C-407E-A947-70E740481C1C}">
                <a14:useLocalDpi xmlns:a14="http://schemas.microsoft.com/office/drawing/2010/main"/>
              </a:ext>
            </a:extLst>
          </a:blip>
          <a:srcRect/>
          <a:stretch/>
        </p:blipFill>
        <p:spPr bwMode="gray">
          <a:xfrm>
            <a:off x="6672000" y="4365000"/>
            <a:ext cx="720000" cy="720000"/>
          </a:xfrm>
          <a:prstGeom prst="rect">
            <a:avLst/>
          </a:prstGeom>
          <a:noFill/>
        </p:spPr>
      </p:pic>
      <p:pic>
        <p:nvPicPr>
          <p:cNvPr id="62" name="Grafik 61">
            <a:extLst>
              <a:ext uri="{FF2B5EF4-FFF2-40B4-BE49-F238E27FC236}">
                <a16:creationId xmlns:a16="http://schemas.microsoft.com/office/drawing/2014/main" id="{B78D3AC8-CC8D-45AB-8BCF-A3047CE570D9}"/>
              </a:ext>
            </a:extLst>
          </p:cNvPr>
          <p:cNvPicPr>
            <a:picLocks noChangeAspect="1"/>
          </p:cNvPicPr>
          <p:nvPr/>
        </p:nvPicPr>
        <p:blipFill>
          <a:blip r:embed="rId55" cstate="screen">
            <a:extLst>
              <a:ext uri="{28A0092B-C50C-407E-A947-70E740481C1C}">
                <a14:useLocalDpi xmlns:a14="http://schemas.microsoft.com/office/drawing/2010/main"/>
              </a:ext>
            </a:extLst>
          </a:blip>
          <a:srcRect/>
          <a:stretch/>
        </p:blipFill>
        <p:spPr bwMode="gray">
          <a:xfrm>
            <a:off x="336000" y="1989000"/>
            <a:ext cx="720000" cy="720000"/>
          </a:xfrm>
          <a:prstGeom prst="rect">
            <a:avLst/>
          </a:prstGeom>
          <a:noFill/>
        </p:spPr>
      </p:pic>
    </p:spTree>
    <p:extLst>
      <p:ext uri="{BB962C8B-B14F-4D97-AF65-F5344CB8AC3E}">
        <p14:creationId xmlns:p14="http://schemas.microsoft.com/office/powerpoint/2010/main" val="3922154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B51E20D-D6FF-488E-8E58-43BC6B803705}"/>
              </a:ext>
            </a:extLst>
          </p:cNvPr>
          <p:cNvGraphicFramePr>
            <a:graphicFrameLocks noChangeAspect="1"/>
          </p:cNvGraphicFramePr>
          <p:nvPr>
            <p:custDataLst>
              <p:tags r:id="rId1"/>
            </p:custDataLst>
            <p:extLst>
              <p:ext uri="{D42A27DB-BD31-4B8C-83A1-F6EECF244321}">
                <p14:modId xmlns:p14="http://schemas.microsoft.com/office/powerpoint/2010/main" val="372729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8873297-7CFC-48F0-A9F3-6BDCC221C31B}"/>
              </a:ext>
            </a:extLst>
          </p:cNvPr>
          <p:cNvSpPr>
            <a:spLocks noGrp="1"/>
          </p:cNvSpPr>
          <p:nvPr>
            <p:ph type="title"/>
          </p:nvPr>
        </p:nvSpPr>
        <p:spPr bwMode="gray"/>
        <p:txBody>
          <a:bodyPr vert="horz"/>
          <a:lstStyle/>
          <a:p>
            <a:r>
              <a:rPr lang="de-DE" dirty="0"/>
              <a:t>Icons I </a:t>
            </a:r>
            <a:br>
              <a:rPr lang="de-DE" dirty="0"/>
            </a:br>
            <a:r>
              <a:rPr lang="de-DE" b="0" dirty="0"/>
              <a:t>negativ | Cyan</a:t>
            </a:r>
          </a:p>
        </p:txBody>
      </p:sp>
      <p:sp>
        <p:nvSpPr>
          <p:cNvPr id="8" name="Date Placeholder 7">
            <a:extLst>
              <a:ext uri="{FF2B5EF4-FFF2-40B4-BE49-F238E27FC236}">
                <a16:creationId xmlns:a16="http://schemas.microsoft.com/office/drawing/2014/main" id="{1AC5802E-2235-4F79-AB4A-54F25F8908CD}"/>
              </a:ext>
            </a:extLst>
          </p:cNvPr>
          <p:cNvSpPr>
            <a:spLocks noGrp="1"/>
          </p:cNvSpPr>
          <p:nvPr>
            <p:ph type="dt" sz="half" idx="10"/>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1E8379-71AE-479B-BB9D-FB84BDF88D72}" type="datetime1">
              <a:rPr kumimoji="0" lang="de-DE" sz="800" b="0" i="0" u="none" strike="noStrike" kern="1200" cap="none" spc="0" normalizeH="0" baseline="0" noProof="0" smtClean="0">
                <a:ln>
                  <a:noFill/>
                </a:ln>
                <a:solidFill>
                  <a:srgbClr val="FFFFFF"/>
                </a:solidFill>
                <a:effectLst/>
                <a:uLnTx/>
                <a:uFillTx/>
                <a:latin typeface="Verdana"/>
                <a:ea typeface="+mn-ea"/>
                <a:cs typeface="+mn-cs"/>
              </a:rPr>
              <a:t>29.09.25</a:t>
            </a:fld>
            <a:endParaRPr kumimoji="0" lang="de-DE" sz="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3" name="Fußzeilenplatzhalter 2">
            <a:extLst>
              <a:ext uri="{FF2B5EF4-FFF2-40B4-BE49-F238E27FC236}">
                <a16:creationId xmlns:a16="http://schemas.microsoft.com/office/drawing/2014/main" id="{719E5376-D5E1-4E1C-A687-F622EC74BD21}"/>
              </a:ext>
            </a:extLst>
          </p:cNvPr>
          <p:cNvSpPr>
            <a:spLocks noGrp="1"/>
          </p:cNvSpPr>
          <p:nvPr>
            <p:ph type="ftr" sz="quarter"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all" spc="0" normalizeH="0" baseline="0" noProof="0" dirty="0">
                <a:ln>
                  <a:noFill/>
                </a:ln>
                <a:solidFill>
                  <a:srgbClr val="FFFFFF"/>
                </a:solidFill>
                <a:effectLst/>
                <a:uLnTx/>
                <a:uFillTx/>
                <a:latin typeface="Verdana"/>
                <a:ea typeface="+mn-ea"/>
                <a:cs typeface="+mn-cs"/>
              </a:rPr>
              <a:t>TITEL DER PRÄSENTATION | TITEL VORNAME NAME</a:t>
            </a:r>
          </a:p>
        </p:txBody>
      </p:sp>
      <p:sp>
        <p:nvSpPr>
          <p:cNvPr id="4" name="Foliennummernplatzhalter 3">
            <a:extLst>
              <a:ext uri="{FF2B5EF4-FFF2-40B4-BE49-F238E27FC236}">
                <a16:creationId xmlns:a16="http://schemas.microsoft.com/office/drawing/2014/main" id="{6F0F3D92-6905-4E0A-8342-A03F733B35F7}"/>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9C37E-8A19-4E30-BE2B-5A966AD23C7A}" type="slidenum">
              <a:rPr kumimoji="0" lang="de-DE" sz="8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de-DE" sz="800" b="0" i="0" u="none" strike="noStrike" kern="1200" cap="none" spc="0" normalizeH="0" baseline="0" noProof="0" dirty="0">
              <a:ln>
                <a:noFill/>
              </a:ln>
              <a:solidFill>
                <a:srgbClr val="FFFFFF"/>
              </a:solidFill>
              <a:effectLst/>
              <a:uLnTx/>
              <a:uFillTx/>
              <a:latin typeface="Verdana"/>
              <a:ea typeface="+mn-ea"/>
              <a:cs typeface="+mn-cs"/>
            </a:endParaRPr>
          </a:p>
        </p:txBody>
      </p:sp>
      <p:pic>
        <p:nvPicPr>
          <p:cNvPr id="105" name="Grafik 104">
            <a:extLst>
              <a:ext uri="{FF2B5EF4-FFF2-40B4-BE49-F238E27FC236}">
                <a16:creationId xmlns:a16="http://schemas.microsoft.com/office/drawing/2014/main" id="{10A29B5C-92C1-48AF-AE84-F09962E40D3F}"/>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bwMode="gray">
          <a:xfrm>
            <a:off x="10632000" y="1989138"/>
            <a:ext cx="720000" cy="720000"/>
          </a:xfrm>
          <a:prstGeom prst="rect">
            <a:avLst/>
          </a:prstGeom>
          <a:noFill/>
        </p:spPr>
      </p:pic>
      <p:pic>
        <p:nvPicPr>
          <p:cNvPr id="106" name="Grafik 105">
            <a:extLst>
              <a:ext uri="{FF2B5EF4-FFF2-40B4-BE49-F238E27FC236}">
                <a16:creationId xmlns:a16="http://schemas.microsoft.com/office/drawing/2014/main" id="{72E8A7BA-B4E1-4087-86FB-0A9FD7082D87}"/>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bwMode="gray">
          <a:xfrm>
            <a:off x="336000" y="2781000"/>
            <a:ext cx="720000" cy="720000"/>
          </a:xfrm>
          <a:prstGeom prst="rect">
            <a:avLst/>
          </a:prstGeom>
          <a:noFill/>
        </p:spPr>
      </p:pic>
      <p:pic>
        <p:nvPicPr>
          <p:cNvPr id="107" name="Grafik 106">
            <a:extLst>
              <a:ext uri="{FF2B5EF4-FFF2-40B4-BE49-F238E27FC236}">
                <a16:creationId xmlns:a16="http://schemas.microsoft.com/office/drawing/2014/main" id="{11B71FC6-8BA4-4619-9AB2-280BE416E3F0}"/>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bwMode="gray">
          <a:xfrm>
            <a:off x="1128000" y="2781000"/>
            <a:ext cx="720000" cy="720000"/>
          </a:xfrm>
          <a:prstGeom prst="rect">
            <a:avLst/>
          </a:prstGeom>
          <a:noFill/>
        </p:spPr>
      </p:pic>
      <p:pic>
        <p:nvPicPr>
          <p:cNvPr id="108" name="Grafik 107">
            <a:extLst>
              <a:ext uri="{FF2B5EF4-FFF2-40B4-BE49-F238E27FC236}">
                <a16:creationId xmlns:a16="http://schemas.microsoft.com/office/drawing/2014/main" id="{FD1F16C5-5669-4BAE-AC73-6D31411E1214}"/>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bwMode="gray">
          <a:xfrm>
            <a:off x="1920000" y="2781000"/>
            <a:ext cx="720000" cy="720000"/>
          </a:xfrm>
          <a:prstGeom prst="rect">
            <a:avLst/>
          </a:prstGeom>
          <a:noFill/>
        </p:spPr>
      </p:pic>
      <p:pic>
        <p:nvPicPr>
          <p:cNvPr id="109" name="Grafik 108">
            <a:extLst>
              <a:ext uri="{FF2B5EF4-FFF2-40B4-BE49-F238E27FC236}">
                <a16:creationId xmlns:a16="http://schemas.microsoft.com/office/drawing/2014/main" id="{8A0B8548-39A6-432A-BCF6-68C67E946062}"/>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bwMode="gray">
          <a:xfrm>
            <a:off x="2712663" y="2781000"/>
            <a:ext cx="720000" cy="720000"/>
          </a:xfrm>
          <a:prstGeom prst="rect">
            <a:avLst/>
          </a:prstGeom>
          <a:noFill/>
        </p:spPr>
      </p:pic>
      <p:pic>
        <p:nvPicPr>
          <p:cNvPr id="110" name="Grafik 109">
            <a:extLst>
              <a:ext uri="{FF2B5EF4-FFF2-40B4-BE49-F238E27FC236}">
                <a16:creationId xmlns:a16="http://schemas.microsoft.com/office/drawing/2014/main" id="{E910F74A-DF07-46D5-8461-A89FAB30E92F}"/>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bwMode="gray">
          <a:xfrm>
            <a:off x="3504000" y="2781000"/>
            <a:ext cx="720000" cy="720000"/>
          </a:xfrm>
          <a:prstGeom prst="rect">
            <a:avLst/>
          </a:prstGeom>
          <a:noFill/>
        </p:spPr>
      </p:pic>
      <p:pic>
        <p:nvPicPr>
          <p:cNvPr id="62" name="Grafik 61">
            <a:extLst>
              <a:ext uri="{FF2B5EF4-FFF2-40B4-BE49-F238E27FC236}">
                <a16:creationId xmlns:a16="http://schemas.microsoft.com/office/drawing/2014/main" id="{6B1F15CB-F508-4A09-9735-8A247DD36E6F}"/>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bwMode="gray">
          <a:xfrm>
            <a:off x="4296000" y="2781000"/>
            <a:ext cx="720000" cy="720000"/>
          </a:xfrm>
          <a:prstGeom prst="rect">
            <a:avLst/>
          </a:prstGeom>
          <a:noFill/>
        </p:spPr>
      </p:pic>
      <p:pic>
        <p:nvPicPr>
          <p:cNvPr id="63" name="Grafik 62">
            <a:extLst>
              <a:ext uri="{FF2B5EF4-FFF2-40B4-BE49-F238E27FC236}">
                <a16:creationId xmlns:a16="http://schemas.microsoft.com/office/drawing/2014/main" id="{34C2CB84-7F7C-4246-94A4-F13207B7DDB2}"/>
              </a:ext>
            </a:extLst>
          </p:cNvPr>
          <p:cNvPicPr>
            <a:picLocks noChangeAspect="1"/>
          </p:cNvPicPr>
          <p:nvPr/>
        </p:nvPicPr>
        <p:blipFill>
          <a:blip r:embed="rId12" cstate="screen">
            <a:extLst>
              <a:ext uri="{28A0092B-C50C-407E-A947-70E740481C1C}">
                <a14:useLocalDpi xmlns:a14="http://schemas.microsoft.com/office/drawing/2010/main"/>
              </a:ext>
            </a:extLst>
          </a:blip>
          <a:srcRect/>
          <a:stretch/>
        </p:blipFill>
        <p:spPr bwMode="gray">
          <a:xfrm>
            <a:off x="5088000" y="2781000"/>
            <a:ext cx="720000" cy="720000"/>
          </a:xfrm>
          <a:prstGeom prst="rect">
            <a:avLst/>
          </a:prstGeom>
          <a:noFill/>
        </p:spPr>
      </p:pic>
      <p:pic>
        <p:nvPicPr>
          <p:cNvPr id="64" name="Grafik 63">
            <a:extLst>
              <a:ext uri="{FF2B5EF4-FFF2-40B4-BE49-F238E27FC236}">
                <a16:creationId xmlns:a16="http://schemas.microsoft.com/office/drawing/2014/main" id="{0A6626DC-3216-4EC6-84F8-D97E2209A01D}"/>
              </a:ext>
            </a:extLst>
          </p:cNvPr>
          <p:cNvPicPr>
            <a:picLocks noChangeAspect="1"/>
          </p:cNvPicPr>
          <p:nvPr/>
        </p:nvPicPr>
        <p:blipFill>
          <a:blip r:embed="rId13" cstate="screen">
            <a:extLst>
              <a:ext uri="{28A0092B-C50C-407E-A947-70E740481C1C}">
                <a14:useLocalDpi xmlns:a14="http://schemas.microsoft.com/office/drawing/2010/main"/>
              </a:ext>
            </a:extLst>
          </a:blip>
          <a:srcRect/>
          <a:stretch/>
        </p:blipFill>
        <p:spPr bwMode="gray">
          <a:xfrm>
            <a:off x="5880000" y="2781000"/>
            <a:ext cx="720000" cy="720000"/>
          </a:xfrm>
          <a:prstGeom prst="rect">
            <a:avLst/>
          </a:prstGeom>
          <a:noFill/>
        </p:spPr>
      </p:pic>
      <p:pic>
        <p:nvPicPr>
          <p:cNvPr id="65" name="Grafik 64">
            <a:extLst>
              <a:ext uri="{FF2B5EF4-FFF2-40B4-BE49-F238E27FC236}">
                <a16:creationId xmlns:a16="http://schemas.microsoft.com/office/drawing/2014/main" id="{0C83DAFC-784E-4967-9BE6-DC809D2421D2}"/>
              </a:ext>
            </a:extLst>
          </p:cNvPr>
          <p:cNvPicPr>
            <a:picLocks noChangeAspect="1"/>
          </p:cNvPicPr>
          <p:nvPr/>
        </p:nvPicPr>
        <p:blipFill>
          <a:blip r:embed="rId14" cstate="screen">
            <a:extLst>
              <a:ext uri="{28A0092B-C50C-407E-A947-70E740481C1C}">
                <a14:useLocalDpi xmlns:a14="http://schemas.microsoft.com/office/drawing/2010/main"/>
              </a:ext>
            </a:extLst>
          </a:blip>
          <a:srcRect/>
          <a:stretch/>
        </p:blipFill>
        <p:spPr bwMode="gray">
          <a:xfrm>
            <a:off x="6672000" y="2781000"/>
            <a:ext cx="720000" cy="720000"/>
          </a:xfrm>
          <a:prstGeom prst="rect">
            <a:avLst/>
          </a:prstGeom>
          <a:noFill/>
        </p:spPr>
      </p:pic>
      <p:pic>
        <p:nvPicPr>
          <p:cNvPr id="66" name="Grafik 65">
            <a:extLst>
              <a:ext uri="{FF2B5EF4-FFF2-40B4-BE49-F238E27FC236}">
                <a16:creationId xmlns:a16="http://schemas.microsoft.com/office/drawing/2014/main" id="{B59FDF53-7133-42E1-B75F-D9C22CD4F35F}"/>
              </a:ext>
            </a:extLst>
          </p:cNvPr>
          <p:cNvPicPr>
            <a:picLocks noChangeAspect="1"/>
          </p:cNvPicPr>
          <p:nvPr/>
        </p:nvPicPr>
        <p:blipFill>
          <a:blip r:embed="rId15" cstate="screen">
            <a:extLst>
              <a:ext uri="{28A0092B-C50C-407E-A947-70E740481C1C}">
                <a14:useLocalDpi xmlns:a14="http://schemas.microsoft.com/office/drawing/2010/main"/>
              </a:ext>
            </a:extLst>
          </a:blip>
          <a:srcRect/>
          <a:stretch/>
        </p:blipFill>
        <p:spPr bwMode="gray">
          <a:xfrm>
            <a:off x="7464000" y="2781000"/>
            <a:ext cx="720000" cy="720000"/>
          </a:xfrm>
          <a:prstGeom prst="rect">
            <a:avLst/>
          </a:prstGeom>
          <a:noFill/>
        </p:spPr>
      </p:pic>
      <p:pic>
        <p:nvPicPr>
          <p:cNvPr id="67" name="Grafik 66">
            <a:extLst>
              <a:ext uri="{FF2B5EF4-FFF2-40B4-BE49-F238E27FC236}">
                <a16:creationId xmlns:a16="http://schemas.microsoft.com/office/drawing/2014/main" id="{927B1E10-D325-4393-812F-1E63EF052F18}"/>
              </a:ext>
            </a:extLst>
          </p:cNvPr>
          <p:cNvPicPr>
            <a:picLocks noChangeAspect="1"/>
          </p:cNvPicPr>
          <p:nvPr/>
        </p:nvPicPr>
        <p:blipFill>
          <a:blip r:embed="rId16" cstate="screen">
            <a:extLst>
              <a:ext uri="{28A0092B-C50C-407E-A947-70E740481C1C}">
                <a14:useLocalDpi xmlns:a14="http://schemas.microsoft.com/office/drawing/2010/main"/>
              </a:ext>
            </a:extLst>
          </a:blip>
          <a:srcRect/>
          <a:stretch/>
        </p:blipFill>
        <p:spPr bwMode="gray">
          <a:xfrm>
            <a:off x="8256000" y="2781000"/>
            <a:ext cx="720000" cy="720000"/>
          </a:xfrm>
          <a:prstGeom prst="rect">
            <a:avLst/>
          </a:prstGeom>
          <a:noFill/>
        </p:spPr>
      </p:pic>
      <p:pic>
        <p:nvPicPr>
          <p:cNvPr id="68" name="Grafik 67">
            <a:extLst>
              <a:ext uri="{FF2B5EF4-FFF2-40B4-BE49-F238E27FC236}">
                <a16:creationId xmlns:a16="http://schemas.microsoft.com/office/drawing/2014/main" id="{32D2A621-40D6-4934-A7AF-A1E951981867}"/>
              </a:ext>
            </a:extLst>
          </p:cNvPr>
          <p:cNvPicPr>
            <a:picLocks noChangeAspect="1"/>
          </p:cNvPicPr>
          <p:nvPr/>
        </p:nvPicPr>
        <p:blipFill>
          <a:blip r:embed="rId17" cstate="screen">
            <a:extLst>
              <a:ext uri="{28A0092B-C50C-407E-A947-70E740481C1C}">
                <a14:useLocalDpi xmlns:a14="http://schemas.microsoft.com/office/drawing/2010/main"/>
              </a:ext>
            </a:extLst>
          </a:blip>
          <a:srcRect/>
          <a:stretch/>
        </p:blipFill>
        <p:spPr bwMode="gray">
          <a:xfrm>
            <a:off x="9048000" y="2781000"/>
            <a:ext cx="720000" cy="720000"/>
          </a:xfrm>
          <a:prstGeom prst="rect">
            <a:avLst/>
          </a:prstGeom>
          <a:noFill/>
        </p:spPr>
      </p:pic>
      <p:pic>
        <p:nvPicPr>
          <p:cNvPr id="69" name="Grafik 68">
            <a:extLst>
              <a:ext uri="{FF2B5EF4-FFF2-40B4-BE49-F238E27FC236}">
                <a16:creationId xmlns:a16="http://schemas.microsoft.com/office/drawing/2014/main" id="{CD60A646-FDD2-4AF9-A67B-6024D949B682}"/>
              </a:ext>
            </a:extLst>
          </p:cNvPr>
          <p:cNvPicPr>
            <a:picLocks noChangeAspect="1"/>
          </p:cNvPicPr>
          <p:nvPr/>
        </p:nvPicPr>
        <p:blipFill>
          <a:blip r:embed="rId18" cstate="screen">
            <a:extLst>
              <a:ext uri="{28A0092B-C50C-407E-A947-70E740481C1C}">
                <a14:useLocalDpi xmlns:a14="http://schemas.microsoft.com/office/drawing/2010/main"/>
              </a:ext>
            </a:extLst>
          </a:blip>
          <a:srcRect/>
          <a:stretch/>
        </p:blipFill>
        <p:spPr bwMode="gray">
          <a:xfrm>
            <a:off x="9840000" y="2781000"/>
            <a:ext cx="720000" cy="720000"/>
          </a:xfrm>
          <a:prstGeom prst="rect">
            <a:avLst/>
          </a:prstGeom>
          <a:noFill/>
        </p:spPr>
      </p:pic>
      <p:pic>
        <p:nvPicPr>
          <p:cNvPr id="70" name="Grafik 69">
            <a:extLst>
              <a:ext uri="{FF2B5EF4-FFF2-40B4-BE49-F238E27FC236}">
                <a16:creationId xmlns:a16="http://schemas.microsoft.com/office/drawing/2014/main" id="{B5DB7B83-054A-4407-B51C-5EA8406CA76E}"/>
              </a:ext>
            </a:extLst>
          </p:cNvPr>
          <p:cNvPicPr>
            <a:picLocks noChangeAspect="1"/>
          </p:cNvPicPr>
          <p:nvPr/>
        </p:nvPicPr>
        <p:blipFill>
          <a:blip r:embed="rId19" cstate="screen">
            <a:extLst>
              <a:ext uri="{28A0092B-C50C-407E-A947-70E740481C1C}">
                <a14:useLocalDpi xmlns:a14="http://schemas.microsoft.com/office/drawing/2010/main"/>
              </a:ext>
            </a:extLst>
          </a:blip>
          <a:srcRect/>
          <a:stretch/>
        </p:blipFill>
        <p:spPr bwMode="gray">
          <a:xfrm>
            <a:off x="10632000" y="2781000"/>
            <a:ext cx="720000" cy="720000"/>
          </a:xfrm>
          <a:prstGeom prst="rect">
            <a:avLst/>
          </a:prstGeom>
          <a:noFill/>
        </p:spPr>
      </p:pic>
      <p:pic>
        <p:nvPicPr>
          <p:cNvPr id="71" name="Grafik 70">
            <a:extLst>
              <a:ext uri="{FF2B5EF4-FFF2-40B4-BE49-F238E27FC236}">
                <a16:creationId xmlns:a16="http://schemas.microsoft.com/office/drawing/2014/main" id="{CA4B479C-67A1-4F44-8152-B69E1129305F}"/>
              </a:ext>
            </a:extLst>
          </p:cNvPr>
          <p:cNvPicPr>
            <a:picLocks noChangeAspect="1"/>
          </p:cNvPicPr>
          <p:nvPr/>
        </p:nvPicPr>
        <p:blipFill>
          <a:blip r:embed="rId20" cstate="screen">
            <a:extLst>
              <a:ext uri="{28A0092B-C50C-407E-A947-70E740481C1C}">
                <a14:useLocalDpi xmlns:a14="http://schemas.microsoft.com/office/drawing/2010/main"/>
              </a:ext>
            </a:extLst>
          </a:blip>
          <a:srcRect/>
          <a:stretch/>
        </p:blipFill>
        <p:spPr bwMode="gray">
          <a:xfrm>
            <a:off x="336000" y="3573000"/>
            <a:ext cx="720000" cy="720000"/>
          </a:xfrm>
          <a:prstGeom prst="rect">
            <a:avLst/>
          </a:prstGeom>
          <a:noFill/>
        </p:spPr>
      </p:pic>
      <p:pic>
        <p:nvPicPr>
          <p:cNvPr id="72" name="Grafik 71">
            <a:extLst>
              <a:ext uri="{FF2B5EF4-FFF2-40B4-BE49-F238E27FC236}">
                <a16:creationId xmlns:a16="http://schemas.microsoft.com/office/drawing/2014/main" id="{B78155F3-FD22-4A98-891E-605EA8D1B971}"/>
              </a:ext>
            </a:extLst>
          </p:cNvPr>
          <p:cNvPicPr>
            <a:picLocks noChangeAspect="1"/>
          </p:cNvPicPr>
          <p:nvPr/>
        </p:nvPicPr>
        <p:blipFill>
          <a:blip r:embed="rId21" cstate="screen">
            <a:extLst>
              <a:ext uri="{28A0092B-C50C-407E-A947-70E740481C1C}">
                <a14:useLocalDpi xmlns:a14="http://schemas.microsoft.com/office/drawing/2010/main"/>
              </a:ext>
            </a:extLst>
          </a:blip>
          <a:srcRect/>
          <a:stretch/>
        </p:blipFill>
        <p:spPr bwMode="gray">
          <a:xfrm>
            <a:off x="1128000" y="3573000"/>
            <a:ext cx="720000" cy="720000"/>
          </a:xfrm>
          <a:prstGeom prst="rect">
            <a:avLst/>
          </a:prstGeom>
          <a:noFill/>
        </p:spPr>
      </p:pic>
      <p:pic>
        <p:nvPicPr>
          <p:cNvPr id="73" name="Grafik 72">
            <a:extLst>
              <a:ext uri="{FF2B5EF4-FFF2-40B4-BE49-F238E27FC236}">
                <a16:creationId xmlns:a16="http://schemas.microsoft.com/office/drawing/2014/main" id="{86DEAEF6-32A7-4FC5-BCC8-6D9FAD2DC72F}"/>
              </a:ext>
            </a:extLst>
          </p:cNvPr>
          <p:cNvPicPr>
            <a:picLocks noChangeAspect="1"/>
          </p:cNvPicPr>
          <p:nvPr/>
        </p:nvPicPr>
        <p:blipFill>
          <a:blip r:embed="rId22" cstate="screen">
            <a:extLst>
              <a:ext uri="{28A0092B-C50C-407E-A947-70E740481C1C}">
                <a14:useLocalDpi xmlns:a14="http://schemas.microsoft.com/office/drawing/2010/main"/>
              </a:ext>
            </a:extLst>
          </a:blip>
          <a:srcRect/>
          <a:stretch/>
        </p:blipFill>
        <p:spPr bwMode="gray">
          <a:xfrm>
            <a:off x="1920000" y="3573000"/>
            <a:ext cx="720000" cy="720000"/>
          </a:xfrm>
          <a:prstGeom prst="rect">
            <a:avLst/>
          </a:prstGeom>
          <a:noFill/>
        </p:spPr>
      </p:pic>
      <p:pic>
        <p:nvPicPr>
          <p:cNvPr id="74" name="Grafik 73">
            <a:extLst>
              <a:ext uri="{FF2B5EF4-FFF2-40B4-BE49-F238E27FC236}">
                <a16:creationId xmlns:a16="http://schemas.microsoft.com/office/drawing/2014/main" id="{AA7A5DA0-7F5C-4FE1-8B76-C176A4C9EE81}"/>
              </a:ext>
            </a:extLst>
          </p:cNvPr>
          <p:cNvPicPr>
            <a:picLocks noChangeAspect="1"/>
          </p:cNvPicPr>
          <p:nvPr/>
        </p:nvPicPr>
        <p:blipFill>
          <a:blip r:embed="rId23" cstate="screen">
            <a:extLst>
              <a:ext uri="{28A0092B-C50C-407E-A947-70E740481C1C}">
                <a14:useLocalDpi xmlns:a14="http://schemas.microsoft.com/office/drawing/2010/main"/>
              </a:ext>
            </a:extLst>
          </a:blip>
          <a:srcRect/>
          <a:stretch/>
        </p:blipFill>
        <p:spPr bwMode="gray">
          <a:xfrm>
            <a:off x="2712000" y="3573000"/>
            <a:ext cx="720000" cy="720000"/>
          </a:xfrm>
          <a:prstGeom prst="rect">
            <a:avLst/>
          </a:prstGeom>
          <a:noFill/>
        </p:spPr>
      </p:pic>
      <p:pic>
        <p:nvPicPr>
          <p:cNvPr id="75" name="Grafik 74">
            <a:extLst>
              <a:ext uri="{FF2B5EF4-FFF2-40B4-BE49-F238E27FC236}">
                <a16:creationId xmlns:a16="http://schemas.microsoft.com/office/drawing/2014/main" id="{7127CB08-EA59-4645-81FB-38D3C05EFFEB}"/>
              </a:ext>
            </a:extLst>
          </p:cNvPr>
          <p:cNvPicPr>
            <a:picLocks noChangeAspect="1"/>
          </p:cNvPicPr>
          <p:nvPr/>
        </p:nvPicPr>
        <p:blipFill>
          <a:blip r:embed="rId24" cstate="screen">
            <a:extLst>
              <a:ext uri="{28A0092B-C50C-407E-A947-70E740481C1C}">
                <a14:useLocalDpi xmlns:a14="http://schemas.microsoft.com/office/drawing/2010/main"/>
              </a:ext>
            </a:extLst>
          </a:blip>
          <a:srcRect/>
          <a:stretch/>
        </p:blipFill>
        <p:spPr bwMode="gray">
          <a:xfrm>
            <a:off x="3504000" y="3573000"/>
            <a:ext cx="720000" cy="720000"/>
          </a:xfrm>
          <a:prstGeom prst="rect">
            <a:avLst/>
          </a:prstGeom>
          <a:noFill/>
        </p:spPr>
      </p:pic>
      <p:pic>
        <p:nvPicPr>
          <p:cNvPr id="76" name="Grafik 75">
            <a:extLst>
              <a:ext uri="{FF2B5EF4-FFF2-40B4-BE49-F238E27FC236}">
                <a16:creationId xmlns:a16="http://schemas.microsoft.com/office/drawing/2014/main" id="{7A2E5762-8B4E-4D19-AC54-3B778E86E743}"/>
              </a:ext>
            </a:extLst>
          </p:cNvPr>
          <p:cNvPicPr>
            <a:picLocks noChangeAspect="1"/>
          </p:cNvPicPr>
          <p:nvPr/>
        </p:nvPicPr>
        <p:blipFill>
          <a:blip r:embed="rId25" cstate="screen">
            <a:extLst>
              <a:ext uri="{28A0092B-C50C-407E-A947-70E740481C1C}">
                <a14:useLocalDpi xmlns:a14="http://schemas.microsoft.com/office/drawing/2010/main"/>
              </a:ext>
            </a:extLst>
          </a:blip>
          <a:srcRect/>
          <a:stretch/>
        </p:blipFill>
        <p:spPr bwMode="gray">
          <a:xfrm>
            <a:off x="4296000" y="3573000"/>
            <a:ext cx="720000" cy="720000"/>
          </a:xfrm>
          <a:prstGeom prst="rect">
            <a:avLst/>
          </a:prstGeom>
          <a:noFill/>
        </p:spPr>
      </p:pic>
      <p:pic>
        <p:nvPicPr>
          <p:cNvPr id="77" name="Grafik 76">
            <a:extLst>
              <a:ext uri="{FF2B5EF4-FFF2-40B4-BE49-F238E27FC236}">
                <a16:creationId xmlns:a16="http://schemas.microsoft.com/office/drawing/2014/main" id="{056AEBB4-213C-43ED-8EA2-AC423B207101}"/>
              </a:ext>
            </a:extLst>
          </p:cNvPr>
          <p:cNvPicPr>
            <a:picLocks noChangeAspect="1"/>
          </p:cNvPicPr>
          <p:nvPr/>
        </p:nvPicPr>
        <p:blipFill>
          <a:blip r:embed="rId26" cstate="screen">
            <a:extLst>
              <a:ext uri="{28A0092B-C50C-407E-A947-70E740481C1C}">
                <a14:useLocalDpi xmlns:a14="http://schemas.microsoft.com/office/drawing/2010/main"/>
              </a:ext>
            </a:extLst>
          </a:blip>
          <a:srcRect/>
          <a:stretch/>
        </p:blipFill>
        <p:spPr bwMode="gray">
          <a:xfrm>
            <a:off x="5088000" y="3573000"/>
            <a:ext cx="720000" cy="720000"/>
          </a:xfrm>
          <a:prstGeom prst="rect">
            <a:avLst/>
          </a:prstGeom>
          <a:noFill/>
        </p:spPr>
      </p:pic>
      <p:pic>
        <p:nvPicPr>
          <p:cNvPr id="78" name="Grafik 77">
            <a:extLst>
              <a:ext uri="{FF2B5EF4-FFF2-40B4-BE49-F238E27FC236}">
                <a16:creationId xmlns:a16="http://schemas.microsoft.com/office/drawing/2014/main" id="{8A6EABE9-C8BB-4702-BFA2-628352E43925}"/>
              </a:ext>
            </a:extLst>
          </p:cNvPr>
          <p:cNvPicPr>
            <a:picLocks noChangeAspect="1"/>
          </p:cNvPicPr>
          <p:nvPr/>
        </p:nvPicPr>
        <p:blipFill>
          <a:blip r:embed="rId27" cstate="screen">
            <a:extLst>
              <a:ext uri="{28A0092B-C50C-407E-A947-70E740481C1C}">
                <a14:useLocalDpi xmlns:a14="http://schemas.microsoft.com/office/drawing/2010/main"/>
              </a:ext>
            </a:extLst>
          </a:blip>
          <a:srcRect/>
          <a:stretch/>
        </p:blipFill>
        <p:spPr bwMode="gray">
          <a:xfrm>
            <a:off x="5880000" y="3573000"/>
            <a:ext cx="720000" cy="720000"/>
          </a:xfrm>
          <a:prstGeom prst="rect">
            <a:avLst/>
          </a:prstGeom>
          <a:noFill/>
        </p:spPr>
      </p:pic>
      <p:pic>
        <p:nvPicPr>
          <p:cNvPr id="79" name="Grafik 78">
            <a:extLst>
              <a:ext uri="{FF2B5EF4-FFF2-40B4-BE49-F238E27FC236}">
                <a16:creationId xmlns:a16="http://schemas.microsoft.com/office/drawing/2014/main" id="{C1F50292-CCF5-4801-B392-7A2D46122B53}"/>
              </a:ext>
            </a:extLst>
          </p:cNvPr>
          <p:cNvPicPr>
            <a:picLocks noChangeAspect="1"/>
          </p:cNvPicPr>
          <p:nvPr/>
        </p:nvPicPr>
        <p:blipFill>
          <a:blip r:embed="rId28" cstate="screen">
            <a:extLst>
              <a:ext uri="{28A0092B-C50C-407E-A947-70E740481C1C}">
                <a14:useLocalDpi xmlns:a14="http://schemas.microsoft.com/office/drawing/2010/main"/>
              </a:ext>
            </a:extLst>
          </a:blip>
          <a:srcRect/>
          <a:stretch/>
        </p:blipFill>
        <p:spPr bwMode="gray">
          <a:xfrm>
            <a:off x="6672000" y="3573000"/>
            <a:ext cx="720000" cy="720000"/>
          </a:xfrm>
          <a:prstGeom prst="rect">
            <a:avLst/>
          </a:prstGeom>
          <a:noFill/>
        </p:spPr>
      </p:pic>
      <p:pic>
        <p:nvPicPr>
          <p:cNvPr id="80" name="Grafik 79">
            <a:extLst>
              <a:ext uri="{FF2B5EF4-FFF2-40B4-BE49-F238E27FC236}">
                <a16:creationId xmlns:a16="http://schemas.microsoft.com/office/drawing/2014/main" id="{6BC306F7-D45A-4FFC-B8EA-D28AD44933C7}"/>
              </a:ext>
            </a:extLst>
          </p:cNvPr>
          <p:cNvPicPr>
            <a:picLocks noChangeAspect="1"/>
          </p:cNvPicPr>
          <p:nvPr/>
        </p:nvPicPr>
        <p:blipFill>
          <a:blip r:embed="rId29" cstate="screen">
            <a:extLst>
              <a:ext uri="{28A0092B-C50C-407E-A947-70E740481C1C}">
                <a14:useLocalDpi xmlns:a14="http://schemas.microsoft.com/office/drawing/2010/main"/>
              </a:ext>
            </a:extLst>
          </a:blip>
          <a:srcRect/>
          <a:stretch/>
        </p:blipFill>
        <p:spPr bwMode="gray">
          <a:xfrm>
            <a:off x="7464000" y="3573000"/>
            <a:ext cx="720000" cy="720000"/>
          </a:xfrm>
          <a:prstGeom prst="rect">
            <a:avLst/>
          </a:prstGeom>
          <a:noFill/>
        </p:spPr>
      </p:pic>
      <p:pic>
        <p:nvPicPr>
          <p:cNvPr id="81" name="Grafik 80">
            <a:extLst>
              <a:ext uri="{FF2B5EF4-FFF2-40B4-BE49-F238E27FC236}">
                <a16:creationId xmlns:a16="http://schemas.microsoft.com/office/drawing/2014/main" id="{EFF1C93D-E83B-4F22-9C9B-8CA27156A0B1}"/>
              </a:ext>
            </a:extLst>
          </p:cNvPr>
          <p:cNvPicPr>
            <a:picLocks noChangeAspect="1"/>
          </p:cNvPicPr>
          <p:nvPr/>
        </p:nvPicPr>
        <p:blipFill>
          <a:blip r:embed="rId30" cstate="screen">
            <a:extLst>
              <a:ext uri="{28A0092B-C50C-407E-A947-70E740481C1C}">
                <a14:useLocalDpi xmlns:a14="http://schemas.microsoft.com/office/drawing/2010/main"/>
              </a:ext>
            </a:extLst>
          </a:blip>
          <a:srcRect/>
          <a:stretch/>
        </p:blipFill>
        <p:spPr bwMode="gray">
          <a:xfrm>
            <a:off x="8256000" y="3573000"/>
            <a:ext cx="720000" cy="720000"/>
          </a:xfrm>
          <a:prstGeom prst="rect">
            <a:avLst/>
          </a:prstGeom>
          <a:noFill/>
        </p:spPr>
      </p:pic>
      <p:pic>
        <p:nvPicPr>
          <p:cNvPr id="82" name="Grafik 81">
            <a:extLst>
              <a:ext uri="{FF2B5EF4-FFF2-40B4-BE49-F238E27FC236}">
                <a16:creationId xmlns:a16="http://schemas.microsoft.com/office/drawing/2014/main" id="{CDB849C2-B707-4704-8CB6-B74B432C9D2B}"/>
              </a:ext>
            </a:extLst>
          </p:cNvPr>
          <p:cNvPicPr>
            <a:picLocks noChangeAspect="1"/>
          </p:cNvPicPr>
          <p:nvPr/>
        </p:nvPicPr>
        <p:blipFill>
          <a:blip r:embed="rId31" cstate="screen">
            <a:extLst>
              <a:ext uri="{28A0092B-C50C-407E-A947-70E740481C1C}">
                <a14:useLocalDpi xmlns:a14="http://schemas.microsoft.com/office/drawing/2010/main"/>
              </a:ext>
            </a:extLst>
          </a:blip>
          <a:srcRect/>
          <a:stretch/>
        </p:blipFill>
        <p:spPr bwMode="gray">
          <a:xfrm>
            <a:off x="9048000" y="3573000"/>
            <a:ext cx="720000" cy="720000"/>
          </a:xfrm>
          <a:prstGeom prst="rect">
            <a:avLst/>
          </a:prstGeom>
          <a:noFill/>
        </p:spPr>
      </p:pic>
      <p:pic>
        <p:nvPicPr>
          <p:cNvPr id="83" name="Grafik 82">
            <a:extLst>
              <a:ext uri="{FF2B5EF4-FFF2-40B4-BE49-F238E27FC236}">
                <a16:creationId xmlns:a16="http://schemas.microsoft.com/office/drawing/2014/main" id="{4A84A632-8A3A-44DC-90F2-091305F28525}"/>
              </a:ext>
            </a:extLst>
          </p:cNvPr>
          <p:cNvPicPr>
            <a:picLocks noChangeAspect="1"/>
          </p:cNvPicPr>
          <p:nvPr/>
        </p:nvPicPr>
        <p:blipFill>
          <a:blip r:embed="rId32" cstate="screen">
            <a:extLst>
              <a:ext uri="{28A0092B-C50C-407E-A947-70E740481C1C}">
                <a14:useLocalDpi xmlns:a14="http://schemas.microsoft.com/office/drawing/2010/main"/>
              </a:ext>
            </a:extLst>
          </a:blip>
          <a:srcRect/>
          <a:stretch/>
        </p:blipFill>
        <p:spPr bwMode="gray">
          <a:xfrm>
            <a:off x="9840000" y="3573000"/>
            <a:ext cx="720000" cy="720000"/>
          </a:xfrm>
          <a:prstGeom prst="rect">
            <a:avLst/>
          </a:prstGeom>
          <a:noFill/>
        </p:spPr>
      </p:pic>
      <p:pic>
        <p:nvPicPr>
          <p:cNvPr id="84" name="Grafik 83">
            <a:extLst>
              <a:ext uri="{FF2B5EF4-FFF2-40B4-BE49-F238E27FC236}">
                <a16:creationId xmlns:a16="http://schemas.microsoft.com/office/drawing/2014/main" id="{18B3DAC5-5F8B-4A25-AB12-E6ED3CE9EF36}"/>
              </a:ext>
            </a:extLst>
          </p:cNvPr>
          <p:cNvPicPr>
            <a:picLocks noChangeAspect="1"/>
          </p:cNvPicPr>
          <p:nvPr/>
        </p:nvPicPr>
        <p:blipFill>
          <a:blip r:embed="rId33" cstate="screen">
            <a:extLst>
              <a:ext uri="{28A0092B-C50C-407E-A947-70E740481C1C}">
                <a14:useLocalDpi xmlns:a14="http://schemas.microsoft.com/office/drawing/2010/main"/>
              </a:ext>
            </a:extLst>
          </a:blip>
          <a:srcRect/>
          <a:stretch/>
        </p:blipFill>
        <p:spPr bwMode="gray">
          <a:xfrm>
            <a:off x="10632000" y="3573000"/>
            <a:ext cx="720000" cy="720000"/>
          </a:xfrm>
          <a:prstGeom prst="rect">
            <a:avLst/>
          </a:prstGeom>
          <a:noFill/>
        </p:spPr>
      </p:pic>
      <p:pic>
        <p:nvPicPr>
          <p:cNvPr id="85" name="Grafik 84">
            <a:extLst>
              <a:ext uri="{FF2B5EF4-FFF2-40B4-BE49-F238E27FC236}">
                <a16:creationId xmlns:a16="http://schemas.microsoft.com/office/drawing/2014/main" id="{1E1097FD-773F-4E81-8A77-467DF17AD6E8}"/>
              </a:ext>
            </a:extLst>
          </p:cNvPr>
          <p:cNvPicPr>
            <a:picLocks noChangeAspect="1"/>
          </p:cNvPicPr>
          <p:nvPr/>
        </p:nvPicPr>
        <p:blipFill>
          <a:blip r:embed="rId34" cstate="screen">
            <a:extLst>
              <a:ext uri="{28A0092B-C50C-407E-A947-70E740481C1C}">
                <a14:useLocalDpi xmlns:a14="http://schemas.microsoft.com/office/drawing/2010/main"/>
              </a:ext>
            </a:extLst>
          </a:blip>
          <a:srcRect/>
          <a:stretch/>
        </p:blipFill>
        <p:spPr bwMode="gray">
          <a:xfrm>
            <a:off x="336000" y="4365000"/>
            <a:ext cx="720000" cy="720000"/>
          </a:xfrm>
          <a:prstGeom prst="rect">
            <a:avLst/>
          </a:prstGeom>
          <a:noFill/>
        </p:spPr>
      </p:pic>
      <p:pic>
        <p:nvPicPr>
          <p:cNvPr id="87" name="Grafik 86">
            <a:extLst>
              <a:ext uri="{FF2B5EF4-FFF2-40B4-BE49-F238E27FC236}">
                <a16:creationId xmlns:a16="http://schemas.microsoft.com/office/drawing/2014/main" id="{A6EAA22E-42BB-4CAB-9074-3B29973ECFC8}"/>
              </a:ext>
            </a:extLst>
          </p:cNvPr>
          <p:cNvPicPr>
            <a:picLocks noChangeAspect="1"/>
          </p:cNvPicPr>
          <p:nvPr/>
        </p:nvPicPr>
        <p:blipFill>
          <a:blip r:embed="rId35" cstate="screen">
            <a:extLst>
              <a:ext uri="{28A0092B-C50C-407E-A947-70E740481C1C}">
                <a14:useLocalDpi xmlns:a14="http://schemas.microsoft.com/office/drawing/2010/main"/>
              </a:ext>
            </a:extLst>
          </a:blip>
          <a:srcRect/>
          <a:stretch/>
        </p:blipFill>
        <p:spPr bwMode="gray">
          <a:xfrm>
            <a:off x="1920550" y="4365000"/>
            <a:ext cx="720000" cy="720000"/>
          </a:xfrm>
          <a:prstGeom prst="rect">
            <a:avLst/>
          </a:prstGeom>
          <a:noFill/>
        </p:spPr>
      </p:pic>
      <p:pic>
        <p:nvPicPr>
          <p:cNvPr id="88" name="Grafik 87">
            <a:extLst>
              <a:ext uri="{FF2B5EF4-FFF2-40B4-BE49-F238E27FC236}">
                <a16:creationId xmlns:a16="http://schemas.microsoft.com/office/drawing/2014/main" id="{3F976E7E-C6DF-4695-B56E-F845AC0656C9}"/>
              </a:ext>
            </a:extLst>
          </p:cNvPr>
          <p:cNvPicPr>
            <a:picLocks noChangeAspect="1"/>
          </p:cNvPicPr>
          <p:nvPr/>
        </p:nvPicPr>
        <p:blipFill>
          <a:blip r:embed="rId36" cstate="screen">
            <a:extLst>
              <a:ext uri="{28A0092B-C50C-407E-A947-70E740481C1C}">
                <a14:useLocalDpi xmlns:a14="http://schemas.microsoft.com/office/drawing/2010/main"/>
              </a:ext>
            </a:extLst>
          </a:blip>
          <a:srcRect/>
          <a:stretch/>
        </p:blipFill>
        <p:spPr bwMode="gray">
          <a:xfrm>
            <a:off x="2712550" y="4365000"/>
            <a:ext cx="720000" cy="720000"/>
          </a:xfrm>
          <a:prstGeom prst="rect">
            <a:avLst/>
          </a:prstGeom>
          <a:noFill/>
        </p:spPr>
      </p:pic>
      <p:pic>
        <p:nvPicPr>
          <p:cNvPr id="89" name="Grafik 88">
            <a:extLst>
              <a:ext uri="{FF2B5EF4-FFF2-40B4-BE49-F238E27FC236}">
                <a16:creationId xmlns:a16="http://schemas.microsoft.com/office/drawing/2014/main" id="{211C8399-11EE-4908-851E-F2B09122CC95}"/>
              </a:ext>
            </a:extLst>
          </p:cNvPr>
          <p:cNvPicPr>
            <a:picLocks noChangeAspect="1"/>
          </p:cNvPicPr>
          <p:nvPr/>
        </p:nvPicPr>
        <p:blipFill>
          <a:blip r:embed="rId37" cstate="screen">
            <a:extLst>
              <a:ext uri="{28A0092B-C50C-407E-A947-70E740481C1C}">
                <a14:useLocalDpi xmlns:a14="http://schemas.microsoft.com/office/drawing/2010/main"/>
              </a:ext>
            </a:extLst>
          </a:blip>
          <a:srcRect/>
          <a:stretch/>
        </p:blipFill>
        <p:spPr bwMode="gray">
          <a:xfrm>
            <a:off x="3504550" y="4365000"/>
            <a:ext cx="720000" cy="720000"/>
          </a:xfrm>
          <a:prstGeom prst="rect">
            <a:avLst/>
          </a:prstGeom>
          <a:noFill/>
        </p:spPr>
      </p:pic>
      <p:pic>
        <p:nvPicPr>
          <p:cNvPr id="90" name="Grafik 89">
            <a:extLst>
              <a:ext uri="{FF2B5EF4-FFF2-40B4-BE49-F238E27FC236}">
                <a16:creationId xmlns:a16="http://schemas.microsoft.com/office/drawing/2014/main" id="{70427BB3-F6CC-40CD-81B2-81BE5F748A2B}"/>
              </a:ext>
            </a:extLst>
          </p:cNvPr>
          <p:cNvPicPr>
            <a:picLocks noChangeAspect="1"/>
          </p:cNvPicPr>
          <p:nvPr/>
        </p:nvPicPr>
        <p:blipFill>
          <a:blip r:embed="rId38" cstate="screen">
            <a:extLst>
              <a:ext uri="{28A0092B-C50C-407E-A947-70E740481C1C}">
                <a14:useLocalDpi xmlns:a14="http://schemas.microsoft.com/office/drawing/2010/main"/>
              </a:ext>
            </a:extLst>
          </a:blip>
          <a:srcRect/>
          <a:stretch/>
        </p:blipFill>
        <p:spPr bwMode="gray">
          <a:xfrm>
            <a:off x="4296000" y="4365000"/>
            <a:ext cx="720000" cy="720000"/>
          </a:xfrm>
          <a:prstGeom prst="rect">
            <a:avLst/>
          </a:prstGeom>
          <a:noFill/>
        </p:spPr>
      </p:pic>
      <p:pic>
        <p:nvPicPr>
          <p:cNvPr id="91" name="Grafik 90">
            <a:extLst>
              <a:ext uri="{FF2B5EF4-FFF2-40B4-BE49-F238E27FC236}">
                <a16:creationId xmlns:a16="http://schemas.microsoft.com/office/drawing/2014/main" id="{0CEA0FEE-7A8C-4F6B-A52A-788446D545A3}"/>
              </a:ext>
            </a:extLst>
          </p:cNvPr>
          <p:cNvPicPr>
            <a:picLocks noChangeAspect="1"/>
          </p:cNvPicPr>
          <p:nvPr/>
        </p:nvPicPr>
        <p:blipFill>
          <a:blip r:embed="rId39" cstate="screen">
            <a:extLst>
              <a:ext uri="{28A0092B-C50C-407E-A947-70E740481C1C}">
                <a14:useLocalDpi xmlns:a14="http://schemas.microsoft.com/office/drawing/2010/main"/>
              </a:ext>
            </a:extLst>
          </a:blip>
          <a:srcRect/>
          <a:stretch/>
        </p:blipFill>
        <p:spPr bwMode="gray">
          <a:xfrm>
            <a:off x="5088000" y="4365000"/>
            <a:ext cx="720000" cy="720000"/>
          </a:xfrm>
          <a:prstGeom prst="rect">
            <a:avLst/>
          </a:prstGeom>
          <a:noFill/>
        </p:spPr>
      </p:pic>
      <p:pic>
        <p:nvPicPr>
          <p:cNvPr id="92" name="Grafik 91">
            <a:extLst>
              <a:ext uri="{FF2B5EF4-FFF2-40B4-BE49-F238E27FC236}">
                <a16:creationId xmlns:a16="http://schemas.microsoft.com/office/drawing/2014/main" id="{DDD50E78-E08E-4037-B19E-7DBB6CD5AB72}"/>
              </a:ext>
            </a:extLst>
          </p:cNvPr>
          <p:cNvPicPr>
            <a:picLocks noChangeAspect="1"/>
          </p:cNvPicPr>
          <p:nvPr/>
        </p:nvPicPr>
        <p:blipFill>
          <a:blip r:embed="rId40" cstate="screen">
            <a:extLst>
              <a:ext uri="{28A0092B-C50C-407E-A947-70E740481C1C}">
                <a14:useLocalDpi xmlns:a14="http://schemas.microsoft.com/office/drawing/2010/main"/>
              </a:ext>
            </a:extLst>
          </a:blip>
          <a:srcRect/>
          <a:stretch/>
        </p:blipFill>
        <p:spPr bwMode="gray">
          <a:xfrm>
            <a:off x="5880000" y="4365000"/>
            <a:ext cx="720000" cy="720000"/>
          </a:xfrm>
          <a:prstGeom prst="rect">
            <a:avLst/>
          </a:prstGeom>
          <a:noFill/>
        </p:spPr>
      </p:pic>
      <p:pic>
        <p:nvPicPr>
          <p:cNvPr id="93" name="Grafik 92">
            <a:extLst>
              <a:ext uri="{FF2B5EF4-FFF2-40B4-BE49-F238E27FC236}">
                <a16:creationId xmlns:a16="http://schemas.microsoft.com/office/drawing/2014/main" id="{0973B057-A9CE-4F61-8946-3CD7BDD47618}"/>
              </a:ext>
            </a:extLst>
          </p:cNvPr>
          <p:cNvPicPr>
            <a:picLocks noChangeAspect="1"/>
          </p:cNvPicPr>
          <p:nvPr/>
        </p:nvPicPr>
        <p:blipFill>
          <a:blip r:embed="rId41" cstate="screen">
            <a:extLst>
              <a:ext uri="{28A0092B-C50C-407E-A947-70E740481C1C}">
                <a14:useLocalDpi xmlns:a14="http://schemas.microsoft.com/office/drawing/2010/main"/>
              </a:ext>
            </a:extLst>
          </a:blip>
          <a:srcRect/>
          <a:stretch/>
        </p:blipFill>
        <p:spPr bwMode="gray">
          <a:xfrm>
            <a:off x="6672000" y="4365000"/>
            <a:ext cx="720000" cy="720000"/>
          </a:xfrm>
          <a:prstGeom prst="rect">
            <a:avLst/>
          </a:prstGeom>
          <a:noFill/>
        </p:spPr>
      </p:pic>
      <p:pic>
        <p:nvPicPr>
          <p:cNvPr id="94" name="Grafik 93">
            <a:extLst>
              <a:ext uri="{FF2B5EF4-FFF2-40B4-BE49-F238E27FC236}">
                <a16:creationId xmlns:a16="http://schemas.microsoft.com/office/drawing/2014/main" id="{C90F098C-2AF6-47D5-B4D1-0A58B3BCE34E}"/>
              </a:ext>
            </a:extLst>
          </p:cNvPr>
          <p:cNvPicPr>
            <a:picLocks noChangeAspect="1"/>
          </p:cNvPicPr>
          <p:nvPr/>
        </p:nvPicPr>
        <p:blipFill>
          <a:blip r:embed="rId42" cstate="screen">
            <a:extLst>
              <a:ext uri="{28A0092B-C50C-407E-A947-70E740481C1C}">
                <a14:useLocalDpi xmlns:a14="http://schemas.microsoft.com/office/drawing/2010/main"/>
              </a:ext>
            </a:extLst>
          </a:blip>
          <a:srcRect/>
          <a:stretch/>
        </p:blipFill>
        <p:spPr bwMode="gray">
          <a:xfrm>
            <a:off x="7464000" y="4365000"/>
            <a:ext cx="720000" cy="720000"/>
          </a:xfrm>
          <a:prstGeom prst="rect">
            <a:avLst/>
          </a:prstGeom>
          <a:noFill/>
        </p:spPr>
      </p:pic>
      <p:pic>
        <p:nvPicPr>
          <p:cNvPr id="95" name="Grafik 94">
            <a:extLst>
              <a:ext uri="{FF2B5EF4-FFF2-40B4-BE49-F238E27FC236}">
                <a16:creationId xmlns:a16="http://schemas.microsoft.com/office/drawing/2014/main" id="{BF1DD84B-93D6-4B88-94BB-9EEEC1418603}"/>
              </a:ext>
            </a:extLst>
          </p:cNvPr>
          <p:cNvPicPr>
            <a:picLocks noChangeAspect="1"/>
          </p:cNvPicPr>
          <p:nvPr/>
        </p:nvPicPr>
        <p:blipFill>
          <a:blip r:embed="rId43" cstate="screen">
            <a:extLst>
              <a:ext uri="{28A0092B-C50C-407E-A947-70E740481C1C}">
                <a14:useLocalDpi xmlns:a14="http://schemas.microsoft.com/office/drawing/2010/main"/>
              </a:ext>
            </a:extLst>
          </a:blip>
          <a:srcRect/>
          <a:stretch/>
        </p:blipFill>
        <p:spPr bwMode="gray">
          <a:xfrm>
            <a:off x="8256000" y="4365000"/>
            <a:ext cx="720000" cy="720000"/>
          </a:xfrm>
          <a:prstGeom prst="rect">
            <a:avLst/>
          </a:prstGeom>
          <a:noFill/>
        </p:spPr>
      </p:pic>
      <p:pic>
        <p:nvPicPr>
          <p:cNvPr id="96" name="Grafik 95">
            <a:extLst>
              <a:ext uri="{FF2B5EF4-FFF2-40B4-BE49-F238E27FC236}">
                <a16:creationId xmlns:a16="http://schemas.microsoft.com/office/drawing/2014/main" id="{AC3A7C22-5CAA-4298-8C5D-2027EDF7C5CE}"/>
              </a:ext>
            </a:extLst>
          </p:cNvPr>
          <p:cNvPicPr>
            <a:picLocks noChangeAspect="1"/>
          </p:cNvPicPr>
          <p:nvPr/>
        </p:nvPicPr>
        <p:blipFill>
          <a:blip r:embed="rId44" cstate="screen">
            <a:extLst>
              <a:ext uri="{28A0092B-C50C-407E-A947-70E740481C1C}">
                <a14:useLocalDpi xmlns:a14="http://schemas.microsoft.com/office/drawing/2010/main"/>
              </a:ext>
            </a:extLst>
          </a:blip>
          <a:srcRect/>
          <a:stretch/>
        </p:blipFill>
        <p:spPr bwMode="gray">
          <a:xfrm>
            <a:off x="9048000" y="4365000"/>
            <a:ext cx="720000" cy="720000"/>
          </a:xfrm>
          <a:prstGeom prst="rect">
            <a:avLst/>
          </a:prstGeom>
          <a:noFill/>
        </p:spPr>
      </p:pic>
      <p:pic>
        <p:nvPicPr>
          <p:cNvPr id="97" name="Grafik 96">
            <a:extLst>
              <a:ext uri="{FF2B5EF4-FFF2-40B4-BE49-F238E27FC236}">
                <a16:creationId xmlns:a16="http://schemas.microsoft.com/office/drawing/2014/main" id="{B132ACD2-2C83-41DF-93AB-0C0EC7C52554}"/>
              </a:ext>
            </a:extLst>
          </p:cNvPr>
          <p:cNvPicPr>
            <a:picLocks noChangeAspect="1"/>
          </p:cNvPicPr>
          <p:nvPr/>
        </p:nvPicPr>
        <p:blipFill>
          <a:blip r:embed="rId45" cstate="screen">
            <a:extLst>
              <a:ext uri="{28A0092B-C50C-407E-A947-70E740481C1C}">
                <a14:useLocalDpi xmlns:a14="http://schemas.microsoft.com/office/drawing/2010/main"/>
              </a:ext>
            </a:extLst>
          </a:blip>
          <a:srcRect/>
          <a:stretch/>
        </p:blipFill>
        <p:spPr bwMode="gray">
          <a:xfrm>
            <a:off x="9840000" y="4365000"/>
            <a:ext cx="720000" cy="720000"/>
          </a:xfrm>
          <a:prstGeom prst="rect">
            <a:avLst/>
          </a:prstGeom>
          <a:noFill/>
        </p:spPr>
      </p:pic>
      <p:pic>
        <p:nvPicPr>
          <p:cNvPr id="98" name="Grafik 97">
            <a:extLst>
              <a:ext uri="{FF2B5EF4-FFF2-40B4-BE49-F238E27FC236}">
                <a16:creationId xmlns:a16="http://schemas.microsoft.com/office/drawing/2014/main" id="{17CAC817-A41C-4195-802C-0725AB4E9A7D}"/>
              </a:ext>
            </a:extLst>
          </p:cNvPr>
          <p:cNvPicPr>
            <a:picLocks noChangeAspect="1"/>
          </p:cNvPicPr>
          <p:nvPr/>
        </p:nvPicPr>
        <p:blipFill>
          <a:blip r:embed="rId46" cstate="screen">
            <a:extLst>
              <a:ext uri="{28A0092B-C50C-407E-A947-70E740481C1C}">
                <a14:useLocalDpi xmlns:a14="http://schemas.microsoft.com/office/drawing/2010/main"/>
              </a:ext>
            </a:extLst>
          </a:blip>
          <a:srcRect/>
          <a:stretch/>
        </p:blipFill>
        <p:spPr bwMode="gray">
          <a:xfrm>
            <a:off x="10632000" y="4365000"/>
            <a:ext cx="720000" cy="720000"/>
          </a:xfrm>
          <a:prstGeom prst="rect">
            <a:avLst/>
          </a:prstGeom>
          <a:noFill/>
        </p:spPr>
      </p:pic>
      <p:pic>
        <p:nvPicPr>
          <p:cNvPr id="123" name="Grafik 122">
            <a:extLst>
              <a:ext uri="{FF2B5EF4-FFF2-40B4-BE49-F238E27FC236}">
                <a16:creationId xmlns:a16="http://schemas.microsoft.com/office/drawing/2014/main" id="{210D97C5-5810-4286-926B-D015F15A1A71}"/>
              </a:ext>
            </a:extLst>
          </p:cNvPr>
          <p:cNvPicPr>
            <a:picLocks noChangeAspect="1"/>
          </p:cNvPicPr>
          <p:nvPr/>
        </p:nvPicPr>
        <p:blipFill>
          <a:blip r:embed="rId47" cstate="screen">
            <a:extLst>
              <a:ext uri="{28A0092B-C50C-407E-A947-70E740481C1C}">
                <a14:useLocalDpi xmlns:a14="http://schemas.microsoft.com/office/drawing/2010/main"/>
              </a:ext>
            </a:extLst>
          </a:blip>
          <a:srcRect/>
          <a:stretch/>
        </p:blipFill>
        <p:spPr bwMode="gray">
          <a:xfrm>
            <a:off x="336000" y="1989000"/>
            <a:ext cx="720000" cy="720000"/>
          </a:xfrm>
          <a:prstGeom prst="rect">
            <a:avLst/>
          </a:prstGeom>
          <a:noFill/>
        </p:spPr>
      </p:pic>
      <p:pic>
        <p:nvPicPr>
          <p:cNvPr id="124" name="Grafik 123">
            <a:extLst>
              <a:ext uri="{FF2B5EF4-FFF2-40B4-BE49-F238E27FC236}">
                <a16:creationId xmlns:a16="http://schemas.microsoft.com/office/drawing/2014/main" id="{1FAD9ECE-6D2C-4AC3-AE98-78973F3289DC}"/>
              </a:ext>
            </a:extLst>
          </p:cNvPr>
          <p:cNvPicPr>
            <a:picLocks noChangeAspect="1"/>
          </p:cNvPicPr>
          <p:nvPr/>
        </p:nvPicPr>
        <p:blipFill>
          <a:blip r:embed="rId48" cstate="screen">
            <a:extLst>
              <a:ext uri="{28A0092B-C50C-407E-A947-70E740481C1C}">
                <a14:useLocalDpi xmlns:a14="http://schemas.microsoft.com/office/drawing/2010/main"/>
              </a:ext>
            </a:extLst>
          </a:blip>
          <a:srcRect/>
          <a:stretch/>
        </p:blipFill>
        <p:spPr bwMode="gray">
          <a:xfrm>
            <a:off x="1128000" y="1989000"/>
            <a:ext cx="720000" cy="720000"/>
          </a:xfrm>
          <a:prstGeom prst="rect">
            <a:avLst/>
          </a:prstGeom>
          <a:noFill/>
        </p:spPr>
      </p:pic>
      <p:pic>
        <p:nvPicPr>
          <p:cNvPr id="125" name="Grafik 124">
            <a:extLst>
              <a:ext uri="{FF2B5EF4-FFF2-40B4-BE49-F238E27FC236}">
                <a16:creationId xmlns:a16="http://schemas.microsoft.com/office/drawing/2014/main" id="{80D2762B-18C3-4345-A56A-F02E076583CC}"/>
              </a:ext>
            </a:extLst>
          </p:cNvPr>
          <p:cNvPicPr>
            <a:picLocks noChangeAspect="1"/>
          </p:cNvPicPr>
          <p:nvPr/>
        </p:nvPicPr>
        <p:blipFill>
          <a:blip r:embed="rId49" cstate="screen">
            <a:extLst>
              <a:ext uri="{28A0092B-C50C-407E-A947-70E740481C1C}">
                <a14:useLocalDpi xmlns:a14="http://schemas.microsoft.com/office/drawing/2010/main"/>
              </a:ext>
            </a:extLst>
          </a:blip>
          <a:srcRect/>
          <a:stretch/>
        </p:blipFill>
        <p:spPr bwMode="gray">
          <a:xfrm>
            <a:off x="1920000" y="1989000"/>
            <a:ext cx="720000" cy="720000"/>
          </a:xfrm>
          <a:prstGeom prst="rect">
            <a:avLst/>
          </a:prstGeom>
          <a:noFill/>
        </p:spPr>
      </p:pic>
      <p:pic>
        <p:nvPicPr>
          <p:cNvPr id="126" name="Grafik 125">
            <a:extLst>
              <a:ext uri="{FF2B5EF4-FFF2-40B4-BE49-F238E27FC236}">
                <a16:creationId xmlns:a16="http://schemas.microsoft.com/office/drawing/2014/main" id="{27C8C71D-BB8F-4E0A-8C47-A7BEC6A2A940}"/>
              </a:ext>
            </a:extLst>
          </p:cNvPr>
          <p:cNvPicPr>
            <a:picLocks noChangeAspect="1"/>
          </p:cNvPicPr>
          <p:nvPr/>
        </p:nvPicPr>
        <p:blipFill>
          <a:blip r:embed="rId50" cstate="screen">
            <a:extLst>
              <a:ext uri="{28A0092B-C50C-407E-A947-70E740481C1C}">
                <a14:useLocalDpi xmlns:a14="http://schemas.microsoft.com/office/drawing/2010/main"/>
              </a:ext>
            </a:extLst>
          </a:blip>
          <a:srcRect/>
          <a:stretch/>
        </p:blipFill>
        <p:spPr bwMode="gray">
          <a:xfrm>
            <a:off x="2712000" y="1989000"/>
            <a:ext cx="720000" cy="720000"/>
          </a:xfrm>
          <a:prstGeom prst="rect">
            <a:avLst/>
          </a:prstGeom>
          <a:noFill/>
        </p:spPr>
      </p:pic>
      <p:pic>
        <p:nvPicPr>
          <p:cNvPr id="127" name="Grafik 126">
            <a:extLst>
              <a:ext uri="{FF2B5EF4-FFF2-40B4-BE49-F238E27FC236}">
                <a16:creationId xmlns:a16="http://schemas.microsoft.com/office/drawing/2014/main" id="{3BC9C588-C123-4A54-95C1-FB24B6150E9C}"/>
              </a:ext>
            </a:extLst>
          </p:cNvPr>
          <p:cNvPicPr>
            <a:picLocks noChangeAspect="1"/>
          </p:cNvPicPr>
          <p:nvPr/>
        </p:nvPicPr>
        <p:blipFill>
          <a:blip r:embed="rId51" cstate="screen">
            <a:extLst>
              <a:ext uri="{28A0092B-C50C-407E-A947-70E740481C1C}">
                <a14:useLocalDpi xmlns:a14="http://schemas.microsoft.com/office/drawing/2010/main"/>
              </a:ext>
            </a:extLst>
          </a:blip>
          <a:srcRect/>
          <a:stretch/>
        </p:blipFill>
        <p:spPr bwMode="gray">
          <a:xfrm>
            <a:off x="3504000" y="1989000"/>
            <a:ext cx="720000" cy="720000"/>
          </a:xfrm>
          <a:prstGeom prst="rect">
            <a:avLst/>
          </a:prstGeom>
          <a:noFill/>
        </p:spPr>
      </p:pic>
      <p:pic>
        <p:nvPicPr>
          <p:cNvPr id="128" name="Grafik 127">
            <a:extLst>
              <a:ext uri="{FF2B5EF4-FFF2-40B4-BE49-F238E27FC236}">
                <a16:creationId xmlns:a16="http://schemas.microsoft.com/office/drawing/2014/main" id="{0B223FF5-5B6E-4650-B3CA-09D127FC97DE}"/>
              </a:ext>
            </a:extLst>
          </p:cNvPr>
          <p:cNvPicPr>
            <a:picLocks noChangeAspect="1"/>
          </p:cNvPicPr>
          <p:nvPr/>
        </p:nvPicPr>
        <p:blipFill>
          <a:blip r:embed="rId52" cstate="screen">
            <a:extLst>
              <a:ext uri="{28A0092B-C50C-407E-A947-70E740481C1C}">
                <a14:useLocalDpi xmlns:a14="http://schemas.microsoft.com/office/drawing/2010/main"/>
              </a:ext>
            </a:extLst>
          </a:blip>
          <a:srcRect/>
          <a:stretch/>
        </p:blipFill>
        <p:spPr bwMode="gray">
          <a:xfrm>
            <a:off x="4296000" y="1989000"/>
            <a:ext cx="720000" cy="720000"/>
          </a:xfrm>
          <a:prstGeom prst="rect">
            <a:avLst/>
          </a:prstGeom>
          <a:noFill/>
        </p:spPr>
      </p:pic>
      <p:pic>
        <p:nvPicPr>
          <p:cNvPr id="129" name="Grafik 128">
            <a:extLst>
              <a:ext uri="{FF2B5EF4-FFF2-40B4-BE49-F238E27FC236}">
                <a16:creationId xmlns:a16="http://schemas.microsoft.com/office/drawing/2014/main" id="{DAC240FA-A816-4987-AF7A-4CF339CC6530}"/>
              </a:ext>
            </a:extLst>
          </p:cNvPr>
          <p:cNvPicPr>
            <a:picLocks noChangeAspect="1"/>
          </p:cNvPicPr>
          <p:nvPr/>
        </p:nvPicPr>
        <p:blipFill>
          <a:blip r:embed="rId53" cstate="screen">
            <a:extLst>
              <a:ext uri="{28A0092B-C50C-407E-A947-70E740481C1C}">
                <a14:useLocalDpi xmlns:a14="http://schemas.microsoft.com/office/drawing/2010/main"/>
              </a:ext>
            </a:extLst>
          </a:blip>
          <a:srcRect/>
          <a:stretch/>
        </p:blipFill>
        <p:spPr bwMode="gray">
          <a:xfrm>
            <a:off x="5088000" y="1989000"/>
            <a:ext cx="720000" cy="720000"/>
          </a:xfrm>
          <a:prstGeom prst="rect">
            <a:avLst/>
          </a:prstGeom>
          <a:noFill/>
        </p:spPr>
      </p:pic>
      <p:pic>
        <p:nvPicPr>
          <p:cNvPr id="130" name="Grafik 129">
            <a:extLst>
              <a:ext uri="{FF2B5EF4-FFF2-40B4-BE49-F238E27FC236}">
                <a16:creationId xmlns:a16="http://schemas.microsoft.com/office/drawing/2014/main" id="{4FBE7A86-9AA2-4867-8856-0F587910FF41}"/>
              </a:ext>
            </a:extLst>
          </p:cNvPr>
          <p:cNvPicPr>
            <a:picLocks noChangeAspect="1"/>
          </p:cNvPicPr>
          <p:nvPr/>
        </p:nvPicPr>
        <p:blipFill>
          <a:blip r:embed="rId54" cstate="screen">
            <a:extLst>
              <a:ext uri="{28A0092B-C50C-407E-A947-70E740481C1C}">
                <a14:useLocalDpi xmlns:a14="http://schemas.microsoft.com/office/drawing/2010/main"/>
              </a:ext>
            </a:extLst>
          </a:blip>
          <a:srcRect/>
          <a:stretch/>
        </p:blipFill>
        <p:spPr bwMode="gray">
          <a:xfrm>
            <a:off x="5880000" y="1989000"/>
            <a:ext cx="720000" cy="720000"/>
          </a:xfrm>
          <a:prstGeom prst="rect">
            <a:avLst/>
          </a:prstGeom>
          <a:noFill/>
        </p:spPr>
      </p:pic>
      <p:pic>
        <p:nvPicPr>
          <p:cNvPr id="131" name="Grafik 130">
            <a:extLst>
              <a:ext uri="{FF2B5EF4-FFF2-40B4-BE49-F238E27FC236}">
                <a16:creationId xmlns:a16="http://schemas.microsoft.com/office/drawing/2014/main" id="{66D65504-8962-49AB-9FAA-5C422CE33A23}"/>
              </a:ext>
            </a:extLst>
          </p:cNvPr>
          <p:cNvPicPr>
            <a:picLocks noChangeAspect="1"/>
          </p:cNvPicPr>
          <p:nvPr/>
        </p:nvPicPr>
        <p:blipFill>
          <a:blip r:embed="rId55" cstate="screen">
            <a:extLst>
              <a:ext uri="{28A0092B-C50C-407E-A947-70E740481C1C}">
                <a14:useLocalDpi xmlns:a14="http://schemas.microsoft.com/office/drawing/2010/main"/>
              </a:ext>
            </a:extLst>
          </a:blip>
          <a:srcRect/>
          <a:stretch/>
        </p:blipFill>
        <p:spPr bwMode="gray">
          <a:xfrm>
            <a:off x="6672000" y="1989000"/>
            <a:ext cx="720000" cy="720000"/>
          </a:xfrm>
          <a:prstGeom prst="rect">
            <a:avLst/>
          </a:prstGeom>
          <a:noFill/>
        </p:spPr>
      </p:pic>
      <p:pic>
        <p:nvPicPr>
          <p:cNvPr id="132" name="Grafik 131">
            <a:extLst>
              <a:ext uri="{FF2B5EF4-FFF2-40B4-BE49-F238E27FC236}">
                <a16:creationId xmlns:a16="http://schemas.microsoft.com/office/drawing/2014/main" id="{0871E3F8-52DA-4338-9766-B77F218A1095}"/>
              </a:ext>
            </a:extLst>
          </p:cNvPr>
          <p:cNvPicPr>
            <a:picLocks noChangeAspect="1"/>
          </p:cNvPicPr>
          <p:nvPr/>
        </p:nvPicPr>
        <p:blipFill>
          <a:blip r:embed="rId56" cstate="screen">
            <a:extLst>
              <a:ext uri="{28A0092B-C50C-407E-A947-70E740481C1C}">
                <a14:useLocalDpi xmlns:a14="http://schemas.microsoft.com/office/drawing/2010/main"/>
              </a:ext>
            </a:extLst>
          </a:blip>
          <a:srcRect/>
          <a:stretch/>
        </p:blipFill>
        <p:spPr bwMode="gray">
          <a:xfrm>
            <a:off x="7464000" y="1989000"/>
            <a:ext cx="720000" cy="720000"/>
          </a:xfrm>
          <a:prstGeom prst="rect">
            <a:avLst/>
          </a:prstGeom>
          <a:noFill/>
        </p:spPr>
      </p:pic>
      <p:pic>
        <p:nvPicPr>
          <p:cNvPr id="133" name="Grafik 132">
            <a:extLst>
              <a:ext uri="{FF2B5EF4-FFF2-40B4-BE49-F238E27FC236}">
                <a16:creationId xmlns:a16="http://schemas.microsoft.com/office/drawing/2014/main" id="{9707C83A-AA11-476C-AA30-587B555A5962}"/>
              </a:ext>
            </a:extLst>
          </p:cNvPr>
          <p:cNvPicPr>
            <a:picLocks noChangeAspect="1"/>
          </p:cNvPicPr>
          <p:nvPr/>
        </p:nvPicPr>
        <p:blipFill>
          <a:blip r:embed="rId57" cstate="screen">
            <a:extLst>
              <a:ext uri="{28A0092B-C50C-407E-A947-70E740481C1C}">
                <a14:useLocalDpi xmlns:a14="http://schemas.microsoft.com/office/drawing/2010/main"/>
              </a:ext>
            </a:extLst>
          </a:blip>
          <a:srcRect/>
          <a:stretch/>
        </p:blipFill>
        <p:spPr bwMode="gray">
          <a:xfrm>
            <a:off x="8256000" y="1989000"/>
            <a:ext cx="720000" cy="720000"/>
          </a:xfrm>
          <a:prstGeom prst="rect">
            <a:avLst/>
          </a:prstGeom>
          <a:noFill/>
        </p:spPr>
      </p:pic>
      <p:pic>
        <p:nvPicPr>
          <p:cNvPr id="134" name="Grafik 133">
            <a:extLst>
              <a:ext uri="{FF2B5EF4-FFF2-40B4-BE49-F238E27FC236}">
                <a16:creationId xmlns:a16="http://schemas.microsoft.com/office/drawing/2014/main" id="{2BC2BE97-7991-4A4B-86C0-FAE2820E4C30}"/>
              </a:ext>
            </a:extLst>
          </p:cNvPr>
          <p:cNvPicPr>
            <a:picLocks noChangeAspect="1"/>
          </p:cNvPicPr>
          <p:nvPr/>
        </p:nvPicPr>
        <p:blipFill>
          <a:blip r:embed="rId58" cstate="screen">
            <a:extLst>
              <a:ext uri="{28A0092B-C50C-407E-A947-70E740481C1C}">
                <a14:useLocalDpi xmlns:a14="http://schemas.microsoft.com/office/drawing/2010/main"/>
              </a:ext>
            </a:extLst>
          </a:blip>
          <a:srcRect/>
          <a:stretch/>
        </p:blipFill>
        <p:spPr bwMode="gray">
          <a:xfrm>
            <a:off x="9048000" y="1989000"/>
            <a:ext cx="720000" cy="720000"/>
          </a:xfrm>
          <a:prstGeom prst="rect">
            <a:avLst/>
          </a:prstGeom>
          <a:noFill/>
        </p:spPr>
      </p:pic>
      <p:pic>
        <p:nvPicPr>
          <p:cNvPr id="135" name="Grafik 134">
            <a:extLst>
              <a:ext uri="{FF2B5EF4-FFF2-40B4-BE49-F238E27FC236}">
                <a16:creationId xmlns:a16="http://schemas.microsoft.com/office/drawing/2014/main" id="{BCD90FE1-45A7-4C2A-9F82-D6A53DC16771}"/>
              </a:ext>
            </a:extLst>
          </p:cNvPr>
          <p:cNvPicPr>
            <a:picLocks noChangeAspect="1"/>
          </p:cNvPicPr>
          <p:nvPr/>
        </p:nvPicPr>
        <p:blipFill>
          <a:blip r:embed="rId59" cstate="screen">
            <a:extLst>
              <a:ext uri="{28A0092B-C50C-407E-A947-70E740481C1C}">
                <a14:useLocalDpi xmlns:a14="http://schemas.microsoft.com/office/drawing/2010/main"/>
              </a:ext>
            </a:extLst>
          </a:blip>
          <a:srcRect/>
          <a:stretch/>
        </p:blipFill>
        <p:spPr bwMode="gray">
          <a:xfrm>
            <a:off x="9840000" y="1989000"/>
            <a:ext cx="720000" cy="720000"/>
          </a:xfrm>
          <a:prstGeom prst="rect">
            <a:avLst/>
          </a:prstGeom>
          <a:noFill/>
        </p:spPr>
      </p:pic>
      <p:pic>
        <p:nvPicPr>
          <p:cNvPr id="136" name="Grafik 135">
            <a:extLst>
              <a:ext uri="{FF2B5EF4-FFF2-40B4-BE49-F238E27FC236}">
                <a16:creationId xmlns:a16="http://schemas.microsoft.com/office/drawing/2014/main" id="{F207CDD1-CDC5-42D4-9B4A-FD67337E57FD}"/>
              </a:ext>
            </a:extLst>
          </p:cNvPr>
          <p:cNvPicPr>
            <a:picLocks noChangeAspect="1"/>
          </p:cNvPicPr>
          <p:nvPr/>
        </p:nvPicPr>
        <p:blipFill>
          <a:blip r:embed="rId60" cstate="screen">
            <a:extLst>
              <a:ext uri="{28A0092B-C50C-407E-A947-70E740481C1C}">
                <a14:useLocalDpi xmlns:a14="http://schemas.microsoft.com/office/drawing/2010/main"/>
              </a:ext>
            </a:extLst>
          </a:blip>
          <a:srcRect/>
          <a:stretch/>
        </p:blipFill>
        <p:spPr bwMode="gray">
          <a:xfrm>
            <a:off x="1128550" y="4365000"/>
            <a:ext cx="720000" cy="720000"/>
          </a:xfrm>
          <a:prstGeom prst="rect">
            <a:avLst/>
          </a:prstGeom>
          <a:noFill/>
        </p:spPr>
      </p:pic>
    </p:spTree>
    <p:extLst>
      <p:ext uri="{BB962C8B-B14F-4D97-AF65-F5344CB8AC3E}">
        <p14:creationId xmlns:p14="http://schemas.microsoft.com/office/powerpoint/2010/main" val="525368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8BDBE72-6456-4C4C-AE85-67A08DF15F5D}"/>
              </a:ext>
            </a:extLst>
          </p:cNvPr>
          <p:cNvGraphicFramePr>
            <a:graphicFrameLocks noChangeAspect="1"/>
          </p:cNvGraphicFramePr>
          <p:nvPr>
            <p:custDataLst>
              <p:tags r:id="rId1"/>
            </p:custDataLst>
            <p:extLst>
              <p:ext uri="{D42A27DB-BD31-4B8C-83A1-F6EECF244321}">
                <p14:modId xmlns:p14="http://schemas.microsoft.com/office/powerpoint/2010/main" val="2050065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8873297-7CFC-48F0-A9F3-6BDCC221C31B}"/>
              </a:ext>
            </a:extLst>
          </p:cNvPr>
          <p:cNvSpPr>
            <a:spLocks noGrp="1"/>
          </p:cNvSpPr>
          <p:nvPr>
            <p:ph type="title"/>
          </p:nvPr>
        </p:nvSpPr>
        <p:spPr bwMode="gray"/>
        <p:txBody>
          <a:bodyPr vert="horz"/>
          <a:lstStyle/>
          <a:p>
            <a:r>
              <a:rPr lang="de-DE" dirty="0"/>
              <a:t>Icons II </a:t>
            </a:r>
            <a:br>
              <a:rPr lang="de-DE" dirty="0"/>
            </a:br>
            <a:r>
              <a:rPr lang="de-DE" b="0" dirty="0"/>
              <a:t>negativ | Cyan</a:t>
            </a:r>
            <a:endParaRPr lang="de-DE" dirty="0"/>
          </a:p>
        </p:txBody>
      </p:sp>
      <p:sp>
        <p:nvSpPr>
          <p:cNvPr id="8" name="Date Placeholder 7">
            <a:extLst>
              <a:ext uri="{FF2B5EF4-FFF2-40B4-BE49-F238E27FC236}">
                <a16:creationId xmlns:a16="http://schemas.microsoft.com/office/drawing/2014/main" id="{1AC5802E-2235-4F79-AB4A-54F25F8908CD}"/>
              </a:ext>
            </a:extLst>
          </p:cNvPr>
          <p:cNvSpPr>
            <a:spLocks noGrp="1"/>
          </p:cNvSpPr>
          <p:nvPr>
            <p:ph type="dt" sz="half" idx="10"/>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8BC706-A84D-4B0F-ACDD-0A4669D9EEDC}" type="datetime1">
              <a:rPr kumimoji="0" lang="de-DE" sz="800" b="0" i="0" u="none" strike="noStrike" kern="1200" cap="none" spc="0" normalizeH="0" baseline="0" noProof="0" smtClean="0">
                <a:ln>
                  <a:noFill/>
                </a:ln>
                <a:solidFill>
                  <a:srgbClr val="FFFFFF"/>
                </a:solidFill>
                <a:effectLst/>
                <a:uLnTx/>
                <a:uFillTx/>
                <a:latin typeface="Verdana"/>
                <a:ea typeface="+mn-ea"/>
                <a:cs typeface="+mn-cs"/>
              </a:rPr>
              <a:t>29.09.25</a:t>
            </a:fld>
            <a:endParaRPr kumimoji="0" lang="de-DE" sz="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3" name="Fußzeilenplatzhalter 2">
            <a:extLst>
              <a:ext uri="{FF2B5EF4-FFF2-40B4-BE49-F238E27FC236}">
                <a16:creationId xmlns:a16="http://schemas.microsoft.com/office/drawing/2014/main" id="{719E5376-D5E1-4E1C-A687-F622EC74BD21}"/>
              </a:ext>
            </a:extLst>
          </p:cNvPr>
          <p:cNvSpPr>
            <a:spLocks noGrp="1"/>
          </p:cNvSpPr>
          <p:nvPr>
            <p:ph type="ftr" sz="quarter"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all" spc="0" normalizeH="0" baseline="0" noProof="0" dirty="0">
                <a:ln>
                  <a:noFill/>
                </a:ln>
                <a:solidFill>
                  <a:srgbClr val="FFFFFF"/>
                </a:solidFill>
                <a:effectLst/>
                <a:uLnTx/>
                <a:uFillTx/>
                <a:latin typeface="Verdana"/>
                <a:ea typeface="+mn-ea"/>
                <a:cs typeface="+mn-cs"/>
              </a:rPr>
              <a:t>TITEL DER PRÄSENTATION | TITEL VORNAME NAME</a:t>
            </a:r>
          </a:p>
        </p:txBody>
      </p:sp>
      <p:sp>
        <p:nvSpPr>
          <p:cNvPr id="4" name="Foliennummernplatzhalter 3">
            <a:extLst>
              <a:ext uri="{FF2B5EF4-FFF2-40B4-BE49-F238E27FC236}">
                <a16:creationId xmlns:a16="http://schemas.microsoft.com/office/drawing/2014/main" id="{6F0F3D92-6905-4E0A-8342-A03F733B35F7}"/>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9C37E-8A19-4E30-BE2B-5A966AD23C7A}" type="slidenum">
              <a:rPr kumimoji="0" lang="de-DE" sz="8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de-DE" sz="800" b="0" i="0" u="none" strike="noStrike" kern="1200" cap="none" spc="0" normalizeH="0" baseline="0" noProof="0" dirty="0">
              <a:ln>
                <a:noFill/>
              </a:ln>
              <a:solidFill>
                <a:srgbClr val="FFFFFF"/>
              </a:solidFill>
              <a:effectLst/>
              <a:uLnTx/>
              <a:uFillTx/>
              <a:latin typeface="Verdana"/>
              <a:ea typeface="+mn-ea"/>
              <a:cs typeface="+mn-cs"/>
            </a:endParaRPr>
          </a:p>
        </p:txBody>
      </p:sp>
      <p:pic>
        <p:nvPicPr>
          <p:cNvPr id="105" name="Grafik 104">
            <a:extLst>
              <a:ext uri="{FF2B5EF4-FFF2-40B4-BE49-F238E27FC236}">
                <a16:creationId xmlns:a16="http://schemas.microsoft.com/office/drawing/2014/main" id="{10A29B5C-92C1-48AF-AE84-F09962E40D3F}"/>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bwMode="gray">
          <a:xfrm>
            <a:off x="336000" y="2781000"/>
            <a:ext cx="720000" cy="720000"/>
          </a:xfrm>
          <a:prstGeom prst="rect">
            <a:avLst/>
          </a:prstGeom>
          <a:noFill/>
        </p:spPr>
      </p:pic>
      <p:pic>
        <p:nvPicPr>
          <p:cNvPr id="106" name="Grafik 105">
            <a:extLst>
              <a:ext uri="{FF2B5EF4-FFF2-40B4-BE49-F238E27FC236}">
                <a16:creationId xmlns:a16="http://schemas.microsoft.com/office/drawing/2014/main" id="{72E8A7BA-B4E1-4087-86FB-0A9FD7082D87}"/>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bwMode="gray">
          <a:xfrm>
            <a:off x="1128000" y="2781000"/>
            <a:ext cx="720000" cy="720000"/>
          </a:xfrm>
          <a:prstGeom prst="rect">
            <a:avLst/>
          </a:prstGeom>
          <a:noFill/>
        </p:spPr>
      </p:pic>
      <p:pic>
        <p:nvPicPr>
          <p:cNvPr id="107" name="Grafik 106">
            <a:extLst>
              <a:ext uri="{FF2B5EF4-FFF2-40B4-BE49-F238E27FC236}">
                <a16:creationId xmlns:a16="http://schemas.microsoft.com/office/drawing/2014/main" id="{11B71FC6-8BA4-4619-9AB2-280BE416E3F0}"/>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bwMode="gray">
          <a:xfrm>
            <a:off x="1920000" y="2781000"/>
            <a:ext cx="720000" cy="720000"/>
          </a:xfrm>
          <a:prstGeom prst="rect">
            <a:avLst/>
          </a:prstGeom>
          <a:noFill/>
        </p:spPr>
      </p:pic>
      <p:pic>
        <p:nvPicPr>
          <p:cNvPr id="108" name="Grafik 107">
            <a:extLst>
              <a:ext uri="{FF2B5EF4-FFF2-40B4-BE49-F238E27FC236}">
                <a16:creationId xmlns:a16="http://schemas.microsoft.com/office/drawing/2014/main" id="{FD1F16C5-5669-4BAE-AC73-6D31411E1214}"/>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bwMode="gray">
          <a:xfrm>
            <a:off x="2712000" y="2781000"/>
            <a:ext cx="720000" cy="720000"/>
          </a:xfrm>
          <a:prstGeom prst="rect">
            <a:avLst/>
          </a:prstGeom>
          <a:noFill/>
        </p:spPr>
      </p:pic>
      <p:pic>
        <p:nvPicPr>
          <p:cNvPr id="109" name="Grafik 108">
            <a:extLst>
              <a:ext uri="{FF2B5EF4-FFF2-40B4-BE49-F238E27FC236}">
                <a16:creationId xmlns:a16="http://schemas.microsoft.com/office/drawing/2014/main" id="{8A0B8548-39A6-432A-BCF6-68C67E946062}"/>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bwMode="gray">
          <a:xfrm>
            <a:off x="3504000" y="2781000"/>
            <a:ext cx="720000" cy="720000"/>
          </a:xfrm>
          <a:prstGeom prst="rect">
            <a:avLst/>
          </a:prstGeom>
          <a:noFill/>
        </p:spPr>
      </p:pic>
      <p:pic>
        <p:nvPicPr>
          <p:cNvPr id="110" name="Grafik 109">
            <a:extLst>
              <a:ext uri="{FF2B5EF4-FFF2-40B4-BE49-F238E27FC236}">
                <a16:creationId xmlns:a16="http://schemas.microsoft.com/office/drawing/2014/main" id="{E910F74A-DF07-46D5-8461-A89FAB30E92F}"/>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bwMode="gray">
          <a:xfrm>
            <a:off x="4296000" y="2781000"/>
            <a:ext cx="720000" cy="720000"/>
          </a:xfrm>
          <a:prstGeom prst="rect">
            <a:avLst/>
          </a:prstGeom>
          <a:noFill/>
        </p:spPr>
      </p:pic>
      <p:pic>
        <p:nvPicPr>
          <p:cNvPr id="111" name="Grafik 110">
            <a:extLst>
              <a:ext uri="{FF2B5EF4-FFF2-40B4-BE49-F238E27FC236}">
                <a16:creationId xmlns:a16="http://schemas.microsoft.com/office/drawing/2014/main" id="{32556A42-E1C4-4C36-A8CD-3D3CA8A65CD6}"/>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bwMode="gray">
          <a:xfrm>
            <a:off x="5088000" y="2781000"/>
            <a:ext cx="720000" cy="720000"/>
          </a:xfrm>
          <a:prstGeom prst="rect">
            <a:avLst/>
          </a:prstGeom>
          <a:noFill/>
        </p:spPr>
      </p:pic>
      <p:pic>
        <p:nvPicPr>
          <p:cNvPr id="112" name="Grafik 111">
            <a:extLst>
              <a:ext uri="{FF2B5EF4-FFF2-40B4-BE49-F238E27FC236}">
                <a16:creationId xmlns:a16="http://schemas.microsoft.com/office/drawing/2014/main" id="{E26A0ADC-FFEC-4114-9D28-E85F7EA33087}"/>
              </a:ext>
            </a:extLst>
          </p:cNvPr>
          <p:cNvPicPr>
            <a:picLocks noChangeAspect="1"/>
          </p:cNvPicPr>
          <p:nvPr/>
        </p:nvPicPr>
        <p:blipFill>
          <a:blip r:embed="rId12" cstate="screen">
            <a:extLst>
              <a:ext uri="{28A0092B-C50C-407E-A947-70E740481C1C}">
                <a14:useLocalDpi xmlns:a14="http://schemas.microsoft.com/office/drawing/2010/main"/>
              </a:ext>
            </a:extLst>
          </a:blip>
          <a:srcRect/>
          <a:stretch/>
        </p:blipFill>
        <p:spPr bwMode="gray">
          <a:xfrm>
            <a:off x="5880000" y="2781000"/>
            <a:ext cx="720000" cy="720000"/>
          </a:xfrm>
          <a:prstGeom prst="rect">
            <a:avLst/>
          </a:prstGeom>
          <a:noFill/>
        </p:spPr>
      </p:pic>
      <p:pic>
        <p:nvPicPr>
          <p:cNvPr id="113" name="Grafik 112">
            <a:extLst>
              <a:ext uri="{FF2B5EF4-FFF2-40B4-BE49-F238E27FC236}">
                <a16:creationId xmlns:a16="http://schemas.microsoft.com/office/drawing/2014/main" id="{EFA00239-6426-437D-8B0B-4A2B459B2A1A}"/>
              </a:ext>
            </a:extLst>
          </p:cNvPr>
          <p:cNvPicPr>
            <a:picLocks noChangeAspect="1"/>
          </p:cNvPicPr>
          <p:nvPr/>
        </p:nvPicPr>
        <p:blipFill>
          <a:blip r:embed="rId13" cstate="screen">
            <a:extLst>
              <a:ext uri="{28A0092B-C50C-407E-A947-70E740481C1C}">
                <a14:useLocalDpi xmlns:a14="http://schemas.microsoft.com/office/drawing/2010/main"/>
              </a:ext>
            </a:extLst>
          </a:blip>
          <a:srcRect/>
          <a:stretch/>
        </p:blipFill>
        <p:spPr bwMode="gray">
          <a:xfrm>
            <a:off x="6672000" y="2781000"/>
            <a:ext cx="720000" cy="720000"/>
          </a:xfrm>
          <a:prstGeom prst="rect">
            <a:avLst/>
          </a:prstGeom>
          <a:noFill/>
        </p:spPr>
      </p:pic>
      <p:pic>
        <p:nvPicPr>
          <p:cNvPr id="114" name="Grafik 113">
            <a:extLst>
              <a:ext uri="{FF2B5EF4-FFF2-40B4-BE49-F238E27FC236}">
                <a16:creationId xmlns:a16="http://schemas.microsoft.com/office/drawing/2014/main" id="{EED1631A-9054-459C-826B-9EEB3DB7649E}"/>
              </a:ext>
            </a:extLst>
          </p:cNvPr>
          <p:cNvPicPr>
            <a:picLocks noChangeAspect="1"/>
          </p:cNvPicPr>
          <p:nvPr/>
        </p:nvPicPr>
        <p:blipFill>
          <a:blip r:embed="rId14" cstate="screen">
            <a:extLst>
              <a:ext uri="{28A0092B-C50C-407E-A947-70E740481C1C}">
                <a14:useLocalDpi xmlns:a14="http://schemas.microsoft.com/office/drawing/2010/main"/>
              </a:ext>
            </a:extLst>
          </a:blip>
          <a:srcRect/>
          <a:stretch/>
        </p:blipFill>
        <p:spPr bwMode="gray">
          <a:xfrm>
            <a:off x="7464000" y="2781000"/>
            <a:ext cx="720000" cy="720000"/>
          </a:xfrm>
          <a:prstGeom prst="rect">
            <a:avLst/>
          </a:prstGeom>
          <a:noFill/>
        </p:spPr>
      </p:pic>
      <p:pic>
        <p:nvPicPr>
          <p:cNvPr id="116" name="Grafik 115">
            <a:extLst>
              <a:ext uri="{FF2B5EF4-FFF2-40B4-BE49-F238E27FC236}">
                <a16:creationId xmlns:a16="http://schemas.microsoft.com/office/drawing/2014/main" id="{04CE3706-F547-43B3-AB16-170AE2E25413}"/>
              </a:ext>
            </a:extLst>
          </p:cNvPr>
          <p:cNvPicPr>
            <a:picLocks noChangeAspect="1"/>
          </p:cNvPicPr>
          <p:nvPr/>
        </p:nvPicPr>
        <p:blipFill>
          <a:blip r:embed="rId15" cstate="screen">
            <a:extLst>
              <a:ext uri="{28A0092B-C50C-407E-A947-70E740481C1C}">
                <a14:useLocalDpi xmlns:a14="http://schemas.microsoft.com/office/drawing/2010/main"/>
              </a:ext>
            </a:extLst>
          </a:blip>
          <a:srcRect/>
          <a:stretch/>
        </p:blipFill>
        <p:spPr bwMode="gray">
          <a:xfrm>
            <a:off x="9048000" y="2781000"/>
            <a:ext cx="720000" cy="720000"/>
          </a:xfrm>
          <a:prstGeom prst="rect">
            <a:avLst/>
          </a:prstGeom>
          <a:noFill/>
        </p:spPr>
      </p:pic>
      <p:pic>
        <p:nvPicPr>
          <p:cNvPr id="117" name="Grafik 116">
            <a:extLst>
              <a:ext uri="{FF2B5EF4-FFF2-40B4-BE49-F238E27FC236}">
                <a16:creationId xmlns:a16="http://schemas.microsoft.com/office/drawing/2014/main" id="{FC130E6C-EC23-4FB5-B823-F323287E3413}"/>
              </a:ext>
            </a:extLst>
          </p:cNvPr>
          <p:cNvPicPr>
            <a:picLocks noChangeAspect="1"/>
          </p:cNvPicPr>
          <p:nvPr/>
        </p:nvPicPr>
        <p:blipFill>
          <a:blip r:embed="rId16" cstate="screen">
            <a:extLst>
              <a:ext uri="{28A0092B-C50C-407E-A947-70E740481C1C}">
                <a14:useLocalDpi xmlns:a14="http://schemas.microsoft.com/office/drawing/2010/main"/>
              </a:ext>
            </a:extLst>
          </a:blip>
          <a:srcRect/>
          <a:stretch/>
        </p:blipFill>
        <p:spPr bwMode="gray">
          <a:xfrm>
            <a:off x="9840000" y="2781000"/>
            <a:ext cx="720000" cy="720000"/>
          </a:xfrm>
          <a:prstGeom prst="rect">
            <a:avLst/>
          </a:prstGeom>
          <a:noFill/>
        </p:spPr>
      </p:pic>
      <p:pic>
        <p:nvPicPr>
          <p:cNvPr id="118" name="Grafik 117">
            <a:extLst>
              <a:ext uri="{FF2B5EF4-FFF2-40B4-BE49-F238E27FC236}">
                <a16:creationId xmlns:a16="http://schemas.microsoft.com/office/drawing/2014/main" id="{543AD7C9-11F4-4147-A53C-B1AD87BAE485}"/>
              </a:ext>
            </a:extLst>
          </p:cNvPr>
          <p:cNvPicPr>
            <a:picLocks noChangeAspect="1"/>
          </p:cNvPicPr>
          <p:nvPr/>
        </p:nvPicPr>
        <p:blipFill>
          <a:blip r:embed="rId17" cstate="screen">
            <a:extLst>
              <a:ext uri="{28A0092B-C50C-407E-A947-70E740481C1C}">
                <a14:useLocalDpi xmlns:a14="http://schemas.microsoft.com/office/drawing/2010/main"/>
              </a:ext>
            </a:extLst>
          </a:blip>
          <a:srcRect/>
          <a:stretch/>
        </p:blipFill>
        <p:spPr bwMode="gray">
          <a:xfrm>
            <a:off x="10632000" y="2781000"/>
            <a:ext cx="720000" cy="720000"/>
          </a:xfrm>
          <a:prstGeom prst="rect">
            <a:avLst/>
          </a:prstGeom>
          <a:noFill/>
        </p:spPr>
      </p:pic>
      <p:pic>
        <p:nvPicPr>
          <p:cNvPr id="119" name="Grafik 118">
            <a:extLst>
              <a:ext uri="{FF2B5EF4-FFF2-40B4-BE49-F238E27FC236}">
                <a16:creationId xmlns:a16="http://schemas.microsoft.com/office/drawing/2014/main" id="{850DD12E-AE63-425C-910F-A3EB4CBE4FAB}"/>
              </a:ext>
            </a:extLst>
          </p:cNvPr>
          <p:cNvPicPr>
            <a:picLocks noChangeAspect="1"/>
          </p:cNvPicPr>
          <p:nvPr/>
        </p:nvPicPr>
        <p:blipFill>
          <a:blip r:embed="rId18" cstate="screen">
            <a:extLst>
              <a:ext uri="{28A0092B-C50C-407E-A947-70E740481C1C}">
                <a14:useLocalDpi xmlns:a14="http://schemas.microsoft.com/office/drawing/2010/main"/>
              </a:ext>
            </a:extLst>
          </a:blip>
          <a:srcRect/>
          <a:stretch/>
        </p:blipFill>
        <p:spPr bwMode="gray">
          <a:xfrm>
            <a:off x="336000" y="3573000"/>
            <a:ext cx="720000" cy="720000"/>
          </a:xfrm>
          <a:prstGeom prst="rect">
            <a:avLst/>
          </a:prstGeom>
          <a:noFill/>
        </p:spPr>
      </p:pic>
      <p:pic>
        <p:nvPicPr>
          <p:cNvPr id="120" name="Grafik 119">
            <a:extLst>
              <a:ext uri="{FF2B5EF4-FFF2-40B4-BE49-F238E27FC236}">
                <a16:creationId xmlns:a16="http://schemas.microsoft.com/office/drawing/2014/main" id="{5E32EF1B-7496-4E04-B0B1-4B24680E956E}"/>
              </a:ext>
            </a:extLst>
          </p:cNvPr>
          <p:cNvPicPr>
            <a:picLocks noChangeAspect="1"/>
          </p:cNvPicPr>
          <p:nvPr/>
        </p:nvPicPr>
        <p:blipFill>
          <a:blip r:embed="rId19" cstate="screen">
            <a:extLst>
              <a:ext uri="{28A0092B-C50C-407E-A947-70E740481C1C}">
                <a14:useLocalDpi xmlns:a14="http://schemas.microsoft.com/office/drawing/2010/main"/>
              </a:ext>
            </a:extLst>
          </a:blip>
          <a:srcRect/>
          <a:stretch/>
        </p:blipFill>
        <p:spPr bwMode="gray">
          <a:xfrm>
            <a:off x="1128000" y="3573000"/>
            <a:ext cx="720000" cy="720000"/>
          </a:xfrm>
          <a:prstGeom prst="rect">
            <a:avLst/>
          </a:prstGeom>
          <a:noFill/>
        </p:spPr>
      </p:pic>
      <p:pic>
        <p:nvPicPr>
          <p:cNvPr id="121" name="Grafik 120">
            <a:extLst>
              <a:ext uri="{FF2B5EF4-FFF2-40B4-BE49-F238E27FC236}">
                <a16:creationId xmlns:a16="http://schemas.microsoft.com/office/drawing/2014/main" id="{AA4C18CC-3796-41E8-8209-2BCFB968E710}"/>
              </a:ext>
            </a:extLst>
          </p:cNvPr>
          <p:cNvPicPr>
            <a:picLocks noChangeAspect="1"/>
          </p:cNvPicPr>
          <p:nvPr/>
        </p:nvPicPr>
        <p:blipFill>
          <a:blip r:embed="rId20" cstate="screen">
            <a:extLst>
              <a:ext uri="{28A0092B-C50C-407E-A947-70E740481C1C}">
                <a14:useLocalDpi xmlns:a14="http://schemas.microsoft.com/office/drawing/2010/main"/>
              </a:ext>
            </a:extLst>
          </a:blip>
          <a:srcRect/>
          <a:stretch/>
        </p:blipFill>
        <p:spPr bwMode="gray">
          <a:xfrm>
            <a:off x="1920000" y="3573000"/>
            <a:ext cx="720000" cy="720000"/>
          </a:xfrm>
          <a:prstGeom prst="rect">
            <a:avLst/>
          </a:prstGeom>
          <a:noFill/>
        </p:spPr>
      </p:pic>
      <p:pic>
        <p:nvPicPr>
          <p:cNvPr id="124" name="Grafik 123">
            <a:extLst>
              <a:ext uri="{FF2B5EF4-FFF2-40B4-BE49-F238E27FC236}">
                <a16:creationId xmlns:a16="http://schemas.microsoft.com/office/drawing/2014/main" id="{DFFD12A5-9ABD-4292-93C8-C5CBAA860760}"/>
              </a:ext>
            </a:extLst>
          </p:cNvPr>
          <p:cNvPicPr>
            <a:picLocks noChangeAspect="1"/>
          </p:cNvPicPr>
          <p:nvPr/>
        </p:nvPicPr>
        <p:blipFill>
          <a:blip r:embed="rId21" cstate="screen">
            <a:extLst>
              <a:ext uri="{28A0092B-C50C-407E-A947-70E740481C1C}">
                <a14:useLocalDpi xmlns:a14="http://schemas.microsoft.com/office/drawing/2010/main"/>
              </a:ext>
            </a:extLst>
          </a:blip>
          <a:srcRect/>
          <a:stretch/>
        </p:blipFill>
        <p:spPr bwMode="gray">
          <a:xfrm>
            <a:off x="4296000" y="3573000"/>
            <a:ext cx="720000" cy="720000"/>
          </a:xfrm>
          <a:prstGeom prst="rect">
            <a:avLst/>
          </a:prstGeom>
          <a:noFill/>
        </p:spPr>
      </p:pic>
      <p:pic>
        <p:nvPicPr>
          <p:cNvPr id="125" name="Grafik 124">
            <a:extLst>
              <a:ext uri="{FF2B5EF4-FFF2-40B4-BE49-F238E27FC236}">
                <a16:creationId xmlns:a16="http://schemas.microsoft.com/office/drawing/2014/main" id="{287DF7C9-B60A-43FB-93AB-C38CFD3658EC}"/>
              </a:ext>
            </a:extLst>
          </p:cNvPr>
          <p:cNvPicPr>
            <a:picLocks noChangeAspect="1"/>
          </p:cNvPicPr>
          <p:nvPr/>
        </p:nvPicPr>
        <p:blipFill>
          <a:blip r:embed="rId22" cstate="screen">
            <a:extLst>
              <a:ext uri="{28A0092B-C50C-407E-A947-70E740481C1C}">
                <a14:useLocalDpi xmlns:a14="http://schemas.microsoft.com/office/drawing/2010/main"/>
              </a:ext>
            </a:extLst>
          </a:blip>
          <a:srcRect/>
          <a:stretch/>
        </p:blipFill>
        <p:spPr bwMode="gray">
          <a:xfrm>
            <a:off x="5088000" y="3573000"/>
            <a:ext cx="720000" cy="720000"/>
          </a:xfrm>
          <a:prstGeom prst="rect">
            <a:avLst/>
          </a:prstGeom>
          <a:noFill/>
        </p:spPr>
      </p:pic>
      <p:pic>
        <p:nvPicPr>
          <p:cNvPr id="126" name="Grafik 125">
            <a:extLst>
              <a:ext uri="{FF2B5EF4-FFF2-40B4-BE49-F238E27FC236}">
                <a16:creationId xmlns:a16="http://schemas.microsoft.com/office/drawing/2014/main" id="{707A0370-AD56-4C06-B372-76439F605CA5}"/>
              </a:ext>
            </a:extLst>
          </p:cNvPr>
          <p:cNvPicPr>
            <a:picLocks noChangeAspect="1"/>
          </p:cNvPicPr>
          <p:nvPr/>
        </p:nvPicPr>
        <p:blipFill>
          <a:blip r:embed="rId23" cstate="screen">
            <a:extLst>
              <a:ext uri="{28A0092B-C50C-407E-A947-70E740481C1C}">
                <a14:useLocalDpi xmlns:a14="http://schemas.microsoft.com/office/drawing/2010/main"/>
              </a:ext>
            </a:extLst>
          </a:blip>
          <a:srcRect/>
          <a:stretch/>
        </p:blipFill>
        <p:spPr bwMode="gray">
          <a:xfrm>
            <a:off x="5880000" y="3573000"/>
            <a:ext cx="720000" cy="720000"/>
          </a:xfrm>
          <a:prstGeom prst="rect">
            <a:avLst/>
          </a:prstGeom>
          <a:noFill/>
        </p:spPr>
      </p:pic>
      <p:pic>
        <p:nvPicPr>
          <p:cNvPr id="127" name="Grafik 126">
            <a:extLst>
              <a:ext uri="{FF2B5EF4-FFF2-40B4-BE49-F238E27FC236}">
                <a16:creationId xmlns:a16="http://schemas.microsoft.com/office/drawing/2014/main" id="{EC1E0ADC-E9D9-4345-A702-E2B4A235C062}"/>
              </a:ext>
            </a:extLst>
          </p:cNvPr>
          <p:cNvPicPr>
            <a:picLocks noChangeAspect="1"/>
          </p:cNvPicPr>
          <p:nvPr/>
        </p:nvPicPr>
        <p:blipFill>
          <a:blip r:embed="rId24" cstate="screen">
            <a:extLst>
              <a:ext uri="{28A0092B-C50C-407E-A947-70E740481C1C}">
                <a14:useLocalDpi xmlns:a14="http://schemas.microsoft.com/office/drawing/2010/main"/>
              </a:ext>
            </a:extLst>
          </a:blip>
          <a:srcRect/>
          <a:stretch/>
        </p:blipFill>
        <p:spPr bwMode="gray">
          <a:xfrm>
            <a:off x="6672000" y="3573000"/>
            <a:ext cx="720000" cy="720000"/>
          </a:xfrm>
          <a:prstGeom prst="rect">
            <a:avLst/>
          </a:prstGeom>
          <a:noFill/>
        </p:spPr>
      </p:pic>
      <p:pic>
        <p:nvPicPr>
          <p:cNvPr id="128" name="Grafik 127">
            <a:extLst>
              <a:ext uri="{FF2B5EF4-FFF2-40B4-BE49-F238E27FC236}">
                <a16:creationId xmlns:a16="http://schemas.microsoft.com/office/drawing/2014/main" id="{9780CA18-994C-4F5B-BC23-38D30AFBEDE1}"/>
              </a:ext>
            </a:extLst>
          </p:cNvPr>
          <p:cNvPicPr>
            <a:picLocks noChangeAspect="1"/>
          </p:cNvPicPr>
          <p:nvPr/>
        </p:nvPicPr>
        <p:blipFill>
          <a:blip r:embed="rId25" cstate="screen">
            <a:extLst>
              <a:ext uri="{28A0092B-C50C-407E-A947-70E740481C1C}">
                <a14:useLocalDpi xmlns:a14="http://schemas.microsoft.com/office/drawing/2010/main"/>
              </a:ext>
            </a:extLst>
          </a:blip>
          <a:srcRect/>
          <a:stretch/>
        </p:blipFill>
        <p:spPr bwMode="gray">
          <a:xfrm>
            <a:off x="7464000" y="3573000"/>
            <a:ext cx="720000" cy="720000"/>
          </a:xfrm>
          <a:prstGeom prst="rect">
            <a:avLst/>
          </a:prstGeom>
          <a:noFill/>
        </p:spPr>
      </p:pic>
      <p:pic>
        <p:nvPicPr>
          <p:cNvPr id="129" name="Grafik 128">
            <a:extLst>
              <a:ext uri="{FF2B5EF4-FFF2-40B4-BE49-F238E27FC236}">
                <a16:creationId xmlns:a16="http://schemas.microsoft.com/office/drawing/2014/main" id="{5014D5E5-FABB-4CFC-8897-DC6963071081}"/>
              </a:ext>
            </a:extLst>
          </p:cNvPr>
          <p:cNvPicPr>
            <a:picLocks noChangeAspect="1"/>
          </p:cNvPicPr>
          <p:nvPr/>
        </p:nvPicPr>
        <p:blipFill>
          <a:blip r:embed="rId26" cstate="screen">
            <a:extLst>
              <a:ext uri="{28A0092B-C50C-407E-A947-70E740481C1C}">
                <a14:useLocalDpi xmlns:a14="http://schemas.microsoft.com/office/drawing/2010/main"/>
              </a:ext>
            </a:extLst>
          </a:blip>
          <a:srcRect/>
          <a:stretch/>
        </p:blipFill>
        <p:spPr bwMode="gray">
          <a:xfrm>
            <a:off x="8256000" y="3573000"/>
            <a:ext cx="720000" cy="720000"/>
          </a:xfrm>
          <a:prstGeom prst="rect">
            <a:avLst/>
          </a:prstGeom>
          <a:noFill/>
        </p:spPr>
      </p:pic>
      <p:pic>
        <p:nvPicPr>
          <p:cNvPr id="130" name="Grafik 129">
            <a:extLst>
              <a:ext uri="{FF2B5EF4-FFF2-40B4-BE49-F238E27FC236}">
                <a16:creationId xmlns:a16="http://schemas.microsoft.com/office/drawing/2014/main" id="{A91B9030-A13A-4240-9460-09BA8730B3D8}"/>
              </a:ext>
            </a:extLst>
          </p:cNvPr>
          <p:cNvPicPr>
            <a:picLocks noChangeAspect="1"/>
          </p:cNvPicPr>
          <p:nvPr/>
        </p:nvPicPr>
        <p:blipFill>
          <a:blip r:embed="rId27" cstate="screen">
            <a:extLst>
              <a:ext uri="{28A0092B-C50C-407E-A947-70E740481C1C}">
                <a14:useLocalDpi xmlns:a14="http://schemas.microsoft.com/office/drawing/2010/main"/>
              </a:ext>
            </a:extLst>
          </a:blip>
          <a:srcRect/>
          <a:stretch/>
        </p:blipFill>
        <p:spPr bwMode="gray">
          <a:xfrm>
            <a:off x="9048000" y="3573000"/>
            <a:ext cx="720000" cy="720000"/>
          </a:xfrm>
          <a:prstGeom prst="rect">
            <a:avLst/>
          </a:prstGeom>
          <a:noFill/>
        </p:spPr>
      </p:pic>
      <p:pic>
        <p:nvPicPr>
          <p:cNvPr id="131" name="Grafik 130">
            <a:extLst>
              <a:ext uri="{FF2B5EF4-FFF2-40B4-BE49-F238E27FC236}">
                <a16:creationId xmlns:a16="http://schemas.microsoft.com/office/drawing/2014/main" id="{3B059CC8-E7A1-4D2F-8BD7-B6E6AE4B9518}"/>
              </a:ext>
            </a:extLst>
          </p:cNvPr>
          <p:cNvPicPr>
            <a:picLocks noChangeAspect="1"/>
          </p:cNvPicPr>
          <p:nvPr/>
        </p:nvPicPr>
        <p:blipFill>
          <a:blip r:embed="rId28" cstate="screen">
            <a:extLst>
              <a:ext uri="{28A0092B-C50C-407E-A947-70E740481C1C}">
                <a14:useLocalDpi xmlns:a14="http://schemas.microsoft.com/office/drawing/2010/main"/>
              </a:ext>
            </a:extLst>
          </a:blip>
          <a:srcRect/>
          <a:stretch/>
        </p:blipFill>
        <p:spPr bwMode="gray">
          <a:xfrm>
            <a:off x="9840000" y="3573000"/>
            <a:ext cx="720000" cy="720000"/>
          </a:xfrm>
          <a:prstGeom prst="rect">
            <a:avLst/>
          </a:prstGeom>
          <a:noFill/>
        </p:spPr>
      </p:pic>
      <p:pic>
        <p:nvPicPr>
          <p:cNvPr id="132" name="Grafik 131">
            <a:extLst>
              <a:ext uri="{FF2B5EF4-FFF2-40B4-BE49-F238E27FC236}">
                <a16:creationId xmlns:a16="http://schemas.microsoft.com/office/drawing/2014/main" id="{1C16D0F0-C5AF-464A-A3B7-959B7B53AEC2}"/>
              </a:ext>
            </a:extLst>
          </p:cNvPr>
          <p:cNvPicPr>
            <a:picLocks noChangeAspect="1"/>
          </p:cNvPicPr>
          <p:nvPr/>
        </p:nvPicPr>
        <p:blipFill>
          <a:blip r:embed="rId29" cstate="screen">
            <a:extLst>
              <a:ext uri="{28A0092B-C50C-407E-A947-70E740481C1C}">
                <a14:useLocalDpi xmlns:a14="http://schemas.microsoft.com/office/drawing/2010/main"/>
              </a:ext>
            </a:extLst>
          </a:blip>
          <a:srcRect/>
          <a:stretch/>
        </p:blipFill>
        <p:spPr bwMode="gray">
          <a:xfrm>
            <a:off x="10632000" y="3573000"/>
            <a:ext cx="720000" cy="720000"/>
          </a:xfrm>
          <a:prstGeom prst="rect">
            <a:avLst/>
          </a:prstGeom>
          <a:noFill/>
        </p:spPr>
      </p:pic>
      <p:pic>
        <p:nvPicPr>
          <p:cNvPr id="133" name="Grafik 132">
            <a:extLst>
              <a:ext uri="{FF2B5EF4-FFF2-40B4-BE49-F238E27FC236}">
                <a16:creationId xmlns:a16="http://schemas.microsoft.com/office/drawing/2014/main" id="{877297AA-45C3-4E61-A4D9-6D4AD059C7F2}"/>
              </a:ext>
            </a:extLst>
          </p:cNvPr>
          <p:cNvPicPr>
            <a:picLocks noChangeAspect="1"/>
          </p:cNvPicPr>
          <p:nvPr/>
        </p:nvPicPr>
        <p:blipFill>
          <a:blip r:embed="rId30" cstate="screen">
            <a:extLst>
              <a:ext uri="{28A0092B-C50C-407E-A947-70E740481C1C}">
                <a14:useLocalDpi xmlns:a14="http://schemas.microsoft.com/office/drawing/2010/main"/>
              </a:ext>
            </a:extLst>
          </a:blip>
          <a:srcRect/>
          <a:stretch/>
        </p:blipFill>
        <p:spPr bwMode="gray">
          <a:xfrm>
            <a:off x="336000" y="4365000"/>
            <a:ext cx="720000" cy="720000"/>
          </a:xfrm>
          <a:prstGeom prst="rect">
            <a:avLst/>
          </a:prstGeom>
          <a:noFill/>
        </p:spPr>
      </p:pic>
      <p:pic>
        <p:nvPicPr>
          <p:cNvPr id="135" name="Grafik 134">
            <a:extLst>
              <a:ext uri="{FF2B5EF4-FFF2-40B4-BE49-F238E27FC236}">
                <a16:creationId xmlns:a16="http://schemas.microsoft.com/office/drawing/2014/main" id="{9569616A-B463-4E20-A3C7-31173B0D8BD2}"/>
              </a:ext>
            </a:extLst>
          </p:cNvPr>
          <p:cNvPicPr>
            <a:picLocks noChangeAspect="1"/>
          </p:cNvPicPr>
          <p:nvPr/>
        </p:nvPicPr>
        <p:blipFill>
          <a:blip r:embed="rId31" cstate="screen">
            <a:extLst>
              <a:ext uri="{28A0092B-C50C-407E-A947-70E740481C1C}">
                <a14:useLocalDpi xmlns:a14="http://schemas.microsoft.com/office/drawing/2010/main"/>
              </a:ext>
            </a:extLst>
          </a:blip>
          <a:srcRect/>
          <a:stretch/>
        </p:blipFill>
        <p:spPr bwMode="gray">
          <a:xfrm>
            <a:off x="1920550" y="4365000"/>
            <a:ext cx="720000" cy="720000"/>
          </a:xfrm>
          <a:prstGeom prst="rect">
            <a:avLst/>
          </a:prstGeom>
          <a:noFill/>
        </p:spPr>
      </p:pic>
      <p:pic>
        <p:nvPicPr>
          <p:cNvPr id="136" name="Grafik 135">
            <a:extLst>
              <a:ext uri="{FF2B5EF4-FFF2-40B4-BE49-F238E27FC236}">
                <a16:creationId xmlns:a16="http://schemas.microsoft.com/office/drawing/2014/main" id="{18481E32-CB45-4206-B010-D62345510C38}"/>
              </a:ext>
            </a:extLst>
          </p:cNvPr>
          <p:cNvPicPr>
            <a:picLocks noChangeAspect="1"/>
          </p:cNvPicPr>
          <p:nvPr/>
        </p:nvPicPr>
        <p:blipFill>
          <a:blip r:embed="rId32" cstate="screen">
            <a:extLst>
              <a:ext uri="{28A0092B-C50C-407E-A947-70E740481C1C}">
                <a14:useLocalDpi xmlns:a14="http://schemas.microsoft.com/office/drawing/2010/main"/>
              </a:ext>
            </a:extLst>
          </a:blip>
          <a:srcRect/>
          <a:stretch/>
        </p:blipFill>
        <p:spPr bwMode="gray">
          <a:xfrm>
            <a:off x="2712550" y="4365000"/>
            <a:ext cx="720000" cy="720000"/>
          </a:xfrm>
          <a:prstGeom prst="rect">
            <a:avLst/>
          </a:prstGeom>
          <a:noFill/>
        </p:spPr>
      </p:pic>
      <p:pic>
        <p:nvPicPr>
          <p:cNvPr id="137" name="Grafik 136">
            <a:extLst>
              <a:ext uri="{FF2B5EF4-FFF2-40B4-BE49-F238E27FC236}">
                <a16:creationId xmlns:a16="http://schemas.microsoft.com/office/drawing/2014/main" id="{05A473CE-63CB-46F3-9D57-4E6E23D4F4A5}"/>
              </a:ext>
            </a:extLst>
          </p:cNvPr>
          <p:cNvPicPr>
            <a:picLocks noChangeAspect="1"/>
          </p:cNvPicPr>
          <p:nvPr/>
        </p:nvPicPr>
        <p:blipFill>
          <a:blip r:embed="rId33" cstate="screen">
            <a:extLst>
              <a:ext uri="{28A0092B-C50C-407E-A947-70E740481C1C}">
                <a14:useLocalDpi xmlns:a14="http://schemas.microsoft.com/office/drawing/2010/main"/>
              </a:ext>
            </a:extLst>
          </a:blip>
          <a:srcRect/>
          <a:stretch/>
        </p:blipFill>
        <p:spPr bwMode="gray">
          <a:xfrm>
            <a:off x="3504550" y="4365000"/>
            <a:ext cx="720000" cy="720000"/>
          </a:xfrm>
          <a:prstGeom prst="rect">
            <a:avLst/>
          </a:prstGeom>
          <a:noFill/>
        </p:spPr>
      </p:pic>
      <p:pic>
        <p:nvPicPr>
          <p:cNvPr id="138" name="Grafik 137">
            <a:extLst>
              <a:ext uri="{FF2B5EF4-FFF2-40B4-BE49-F238E27FC236}">
                <a16:creationId xmlns:a16="http://schemas.microsoft.com/office/drawing/2014/main" id="{694E5240-57BF-4518-9012-F9D54B00D422}"/>
              </a:ext>
            </a:extLst>
          </p:cNvPr>
          <p:cNvPicPr>
            <a:picLocks noChangeAspect="1"/>
          </p:cNvPicPr>
          <p:nvPr/>
        </p:nvPicPr>
        <p:blipFill>
          <a:blip r:embed="rId34" cstate="screen">
            <a:extLst>
              <a:ext uri="{28A0092B-C50C-407E-A947-70E740481C1C}">
                <a14:useLocalDpi xmlns:a14="http://schemas.microsoft.com/office/drawing/2010/main"/>
              </a:ext>
            </a:extLst>
          </a:blip>
          <a:srcRect/>
          <a:stretch/>
        </p:blipFill>
        <p:spPr bwMode="gray">
          <a:xfrm>
            <a:off x="1128000" y="1989000"/>
            <a:ext cx="720000" cy="720000"/>
          </a:xfrm>
          <a:prstGeom prst="rect">
            <a:avLst/>
          </a:prstGeom>
          <a:noFill/>
        </p:spPr>
      </p:pic>
      <p:pic>
        <p:nvPicPr>
          <p:cNvPr id="139" name="Grafik 138">
            <a:extLst>
              <a:ext uri="{FF2B5EF4-FFF2-40B4-BE49-F238E27FC236}">
                <a16:creationId xmlns:a16="http://schemas.microsoft.com/office/drawing/2014/main" id="{A743A744-80E9-4924-AE99-6B91B2C255F3}"/>
              </a:ext>
            </a:extLst>
          </p:cNvPr>
          <p:cNvPicPr>
            <a:picLocks noChangeAspect="1"/>
          </p:cNvPicPr>
          <p:nvPr/>
        </p:nvPicPr>
        <p:blipFill>
          <a:blip r:embed="rId35" cstate="screen">
            <a:extLst>
              <a:ext uri="{28A0092B-C50C-407E-A947-70E740481C1C}">
                <a14:useLocalDpi xmlns:a14="http://schemas.microsoft.com/office/drawing/2010/main"/>
              </a:ext>
            </a:extLst>
          </a:blip>
          <a:srcRect/>
          <a:stretch/>
        </p:blipFill>
        <p:spPr bwMode="gray">
          <a:xfrm>
            <a:off x="1920000" y="1989000"/>
            <a:ext cx="720000" cy="720000"/>
          </a:xfrm>
          <a:prstGeom prst="rect">
            <a:avLst/>
          </a:prstGeom>
          <a:noFill/>
        </p:spPr>
      </p:pic>
      <p:pic>
        <p:nvPicPr>
          <p:cNvPr id="140" name="Grafik 139">
            <a:extLst>
              <a:ext uri="{FF2B5EF4-FFF2-40B4-BE49-F238E27FC236}">
                <a16:creationId xmlns:a16="http://schemas.microsoft.com/office/drawing/2014/main" id="{B21EA821-DCE8-4DD2-86A7-DD558D8EE140}"/>
              </a:ext>
            </a:extLst>
          </p:cNvPr>
          <p:cNvPicPr>
            <a:picLocks noChangeAspect="1"/>
          </p:cNvPicPr>
          <p:nvPr/>
        </p:nvPicPr>
        <p:blipFill>
          <a:blip r:embed="rId36" cstate="screen">
            <a:extLst>
              <a:ext uri="{28A0092B-C50C-407E-A947-70E740481C1C}">
                <a14:useLocalDpi xmlns:a14="http://schemas.microsoft.com/office/drawing/2010/main"/>
              </a:ext>
            </a:extLst>
          </a:blip>
          <a:srcRect/>
          <a:stretch/>
        </p:blipFill>
        <p:spPr bwMode="gray">
          <a:xfrm>
            <a:off x="2712000" y="1989000"/>
            <a:ext cx="720000" cy="720000"/>
          </a:xfrm>
          <a:prstGeom prst="rect">
            <a:avLst/>
          </a:prstGeom>
          <a:noFill/>
        </p:spPr>
      </p:pic>
      <p:pic>
        <p:nvPicPr>
          <p:cNvPr id="141" name="Grafik 140">
            <a:extLst>
              <a:ext uri="{FF2B5EF4-FFF2-40B4-BE49-F238E27FC236}">
                <a16:creationId xmlns:a16="http://schemas.microsoft.com/office/drawing/2014/main" id="{BF06892E-759B-4230-8178-C9E69BAD2F08}"/>
              </a:ext>
            </a:extLst>
          </p:cNvPr>
          <p:cNvPicPr>
            <a:picLocks noChangeAspect="1"/>
          </p:cNvPicPr>
          <p:nvPr/>
        </p:nvPicPr>
        <p:blipFill>
          <a:blip r:embed="rId37" cstate="screen">
            <a:extLst>
              <a:ext uri="{28A0092B-C50C-407E-A947-70E740481C1C}">
                <a14:useLocalDpi xmlns:a14="http://schemas.microsoft.com/office/drawing/2010/main"/>
              </a:ext>
            </a:extLst>
          </a:blip>
          <a:srcRect/>
          <a:stretch/>
        </p:blipFill>
        <p:spPr bwMode="gray">
          <a:xfrm>
            <a:off x="3504000" y="1989000"/>
            <a:ext cx="720000" cy="720000"/>
          </a:xfrm>
          <a:prstGeom prst="rect">
            <a:avLst/>
          </a:prstGeom>
          <a:noFill/>
        </p:spPr>
      </p:pic>
      <p:pic>
        <p:nvPicPr>
          <p:cNvPr id="142" name="Grafik 141">
            <a:extLst>
              <a:ext uri="{FF2B5EF4-FFF2-40B4-BE49-F238E27FC236}">
                <a16:creationId xmlns:a16="http://schemas.microsoft.com/office/drawing/2014/main" id="{13ACE94F-FB1D-40B4-94CA-287D5A8D8722}"/>
              </a:ext>
            </a:extLst>
          </p:cNvPr>
          <p:cNvPicPr>
            <a:picLocks noChangeAspect="1"/>
          </p:cNvPicPr>
          <p:nvPr/>
        </p:nvPicPr>
        <p:blipFill>
          <a:blip r:embed="rId38" cstate="screen">
            <a:extLst>
              <a:ext uri="{28A0092B-C50C-407E-A947-70E740481C1C}">
                <a14:useLocalDpi xmlns:a14="http://schemas.microsoft.com/office/drawing/2010/main"/>
              </a:ext>
            </a:extLst>
          </a:blip>
          <a:srcRect/>
          <a:stretch/>
        </p:blipFill>
        <p:spPr bwMode="gray">
          <a:xfrm>
            <a:off x="4296000" y="1989000"/>
            <a:ext cx="720000" cy="720000"/>
          </a:xfrm>
          <a:prstGeom prst="rect">
            <a:avLst/>
          </a:prstGeom>
          <a:noFill/>
        </p:spPr>
      </p:pic>
      <p:pic>
        <p:nvPicPr>
          <p:cNvPr id="143" name="Grafik 142">
            <a:extLst>
              <a:ext uri="{FF2B5EF4-FFF2-40B4-BE49-F238E27FC236}">
                <a16:creationId xmlns:a16="http://schemas.microsoft.com/office/drawing/2014/main" id="{22429F09-CF77-4FC9-8313-03C9D6CFA565}"/>
              </a:ext>
            </a:extLst>
          </p:cNvPr>
          <p:cNvPicPr>
            <a:picLocks noChangeAspect="1"/>
          </p:cNvPicPr>
          <p:nvPr/>
        </p:nvPicPr>
        <p:blipFill>
          <a:blip r:embed="rId39" cstate="screen">
            <a:extLst>
              <a:ext uri="{28A0092B-C50C-407E-A947-70E740481C1C}">
                <a14:useLocalDpi xmlns:a14="http://schemas.microsoft.com/office/drawing/2010/main"/>
              </a:ext>
            </a:extLst>
          </a:blip>
          <a:srcRect/>
          <a:stretch/>
        </p:blipFill>
        <p:spPr bwMode="gray">
          <a:xfrm>
            <a:off x="5088000" y="1989000"/>
            <a:ext cx="720000" cy="720000"/>
          </a:xfrm>
          <a:prstGeom prst="rect">
            <a:avLst/>
          </a:prstGeom>
          <a:noFill/>
        </p:spPr>
      </p:pic>
      <p:pic>
        <p:nvPicPr>
          <p:cNvPr id="144" name="Grafik 143">
            <a:extLst>
              <a:ext uri="{FF2B5EF4-FFF2-40B4-BE49-F238E27FC236}">
                <a16:creationId xmlns:a16="http://schemas.microsoft.com/office/drawing/2014/main" id="{6C1296C2-0275-4CD0-A765-BA067002DCFD}"/>
              </a:ext>
            </a:extLst>
          </p:cNvPr>
          <p:cNvPicPr>
            <a:picLocks noChangeAspect="1"/>
          </p:cNvPicPr>
          <p:nvPr/>
        </p:nvPicPr>
        <p:blipFill>
          <a:blip r:embed="rId40" cstate="screen">
            <a:extLst>
              <a:ext uri="{28A0092B-C50C-407E-A947-70E740481C1C}">
                <a14:useLocalDpi xmlns:a14="http://schemas.microsoft.com/office/drawing/2010/main"/>
              </a:ext>
            </a:extLst>
          </a:blip>
          <a:srcRect/>
          <a:stretch/>
        </p:blipFill>
        <p:spPr bwMode="gray">
          <a:xfrm>
            <a:off x="5880000" y="1989000"/>
            <a:ext cx="720000" cy="720000"/>
          </a:xfrm>
          <a:prstGeom prst="rect">
            <a:avLst/>
          </a:prstGeom>
          <a:noFill/>
        </p:spPr>
      </p:pic>
      <p:pic>
        <p:nvPicPr>
          <p:cNvPr id="145" name="Grafik 144">
            <a:extLst>
              <a:ext uri="{FF2B5EF4-FFF2-40B4-BE49-F238E27FC236}">
                <a16:creationId xmlns:a16="http://schemas.microsoft.com/office/drawing/2014/main" id="{B055DF26-C24C-448A-A5CD-639C031D4607}"/>
              </a:ext>
            </a:extLst>
          </p:cNvPr>
          <p:cNvPicPr>
            <a:picLocks noChangeAspect="1"/>
          </p:cNvPicPr>
          <p:nvPr/>
        </p:nvPicPr>
        <p:blipFill>
          <a:blip r:embed="rId41" cstate="screen">
            <a:extLst>
              <a:ext uri="{28A0092B-C50C-407E-A947-70E740481C1C}">
                <a14:useLocalDpi xmlns:a14="http://schemas.microsoft.com/office/drawing/2010/main"/>
              </a:ext>
            </a:extLst>
          </a:blip>
          <a:srcRect/>
          <a:stretch/>
        </p:blipFill>
        <p:spPr bwMode="gray">
          <a:xfrm>
            <a:off x="6672000" y="1989000"/>
            <a:ext cx="720000" cy="720000"/>
          </a:xfrm>
          <a:prstGeom prst="rect">
            <a:avLst/>
          </a:prstGeom>
          <a:noFill/>
        </p:spPr>
      </p:pic>
      <p:pic>
        <p:nvPicPr>
          <p:cNvPr id="146" name="Grafik 145">
            <a:extLst>
              <a:ext uri="{FF2B5EF4-FFF2-40B4-BE49-F238E27FC236}">
                <a16:creationId xmlns:a16="http://schemas.microsoft.com/office/drawing/2014/main" id="{232A5242-A4D7-4D36-A662-F03C8556F412}"/>
              </a:ext>
            </a:extLst>
          </p:cNvPr>
          <p:cNvPicPr>
            <a:picLocks noChangeAspect="1"/>
          </p:cNvPicPr>
          <p:nvPr/>
        </p:nvPicPr>
        <p:blipFill>
          <a:blip r:embed="rId42" cstate="screen">
            <a:extLst>
              <a:ext uri="{28A0092B-C50C-407E-A947-70E740481C1C}">
                <a14:useLocalDpi xmlns:a14="http://schemas.microsoft.com/office/drawing/2010/main"/>
              </a:ext>
            </a:extLst>
          </a:blip>
          <a:srcRect/>
          <a:stretch/>
        </p:blipFill>
        <p:spPr bwMode="gray">
          <a:xfrm>
            <a:off x="7464000" y="1989000"/>
            <a:ext cx="720000" cy="720000"/>
          </a:xfrm>
          <a:prstGeom prst="rect">
            <a:avLst/>
          </a:prstGeom>
          <a:noFill/>
        </p:spPr>
      </p:pic>
      <p:pic>
        <p:nvPicPr>
          <p:cNvPr id="147" name="Grafik 146">
            <a:extLst>
              <a:ext uri="{FF2B5EF4-FFF2-40B4-BE49-F238E27FC236}">
                <a16:creationId xmlns:a16="http://schemas.microsoft.com/office/drawing/2014/main" id="{A4FA8E9C-A529-4D93-BD8C-F8278028FDBC}"/>
              </a:ext>
            </a:extLst>
          </p:cNvPr>
          <p:cNvPicPr>
            <a:picLocks noChangeAspect="1"/>
          </p:cNvPicPr>
          <p:nvPr/>
        </p:nvPicPr>
        <p:blipFill>
          <a:blip r:embed="rId43" cstate="screen">
            <a:extLst>
              <a:ext uri="{28A0092B-C50C-407E-A947-70E740481C1C}">
                <a14:useLocalDpi xmlns:a14="http://schemas.microsoft.com/office/drawing/2010/main"/>
              </a:ext>
            </a:extLst>
          </a:blip>
          <a:srcRect/>
          <a:stretch/>
        </p:blipFill>
        <p:spPr bwMode="gray">
          <a:xfrm>
            <a:off x="8256000" y="1989000"/>
            <a:ext cx="720000" cy="720000"/>
          </a:xfrm>
          <a:prstGeom prst="rect">
            <a:avLst/>
          </a:prstGeom>
          <a:noFill/>
        </p:spPr>
      </p:pic>
      <p:pic>
        <p:nvPicPr>
          <p:cNvPr id="148" name="Grafik 147">
            <a:extLst>
              <a:ext uri="{FF2B5EF4-FFF2-40B4-BE49-F238E27FC236}">
                <a16:creationId xmlns:a16="http://schemas.microsoft.com/office/drawing/2014/main" id="{5EFE5858-AD87-4FF7-A2F5-E1E30D42203C}"/>
              </a:ext>
            </a:extLst>
          </p:cNvPr>
          <p:cNvPicPr>
            <a:picLocks noChangeAspect="1"/>
          </p:cNvPicPr>
          <p:nvPr/>
        </p:nvPicPr>
        <p:blipFill>
          <a:blip r:embed="rId44" cstate="screen">
            <a:extLst>
              <a:ext uri="{28A0092B-C50C-407E-A947-70E740481C1C}">
                <a14:useLocalDpi xmlns:a14="http://schemas.microsoft.com/office/drawing/2010/main"/>
              </a:ext>
            </a:extLst>
          </a:blip>
          <a:srcRect/>
          <a:stretch/>
        </p:blipFill>
        <p:spPr bwMode="gray">
          <a:xfrm>
            <a:off x="9048000" y="1989000"/>
            <a:ext cx="720000" cy="720000"/>
          </a:xfrm>
          <a:prstGeom prst="rect">
            <a:avLst/>
          </a:prstGeom>
          <a:noFill/>
        </p:spPr>
      </p:pic>
      <p:pic>
        <p:nvPicPr>
          <p:cNvPr id="50" name="Grafik 49">
            <a:extLst>
              <a:ext uri="{FF2B5EF4-FFF2-40B4-BE49-F238E27FC236}">
                <a16:creationId xmlns:a16="http://schemas.microsoft.com/office/drawing/2014/main" id="{7A943CF5-871F-4B6B-BBAB-868480189E58}"/>
              </a:ext>
            </a:extLst>
          </p:cNvPr>
          <p:cNvPicPr>
            <a:picLocks noChangeAspect="1"/>
          </p:cNvPicPr>
          <p:nvPr/>
        </p:nvPicPr>
        <p:blipFill>
          <a:blip r:embed="rId45" cstate="screen">
            <a:extLst>
              <a:ext uri="{28A0092B-C50C-407E-A947-70E740481C1C}">
                <a14:useLocalDpi xmlns:a14="http://schemas.microsoft.com/office/drawing/2010/main"/>
              </a:ext>
            </a:extLst>
          </a:blip>
          <a:srcRect/>
          <a:stretch/>
        </p:blipFill>
        <p:spPr bwMode="gray">
          <a:xfrm>
            <a:off x="9840000" y="1989000"/>
            <a:ext cx="720000" cy="720000"/>
          </a:xfrm>
          <a:prstGeom prst="rect">
            <a:avLst/>
          </a:prstGeom>
          <a:noFill/>
        </p:spPr>
      </p:pic>
      <p:pic>
        <p:nvPicPr>
          <p:cNvPr id="51" name="Grafik 50">
            <a:extLst>
              <a:ext uri="{FF2B5EF4-FFF2-40B4-BE49-F238E27FC236}">
                <a16:creationId xmlns:a16="http://schemas.microsoft.com/office/drawing/2014/main" id="{01F37AE1-2FD7-4188-B021-AF52B3BC0799}"/>
              </a:ext>
            </a:extLst>
          </p:cNvPr>
          <p:cNvPicPr>
            <a:picLocks noChangeAspect="1"/>
          </p:cNvPicPr>
          <p:nvPr/>
        </p:nvPicPr>
        <p:blipFill>
          <a:blip r:embed="rId46" cstate="screen">
            <a:extLst>
              <a:ext uri="{28A0092B-C50C-407E-A947-70E740481C1C}">
                <a14:useLocalDpi xmlns:a14="http://schemas.microsoft.com/office/drawing/2010/main"/>
              </a:ext>
            </a:extLst>
          </a:blip>
          <a:srcRect/>
          <a:stretch/>
        </p:blipFill>
        <p:spPr bwMode="gray">
          <a:xfrm>
            <a:off x="10632000" y="1989000"/>
            <a:ext cx="720000" cy="720000"/>
          </a:xfrm>
          <a:prstGeom prst="rect">
            <a:avLst/>
          </a:prstGeom>
          <a:noFill/>
        </p:spPr>
      </p:pic>
      <p:pic>
        <p:nvPicPr>
          <p:cNvPr id="52" name="Grafik 51">
            <a:extLst>
              <a:ext uri="{FF2B5EF4-FFF2-40B4-BE49-F238E27FC236}">
                <a16:creationId xmlns:a16="http://schemas.microsoft.com/office/drawing/2014/main" id="{F79B2105-CF0E-4455-AA42-B1D6D6C3F50D}"/>
              </a:ext>
            </a:extLst>
          </p:cNvPr>
          <p:cNvPicPr>
            <a:picLocks noChangeAspect="1"/>
          </p:cNvPicPr>
          <p:nvPr/>
        </p:nvPicPr>
        <p:blipFill>
          <a:blip r:embed="rId47" cstate="screen">
            <a:extLst>
              <a:ext uri="{28A0092B-C50C-407E-A947-70E740481C1C}">
                <a14:useLocalDpi xmlns:a14="http://schemas.microsoft.com/office/drawing/2010/main"/>
              </a:ext>
            </a:extLst>
          </a:blip>
          <a:srcRect/>
          <a:stretch/>
        </p:blipFill>
        <p:spPr bwMode="gray">
          <a:xfrm>
            <a:off x="4296000" y="4365000"/>
            <a:ext cx="720000" cy="720000"/>
          </a:xfrm>
          <a:prstGeom prst="rect">
            <a:avLst/>
          </a:prstGeom>
          <a:noFill/>
        </p:spPr>
      </p:pic>
      <p:pic>
        <p:nvPicPr>
          <p:cNvPr id="62" name="Grafik 61">
            <a:extLst>
              <a:ext uri="{FF2B5EF4-FFF2-40B4-BE49-F238E27FC236}">
                <a16:creationId xmlns:a16="http://schemas.microsoft.com/office/drawing/2014/main" id="{B78D3AC8-CC8D-45AB-8BCF-A3047CE570D9}"/>
              </a:ext>
            </a:extLst>
          </p:cNvPr>
          <p:cNvPicPr>
            <a:picLocks noChangeAspect="1"/>
          </p:cNvPicPr>
          <p:nvPr/>
        </p:nvPicPr>
        <p:blipFill>
          <a:blip r:embed="rId48" cstate="screen">
            <a:extLst>
              <a:ext uri="{28A0092B-C50C-407E-A947-70E740481C1C}">
                <a14:useLocalDpi xmlns:a14="http://schemas.microsoft.com/office/drawing/2010/main"/>
              </a:ext>
            </a:extLst>
          </a:blip>
          <a:srcRect/>
          <a:stretch/>
        </p:blipFill>
        <p:spPr bwMode="gray">
          <a:xfrm>
            <a:off x="336000" y="1989000"/>
            <a:ext cx="720000" cy="720000"/>
          </a:xfrm>
          <a:prstGeom prst="rect">
            <a:avLst/>
          </a:prstGeom>
          <a:noFill/>
        </p:spPr>
      </p:pic>
      <p:pic>
        <p:nvPicPr>
          <p:cNvPr id="72" name="Grafik 71">
            <a:extLst>
              <a:ext uri="{FF2B5EF4-FFF2-40B4-BE49-F238E27FC236}">
                <a16:creationId xmlns:a16="http://schemas.microsoft.com/office/drawing/2014/main" id="{296F7253-9FCF-4D5F-BD06-48C949833E52}"/>
              </a:ext>
            </a:extLst>
          </p:cNvPr>
          <p:cNvPicPr>
            <a:picLocks noChangeAspect="1"/>
          </p:cNvPicPr>
          <p:nvPr/>
        </p:nvPicPr>
        <p:blipFill>
          <a:blip r:embed="rId49" cstate="screen">
            <a:extLst>
              <a:ext uri="{28A0092B-C50C-407E-A947-70E740481C1C}">
                <a14:useLocalDpi xmlns:a14="http://schemas.microsoft.com/office/drawing/2010/main"/>
              </a:ext>
            </a:extLst>
          </a:blip>
          <a:srcRect/>
          <a:stretch/>
        </p:blipFill>
        <p:spPr bwMode="gray">
          <a:xfrm>
            <a:off x="8256000" y="2781000"/>
            <a:ext cx="720000" cy="720000"/>
          </a:xfrm>
          <a:prstGeom prst="rect">
            <a:avLst/>
          </a:prstGeom>
          <a:noFill/>
        </p:spPr>
      </p:pic>
      <p:pic>
        <p:nvPicPr>
          <p:cNvPr id="73" name="Grafik 72">
            <a:extLst>
              <a:ext uri="{FF2B5EF4-FFF2-40B4-BE49-F238E27FC236}">
                <a16:creationId xmlns:a16="http://schemas.microsoft.com/office/drawing/2014/main" id="{BE52D513-DA9B-4E1C-90BE-E2E892FE2EF3}"/>
              </a:ext>
            </a:extLst>
          </p:cNvPr>
          <p:cNvPicPr>
            <a:picLocks noChangeAspect="1"/>
          </p:cNvPicPr>
          <p:nvPr/>
        </p:nvPicPr>
        <p:blipFill>
          <a:blip r:embed="rId50" cstate="screen">
            <a:extLst>
              <a:ext uri="{28A0092B-C50C-407E-A947-70E740481C1C}">
                <a14:useLocalDpi xmlns:a14="http://schemas.microsoft.com/office/drawing/2010/main"/>
              </a:ext>
            </a:extLst>
          </a:blip>
          <a:srcRect/>
          <a:stretch/>
        </p:blipFill>
        <p:spPr bwMode="gray">
          <a:xfrm>
            <a:off x="2712000" y="3573000"/>
            <a:ext cx="720000" cy="720000"/>
          </a:xfrm>
          <a:prstGeom prst="rect">
            <a:avLst/>
          </a:prstGeom>
          <a:noFill/>
        </p:spPr>
      </p:pic>
      <p:pic>
        <p:nvPicPr>
          <p:cNvPr id="74" name="Grafik 73">
            <a:extLst>
              <a:ext uri="{FF2B5EF4-FFF2-40B4-BE49-F238E27FC236}">
                <a16:creationId xmlns:a16="http://schemas.microsoft.com/office/drawing/2014/main" id="{561B620A-7BF9-42D6-A8C1-7FD3724987E8}"/>
              </a:ext>
            </a:extLst>
          </p:cNvPr>
          <p:cNvPicPr>
            <a:picLocks noChangeAspect="1"/>
          </p:cNvPicPr>
          <p:nvPr/>
        </p:nvPicPr>
        <p:blipFill>
          <a:blip r:embed="rId51" cstate="screen">
            <a:extLst>
              <a:ext uri="{28A0092B-C50C-407E-A947-70E740481C1C}">
                <a14:useLocalDpi xmlns:a14="http://schemas.microsoft.com/office/drawing/2010/main"/>
              </a:ext>
            </a:extLst>
          </a:blip>
          <a:srcRect/>
          <a:stretch/>
        </p:blipFill>
        <p:spPr bwMode="gray">
          <a:xfrm>
            <a:off x="3504000" y="3573000"/>
            <a:ext cx="720000" cy="720000"/>
          </a:xfrm>
          <a:prstGeom prst="rect">
            <a:avLst/>
          </a:prstGeom>
          <a:noFill/>
        </p:spPr>
      </p:pic>
      <p:pic>
        <p:nvPicPr>
          <p:cNvPr id="75" name="Grafik 74">
            <a:extLst>
              <a:ext uri="{FF2B5EF4-FFF2-40B4-BE49-F238E27FC236}">
                <a16:creationId xmlns:a16="http://schemas.microsoft.com/office/drawing/2014/main" id="{589D4927-2841-4EDB-A7BB-82894F09FBAF}"/>
              </a:ext>
            </a:extLst>
          </p:cNvPr>
          <p:cNvPicPr>
            <a:picLocks noChangeAspect="1"/>
          </p:cNvPicPr>
          <p:nvPr/>
        </p:nvPicPr>
        <p:blipFill>
          <a:blip r:embed="rId52" cstate="screen">
            <a:extLst>
              <a:ext uri="{28A0092B-C50C-407E-A947-70E740481C1C}">
                <a14:useLocalDpi xmlns:a14="http://schemas.microsoft.com/office/drawing/2010/main"/>
              </a:ext>
            </a:extLst>
          </a:blip>
          <a:srcRect/>
          <a:stretch/>
        </p:blipFill>
        <p:spPr bwMode="gray">
          <a:xfrm>
            <a:off x="1128550" y="4365000"/>
            <a:ext cx="720000" cy="720000"/>
          </a:xfrm>
          <a:prstGeom prst="rect">
            <a:avLst/>
          </a:prstGeom>
          <a:noFill/>
        </p:spPr>
      </p:pic>
      <p:pic>
        <p:nvPicPr>
          <p:cNvPr id="76" name="Grafik 75">
            <a:extLst>
              <a:ext uri="{FF2B5EF4-FFF2-40B4-BE49-F238E27FC236}">
                <a16:creationId xmlns:a16="http://schemas.microsoft.com/office/drawing/2014/main" id="{46C96D5F-539C-496D-8D33-2C58B21D9BE2}"/>
              </a:ext>
            </a:extLst>
          </p:cNvPr>
          <p:cNvPicPr>
            <a:picLocks noChangeAspect="1"/>
          </p:cNvPicPr>
          <p:nvPr/>
        </p:nvPicPr>
        <p:blipFill>
          <a:blip r:embed="rId53" cstate="screen">
            <a:extLst>
              <a:ext uri="{28A0092B-C50C-407E-A947-70E740481C1C}">
                <a14:useLocalDpi xmlns:a14="http://schemas.microsoft.com/office/drawing/2010/main"/>
              </a:ext>
            </a:extLst>
          </a:blip>
          <a:srcRect/>
          <a:stretch/>
        </p:blipFill>
        <p:spPr bwMode="gray">
          <a:xfrm>
            <a:off x="5088000" y="4365000"/>
            <a:ext cx="720000" cy="720000"/>
          </a:xfrm>
          <a:prstGeom prst="rect">
            <a:avLst/>
          </a:prstGeom>
          <a:noFill/>
        </p:spPr>
      </p:pic>
      <p:pic>
        <p:nvPicPr>
          <p:cNvPr id="77" name="Grafik 76">
            <a:extLst>
              <a:ext uri="{FF2B5EF4-FFF2-40B4-BE49-F238E27FC236}">
                <a16:creationId xmlns:a16="http://schemas.microsoft.com/office/drawing/2014/main" id="{FD21CB5D-8D9C-494D-9914-3F623E343DC2}"/>
              </a:ext>
            </a:extLst>
          </p:cNvPr>
          <p:cNvPicPr>
            <a:picLocks noChangeAspect="1"/>
          </p:cNvPicPr>
          <p:nvPr/>
        </p:nvPicPr>
        <p:blipFill>
          <a:blip r:embed="rId54" cstate="screen">
            <a:extLst>
              <a:ext uri="{28A0092B-C50C-407E-A947-70E740481C1C}">
                <a14:useLocalDpi xmlns:a14="http://schemas.microsoft.com/office/drawing/2010/main"/>
              </a:ext>
            </a:extLst>
          </a:blip>
          <a:srcRect/>
          <a:stretch/>
        </p:blipFill>
        <p:spPr bwMode="gray">
          <a:xfrm>
            <a:off x="5880000" y="4365000"/>
            <a:ext cx="720000" cy="720000"/>
          </a:xfrm>
          <a:prstGeom prst="rect">
            <a:avLst/>
          </a:prstGeom>
          <a:noFill/>
        </p:spPr>
      </p:pic>
      <p:pic>
        <p:nvPicPr>
          <p:cNvPr id="78" name="Grafik 77">
            <a:extLst>
              <a:ext uri="{FF2B5EF4-FFF2-40B4-BE49-F238E27FC236}">
                <a16:creationId xmlns:a16="http://schemas.microsoft.com/office/drawing/2014/main" id="{49F8621B-95B6-49D0-A160-3BB471F4C720}"/>
              </a:ext>
            </a:extLst>
          </p:cNvPr>
          <p:cNvPicPr>
            <a:picLocks noChangeAspect="1"/>
          </p:cNvPicPr>
          <p:nvPr/>
        </p:nvPicPr>
        <p:blipFill>
          <a:blip r:embed="rId55" cstate="screen">
            <a:extLst>
              <a:ext uri="{28A0092B-C50C-407E-A947-70E740481C1C}">
                <a14:useLocalDpi xmlns:a14="http://schemas.microsoft.com/office/drawing/2010/main"/>
              </a:ext>
            </a:extLst>
          </a:blip>
          <a:srcRect/>
          <a:stretch/>
        </p:blipFill>
        <p:spPr bwMode="gray">
          <a:xfrm>
            <a:off x="6672000" y="4365000"/>
            <a:ext cx="720000" cy="720000"/>
          </a:xfrm>
          <a:prstGeom prst="rect">
            <a:avLst/>
          </a:prstGeom>
          <a:noFill/>
        </p:spPr>
      </p:pic>
    </p:spTree>
    <p:extLst>
      <p:ext uri="{BB962C8B-B14F-4D97-AF65-F5344CB8AC3E}">
        <p14:creationId xmlns:p14="http://schemas.microsoft.com/office/powerpoint/2010/main" val="3109300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1DB3418A-A7C1-4882-89C4-638073A720C9}"/>
              </a:ext>
            </a:extLst>
          </p:cNvPr>
          <p:cNvGraphicFramePr>
            <a:graphicFrameLocks noChangeAspect="1"/>
          </p:cNvGraphicFramePr>
          <p:nvPr>
            <p:custDataLst>
              <p:tags r:id="rId1"/>
            </p:custDataLst>
            <p:extLst>
              <p:ext uri="{D42A27DB-BD31-4B8C-83A1-F6EECF244321}">
                <p14:modId xmlns:p14="http://schemas.microsoft.com/office/powerpoint/2010/main" val="2476954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ACBB89D-F6B6-4141-A067-F5DB50900F85}"/>
              </a:ext>
            </a:extLst>
          </p:cNvPr>
          <p:cNvSpPr>
            <a:spLocks noGrp="1"/>
          </p:cNvSpPr>
          <p:nvPr>
            <p:ph type="title"/>
          </p:nvPr>
        </p:nvSpPr>
        <p:spPr bwMode="gray"/>
        <p:txBody>
          <a:bodyPr vert="horz"/>
          <a:lstStyle/>
          <a:p>
            <a:r>
              <a:rPr lang="de-DE" dirty="0"/>
              <a:t>Inhalt</a:t>
            </a:r>
          </a:p>
        </p:txBody>
      </p:sp>
      <p:sp>
        <p:nvSpPr>
          <p:cNvPr id="2" name="Date Placeholder 1">
            <a:extLst>
              <a:ext uri="{FF2B5EF4-FFF2-40B4-BE49-F238E27FC236}">
                <a16:creationId xmlns:a16="http://schemas.microsoft.com/office/drawing/2014/main" id="{2B9BDFF9-8A00-4A41-8C44-9A5E3C55787F}"/>
              </a:ext>
            </a:extLst>
          </p:cNvPr>
          <p:cNvSpPr>
            <a:spLocks noGrp="1"/>
          </p:cNvSpPr>
          <p:nvPr>
            <p:ph type="dt" sz="half" idx="10"/>
          </p:nvPr>
        </p:nvSpPr>
        <p:spPr bwMode="gray"/>
        <p:txBody>
          <a:bodyPr/>
          <a:lstStyle/>
          <a:p>
            <a:fld id="{7ED29B3A-43B8-4BAD-8EF7-B1C812E6D596}" type="datetime1">
              <a:rPr lang="de-DE" smtClean="0"/>
              <a:pPr/>
              <a:t>29.09.25</a:t>
            </a:fld>
            <a:endParaRPr lang="de-DE" dirty="0"/>
          </a:p>
        </p:txBody>
      </p:sp>
      <p:sp>
        <p:nvSpPr>
          <p:cNvPr id="3" name="Footer Placeholder 2">
            <a:extLst>
              <a:ext uri="{FF2B5EF4-FFF2-40B4-BE49-F238E27FC236}">
                <a16:creationId xmlns:a16="http://schemas.microsoft.com/office/drawing/2014/main" id="{48E21A36-0C84-4986-9DBA-F622AD04B885}"/>
              </a:ext>
            </a:extLst>
          </p:cNvPr>
          <p:cNvSpPr>
            <a:spLocks noGrp="1"/>
          </p:cNvSpPr>
          <p:nvPr>
            <p:ph type="ftr" sz="quarter" idx="11"/>
          </p:nvPr>
        </p:nvSpPr>
        <p:spPr bwMode="gray"/>
        <p:txBody>
          <a:bodyPr/>
          <a:lstStyle/>
          <a:p>
            <a:r>
              <a:rPr lang="de-DE" dirty="0"/>
              <a:t>TITEL DER PRÄSENTATION | TITEL VORNAME NAME</a:t>
            </a:r>
          </a:p>
        </p:txBody>
      </p:sp>
      <p:sp>
        <p:nvSpPr>
          <p:cNvPr id="4" name="Slide Number Placeholder 3">
            <a:extLst>
              <a:ext uri="{FF2B5EF4-FFF2-40B4-BE49-F238E27FC236}">
                <a16:creationId xmlns:a16="http://schemas.microsoft.com/office/drawing/2014/main" id="{D4DAAC6A-5353-4FDE-86E8-C0DF791F141B}"/>
              </a:ext>
            </a:extLst>
          </p:cNvPr>
          <p:cNvSpPr>
            <a:spLocks noGrp="1"/>
          </p:cNvSpPr>
          <p:nvPr>
            <p:ph type="sldNum" sz="quarter" idx="12"/>
          </p:nvPr>
        </p:nvSpPr>
        <p:spPr bwMode="gray"/>
        <p:txBody>
          <a:bodyPr/>
          <a:lstStyle/>
          <a:p>
            <a:fld id="{09E9C37E-8A19-4E30-BE2B-5A966AD23C7A}" type="slidenum">
              <a:rPr lang="de-DE" smtClean="0"/>
              <a:pPr/>
              <a:t>5</a:t>
            </a:fld>
            <a:endParaRPr lang="de-DE" dirty="0"/>
          </a:p>
        </p:txBody>
      </p:sp>
      <p:sp>
        <p:nvSpPr>
          <p:cNvPr id="6" name="Titel 7">
            <a:extLst>
              <a:ext uri="{FF2B5EF4-FFF2-40B4-BE49-F238E27FC236}">
                <a16:creationId xmlns:a16="http://schemas.microsoft.com/office/drawing/2014/main" id="{26339E73-82FC-45CE-A650-0D5F4B247E5C}"/>
              </a:ext>
            </a:extLst>
          </p:cNvPr>
          <p:cNvSpPr txBox="1">
            <a:spLocks/>
          </p:cNvSpPr>
          <p:nvPr/>
        </p:nvSpPr>
        <p:spPr bwMode="gray">
          <a:xfrm>
            <a:off x="1992000" y="1989000"/>
            <a:ext cx="432000" cy="5760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000" b="1" kern="1200" cap="all" baseline="0">
                <a:solidFill>
                  <a:srgbClr val="009EE0"/>
                </a:solidFill>
                <a:latin typeface="+mj-lt"/>
                <a:ea typeface="+mj-ea"/>
                <a:cs typeface="+mj-cs"/>
              </a:defRPr>
            </a:lvl1pPr>
          </a:lstStyle>
          <a:p>
            <a:r>
              <a:rPr lang="de-DE" sz="1400" b="0" dirty="0">
                <a:solidFill>
                  <a:schemeClr val="bg1"/>
                </a:solidFill>
                <a:latin typeface="+mn-lt"/>
              </a:rPr>
              <a:t>1</a:t>
            </a:r>
          </a:p>
        </p:txBody>
      </p:sp>
      <p:sp>
        <p:nvSpPr>
          <p:cNvPr id="7" name="Untertitel 2">
            <a:extLst>
              <a:ext uri="{FF2B5EF4-FFF2-40B4-BE49-F238E27FC236}">
                <a16:creationId xmlns:a16="http://schemas.microsoft.com/office/drawing/2014/main" id="{53C04086-FBDF-46D0-ACA5-8DBB91123747}"/>
              </a:ext>
            </a:extLst>
          </p:cNvPr>
          <p:cNvSpPr txBox="1">
            <a:spLocks/>
          </p:cNvSpPr>
          <p:nvPr/>
        </p:nvSpPr>
        <p:spPr bwMode="gray">
          <a:xfrm>
            <a:off x="2424002" y="1989000"/>
            <a:ext cx="3384661" cy="576000"/>
          </a:xfrm>
          <a:prstGeom prst="rect">
            <a:avLst/>
          </a:prstGeom>
        </p:spPr>
        <p:txBody>
          <a:bodyPr vert="horz" lIns="0" tIns="0" rIns="0" bIns="0" rtlCol="0" anchor="b">
            <a:noAutofit/>
          </a:bodyPr>
          <a:lstStyle>
            <a:lvl1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tx1"/>
                </a:solidFill>
                <a:latin typeface="+mn-lt"/>
                <a:ea typeface="+mn-ea"/>
                <a:cs typeface="+mn-cs"/>
              </a:defRPr>
            </a:lvl1pPr>
            <a:lvl2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b="0" kern="1200" baseline="0">
                <a:solidFill>
                  <a:schemeClr val="bg1"/>
                </a:solidFill>
                <a:latin typeface="+mn-lt"/>
                <a:ea typeface="+mn-ea"/>
                <a:cs typeface="+mn-cs"/>
              </a:defRPr>
            </a:lvl3pPr>
            <a:lvl4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7pPr>
            <a:lvl8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8pPr>
            <a:lvl9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9pPr>
          </a:lstStyle>
          <a:p>
            <a:pPr>
              <a:lnSpc>
                <a:spcPct val="100000"/>
              </a:lnSpc>
              <a:spcAft>
                <a:spcPts val="0"/>
              </a:spcAft>
            </a:pPr>
            <a:r>
              <a:rPr lang="de-DE" sz="1400" b="1" cap="all" dirty="0">
                <a:solidFill>
                  <a:schemeClr val="bg1"/>
                </a:solidFill>
              </a:rPr>
              <a:t>Name des Kapitels </a:t>
            </a:r>
            <a:br>
              <a:rPr lang="de-DE" sz="1400" b="1" cap="all" dirty="0">
                <a:solidFill>
                  <a:schemeClr val="bg1"/>
                </a:solidFill>
              </a:rPr>
            </a:br>
            <a:r>
              <a:rPr lang="de-DE" sz="1400" cap="all" dirty="0">
                <a:solidFill>
                  <a:schemeClr val="bg1"/>
                </a:solidFill>
              </a:rPr>
              <a:t>in maximal zwei Zeilen</a:t>
            </a:r>
          </a:p>
        </p:txBody>
      </p:sp>
      <p:sp>
        <p:nvSpPr>
          <p:cNvPr id="8" name="Titel 7">
            <a:extLst>
              <a:ext uri="{FF2B5EF4-FFF2-40B4-BE49-F238E27FC236}">
                <a16:creationId xmlns:a16="http://schemas.microsoft.com/office/drawing/2014/main" id="{048CCBC3-E3FE-4B5E-BA3D-403FCABF2090}"/>
              </a:ext>
            </a:extLst>
          </p:cNvPr>
          <p:cNvSpPr txBox="1">
            <a:spLocks/>
          </p:cNvSpPr>
          <p:nvPr/>
        </p:nvSpPr>
        <p:spPr bwMode="gray">
          <a:xfrm>
            <a:off x="1992000" y="2781000"/>
            <a:ext cx="432000" cy="5760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000" b="1" kern="1200" cap="all" baseline="0">
                <a:solidFill>
                  <a:srgbClr val="009EE0"/>
                </a:solidFill>
                <a:latin typeface="+mj-lt"/>
                <a:ea typeface="+mj-ea"/>
                <a:cs typeface="+mj-cs"/>
              </a:defRPr>
            </a:lvl1pPr>
          </a:lstStyle>
          <a:p>
            <a:r>
              <a:rPr lang="de-DE" sz="1400" b="0" dirty="0">
                <a:solidFill>
                  <a:schemeClr val="bg1"/>
                </a:solidFill>
                <a:latin typeface="+mn-lt"/>
              </a:rPr>
              <a:t>2</a:t>
            </a:r>
          </a:p>
        </p:txBody>
      </p:sp>
      <p:sp>
        <p:nvSpPr>
          <p:cNvPr id="9" name="Untertitel 2">
            <a:extLst>
              <a:ext uri="{FF2B5EF4-FFF2-40B4-BE49-F238E27FC236}">
                <a16:creationId xmlns:a16="http://schemas.microsoft.com/office/drawing/2014/main" id="{2D9B9EFE-816C-4E80-A6A3-180D49BCCCA3}"/>
              </a:ext>
            </a:extLst>
          </p:cNvPr>
          <p:cNvSpPr txBox="1">
            <a:spLocks/>
          </p:cNvSpPr>
          <p:nvPr/>
        </p:nvSpPr>
        <p:spPr bwMode="gray">
          <a:xfrm>
            <a:off x="2424002" y="2781000"/>
            <a:ext cx="3384661" cy="576000"/>
          </a:xfrm>
          <a:prstGeom prst="rect">
            <a:avLst/>
          </a:prstGeom>
        </p:spPr>
        <p:txBody>
          <a:bodyPr vert="horz" lIns="0" tIns="0" rIns="0" bIns="0" rtlCol="0" anchor="b">
            <a:noAutofit/>
          </a:bodyPr>
          <a:lstStyle>
            <a:lvl1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tx1"/>
                </a:solidFill>
                <a:latin typeface="+mn-lt"/>
                <a:ea typeface="+mn-ea"/>
                <a:cs typeface="+mn-cs"/>
              </a:defRPr>
            </a:lvl1pPr>
            <a:lvl2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b="0" kern="1200" baseline="0">
                <a:solidFill>
                  <a:schemeClr val="bg1"/>
                </a:solidFill>
                <a:latin typeface="+mn-lt"/>
                <a:ea typeface="+mn-ea"/>
                <a:cs typeface="+mn-cs"/>
              </a:defRPr>
            </a:lvl3pPr>
            <a:lvl4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7pPr>
            <a:lvl8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8pPr>
            <a:lvl9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9pPr>
          </a:lstStyle>
          <a:p>
            <a:pPr lvl="0">
              <a:lnSpc>
                <a:spcPct val="100000"/>
              </a:lnSpc>
              <a:spcAft>
                <a:spcPts val="0"/>
              </a:spcAft>
            </a:pPr>
            <a:r>
              <a:rPr lang="de-DE" sz="1400" b="1" cap="all" dirty="0">
                <a:solidFill>
                  <a:schemeClr val="bg1"/>
                </a:solidFill>
              </a:rPr>
              <a:t>Name des Kapitels </a:t>
            </a:r>
            <a:br>
              <a:rPr lang="de-DE" sz="1400" b="1" cap="all" dirty="0">
                <a:solidFill>
                  <a:schemeClr val="bg1"/>
                </a:solidFill>
              </a:rPr>
            </a:br>
            <a:r>
              <a:rPr lang="de-DE" sz="1400" cap="all" dirty="0">
                <a:solidFill>
                  <a:schemeClr val="bg1"/>
                </a:solidFill>
              </a:rPr>
              <a:t>in maximal zwei Zeilen</a:t>
            </a:r>
          </a:p>
        </p:txBody>
      </p:sp>
      <p:sp>
        <p:nvSpPr>
          <p:cNvPr id="10" name="Titel 7">
            <a:extLst>
              <a:ext uri="{FF2B5EF4-FFF2-40B4-BE49-F238E27FC236}">
                <a16:creationId xmlns:a16="http://schemas.microsoft.com/office/drawing/2014/main" id="{FACE4E81-CBBE-49D3-A8B3-41BBD1B549E7}"/>
              </a:ext>
            </a:extLst>
          </p:cNvPr>
          <p:cNvSpPr txBox="1">
            <a:spLocks/>
          </p:cNvSpPr>
          <p:nvPr/>
        </p:nvSpPr>
        <p:spPr bwMode="gray">
          <a:xfrm>
            <a:off x="1992000" y="3573000"/>
            <a:ext cx="432000" cy="5760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000" b="1" kern="1200" cap="all" baseline="0">
                <a:solidFill>
                  <a:srgbClr val="009EE0"/>
                </a:solidFill>
                <a:latin typeface="+mj-lt"/>
                <a:ea typeface="+mj-ea"/>
                <a:cs typeface="+mj-cs"/>
              </a:defRPr>
            </a:lvl1pPr>
          </a:lstStyle>
          <a:p>
            <a:r>
              <a:rPr lang="de-DE" sz="1400" b="0" dirty="0">
                <a:solidFill>
                  <a:schemeClr val="bg1"/>
                </a:solidFill>
                <a:latin typeface="+mn-lt"/>
              </a:rPr>
              <a:t>3</a:t>
            </a:r>
          </a:p>
        </p:txBody>
      </p:sp>
      <p:sp>
        <p:nvSpPr>
          <p:cNvPr id="11" name="Untertitel 2">
            <a:extLst>
              <a:ext uri="{FF2B5EF4-FFF2-40B4-BE49-F238E27FC236}">
                <a16:creationId xmlns:a16="http://schemas.microsoft.com/office/drawing/2014/main" id="{BEEE7555-E0BB-45AD-8D94-EFBDED27E45C}"/>
              </a:ext>
            </a:extLst>
          </p:cNvPr>
          <p:cNvSpPr txBox="1">
            <a:spLocks/>
          </p:cNvSpPr>
          <p:nvPr/>
        </p:nvSpPr>
        <p:spPr bwMode="gray">
          <a:xfrm>
            <a:off x="2424002" y="3573000"/>
            <a:ext cx="3384661" cy="576000"/>
          </a:xfrm>
          <a:prstGeom prst="rect">
            <a:avLst/>
          </a:prstGeom>
        </p:spPr>
        <p:txBody>
          <a:bodyPr vert="horz" lIns="0" tIns="0" rIns="0" bIns="0" rtlCol="0" anchor="b">
            <a:noAutofit/>
          </a:bodyPr>
          <a:lstStyle>
            <a:lvl1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tx1"/>
                </a:solidFill>
                <a:latin typeface="+mn-lt"/>
                <a:ea typeface="+mn-ea"/>
                <a:cs typeface="+mn-cs"/>
              </a:defRPr>
            </a:lvl1pPr>
            <a:lvl2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b="0" kern="1200" baseline="0">
                <a:solidFill>
                  <a:schemeClr val="bg1"/>
                </a:solidFill>
                <a:latin typeface="+mn-lt"/>
                <a:ea typeface="+mn-ea"/>
                <a:cs typeface="+mn-cs"/>
              </a:defRPr>
            </a:lvl3pPr>
            <a:lvl4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7pPr>
            <a:lvl8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8pPr>
            <a:lvl9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9pPr>
          </a:lstStyle>
          <a:p>
            <a:pPr lvl="0">
              <a:lnSpc>
                <a:spcPct val="100000"/>
              </a:lnSpc>
              <a:spcAft>
                <a:spcPts val="0"/>
              </a:spcAft>
            </a:pPr>
            <a:r>
              <a:rPr lang="de-DE" sz="1400" b="1" cap="all" dirty="0">
                <a:solidFill>
                  <a:schemeClr val="bg1"/>
                </a:solidFill>
              </a:rPr>
              <a:t>Name des Kapitels </a:t>
            </a:r>
            <a:br>
              <a:rPr lang="de-DE" sz="1400" b="1" cap="all" dirty="0">
                <a:solidFill>
                  <a:schemeClr val="bg1"/>
                </a:solidFill>
              </a:rPr>
            </a:br>
            <a:r>
              <a:rPr lang="de-DE" sz="1400" cap="all" dirty="0">
                <a:solidFill>
                  <a:schemeClr val="bg1"/>
                </a:solidFill>
              </a:rPr>
              <a:t>in maximal zwei Zeilen</a:t>
            </a:r>
          </a:p>
        </p:txBody>
      </p:sp>
      <p:sp>
        <p:nvSpPr>
          <p:cNvPr id="12" name="Titel 7">
            <a:extLst>
              <a:ext uri="{FF2B5EF4-FFF2-40B4-BE49-F238E27FC236}">
                <a16:creationId xmlns:a16="http://schemas.microsoft.com/office/drawing/2014/main" id="{95013F09-DA4B-45CB-B8EE-767A1E45055D}"/>
              </a:ext>
            </a:extLst>
          </p:cNvPr>
          <p:cNvSpPr txBox="1">
            <a:spLocks/>
          </p:cNvSpPr>
          <p:nvPr/>
        </p:nvSpPr>
        <p:spPr bwMode="gray">
          <a:xfrm>
            <a:off x="1992000" y="4365000"/>
            <a:ext cx="432000" cy="5760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000" b="1" kern="1200" cap="all" baseline="0">
                <a:solidFill>
                  <a:srgbClr val="009EE0"/>
                </a:solidFill>
                <a:latin typeface="+mj-lt"/>
                <a:ea typeface="+mj-ea"/>
                <a:cs typeface="+mj-cs"/>
              </a:defRPr>
            </a:lvl1pPr>
          </a:lstStyle>
          <a:p>
            <a:r>
              <a:rPr lang="de-DE" sz="1400" b="0" dirty="0">
                <a:solidFill>
                  <a:schemeClr val="bg1"/>
                </a:solidFill>
                <a:latin typeface="+mn-lt"/>
              </a:rPr>
              <a:t>4</a:t>
            </a:r>
          </a:p>
        </p:txBody>
      </p:sp>
      <p:sp>
        <p:nvSpPr>
          <p:cNvPr id="13" name="Untertitel 2">
            <a:extLst>
              <a:ext uri="{FF2B5EF4-FFF2-40B4-BE49-F238E27FC236}">
                <a16:creationId xmlns:a16="http://schemas.microsoft.com/office/drawing/2014/main" id="{45D63A0F-668F-49B8-8169-7737590A0160}"/>
              </a:ext>
            </a:extLst>
          </p:cNvPr>
          <p:cNvSpPr txBox="1">
            <a:spLocks/>
          </p:cNvSpPr>
          <p:nvPr/>
        </p:nvSpPr>
        <p:spPr bwMode="gray">
          <a:xfrm>
            <a:off x="2424002" y="4365000"/>
            <a:ext cx="3384661" cy="576000"/>
          </a:xfrm>
          <a:prstGeom prst="rect">
            <a:avLst/>
          </a:prstGeom>
        </p:spPr>
        <p:txBody>
          <a:bodyPr vert="horz" lIns="0" tIns="0" rIns="0" bIns="0" rtlCol="0" anchor="b">
            <a:noAutofit/>
          </a:bodyPr>
          <a:lstStyle>
            <a:lvl1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tx1"/>
                </a:solidFill>
                <a:latin typeface="+mn-lt"/>
                <a:ea typeface="+mn-ea"/>
                <a:cs typeface="+mn-cs"/>
              </a:defRPr>
            </a:lvl1pPr>
            <a:lvl2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b="0" kern="1200" baseline="0">
                <a:solidFill>
                  <a:schemeClr val="bg1"/>
                </a:solidFill>
                <a:latin typeface="+mn-lt"/>
                <a:ea typeface="+mn-ea"/>
                <a:cs typeface="+mn-cs"/>
              </a:defRPr>
            </a:lvl3pPr>
            <a:lvl4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7pPr>
            <a:lvl8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8pPr>
            <a:lvl9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9pPr>
          </a:lstStyle>
          <a:p>
            <a:pPr lvl="0">
              <a:lnSpc>
                <a:spcPct val="100000"/>
              </a:lnSpc>
              <a:spcAft>
                <a:spcPts val="0"/>
              </a:spcAft>
            </a:pPr>
            <a:r>
              <a:rPr lang="de-DE" sz="1400" b="1" cap="all" dirty="0">
                <a:solidFill>
                  <a:schemeClr val="bg1"/>
                </a:solidFill>
              </a:rPr>
              <a:t>Name des Kapitels </a:t>
            </a:r>
            <a:br>
              <a:rPr lang="de-DE" sz="1400" b="1" cap="all" dirty="0">
                <a:solidFill>
                  <a:schemeClr val="bg1"/>
                </a:solidFill>
              </a:rPr>
            </a:br>
            <a:r>
              <a:rPr lang="de-DE" sz="1400" cap="all" dirty="0">
                <a:solidFill>
                  <a:schemeClr val="bg1"/>
                </a:solidFill>
              </a:rPr>
              <a:t>in maximal zwei Zeilen</a:t>
            </a:r>
          </a:p>
        </p:txBody>
      </p:sp>
      <p:sp>
        <p:nvSpPr>
          <p:cNvPr id="14" name="Titel 7">
            <a:extLst>
              <a:ext uri="{FF2B5EF4-FFF2-40B4-BE49-F238E27FC236}">
                <a16:creationId xmlns:a16="http://schemas.microsoft.com/office/drawing/2014/main" id="{D1F21EB7-65DE-47FB-A2BE-8A620CBA7174}"/>
              </a:ext>
            </a:extLst>
          </p:cNvPr>
          <p:cNvSpPr txBox="1">
            <a:spLocks/>
          </p:cNvSpPr>
          <p:nvPr/>
        </p:nvSpPr>
        <p:spPr bwMode="gray">
          <a:xfrm>
            <a:off x="1992000" y="5157000"/>
            <a:ext cx="432000" cy="5760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000" b="1" kern="1200" cap="all" baseline="0">
                <a:solidFill>
                  <a:srgbClr val="009EE0"/>
                </a:solidFill>
                <a:latin typeface="+mj-lt"/>
                <a:ea typeface="+mj-ea"/>
                <a:cs typeface="+mj-cs"/>
              </a:defRPr>
            </a:lvl1pPr>
          </a:lstStyle>
          <a:p>
            <a:r>
              <a:rPr lang="de-DE" sz="1400" b="0" dirty="0">
                <a:solidFill>
                  <a:schemeClr val="bg1"/>
                </a:solidFill>
                <a:latin typeface="+mn-lt"/>
              </a:rPr>
              <a:t>5</a:t>
            </a:r>
          </a:p>
        </p:txBody>
      </p:sp>
      <p:sp>
        <p:nvSpPr>
          <p:cNvPr id="15" name="Untertitel 2">
            <a:extLst>
              <a:ext uri="{FF2B5EF4-FFF2-40B4-BE49-F238E27FC236}">
                <a16:creationId xmlns:a16="http://schemas.microsoft.com/office/drawing/2014/main" id="{33B4AB8D-B19B-484D-97B2-9E4A41EDD7A9}"/>
              </a:ext>
            </a:extLst>
          </p:cNvPr>
          <p:cNvSpPr txBox="1">
            <a:spLocks/>
          </p:cNvSpPr>
          <p:nvPr/>
        </p:nvSpPr>
        <p:spPr bwMode="gray">
          <a:xfrm>
            <a:off x="2424002" y="5157000"/>
            <a:ext cx="3384661" cy="576000"/>
          </a:xfrm>
          <a:prstGeom prst="rect">
            <a:avLst/>
          </a:prstGeom>
        </p:spPr>
        <p:txBody>
          <a:bodyPr vert="horz" lIns="0" tIns="0" rIns="0" bIns="0" rtlCol="0" anchor="b">
            <a:noAutofit/>
          </a:bodyPr>
          <a:lstStyle>
            <a:lvl1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tx1"/>
                </a:solidFill>
                <a:latin typeface="+mn-lt"/>
                <a:ea typeface="+mn-ea"/>
                <a:cs typeface="+mn-cs"/>
              </a:defRPr>
            </a:lvl1pPr>
            <a:lvl2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b="0" kern="1200" baseline="0">
                <a:solidFill>
                  <a:schemeClr val="bg1"/>
                </a:solidFill>
                <a:latin typeface="+mn-lt"/>
                <a:ea typeface="+mn-ea"/>
                <a:cs typeface="+mn-cs"/>
              </a:defRPr>
            </a:lvl3pPr>
            <a:lvl4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7pPr>
            <a:lvl8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8pPr>
            <a:lvl9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9pPr>
          </a:lstStyle>
          <a:p>
            <a:pPr lvl="0">
              <a:lnSpc>
                <a:spcPct val="100000"/>
              </a:lnSpc>
              <a:spcAft>
                <a:spcPts val="0"/>
              </a:spcAft>
            </a:pPr>
            <a:r>
              <a:rPr lang="de-DE" sz="1400" b="1" cap="all" dirty="0">
                <a:solidFill>
                  <a:schemeClr val="bg1"/>
                </a:solidFill>
              </a:rPr>
              <a:t>Name des Kapitels </a:t>
            </a:r>
            <a:br>
              <a:rPr lang="de-DE" sz="1400" b="1" cap="all" dirty="0">
                <a:solidFill>
                  <a:schemeClr val="bg1"/>
                </a:solidFill>
              </a:rPr>
            </a:br>
            <a:r>
              <a:rPr lang="de-DE" sz="1400" cap="all" dirty="0">
                <a:solidFill>
                  <a:schemeClr val="bg1"/>
                </a:solidFill>
              </a:rPr>
              <a:t>in maximal zwei Zeilen</a:t>
            </a:r>
          </a:p>
        </p:txBody>
      </p:sp>
    </p:spTree>
    <p:extLst>
      <p:ext uri="{BB962C8B-B14F-4D97-AF65-F5344CB8AC3E}">
        <p14:creationId xmlns:p14="http://schemas.microsoft.com/office/powerpoint/2010/main" val="2671703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F205588-5D22-4AA5-A449-D5ED2FF885C9}"/>
              </a:ext>
            </a:extLst>
          </p:cNvPr>
          <p:cNvGraphicFramePr>
            <a:graphicFrameLocks noChangeAspect="1"/>
          </p:cNvGraphicFramePr>
          <p:nvPr>
            <p:custDataLst>
              <p:tags r:id="rId1"/>
            </p:custDataLst>
            <p:extLst>
              <p:ext uri="{D42A27DB-BD31-4B8C-83A1-F6EECF244321}">
                <p14:modId xmlns:p14="http://schemas.microsoft.com/office/powerpoint/2010/main" val="1139872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AE3F3ED6-4F0D-4862-919F-8863939667F6}"/>
              </a:ext>
            </a:extLst>
          </p:cNvPr>
          <p:cNvSpPr>
            <a:spLocks noGrp="1"/>
          </p:cNvSpPr>
          <p:nvPr>
            <p:ph type="title"/>
          </p:nvPr>
        </p:nvSpPr>
        <p:spPr bwMode="gray"/>
        <p:txBody>
          <a:bodyPr vert="horz"/>
          <a:lstStyle/>
          <a:p>
            <a:r>
              <a:rPr lang="de-DE" dirty="0"/>
              <a:t>Tabellenvorlage</a:t>
            </a:r>
            <a:br>
              <a:rPr lang="de-DE" dirty="0"/>
            </a:br>
            <a:r>
              <a:rPr lang="de-DE" b="0" dirty="0"/>
              <a:t>Kopfzeile und Bänder frei umfärbbar</a:t>
            </a:r>
          </a:p>
        </p:txBody>
      </p:sp>
      <p:sp>
        <p:nvSpPr>
          <p:cNvPr id="10" name="Date Placeholder 9">
            <a:extLst>
              <a:ext uri="{FF2B5EF4-FFF2-40B4-BE49-F238E27FC236}">
                <a16:creationId xmlns:a16="http://schemas.microsoft.com/office/drawing/2014/main" id="{C885C563-03D8-4A28-A41B-ACEBCD03BE53}"/>
              </a:ext>
            </a:extLst>
          </p:cNvPr>
          <p:cNvSpPr>
            <a:spLocks noGrp="1"/>
          </p:cNvSpPr>
          <p:nvPr>
            <p:ph type="dt" sz="half" idx="10"/>
          </p:nvPr>
        </p:nvSpPr>
        <p:spPr bwMode="gray"/>
        <p:txBody>
          <a:bodyPr/>
          <a:lstStyle/>
          <a:p>
            <a:fld id="{95070294-D2BD-4D87-974C-EC64DA32AC07}" type="datetime1">
              <a:rPr lang="de-DE" smtClean="0"/>
              <a:t>29.09.25</a:t>
            </a:fld>
            <a:endParaRPr lang="de-DE" dirty="0"/>
          </a:p>
        </p:txBody>
      </p:sp>
      <p:sp>
        <p:nvSpPr>
          <p:cNvPr id="2" name="Fußzeilenplatzhalter 1">
            <a:extLst>
              <a:ext uri="{FF2B5EF4-FFF2-40B4-BE49-F238E27FC236}">
                <a16:creationId xmlns:a16="http://schemas.microsoft.com/office/drawing/2014/main" id="{2A833BCF-5087-460B-A045-A09AEDFDE8C8}"/>
              </a:ext>
            </a:extLst>
          </p:cNvPr>
          <p:cNvSpPr>
            <a:spLocks noGrp="1"/>
          </p:cNvSpPr>
          <p:nvPr>
            <p:ph type="ftr" sz="quarter" idx="11"/>
          </p:nvPr>
        </p:nvSpPr>
        <p:spPr bwMode="gray"/>
        <p:txBody>
          <a:bodyPr/>
          <a:lstStyle/>
          <a:p>
            <a:r>
              <a:rPr lang="de-DE" dirty="0"/>
              <a:t>TITEL DER PRÄSENTATION | TITEL VORNAME NAME</a:t>
            </a:r>
          </a:p>
        </p:txBody>
      </p:sp>
      <p:sp>
        <p:nvSpPr>
          <p:cNvPr id="3" name="Foliennummernplatzhalter 2">
            <a:extLst>
              <a:ext uri="{FF2B5EF4-FFF2-40B4-BE49-F238E27FC236}">
                <a16:creationId xmlns:a16="http://schemas.microsoft.com/office/drawing/2014/main" id="{18D509AD-5CC8-4388-A25B-FD6C925D8872}"/>
              </a:ext>
            </a:extLst>
          </p:cNvPr>
          <p:cNvSpPr>
            <a:spLocks noGrp="1"/>
          </p:cNvSpPr>
          <p:nvPr>
            <p:ph type="sldNum" sz="quarter" idx="12"/>
          </p:nvPr>
        </p:nvSpPr>
        <p:spPr bwMode="gray"/>
        <p:txBody>
          <a:bodyPr/>
          <a:lstStyle/>
          <a:p>
            <a:fld id="{09E9C37E-8A19-4E30-BE2B-5A966AD23C7A}" type="slidenum">
              <a:rPr lang="de-DE" smtClean="0"/>
              <a:pPr/>
              <a:t>50</a:t>
            </a:fld>
            <a:endParaRPr lang="de-DE" dirty="0"/>
          </a:p>
        </p:txBody>
      </p:sp>
      <p:graphicFrame>
        <p:nvGraphicFramePr>
          <p:cNvPr id="5" name="Tabelle 4">
            <a:extLst>
              <a:ext uri="{FF2B5EF4-FFF2-40B4-BE49-F238E27FC236}">
                <a16:creationId xmlns:a16="http://schemas.microsoft.com/office/drawing/2014/main" id="{A5A17CF6-B746-43E0-AA72-1C322919956E}"/>
              </a:ext>
            </a:extLst>
          </p:cNvPr>
          <p:cNvGraphicFramePr>
            <a:graphicFrameLocks noGrp="1"/>
          </p:cNvGraphicFramePr>
          <p:nvPr>
            <p:extLst>
              <p:ext uri="{D42A27DB-BD31-4B8C-83A1-F6EECF244321}">
                <p14:modId xmlns:p14="http://schemas.microsoft.com/office/powerpoint/2010/main" val="2029783031"/>
              </p:ext>
            </p:extLst>
          </p:nvPr>
        </p:nvGraphicFramePr>
        <p:xfrm>
          <a:off x="336550" y="1984375"/>
          <a:ext cx="11232000" cy="3748088"/>
        </p:xfrm>
        <a:graphic>
          <a:graphicData uri="http://schemas.openxmlformats.org/drawingml/2006/table">
            <a:tbl>
              <a:tblPr firstRow="1" bandRow="1">
                <a:tableStyleId>{5C22544A-7EE6-4342-B048-85BDC9FD1C3A}</a:tableStyleId>
              </a:tblPr>
              <a:tblGrid>
                <a:gridCol w="3024000">
                  <a:extLst>
                    <a:ext uri="{9D8B030D-6E8A-4147-A177-3AD203B41FA5}">
                      <a16:colId xmlns:a16="http://schemas.microsoft.com/office/drawing/2014/main" val="3444078101"/>
                    </a:ext>
                  </a:extLst>
                </a:gridCol>
                <a:gridCol w="2736000">
                  <a:extLst>
                    <a:ext uri="{9D8B030D-6E8A-4147-A177-3AD203B41FA5}">
                      <a16:colId xmlns:a16="http://schemas.microsoft.com/office/drawing/2014/main" val="3554067948"/>
                    </a:ext>
                  </a:extLst>
                </a:gridCol>
                <a:gridCol w="2736000">
                  <a:extLst>
                    <a:ext uri="{9D8B030D-6E8A-4147-A177-3AD203B41FA5}">
                      <a16:colId xmlns:a16="http://schemas.microsoft.com/office/drawing/2014/main" val="2476635605"/>
                    </a:ext>
                  </a:extLst>
                </a:gridCol>
                <a:gridCol w="2736000">
                  <a:extLst>
                    <a:ext uri="{9D8B030D-6E8A-4147-A177-3AD203B41FA5}">
                      <a16:colId xmlns:a16="http://schemas.microsoft.com/office/drawing/2014/main" val="896039492"/>
                    </a:ext>
                  </a:extLst>
                </a:gridCol>
              </a:tblGrid>
              <a:tr h="468511">
                <a:tc>
                  <a:txBody>
                    <a:bodyPr/>
                    <a:lstStyle/>
                    <a:p>
                      <a:r>
                        <a:rPr lang="de-DE" sz="1200" cap="none" baseline="0" dirty="0">
                          <a:solidFill>
                            <a:schemeClr val="bg1"/>
                          </a:solidFill>
                        </a:rPr>
                        <a:t>Überschrift</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a:txBody>
                    <a:bodyPr/>
                    <a:lstStyle/>
                    <a:p>
                      <a:pPr algn="r"/>
                      <a:r>
                        <a:rPr lang="de-DE" sz="1200" cap="none" baseline="0" dirty="0">
                          <a:solidFill>
                            <a:schemeClr val="bg1"/>
                          </a:solidFill>
                        </a:rPr>
                        <a:t>Überschrif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a:txBody>
                    <a:bodyPr/>
                    <a:lstStyle/>
                    <a:p>
                      <a:pPr algn="r"/>
                      <a:r>
                        <a:rPr lang="de-DE" sz="1200" cap="none" baseline="0" dirty="0">
                          <a:solidFill>
                            <a:schemeClr val="bg1"/>
                          </a:solidFill>
                        </a:rPr>
                        <a:t>Überschrif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a:txBody>
                    <a:bodyPr/>
                    <a:lstStyle/>
                    <a:p>
                      <a:pPr algn="r"/>
                      <a:r>
                        <a:rPr lang="de-DE" sz="1200" cap="none" baseline="0" dirty="0">
                          <a:solidFill>
                            <a:schemeClr val="bg1"/>
                          </a:solidFill>
                        </a:rPr>
                        <a:t>Optionale Hervorhebung</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4259198390"/>
                  </a:ext>
                </a:extLst>
              </a:tr>
              <a:tr h="468511">
                <a:tc>
                  <a:txBody>
                    <a:bodyPr/>
                    <a:lstStyle/>
                    <a:p>
                      <a:r>
                        <a:rPr lang="de-DE" sz="1200" dirty="0">
                          <a:solidFill>
                            <a:schemeClr val="tx1"/>
                          </a:solidFill>
                        </a:rPr>
                        <a:t>Rebum lorem ipsum</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78888331"/>
                  </a:ext>
                </a:extLst>
              </a:tr>
              <a:tr h="468511">
                <a:tc>
                  <a:txBody>
                    <a:bodyPr/>
                    <a:lstStyle/>
                    <a:p>
                      <a:r>
                        <a:rPr lang="de-DE" sz="1200" dirty="0">
                          <a:solidFill>
                            <a:schemeClr val="tx1"/>
                          </a:solidFill>
                        </a:rPr>
                        <a:t>Aliquyam vitae est</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tx1">
                        <a:lumMod val="20000"/>
                        <a:lumOff val="8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tx1">
                        <a:lumMod val="20000"/>
                        <a:lumOff val="8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tx1">
                        <a:lumMod val="20000"/>
                        <a:lumOff val="8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337628179"/>
                  </a:ext>
                </a:extLst>
              </a:tr>
              <a:tr h="468511">
                <a:tc>
                  <a:txBody>
                    <a:bodyPr/>
                    <a:lstStyle/>
                    <a:p>
                      <a:r>
                        <a:rPr lang="de-DE" sz="1200" dirty="0">
                          <a:solidFill>
                            <a:schemeClr val="tx1"/>
                          </a:solidFill>
                        </a:rPr>
                        <a:t>Invidunt esther bin</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684112090"/>
                  </a:ext>
                </a:extLst>
              </a:tr>
              <a:tr h="468511">
                <a:tc>
                  <a:txBody>
                    <a:bodyPr/>
                    <a:lstStyle/>
                    <a:p>
                      <a:r>
                        <a:rPr lang="de-DE" sz="1200" dirty="0">
                          <a:solidFill>
                            <a:schemeClr val="tx1"/>
                          </a:solidFill>
                        </a:rPr>
                        <a:t>Voluptua consectuer</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tx1">
                        <a:lumMod val="20000"/>
                        <a:lumOff val="8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tx1">
                        <a:lumMod val="20000"/>
                        <a:lumOff val="8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tx1">
                        <a:lumMod val="20000"/>
                        <a:lumOff val="8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265655654"/>
                  </a:ext>
                </a:extLst>
              </a:tr>
              <a:tr h="468511">
                <a:tc>
                  <a:txBody>
                    <a:bodyPr/>
                    <a:lstStyle/>
                    <a:p>
                      <a:r>
                        <a:rPr lang="de-DE" sz="1200" dirty="0">
                          <a:solidFill>
                            <a:schemeClr val="tx1"/>
                          </a:solidFill>
                        </a:rPr>
                        <a:t>Tempor dolor sit</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731502459"/>
                  </a:ext>
                </a:extLst>
              </a:tr>
              <a:tr h="468511">
                <a:tc>
                  <a:txBody>
                    <a:bodyPr/>
                    <a:lstStyle/>
                    <a:p>
                      <a:r>
                        <a:rPr lang="de-DE" sz="1200" dirty="0">
                          <a:solidFill>
                            <a:schemeClr val="tx1"/>
                          </a:solidFill>
                        </a:rPr>
                        <a:t>Consetetur amet eros</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tx1">
                        <a:lumMod val="20000"/>
                        <a:lumOff val="8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tx1">
                        <a:lumMod val="20000"/>
                        <a:lumOff val="8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tx1">
                        <a:lumMod val="20000"/>
                        <a:lumOff val="8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2154934934"/>
                  </a:ext>
                </a:extLst>
              </a:tr>
              <a:tr h="468511">
                <a:tc>
                  <a:txBody>
                    <a:bodyPr/>
                    <a:lstStyle/>
                    <a:p>
                      <a:r>
                        <a:rPr lang="de-DE" sz="1200" dirty="0">
                          <a:solidFill>
                            <a:schemeClr val="tx1"/>
                          </a:solidFill>
                        </a:rPr>
                        <a:t>Ononumy ate vitae</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50247313"/>
                  </a:ext>
                </a:extLst>
              </a:tr>
            </a:tbl>
          </a:graphicData>
        </a:graphic>
      </p:graphicFrame>
    </p:spTree>
    <p:extLst>
      <p:ext uri="{BB962C8B-B14F-4D97-AF65-F5344CB8AC3E}">
        <p14:creationId xmlns:p14="http://schemas.microsoft.com/office/powerpoint/2010/main" val="554635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DF0AABF-7401-4F60-AEC7-D93DC3661075}"/>
              </a:ext>
            </a:extLst>
          </p:cNvPr>
          <p:cNvGraphicFramePr>
            <a:graphicFrameLocks noChangeAspect="1"/>
          </p:cNvGraphicFramePr>
          <p:nvPr>
            <p:custDataLst>
              <p:tags r:id="rId1"/>
            </p:custDataLst>
            <p:extLst>
              <p:ext uri="{D42A27DB-BD31-4B8C-83A1-F6EECF244321}">
                <p14:modId xmlns:p14="http://schemas.microsoft.com/office/powerpoint/2010/main" val="419203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AE3F3ED6-4F0D-4862-919F-8863939667F6}"/>
              </a:ext>
            </a:extLst>
          </p:cNvPr>
          <p:cNvSpPr>
            <a:spLocks noGrp="1"/>
          </p:cNvSpPr>
          <p:nvPr>
            <p:ph type="title"/>
          </p:nvPr>
        </p:nvSpPr>
        <p:spPr bwMode="gray"/>
        <p:txBody>
          <a:bodyPr vert="horz"/>
          <a:lstStyle/>
          <a:p>
            <a:r>
              <a:rPr lang="de-DE" dirty="0"/>
              <a:t>Tabellenvorlage</a:t>
            </a:r>
            <a:br>
              <a:rPr lang="de-DE" dirty="0"/>
            </a:br>
            <a:r>
              <a:rPr lang="de-DE" b="0" dirty="0"/>
              <a:t>Version farbige Kopfzeile und Linien</a:t>
            </a:r>
            <a:br>
              <a:rPr lang="de-DE" b="0" dirty="0"/>
            </a:br>
            <a:r>
              <a:rPr lang="de-DE" b="0" dirty="0"/>
              <a:t>Cyan und Anthrazit (horizontal, 3/4 pt)</a:t>
            </a:r>
          </a:p>
        </p:txBody>
      </p:sp>
      <p:sp>
        <p:nvSpPr>
          <p:cNvPr id="10" name="Date Placeholder 9">
            <a:extLst>
              <a:ext uri="{FF2B5EF4-FFF2-40B4-BE49-F238E27FC236}">
                <a16:creationId xmlns:a16="http://schemas.microsoft.com/office/drawing/2014/main" id="{C885C563-03D8-4A28-A41B-ACEBCD03BE53}"/>
              </a:ext>
            </a:extLst>
          </p:cNvPr>
          <p:cNvSpPr>
            <a:spLocks noGrp="1"/>
          </p:cNvSpPr>
          <p:nvPr>
            <p:ph type="dt" sz="half" idx="10"/>
          </p:nvPr>
        </p:nvSpPr>
        <p:spPr bwMode="gray"/>
        <p:txBody>
          <a:bodyPr/>
          <a:lstStyle/>
          <a:p>
            <a:fld id="{88D91842-00F7-4434-A509-D4ECB58A00EF}" type="datetime1">
              <a:rPr lang="de-DE" smtClean="0"/>
              <a:t>29.09.25</a:t>
            </a:fld>
            <a:endParaRPr lang="de-DE" dirty="0"/>
          </a:p>
        </p:txBody>
      </p:sp>
      <p:sp>
        <p:nvSpPr>
          <p:cNvPr id="2" name="Fußzeilenplatzhalter 1">
            <a:extLst>
              <a:ext uri="{FF2B5EF4-FFF2-40B4-BE49-F238E27FC236}">
                <a16:creationId xmlns:a16="http://schemas.microsoft.com/office/drawing/2014/main" id="{2A833BCF-5087-460B-A045-A09AEDFDE8C8}"/>
              </a:ext>
            </a:extLst>
          </p:cNvPr>
          <p:cNvSpPr>
            <a:spLocks noGrp="1"/>
          </p:cNvSpPr>
          <p:nvPr>
            <p:ph type="ftr" sz="quarter" idx="11"/>
          </p:nvPr>
        </p:nvSpPr>
        <p:spPr bwMode="gray"/>
        <p:txBody>
          <a:bodyPr/>
          <a:lstStyle/>
          <a:p>
            <a:r>
              <a:rPr lang="de-DE" dirty="0"/>
              <a:t>TITEL DER PRÄSENTATION | TITEL VORNAME NAME</a:t>
            </a:r>
          </a:p>
        </p:txBody>
      </p:sp>
      <p:sp>
        <p:nvSpPr>
          <p:cNvPr id="3" name="Foliennummernplatzhalter 2">
            <a:extLst>
              <a:ext uri="{FF2B5EF4-FFF2-40B4-BE49-F238E27FC236}">
                <a16:creationId xmlns:a16="http://schemas.microsoft.com/office/drawing/2014/main" id="{18D509AD-5CC8-4388-A25B-FD6C925D8872}"/>
              </a:ext>
            </a:extLst>
          </p:cNvPr>
          <p:cNvSpPr>
            <a:spLocks noGrp="1"/>
          </p:cNvSpPr>
          <p:nvPr>
            <p:ph type="sldNum" sz="quarter" idx="12"/>
          </p:nvPr>
        </p:nvSpPr>
        <p:spPr bwMode="gray"/>
        <p:txBody>
          <a:bodyPr/>
          <a:lstStyle/>
          <a:p>
            <a:fld id="{09E9C37E-8A19-4E30-BE2B-5A966AD23C7A}" type="slidenum">
              <a:rPr lang="de-DE" smtClean="0"/>
              <a:pPr/>
              <a:t>51</a:t>
            </a:fld>
            <a:endParaRPr lang="de-DE" dirty="0"/>
          </a:p>
        </p:txBody>
      </p:sp>
      <p:graphicFrame>
        <p:nvGraphicFramePr>
          <p:cNvPr id="5" name="Tabelle 4">
            <a:extLst>
              <a:ext uri="{FF2B5EF4-FFF2-40B4-BE49-F238E27FC236}">
                <a16:creationId xmlns:a16="http://schemas.microsoft.com/office/drawing/2014/main" id="{A5A17CF6-B746-43E0-AA72-1C322919956E}"/>
              </a:ext>
            </a:extLst>
          </p:cNvPr>
          <p:cNvGraphicFramePr>
            <a:graphicFrameLocks noGrp="1"/>
          </p:cNvGraphicFramePr>
          <p:nvPr>
            <p:extLst>
              <p:ext uri="{D42A27DB-BD31-4B8C-83A1-F6EECF244321}">
                <p14:modId xmlns:p14="http://schemas.microsoft.com/office/powerpoint/2010/main" val="4069071333"/>
              </p:ext>
            </p:extLst>
          </p:nvPr>
        </p:nvGraphicFramePr>
        <p:xfrm>
          <a:off x="336550" y="1984375"/>
          <a:ext cx="11232000" cy="3748088"/>
        </p:xfrm>
        <a:graphic>
          <a:graphicData uri="http://schemas.openxmlformats.org/drawingml/2006/table">
            <a:tbl>
              <a:tblPr firstRow="1" bandRow="1">
                <a:tableStyleId>{5C22544A-7EE6-4342-B048-85BDC9FD1C3A}</a:tableStyleId>
              </a:tblPr>
              <a:tblGrid>
                <a:gridCol w="3024000">
                  <a:extLst>
                    <a:ext uri="{9D8B030D-6E8A-4147-A177-3AD203B41FA5}">
                      <a16:colId xmlns:a16="http://schemas.microsoft.com/office/drawing/2014/main" val="3444078101"/>
                    </a:ext>
                  </a:extLst>
                </a:gridCol>
                <a:gridCol w="2736000">
                  <a:extLst>
                    <a:ext uri="{9D8B030D-6E8A-4147-A177-3AD203B41FA5}">
                      <a16:colId xmlns:a16="http://schemas.microsoft.com/office/drawing/2014/main" val="3554067948"/>
                    </a:ext>
                  </a:extLst>
                </a:gridCol>
                <a:gridCol w="2736000">
                  <a:extLst>
                    <a:ext uri="{9D8B030D-6E8A-4147-A177-3AD203B41FA5}">
                      <a16:colId xmlns:a16="http://schemas.microsoft.com/office/drawing/2014/main" val="2476635605"/>
                    </a:ext>
                  </a:extLst>
                </a:gridCol>
                <a:gridCol w="2736000">
                  <a:extLst>
                    <a:ext uri="{9D8B030D-6E8A-4147-A177-3AD203B41FA5}">
                      <a16:colId xmlns:a16="http://schemas.microsoft.com/office/drawing/2014/main" val="896039492"/>
                    </a:ext>
                  </a:extLst>
                </a:gridCol>
              </a:tblGrid>
              <a:tr h="468511">
                <a:tc>
                  <a:txBody>
                    <a:bodyPr/>
                    <a:lstStyle/>
                    <a:p>
                      <a:r>
                        <a:rPr lang="de-DE" sz="1200" cap="none" baseline="0" dirty="0">
                          <a:solidFill>
                            <a:schemeClr val="bg1"/>
                          </a:solidFill>
                        </a:rPr>
                        <a:t>Überschrift</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9EE0"/>
                    </a:solidFill>
                  </a:tcPr>
                </a:tc>
                <a:tc>
                  <a:txBody>
                    <a:bodyPr/>
                    <a:lstStyle/>
                    <a:p>
                      <a:pPr algn="r"/>
                      <a:r>
                        <a:rPr lang="de-DE" sz="1200" cap="none" baseline="0" dirty="0">
                          <a:solidFill>
                            <a:schemeClr val="bg1"/>
                          </a:solidFill>
                        </a:rPr>
                        <a:t>Überschrif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9EE0"/>
                    </a:solidFill>
                  </a:tcPr>
                </a:tc>
                <a:tc>
                  <a:txBody>
                    <a:bodyPr/>
                    <a:lstStyle/>
                    <a:p>
                      <a:pPr algn="r"/>
                      <a:r>
                        <a:rPr lang="de-DE" sz="1200" cap="none" baseline="0" dirty="0">
                          <a:solidFill>
                            <a:schemeClr val="bg1"/>
                          </a:solidFill>
                        </a:rPr>
                        <a:t>Überschrif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9EE0"/>
                    </a:solidFill>
                  </a:tcPr>
                </a:tc>
                <a:tc>
                  <a:txBody>
                    <a:bodyPr/>
                    <a:lstStyle/>
                    <a:p>
                      <a:pPr algn="r"/>
                      <a:r>
                        <a:rPr lang="de-DE" sz="1200" cap="none" baseline="0" dirty="0">
                          <a:solidFill>
                            <a:schemeClr val="bg1"/>
                          </a:solidFill>
                        </a:rPr>
                        <a:t>Optionale Hervorhebung</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9EE0"/>
                    </a:solidFill>
                  </a:tcPr>
                </a:tc>
                <a:extLst>
                  <a:ext uri="{0D108BD9-81ED-4DB2-BD59-A6C34878D82A}">
                    <a16:rowId xmlns:a16="http://schemas.microsoft.com/office/drawing/2014/main" val="4259198390"/>
                  </a:ext>
                </a:extLst>
              </a:tr>
              <a:tr h="468511">
                <a:tc>
                  <a:txBody>
                    <a:bodyPr/>
                    <a:lstStyle/>
                    <a:p>
                      <a:r>
                        <a:rPr lang="de-DE" sz="1200" dirty="0">
                          <a:solidFill>
                            <a:schemeClr val="tx1"/>
                          </a:solidFill>
                        </a:rPr>
                        <a:t>Linienstärke ¾ pt, Farbe: Anthrazit</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tx1">
                        <a:lumMod val="60000"/>
                        <a:lumOff val="40000"/>
                      </a:schemeClr>
                    </a:solidFill>
                  </a:tcPr>
                </a:tc>
                <a:extLst>
                  <a:ext uri="{0D108BD9-81ED-4DB2-BD59-A6C34878D82A}">
                    <a16:rowId xmlns:a16="http://schemas.microsoft.com/office/drawing/2014/main" val="1078888331"/>
                  </a:ext>
                </a:extLst>
              </a:tr>
              <a:tr h="468511">
                <a:tc>
                  <a:txBody>
                    <a:bodyPr/>
                    <a:lstStyle/>
                    <a:p>
                      <a:r>
                        <a:rPr lang="de-DE" sz="1200" dirty="0">
                          <a:solidFill>
                            <a:schemeClr val="tx1"/>
                          </a:solidFill>
                        </a:rPr>
                        <a:t>Aliquyam vitae est</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tx1">
                        <a:lumMod val="60000"/>
                        <a:lumOff val="40000"/>
                      </a:schemeClr>
                    </a:solidFill>
                  </a:tcPr>
                </a:tc>
                <a:extLst>
                  <a:ext uri="{0D108BD9-81ED-4DB2-BD59-A6C34878D82A}">
                    <a16:rowId xmlns:a16="http://schemas.microsoft.com/office/drawing/2014/main" val="1337628179"/>
                  </a:ext>
                </a:extLst>
              </a:tr>
              <a:tr h="468511">
                <a:tc>
                  <a:txBody>
                    <a:bodyPr/>
                    <a:lstStyle/>
                    <a:p>
                      <a:r>
                        <a:rPr lang="de-DE" sz="1200" dirty="0">
                          <a:solidFill>
                            <a:schemeClr val="tx1"/>
                          </a:solidFill>
                        </a:rPr>
                        <a:t>Invidunt esther bin</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tx1">
                        <a:lumMod val="60000"/>
                        <a:lumOff val="40000"/>
                      </a:schemeClr>
                    </a:solidFill>
                  </a:tcPr>
                </a:tc>
                <a:extLst>
                  <a:ext uri="{0D108BD9-81ED-4DB2-BD59-A6C34878D82A}">
                    <a16:rowId xmlns:a16="http://schemas.microsoft.com/office/drawing/2014/main" val="2684112090"/>
                  </a:ext>
                </a:extLst>
              </a:tr>
              <a:tr h="468511">
                <a:tc>
                  <a:txBody>
                    <a:bodyPr/>
                    <a:lstStyle/>
                    <a:p>
                      <a:r>
                        <a:rPr lang="de-DE" sz="1200" dirty="0">
                          <a:solidFill>
                            <a:schemeClr val="tx1"/>
                          </a:solidFill>
                        </a:rPr>
                        <a:t>Voluptua consectuer</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tx1">
                        <a:lumMod val="60000"/>
                        <a:lumOff val="40000"/>
                      </a:schemeClr>
                    </a:solidFill>
                  </a:tcPr>
                </a:tc>
                <a:extLst>
                  <a:ext uri="{0D108BD9-81ED-4DB2-BD59-A6C34878D82A}">
                    <a16:rowId xmlns:a16="http://schemas.microsoft.com/office/drawing/2014/main" val="1265655654"/>
                  </a:ext>
                </a:extLst>
              </a:tr>
              <a:tr h="468511">
                <a:tc>
                  <a:txBody>
                    <a:bodyPr/>
                    <a:lstStyle/>
                    <a:p>
                      <a:r>
                        <a:rPr lang="de-DE" sz="1200" dirty="0">
                          <a:solidFill>
                            <a:schemeClr val="tx1"/>
                          </a:solidFill>
                        </a:rPr>
                        <a:t>Tempor dolor sit</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tx1">
                        <a:lumMod val="60000"/>
                        <a:lumOff val="40000"/>
                      </a:schemeClr>
                    </a:solidFill>
                  </a:tcPr>
                </a:tc>
                <a:extLst>
                  <a:ext uri="{0D108BD9-81ED-4DB2-BD59-A6C34878D82A}">
                    <a16:rowId xmlns:a16="http://schemas.microsoft.com/office/drawing/2014/main" val="2731502459"/>
                  </a:ext>
                </a:extLst>
              </a:tr>
              <a:tr h="468511">
                <a:tc>
                  <a:txBody>
                    <a:bodyPr/>
                    <a:lstStyle/>
                    <a:p>
                      <a:r>
                        <a:rPr lang="de-DE" sz="1200" dirty="0">
                          <a:solidFill>
                            <a:schemeClr val="tx1"/>
                          </a:solidFill>
                        </a:rPr>
                        <a:t>Consetetur amet eros</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tx1">
                        <a:lumMod val="60000"/>
                        <a:lumOff val="40000"/>
                      </a:schemeClr>
                    </a:solidFill>
                  </a:tcPr>
                </a:tc>
                <a:extLst>
                  <a:ext uri="{0D108BD9-81ED-4DB2-BD59-A6C34878D82A}">
                    <a16:rowId xmlns:a16="http://schemas.microsoft.com/office/drawing/2014/main" val="2154934934"/>
                  </a:ext>
                </a:extLst>
              </a:tr>
              <a:tr h="468511">
                <a:tc>
                  <a:txBody>
                    <a:bodyPr/>
                    <a:lstStyle/>
                    <a:p>
                      <a:r>
                        <a:rPr lang="de-DE" sz="1200" dirty="0">
                          <a:solidFill>
                            <a:schemeClr val="tx1"/>
                          </a:solidFill>
                        </a:rPr>
                        <a:t>Ononumy ate vitae</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XXX,XX</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tx1">
                        <a:lumMod val="60000"/>
                        <a:lumOff val="40000"/>
                      </a:schemeClr>
                    </a:solidFill>
                  </a:tcPr>
                </a:tc>
                <a:extLst>
                  <a:ext uri="{0D108BD9-81ED-4DB2-BD59-A6C34878D82A}">
                    <a16:rowId xmlns:a16="http://schemas.microsoft.com/office/drawing/2014/main" val="150247313"/>
                  </a:ext>
                </a:extLst>
              </a:tr>
            </a:tbl>
          </a:graphicData>
        </a:graphic>
      </p:graphicFrame>
    </p:spTree>
    <p:extLst>
      <p:ext uri="{BB962C8B-B14F-4D97-AF65-F5344CB8AC3E}">
        <p14:creationId xmlns:p14="http://schemas.microsoft.com/office/powerpoint/2010/main" val="776780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83A22A4-5011-4616-BA5F-5F399EDB87CF}"/>
              </a:ext>
            </a:extLst>
          </p:cNvPr>
          <p:cNvGraphicFramePr>
            <a:graphicFrameLocks noChangeAspect="1"/>
          </p:cNvGraphicFramePr>
          <p:nvPr>
            <p:custDataLst>
              <p:tags r:id="rId1"/>
            </p:custDataLst>
            <p:extLst>
              <p:ext uri="{D42A27DB-BD31-4B8C-83A1-F6EECF244321}">
                <p14:modId xmlns:p14="http://schemas.microsoft.com/office/powerpoint/2010/main" val="1365371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E81D28E1-645A-4606-AC03-84ADB7E140E8}"/>
              </a:ext>
            </a:extLst>
          </p:cNvPr>
          <p:cNvSpPr>
            <a:spLocks noGrp="1"/>
          </p:cNvSpPr>
          <p:nvPr>
            <p:ph type="title"/>
          </p:nvPr>
        </p:nvSpPr>
        <p:spPr bwMode="gray"/>
        <p:txBody>
          <a:bodyPr vert="horz"/>
          <a:lstStyle/>
          <a:p>
            <a:r>
              <a:rPr lang="de-DE" dirty="0"/>
              <a:t>Automatische </a:t>
            </a:r>
            <a:br>
              <a:rPr lang="de-DE" dirty="0"/>
            </a:br>
            <a:r>
              <a:rPr lang="de-DE" b="0" dirty="0"/>
              <a:t>Diagramm-farbreihenfolge</a:t>
            </a:r>
          </a:p>
        </p:txBody>
      </p:sp>
      <p:sp>
        <p:nvSpPr>
          <p:cNvPr id="13" name="Date Placeholder 12">
            <a:extLst>
              <a:ext uri="{FF2B5EF4-FFF2-40B4-BE49-F238E27FC236}">
                <a16:creationId xmlns:a16="http://schemas.microsoft.com/office/drawing/2014/main" id="{6F4DC557-AAF1-431F-A351-98244F3EAF72}"/>
              </a:ext>
            </a:extLst>
          </p:cNvPr>
          <p:cNvSpPr>
            <a:spLocks noGrp="1"/>
          </p:cNvSpPr>
          <p:nvPr>
            <p:ph type="dt" sz="half" idx="10"/>
          </p:nvPr>
        </p:nvSpPr>
        <p:spPr bwMode="gray"/>
        <p:txBody>
          <a:bodyPr/>
          <a:lstStyle/>
          <a:p>
            <a:fld id="{21A821C9-3C02-450D-84E1-4E8966A24F31}" type="datetime1">
              <a:rPr lang="de-DE" smtClean="0"/>
              <a:t>29.09.25</a:t>
            </a:fld>
            <a:endParaRPr lang="de-DE" dirty="0"/>
          </a:p>
        </p:txBody>
      </p:sp>
      <p:sp>
        <p:nvSpPr>
          <p:cNvPr id="2" name="Fußzeilenplatzhalter 1">
            <a:extLst>
              <a:ext uri="{FF2B5EF4-FFF2-40B4-BE49-F238E27FC236}">
                <a16:creationId xmlns:a16="http://schemas.microsoft.com/office/drawing/2014/main" id="{EC308A43-C8ED-4A79-89D2-4A847C41C4D3}"/>
              </a:ext>
            </a:extLst>
          </p:cNvPr>
          <p:cNvSpPr>
            <a:spLocks noGrp="1"/>
          </p:cNvSpPr>
          <p:nvPr>
            <p:ph type="ftr" sz="quarter" idx="11"/>
          </p:nvPr>
        </p:nvSpPr>
        <p:spPr bwMode="gray"/>
        <p:txBody>
          <a:bodyPr/>
          <a:lstStyle/>
          <a:p>
            <a:r>
              <a:rPr lang="de-DE" dirty="0"/>
              <a:t>TITEL DER PRÄSENTATION | TITEL VORNAME NAME</a:t>
            </a:r>
          </a:p>
        </p:txBody>
      </p:sp>
      <p:sp>
        <p:nvSpPr>
          <p:cNvPr id="3" name="Foliennummernplatzhalter 2">
            <a:extLst>
              <a:ext uri="{FF2B5EF4-FFF2-40B4-BE49-F238E27FC236}">
                <a16:creationId xmlns:a16="http://schemas.microsoft.com/office/drawing/2014/main" id="{21A43D63-9A3F-44E6-9FB4-60BA73DF6D1D}"/>
              </a:ext>
            </a:extLst>
          </p:cNvPr>
          <p:cNvSpPr>
            <a:spLocks noGrp="1"/>
          </p:cNvSpPr>
          <p:nvPr>
            <p:ph type="sldNum" sz="quarter" idx="12"/>
          </p:nvPr>
        </p:nvSpPr>
        <p:spPr bwMode="gray"/>
        <p:txBody>
          <a:bodyPr/>
          <a:lstStyle/>
          <a:p>
            <a:fld id="{09E9C37E-8A19-4E30-BE2B-5A966AD23C7A}" type="slidenum">
              <a:rPr lang="de-DE" smtClean="0"/>
              <a:pPr/>
              <a:t>52</a:t>
            </a:fld>
            <a:endParaRPr lang="de-DE" dirty="0"/>
          </a:p>
        </p:txBody>
      </p:sp>
      <p:graphicFrame>
        <p:nvGraphicFramePr>
          <p:cNvPr id="8" name="Diagramm 7">
            <a:extLst>
              <a:ext uri="{FF2B5EF4-FFF2-40B4-BE49-F238E27FC236}">
                <a16:creationId xmlns:a16="http://schemas.microsoft.com/office/drawing/2014/main" id="{5F2A5269-7380-476C-917C-9B74A0670B79}"/>
              </a:ext>
            </a:extLst>
          </p:cNvPr>
          <p:cNvGraphicFramePr/>
          <p:nvPr>
            <p:extLst>
              <p:ext uri="{D42A27DB-BD31-4B8C-83A1-F6EECF244321}">
                <p14:modId xmlns:p14="http://schemas.microsoft.com/office/powerpoint/2010/main" val="915909053"/>
              </p:ext>
            </p:extLst>
          </p:nvPr>
        </p:nvGraphicFramePr>
        <p:xfrm>
          <a:off x="336000" y="1988999"/>
          <a:ext cx="7776125" cy="374346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Diagramm 10">
            <a:extLst>
              <a:ext uri="{FF2B5EF4-FFF2-40B4-BE49-F238E27FC236}">
                <a16:creationId xmlns:a16="http://schemas.microsoft.com/office/drawing/2014/main" id="{A0CE525D-0C0A-49A5-8CB4-1E4A2709BA9E}"/>
              </a:ext>
            </a:extLst>
          </p:cNvPr>
          <p:cNvGraphicFramePr/>
          <p:nvPr>
            <p:extLst>
              <p:ext uri="{D42A27DB-BD31-4B8C-83A1-F6EECF244321}">
                <p14:modId xmlns:p14="http://schemas.microsoft.com/office/powerpoint/2010/main" val="550741121"/>
              </p:ext>
            </p:extLst>
          </p:nvPr>
        </p:nvGraphicFramePr>
        <p:xfrm>
          <a:off x="8388338" y="1984375"/>
          <a:ext cx="3179776" cy="374808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333245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8" name="Rectangle 2" hidden="1"/>
          <p:cNvGraphicFramePr>
            <a:graphicFrameLocks/>
          </p:cNvGraphicFramePr>
          <p:nvPr>
            <p:custDataLst>
              <p:tags r:id="rId1"/>
            </p:custDataLst>
            <p:extLst>
              <p:ext uri="{D42A27DB-BD31-4B8C-83A1-F6EECF244321}">
                <p14:modId xmlns:p14="http://schemas.microsoft.com/office/powerpoint/2010/main" val="1131932461"/>
              </p:ext>
            </p:ext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Folie" r:id="rId5" imgW="0" imgH="0" progId="TCLayout.ActiveDocument.1">
                  <p:embed/>
                </p:oleObj>
              </mc:Choice>
              <mc:Fallback>
                <p:oleObj name="think-cell Folie" r:id="rId5" imgW="0" imgH="0" progId="TCLayout.ActiveDocument.1">
                  <p:embed/>
                  <p:pic>
                    <p:nvPicPr>
                      <p:cNvPr id="19458"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462" name="Rectangle 17" hidden="1"/>
          <p:cNvSpPr>
            <a:spLocks noChangeArrowheads="1"/>
          </p:cNvSpPr>
          <p:nvPr>
            <p:custDataLst>
              <p:tags r:id="rId2"/>
            </p:custDataLst>
          </p:nvPr>
        </p:nvSpPr>
        <p:spPr bwMode="gray">
          <a:xfrm>
            <a:off x="1524000" y="0"/>
            <a:ext cx="158750" cy="158750"/>
          </a:xfrm>
          <a:prstGeom prst="rect">
            <a:avLst/>
          </a:prstGeom>
          <a:solidFill>
            <a:schemeClr val="bg2"/>
          </a:solidFill>
          <a:ln w="12700" algn="ctr">
            <a:solidFill>
              <a:schemeClr val="tx1"/>
            </a:solidFill>
            <a:miter lim="800000"/>
            <a:headEnd/>
            <a:tailEnd/>
          </a:ln>
        </p:spPr>
        <p:txBody>
          <a:bodyPr wrap="none" lIns="0" tIns="0" rIns="0" bIns="0" anchor="ctr"/>
          <a:lstStyle/>
          <a:p>
            <a:pPr algn="ctr">
              <a:lnSpc>
                <a:spcPct val="100000"/>
              </a:lnSpc>
              <a:buClrTx/>
              <a:buSzTx/>
              <a:buFontTx/>
              <a:buNone/>
            </a:pPr>
            <a:r>
              <a:rPr lang="de-DE" sz="2200" dirty="0">
                <a:latin typeface="Arial" pitchFamily="34" charset="0"/>
              </a:rPr>
              <a:t> </a:t>
            </a:r>
          </a:p>
        </p:txBody>
      </p:sp>
      <p:sp>
        <p:nvSpPr>
          <p:cNvPr id="19468" name="Rectangle 15"/>
          <p:cNvSpPr>
            <a:spLocks noGrp="1" noChangeArrowheads="1"/>
          </p:cNvSpPr>
          <p:nvPr>
            <p:ph type="title"/>
          </p:nvPr>
        </p:nvSpPr>
        <p:spPr bwMode="gray"/>
        <p:txBody>
          <a:bodyPr vert="horz"/>
          <a:lstStyle/>
          <a:p>
            <a:r>
              <a:rPr lang="de-DE" dirty="0"/>
              <a:t>Texte mit Icons</a:t>
            </a:r>
          </a:p>
        </p:txBody>
      </p:sp>
      <p:sp>
        <p:nvSpPr>
          <p:cNvPr id="2" name="Datumsplatzhalter 1">
            <a:extLst>
              <a:ext uri="{FF2B5EF4-FFF2-40B4-BE49-F238E27FC236}">
                <a16:creationId xmlns:a16="http://schemas.microsoft.com/office/drawing/2014/main" id="{0DB03CF9-B04D-4ACE-ABF4-F75DD68A2A11}"/>
              </a:ext>
            </a:extLst>
          </p:cNvPr>
          <p:cNvSpPr>
            <a:spLocks noGrp="1"/>
          </p:cNvSpPr>
          <p:nvPr>
            <p:ph type="dt" sz="half" idx="10"/>
          </p:nvPr>
        </p:nvSpPr>
        <p:spPr bwMode="gray"/>
        <p:txBody>
          <a:bodyPr/>
          <a:lstStyle/>
          <a:p>
            <a:fld id="{556B4F56-78CC-45AF-A966-5A0158AF848E}" type="datetime1">
              <a:rPr lang="de-DE" smtClean="0"/>
              <a:t>29.09.25</a:t>
            </a:fld>
            <a:endParaRPr lang="de-DE" dirty="0"/>
          </a:p>
        </p:txBody>
      </p:sp>
      <p:sp>
        <p:nvSpPr>
          <p:cNvPr id="3" name="Fußzeilenplatzhalter 2">
            <a:extLst>
              <a:ext uri="{FF2B5EF4-FFF2-40B4-BE49-F238E27FC236}">
                <a16:creationId xmlns:a16="http://schemas.microsoft.com/office/drawing/2014/main" id="{59CB3BC9-239B-4628-9520-E7BFBE9F44AA}"/>
              </a:ext>
            </a:extLst>
          </p:cNvPr>
          <p:cNvSpPr>
            <a:spLocks noGrp="1"/>
          </p:cNvSpPr>
          <p:nvPr>
            <p:ph type="ftr" sz="quarter" idx="11"/>
          </p:nvPr>
        </p:nvSpPr>
        <p:spPr bwMode="gray"/>
        <p:txBody>
          <a:bodyPr/>
          <a:lstStyle/>
          <a:p>
            <a:r>
              <a:rPr lang="de-DE" dirty="0"/>
              <a:t>TITEL DER PRÄSENTATION | TITEL VORNAME NAME</a:t>
            </a:r>
          </a:p>
        </p:txBody>
      </p:sp>
      <p:sp>
        <p:nvSpPr>
          <p:cNvPr id="4" name="Foliennummernplatzhalter 3">
            <a:extLst>
              <a:ext uri="{FF2B5EF4-FFF2-40B4-BE49-F238E27FC236}">
                <a16:creationId xmlns:a16="http://schemas.microsoft.com/office/drawing/2014/main" id="{B5461993-4B1A-430C-A5FD-56B449FE8F82}"/>
              </a:ext>
            </a:extLst>
          </p:cNvPr>
          <p:cNvSpPr>
            <a:spLocks noGrp="1"/>
          </p:cNvSpPr>
          <p:nvPr>
            <p:ph type="sldNum" sz="quarter" idx="12"/>
          </p:nvPr>
        </p:nvSpPr>
        <p:spPr bwMode="gray"/>
        <p:txBody>
          <a:bodyPr/>
          <a:lstStyle/>
          <a:p>
            <a:fld id="{09E9C37E-8A19-4E30-BE2B-5A966AD23C7A}" type="slidenum">
              <a:rPr lang="de-DE" smtClean="0"/>
              <a:pPr/>
              <a:t>53</a:t>
            </a:fld>
            <a:endParaRPr lang="de-DE" dirty="0"/>
          </a:p>
        </p:txBody>
      </p:sp>
      <p:sp>
        <p:nvSpPr>
          <p:cNvPr id="20" name="Content Placeholder 10">
            <a:extLst>
              <a:ext uri="{FF2B5EF4-FFF2-40B4-BE49-F238E27FC236}">
                <a16:creationId xmlns:a16="http://schemas.microsoft.com/office/drawing/2014/main" id="{C8B1B182-1F54-42A3-B82C-536213589D1E}"/>
              </a:ext>
            </a:extLst>
          </p:cNvPr>
          <p:cNvSpPr txBox="1">
            <a:spLocks/>
          </p:cNvSpPr>
          <p:nvPr/>
        </p:nvSpPr>
        <p:spPr bwMode="gray">
          <a:xfrm>
            <a:off x="6096000" y="3285075"/>
            <a:ext cx="5472113" cy="2447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a:p>
            <a:pPr lvl="1"/>
            <a:r>
              <a:rPr lang="de-DE" dirty="0"/>
              <a:t>Integer facilisis blandit vestibulum, felis massa laoreet mi, vel venenatis lacus erat quis leo. Donec urna, dapibus et, tincidunt sed, pretium bibendum, nibh. </a:t>
            </a:r>
          </a:p>
          <a:p>
            <a:r>
              <a:rPr lang="de-DE" dirty="0"/>
              <a:t>Nam velit nisl, mattis ac, fermentum nec, feugiat nec, </a:t>
            </a:r>
            <a:br>
              <a:rPr lang="de-DE" dirty="0"/>
            </a:br>
            <a:r>
              <a:rPr lang="de-DE" dirty="0"/>
              <a:t>neque. Ut venenatis mauris ullamcorper velit. </a:t>
            </a:r>
          </a:p>
        </p:txBody>
      </p:sp>
      <p:pic>
        <p:nvPicPr>
          <p:cNvPr id="22" name="Grafik 21">
            <a:extLst>
              <a:ext uri="{FF2B5EF4-FFF2-40B4-BE49-F238E27FC236}">
                <a16:creationId xmlns:a16="http://schemas.microsoft.com/office/drawing/2014/main" id="{6263B16D-5262-44B6-A4D1-C04ABBDBE64E}"/>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bwMode="gray">
          <a:xfrm>
            <a:off x="336000" y="1989000"/>
            <a:ext cx="1008000" cy="1008000"/>
          </a:xfrm>
          <a:prstGeom prst="rect">
            <a:avLst/>
          </a:prstGeom>
          <a:noFill/>
        </p:spPr>
      </p:pic>
      <p:pic>
        <p:nvPicPr>
          <p:cNvPr id="23" name="Grafik 22">
            <a:extLst>
              <a:ext uri="{FF2B5EF4-FFF2-40B4-BE49-F238E27FC236}">
                <a16:creationId xmlns:a16="http://schemas.microsoft.com/office/drawing/2014/main" id="{13EA737A-F112-4E6A-B576-738009FCBDF6}"/>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bwMode="gray">
          <a:xfrm>
            <a:off x="6096000" y="1989000"/>
            <a:ext cx="1008000" cy="1008000"/>
          </a:xfrm>
          <a:prstGeom prst="rect">
            <a:avLst/>
          </a:prstGeom>
          <a:noFill/>
        </p:spPr>
      </p:pic>
      <p:sp>
        <p:nvSpPr>
          <p:cNvPr id="26" name="Content Placeholder 10">
            <a:extLst>
              <a:ext uri="{FF2B5EF4-FFF2-40B4-BE49-F238E27FC236}">
                <a16:creationId xmlns:a16="http://schemas.microsoft.com/office/drawing/2014/main" id="{B7384F69-CEA8-4D85-AD27-3550831061DA}"/>
              </a:ext>
            </a:extLst>
          </p:cNvPr>
          <p:cNvSpPr txBox="1">
            <a:spLocks/>
          </p:cNvSpPr>
          <p:nvPr/>
        </p:nvSpPr>
        <p:spPr bwMode="gray">
          <a:xfrm>
            <a:off x="335887" y="3285075"/>
            <a:ext cx="5472113" cy="2447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a:p>
            <a:pPr lvl="1"/>
            <a:r>
              <a:rPr lang="de-DE" dirty="0"/>
              <a:t>Integer facilisis blandit vestibulum, felis massa laoreet mi, vel venenatis lacus erat quis leo. Donec urna, dapibus et, tincidunt sed, pretium bibendum, nibh. </a:t>
            </a:r>
          </a:p>
          <a:p>
            <a:r>
              <a:rPr lang="de-DE" dirty="0"/>
              <a:t>Nam velit nisl, mattis ac, fermentum nec, feugiat nec, </a:t>
            </a:r>
            <a:br>
              <a:rPr lang="de-DE" dirty="0"/>
            </a:br>
            <a:r>
              <a:rPr lang="de-DE" dirty="0"/>
              <a:t>neque. Ut venenatis mauris ullamcorper velit. </a:t>
            </a:r>
          </a:p>
        </p:txBody>
      </p:sp>
    </p:spTree>
    <p:extLst>
      <p:ext uri="{BB962C8B-B14F-4D97-AF65-F5344CB8AC3E}">
        <p14:creationId xmlns:p14="http://schemas.microsoft.com/office/powerpoint/2010/main" val="1632356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tx1">
            <a:lumMod val="60000"/>
            <a:lumOff val="40000"/>
          </a:schemeClr>
        </a:solidFill>
        <a:effectLst/>
      </p:bgPr>
    </p:bg>
    <p:spTree>
      <p:nvGrpSpPr>
        <p:cNvPr id="1" name=""/>
        <p:cNvGrpSpPr/>
        <p:nvPr/>
      </p:nvGrpSpPr>
      <p:grpSpPr>
        <a:xfrm>
          <a:off x="0" y="0"/>
          <a:ext cx="0" cy="0"/>
          <a:chOff x="0" y="0"/>
          <a:chExt cx="0" cy="0"/>
        </a:xfrm>
      </p:grpSpPr>
      <p:graphicFrame>
        <p:nvGraphicFramePr>
          <p:cNvPr id="19458" name="Rectangle 2" hidden="1"/>
          <p:cNvGraphicFramePr>
            <a:graphicFrameLocks/>
          </p:cNvGraphicFramePr>
          <p:nvPr>
            <p:custDataLst>
              <p:tags r:id="rId1"/>
            </p:custDataLst>
            <p:extLst>
              <p:ext uri="{D42A27DB-BD31-4B8C-83A1-F6EECF244321}">
                <p14:modId xmlns:p14="http://schemas.microsoft.com/office/powerpoint/2010/main" val="1880413746"/>
              </p:ext>
            </p:ext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Folie" r:id="rId5" imgW="0" imgH="0" progId="TCLayout.ActiveDocument.1">
                  <p:embed/>
                </p:oleObj>
              </mc:Choice>
              <mc:Fallback>
                <p:oleObj name="think-cell Folie" r:id="rId5" imgW="0" imgH="0" progId="TCLayout.ActiveDocument.1">
                  <p:embed/>
                  <p:pic>
                    <p:nvPicPr>
                      <p:cNvPr id="19458"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hteck 8">
            <a:extLst>
              <a:ext uri="{FF2B5EF4-FFF2-40B4-BE49-F238E27FC236}">
                <a16:creationId xmlns:a16="http://schemas.microsoft.com/office/drawing/2014/main" id="{84D89E17-1685-45C7-A5A9-05A7DF17BCD6}"/>
              </a:ext>
            </a:extLst>
          </p:cNvPr>
          <p:cNvSpPr/>
          <p:nvPr/>
        </p:nvSpPr>
        <p:spPr bwMode="gray">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19468" name="Rectangle 15"/>
          <p:cNvSpPr>
            <a:spLocks noGrp="1" noChangeArrowheads="1"/>
          </p:cNvSpPr>
          <p:nvPr>
            <p:ph type="title"/>
          </p:nvPr>
        </p:nvSpPr>
        <p:spPr bwMode="gray"/>
        <p:txBody>
          <a:bodyPr vert="horz"/>
          <a:lstStyle/>
          <a:p>
            <a:r>
              <a:rPr lang="de-DE" dirty="0"/>
              <a:t>Texte mit Icons</a:t>
            </a:r>
          </a:p>
        </p:txBody>
      </p:sp>
      <p:sp>
        <p:nvSpPr>
          <p:cNvPr id="2" name="Datumsplatzhalter 1">
            <a:extLst>
              <a:ext uri="{FF2B5EF4-FFF2-40B4-BE49-F238E27FC236}">
                <a16:creationId xmlns:a16="http://schemas.microsoft.com/office/drawing/2014/main" id="{0ACF8615-B9BD-4215-B1CE-0AADE71F02D5}"/>
              </a:ext>
            </a:extLst>
          </p:cNvPr>
          <p:cNvSpPr>
            <a:spLocks noGrp="1"/>
          </p:cNvSpPr>
          <p:nvPr>
            <p:ph type="dt" sz="half" idx="10"/>
          </p:nvPr>
        </p:nvSpPr>
        <p:spPr bwMode="gray"/>
        <p:txBody>
          <a:bodyPr/>
          <a:lstStyle/>
          <a:p>
            <a:fld id="{B827AF84-4A25-439A-B03D-2EA73BC968BF}" type="datetime1">
              <a:rPr lang="de-DE" smtClean="0">
                <a:solidFill>
                  <a:schemeClr val="bg1"/>
                </a:solidFill>
              </a:rPr>
              <a:t>29.09.25</a:t>
            </a:fld>
            <a:endParaRPr lang="de-DE" dirty="0">
              <a:solidFill>
                <a:schemeClr val="bg1"/>
              </a:solidFill>
            </a:endParaRPr>
          </a:p>
        </p:txBody>
      </p:sp>
      <p:sp>
        <p:nvSpPr>
          <p:cNvPr id="3" name="Fußzeilenplatzhalter 2">
            <a:extLst>
              <a:ext uri="{FF2B5EF4-FFF2-40B4-BE49-F238E27FC236}">
                <a16:creationId xmlns:a16="http://schemas.microsoft.com/office/drawing/2014/main" id="{8B436780-2FBE-4508-AFF1-285AACCBF416}"/>
              </a:ext>
            </a:extLst>
          </p:cNvPr>
          <p:cNvSpPr>
            <a:spLocks noGrp="1"/>
          </p:cNvSpPr>
          <p:nvPr>
            <p:ph type="ftr" sz="quarter" idx="11"/>
          </p:nvPr>
        </p:nvSpPr>
        <p:spPr bwMode="gray"/>
        <p:txBody>
          <a:bodyPr/>
          <a:lstStyle/>
          <a:p>
            <a:r>
              <a:rPr lang="de-DE" dirty="0"/>
              <a:t>TITEL DER PRÄSENTATION | TITEL VORNAME NAME</a:t>
            </a:r>
          </a:p>
        </p:txBody>
      </p:sp>
      <p:sp>
        <p:nvSpPr>
          <p:cNvPr id="4" name="Foliennummernplatzhalter 3">
            <a:extLst>
              <a:ext uri="{FF2B5EF4-FFF2-40B4-BE49-F238E27FC236}">
                <a16:creationId xmlns:a16="http://schemas.microsoft.com/office/drawing/2014/main" id="{98E58756-4D45-4AB7-BC13-451E9AA6CB24}"/>
              </a:ext>
            </a:extLst>
          </p:cNvPr>
          <p:cNvSpPr>
            <a:spLocks noGrp="1"/>
          </p:cNvSpPr>
          <p:nvPr>
            <p:ph type="sldNum" sz="quarter" idx="12"/>
          </p:nvPr>
        </p:nvSpPr>
        <p:spPr bwMode="gray"/>
        <p:txBody>
          <a:bodyPr/>
          <a:lstStyle/>
          <a:p>
            <a:fld id="{09E9C37E-8A19-4E30-BE2B-5A966AD23C7A}" type="slidenum">
              <a:rPr lang="de-DE" smtClean="0">
                <a:solidFill>
                  <a:schemeClr val="bg1"/>
                </a:solidFill>
              </a:rPr>
              <a:pPr/>
              <a:t>54</a:t>
            </a:fld>
            <a:endParaRPr lang="de-DE" dirty="0">
              <a:solidFill>
                <a:schemeClr val="bg1"/>
              </a:solidFill>
            </a:endParaRPr>
          </a:p>
        </p:txBody>
      </p:sp>
      <p:sp>
        <p:nvSpPr>
          <p:cNvPr id="20" name="Content Placeholder 10">
            <a:extLst>
              <a:ext uri="{FF2B5EF4-FFF2-40B4-BE49-F238E27FC236}">
                <a16:creationId xmlns:a16="http://schemas.microsoft.com/office/drawing/2014/main" id="{C8B1B182-1F54-42A3-B82C-536213589D1E}"/>
              </a:ext>
            </a:extLst>
          </p:cNvPr>
          <p:cNvSpPr txBox="1">
            <a:spLocks/>
          </p:cNvSpPr>
          <p:nvPr/>
        </p:nvSpPr>
        <p:spPr bwMode="gray">
          <a:xfrm>
            <a:off x="6096000" y="3285075"/>
            <a:ext cx="5472113" cy="2447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p>
          <a:p>
            <a:pPr lvl="1"/>
            <a:r>
              <a:rPr lang="de-DE" dirty="0">
                <a:solidFill>
                  <a:schemeClr val="bg1"/>
                </a:solidFill>
              </a:rPr>
              <a:t>Integer facilisis blandit vestibulum, felis massa laoreet mi, vel venenatis lacus erat quis leo. Donec urna, dapibus et, tincidunt sed, pretium bibendum, nibh. </a:t>
            </a:r>
          </a:p>
          <a:p>
            <a:r>
              <a:rPr lang="de-DE" dirty="0">
                <a:solidFill>
                  <a:schemeClr val="bg1"/>
                </a:solidFill>
              </a:rPr>
              <a:t>Nam velit nisl, mattis ac, fermentum nec, feugiat nec, </a:t>
            </a:r>
            <a:br>
              <a:rPr lang="de-DE" dirty="0">
                <a:solidFill>
                  <a:schemeClr val="bg1"/>
                </a:solidFill>
              </a:rPr>
            </a:br>
            <a:r>
              <a:rPr lang="de-DE" dirty="0">
                <a:solidFill>
                  <a:schemeClr val="bg1"/>
                </a:solidFill>
              </a:rPr>
              <a:t>neque. Ut venenatis mauris ullamcorper velit. </a:t>
            </a:r>
          </a:p>
        </p:txBody>
      </p:sp>
      <p:pic>
        <p:nvPicPr>
          <p:cNvPr id="22" name="Grafik 21">
            <a:extLst>
              <a:ext uri="{FF2B5EF4-FFF2-40B4-BE49-F238E27FC236}">
                <a16:creationId xmlns:a16="http://schemas.microsoft.com/office/drawing/2014/main" id="{6263B16D-5262-44B6-A4D1-C04ABBDBE64E}"/>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bwMode="gray">
          <a:xfrm>
            <a:off x="336000" y="1989000"/>
            <a:ext cx="1008000" cy="1008000"/>
          </a:xfrm>
          <a:prstGeom prst="rect">
            <a:avLst/>
          </a:prstGeom>
          <a:noFill/>
        </p:spPr>
      </p:pic>
      <p:sp>
        <p:nvSpPr>
          <p:cNvPr id="26" name="Content Placeholder 10">
            <a:extLst>
              <a:ext uri="{FF2B5EF4-FFF2-40B4-BE49-F238E27FC236}">
                <a16:creationId xmlns:a16="http://schemas.microsoft.com/office/drawing/2014/main" id="{B7384F69-CEA8-4D85-AD27-3550831061DA}"/>
              </a:ext>
            </a:extLst>
          </p:cNvPr>
          <p:cNvSpPr txBox="1">
            <a:spLocks/>
          </p:cNvSpPr>
          <p:nvPr/>
        </p:nvSpPr>
        <p:spPr bwMode="gray">
          <a:xfrm>
            <a:off x="335887" y="3285075"/>
            <a:ext cx="5472113" cy="2447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a:p>
            <a:pPr lvl="1"/>
            <a:r>
              <a:rPr lang="de-DE" dirty="0"/>
              <a:t>Integer facilisis blandit vestibulum, felis massa laoreet mi, vel venenatis lacus erat quis leo. Donec urna, dapibus et, tincidunt sed, pretium bibendum, nibh. </a:t>
            </a:r>
          </a:p>
          <a:p>
            <a:r>
              <a:rPr lang="de-DE" dirty="0"/>
              <a:t>Nam velit nisl, mattis ac, fermentum nec, feugiat nec, </a:t>
            </a:r>
            <a:br>
              <a:rPr lang="de-DE" dirty="0"/>
            </a:br>
            <a:r>
              <a:rPr lang="de-DE" dirty="0"/>
              <a:t>neque. Ut venenatis mauris ullamcorper velit. </a:t>
            </a:r>
          </a:p>
        </p:txBody>
      </p:sp>
      <p:pic>
        <p:nvPicPr>
          <p:cNvPr id="13" name="Grafik 12">
            <a:extLst>
              <a:ext uri="{FF2B5EF4-FFF2-40B4-BE49-F238E27FC236}">
                <a16:creationId xmlns:a16="http://schemas.microsoft.com/office/drawing/2014/main" id="{BA979406-0F21-A449-BB9A-75AFE4EDCBF8}"/>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bwMode="gray">
          <a:xfrm>
            <a:off x="6096000" y="1989000"/>
            <a:ext cx="1008000" cy="1008000"/>
          </a:xfrm>
          <a:prstGeom prst="rect">
            <a:avLst/>
          </a:prstGeom>
          <a:noFill/>
        </p:spPr>
      </p:pic>
      <p:sp>
        <p:nvSpPr>
          <p:cNvPr id="19462" name="Rectangle 17" hidden="1"/>
          <p:cNvSpPr>
            <a:spLocks noChangeArrowheads="1"/>
          </p:cNvSpPr>
          <p:nvPr>
            <p:custDataLst>
              <p:tags r:id="rId2"/>
            </p:custDataLst>
          </p:nvPr>
        </p:nvSpPr>
        <p:spPr bwMode="gray">
          <a:xfrm>
            <a:off x="1524000" y="0"/>
            <a:ext cx="158750" cy="158750"/>
          </a:xfrm>
          <a:prstGeom prst="rect">
            <a:avLst/>
          </a:prstGeom>
          <a:solidFill>
            <a:schemeClr val="bg2"/>
          </a:solidFill>
          <a:ln w="12700" algn="ctr">
            <a:solidFill>
              <a:schemeClr val="tx1"/>
            </a:solidFill>
            <a:miter lim="800000"/>
            <a:headEnd/>
            <a:tailEnd/>
          </a:ln>
        </p:spPr>
        <p:txBody>
          <a:bodyPr wrap="none" lIns="0" tIns="0" rIns="0" bIns="0" anchor="ctr"/>
          <a:lstStyle/>
          <a:p>
            <a:pPr algn="ctr">
              <a:lnSpc>
                <a:spcPct val="100000"/>
              </a:lnSpc>
              <a:buClrTx/>
              <a:buSzTx/>
              <a:buFontTx/>
              <a:buNone/>
            </a:pPr>
            <a:r>
              <a:rPr lang="de-DE" sz="2200" dirty="0">
                <a:latin typeface="Arial" pitchFamily="34" charset="0"/>
              </a:rPr>
              <a:t> </a:t>
            </a:r>
          </a:p>
        </p:txBody>
      </p:sp>
    </p:spTree>
    <p:extLst>
      <p:ext uri="{BB962C8B-B14F-4D97-AF65-F5344CB8AC3E}">
        <p14:creationId xmlns:p14="http://schemas.microsoft.com/office/powerpoint/2010/main" val="563331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19458" name="Rectangle 2" hidden="1"/>
          <p:cNvGraphicFramePr>
            <a:graphicFrameLocks/>
          </p:cNvGraphicFramePr>
          <p:nvPr>
            <p:custDataLst>
              <p:tags r:id="rId1"/>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Folie" r:id="rId5" imgW="0" imgH="0" progId="TCLayout.ActiveDocument.1">
                  <p:embed/>
                </p:oleObj>
              </mc:Choice>
              <mc:Fallback>
                <p:oleObj name="think-cell Folie" r:id="rId5" imgW="0" imgH="0" progId="TCLayout.ActiveDocument.1">
                  <p:embed/>
                  <p:pic>
                    <p:nvPicPr>
                      <p:cNvPr id="19458"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hteck 8">
            <a:extLst>
              <a:ext uri="{FF2B5EF4-FFF2-40B4-BE49-F238E27FC236}">
                <a16:creationId xmlns:a16="http://schemas.microsoft.com/office/drawing/2014/main" id="{84D89E17-1685-45C7-A5A9-05A7DF17BCD6}"/>
              </a:ext>
            </a:extLst>
          </p:cNvPr>
          <p:cNvSpPr/>
          <p:nvPr/>
        </p:nvSpPr>
        <p:spPr bwMode="gray">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19468" name="Rectangle 15"/>
          <p:cNvSpPr>
            <a:spLocks noGrp="1" noChangeArrowheads="1"/>
          </p:cNvSpPr>
          <p:nvPr>
            <p:ph type="title"/>
          </p:nvPr>
        </p:nvSpPr>
        <p:spPr bwMode="gray"/>
        <p:txBody>
          <a:bodyPr vert="horz"/>
          <a:lstStyle/>
          <a:p>
            <a:r>
              <a:rPr lang="de-DE" dirty="0"/>
              <a:t>Texte mit Icons</a:t>
            </a:r>
          </a:p>
        </p:txBody>
      </p:sp>
      <p:sp>
        <p:nvSpPr>
          <p:cNvPr id="2" name="Datumsplatzhalter 1">
            <a:extLst>
              <a:ext uri="{FF2B5EF4-FFF2-40B4-BE49-F238E27FC236}">
                <a16:creationId xmlns:a16="http://schemas.microsoft.com/office/drawing/2014/main" id="{0ACF8615-B9BD-4215-B1CE-0AADE71F02D5}"/>
              </a:ext>
            </a:extLst>
          </p:cNvPr>
          <p:cNvSpPr>
            <a:spLocks noGrp="1"/>
          </p:cNvSpPr>
          <p:nvPr>
            <p:ph type="dt" sz="half" idx="10"/>
          </p:nvPr>
        </p:nvSpPr>
        <p:spPr bwMode="gray"/>
        <p:txBody>
          <a:bodyPr/>
          <a:lstStyle/>
          <a:p>
            <a:fld id="{B827AF84-4A25-439A-B03D-2EA73BC968BF}" type="datetime1">
              <a:rPr lang="de-DE" smtClean="0">
                <a:solidFill>
                  <a:schemeClr val="bg1"/>
                </a:solidFill>
              </a:rPr>
              <a:t>29.09.25</a:t>
            </a:fld>
            <a:endParaRPr lang="de-DE" dirty="0">
              <a:solidFill>
                <a:schemeClr val="bg1"/>
              </a:solidFill>
            </a:endParaRPr>
          </a:p>
        </p:txBody>
      </p:sp>
      <p:sp>
        <p:nvSpPr>
          <p:cNvPr id="3" name="Fußzeilenplatzhalter 2">
            <a:extLst>
              <a:ext uri="{FF2B5EF4-FFF2-40B4-BE49-F238E27FC236}">
                <a16:creationId xmlns:a16="http://schemas.microsoft.com/office/drawing/2014/main" id="{8B436780-2FBE-4508-AFF1-285AACCBF416}"/>
              </a:ext>
            </a:extLst>
          </p:cNvPr>
          <p:cNvSpPr>
            <a:spLocks noGrp="1"/>
          </p:cNvSpPr>
          <p:nvPr>
            <p:ph type="ftr" sz="quarter" idx="11"/>
          </p:nvPr>
        </p:nvSpPr>
        <p:spPr bwMode="gray"/>
        <p:txBody>
          <a:bodyPr/>
          <a:lstStyle/>
          <a:p>
            <a:r>
              <a:rPr lang="de-DE" dirty="0"/>
              <a:t>TITEL DER PRÄSENTATION | TITEL VORNAME NAME</a:t>
            </a:r>
          </a:p>
        </p:txBody>
      </p:sp>
      <p:sp>
        <p:nvSpPr>
          <p:cNvPr id="4" name="Foliennummernplatzhalter 3">
            <a:extLst>
              <a:ext uri="{FF2B5EF4-FFF2-40B4-BE49-F238E27FC236}">
                <a16:creationId xmlns:a16="http://schemas.microsoft.com/office/drawing/2014/main" id="{98E58756-4D45-4AB7-BC13-451E9AA6CB24}"/>
              </a:ext>
            </a:extLst>
          </p:cNvPr>
          <p:cNvSpPr>
            <a:spLocks noGrp="1"/>
          </p:cNvSpPr>
          <p:nvPr>
            <p:ph type="sldNum" sz="quarter" idx="12"/>
          </p:nvPr>
        </p:nvSpPr>
        <p:spPr bwMode="gray"/>
        <p:txBody>
          <a:bodyPr/>
          <a:lstStyle/>
          <a:p>
            <a:fld id="{09E9C37E-8A19-4E30-BE2B-5A966AD23C7A}" type="slidenum">
              <a:rPr lang="de-DE" smtClean="0">
                <a:solidFill>
                  <a:schemeClr val="bg1"/>
                </a:solidFill>
              </a:rPr>
              <a:pPr/>
              <a:t>55</a:t>
            </a:fld>
            <a:endParaRPr lang="de-DE" dirty="0">
              <a:solidFill>
                <a:schemeClr val="bg1"/>
              </a:solidFill>
            </a:endParaRPr>
          </a:p>
        </p:txBody>
      </p:sp>
      <p:sp>
        <p:nvSpPr>
          <p:cNvPr id="20" name="Content Placeholder 10">
            <a:extLst>
              <a:ext uri="{FF2B5EF4-FFF2-40B4-BE49-F238E27FC236}">
                <a16:creationId xmlns:a16="http://schemas.microsoft.com/office/drawing/2014/main" id="{C8B1B182-1F54-42A3-B82C-536213589D1E}"/>
              </a:ext>
            </a:extLst>
          </p:cNvPr>
          <p:cNvSpPr txBox="1">
            <a:spLocks/>
          </p:cNvSpPr>
          <p:nvPr/>
        </p:nvSpPr>
        <p:spPr bwMode="gray">
          <a:xfrm>
            <a:off x="6096000" y="3285075"/>
            <a:ext cx="5472113" cy="2447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p>
          <a:p>
            <a:pPr lvl="1"/>
            <a:r>
              <a:rPr lang="de-DE" dirty="0">
                <a:solidFill>
                  <a:schemeClr val="bg1"/>
                </a:solidFill>
              </a:rPr>
              <a:t>Integer facilisis blandit vestibulum, felis massa laoreet mi, vel venenatis lacus erat quis leo. Donec urna, dapibus et, tincidunt sed, pretium bibendum, nibh. </a:t>
            </a:r>
          </a:p>
          <a:p>
            <a:r>
              <a:rPr lang="de-DE" dirty="0">
                <a:solidFill>
                  <a:schemeClr val="bg1"/>
                </a:solidFill>
              </a:rPr>
              <a:t>Nam velit nisl, mattis ac, fermentum nec, feugiat nec, </a:t>
            </a:r>
            <a:br>
              <a:rPr lang="de-DE" dirty="0">
                <a:solidFill>
                  <a:schemeClr val="bg1"/>
                </a:solidFill>
              </a:rPr>
            </a:br>
            <a:r>
              <a:rPr lang="de-DE" dirty="0">
                <a:solidFill>
                  <a:schemeClr val="bg1"/>
                </a:solidFill>
              </a:rPr>
              <a:t>neque. Ut venenatis mauris ullamcorper velit. </a:t>
            </a:r>
          </a:p>
        </p:txBody>
      </p:sp>
      <p:pic>
        <p:nvPicPr>
          <p:cNvPr id="22" name="Grafik 21">
            <a:extLst>
              <a:ext uri="{FF2B5EF4-FFF2-40B4-BE49-F238E27FC236}">
                <a16:creationId xmlns:a16="http://schemas.microsoft.com/office/drawing/2014/main" id="{6263B16D-5262-44B6-A4D1-C04ABBDBE64E}"/>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bwMode="gray">
          <a:xfrm>
            <a:off x="336000" y="1989000"/>
            <a:ext cx="1008000" cy="1008000"/>
          </a:xfrm>
          <a:prstGeom prst="rect">
            <a:avLst/>
          </a:prstGeom>
          <a:noFill/>
        </p:spPr>
      </p:pic>
      <p:sp>
        <p:nvSpPr>
          <p:cNvPr id="26" name="Content Placeholder 10">
            <a:extLst>
              <a:ext uri="{FF2B5EF4-FFF2-40B4-BE49-F238E27FC236}">
                <a16:creationId xmlns:a16="http://schemas.microsoft.com/office/drawing/2014/main" id="{B7384F69-CEA8-4D85-AD27-3550831061DA}"/>
              </a:ext>
            </a:extLst>
          </p:cNvPr>
          <p:cNvSpPr txBox="1">
            <a:spLocks/>
          </p:cNvSpPr>
          <p:nvPr/>
        </p:nvSpPr>
        <p:spPr bwMode="gray">
          <a:xfrm>
            <a:off x="335887" y="3285075"/>
            <a:ext cx="5472113" cy="2447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a:p>
            <a:pPr lvl="1"/>
            <a:r>
              <a:rPr lang="de-DE" dirty="0"/>
              <a:t>Integer facilisis blandit vestibulum, felis massa laoreet mi, vel venenatis lacus erat quis leo. Donec urna, dapibus et, tincidunt sed, pretium bibendum, nibh. </a:t>
            </a:r>
          </a:p>
          <a:p>
            <a:r>
              <a:rPr lang="de-DE" dirty="0"/>
              <a:t>Nam velit nisl, mattis ac, fermentum nec, feugiat nec, </a:t>
            </a:r>
            <a:br>
              <a:rPr lang="de-DE" dirty="0"/>
            </a:br>
            <a:r>
              <a:rPr lang="de-DE" dirty="0"/>
              <a:t>neque. Ut venenatis mauris ullamcorper velit. </a:t>
            </a:r>
          </a:p>
        </p:txBody>
      </p:sp>
      <p:pic>
        <p:nvPicPr>
          <p:cNvPr id="13" name="Grafik 12">
            <a:extLst>
              <a:ext uri="{FF2B5EF4-FFF2-40B4-BE49-F238E27FC236}">
                <a16:creationId xmlns:a16="http://schemas.microsoft.com/office/drawing/2014/main" id="{BA979406-0F21-A449-BB9A-75AFE4EDCBF8}"/>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bwMode="gray">
          <a:xfrm>
            <a:off x="6096000" y="1989000"/>
            <a:ext cx="1008000" cy="1008000"/>
          </a:xfrm>
          <a:prstGeom prst="rect">
            <a:avLst/>
          </a:prstGeom>
          <a:noFill/>
        </p:spPr>
      </p:pic>
      <p:sp>
        <p:nvSpPr>
          <p:cNvPr id="19462" name="Rectangle 17" hidden="1"/>
          <p:cNvSpPr>
            <a:spLocks noChangeArrowheads="1"/>
          </p:cNvSpPr>
          <p:nvPr>
            <p:custDataLst>
              <p:tags r:id="rId2"/>
            </p:custDataLst>
          </p:nvPr>
        </p:nvSpPr>
        <p:spPr bwMode="gray">
          <a:xfrm>
            <a:off x="1524000" y="0"/>
            <a:ext cx="158750" cy="158750"/>
          </a:xfrm>
          <a:prstGeom prst="rect">
            <a:avLst/>
          </a:prstGeom>
          <a:solidFill>
            <a:schemeClr val="bg2"/>
          </a:solidFill>
          <a:ln w="12700" algn="ctr">
            <a:solidFill>
              <a:schemeClr val="tx1"/>
            </a:solidFill>
            <a:miter lim="800000"/>
            <a:headEnd/>
            <a:tailEnd/>
          </a:ln>
        </p:spPr>
        <p:txBody>
          <a:bodyPr wrap="none" lIns="0" tIns="0" rIns="0" bIns="0" anchor="ctr"/>
          <a:lstStyle/>
          <a:p>
            <a:pPr algn="ctr">
              <a:lnSpc>
                <a:spcPct val="100000"/>
              </a:lnSpc>
              <a:buClrTx/>
              <a:buSzTx/>
              <a:buFontTx/>
              <a:buNone/>
            </a:pPr>
            <a:r>
              <a:rPr lang="de-DE" sz="2200" dirty="0">
                <a:latin typeface="Arial" pitchFamily="34" charset="0"/>
              </a:rPr>
              <a:t> </a:t>
            </a:r>
          </a:p>
        </p:txBody>
      </p:sp>
    </p:spTree>
    <p:extLst>
      <p:ext uri="{BB962C8B-B14F-4D97-AF65-F5344CB8AC3E}">
        <p14:creationId xmlns:p14="http://schemas.microsoft.com/office/powerpoint/2010/main" val="412433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8" name="Rectangle 2" hidden="1"/>
          <p:cNvGraphicFramePr>
            <a:graphicFrameLocks/>
          </p:cNvGraphicFramePr>
          <p:nvPr>
            <p:custDataLst>
              <p:tags r:id="rId1"/>
            </p:custDataLst>
            <p:extLst>
              <p:ext uri="{D42A27DB-BD31-4B8C-83A1-F6EECF244321}">
                <p14:modId xmlns:p14="http://schemas.microsoft.com/office/powerpoint/2010/main" val="1212320863"/>
              </p:ext>
            </p:ext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Folie" r:id="rId5" imgW="0" imgH="0" progId="TCLayout.ActiveDocument.1">
                  <p:embed/>
                </p:oleObj>
              </mc:Choice>
              <mc:Fallback>
                <p:oleObj name="think-cell Folie" r:id="rId5" imgW="0" imgH="0" progId="TCLayout.ActiveDocument.1">
                  <p:embed/>
                  <p:pic>
                    <p:nvPicPr>
                      <p:cNvPr id="19458"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462" name="Rectangle 17" hidden="1"/>
          <p:cNvSpPr>
            <a:spLocks noChangeArrowheads="1"/>
          </p:cNvSpPr>
          <p:nvPr>
            <p:custDataLst>
              <p:tags r:id="rId2"/>
            </p:custDataLst>
          </p:nvPr>
        </p:nvSpPr>
        <p:spPr bwMode="gray">
          <a:xfrm>
            <a:off x="1524000" y="0"/>
            <a:ext cx="158750" cy="158750"/>
          </a:xfrm>
          <a:prstGeom prst="rect">
            <a:avLst/>
          </a:prstGeom>
          <a:solidFill>
            <a:schemeClr val="bg2"/>
          </a:solidFill>
          <a:ln w="12700" algn="ctr">
            <a:solidFill>
              <a:schemeClr val="tx1"/>
            </a:solidFill>
            <a:miter lim="800000"/>
            <a:headEnd/>
            <a:tailEnd/>
          </a:ln>
        </p:spPr>
        <p:txBody>
          <a:bodyPr wrap="none" lIns="0" tIns="0" rIns="0" bIns="0" anchor="ctr"/>
          <a:lstStyle/>
          <a:p>
            <a:pPr algn="ctr">
              <a:lnSpc>
                <a:spcPct val="100000"/>
              </a:lnSpc>
              <a:buClrTx/>
              <a:buSzTx/>
              <a:buFontTx/>
              <a:buNone/>
            </a:pPr>
            <a:r>
              <a:rPr lang="de-DE" sz="2200" dirty="0">
                <a:latin typeface="Arial" pitchFamily="34" charset="0"/>
              </a:rPr>
              <a:t> </a:t>
            </a:r>
          </a:p>
        </p:txBody>
      </p:sp>
      <p:sp>
        <p:nvSpPr>
          <p:cNvPr id="19468" name="Rectangle 15"/>
          <p:cNvSpPr>
            <a:spLocks noGrp="1" noChangeArrowheads="1"/>
          </p:cNvSpPr>
          <p:nvPr>
            <p:ph type="title"/>
          </p:nvPr>
        </p:nvSpPr>
        <p:spPr bwMode="gray"/>
        <p:txBody>
          <a:bodyPr vert="horz"/>
          <a:lstStyle/>
          <a:p>
            <a:r>
              <a:rPr lang="de-DE" dirty="0"/>
              <a:t>Texte mit Icons</a:t>
            </a:r>
          </a:p>
        </p:txBody>
      </p:sp>
      <p:sp>
        <p:nvSpPr>
          <p:cNvPr id="2" name="Datumsplatzhalter 1">
            <a:extLst>
              <a:ext uri="{FF2B5EF4-FFF2-40B4-BE49-F238E27FC236}">
                <a16:creationId xmlns:a16="http://schemas.microsoft.com/office/drawing/2014/main" id="{53705B1F-1CCE-467C-8ECE-F01F522DE6A6}"/>
              </a:ext>
            </a:extLst>
          </p:cNvPr>
          <p:cNvSpPr>
            <a:spLocks noGrp="1"/>
          </p:cNvSpPr>
          <p:nvPr>
            <p:ph type="dt" sz="half" idx="10"/>
          </p:nvPr>
        </p:nvSpPr>
        <p:spPr bwMode="gray"/>
        <p:txBody>
          <a:bodyPr/>
          <a:lstStyle/>
          <a:p>
            <a:fld id="{D0E70645-3C44-41AC-8D85-86CCA4B55AA9}" type="datetime1">
              <a:rPr lang="de-DE" smtClean="0"/>
              <a:t>29.09.25</a:t>
            </a:fld>
            <a:endParaRPr lang="de-DE" dirty="0"/>
          </a:p>
        </p:txBody>
      </p:sp>
      <p:sp>
        <p:nvSpPr>
          <p:cNvPr id="3" name="Fußzeilenplatzhalter 2">
            <a:extLst>
              <a:ext uri="{FF2B5EF4-FFF2-40B4-BE49-F238E27FC236}">
                <a16:creationId xmlns:a16="http://schemas.microsoft.com/office/drawing/2014/main" id="{1CD11820-54FF-4BEA-A212-D517825DFD37}"/>
              </a:ext>
            </a:extLst>
          </p:cNvPr>
          <p:cNvSpPr>
            <a:spLocks noGrp="1"/>
          </p:cNvSpPr>
          <p:nvPr>
            <p:ph type="ftr" sz="quarter" idx="11"/>
          </p:nvPr>
        </p:nvSpPr>
        <p:spPr bwMode="gray"/>
        <p:txBody>
          <a:bodyPr/>
          <a:lstStyle/>
          <a:p>
            <a:r>
              <a:rPr lang="de-DE" dirty="0"/>
              <a:t>TITEL DER PRÄSENTATION | TITEL VORNAME NAME</a:t>
            </a:r>
          </a:p>
        </p:txBody>
      </p:sp>
      <p:sp>
        <p:nvSpPr>
          <p:cNvPr id="4" name="Foliennummernplatzhalter 3">
            <a:extLst>
              <a:ext uri="{FF2B5EF4-FFF2-40B4-BE49-F238E27FC236}">
                <a16:creationId xmlns:a16="http://schemas.microsoft.com/office/drawing/2014/main" id="{7F1AB5D8-59AE-4ED4-AEE8-E61145FB3D7A}"/>
              </a:ext>
            </a:extLst>
          </p:cNvPr>
          <p:cNvSpPr>
            <a:spLocks noGrp="1"/>
          </p:cNvSpPr>
          <p:nvPr>
            <p:ph type="sldNum" sz="quarter" idx="12"/>
          </p:nvPr>
        </p:nvSpPr>
        <p:spPr bwMode="gray"/>
        <p:txBody>
          <a:bodyPr/>
          <a:lstStyle/>
          <a:p>
            <a:fld id="{09E9C37E-8A19-4E30-BE2B-5A966AD23C7A}" type="slidenum">
              <a:rPr lang="de-DE" smtClean="0"/>
              <a:pPr/>
              <a:t>56</a:t>
            </a:fld>
            <a:endParaRPr lang="de-DE" dirty="0"/>
          </a:p>
        </p:txBody>
      </p:sp>
      <p:sp>
        <p:nvSpPr>
          <p:cNvPr id="41" name="Content Placeholder 10">
            <a:extLst>
              <a:ext uri="{FF2B5EF4-FFF2-40B4-BE49-F238E27FC236}">
                <a16:creationId xmlns:a16="http://schemas.microsoft.com/office/drawing/2014/main" id="{14C8E7F1-67A5-4799-ADBF-D1A7B5D5632B}"/>
              </a:ext>
            </a:extLst>
          </p:cNvPr>
          <p:cNvSpPr txBox="1">
            <a:spLocks/>
          </p:cNvSpPr>
          <p:nvPr/>
        </p:nvSpPr>
        <p:spPr bwMode="gray">
          <a:xfrm>
            <a:off x="8040688" y="3285075"/>
            <a:ext cx="3527425" cy="2447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a:p>
            <a:pPr lvl="1"/>
            <a:r>
              <a:rPr lang="de-DE" dirty="0"/>
              <a:t>Integer facilisis blandit vestibulum, felis massa laoreet mi, vel venena-tis lacus erat quis leo. Donec urna, dapibus et, tincidunt sed, pretium bibendum, nibh. </a:t>
            </a:r>
          </a:p>
          <a:p>
            <a:pPr lvl="1"/>
            <a:r>
              <a:rPr lang="de-DE" dirty="0"/>
              <a:t>Nam velit nisl, mattis ac, fermen-tum nec, feugiat nec, neque. </a:t>
            </a:r>
          </a:p>
        </p:txBody>
      </p:sp>
      <p:sp>
        <p:nvSpPr>
          <p:cNvPr id="42" name="Content Placeholder 10">
            <a:extLst>
              <a:ext uri="{FF2B5EF4-FFF2-40B4-BE49-F238E27FC236}">
                <a16:creationId xmlns:a16="http://schemas.microsoft.com/office/drawing/2014/main" id="{D63AF2BA-0502-48BF-A552-32BC8D6C52FC}"/>
              </a:ext>
            </a:extLst>
          </p:cNvPr>
          <p:cNvSpPr txBox="1">
            <a:spLocks/>
          </p:cNvSpPr>
          <p:nvPr/>
        </p:nvSpPr>
        <p:spPr bwMode="gray">
          <a:xfrm>
            <a:off x="335888" y="3285075"/>
            <a:ext cx="3528088" cy="2447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a:p>
            <a:pPr lvl="1"/>
            <a:r>
              <a:rPr lang="de-DE" dirty="0"/>
              <a:t>Integer facilisis blandit vestibulum, felis massa laoreet mi, vel venena-tis lacus erat quis leo. Donec urna, dapibus et, tincidunt sed, pretium bibendum, nibh. </a:t>
            </a:r>
          </a:p>
          <a:p>
            <a:pPr lvl="1"/>
            <a:r>
              <a:rPr lang="de-DE" dirty="0"/>
              <a:t>Nam velit nisl, mattis ac, fermen-tum nec, feugiat nec, neque. </a:t>
            </a:r>
          </a:p>
        </p:txBody>
      </p:sp>
      <p:sp>
        <p:nvSpPr>
          <p:cNvPr id="43" name="Content Placeholder 10">
            <a:extLst>
              <a:ext uri="{FF2B5EF4-FFF2-40B4-BE49-F238E27FC236}">
                <a16:creationId xmlns:a16="http://schemas.microsoft.com/office/drawing/2014/main" id="{B06DE651-953C-42E3-A96C-76EF2DD0F1C0}"/>
              </a:ext>
            </a:extLst>
          </p:cNvPr>
          <p:cNvSpPr txBox="1">
            <a:spLocks/>
          </p:cNvSpPr>
          <p:nvPr/>
        </p:nvSpPr>
        <p:spPr bwMode="gray">
          <a:xfrm>
            <a:off x="4151313" y="3285075"/>
            <a:ext cx="3600000" cy="2447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a:p>
            <a:pPr lvl="1"/>
            <a:r>
              <a:rPr lang="de-DE" dirty="0"/>
              <a:t>Integer facilisis blandit vestibulum, felis massa laoreet mi, vel venena-tis lacus erat quis leo. Donec urna, dapibus et, tincidunt sed, pretium bibendum, nibh. </a:t>
            </a:r>
          </a:p>
          <a:p>
            <a:pPr lvl="1"/>
            <a:r>
              <a:rPr lang="de-DE" dirty="0"/>
              <a:t>Nam velit nisl, mattis ac, fermen-tum nec, feugiat nec, neque. </a:t>
            </a:r>
          </a:p>
        </p:txBody>
      </p:sp>
      <p:pic>
        <p:nvPicPr>
          <p:cNvPr id="44" name="Grafik 43">
            <a:extLst>
              <a:ext uri="{FF2B5EF4-FFF2-40B4-BE49-F238E27FC236}">
                <a16:creationId xmlns:a16="http://schemas.microsoft.com/office/drawing/2014/main" id="{8E9A58F6-6F60-41CA-9475-726B07469AFC}"/>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bwMode="gray">
          <a:xfrm>
            <a:off x="336000" y="1989000"/>
            <a:ext cx="1008000" cy="1008000"/>
          </a:xfrm>
          <a:prstGeom prst="rect">
            <a:avLst/>
          </a:prstGeom>
          <a:noFill/>
        </p:spPr>
      </p:pic>
      <p:pic>
        <p:nvPicPr>
          <p:cNvPr id="45" name="Grafik 44">
            <a:extLst>
              <a:ext uri="{FF2B5EF4-FFF2-40B4-BE49-F238E27FC236}">
                <a16:creationId xmlns:a16="http://schemas.microsoft.com/office/drawing/2014/main" id="{AD6FAD05-67ED-4C6E-8113-915224AF70C0}"/>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bwMode="gray">
          <a:xfrm>
            <a:off x="4151313" y="1989000"/>
            <a:ext cx="1008000" cy="1008000"/>
          </a:xfrm>
          <a:prstGeom prst="rect">
            <a:avLst/>
          </a:prstGeom>
          <a:noFill/>
        </p:spPr>
      </p:pic>
      <p:pic>
        <p:nvPicPr>
          <p:cNvPr id="46" name="Grafik 45">
            <a:extLst>
              <a:ext uri="{FF2B5EF4-FFF2-40B4-BE49-F238E27FC236}">
                <a16:creationId xmlns:a16="http://schemas.microsoft.com/office/drawing/2014/main" id="{813E7698-D3B4-4C5C-B4F6-16E2D6320F06}"/>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bwMode="gray">
          <a:xfrm>
            <a:off x="8040688" y="1989000"/>
            <a:ext cx="1008000" cy="1008000"/>
          </a:xfrm>
          <a:prstGeom prst="rect">
            <a:avLst/>
          </a:prstGeom>
          <a:noFill/>
        </p:spPr>
      </p:pic>
    </p:spTree>
    <p:extLst>
      <p:ext uri="{BB962C8B-B14F-4D97-AF65-F5344CB8AC3E}">
        <p14:creationId xmlns:p14="http://schemas.microsoft.com/office/powerpoint/2010/main" val="3849017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19458" name="Rectangle 2" hidden="1"/>
          <p:cNvGraphicFramePr>
            <a:graphicFrameLocks/>
          </p:cNvGraphicFramePr>
          <p:nvPr>
            <p:custDataLst>
              <p:tags r:id="rId1"/>
            </p:custDataLst>
            <p:extLst>
              <p:ext uri="{D42A27DB-BD31-4B8C-83A1-F6EECF244321}">
                <p14:modId xmlns:p14="http://schemas.microsoft.com/office/powerpoint/2010/main" val="673067673"/>
              </p:ext>
            </p:ext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Folie" r:id="rId5" imgW="0" imgH="0" progId="TCLayout.ActiveDocument.1">
                  <p:embed/>
                </p:oleObj>
              </mc:Choice>
              <mc:Fallback>
                <p:oleObj name="think-cell Folie" r:id="rId5" imgW="0" imgH="0" progId="TCLayout.ActiveDocument.1">
                  <p:embed/>
                  <p:pic>
                    <p:nvPicPr>
                      <p:cNvPr id="19458"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hteck 10">
            <a:extLst>
              <a:ext uri="{FF2B5EF4-FFF2-40B4-BE49-F238E27FC236}">
                <a16:creationId xmlns:a16="http://schemas.microsoft.com/office/drawing/2014/main" id="{6157B90B-A7CC-4D03-9831-92449536E057}"/>
              </a:ext>
            </a:extLst>
          </p:cNvPr>
          <p:cNvSpPr/>
          <p:nvPr/>
        </p:nvSpPr>
        <p:spPr bwMode="gray">
          <a:xfrm>
            <a:off x="0" y="0"/>
            <a:ext cx="41513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13" name="Rechteck 12">
            <a:extLst>
              <a:ext uri="{FF2B5EF4-FFF2-40B4-BE49-F238E27FC236}">
                <a16:creationId xmlns:a16="http://schemas.microsoft.com/office/drawing/2014/main" id="{6043BEC9-C17F-46C9-ACAC-55432F0CA1EC}"/>
              </a:ext>
            </a:extLst>
          </p:cNvPr>
          <p:cNvSpPr/>
          <p:nvPr/>
        </p:nvSpPr>
        <p:spPr bwMode="gray">
          <a:xfrm>
            <a:off x="8040687" y="0"/>
            <a:ext cx="41513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19462" name="Rectangle 17" hidden="1"/>
          <p:cNvSpPr>
            <a:spLocks noChangeArrowheads="1"/>
          </p:cNvSpPr>
          <p:nvPr>
            <p:custDataLst>
              <p:tags r:id="rId2"/>
            </p:custDataLst>
          </p:nvPr>
        </p:nvSpPr>
        <p:spPr bwMode="gray">
          <a:xfrm>
            <a:off x="1524000" y="0"/>
            <a:ext cx="158750" cy="158750"/>
          </a:xfrm>
          <a:prstGeom prst="rect">
            <a:avLst/>
          </a:prstGeom>
          <a:solidFill>
            <a:schemeClr val="bg2"/>
          </a:solidFill>
          <a:ln w="12700" algn="ctr">
            <a:solidFill>
              <a:schemeClr val="tx1"/>
            </a:solidFill>
            <a:miter lim="800000"/>
            <a:headEnd/>
            <a:tailEnd/>
          </a:ln>
        </p:spPr>
        <p:txBody>
          <a:bodyPr wrap="none" lIns="0" tIns="0" rIns="0" bIns="0" anchor="ctr"/>
          <a:lstStyle/>
          <a:p>
            <a:pPr algn="ctr">
              <a:lnSpc>
                <a:spcPct val="100000"/>
              </a:lnSpc>
              <a:buClrTx/>
              <a:buSzTx/>
              <a:buFontTx/>
              <a:buNone/>
            </a:pPr>
            <a:r>
              <a:rPr lang="de-DE" sz="2200" dirty="0">
                <a:latin typeface="Arial" pitchFamily="34" charset="0"/>
              </a:rPr>
              <a:t> </a:t>
            </a:r>
          </a:p>
        </p:txBody>
      </p:sp>
      <p:sp>
        <p:nvSpPr>
          <p:cNvPr id="19468" name="Rectangle 15"/>
          <p:cNvSpPr>
            <a:spLocks noGrp="1" noChangeArrowheads="1"/>
          </p:cNvSpPr>
          <p:nvPr>
            <p:ph type="title"/>
          </p:nvPr>
        </p:nvSpPr>
        <p:spPr bwMode="gray"/>
        <p:txBody>
          <a:bodyPr vert="horz"/>
          <a:lstStyle/>
          <a:p>
            <a:r>
              <a:rPr lang="de-DE" dirty="0"/>
              <a:t>Texte mit Icons</a:t>
            </a:r>
          </a:p>
        </p:txBody>
      </p:sp>
      <p:sp>
        <p:nvSpPr>
          <p:cNvPr id="2" name="Datumsplatzhalter 1">
            <a:extLst>
              <a:ext uri="{FF2B5EF4-FFF2-40B4-BE49-F238E27FC236}">
                <a16:creationId xmlns:a16="http://schemas.microsoft.com/office/drawing/2014/main" id="{511C4C10-F5E0-45B1-B920-A8603D041390}"/>
              </a:ext>
            </a:extLst>
          </p:cNvPr>
          <p:cNvSpPr>
            <a:spLocks noGrp="1"/>
          </p:cNvSpPr>
          <p:nvPr>
            <p:ph type="dt" sz="half" idx="10"/>
          </p:nvPr>
        </p:nvSpPr>
        <p:spPr bwMode="gray"/>
        <p:txBody>
          <a:bodyPr/>
          <a:lstStyle/>
          <a:p>
            <a:fld id="{475DEFEB-0DC3-4498-8EC0-1AD04245C60E}" type="datetime1">
              <a:rPr lang="de-DE" smtClean="0"/>
              <a:t>29.09.25</a:t>
            </a:fld>
            <a:endParaRPr lang="de-DE" dirty="0"/>
          </a:p>
        </p:txBody>
      </p:sp>
      <p:sp>
        <p:nvSpPr>
          <p:cNvPr id="3" name="Fußzeilenplatzhalter 2">
            <a:extLst>
              <a:ext uri="{FF2B5EF4-FFF2-40B4-BE49-F238E27FC236}">
                <a16:creationId xmlns:a16="http://schemas.microsoft.com/office/drawing/2014/main" id="{C25788A6-E6C1-4D83-878F-7E8A9C1D656E}"/>
              </a:ext>
            </a:extLst>
          </p:cNvPr>
          <p:cNvSpPr>
            <a:spLocks noGrp="1"/>
          </p:cNvSpPr>
          <p:nvPr>
            <p:ph type="ftr" sz="quarter" idx="11"/>
          </p:nvPr>
        </p:nvSpPr>
        <p:spPr bwMode="gray"/>
        <p:txBody>
          <a:bodyPr/>
          <a:lstStyle/>
          <a:p>
            <a:r>
              <a:rPr lang="de-DE" dirty="0"/>
              <a:t>TITEL DER PRÄSENTATION | TITEL VORNAME NAME</a:t>
            </a:r>
          </a:p>
        </p:txBody>
      </p:sp>
      <p:sp>
        <p:nvSpPr>
          <p:cNvPr id="4" name="Foliennummernplatzhalter 3">
            <a:extLst>
              <a:ext uri="{FF2B5EF4-FFF2-40B4-BE49-F238E27FC236}">
                <a16:creationId xmlns:a16="http://schemas.microsoft.com/office/drawing/2014/main" id="{B7DC8079-9B87-4073-AE5B-2F533C83DC4F}"/>
              </a:ext>
            </a:extLst>
          </p:cNvPr>
          <p:cNvSpPr>
            <a:spLocks noGrp="1"/>
          </p:cNvSpPr>
          <p:nvPr>
            <p:ph type="sldNum" sz="quarter" idx="12"/>
          </p:nvPr>
        </p:nvSpPr>
        <p:spPr bwMode="gray"/>
        <p:txBody>
          <a:bodyPr/>
          <a:lstStyle/>
          <a:p>
            <a:fld id="{09E9C37E-8A19-4E30-BE2B-5A966AD23C7A}" type="slidenum">
              <a:rPr lang="de-DE" smtClean="0"/>
              <a:pPr/>
              <a:t>57</a:t>
            </a:fld>
            <a:endParaRPr lang="de-DE" dirty="0"/>
          </a:p>
        </p:txBody>
      </p:sp>
      <p:sp>
        <p:nvSpPr>
          <p:cNvPr id="41" name="Content Placeholder 10">
            <a:extLst>
              <a:ext uri="{FF2B5EF4-FFF2-40B4-BE49-F238E27FC236}">
                <a16:creationId xmlns:a16="http://schemas.microsoft.com/office/drawing/2014/main" id="{14C8E7F1-67A5-4799-ADBF-D1A7B5D5632B}"/>
              </a:ext>
            </a:extLst>
          </p:cNvPr>
          <p:cNvSpPr txBox="1">
            <a:spLocks/>
          </p:cNvSpPr>
          <p:nvPr/>
        </p:nvSpPr>
        <p:spPr bwMode="gray">
          <a:xfrm>
            <a:off x="8040688" y="3285075"/>
            <a:ext cx="3527425" cy="2447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a:p>
            <a:pPr lvl="1"/>
            <a:r>
              <a:rPr lang="de-DE" dirty="0"/>
              <a:t>Integer facilisis blandit vestibulum, felis massa laoreet mi, vel venena-tis lacus erat quis leo. Donec urna, dapibus et, tincidunt sed, pretium bibendum, nibh. </a:t>
            </a:r>
          </a:p>
          <a:p>
            <a:pPr lvl="1"/>
            <a:r>
              <a:rPr lang="de-DE" dirty="0"/>
              <a:t>Nam velit nisl, mattis ac, fermen-tum nec, feugiat nec, neque. </a:t>
            </a:r>
          </a:p>
        </p:txBody>
      </p:sp>
      <p:sp>
        <p:nvSpPr>
          <p:cNvPr id="42" name="Content Placeholder 10">
            <a:extLst>
              <a:ext uri="{FF2B5EF4-FFF2-40B4-BE49-F238E27FC236}">
                <a16:creationId xmlns:a16="http://schemas.microsoft.com/office/drawing/2014/main" id="{D63AF2BA-0502-48BF-A552-32BC8D6C52FC}"/>
              </a:ext>
            </a:extLst>
          </p:cNvPr>
          <p:cNvSpPr txBox="1">
            <a:spLocks/>
          </p:cNvSpPr>
          <p:nvPr/>
        </p:nvSpPr>
        <p:spPr bwMode="gray">
          <a:xfrm>
            <a:off x="335888" y="3285075"/>
            <a:ext cx="3528088" cy="2447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a:p>
            <a:pPr lvl="1"/>
            <a:r>
              <a:rPr lang="de-DE" dirty="0"/>
              <a:t>Integer facilisis blandit vestibulum, felis massa laoreet mi, vel venena-tis lacus erat quis leo. Donec urna, dapibus et, tincidunt sed, pretium bibendum, nibh. </a:t>
            </a:r>
          </a:p>
          <a:p>
            <a:pPr lvl="1"/>
            <a:r>
              <a:rPr lang="de-DE" dirty="0"/>
              <a:t>Nam velit nisl, mattis ac, fermen-tum nec, feugiat nec, neque. </a:t>
            </a:r>
          </a:p>
        </p:txBody>
      </p:sp>
      <p:sp>
        <p:nvSpPr>
          <p:cNvPr id="43" name="Content Placeholder 10">
            <a:extLst>
              <a:ext uri="{FF2B5EF4-FFF2-40B4-BE49-F238E27FC236}">
                <a16:creationId xmlns:a16="http://schemas.microsoft.com/office/drawing/2014/main" id="{B06DE651-953C-42E3-A96C-76EF2DD0F1C0}"/>
              </a:ext>
            </a:extLst>
          </p:cNvPr>
          <p:cNvSpPr txBox="1">
            <a:spLocks/>
          </p:cNvSpPr>
          <p:nvPr/>
        </p:nvSpPr>
        <p:spPr bwMode="gray">
          <a:xfrm>
            <a:off x="4151313" y="3285075"/>
            <a:ext cx="3600000" cy="2447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p>
          <a:p>
            <a:pPr lvl="1"/>
            <a:r>
              <a:rPr lang="de-DE" dirty="0">
                <a:solidFill>
                  <a:schemeClr val="bg1"/>
                </a:solidFill>
              </a:rPr>
              <a:t>Integer facilisis blandit vestibulum, felis massa laoreet mi, vel venena-tis lacus erat quis leo. Donec urna, dapibus et, tincidunt sed, pretium bibendum, nibh. </a:t>
            </a:r>
          </a:p>
          <a:p>
            <a:pPr lvl="1"/>
            <a:r>
              <a:rPr lang="de-DE" dirty="0">
                <a:solidFill>
                  <a:schemeClr val="bg1"/>
                </a:solidFill>
              </a:rPr>
              <a:t>Nam velit nisl, mattis ac, fermen-tum nec, feugiat nec, neque. </a:t>
            </a:r>
          </a:p>
        </p:txBody>
      </p:sp>
      <p:pic>
        <p:nvPicPr>
          <p:cNvPr id="44" name="Grafik 43">
            <a:extLst>
              <a:ext uri="{FF2B5EF4-FFF2-40B4-BE49-F238E27FC236}">
                <a16:creationId xmlns:a16="http://schemas.microsoft.com/office/drawing/2014/main" id="{8E9A58F6-6F60-41CA-9475-726B07469AFC}"/>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bwMode="gray">
          <a:xfrm>
            <a:off x="336000" y="1989000"/>
            <a:ext cx="1008000" cy="1008000"/>
          </a:xfrm>
          <a:prstGeom prst="rect">
            <a:avLst/>
          </a:prstGeom>
          <a:noFill/>
        </p:spPr>
      </p:pic>
      <p:pic>
        <p:nvPicPr>
          <p:cNvPr id="46" name="Grafik 45">
            <a:extLst>
              <a:ext uri="{FF2B5EF4-FFF2-40B4-BE49-F238E27FC236}">
                <a16:creationId xmlns:a16="http://schemas.microsoft.com/office/drawing/2014/main" id="{813E7698-D3B4-4C5C-B4F6-16E2D6320F06}"/>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bwMode="gray">
          <a:xfrm>
            <a:off x="8040688" y="1989000"/>
            <a:ext cx="1008000" cy="1008000"/>
          </a:xfrm>
          <a:prstGeom prst="rect">
            <a:avLst/>
          </a:prstGeom>
          <a:noFill/>
        </p:spPr>
      </p:pic>
      <p:grpSp>
        <p:nvGrpSpPr>
          <p:cNvPr id="16" name="Graphic 3">
            <a:extLst>
              <a:ext uri="{FF2B5EF4-FFF2-40B4-BE49-F238E27FC236}">
                <a16:creationId xmlns:a16="http://schemas.microsoft.com/office/drawing/2014/main" id="{E78D19AD-88F5-44EE-A08C-FE1D65AB8B36}"/>
              </a:ext>
            </a:extLst>
          </p:cNvPr>
          <p:cNvGrpSpPr>
            <a:grpSpLocks noChangeAspect="1"/>
          </p:cNvGrpSpPr>
          <p:nvPr/>
        </p:nvGrpSpPr>
        <p:grpSpPr bwMode="gray">
          <a:xfrm>
            <a:off x="9479450" y="0"/>
            <a:ext cx="2376000" cy="1129503"/>
            <a:chOff x="0" y="531083"/>
            <a:chExt cx="12192000" cy="5795833"/>
          </a:xfrm>
        </p:grpSpPr>
        <p:sp>
          <p:nvSpPr>
            <p:cNvPr id="17" name="Freeform: Shape 82">
              <a:extLst>
                <a:ext uri="{FF2B5EF4-FFF2-40B4-BE49-F238E27FC236}">
                  <a16:creationId xmlns:a16="http://schemas.microsoft.com/office/drawing/2014/main" id="{37D154A4-9C69-4676-B1A2-8C93BB7AA596}"/>
                </a:ext>
              </a:extLst>
            </p:cNvPr>
            <p:cNvSpPr/>
            <p:nvPr/>
          </p:nvSpPr>
          <p:spPr bwMode="gray">
            <a:xfrm>
              <a:off x="0" y="531083"/>
              <a:ext cx="12191569" cy="5795676"/>
            </a:xfrm>
            <a:custGeom>
              <a:avLst/>
              <a:gdLst>
                <a:gd name="connsiteX0" fmla="*/ 0 w 12191569"/>
                <a:gd name="connsiteY0" fmla="*/ 0 h 5795676"/>
                <a:gd name="connsiteX1" fmla="*/ 12191569 w 12191569"/>
                <a:gd name="connsiteY1" fmla="*/ 0 h 5795676"/>
                <a:gd name="connsiteX2" fmla="*/ 12191569 w 12191569"/>
                <a:gd name="connsiteY2" fmla="*/ 5795676 h 5795676"/>
                <a:gd name="connsiteX3" fmla="*/ 0 w 12191569"/>
                <a:gd name="connsiteY3" fmla="*/ 5795676 h 5795676"/>
              </a:gdLst>
              <a:ahLst/>
              <a:cxnLst>
                <a:cxn ang="0">
                  <a:pos x="connsiteX0" y="connsiteY0"/>
                </a:cxn>
                <a:cxn ang="0">
                  <a:pos x="connsiteX1" y="connsiteY1"/>
                </a:cxn>
                <a:cxn ang="0">
                  <a:pos x="connsiteX2" y="connsiteY2"/>
                </a:cxn>
                <a:cxn ang="0">
                  <a:pos x="connsiteX3" y="connsiteY3"/>
                </a:cxn>
              </a:cxnLst>
              <a:rect l="l" t="t" r="r" b="b"/>
              <a:pathLst>
                <a:path w="12191569" h="5795676">
                  <a:moveTo>
                    <a:pt x="0" y="0"/>
                  </a:moveTo>
                  <a:lnTo>
                    <a:pt x="12191569" y="0"/>
                  </a:lnTo>
                  <a:lnTo>
                    <a:pt x="12191569" y="5795676"/>
                  </a:lnTo>
                  <a:lnTo>
                    <a:pt x="0" y="5795676"/>
                  </a:lnTo>
                  <a:close/>
                </a:path>
              </a:pathLst>
            </a:custGeom>
            <a:solidFill>
              <a:srgbClr val="FFFFFF"/>
            </a:solidFill>
            <a:ln w="1305" cap="flat">
              <a:noFill/>
              <a:prstDash val="solid"/>
              <a:miter/>
            </a:ln>
          </p:spPr>
          <p:txBody>
            <a:bodyPr rtlCol="0" anchor="ctr"/>
            <a:lstStyle/>
            <a:p>
              <a:endParaRPr lang="de-DE" dirty="0"/>
            </a:p>
          </p:txBody>
        </p:sp>
        <p:grpSp>
          <p:nvGrpSpPr>
            <p:cNvPr id="18" name="Graphic 3">
              <a:extLst>
                <a:ext uri="{FF2B5EF4-FFF2-40B4-BE49-F238E27FC236}">
                  <a16:creationId xmlns:a16="http://schemas.microsoft.com/office/drawing/2014/main" id="{3148B04A-30AF-4AD2-9A21-9727D89918C6}"/>
                </a:ext>
              </a:extLst>
            </p:cNvPr>
            <p:cNvGrpSpPr/>
            <p:nvPr/>
          </p:nvGrpSpPr>
          <p:grpSpPr bwMode="gray">
            <a:xfrm>
              <a:off x="3221757" y="3362649"/>
              <a:ext cx="7389002" cy="737823"/>
              <a:chOff x="3221757" y="3362649"/>
              <a:chExt cx="7389002" cy="737823"/>
            </a:xfrm>
            <a:solidFill>
              <a:srgbClr val="3D434B"/>
            </a:solidFill>
          </p:grpSpPr>
          <p:sp>
            <p:nvSpPr>
              <p:cNvPr id="68" name="Freeform: Shape 127">
                <a:extLst>
                  <a:ext uri="{FF2B5EF4-FFF2-40B4-BE49-F238E27FC236}">
                    <a16:creationId xmlns:a16="http://schemas.microsoft.com/office/drawing/2014/main" id="{05F9391B-C1BA-4173-A325-127195571F10}"/>
                  </a:ext>
                </a:extLst>
              </p:cNvPr>
              <p:cNvSpPr/>
              <p:nvPr/>
            </p:nvSpPr>
            <p:spPr bwMode="gray">
              <a:xfrm>
                <a:off x="8575523" y="3374643"/>
                <a:ext cx="283266" cy="713313"/>
              </a:xfrm>
              <a:custGeom>
                <a:avLst/>
                <a:gdLst>
                  <a:gd name="connsiteX0" fmla="*/ 283266 w 283266"/>
                  <a:gd name="connsiteY0" fmla="*/ 75851 h 713313"/>
                  <a:gd name="connsiteX1" fmla="*/ 283266 w 283266"/>
                  <a:gd name="connsiteY1" fmla="*/ 0 h 713313"/>
                  <a:gd name="connsiteX2" fmla="*/ 0 w 283266"/>
                  <a:gd name="connsiteY2" fmla="*/ 0 h 713313"/>
                  <a:gd name="connsiteX3" fmla="*/ 0 w 283266"/>
                  <a:gd name="connsiteY3" fmla="*/ 75851 h 713313"/>
                  <a:gd name="connsiteX4" fmla="*/ 92895 w 283266"/>
                  <a:gd name="connsiteY4" fmla="*/ 75851 h 713313"/>
                  <a:gd name="connsiteX5" fmla="*/ 92895 w 283266"/>
                  <a:gd name="connsiteY5" fmla="*/ 637450 h 713313"/>
                  <a:gd name="connsiteX6" fmla="*/ 0 w 283266"/>
                  <a:gd name="connsiteY6" fmla="*/ 637450 h 713313"/>
                  <a:gd name="connsiteX7" fmla="*/ 0 w 283266"/>
                  <a:gd name="connsiteY7" fmla="*/ 713314 h 713313"/>
                  <a:gd name="connsiteX8" fmla="*/ 283266 w 283266"/>
                  <a:gd name="connsiteY8" fmla="*/ 713314 h 713313"/>
                  <a:gd name="connsiteX9" fmla="*/ 283266 w 283266"/>
                  <a:gd name="connsiteY9" fmla="*/ 637450 h 713313"/>
                  <a:gd name="connsiteX10" fmla="*/ 190371 w 283266"/>
                  <a:gd name="connsiteY10" fmla="*/ 637450 h 713313"/>
                  <a:gd name="connsiteX11" fmla="*/ 190371 w 283266"/>
                  <a:gd name="connsiteY11" fmla="*/ 75851 h 71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3266" h="713313">
                    <a:moveTo>
                      <a:pt x="283266" y="75851"/>
                    </a:moveTo>
                    <a:lnTo>
                      <a:pt x="283266" y="0"/>
                    </a:lnTo>
                    <a:lnTo>
                      <a:pt x="0" y="0"/>
                    </a:lnTo>
                    <a:lnTo>
                      <a:pt x="0" y="75851"/>
                    </a:lnTo>
                    <a:lnTo>
                      <a:pt x="92895" y="75851"/>
                    </a:lnTo>
                    <a:lnTo>
                      <a:pt x="92895" y="637450"/>
                    </a:lnTo>
                    <a:lnTo>
                      <a:pt x="0" y="637450"/>
                    </a:lnTo>
                    <a:lnTo>
                      <a:pt x="0" y="713314"/>
                    </a:lnTo>
                    <a:lnTo>
                      <a:pt x="283266" y="713314"/>
                    </a:lnTo>
                    <a:lnTo>
                      <a:pt x="283266" y="637450"/>
                    </a:lnTo>
                    <a:lnTo>
                      <a:pt x="190371" y="637450"/>
                    </a:lnTo>
                    <a:lnTo>
                      <a:pt x="190371" y="75851"/>
                    </a:lnTo>
                    <a:close/>
                  </a:path>
                </a:pathLst>
              </a:custGeom>
              <a:solidFill>
                <a:srgbClr val="3D434B"/>
              </a:solidFill>
              <a:ln w="1305" cap="flat">
                <a:noFill/>
                <a:prstDash val="solid"/>
                <a:miter/>
              </a:ln>
            </p:spPr>
            <p:txBody>
              <a:bodyPr rtlCol="0" anchor="ctr"/>
              <a:lstStyle/>
              <a:p>
                <a:endParaRPr lang="de-DE" dirty="0"/>
              </a:p>
            </p:txBody>
          </p:sp>
          <p:grpSp>
            <p:nvGrpSpPr>
              <p:cNvPr id="69" name="Graphic 3">
                <a:extLst>
                  <a:ext uri="{FF2B5EF4-FFF2-40B4-BE49-F238E27FC236}">
                    <a16:creationId xmlns:a16="http://schemas.microsoft.com/office/drawing/2014/main" id="{EC3F6C4C-E243-4CB2-A80E-DE57DBF077BC}"/>
                  </a:ext>
                </a:extLst>
              </p:cNvPr>
              <p:cNvGrpSpPr/>
              <p:nvPr/>
            </p:nvGrpSpPr>
            <p:grpSpPr bwMode="gray">
              <a:xfrm>
                <a:off x="3221757" y="3362649"/>
                <a:ext cx="7389002" cy="737823"/>
                <a:chOff x="3221757" y="3362649"/>
                <a:chExt cx="7389002" cy="737823"/>
              </a:xfrm>
              <a:solidFill>
                <a:srgbClr val="3D434B"/>
              </a:solidFill>
            </p:grpSpPr>
            <p:sp>
              <p:nvSpPr>
                <p:cNvPr id="70" name="Freeform: Shape 129">
                  <a:extLst>
                    <a:ext uri="{FF2B5EF4-FFF2-40B4-BE49-F238E27FC236}">
                      <a16:creationId xmlns:a16="http://schemas.microsoft.com/office/drawing/2014/main" id="{6EB9EC63-D48C-41CA-B9C2-D8F01A342E64}"/>
                    </a:ext>
                  </a:extLst>
                </p:cNvPr>
                <p:cNvSpPr/>
                <p:nvPr/>
              </p:nvSpPr>
              <p:spPr bwMode="gray">
                <a:xfrm>
                  <a:off x="3221757" y="3375165"/>
                  <a:ext cx="474746" cy="712792"/>
                </a:xfrm>
                <a:custGeom>
                  <a:avLst/>
                  <a:gdLst>
                    <a:gd name="connsiteX0" fmla="*/ 0 w 474746"/>
                    <a:gd name="connsiteY0" fmla="*/ 712792 h 712792"/>
                    <a:gd name="connsiteX1" fmla="*/ 97450 w 474746"/>
                    <a:gd name="connsiteY1" fmla="*/ 712792 h 712792"/>
                    <a:gd name="connsiteX2" fmla="*/ 97450 w 474746"/>
                    <a:gd name="connsiteY2" fmla="*/ 396808 h 712792"/>
                    <a:gd name="connsiteX3" fmla="*/ 435138 w 474746"/>
                    <a:gd name="connsiteY3" fmla="*/ 396808 h 712792"/>
                    <a:gd name="connsiteX4" fmla="*/ 435138 w 474746"/>
                    <a:gd name="connsiteY4" fmla="*/ 309733 h 712792"/>
                    <a:gd name="connsiteX5" fmla="*/ 97450 w 474746"/>
                    <a:gd name="connsiteY5" fmla="*/ 309733 h 712792"/>
                    <a:gd name="connsiteX6" fmla="*/ 97450 w 474746"/>
                    <a:gd name="connsiteY6" fmla="*/ 87074 h 712792"/>
                    <a:gd name="connsiteX7" fmla="*/ 474747 w 474746"/>
                    <a:gd name="connsiteY7" fmla="*/ 87074 h 712792"/>
                    <a:gd name="connsiteX8" fmla="*/ 474747 w 474746"/>
                    <a:gd name="connsiteY8" fmla="*/ 0 h 712792"/>
                    <a:gd name="connsiteX9" fmla="*/ 0 w 474746"/>
                    <a:gd name="connsiteY9" fmla="*/ 0 h 71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4746" h="712792">
                      <a:moveTo>
                        <a:pt x="0" y="712792"/>
                      </a:moveTo>
                      <a:lnTo>
                        <a:pt x="97450" y="712792"/>
                      </a:lnTo>
                      <a:lnTo>
                        <a:pt x="97450" y="396808"/>
                      </a:lnTo>
                      <a:lnTo>
                        <a:pt x="435138" y="396808"/>
                      </a:lnTo>
                      <a:lnTo>
                        <a:pt x="435138" y="309733"/>
                      </a:lnTo>
                      <a:lnTo>
                        <a:pt x="97450" y="309733"/>
                      </a:lnTo>
                      <a:lnTo>
                        <a:pt x="97450" y="87074"/>
                      </a:lnTo>
                      <a:lnTo>
                        <a:pt x="474747" y="87074"/>
                      </a:lnTo>
                      <a:lnTo>
                        <a:pt x="474747" y="0"/>
                      </a:lnTo>
                      <a:lnTo>
                        <a:pt x="0" y="0"/>
                      </a:lnTo>
                      <a:close/>
                    </a:path>
                  </a:pathLst>
                </a:custGeom>
                <a:solidFill>
                  <a:srgbClr val="3D434B"/>
                </a:solidFill>
                <a:ln w="1305" cap="flat">
                  <a:noFill/>
                  <a:prstDash val="solid"/>
                  <a:miter/>
                </a:ln>
              </p:spPr>
              <p:txBody>
                <a:bodyPr rtlCol="0" anchor="ctr"/>
                <a:lstStyle/>
                <a:p>
                  <a:endParaRPr lang="de-DE" dirty="0"/>
                </a:p>
              </p:txBody>
            </p:sp>
            <p:sp>
              <p:nvSpPr>
                <p:cNvPr id="71" name="Freeform: Shape 130">
                  <a:extLst>
                    <a:ext uri="{FF2B5EF4-FFF2-40B4-BE49-F238E27FC236}">
                      <a16:creationId xmlns:a16="http://schemas.microsoft.com/office/drawing/2014/main" id="{613CD4D1-F51A-42B8-9734-18A74FACC912}"/>
                    </a:ext>
                  </a:extLst>
                </p:cNvPr>
                <p:cNvSpPr/>
                <p:nvPr/>
              </p:nvSpPr>
              <p:spPr bwMode="gray">
                <a:xfrm>
                  <a:off x="4068150" y="3375178"/>
                  <a:ext cx="564836" cy="712792"/>
                </a:xfrm>
                <a:custGeom>
                  <a:avLst/>
                  <a:gdLst>
                    <a:gd name="connsiteX0" fmla="*/ 483243 w 564836"/>
                    <a:gd name="connsiteY0" fmla="*/ 345505 h 712792"/>
                    <a:gd name="connsiteX1" fmla="*/ 519563 w 564836"/>
                    <a:gd name="connsiteY1" fmla="*/ 209347 h 712792"/>
                    <a:gd name="connsiteX2" fmla="*/ 462140 w 564836"/>
                    <a:gd name="connsiteY2" fmla="*/ 49984 h 712792"/>
                    <a:gd name="connsiteX3" fmla="*/ 280108 w 564836"/>
                    <a:gd name="connsiteY3" fmla="*/ 0 h 712792"/>
                    <a:gd name="connsiteX4" fmla="*/ 0 w 564836"/>
                    <a:gd name="connsiteY4" fmla="*/ 0 h 712792"/>
                    <a:gd name="connsiteX5" fmla="*/ 0 w 564836"/>
                    <a:gd name="connsiteY5" fmla="*/ 712792 h 712792"/>
                    <a:gd name="connsiteX6" fmla="*/ 97450 w 564836"/>
                    <a:gd name="connsiteY6" fmla="*/ 712792 h 712792"/>
                    <a:gd name="connsiteX7" fmla="*/ 97450 w 564836"/>
                    <a:gd name="connsiteY7" fmla="*/ 418707 h 712792"/>
                    <a:gd name="connsiteX8" fmla="*/ 261263 w 564836"/>
                    <a:gd name="connsiteY8" fmla="*/ 418707 h 712792"/>
                    <a:gd name="connsiteX9" fmla="*/ 448463 w 564836"/>
                    <a:gd name="connsiteY9" fmla="*/ 711957 h 712792"/>
                    <a:gd name="connsiteX10" fmla="*/ 448998 w 564836"/>
                    <a:gd name="connsiteY10" fmla="*/ 712792 h 712792"/>
                    <a:gd name="connsiteX11" fmla="*/ 564836 w 564836"/>
                    <a:gd name="connsiteY11" fmla="*/ 712792 h 712792"/>
                    <a:gd name="connsiteX12" fmla="*/ 372677 w 564836"/>
                    <a:gd name="connsiteY12" fmla="*/ 409793 h 712792"/>
                    <a:gd name="connsiteX13" fmla="*/ 483243 w 564836"/>
                    <a:gd name="connsiteY13" fmla="*/ 345505 h 712792"/>
                    <a:gd name="connsiteX14" fmla="*/ 97450 w 564836"/>
                    <a:gd name="connsiteY14" fmla="*/ 87061 h 712792"/>
                    <a:gd name="connsiteX15" fmla="*/ 275932 w 564836"/>
                    <a:gd name="connsiteY15" fmla="*/ 87061 h 712792"/>
                    <a:gd name="connsiteX16" fmla="*/ 387855 w 564836"/>
                    <a:gd name="connsiteY16" fmla="*/ 114807 h 712792"/>
                    <a:gd name="connsiteX17" fmla="*/ 421082 w 564836"/>
                    <a:gd name="connsiteY17" fmla="*/ 209347 h 712792"/>
                    <a:gd name="connsiteX18" fmla="*/ 387868 w 564836"/>
                    <a:gd name="connsiteY18" fmla="*/ 303887 h 712792"/>
                    <a:gd name="connsiteX19" fmla="*/ 275945 w 564836"/>
                    <a:gd name="connsiteY19" fmla="*/ 331619 h 712792"/>
                    <a:gd name="connsiteX20" fmla="*/ 97463 w 564836"/>
                    <a:gd name="connsiteY20" fmla="*/ 331619 h 712792"/>
                    <a:gd name="connsiteX21" fmla="*/ 97463 w 564836"/>
                    <a:gd name="connsiteY21" fmla="*/ 87061 h 71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4836" h="712792">
                      <a:moveTo>
                        <a:pt x="483243" y="345505"/>
                      </a:moveTo>
                      <a:cubicBezTo>
                        <a:pt x="507347" y="313009"/>
                        <a:pt x="519563" y="267201"/>
                        <a:pt x="519563" y="209347"/>
                      </a:cubicBezTo>
                      <a:cubicBezTo>
                        <a:pt x="519563" y="136837"/>
                        <a:pt x="500248" y="83225"/>
                        <a:pt x="462140" y="49984"/>
                      </a:cubicBezTo>
                      <a:cubicBezTo>
                        <a:pt x="424084" y="16809"/>
                        <a:pt x="362837" y="0"/>
                        <a:pt x="280108" y="0"/>
                      </a:cubicBezTo>
                      <a:lnTo>
                        <a:pt x="0" y="0"/>
                      </a:lnTo>
                      <a:lnTo>
                        <a:pt x="0" y="712792"/>
                      </a:lnTo>
                      <a:lnTo>
                        <a:pt x="97450" y="712792"/>
                      </a:lnTo>
                      <a:lnTo>
                        <a:pt x="97450" y="418707"/>
                      </a:lnTo>
                      <a:lnTo>
                        <a:pt x="261263" y="418707"/>
                      </a:lnTo>
                      <a:lnTo>
                        <a:pt x="448463" y="711957"/>
                      </a:lnTo>
                      <a:lnTo>
                        <a:pt x="448998" y="712792"/>
                      </a:lnTo>
                      <a:lnTo>
                        <a:pt x="564836" y="712792"/>
                      </a:lnTo>
                      <a:lnTo>
                        <a:pt x="372677" y="409793"/>
                      </a:lnTo>
                      <a:cubicBezTo>
                        <a:pt x="422322" y="399118"/>
                        <a:pt x="459517" y="377493"/>
                        <a:pt x="483243" y="345505"/>
                      </a:cubicBezTo>
                      <a:close/>
                      <a:moveTo>
                        <a:pt x="97450" y="87061"/>
                      </a:moveTo>
                      <a:lnTo>
                        <a:pt x="275932" y="87061"/>
                      </a:lnTo>
                      <a:cubicBezTo>
                        <a:pt x="328057" y="87061"/>
                        <a:pt x="365708" y="96393"/>
                        <a:pt x="387855" y="114807"/>
                      </a:cubicBezTo>
                      <a:cubicBezTo>
                        <a:pt x="409898" y="133144"/>
                        <a:pt x="421082" y="164948"/>
                        <a:pt x="421082" y="209347"/>
                      </a:cubicBezTo>
                      <a:cubicBezTo>
                        <a:pt x="421082" y="253745"/>
                        <a:pt x="409911" y="285550"/>
                        <a:pt x="387868" y="303887"/>
                      </a:cubicBezTo>
                      <a:cubicBezTo>
                        <a:pt x="365721" y="322288"/>
                        <a:pt x="328057" y="331619"/>
                        <a:pt x="275945" y="331619"/>
                      </a:cubicBezTo>
                      <a:lnTo>
                        <a:pt x="97463" y="331619"/>
                      </a:lnTo>
                      <a:lnTo>
                        <a:pt x="97463" y="87061"/>
                      </a:lnTo>
                      <a:close/>
                    </a:path>
                  </a:pathLst>
                </a:custGeom>
                <a:solidFill>
                  <a:srgbClr val="3D434B"/>
                </a:solidFill>
                <a:ln w="1305" cap="flat">
                  <a:noFill/>
                  <a:prstDash val="solid"/>
                  <a:miter/>
                </a:ln>
              </p:spPr>
              <p:txBody>
                <a:bodyPr rtlCol="0" anchor="ctr"/>
                <a:lstStyle/>
                <a:p>
                  <a:endParaRPr lang="de-DE" dirty="0"/>
                </a:p>
              </p:txBody>
            </p:sp>
            <p:sp>
              <p:nvSpPr>
                <p:cNvPr id="72" name="Freeform: Shape 131">
                  <a:extLst>
                    <a:ext uri="{FF2B5EF4-FFF2-40B4-BE49-F238E27FC236}">
                      <a16:creationId xmlns:a16="http://schemas.microsoft.com/office/drawing/2014/main" id="{56D8F408-0B03-435F-A260-50D7F4E2A93B}"/>
                    </a:ext>
                  </a:extLst>
                </p:cNvPr>
                <p:cNvSpPr/>
                <p:nvPr/>
              </p:nvSpPr>
              <p:spPr bwMode="gray">
                <a:xfrm>
                  <a:off x="5004188" y="3375165"/>
                  <a:ext cx="516417" cy="712792"/>
                </a:xfrm>
                <a:custGeom>
                  <a:avLst/>
                  <a:gdLst>
                    <a:gd name="connsiteX0" fmla="*/ 97437 w 516417"/>
                    <a:gd name="connsiteY0" fmla="*/ 393675 h 712792"/>
                    <a:gd name="connsiteX1" fmla="*/ 451804 w 516417"/>
                    <a:gd name="connsiteY1" fmla="*/ 393675 h 712792"/>
                    <a:gd name="connsiteX2" fmla="*/ 451804 w 516417"/>
                    <a:gd name="connsiteY2" fmla="*/ 306601 h 712792"/>
                    <a:gd name="connsiteX3" fmla="*/ 97437 w 516417"/>
                    <a:gd name="connsiteY3" fmla="*/ 306601 h 712792"/>
                    <a:gd name="connsiteX4" fmla="*/ 97437 w 516417"/>
                    <a:gd name="connsiteY4" fmla="*/ 87074 h 712792"/>
                    <a:gd name="connsiteX5" fmla="*/ 510180 w 516417"/>
                    <a:gd name="connsiteY5" fmla="*/ 87074 h 712792"/>
                    <a:gd name="connsiteX6" fmla="*/ 510180 w 516417"/>
                    <a:gd name="connsiteY6" fmla="*/ 0 h 712792"/>
                    <a:gd name="connsiteX7" fmla="*/ 0 w 516417"/>
                    <a:gd name="connsiteY7" fmla="*/ 0 h 712792"/>
                    <a:gd name="connsiteX8" fmla="*/ 0 w 516417"/>
                    <a:gd name="connsiteY8" fmla="*/ 712792 h 712792"/>
                    <a:gd name="connsiteX9" fmla="*/ 516418 w 516417"/>
                    <a:gd name="connsiteY9" fmla="*/ 712792 h 712792"/>
                    <a:gd name="connsiteX10" fmla="*/ 516418 w 516417"/>
                    <a:gd name="connsiteY10" fmla="*/ 625718 h 712792"/>
                    <a:gd name="connsiteX11" fmla="*/ 97437 w 516417"/>
                    <a:gd name="connsiteY11" fmla="*/ 625718 h 71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6417" h="712792">
                      <a:moveTo>
                        <a:pt x="97437" y="393675"/>
                      </a:moveTo>
                      <a:lnTo>
                        <a:pt x="451804" y="393675"/>
                      </a:lnTo>
                      <a:lnTo>
                        <a:pt x="451804" y="306601"/>
                      </a:lnTo>
                      <a:lnTo>
                        <a:pt x="97437" y="306601"/>
                      </a:lnTo>
                      <a:lnTo>
                        <a:pt x="97437" y="87074"/>
                      </a:lnTo>
                      <a:lnTo>
                        <a:pt x="510180" y="87074"/>
                      </a:lnTo>
                      <a:lnTo>
                        <a:pt x="510180" y="0"/>
                      </a:lnTo>
                      <a:lnTo>
                        <a:pt x="0" y="0"/>
                      </a:lnTo>
                      <a:lnTo>
                        <a:pt x="0" y="712792"/>
                      </a:lnTo>
                      <a:lnTo>
                        <a:pt x="516418" y="712792"/>
                      </a:lnTo>
                      <a:lnTo>
                        <a:pt x="516418" y="625718"/>
                      </a:lnTo>
                      <a:lnTo>
                        <a:pt x="97437" y="625718"/>
                      </a:lnTo>
                      <a:close/>
                    </a:path>
                  </a:pathLst>
                </a:custGeom>
                <a:solidFill>
                  <a:srgbClr val="3D434B"/>
                </a:solidFill>
                <a:ln w="1305" cap="flat">
                  <a:noFill/>
                  <a:prstDash val="solid"/>
                  <a:miter/>
                </a:ln>
              </p:spPr>
              <p:txBody>
                <a:bodyPr rtlCol="0" anchor="ctr"/>
                <a:lstStyle/>
                <a:p>
                  <a:endParaRPr lang="de-DE" dirty="0"/>
                </a:p>
              </p:txBody>
            </p:sp>
            <p:sp>
              <p:nvSpPr>
                <p:cNvPr id="73" name="Freeform: Shape 132">
                  <a:extLst>
                    <a:ext uri="{FF2B5EF4-FFF2-40B4-BE49-F238E27FC236}">
                      <a16:creationId xmlns:a16="http://schemas.microsoft.com/office/drawing/2014/main" id="{DD4CA5CE-C837-4FB2-A53B-F1EBB161611F}"/>
                    </a:ext>
                  </a:extLst>
                </p:cNvPr>
                <p:cNvSpPr/>
                <p:nvPr/>
              </p:nvSpPr>
              <p:spPr bwMode="gray">
                <a:xfrm>
                  <a:off x="5880715" y="3362649"/>
                  <a:ext cx="501827" cy="737823"/>
                </a:xfrm>
                <a:custGeom>
                  <a:avLst/>
                  <a:gdLst>
                    <a:gd name="connsiteX0" fmla="*/ 314927 w 501827"/>
                    <a:gd name="connsiteY0" fmla="*/ 327273 h 737823"/>
                    <a:gd name="connsiteX1" fmla="*/ 234665 w 501827"/>
                    <a:gd name="connsiteY1" fmla="*/ 309538 h 737823"/>
                    <a:gd name="connsiteX2" fmla="*/ 134880 w 501827"/>
                    <a:gd name="connsiteY2" fmla="*/ 269381 h 737823"/>
                    <a:gd name="connsiteX3" fmla="*/ 107864 w 501827"/>
                    <a:gd name="connsiteY3" fmla="*/ 203096 h 737823"/>
                    <a:gd name="connsiteX4" fmla="*/ 265504 w 501827"/>
                    <a:gd name="connsiteY4" fmla="*/ 87074 h 737823"/>
                    <a:gd name="connsiteX5" fmla="*/ 460391 w 501827"/>
                    <a:gd name="connsiteY5" fmla="*/ 142018 h 737823"/>
                    <a:gd name="connsiteX6" fmla="*/ 463262 w 501827"/>
                    <a:gd name="connsiteY6" fmla="*/ 144054 h 737823"/>
                    <a:gd name="connsiteX7" fmla="*/ 463262 w 501827"/>
                    <a:gd name="connsiteY7" fmla="*/ 44686 h 737823"/>
                    <a:gd name="connsiteX8" fmla="*/ 462505 w 501827"/>
                    <a:gd name="connsiteY8" fmla="*/ 44138 h 737823"/>
                    <a:gd name="connsiteX9" fmla="*/ 262385 w 501827"/>
                    <a:gd name="connsiteY9" fmla="*/ 0 h 737823"/>
                    <a:gd name="connsiteX10" fmla="*/ 10427 w 501827"/>
                    <a:gd name="connsiteY10" fmla="*/ 209360 h 737823"/>
                    <a:gd name="connsiteX11" fmla="*/ 50480 w 501827"/>
                    <a:gd name="connsiteY11" fmla="*/ 331006 h 737823"/>
                    <a:gd name="connsiteX12" fmla="*/ 186926 w 501827"/>
                    <a:gd name="connsiteY12" fmla="*/ 398844 h 737823"/>
                    <a:gd name="connsiteX13" fmla="*/ 264969 w 501827"/>
                    <a:gd name="connsiteY13" fmla="*/ 417154 h 737823"/>
                    <a:gd name="connsiteX14" fmla="*/ 375313 w 501827"/>
                    <a:gd name="connsiteY14" fmla="*/ 459856 h 737823"/>
                    <a:gd name="connsiteX15" fmla="*/ 404390 w 501827"/>
                    <a:gd name="connsiteY15" fmla="*/ 529508 h 737823"/>
                    <a:gd name="connsiteX16" fmla="*/ 240486 w 501827"/>
                    <a:gd name="connsiteY16" fmla="*/ 650749 h 737823"/>
                    <a:gd name="connsiteX17" fmla="*/ 2910 w 501827"/>
                    <a:gd name="connsiteY17" fmla="*/ 578109 h 737823"/>
                    <a:gd name="connsiteX18" fmla="*/ 0 w 501827"/>
                    <a:gd name="connsiteY18" fmla="*/ 575929 h 737823"/>
                    <a:gd name="connsiteX19" fmla="*/ 0 w 501827"/>
                    <a:gd name="connsiteY19" fmla="*/ 676394 h 737823"/>
                    <a:gd name="connsiteX20" fmla="*/ 691 w 501827"/>
                    <a:gd name="connsiteY20" fmla="*/ 676942 h 737823"/>
                    <a:gd name="connsiteX21" fmla="*/ 238398 w 501827"/>
                    <a:gd name="connsiteY21" fmla="*/ 737824 h 737823"/>
                    <a:gd name="connsiteX22" fmla="*/ 501827 w 501827"/>
                    <a:gd name="connsiteY22" fmla="*/ 526389 h 737823"/>
                    <a:gd name="connsiteX23" fmla="*/ 458629 w 501827"/>
                    <a:gd name="connsiteY23" fmla="*/ 397800 h 737823"/>
                    <a:gd name="connsiteX24" fmla="*/ 314927 w 501827"/>
                    <a:gd name="connsiteY24" fmla="*/ 327273 h 73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1827" h="737823">
                      <a:moveTo>
                        <a:pt x="314927" y="327273"/>
                      </a:moveTo>
                      <a:lnTo>
                        <a:pt x="234665" y="309538"/>
                      </a:lnTo>
                      <a:cubicBezTo>
                        <a:pt x="186573" y="299267"/>
                        <a:pt x="152994" y="285759"/>
                        <a:pt x="134880" y="269381"/>
                      </a:cubicBezTo>
                      <a:cubicBezTo>
                        <a:pt x="116961" y="253171"/>
                        <a:pt x="107864" y="230868"/>
                        <a:pt x="107864" y="203096"/>
                      </a:cubicBezTo>
                      <a:cubicBezTo>
                        <a:pt x="107864" y="126109"/>
                        <a:pt x="160903" y="87074"/>
                        <a:pt x="265504" y="87074"/>
                      </a:cubicBezTo>
                      <a:cubicBezTo>
                        <a:pt x="343261" y="87074"/>
                        <a:pt x="408827" y="105555"/>
                        <a:pt x="460391" y="142018"/>
                      </a:cubicBezTo>
                      <a:lnTo>
                        <a:pt x="463262" y="144054"/>
                      </a:lnTo>
                      <a:lnTo>
                        <a:pt x="463262" y="44686"/>
                      </a:lnTo>
                      <a:lnTo>
                        <a:pt x="462505" y="44138"/>
                      </a:lnTo>
                      <a:cubicBezTo>
                        <a:pt x="421369" y="14852"/>
                        <a:pt x="354040" y="0"/>
                        <a:pt x="262385" y="0"/>
                      </a:cubicBezTo>
                      <a:cubicBezTo>
                        <a:pt x="95205" y="0"/>
                        <a:pt x="10427" y="70435"/>
                        <a:pt x="10427" y="209360"/>
                      </a:cubicBezTo>
                      <a:cubicBezTo>
                        <a:pt x="10427" y="259645"/>
                        <a:pt x="23909" y="300585"/>
                        <a:pt x="50480" y="331006"/>
                      </a:cubicBezTo>
                      <a:cubicBezTo>
                        <a:pt x="76999" y="361401"/>
                        <a:pt x="122912" y="384227"/>
                        <a:pt x="186926" y="398844"/>
                      </a:cubicBezTo>
                      <a:lnTo>
                        <a:pt x="264969" y="417154"/>
                      </a:lnTo>
                      <a:cubicBezTo>
                        <a:pt x="318686" y="429487"/>
                        <a:pt x="355802" y="443856"/>
                        <a:pt x="375313" y="459856"/>
                      </a:cubicBezTo>
                      <a:cubicBezTo>
                        <a:pt x="394615" y="475686"/>
                        <a:pt x="404390" y="499126"/>
                        <a:pt x="404390" y="529508"/>
                      </a:cubicBezTo>
                      <a:cubicBezTo>
                        <a:pt x="404390" y="609953"/>
                        <a:pt x="349251" y="650749"/>
                        <a:pt x="240486" y="650749"/>
                      </a:cubicBezTo>
                      <a:cubicBezTo>
                        <a:pt x="147512" y="650749"/>
                        <a:pt x="67576" y="626305"/>
                        <a:pt x="2910" y="578109"/>
                      </a:cubicBezTo>
                      <a:lnTo>
                        <a:pt x="0" y="575929"/>
                      </a:lnTo>
                      <a:lnTo>
                        <a:pt x="0" y="676394"/>
                      </a:lnTo>
                      <a:lnTo>
                        <a:pt x="691" y="676942"/>
                      </a:lnTo>
                      <a:cubicBezTo>
                        <a:pt x="52190" y="717334"/>
                        <a:pt x="132165" y="737824"/>
                        <a:pt x="238398" y="737824"/>
                      </a:cubicBezTo>
                      <a:cubicBezTo>
                        <a:pt x="413199" y="737824"/>
                        <a:pt x="501827" y="666684"/>
                        <a:pt x="501827" y="526389"/>
                      </a:cubicBezTo>
                      <a:cubicBezTo>
                        <a:pt x="501827" y="473272"/>
                        <a:pt x="487288" y="430022"/>
                        <a:pt x="458629" y="397800"/>
                      </a:cubicBezTo>
                      <a:cubicBezTo>
                        <a:pt x="430022" y="365643"/>
                        <a:pt x="381669" y="341916"/>
                        <a:pt x="314927" y="327273"/>
                      </a:cubicBezTo>
                      <a:close/>
                    </a:path>
                  </a:pathLst>
                </a:custGeom>
                <a:solidFill>
                  <a:srgbClr val="3D434B"/>
                </a:solidFill>
                <a:ln w="1305" cap="flat">
                  <a:noFill/>
                  <a:prstDash val="solid"/>
                  <a:miter/>
                </a:ln>
              </p:spPr>
              <p:txBody>
                <a:bodyPr rtlCol="0" anchor="ctr"/>
                <a:lstStyle/>
                <a:p>
                  <a:endParaRPr lang="de-DE" dirty="0"/>
                </a:p>
              </p:txBody>
            </p:sp>
            <p:sp>
              <p:nvSpPr>
                <p:cNvPr id="74" name="Freeform: Shape 133">
                  <a:extLst>
                    <a:ext uri="{FF2B5EF4-FFF2-40B4-BE49-F238E27FC236}">
                      <a16:creationId xmlns:a16="http://schemas.microsoft.com/office/drawing/2014/main" id="{D3DAB8D9-418E-458B-AC6E-B996D107D7C3}"/>
                    </a:ext>
                  </a:extLst>
                </p:cNvPr>
                <p:cNvSpPr/>
                <p:nvPr/>
              </p:nvSpPr>
              <p:spPr bwMode="gray">
                <a:xfrm>
                  <a:off x="6766912" y="3375165"/>
                  <a:ext cx="516430" cy="712792"/>
                </a:xfrm>
                <a:custGeom>
                  <a:avLst/>
                  <a:gdLst>
                    <a:gd name="connsiteX0" fmla="*/ 97450 w 516430"/>
                    <a:gd name="connsiteY0" fmla="*/ 393675 h 712792"/>
                    <a:gd name="connsiteX1" fmla="*/ 451803 w 516430"/>
                    <a:gd name="connsiteY1" fmla="*/ 393675 h 712792"/>
                    <a:gd name="connsiteX2" fmla="*/ 451803 w 516430"/>
                    <a:gd name="connsiteY2" fmla="*/ 306601 h 712792"/>
                    <a:gd name="connsiteX3" fmla="*/ 97450 w 516430"/>
                    <a:gd name="connsiteY3" fmla="*/ 306601 h 712792"/>
                    <a:gd name="connsiteX4" fmla="*/ 97450 w 516430"/>
                    <a:gd name="connsiteY4" fmla="*/ 87074 h 712792"/>
                    <a:gd name="connsiteX5" fmla="*/ 510179 w 516430"/>
                    <a:gd name="connsiteY5" fmla="*/ 87074 h 712792"/>
                    <a:gd name="connsiteX6" fmla="*/ 510179 w 516430"/>
                    <a:gd name="connsiteY6" fmla="*/ 0 h 712792"/>
                    <a:gd name="connsiteX7" fmla="*/ 0 w 516430"/>
                    <a:gd name="connsiteY7" fmla="*/ 0 h 712792"/>
                    <a:gd name="connsiteX8" fmla="*/ 0 w 516430"/>
                    <a:gd name="connsiteY8" fmla="*/ 712792 h 712792"/>
                    <a:gd name="connsiteX9" fmla="*/ 516431 w 516430"/>
                    <a:gd name="connsiteY9" fmla="*/ 712792 h 712792"/>
                    <a:gd name="connsiteX10" fmla="*/ 516431 w 516430"/>
                    <a:gd name="connsiteY10" fmla="*/ 625718 h 712792"/>
                    <a:gd name="connsiteX11" fmla="*/ 97450 w 516430"/>
                    <a:gd name="connsiteY11" fmla="*/ 625718 h 71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6430" h="712792">
                      <a:moveTo>
                        <a:pt x="97450" y="393675"/>
                      </a:moveTo>
                      <a:lnTo>
                        <a:pt x="451803" y="393675"/>
                      </a:lnTo>
                      <a:lnTo>
                        <a:pt x="451803" y="306601"/>
                      </a:lnTo>
                      <a:lnTo>
                        <a:pt x="97450" y="306601"/>
                      </a:lnTo>
                      <a:lnTo>
                        <a:pt x="97450" y="87074"/>
                      </a:lnTo>
                      <a:lnTo>
                        <a:pt x="510179" y="87074"/>
                      </a:lnTo>
                      <a:lnTo>
                        <a:pt x="510179" y="0"/>
                      </a:lnTo>
                      <a:lnTo>
                        <a:pt x="0" y="0"/>
                      </a:lnTo>
                      <a:lnTo>
                        <a:pt x="0" y="712792"/>
                      </a:lnTo>
                      <a:lnTo>
                        <a:pt x="516431" y="712792"/>
                      </a:lnTo>
                      <a:lnTo>
                        <a:pt x="516431" y="625718"/>
                      </a:lnTo>
                      <a:lnTo>
                        <a:pt x="97450" y="625718"/>
                      </a:lnTo>
                      <a:close/>
                    </a:path>
                  </a:pathLst>
                </a:custGeom>
                <a:solidFill>
                  <a:srgbClr val="3D434B"/>
                </a:solidFill>
                <a:ln w="1305" cap="flat">
                  <a:noFill/>
                  <a:prstDash val="solid"/>
                  <a:miter/>
                </a:ln>
              </p:spPr>
              <p:txBody>
                <a:bodyPr rtlCol="0" anchor="ctr"/>
                <a:lstStyle/>
                <a:p>
                  <a:endParaRPr lang="de-DE" dirty="0"/>
                </a:p>
              </p:txBody>
            </p:sp>
            <p:sp>
              <p:nvSpPr>
                <p:cNvPr id="75" name="Freeform: Shape 134">
                  <a:extLst>
                    <a:ext uri="{FF2B5EF4-FFF2-40B4-BE49-F238E27FC236}">
                      <a16:creationId xmlns:a16="http://schemas.microsoft.com/office/drawing/2014/main" id="{BBAD53FF-8A47-4B1D-B7A6-2C785ECE9903}"/>
                    </a:ext>
                  </a:extLst>
                </p:cNvPr>
                <p:cNvSpPr/>
                <p:nvPr/>
              </p:nvSpPr>
              <p:spPr bwMode="gray">
                <a:xfrm>
                  <a:off x="7666368" y="3375165"/>
                  <a:ext cx="565410" cy="712792"/>
                </a:xfrm>
                <a:custGeom>
                  <a:avLst/>
                  <a:gdLst>
                    <a:gd name="connsiteX0" fmla="*/ 472124 w 565410"/>
                    <a:gd name="connsiteY0" fmla="*/ 535955 h 712792"/>
                    <a:gd name="connsiteX1" fmla="*/ 121294 w 565410"/>
                    <a:gd name="connsiteY1" fmla="*/ 822 h 712792"/>
                    <a:gd name="connsiteX2" fmla="*/ 120759 w 565410"/>
                    <a:gd name="connsiteY2" fmla="*/ 0 h 712792"/>
                    <a:gd name="connsiteX3" fmla="*/ 0 w 565410"/>
                    <a:gd name="connsiteY3" fmla="*/ 0 h 712792"/>
                    <a:gd name="connsiteX4" fmla="*/ 0 w 565410"/>
                    <a:gd name="connsiteY4" fmla="*/ 712792 h 712792"/>
                    <a:gd name="connsiteX5" fmla="*/ 93274 w 565410"/>
                    <a:gd name="connsiteY5" fmla="*/ 712792 h 712792"/>
                    <a:gd name="connsiteX6" fmla="*/ 93274 w 565410"/>
                    <a:gd name="connsiteY6" fmla="*/ 132034 h 712792"/>
                    <a:gd name="connsiteX7" fmla="*/ 473468 w 565410"/>
                    <a:gd name="connsiteY7" fmla="*/ 711983 h 712792"/>
                    <a:gd name="connsiteX8" fmla="*/ 474016 w 565410"/>
                    <a:gd name="connsiteY8" fmla="*/ 712792 h 712792"/>
                    <a:gd name="connsiteX9" fmla="*/ 565411 w 565410"/>
                    <a:gd name="connsiteY9" fmla="*/ 712792 h 712792"/>
                    <a:gd name="connsiteX10" fmla="*/ 565411 w 565410"/>
                    <a:gd name="connsiteY10" fmla="*/ 0 h 712792"/>
                    <a:gd name="connsiteX11" fmla="*/ 472124 w 565410"/>
                    <a:gd name="connsiteY11" fmla="*/ 0 h 71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5410" h="712792">
                      <a:moveTo>
                        <a:pt x="472124" y="535955"/>
                      </a:moveTo>
                      <a:lnTo>
                        <a:pt x="121294" y="822"/>
                      </a:lnTo>
                      <a:lnTo>
                        <a:pt x="120759" y="0"/>
                      </a:lnTo>
                      <a:lnTo>
                        <a:pt x="0" y="0"/>
                      </a:lnTo>
                      <a:lnTo>
                        <a:pt x="0" y="712792"/>
                      </a:lnTo>
                      <a:lnTo>
                        <a:pt x="93274" y="712792"/>
                      </a:lnTo>
                      <a:lnTo>
                        <a:pt x="93274" y="132034"/>
                      </a:lnTo>
                      <a:lnTo>
                        <a:pt x="473468" y="711983"/>
                      </a:lnTo>
                      <a:lnTo>
                        <a:pt x="474016" y="712792"/>
                      </a:lnTo>
                      <a:lnTo>
                        <a:pt x="565411" y="712792"/>
                      </a:lnTo>
                      <a:lnTo>
                        <a:pt x="565411" y="0"/>
                      </a:lnTo>
                      <a:lnTo>
                        <a:pt x="472124" y="0"/>
                      </a:lnTo>
                      <a:close/>
                    </a:path>
                  </a:pathLst>
                </a:custGeom>
                <a:solidFill>
                  <a:srgbClr val="3D434B"/>
                </a:solidFill>
                <a:ln w="1305" cap="flat">
                  <a:noFill/>
                  <a:prstDash val="solid"/>
                  <a:miter/>
                </a:ln>
              </p:spPr>
              <p:txBody>
                <a:bodyPr rtlCol="0" anchor="ctr"/>
                <a:lstStyle/>
                <a:p>
                  <a:endParaRPr lang="de-DE" dirty="0"/>
                </a:p>
              </p:txBody>
            </p:sp>
            <p:sp>
              <p:nvSpPr>
                <p:cNvPr id="76" name="Freeform: Shape 135">
                  <a:extLst>
                    <a:ext uri="{FF2B5EF4-FFF2-40B4-BE49-F238E27FC236}">
                      <a16:creationId xmlns:a16="http://schemas.microsoft.com/office/drawing/2014/main" id="{C6E963AE-F046-43F0-B15A-CA56B963F70E}"/>
                    </a:ext>
                  </a:extLst>
                </p:cNvPr>
                <p:cNvSpPr/>
                <p:nvPr/>
              </p:nvSpPr>
              <p:spPr bwMode="gray">
                <a:xfrm>
                  <a:off x="9190317" y="3375165"/>
                  <a:ext cx="538316" cy="725307"/>
                </a:xfrm>
                <a:custGeom>
                  <a:avLst/>
                  <a:gdLst>
                    <a:gd name="connsiteX0" fmla="*/ 445030 w 538316"/>
                    <a:gd name="connsiteY0" fmla="*/ 457559 h 725307"/>
                    <a:gd name="connsiteX1" fmla="*/ 403855 w 538316"/>
                    <a:gd name="connsiteY1" fmla="*/ 594474 h 725307"/>
                    <a:gd name="connsiteX2" fmla="*/ 270711 w 538316"/>
                    <a:gd name="connsiteY2" fmla="*/ 637202 h 725307"/>
                    <a:gd name="connsiteX3" fmla="*/ 138625 w 538316"/>
                    <a:gd name="connsiteY3" fmla="*/ 594474 h 725307"/>
                    <a:gd name="connsiteX4" fmla="*/ 97450 w 538316"/>
                    <a:gd name="connsiteY4" fmla="*/ 457559 h 725307"/>
                    <a:gd name="connsiteX5" fmla="*/ 97450 w 538316"/>
                    <a:gd name="connsiteY5" fmla="*/ 0 h 725307"/>
                    <a:gd name="connsiteX6" fmla="*/ 0 w 538316"/>
                    <a:gd name="connsiteY6" fmla="*/ 0 h 725307"/>
                    <a:gd name="connsiteX7" fmla="*/ 0 w 538316"/>
                    <a:gd name="connsiteY7" fmla="*/ 449206 h 725307"/>
                    <a:gd name="connsiteX8" fmla="*/ 64627 w 538316"/>
                    <a:gd name="connsiteY8" fmla="*/ 659584 h 725307"/>
                    <a:gd name="connsiteX9" fmla="*/ 269680 w 538316"/>
                    <a:gd name="connsiteY9" fmla="*/ 725308 h 725307"/>
                    <a:gd name="connsiteX10" fmla="*/ 474224 w 538316"/>
                    <a:gd name="connsiteY10" fmla="*/ 659584 h 725307"/>
                    <a:gd name="connsiteX11" fmla="*/ 538317 w 538316"/>
                    <a:gd name="connsiteY11" fmla="*/ 449219 h 725307"/>
                    <a:gd name="connsiteX12" fmla="*/ 538317 w 538316"/>
                    <a:gd name="connsiteY12" fmla="*/ 13 h 725307"/>
                    <a:gd name="connsiteX13" fmla="*/ 445043 w 538316"/>
                    <a:gd name="connsiteY13" fmla="*/ 13 h 725307"/>
                    <a:gd name="connsiteX14" fmla="*/ 445043 w 538316"/>
                    <a:gd name="connsiteY14" fmla="*/ 457559 h 725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8316" h="725307">
                      <a:moveTo>
                        <a:pt x="445030" y="457559"/>
                      </a:moveTo>
                      <a:cubicBezTo>
                        <a:pt x="445030" y="520046"/>
                        <a:pt x="431183" y="566102"/>
                        <a:pt x="403855" y="594474"/>
                      </a:cubicBezTo>
                      <a:cubicBezTo>
                        <a:pt x="376553" y="622820"/>
                        <a:pt x="331749" y="637202"/>
                        <a:pt x="270711" y="637202"/>
                      </a:cubicBezTo>
                      <a:cubicBezTo>
                        <a:pt x="210351" y="637202"/>
                        <a:pt x="165914" y="622833"/>
                        <a:pt x="138625" y="594474"/>
                      </a:cubicBezTo>
                      <a:cubicBezTo>
                        <a:pt x="111296" y="566115"/>
                        <a:pt x="97450" y="520059"/>
                        <a:pt x="97450" y="457559"/>
                      </a:cubicBezTo>
                      <a:lnTo>
                        <a:pt x="97450" y="0"/>
                      </a:lnTo>
                      <a:lnTo>
                        <a:pt x="0" y="0"/>
                      </a:lnTo>
                      <a:lnTo>
                        <a:pt x="0" y="449206"/>
                      </a:lnTo>
                      <a:cubicBezTo>
                        <a:pt x="0" y="545208"/>
                        <a:pt x="21742" y="615995"/>
                        <a:pt x="64627" y="659584"/>
                      </a:cubicBezTo>
                      <a:cubicBezTo>
                        <a:pt x="107512" y="703200"/>
                        <a:pt x="176511" y="725308"/>
                        <a:pt x="269680" y="725308"/>
                      </a:cubicBezTo>
                      <a:cubicBezTo>
                        <a:pt x="362862" y="725308"/>
                        <a:pt x="431679" y="703187"/>
                        <a:pt x="474224" y="659584"/>
                      </a:cubicBezTo>
                      <a:cubicBezTo>
                        <a:pt x="516757" y="615982"/>
                        <a:pt x="538317" y="545195"/>
                        <a:pt x="538317" y="449219"/>
                      </a:cubicBezTo>
                      <a:lnTo>
                        <a:pt x="538317" y="13"/>
                      </a:lnTo>
                      <a:lnTo>
                        <a:pt x="445043" y="13"/>
                      </a:lnTo>
                      <a:lnTo>
                        <a:pt x="445043" y="457559"/>
                      </a:lnTo>
                      <a:close/>
                    </a:path>
                  </a:pathLst>
                </a:custGeom>
                <a:solidFill>
                  <a:srgbClr val="3D434B"/>
                </a:solidFill>
                <a:ln w="1305" cap="flat">
                  <a:noFill/>
                  <a:prstDash val="solid"/>
                  <a:miter/>
                </a:ln>
              </p:spPr>
              <p:txBody>
                <a:bodyPr rtlCol="0" anchor="ctr"/>
                <a:lstStyle/>
                <a:p>
                  <a:endParaRPr lang="de-DE" dirty="0"/>
                </a:p>
              </p:txBody>
            </p:sp>
            <p:sp>
              <p:nvSpPr>
                <p:cNvPr id="77" name="Freeform: Shape 136">
                  <a:extLst>
                    <a:ext uri="{FF2B5EF4-FFF2-40B4-BE49-F238E27FC236}">
                      <a16:creationId xmlns:a16="http://schemas.microsoft.com/office/drawing/2014/main" id="{F643B6B0-778C-4C2F-B269-5ED65F7CBBED}"/>
                    </a:ext>
                  </a:extLst>
                </p:cNvPr>
                <p:cNvSpPr/>
                <p:nvPr/>
              </p:nvSpPr>
              <p:spPr bwMode="gray">
                <a:xfrm>
                  <a:off x="10108932" y="3362649"/>
                  <a:ext cx="501827" cy="737823"/>
                </a:xfrm>
                <a:custGeom>
                  <a:avLst/>
                  <a:gdLst>
                    <a:gd name="connsiteX0" fmla="*/ 458629 w 501827"/>
                    <a:gd name="connsiteY0" fmla="*/ 397800 h 737823"/>
                    <a:gd name="connsiteX1" fmla="*/ 314927 w 501827"/>
                    <a:gd name="connsiteY1" fmla="*/ 327273 h 737823"/>
                    <a:gd name="connsiteX2" fmla="*/ 234665 w 501827"/>
                    <a:gd name="connsiteY2" fmla="*/ 309538 h 737823"/>
                    <a:gd name="connsiteX3" fmla="*/ 134880 w 501827"/>
                    <a:gd name="connsiteY3" fmla="*/ 269381 h 737823"/>
                    <a:gd name="connsiteX4" fmla="*/ 107864 w 501827"/>
                    <a:gd name="connsiteY4" fmla="*/ 203096 h 737823"/>
                    <a:gd name="connsiteX5" fmla="*/ 265504 w 501827"/>
                    <a:gd name="connsiteY5" fmla="*/ 87074 h 737823"/>
                    <a:gd name="connsiteX6" fmla="*/ 460391 w 501827"/>
                    <a:gd name="connsiteY6" fmla="*/ 142018 h 737823"/>
                    <a:gd name="connsiteX7" fmla="*/ 463262 w 501827"/>
                    <a:gd name="connsiteY7" fmla="*/ 144054 h 737823"/>
                    <a:gd name="connsiteX8" fmla="*/ 463262 w 501827"/>
                    <a:gd name="connsiteY8" fmla="*/ 44686 h 737823"/>
                    <a:gd name="connsiteX9" fmla="*/ 462505 w 501827"/>
                    <a:gd name="connsiteY9" fmla="*/ 44138 h 737823"/>
                    <a:gd name="connsiteX10" fmla="*/ 262385 w 501827"/>
                    <a:gd name="connsiteY10" fmla="*/ 0 h 737823"/>
                    <a:gd name="connsiteX11" fmla="*/ 10427 w 501827"/>
                    <a:gd name="connsiteY11" fmla="*/ 209360 h 737823"/>
                    <a:gd name="connsiteX12" fmla="*/ 50480 w 501827"/>
                    <a:gd name="connsiteY12" fmla="*/ 331006 h 737823"/>
                    <a:gd name="connsiteX13" fmla="*/ 186926 w 501827"/>
                    <a:gd name="connsiteY13" fmla="*/ 398844 h 737823"/>
                    <a:gd name="connsiteX14" fmla="*/ 264969 w 501827"/>
                    <a:gd name="connsiteY14" fmla="*/ 417154 h 737823"/>
                    <a:gd name="connsiteX15" fmla="*/ 375313 w 501827"/>
                    <a:gd name="connsiteY15" fmla="*/ 459856 h 737823"/>
                    <a:gd name="connsiteX16" fmla="*/ 404390 w 501827"/>
                    <a:gd name="connsiteY16" fmla="*/ 529508 h 737823"/>
                    <a:gd name="connsiteX17" fmla="*/ 240486 w 501827"/>
                    <a:gd name="connsiteY17" fmla="*/ 650749 h 737823"/>
                    <a:gd name="connsiteX18" fmla="*/ 2910 w 501827"/>
                    <a:gd name="connsiteY18" fmla="*/ 578109 h 737823"/>
                    <a:gd name="connsiteX19" fmla="*/ 0 w 501827"/>
                    <a:gd name="connsiteY19" fmla="*/ 575929 h 737823"/>
                    <a:gd name="connsiteX20" fmla="*/ 0 w 501827"/>
                    <a:gd name="connsiteY20" fmla="*/ 676394 h 737823"/>
                    <a:gd name="connsiteX21" fmla="*/ 691 w 501827"/>
                    <a:gd name="connsiteY21" fmla="*/ 676942 h 737823"/>
                    <a:gd name="connsiteX22" fmla="*/ 238398 w 501827"/>
                    <a:gd name="connsiteY22" fmla="*/ 737824 h 737823"/>
                    <a:gd name="connsiteX23" fmla="*/ 501827 w 501827"/>
                    <a:gd name="connsiteY23" fmla="*/ 526389 h 737823"/>
                    <a:gd name="connsiteX24" fmla="*/ 458629 w 501827"/>
                    <a:gd name="connsiteY24" fmla="*/ 397800 h 73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1827" h="737823">
                      <a:moveTo>
                        <a:pt x="458629" y="397800"/>
                      </a:moveTo>
                      <a:cubicBezTo>
                        <a:pt x="430022" y="365643"/>
                        <a:pt x="381656" y="341929"/>
                        <a:pt x="314927" y="327273"/>
                      </a:cubicBezTo>
                      <a:lnTo>
                        <a:pt x="234665" y="309538"/>
                      </a:lnTo>
                      <a:cubicBezTo>
                        <a:pt x="186573" y="299267"/>
                        <a:pt x="152994" y="285759"/>
                        <a:pt x="134880" y="269381"/>
                      </a:cubicBezTo>
                      <a:cubicBezTo>
                        <a:pt x="116961" y="253171"/>
                        <a:pt x="107864" y="230868"/>
                        <a:pt x="107864" y="203096"/>
                      </a:cubicBezTo>
                      <a:cubicBezTo>
                        <a:pt x="107864" y="126109"/>
                        <a:pt x="160903" y="87074"/>
                        <a:pt x="265504" y="87074"/>
                      </a:cubicBezTo>
                      <a:cubicBezTo>
                        <a:pt x="343261" y="87074"/>
                        <a:pt x="408827" y="105555"/>
                        <a:pt x="460391" y="142018"/>
                      </a:cubicBezTo>
                      <a:lnTo>
                        <a:pt x="463262" y="144054"/>
                      </a:lnTo>
                      <a:lnTo>
                        <a:pt x="463262" y="44686"/>
                      </a:lnTo>
                      <a:lnTo>
                        <a:pt x="462505" y="44138"/>
                      </a:lnTo>
                      <a:cubicBezTo>
                        <a:pt x="421369" y="14852"/>
                        <a:pt x="354040" y="0"/>
                        <a:pt x="262385" y="0"/>
                      </a:cubicBezTo>
                      <a:cubicBezTo>
                        <a:pt x="95205" y="0"/>
                        <a:pt x="10427" y="70435"/>
                        <a:pt x="10427" y="209360"/>
                      </a:cubicBezTo>
                      <a:cubicBezTo>
                        <a:pt x="10427" y="259645"/>
                        <a:pt x="23909" y="300585"/>
                        <a:pt x="50480" y="331006"/>
                      </a:cubicBezTo>
                      <a:cubicBezTo>
                        <a:pt x="76999" y="361401"/>
                        <a:pt x="122911" y="384227"/>
                        <a:pt x="186926" y="398844"/>
                      </a:cubicBezTo>
                      <a:lnTo>
                        <a:pt x="264969" y="417154"/>
                      </a:lnTo>
                      <a:cubicBezTo>
                        <a:pt x="318686" y="429487"/>
                        <a:pt x="355802" y="443856"/>
                        <a:pt x="375313" y="459856"/>
                      </a:cubicBezTo>
                      <a:cubicBezTo>
                        <a:pt x="394615" y="475686"/>
                        <a:pt x="404390" y="499126"/>
                        <a:pt x="404390" y="529508"/>
                      </a:cubicBezTo>
                      <a:cubicBezTo>
                        <a:pt x="404390" y="609953"/>
                        <a:pt x="349251" y="650749"/>
                        <a:pt x="240486" y="650749"/>
                      </a:cubicBezTo>
                      <a:cubicBezTo>
                        <a:pt x="147512" y="650749"/>
                        <a:pt x="67576" y="626305"/>
                        <a:pt x="2910" y="578109"/>
                      </a:cubicBezTo>
                      <a:lnTo>
                        <a:pt x="0" y="575929"/>
                      </a:lnTo>
                      <a:lnTo>
                        <a:pt x="0" y="676394"/>
                      </a:lnTo>
                      <a:lnTo>
                        <a:pt x="691" y="676942"/>
                      </a:lnTo>
                      <a:cubicBezTo>
                        <a:pt x="52190" y="717334"/>
                        <a:pt x="132165" y="737824"/>
                        <a:pt x="238398" y="737824"/>
                      </a:cubicBezTo>
                      <a:cubicBezTo>
                        <a:pt x="413199" y="737824"/>
                        <a:pt x="501827" y="666684"/>
                        <a:pt x="501827" y="526389"/>
                      </a:cubicBezTo>
                      <a:cubicBezTo>
                        <a:pt x="501827" y="473272"/>
                        <a:pt x="487301" y="430022"/>
                        <a:pt x="458629" y="397800"/>
                      </a:cubicBezTo>
                      <a:close/>
                    </a:path>
                  </a:pathLst>
                </a:custGeom>
                <a:solidFill>
                  <a:srgbClr val="3D434B"/>
                </a:solidFill>
                <a:ln w="1305" cap="flat">
                  <a:noFill/>
                  <a:prstDash val="solid"/>
                  <a:miter/>
                </a:ln>
              </p:spPr>
              <p:txBody>
                <a:bodyPr rtlCol="0" anchor="ctr"/>
                <a:lstStyle/>
                <a:p>
                  <a:endParaRPr lang="de-DE" dirty="0"/>
                </a:p>
              </p:txBody>
            </p:sp>
          </p:grpSp>
        </p:grpSp>
        <p:grpSp>
          <p:nvGrpSpPr>
            <p:cNvPr id="19" name="Graphic 3">
              <a:extLst>
                <a:ext uri="{FF2B5EF4-FFF2-40B4-BE49-F238E27FC236}">
                  <a16:creationId xmlns:a16="http://schemas.microsoft.com/office/drawing/2014/main" id="{9E150B8C-3477-4484-A655-97B376EACC8D}"/>
                </a:ext>
              </a:extLst>
            </p:cNvPr>
            <p:cNvGrpSpPr/>
            <p:nvPr/>
          </p:nvGrpSpPr>
          <p:grpSpPr bwMode="gray">
            <a:xfrm>
              <a:off x="3221874" y="2498768"/>
              <a:ext cx="7385412" cy="488828"/>
              <a:chOff x="3221874" y="2498768"/>
              <a:chExt cx="7385412" cy="488828"/>
            </a:xfrm>
            <a:solidFill>
              <a:srgbClr val="3D434B"/>
            </a:solidFill>
          </p:grpSpPr>
          <p:sp>
            <p:nvSpPr>
              <p:cNvPr id="58" name="Freeform: Shape 117">
                <a:extLst>
                  <a:ext uri="{FF2B5EF4-FFF2-40B4-BE49-F238E27FC236}">
                    <a16:creationId xmlns:a16="http://schemas.microsoft.com/office/drawing/2014/main" id="{D177C038-39A1-4344-BA14-B29EC73922D9}"/>
                  </a:ext>
                </a:extLst>
              </p:cNvPr>
              <p:cNvSpPr/>
              <p:nvPr/>
            </p:nvSpPr>
            <p:spPr bwMode="gray">
              <a:xfrm>
                <a:off x="3221874" y="2507095"/>
                <a:ext cx="384448" cy="472162"/>
              </a:xfrm>
              <a:custGeom>
                <a:avLst/>
                <a:gdLst>
                  <a:gd name="connsiteX0" fmla="*/ 0 w 384448"/>
                  <a:gd name="connsiteY0" fmla="*/ 472163 h 472162"/>
                  <a:gd name="connsiteX1" fmla="*/ 0 w 384448"/>
                  <a:gd name="connsiteY1" fmla="*/ 0 h 472162"/>
                  <a:gd name="connsiteX2" fmla="*/ 72875 w 384448"/>
                  <a:gd name="connsiteY2" fmla="*/ 0 h 472162"/>
                  <a:gd name="connsiteX3" fmla="*/ 72875 w 384448"/>
                  <a:gd name="connsiteY3" fmla="*/ 202756 h 472162"/>
                  <a:gd name="connsiteX4" fmla="*/ 322001 w 384448"/>
                  <a:gd name="connsiteY4" fmla="*/ 202756 h 472162"/>
                  <a:gd name="connsiteX5" fmla="*/ 322001 w 384448"/>
                  <a:gd name="connsiteY5" fmla="*/ 0 h 472162"/>
                  <a:gd name="connsiteX6" fmla="*/ 384449 w 384448"/>
                  <a:gd name="connsiteY6" fmla="*/ 0 h 472162"/>
                  <a:gd name="connsiteX7" fmla="*/ 384449 w 384448"/>
                  <a:gd name="connsiteY7" fmla="*/ 472163 h 472162"/>
                  <a:gd name="connsiteX8" fmla="*/ 322001 w 384448"/>
                  <a:gd name="connsiteY8" fmla="*/ 472163 h 472162"/>
                  <a:gd name="connsiteX9" fmla="*/ 322001 w 384448"/>
                  <a:gd name="connsiteY9" fmla="*/ 260375 h 472162"/>
                  <a:gd name="connsiteX10" fmla="*/ 72875 w 384448"/>
                  <a:gd name="connsiteY10" fmla="*/ 260375 h 472162"/>
                  <a:gd name="connsiteX11" fmla="*/ 72875 w 384448"/>
                  <a:gd name="connsiteY11" fmla="*/ 472163 h 472162"/>
                  <a:gd name="connsiteX12" fmla="*/ 0 w 384448"/>
                  <a:gd name="connsiteY12" fmla="*/ 472163 h 47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4448" h="472162">
                    <a:moveTo>
                      <a:pt x="0" y="472163"/>
                    </a:moveTo>
                    <a:lnTo>
                      <a:pt x="0" y="0"/>
                    </a:lnTo>
                    <a:lnTo>
                      <a:pt x="72875" y="0"/>
                    </a:lnTo>
                    <a:lnTo>
                      <a:pt x="72875" y="202756"/>
                    </a:lnTo>
                    <a:lnTo>
                      <a:pt x="322001" y="202756"/>
                    </a:lnTo>
                    <a:lnTo>
                      <a:pt x="322001" y="0"/>
                    </a:lnTo>
                    <a:lnTo>
                      <a:pt x="384449" y="0"/>
                    </a:lnTo>
                    <a:lnTo>
                      <a:pt x="384449" y="472163"/>
                    </a:lnTo>
                    <a:lnTo>
                      <a:pt x="322001" y="472163"/>
                    </a:lnTo>
                    <a:lnTo>
                      <a:pt x="322001" y="260375"/>
                    </a:lnTo>
                    <a:lnTo>
                      <a:pt x="72875" y="260375"/>
                    </a:lnTo>
                    <a:lnTo>
                      <a:pt x="72875" y="472163"/>
                    </a:lnTo>
                    <a:lnTo>
                      <a:pt x="0" y="472163"/>
                    </a:lnTo>
                    <a:close/>
                  </a:path>
                </a:pathLst>
              </a:custGeom>
              <a:solidFill>
                <a:srgbClr val="3D434B"/>
              </a:solidFill>
              <a:ln w="1305" cap="flat">
                <a:noFill/>
                <a:prstDash val="solid"/>
                <a:miter/>
              </a:ln>
            </p:spPr>
            <p:txBody>
              <a:bodyPr rtlCol="0" anchor="ctr"/>
              <a:lstStyle/>
              <a:p>
                <a:endParaRPr lang="de-DE" dirty="0"/>
              </a:p>
            </p:txBody>
          </p:sp>
          <p:sp>
            <p:nvSpPr>
              <p:cNvPr id="59" name="Freeform: Shape 118">
                <a:extLst>
                  <a:ext uri="{FF2B5EF4-FFF2-40B4-BE49-F238E27FC236}">
                    <a16:creationId xmlns:a16="http://schemas.microsoft.com/office/drawing/2014/main" id="{A9289D14-A76C-4A0F-AE52-9F9220D00C6C}"/>
                  </a:ext>
                </a:extLst>
              </p:cNvPr>
              <p:cNvSpPr/>
              <p:nvPr/>
            </p:nvSpPr>
            <p:spPr bwMode="gray">
              <a:xfrm>
                <a:off x="4051614" y="2498768"/>
                <a:ext cx="413577" cy="488828"/>
              </a:xfrm>
              <a:custGeom>
                <a:avLst/>
                <a:gdLst>
                  <a:gd name="connsiteX0" fmla="*/ 362915 w 413577"/>
                  <a:gd name="connsiteY0" fmla="*/ 428769 h 488828"/>
                  <a:gd name="connsiteX1" fmla="*/ 206789 w 413577"/>
                  <a:gd name="connsiteY1" fmla="*/ 488829 h 488828"/>
                  <a:gd name="connsiteX2" fmla="*/ 50650 w 413577"/>
                  <a:gd name="connsiteY2" fmla="*/ 428769 h 488828"/>
                  <a:gd name="connsiteX3" fmla="*/ 0 w 413577"/>
                  <a:gd name="connsiteY3" fmla="*/ 244414 h 488828"/>
                  <a:gd name="connsiteX4" fmla="*/ 50650 w 413577"/>
                  <a:gd name="connsiteY4" fmla="*/ 60060 h 488828"/>
                  <a:gd name="connsiteX5" fmla="*/ 206789 w 413577"/>
                  <a:gd name="connsiteY5" fmla="*/ 0 h 488828"/>
                  <a:gd name="connsiteX6" fmla="*/ 362915 w 413577"/>
                  <a:gd name="connsiteY6" fmla="*/ 60060 h 488828"/>
                  <a:gd name="connsiteX7" fmla="*/ 413578 w 413577"/>
                  <a:gd name="connsiteY7" fmla="*/ 244414 h 488828"/>
                  <a:gd name="connsiteX8" fmla="*/ 362915 w 413577"/>
                  <a:gd name="connsiteY8" fmla="*/ 428769 h 488828"/>
                  <a:gd name="connsiteX9" fmla="*/ 98181 w 413577"/>
                  <a:gd name="connsiteY9" fmla="*/ 387803 h 488828"/>
                  <a:gd name="connsiteX10" fmla="*/ 206789 w 413577"/>
                  <a:gd name="connsiteY10" fmla="*/ 433285 h 488828"/>
                  <a:gd name="connsiteX11" fmla="*/ 315384 w 413577"/>
                  <a:gd name="connsiteY11" fmla="*/ 387803 h 488828"/>
                  <a:gd name="connsiteX12" fmla="*/ 349734 w 413577"/>
                  <a:gd name="connsiteY12" fmla="*/ 244414 h 488828"/>
                  <a:gd name="connsiteX13" fmla="*/ 315384 w 413577"/>
                  <a:gd name="connsiteY13" fmla="*/ 101026 h 488828"/>
                  <a:gd name="connsiteX14" fmla="*/ 206789 w 413577"/>
                  <a:gd name="connsiteY14" fmla="*/ 55544 h 488828"/>
                  <a:gd name="connsiteX15" fmla="*/ 98181 w 413577"/>
                  <a:gd name="connsiteY15" fmla="*/ 101026 h 488828"/>
                  <a:gd name="connsiteX16" fmla="*/ 63831 w 413577"/>
                  <a:gd name="connsiteY16" fmla="*/ 244414 h 488828"/>
                  <a:gd name="connsiteX17" fmla="*/ 98181 w 413577"/>
                  <a:gd name="connsiteY17" fmla="*/ 387803 h 4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3577" h="488828">
                    <a:moveTo>
                      <a:pt x="362915" y="428769"/>
                    </a:moveTo>
                    <a:cubicBezTo>
                      <a:pt x="329140" y="468809"/>
                      <a:pt x="277093" y="488829"/>
                      <a:pt x="206789" y="488829"/>
                    </a:cubicBezTo>
                    <a:cubicBezTo>
                      <a:pt x="136459" y="488829"/>
                      <a:pt x="84412" y="468809"/>
                      <a:pt x="50650" y="428769"/>
                    </a:cubicBezTo>
                    <a:cubicBezTo>
                      <a:pt x="16875" y="388729"/>
                      <a:pt x="0" y="327286"/>
                      <a:pt x="0" y="244414"/>
                    </a:cubicBezTo>
                    <a:cubicBezTo>
                      <a:pt x="0" y="161555"/>
                      <a:pt x="16888" y="100112"/>
                      <a:pt x="50650" y="60060"/>
                    </a:cubicBezTo>
                    <a:cubicBezTo>
                      <a:pt x="84412" y="20020"/>
                      <a:pt x="136459" y="0"/>
                      <a:pt x="206789" y="0"/>
                    </a:cubicBezTo>
                    <a:cubicBezTo>
                      <a:pt x="277093" y="0"/>
                      <a:pt x="329153" y="20033"/>
                      <a:pt x="362915" y="60060"/>
                    </a:cubicBezTo>
                    <a:cubicBezTo>
                      <a:pt x="396690" y="100099"/>
                      <a:pt x="413578" y="161555"/>
                      <a:pt x="413578" y="244414"/>
                    </a:cubicBezTo>
                    <a:cubicBezTo>
                      <a:pt x="413578" y="327273"/>
                      <a:pt x="396690" y="388729"/>
                      <a:pt x="362915" y="428769"/>
                    </a:cubicBezTo>
                    <a:close/>
                    <a:moveTo>
                      <a:pt x="98181" y="387803"/>
                    </a:moveTo>
                    <a:cubicBezTo>
                      <a:pt x="121085" y="418133"/>
                      <a:pt x="157274" y="433285"/>
                      <a:pt x="206789" y="433285"/>
                    </a:cubicBezTo>
                    <a:cubicBezTo>
                      <a:pt x="256290" y="433285"/>
                      <a:pt x="292493" y="418133"/>
                      <a:pt x="315384" y="387803"/>
                    </a:cubicBezTo>
                    <a:cubicBezTo>
                      <a:pt x="338288" y="357486"/>
                      <a:pt x="349734" y="309681"/>
                      <a:pt x="349734" y="244414"/>
                    </a:cubicBezTo>
                    <a:cubicBezTo>
                      <a:pt x="349734" y="179148"/>
                      <a:pt x="338288" y="131356"/>
                      <a:pt x="315384" y="101026"/>
                    </a:cubicBezTo>
                    <a:cubicBezTo>
                      <a:pt x="292480" y="70709"/>
                      <a:pt x="256277" y="55544"/>
                      <a:pt x="206789" y="55544"/>
                    </a:cubicBezTo>
                    <a:cubicBezTo>
                      <a:pt x="157274" y="55544"/>
                      <a:pt x="121085" y="70709"/>
                      <a:pt x="98181" y="101026"/>
                    </a:cubicBezTo>
                    <a:cubicBezTo>
                      <a:pt x="75277" y="131356"/>
                      <a:pt x="63831" y="179148"/>
                      <a:pt x="63831" y="244414"/>
                    </a:cubicBezTo>
                    <a:cubicBezTo>
                      <a:pt x="63831" y="309681"/>
                      <a:pt x="75277" y="357486"/>
                      <a:pt x="98181" y="387803"/>
                    </a:cubicBezTo>
                    <a:close/>
                  </a:path>
                </a:pathLst>
              </a:custGeom>
              <a:solidFill>
                <a:srgbClr val="3D434B"/>
              </a:solidFill>
              <a:ln w="1305" cap="flat">
                <a:noFill/>
                <a:prstDash val="solid"/>
                <a:miter/>
              </a:ln>
            </p:spPr>
            <p:txBody>
              <a:bodyPr rtlCol="0" anchor="ctr"/>
              <a:lstStyle/>
              <a:p>
                <a:endParaRPr lang="de-DE" dirty="0"/>
              </a:p>
            </p:txBody>
          </p:sp>
          <p:sp>
            <p:nvSpPr>
              <p:cNvPr id="60" name="Freeform: Shape 119">
                <a:extLst>
                  <a:ext uri="{FF2B5EF4-FFF2-40B4-BE49-F238E27FC236}">
                    <a16:creationId xmlns:a16="http://schemas.microsoft.com/office/drawing/2014/main" id="{F1682980-9D0D-4869-BA76-3B6CBEE1EB11}"/>
                  </a:ext>
                </a:extLst>
              </p:cNvPr>
              <p:cNvSpPr/>
              <p:nvPr/>
            </p:nvSpPr>
            <p:spPr bwMode="gray">
              <a:xfrm>
                <a:off x="4879488" y="2498768"/>
                <a:ext cx="333093" cy="488828"/>
              </a:xfrm>
              <a:custGeom>
                <a:avLst/>
                <a:gdLst>
                  <a:gd name="connsiteX0" fmla="*/ 217882 w 333093"/>
                  <a:gd name="connsiteY0" fmla="*/ 488829 h 488828"/>
                  <a:gd name="connsiteX1" fmla="*/ 53430 w 333093"/>
                  <a:gd name="connsiteY1" fmla="*/ 428769 h 488828"/>
                  <a:gd name="connsiteX2" fmla="*/ 0 w 333093"/>
                  <a:gd name="connsiteY2" fmla="*/ 244414 h 488828"/>
                  <a:gd name="connsiteX3" fmla="*/ 53090 w 333093"/>
                  <a:gd name="connsiteY3" fmla="*/ 60060 h 488828"/>
                  <a:gd name="connsiteX4" fmla="*/ 216512 w 333093"/>
                  <a:gd name="connsiteY4" fmla="*/ 0 h 488828"/>
                  <a:gd name="connsiteX5" fmla="*/ 333094 w 333093"/>
                  <a:gd name="connsiteY5" fmla="*/ 24300 h 488828"/>
                  <a:gd name="connsiteX6" fmla="*/ 333094 w 333093"/>
                  <a:gd name="connsiteY6" fmla="*/ 85404 h 488828"/>
                  <a:gd name="connsiteX7" fmla="*/ 218600 w 333093"/>
                  <a:gd name="connsiteY7" fmla="*/ 55544 h 488828"/>
                  <a:gd name="connsiteX8" fmla="*/ 100621 w 333093"/>
                  <a:gd name="connsiteY8" fmla="*/ 100334 h 488828"/>
                  <a:gd name="connsiteX9" fmla="*/ 63831 w 333093"/>
                  <a:gd name="connsiteY9" fmla="*/ 243723 h 488828"/>
                  <a:gd name="connsiteX10" fmla="*/ 100960 w 333093"/>
                  <a:gd name="connsiteY10" fmla="*/ 388155 h 488828"/>
                  <a:gd name="connsiteX11" fmla="*/ 220662 w 333093"/>
                  <a:gd name="connsiteY11" fmla="*/ 433285 h 488828"/>
                  <a:gd name="connsiteX12" fmla="*/ 333081 w 333093"/>
                  <a:gd name="connsiteY12" fmla="*/ 403424 h 488828"/>
                  <a:gd name="connsiteX13" fmla="*/ 333081 w 333093"/>
                  <a:gd name="connsiteY13" fmla="*/ 464528 h 488828"/>
                  <a:gd name="connsiteX14" fmla="*/ 217882 w 333093"/>
                  <a:gd name="connsiteY14" fmla="*/ 488829 h 4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3093" h="488828">
                    <a:moveTo>
                      <a:pt x="217882" y="488829"/>
                    </a:moveTo>
                    <a:cubicBezTo>
                      <a:pt x="143871" y="488829"/>
                      <a:pt x="89032" y="468809"/>
                      <a:pt x="53430" y="428769"/>
                    </a:cubicBezTo>
                    <a:cubicBezTo>
                      <a:pt x="17801" y="388729"/>
                      <a:pt x="0" y="327286"/>
                      <a:pt x="0" y="244414"/>
                    </a:cubicBezTo>
                    <a:cubicBezTo>
                      <a:pt x="0" y="161555"/>
                      <a:pt x="17697" y="100112"/>
                      <a:pt x="53090" y="60060"/>
                    </a:cubicBezTo>
                    <a:cubicBezTo>
                      <a:pt x="88484" y="20020"/>
                      <a:pt x="142958" y="0"/>
                      <a:pt x="216512" y="0"/>
                    </a:cubicBezTo>
                    <a:cubicBezTo>
                      <a:pt x="265543" y="0"/>
                      <a:pt x="304408" y="8105"/>
                      <a:pt x="333094" y="24300"/>
                    </a:cubicBezTo>
                    <a:lnTo>
                      <a:pt x="333094" y="85404"/>
                    </a:lnTo>
                    <a:cubicBezTo>
                      <a:pt x="300245" y="65502"/>
                      <a:pt x="262085" y="55544"/>
                      <a:pt x="218600" y="55544"/>
                    </a:cubicBezTo>
                    <a:cubicBezTo>
                      <a:pt x="164478" y="55544"/>
                      <a:pt x="125143" y="70474"/>
                      <a:pt x="100621" y="100334"/>
                    </a:cubicBezTo>
                    <a:cubicBezTo>
                      <a:pt x="76086" y="130194"/>
                      <a:pt x="63831" y="177999"/>
                      <a:pt x="63831" y="243723"/>
                    </a:cubicBezTo>
                    <a:cubicBezTo>
                      <a:pt x="63831" y="309929"/>
                      <a:pt x="76203" y="358060"/>
                      <a:pt x="100960" y="388155"/>
                    </a:cubicBezTo>
                    <a:cubicBezTo>
                      <a:pt x="125704" y="418250"/>
                      <a:pt x="165614" y="433285"/>
                      <a:pt x="220662" y="433285"/>
                    </a:cubicBezTo>
                    <a:cubicBezTo>
                      <a:pt x="263690" y="433285"/>
                      <a:pt x="301159" y="423340"/>
                      <a:pt x="333081" y="403424"/>
                    </a:cubicBezTo>
                    <a:lnTo>
                      <a:pt x="333081" y="464528"/>
                    </a:lnTo>
                    <a:cubicBezTo>
                      <a:pt x="304852" y="480724"/>
                      <a:pt x="266457" y="488829"/>
                      <a:pt x="217882" y="488829"/>
                    </a:cubicBezTo>
                    <a:close/>
                  </a:path>
                </a:pathLst>
              </a:custGeom>
              <a:solidFill>
                <a:srgbClr val="3D434B"/>
              </a:solidFill>
              <a:ln w="1305" cap="flat">
                <a:noFill/>
                <a:prstDash val="solid"/>
                <a:miter/>
              </a:ln>
            </p:spPr>
            <p:txBody>
              <a:bodyPr rtlCol="0" anchor="ctr"/>
              <a:lstStyle/>
              <a:p>
                <a:endParaRPr lang="de-DE" dirty="0"/>
              </a:p>
            </p:txBody>
          </p:sp>
          <p:sp>
            <p:nvSpPr>
              <p:cNvPr id="61" name="Freeform: Shape 120">
                <a:extLst>
                  <a:ext uri="{FF2B5EF4-FFF2-40B4-BE49-F238E27FC236}">
                    <a16:creationId xmlns:a16="http://schemas.microsoft.com/office/drawing/2014/main" id="{6B24C0E1-B086-4CB8-9CE8-04C970741B8B}"/>
                  </a:ext>
                </a:extLst>
              </p:cNvPr>
              <p:cNvSpPr/>
              <p:nvPr/>
            </p:nvSpPr>
            <p:spPr bwMode="gray">
              <a:xfrm>
                <a:off x="5636352" y="2507095"/>
                <a:ext cx="374021" cy="472162"/>
              </a:xfrm>
              <a:custGeom>
                <a:avLst/>
                <a:gdLst>
                  <a:gd name="connsiteX0" fmla="*/ 0 w 374021"/>
                  <a:gd name="connsiteY0" fmla="*/ 472163 h 472162"/>
                  <a:gd name="connsiteX1" fmla="*/ 0 w 374021"/>
                  <a:gd name="connsiteY1" fmla="*/ 0 h 472162"/>
                  <a:gd name="connsiteX2" fmla="*/ 62448 w 374021"/>
                  <a:gd name="connsiteY2" fmla="*/ 0 h 472162"/>
                  <a:gd name="connsiteX3" fmla="*/ 62448 w 374021"/>
                  <a:gd name="connsiteY3" fmla="*/ 202756 h 472162"/>
                  <a:gd name="connsiteX4" fmla="*/ 311574 w 374021"/>
                  <a:gd name="connsiteY4" fmla="*/ 202756 h 472162"/>
                  <a:gd name="connsiteX5" fmla="*/ 311574 w 374021"/>
                  <a:gd name="connsiteY5" fmla="*/ 0 h 472162"/>
                  <a:gd name="connsiteX6" fmla="*/ 374022 w 374021"/>
                  <a:gd name="connsiteY6" fmla="*/ 0 h 472162"/>
                  <a:gd name="connsiteX7" fmla="*/ 374022 w 374021"/>
                  <a:gd name="connsiteY7" fmla="*/ 472163 h 472162"/>
                  <a:gd name="connsiteX8" fmla="*/ 311574 w 374021"/>
                  <a:gd name="connsiteY8" fmla="*/ 472163 h 472162"/>
                  <a:gd name="connsiteX9" fmla="*/ 311574 w 374021"/>
                  <a:gd name="connsiteY9" fmla="*/ 260375 h 472162"/>
                  <a:gd name="connsiteX10" fmla="*/ 62448 w 374021"/>
                  <a:gd name="connsiteY10" fmla="*/ 260375 h 472162"/>
                  <a:gd name="connsiteX11" fmla="*/ 62448 w 374021"/>
                  <a:gd name="connsiteY11" fmla="*/ 472163 h 472162"/>
                  <a:gd name="connsiteX12" fmla="*/ 0 w 374021"/>
                  <a:gd name="connsiteY12" fmla="*/ 472163 h 47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4021" h="472162">
                    <a:moveTo>
                      <a:pt x="0" y="472163"/>
                    </a:moveTo>
                    <a:lnTo>
                      <a:pt x="0" y="0"/>
                    </a:lnTo>
                    <a:lnTo>
                      <a:pt x="62448" y="0"/>
                    </a:lnTo>
                    <a:lnTo>
                      <a:pt x="62448" y="202756"/>
                    </a:lnTo>
                    <a:lnTo>
                      <a:pt x="311574" y="202756"/>
                    </a:lnTo>
                    <a:lnTo>
                      <a:pt x="311574" y="0"/>
                    </a:lnTo>
                    <a:lnTo>
                      <a:pt x="374022" y="0"/>
                    </a:lnTo>
                    <a:lnTo>
                      <a:pt x="374022" y="472163"/>
                    </a:lnTo>
                    <a:lnTo>
                      <a:pt x="311574" y="472163"/>
                    </a:lnTo>
                    <a:lnTo>
                      <a:pt x="311574" y="260375"/>
                    </a:lnTo>
                    <a:lnTo>
                      <a:pt x="62448" y="260375"/>
                    </a:lnTo>
                    <a:lnTo>
                      <a:pt x="62448" y="472163"/>
                    </a:lnTo>
                    <a:lnTo>
                      <a:pt x="0" y="472163"/>
                    </a:lnTo>
                    <a:close/>
                  </a:path>
                </a:pathLst>
              </a:custGeom>
              <a:solidFill>
                <a:srgbClr val="3D434B"/>
              </a:solidFill>
              <a:ln w="1305" cap="flat">
                <a:noFill/>
                <a:prstDash val="solid"/>
                <a:miter/>
              </a:ln>
            </p:spPr>
            <p:txBody>
              <a:bodyPr rtlCol="0" anchor="ctr"/>
              <a:lstStyle/>
              <a:p>
                <a:endParaRPr lang="de-DE" dirty="0"/>
              </a:p>
            </p:txBody>
          </p:sp>
          <p:sp>
            <p:nvSpPr>
              <p:cNvPr id="62" name="Freeform: Shape 121">
                <a:extLst>
                  <a:ext uri="{FF2B5EF4-FFF2-40B4-BE49-F238E27FC236}">
                    <a16:creationId xmlns:a16="http://schemas.microsoft.com/office/drawing/2014/main" id="{EC040820-2FCC-4018-8E12-A83D86EA9C3F}"/>
                  </a:ext>
                </a:extLst>
              </p:cNvPr>
              <p:cNvSpPr/>
              <p:nvPr/>
            </p:nvSpPr>
            <p:spPr bwMode="gray">
              <a:xfrm>
                <a:off x="6440565" y="2498768"/>
                <a:ext cx="331697" cy="488828"/>
              </a:xfrm>
              <a:custGeom>
                <a:avLst/>
                <a:gdLst>
                  <a:gd name="connsiteX0" fmla="*/ 157523 w 331697"/>
                  <a:gd name="connsiteY0" fmla="*/ 488829 h 488828"/>
                  <a:gd name="connsiteX1" fmla="*/ 0 w 331697"/>
                  <a:gd name="connsiteY1" fmla="*/ 448554 h 488828"/>
                  <a:gd name="connsiteX2" fmla="*/ 0 w 331697"/>
                  <a:gd name="connsiteY2" fmla="*/ 384671 h 488828"/>
                  <a:gd name="connsiteX3" fmla="*/ 158905 w 331697"/>
                  <a:gd name="connsiteY3" fmla="*/ 433271 h 488828"/>
                  <a:gd name="connsiteX4" fmla="*/ 269250 w 331697"/>
                  <a:gd name="connsiteY4" fmla="*/ 351339 h 488828"/>
                  <a:gd name="connsiteX5" fmla="*/ 249452 w 331697"/>
                  <a:gd name="connsiteY5" fmla="*/ 304017 h 488828"/>
                  <a:gd name="connsiteX6" fmla="*/ 175480 w 331697"/>
                  <a:gd name="connsiteY6" fmla="*/ 275344 h 488828"/>
                  <a:gd name="connsiteX7" fmla="*/ 123525 w 331697"/>
                  <a:gd name="connsiteY7" fmla="*/ 263155 h 488828"/>
                  <a:gd name="connsiteX8" fmla="*/ 33318 w 331697"/>
                  <a:gd name="connsiteY8" fmla="*/ 218365 h 488828"/>
                  <a:gd name="connsiteX9" fmla="*/ 6943 w 331697"/>
                  <a:gd name="connsiteY9" fmla="*/ 138168 h 488828"/>
                  <a:gd name="connsiteX10" fmla="*/ 173484 w 331697"/>
                  <a:gd name="connsiteY10" fmla="*/ 0 h 488828"/>
                  <a:gd name="connsiteX11" fmla="*/ 306026 w 331697"/>
                  <a:gd name="connsiteY11" fmla="*/ 29168 h 488828"/>
                  <a:gd name="connsiteX12" fmla="*/ 306026 w 331697"/>
                  <a:gd name="connsiteY12" fmla="*/ 92360 h 488828"/>
                  <a:gd name="connsiteX13" fmla="*/ 175571 w 331697"/>
                  <a:gd name="connsiteY13" fmla="*/ 55557 h 488828"/>
                  <a:gd name="connsiteX14" fmla="*/ 69391 w 331697"/>
                  <a:gd name="connsiteY14" fmla="*/ 134018 h 488828"/>
                  <a:gd name="connsiteX15" fmla="*/ 87779 w 331697"/>
                  <a:gd name="connsiteY15" fmla="*/ 179056 h 488828"/>
                  <a:gd name="connsiteX16" fmla="*/ 154769 w 331697"/>
                  <a:gd name="connsiteY16" fmla="*/ 206084 h 488828"/>
                  <a:gd name="connsiteX17" fmla="*/ 208198 w 331697"/>
                  <a:gd name="connsiteY17" fmla="*/ 217882 h 488828"/>
                  <a:gd name="connsiteX18" fmla="*/ 303247 w 331697"/>
                  <a:gd name="connsiteY18" fmla="*/ 264460 h 488828"/>
                  <a:gd name="connsiteX19" fmla="*/ 331698 w 331697"/>
                  <a:gd name="connsiteY19" fmla="*/ 349264 h 488828"/>
                  <a:gd name="connsiteX20" fmla="*/ 157523 w 331697"/>
                  <a:gd name="connsiteY20" fmla="*/ 488829 h 4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1697" h="488828">
                    <a:moveTo>
                      <a:pt x="157523" y="488829"/>
                    </a:moveTo>
                    <a:cubicBezTo>
                      <a:pt x="86735" y="488829"/>
                      <a:pt x="34219" y="475412"/>
                      <a:pt x="0" y="448554"/>
                    </a:cubicBezTo>
                    <a:lnTo>
                      <a:pt x="0" y="384671"/>
                    </a:lnTo>
                    <a:cubicBezTo>
                      <a:pt x="43485" y="417076"/>
                      <a:pt x="96458" y="433271"/>
                      <a:pt x="158905" y="433271"/>
                    </a:cubicBezTo>
                    <a:cubicBezTo>
                      <a:pt x="232460" y="433271"/>
                      <a:pt x="269250" y="405969"/>
                      <a:pt x="269250" y="351339"/>
                    </a:cubicBezTo>
                    <a:cubicBezTo>
                      <a:pt x="269250" y="330614"/>
                      <a:pt x="262646" y="314849"/>
                      <a:pt x="249452" y="304017"/>
                    </a:cubicBezTo>
                    <a:cubicBezTo>
                      <a:pt x="236245" y="293185"/>
                      <a:pt x="211605" y="283632"/>
                      <a:pt x="175480" y="275344"/>
                    </a:cubicBezTo>
                    <a:lnTo>
                      <a:pt x="123525" y="263155"/>
                    </a:lnTo>
                    <a:cubicBezTo>
                      <a:pt x="80953" y="253432"/>
                      <a:pt x="50885" y="238502"/>
                      <a:pt x="33318" y="218365"/>
                    </a:cubicBezTo>
                    <a:cubicBezTo>
                      <a:pt x="15726" y="198228"/>
                      <a:pt x="6943" y="171500"/>
                      <a:pt x="6943" y="138168"/>
                    </a:cubicBezTo>
                    <a:cubicBezTo>
                      <a:pt x="6943" y="46056"/>
                      <a:pt x="62461" y="0"/>
                      <a:pt x="173484" y="0"/>
                    </a:cubicBezTo>
                    <a:cubicBezTo>
                      <a:pt x="234548" y="0"/>
                      <a:pt x="278724" y="9723"/>
                      <a:pt x="306026" y="29168"/>
                    </a:cubicBezTo>
                    <a:lnTo>
                      <a:pt x="306026" y="92360"/>
                    </a:lnTo>
                    <a:cubicBezTo>
                      <a:pt x="271325" y="67825"/>
                      <a:pt x="227840" y="55557"/>
                      <a:pt x="175571" y="55557"/>
                    </a:cubicBezTo>
                    <a:cubicBezTo>
                      <a:pt x="104784" y="55557"/>
                      <a:pt x="69391" y="81711"/>
                      <a:pt x="69391" y="134018"/>
                    </a:cubicBezTo>
                    <a:cubicBezTo>
                      <a:pt x="69391" y="152955"/>
                      <a:pt x="75511" y="167963"/>
                      <a:pt x="87779" y="179056"/>
                    </a:cubicBezTo>
                    <a:cubicBezTo>
                      <a:pt x="100047" y="190149"/>
                      <a:pt x="122377" y="199154"/>
                      <a:pt x="154769" y="206084"/>
                    </a:cubicBezTo>
                    <a:lnTo>
                      <a:pt x="208198" y="217882"/>
                    </a:lnTo>
                    <a:cubicBezTo>
                      <a:pt x="252597" y="227618"/>
                      <a:pt x="284271" y="243148"/>
                      <a:pt x="303247" y="264460"/>
                    </a:cubicBezTo>
                    <a:cubicBezTo>
                      <a:pt x="322210" y="285772"/>
                      <a:pt x="331698" y="314053"/>
                      <a:pt x="331698" y="349264"/>
                    </a:cubicBezTo>
                    <a:cubicBezTo>
                      <a:pt x="331698" y="442303"/>
                      <a:pt x="273635" y="488829"/>
                      <a:pt x="157523" y="488829"/>
                    </a:cubicBezTo>
                    <a:close/>
                  </a:path>
                </a:pathLst>
              </a:custGeom>
              <a:solidFill>
                <a:srgbClr val="3D434B"/>
              </a:solidFill>
              <a:ln w="1305" cap="flat">
                <a:noFill/>
                <a:prstDash val="solid"/>
                <a:miter/>
              </a:ln>
            </p:spPr>
            <p:txBody>
              <a:bodyPr rtlCol="0" anchor="ctr"/>
              <a:lstStyle/>
              <a:p>
                <a:endParaRPr lang="de-DE" dirty="0"/>
              </a:p>
            </p:txBody>
          </p:sp>
          <p:sp>
            <p:nvSpPr>
              <p:cNvPr id="63" name="Freeform: Shape 122">
                <a:extLst>
                  <a:ext uri="{FF2B5EF4-FFF2-40B4-BE49-F238E27FC236}">
                    <a16:creationId xmlns:a16="http://schemas.microsoft.com/office/drawing/2014/main" id="{198CF365-EF94-46A4-8F90-A8E2DC659713}"/>
                  </a:ext>
                </a:extLst>
              </p:cNvPr>
              <p:cNvSpPr/>
              <p:nvPr/>
            </p:nvSpPr>
            <p:spPr bwMode="gray">
              <a:xfrm>
                <a:off x="7176575" y="2498768"/>
                <a:ext cx="333093" cy="488828"/>
              </a:xfrm>
              <a:custGeom>
                <a:avLst/>
                <a:gdLst>
                  <a:gd name="connsiteX0" fmla="*/ 217882 w 333093"/>
                  <a:gd name="connsiteY0" fmla="*/ 488829 h 488828"/>
                  <a:gd name="connsiteX1" fmla="*/ 53430 w 333093"/>
                  <a:gd name="connsiteY1" fmla="*/ 428769 h 488828"/>
                  <a:gd name="connsiteX2" fmla="*/ 0 w 333093"/>
                  <a:gd name="connsiteY2" fmla="*/ 244414 h 488828"/>
                  <a:gd name="connsiteX3" fmla="*/ 53091 w 333093"/>
                  <a:gd name="connsiteY3" fmla="*/ 60060 h 488828"/>
                  <a:gd name="connsiteX4" fmla="*/ 216512 w 333093"/>
                  <a:gd name="connsiteY4" fmla="*/ 0 h 488828"/>
                  <a:gd name="connsiteX5" fmla="*/ 333094 w 333093"/>
                  <a:gd name="connsiteY5" fmla="*/ 24300 h 488828"/>
                  <a:gd name="connsiteX6" fmla="*/ 333094 w 333093"/>
                  <a:gd name="connsiteY6" fmla="*/ 85404 h 488828"/>
                  <a:gd name="connsiteX7" fmla="*/ 218600 w 333093"/>
                  <a:gd name="connsiteY7" fmla="*/ 55544 h 488828"/>
                  <a:gd name="connsiteX8" fmla="*/ 100621 w 333093"/>
                  <a:gd name="connsiteY8" fmla="*/ 100334 h 488828"/>
                  <a:gd name="connsiteX9" fmla="*/ 63831 w 333093"/>
                  <a:gd name="connsiteY9" fmla="*/ 243723 h 488828"/>
                  <a:gd name="connsiteX10" fmla="*/ 100960 w 333093"/>
                  <a:gd name="connsiteY10" fmla="*/ 388155 h 488828"/>
                  <a:gd name="connsiteX11" fmla="*/ 220662 w 333093"/>
                  <a:gd name="connsiteY11" fmla="*/ 433285 h 488828"/>
                  <a:gd name="connsiteX12" fmla="*/ 333081 w 333093"/>
                  <a:gd name="connsiteY12" fmla="*/ 403424 h 488828"/>
                  <a:gd name="connsiteX13" fmla="*/ 333081 w 333093"/>
                  <a:gd name="connsiteY13" fmla="*/ 464528 h 488828"/>
                  <a:gd name="connsiteX14" fmla="*/ 217882 w 333093"/>
                  <a:gd name="connsiteY14" fmla="*/ 488829 h 48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3093" h="488828">
                    <a:moveTo>
                      <a:pt x="217882" y="488829"/>
                    </a:moveTo>
                    <a:cubicBezTo>
                      <a:pt x="143872" y="488829"/>
                      <a:pt x="89032" y="468809"/>
                      <a:pt x="53430" y="428769"/>
                    </a:cubicBezTo>
                    <a:cubicBezTo>
                      <a:pt x="17801" y="388729"/>
                      <a:pt x="0" y="327286"/>
                      <a:pt x="0" y="244414"/>
                    </a:cubicBezTo>
                    <a:cubicBezTo>
                      <a:pt x="0" y="161555"/>
                      <a:pt x="17697" y="100112"/>
                      <a:pt x="53091" y="60060"/>
                    </a:cubicBezTo>
                    <a:cubicBezTo>
                      <a:pt x="88484" y="20020"/>
                      <a:pt x="142958" y="0"/>
                      <a:pt x="216512" y="0"/>
                    </a:cubicBezTo>
                    <a:cubicBezTo>
                      <a:pt x="265544" y="0"/>
                      <a:pt x="304408" y="8105"/>
                      <a:pt x="333094" y="24300"/>
                    </a:cubicBezTo>
                    <a:lnTo>
                      <a:pt x="333094" y="85404"/>
                    </a:lnTo>
                    <a:cubicBezTo>
                      <a:pt x="300245" y="65502"/>
                      <a:pt x="262085" y="55544"/>
                      <a:pt x="218600" y="55544"/>
                    </a:cubicBezTo>
                    <a:cubicBezTo>
                      <a:pt x="164478" y="55544"/>
                      <a:pt x="125144" y="70474"/>
                      <a:pt x="100621" y="100334"/>
                    </a:cubicBezTo>
                    <a:cubicBezTo>
                      <a:pt x="76099" y="130194"/>
                      <a:pt x="63831" y="177999"/>
                      <a:pt x="63831" y="243723"/>
                    </a:cubicBezTo>
                    <a:cubicBezTo>
                      <a:pt x="63831" y="309929"/>
                      <a:pt x="76203" y="358060"/>
                      <a:pt x="100960" y="388155"/>
                    </a:cubicBezTo>
                    <a:cubicBezTo>
                      <a:pt x="125704" y="418250"/>
                      <a:pt x="165614" y="433285"/>
                      <a:pt x="220662" y="433285"/>
                    </a:cubicBezTo>
                    <a:cubicBezTo>
                      <a:pt x="263690" y="433285"/>
                      <a:pt x="301159" y="423340"/>
                      <a:pt x="333081" y="403424"/>
                    </a:cubicBezTo>
                    <a:lnTo>
                      <a:pt x="333081" y="464528"/>
                    </a:lnTo>
                    <a:cubicBezTo>
                      <a:pt x="304852" y="480724"/>
                      <a:pt x="266457" y="488829"/>
                      <a:pt x="217882" y="488829"/>
                    </a:cubicBezTo>
                    <a:close/>
                  </a:path>
                </a:pathLst>
              </a:custGeom>
              <a:solidFill>
                <a:srgbClr val="3D434B"/>
              </a:solidFill>
              <a:ln w="1305" cap="flat">
                <a:noFill/>
                <a:prstDash val="solid"/>
                <a:miter/>
              </a:ln>
            </p:spPr>
            <p:txBody>
              <a:bodyPr rtlCol="0" anchor="ctr"/>
              <a:lstStyle/>
              <a:p>
                <a:endParaRPr lang="de-DE" dirty="0"/>
              </a:p>
            </p:txBody>
          </p:sp>
          <p:sp>
            <p:nvSpPr>
              <p:cNvPr id="64" name="Freeform: Shape 123">
                <a:extLst>
                  <a:ext uri="{FF2B5EF4-FFF2-40B4-BE49-F238E27FC236}">
                    <a16:creationId xmlns:a16="http://schemas.microsoft.com/office/drawing/2014/main" id="{A78C5004-A22A-4843-AF8D-144856BAD798}"/>
                  </a:ext>
                </a:extLst>
              </p:cNvPr>
              <p:cNvSpPr/>
              <p:nvPr/>
            </p:nvSpPr>
            <p:spPr bwMode="gray">
              <a:xfrm>
                <a:off x="7933439" y="2507095"/>
                <a:ext cx="374020" cy="472162"/>
              </a:xfrm>
              <a:custGeom>
                <a:avLst/>
                <a:gdLst>
                  <a:gd name="connsiteX0" fmla="*/ 0 w 374020"/>
                  <a:gd name="connsiteY0" fmla="*/ 472163 h 472162"/>
                  <a:gd name="connsiteX1" fmla="*/ 0 w 374020"/>
                  <a:gd name="connsiteY1" fmla="*/ 0 h 472162"/>
                  <a:gd name="connsiteX2" fmla="*/ 62448 w 374020"/>
                  <a:gd name="connsiteY2" fmla="*/ 0 h 472162"/>
                  <a:gd name="connsiteX3" fmla="*/ 62448 w 374020"/>
                  <a:gd name="connsiteY3" fmla="*/ 202756 h 472162"/>
                  <a:gd name="connsiteX4" fmla="*/ 311574 w 374020"/>
                  <a:gd name="connsiteY4" fmla="*/ 202756 h 472162"/>
                  <a:gd name="connsiteX5" fmla="*/ 311574 w 374020"/>
                  <a:gd name="connsiteY5" fmla="*/ 0 h 472162"/>
                  <a:gd name="connsiteX6" fmla="*/ 374021 w 374020"/>
                  <a:gd name="connsiteY6" fmla="*/ 0 h 472162"/>
                  <a:gd name="connsiteX7" fmla="*/ 374021 w 374020"/>
                  <a:gd name="connsiteY7" fmla="*/ 472163 h 472162"/>
                  <a:gd name="connsiteX8" fmla="*/ 311574 w 374020"/>
                  <a:gd name="connsiteY8" fmla="*/ 472163 h 472162"/>
                  <a:gd name="connsiteX9" fmla="*/ 311574 w 374020"/>
                  <a:gd name="connsiteY9" fmla="*/ 260375 h 472162"/>
                  <a:gd name="connsiteX10" fmla="*/ 62448 w 374020"/>
                  <a:gd name="connsiteY10" fmla="*/ 260375 h 472162"/>
                  <a:gd name="connsiteX11" fmla="*/ 62448 w 374020"/>
                  <a:gd name="connsiteY11" fmla="*/ 472163 h 472162"/>
                  <a:gd name="connsiteX12" fmla="*/ 0 w 374020"/>
                  <a:gd name="connsiteY12" fmla="*/ 472163 h 47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4020" h="472162">
                    <a:moveTo>
                      <a:pt x="0" y="472163"/>
                    </a:moveTo>
                    <a:lnTo>
                      <a:pt x="0" y="0"/>
                    </a:lnTo>
                    <a:lnTo>
                      <a:pt x="62448" y="0"/>
                    </a:lnTo>
                    <a:lnTo>
                      <a:pt x="62448" y="202756"/>
                    </a:lnTo>
                    <a:lnTo>
                      <a:pt x="311574" y="202756"/>
                    </a:lnTo>
                    <a:lnTo>
                      <a:pt x="311574" y="0"/>
                    </a:lnTo>
                    <a:lnTo>
                      <a:pt x="374021" y="0"/>
                    </a:lnTo>
                    <a:lnTo>
                      <a:pt x="374021" y="472163"/>
                    </a:lnTo>
                    <a:lnTo>
                      <a:pt x="311574" y="472163"/>
                    </a:lnTo>
                    <a:lnTo>
                      <a:pt x="311574" y="260375"/>
                    </a:lnTo>
                    <a:lnTo>
                      <a:pt x="62448" y="260375"/>
                    </a:lnTo>
                    <a:lnTo>
                      <a:pt x="62448" y="472163"/>
                    </a:lnTo>
                    <a:lnTo>
                      <a:pt x="0" y="472163"/>
                    </a:lnTo>
                    <a:close/>
                  </a:path>
                </a:pathLst>
              </a:custGeom>
              <a:solidFill>
                <a:srgbClr val="3D434B"/>
              </a:solidFill>
              <a:ln w="1305" cap="flat">
                <a:noFill/>
                <a:prstDash val="solid"/>
                <a:miter/>
              </a:ln>
            </p:spPr>
            <p:txBody>
              <a:bodyPr rtlCol="0" anchor="ctr"/>
              <a:lstStyle/>
              <a:p>
                <a:endParaRPr lang="de-DE" dirty="0"/>
              </a:p>
            </p:txBody>
          </p:sp>
          <p:sp>
            <p:nvSpPr>
              <p:cNvPr id="65" name="Freeform: Shape 124">
                <a:extLst>
                  <a:ext uri="{FF2B5EF4-FFF2-40B4-BE49-F238E27FC236}">
                    <a16:creationId xmlns:a16="http://schemas.microsoft.com/office/drawing/2014/main" id="{8AEB390D-14F4-4F79-8F7D-0CBD609BCBC4}"/>
                  </a:ext>
                </a:extLst>
              </p:cNvPr>
              <p:cNvSpPr/>
              <p:nvPr/>
            </p:nvSpPr>
            <p:spPr bwMode="gray">
              <a:xfrm>
                <a:off x="8759917" y="2507095"/>
                <a:ext cx="355997" cy="480502"/>
              </a:xfrm>
              <a:custGeom>
                <a:avLst/>
                <a:gdLst>
                  <a:gd name="connsiteX0" fmla="*/ 313661 w 355997"/>
                  <a:gd name="connsiteY0" fmla="*/ 437108 h 480502"/>
                  <a:gd name="connsiteX1" fmla="*/ 178338 w 355997"/>
                  <a:gd name="connsiteY1" fmla="*/ 480502 h 480502"/>
                  <a:gd name="connsiteX2" fmla="*/ 42676 w 355997"/>
                  <a:gd name="connsiteY2" fmla="*/ 437108 h 480502"/>
                  <a:gd name="connsiteX3" fmla="*/ 0 w 355997"/>
                  <a:gd name="connsiteY3" fmla="*/ 297896 h 480502"/>
                  <a:gd name="connsiteX4" fmla="*/ 0 w 355997"/>
                  <a:gd name="connsiteY4" fmla="*/ 0 h 480502"/>
                  <a:gd name="connsiteX5" fmla="*/ 62447 w 355997"/>
                  <a:gd name="connsiteY5" fmla="*/ 0 h 480502"/>
                  <a:gd name="connsiteX6" fmla="*/ 62447 w 355997"/>
                  <a:gd name="connsiteY6" fmla="*/ 303430 h 480502"/>
                  <a:gd name="connsiteX7" fmla="*/ 90206 w 355997"/>
                  <a:gd name="connsiteY7" fmla="*/ 395437 h 480502"/>
                  <a:gd name="connsiteX8" fmla="*/ 179030 w 355997"/>
                  <a:gd name="connsiteY8" fmla="*/ 424254 h 480502"/>
                  <a:gd name="connsiteX9" fmla="*/ 268558 w 355997"/>
                  <a:gd name="connsiteY9" fmla="*/ 395437 h 480502"/>
                  <a:gd name="connsiteX10" fmla="*/ 296317 w 355997"/>
                  <a:gd name="connsiteY10" fmla="*/ 303430 h 480502"/>
                  <a:gd name="connsiteX11" fmla="*/ 296317 w 355997"/>
                  <a:gd name="connsiteY11" fmla="*/ 0 h 480502"/>
                  <a:gd name="connsiteX12" fmla="*/ 355998 w 355997"/>
                  <a:gd name="connsiteY12" fmla="*/ 0 h 480502"/>
                  <a:gd name="connsiteX13" fmla="*/ 355998 w 355997"/>
                  <a:gd name="connsiteY13" fmla="*/ 297883 h 480502"/>
                  <a:gd name="connsiteX14" fmla="*/ 313661 w 355997"/>
                  <a:gd name="connsiteY14" fmla="*/ 437108 h 48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5997" h="480502">
                    <a:moveTo>
                      <a:pt x="313661" y="437108"/>
                    </a:moveTo>
                    <a:cubicBezTo>
                      <a:pt x="285433" y="466042"/>
                      <a:pt x="240342" y="480502"/>
                      <a:pt x="178338" y="480502"/>
                    </a:cubicBezTo>
                    <a:cubicBezTo>
                      <a:pt x="116334" y="480502"/>
                      <a:pt x="71127" y="466042"/>
                      <a:pt x="42676" y="437108"/>
                    </a:cubicBezTo>
                    <a:cubicBezTo>
                      <a:pt x="14225" y="408188"/>
                      <a:pt x="0" y="361767"/>
                      <a:pt x="0" y="297896"/>
                    </a:cubicBezTo>
                    <a:lnTo>
                      <a:pt x="0" y="0"/>
                    </a:lnTo>
                    <a:lnTo>
                      <a:pt x="62447" y="0"/>
                    </a:lnTo>
                    <a:lnTo>
                      <a:pt x="62447" y="303430"/>
                    </a:lnTo>
                    <a:cubicBezTo>
                      <a:pt x="62447" y="345558"/>
                      <a:pt x="71701" y="376227"/>
                      <a:pt x="90206" y="395437"/>
                    </a:cubicBezTo>
                    <a:cubicBezTo>
                      <a:pt x="108712" y="414661"/>
                      <a:pt x="138324" y="424254"/>
                      <a:pt x="179030" y="424254"/>
                    </a:cubicBezTo>
                    <a:cubicBezTo>
                      <a:pt x="220205" y="424254"/>
                      <a:pt x="250039" y="414661"/>
                      <a:pt x="268558" y="395437"/>
                    </a:cubicBezTo>
                    <a:cubicBezTo>
                      <a:pt x="287051" y="376240"/>
                      <a:pt x="296317" y="345571"/>
                      <a:pt x="296317" y="303430"/>
                    </a:cubicBezTo>
                    <a:lnTo>
                      <a:pt x="296317" y="0"/>
                    </a:lnTo>
                    <a:lnTo>
                      <a:pt x="355998" y="0"/>
                    </a:lnTo>
                    <a:lnTo>
                      <a:pt x="355998" y="297883"/>
                    </a:lnTo>
                    <a:cubicBezTo>
                      <a:pt x="355998" y="361767"/>
                      <a:pt x="341877" y="408175"/>
                      <a:pt x="313661" y="437108"/>
                    </a:cubicBezTo>
                    <a:close/>
                  </a:path>
                </a:pathLst>
              </a:custGeom>
              <a:solidFill>
                <a:srgbClr val="3D434B"/>
              </a:solidFill>
              <a:ln w="1305" cap="flat">
                <a:noFill/>
                <a:prstDash val="solid"/>
                <a:miter/>
              </a:ln>
            </p:spPr>
            <p:txBody>
              <a:bodyPr rtlCol="0" anchor="ctr"/>
              <a:lstStyle/>
              <a:p>
                <a:endParaRPr lang="de-DE" dirty="0"/>
              </a:p>
            </p:txBody>
          </p:sp>
          <p:sp>
            <p:nvSpPr>
              <p:cNvPr id="66" name="Freeform: Shape 125">
                <a:extLst>
                  <a:ext uri="{FF2B5EF4-FFF2-40B4-BE49-F238E27FC236}">
                    <a16:creationId xmlns:a16="http://schemas.microsoft.com/office/drawing/2014/main" id="{65220531-C52A-4081-9F61-0348C50E4D73}"/>
                  </a:ext>
                </a:extLst>
              </p:cNvPr>
              <p:cNvSpPr/>
              <p:nvPr/>
            </p:nvSpPr>
            <p:spPr bwMode="gray">
              <a:xfrm>
                <a:off x="9568358" y="2507095"/>
                <a:ext cx="299083" cy="472175"/>
              </a:xfrm>
              <a:custGeom>
                <a:avLst/>
                <a:gdLst>
                  <a:gd name="connsiteX0" fmla="*/ 0 w 299083"/>
                  <a:gd name="connsiteY0" fmla="*/ 472163 h 472175"/>
                  <a:gd name="connsiteX1" fmla="*/ 0 w 299083"/>
                  <a:gd name="connsiteY1" fmla="*/ 0 h 472175"/>
                  <a:gd name="connsiteX2" fmla="*/ 62447 w 299083"/>
                  <a:gd name="connsiteY2" fmla="*/ 0 h 472175"/>
                  <a:gd name="connsiteX3" fmla="*/ 62447 w 299083"/>
                  <a:gd name="connsiteY3" fmla="*/ 415927 h 472175"/>
                  <a:gd name="connsiteX4" fmla="*/ 299084 w 299083"/>
                  <a:gd name="connsiteY4" fmla="*/ 415927 h 472175"/>
                  <a:gd name="connsiteX5" fmla="*/ 299084 w 299083"/>
                  <a:gd name="connsiteY5" fmla="*/ 472176 h 472175"/>
                  <a:gd name="connsiteX6" fmla="*/ 0 w 299083"/>
                  <a:gd name="connsiteY6" fmla="*/ 472176 h 472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083" h="472175">
                    <a:moveTo>
                      <a:pt x="0" y="472163"/>
                    </a:moveTo>
                    <a:lnTo>
                      <a:pt x="0" y="0"/>
                    </a:lnTo>
                    <a:lnTo>
                      <a:pt x="62447" y="0"/>
                    </a:lnTo>
                    <a:lnTo>
                      <a:pt x="62447" y="415927"/>
                    </a:lnTo>
                    <a:lnTo>
                      <a:pt x="299084" y="415927"/>
                    </a:lnTo>
                    <a:lnTo>
                      <a:pt x="299084" y="472176"/>
                    </a:lnTo>
                    <a:lnTo>
                      <a:pt x="0" y="472176"/>
                    </a:lnTo>
                    <a:close/>
                  </a:path>
                </a:pathLst>
              </a:custGeom>
              <a:solidFill>
                <a:srgbClr val="3D434B"/>
              </a:solidFill>
              <a:ln w="1305" cap="flat">
                <a:noFill/>
                <a:prstDash val="solid"/>
                <a:miter/>
              </a:ln>
            </p:spPr>
            <p:txBody>
              <a:bodyPr rtlCol="0" anchor="ctr"/>
              <a:lstStyle/>
              <a:p>
                <a:endParaRPr lang="de-DE" dirty="0"/>
              </a:p>
            </p:txBody>
          </p:sp>
          <p:sp>
            <p:nvSpPr>
              <p:cNvPr id="67" name="Freeform: Shape 126">
                <a:extLst>
                  <a:ext uri="{FF2B5EF4-FFF2-40B4-BE49-F238E27FC236}">
                    <a16:creationId xmlns:a16="http://schemas.microsoft.com/office/drawing/2014/main" id="{B6298A8E-BD72-4A38-A56F-88B68A5C6585}"/>
                  </a:ext>
                </a:extLst>
              </p:cNvPr>
              <p:cNvSpPr/>
              <p:nvPr/>
            </p:nvSpPr>
            <p:spPr bwMode="gray">
              <a:xfrm>
                <a:off x="10265867" y="2507095"/>
                <a:ext cx="341420" cy="472162"/>
              </a:xfrm>
              <a:custGeom>
                <a:avLst/>
                <a:gdLst>
                  <a:gd name="connsiteX0" fmla="*/ 0 w 341420"/>
                  <a:gd name="connsiteY0" fmla="*/ 472163 h 472162"/>
                  <a:gd name="connsiteX1" fmla="*/ 0 w 341420"/>
                  <a:gd name="connsiteY1" fmla="*/ 0 h 472162"/>
                  <a:gd name="connsiteX2" fmla="*/ 337257 w 341420"/>
                  <a:gd name="connsiteY2" fmla="*/ 0 h 472162"/>
                  <a:gd name="connsiteX3" fmla="*/ 337257 w 341420"/>
                  <a:gd name="connsiteY3" fmla="*/ 55544 h 472162"/>
                  <a:gd name="connsiteX4" fmla="*/ 62461 w 341420"/>
                  <a:gd name="connsiteY4" fmla="*/ 55544 h 472162"/>
                  <a:gd name="connsiteX5" fmla="*/ 62461 w 341420"/>
                  <a:gd name="connsiteY5" fmla="*/ 204140 h 472162"/>
                  <a:gd name="connsiteX6" fmla="*/ 298405 w 341420"/>
                  <a:gd name="connsiteY6" fmla="*/ 204140 h 472162"/>
                  <a:gd name="connsiteX7" fmla="*/ 298405 w 341420"/>
                  <a:gd name="connsiteY7" fmla="*/ 259684 h 472162"/>
                  <a:gd name="connsiteX8" fmla="*/ 62461 w 341420"/>
                  <a:gd name="connsiteY8" fmla="*/ 259684 h 472162"/>
                  <a:gd name="connsiteX9" fmla="*/ 62461 w 341420"/>
                  <a:gd name="connsiteY9" fmla="*/ 416606 h 472162"/>
                  <a:gd name="connsiteX10" fmla="*/ 341420 w 341420"/>
                  <a:gd name="connsiteY10" fmla="*/ 416606 h 472162"/>
                  <a:gd name="connsiteX11" fmla="*/ 341420 w 341420"/>
                  <a:gd name="connsiteY11" fmla="*/ 472150 h 472162"/>
                  <a:gd name="connsiteX12" fmla="*/ 0 w 341420"/>
                  <a:gd name="connsiteY12" fmla="*/ 472150 h 47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1420" h="472162">
                    <a:moveTo>
                      <a:pt x="0" y="472163"/>
                    </a:moveTo>
                    <a:lnTo>
                      <a:pt x="0" y="0"/>
                    </a:lnTo>
                    <a:lnTo>
                      <a:pt x="337257" y="0"/>
                    </a:lnTo>
                    <a:lnTo>
                      <a:pt x="337257" y="55544"/>
                    </a:lnTo>
                    <a:lnTo>
                      <a:pt x="62461" y="55544"/>
                    </a:lnTo>
                    <a:lnTo>
                      <a:pt x="62461" y="204140"/>
                    </a:lnTo>
                    <a:lnTo>
                      <a:pt x="298405" y="204140"/>
                    </a:lnTo>
                    <a:lnTo>
                      <a:pt x="298405" y="259684"/>
                    </a:lnTo>
                    <a:lnTo>
                      <a:pt x="62461" y="259684"/>
                    </a:lnTo>
                    <a:lnTo>
                      <a:pt x="62461" y="416606"/>
                    </a:lnTo>
                    <a:lnTo>
                      <a:pt x="341420" y="416606"/>
                    </a:lnTo>
                    <a:lnTo>
                      <a:pt x="341420" y="472150"/>
                    </a:lnTo>
                    <a:lnTo>
                      <a:pt x="0" y="472150"/>
                    </a:lnTo>
                    <a:close/>
                  </a:path>
                </a:pathLst>
              </a:custGeom>
              <a:solidFill>
                <a:srgbClr val="3D434B"/>
              </a:solidFill>
              <a:ln w="1305" cap="flat">
                <a:noFill/>
                <a:prstDash val="solid"/>
                <a:miter/>
              </a:ln>
            </p:spPr>
            <p:txBody>
              <a:bodyPr rtlCol="0" anchor="ctr"/>
              <a:lstStyle/>
              <a:p>
                <a:endParaRPr lang="de-DE" dirty="0"/>
              </a:p>
            </p:txBody>
          </p:sp>
        </p:grpSp>
        <p:grpSp>
          <p:nvGrpSpPr>
            <p:cNvPr id="20" name="Graphic 3">
              <a:extLst>
                <a:ext uri="{FF2B5EF4-FFF2-40B4-BE49-F238E27FC236}">
                  <a16:creationId xmlns:a16="http://schemas.microsoft.com/office/drawing/2014/main" id="{3BB9D991-CA51-4C6F-99C8-E1A39AD98A8D}"/>
                </a:ext>
              </a:extLst>
            </p:cNvPr>
            <p:cNvGrpSpPr/>
            <p:nvPr/>
          </p:nvGrpSpPr>
          <p:grpSpPr bwMode="gray">
            <a:xfrm>
              <a:off x="3221861" y="4478474"/>
              <a:ext cx="7388088" cy="271651"/>
              <a:chOff x="3221861" y="4478474"/>
              <a:chExt cx="7388088" cy="271651"/>
            </a:xfrm>
            <a:solidFill>
              <a:srgbClr val="3D434B"/>
            </a:solidFill>
          </p:grpSpPr>
          <p:sp>
            <p:nvSpPr>
              <p:cNvPr id="25" name="Freeform: Shape 90">
                <a:extLst>
                  <a:ext uri="{FF2B5EF4-FFF2-40B4-BE49-F238E27FC236}">
                    <a16:creationId xmlns:a16="http://schemas.microsoft.com/office/drawing/2014/main" id="{54DCCFFC-6FB1-475B-ACEE-16D6F4793AF9}"/>
                  </a:ext>
                </a:extLst>
              </p:cNvPr>
              <p:cNvSpPr/>
              <p:nvPr/>
            </p:nvSpPr>
            <p:spPr bwMode="gray">
              <a:xfrm>
                <a:off x="3221861" y="4483107"/>
                <a:ext cx="197810" cy="267018"/>
              </a:xfrm>
              <a:custGeom>
                <a:avLst/>
                <a:gdLst>
                  <a:gd name="connsiteX0" fmla="*/ 174319 w 197810"/>
                  <a:gd name="connsiteY0" fmla="*/ 242901 h 267018"/>
                  <a:gd name="connsiteX1" fmla="*/ 99120 w 197810"/>
                  <a:gd name="connsiteY1" fmla="*/ 267018 h 267018"/>
                  <a:gd name="connsiteX2" fmla="*/ 23726 w 197810"/>
                  <a:gd name="connsiteY2" fmla="*/ 242901 h 267018"/>
                  <a:gd name="connsiteX3" fmla="*/ 0 w 197810"/>
                  <a:gd name="connsiteY3" fmla="*/ 165536 h 267018"/>
                  <a:gd name="connsiteX4" fmla="*/ 0 w 197810"/>
                  <a:gd name="connsiteY4" fmla="*/ 0 h 267018"/>
                  <a:gd name="connsiteX5" fmla="*/ 34702 w 197810"/>
                  <a:gd name="connsiteY5" fmla="*/ 0 h 267018"/>
                  <a:gd name="connsiteX6" fmla="*/ 34702 w 197810"/>
                  <a:gd name="connsiteY6" fmla="*/ 168615 h 267018"/>
                  <a:gd name="connsiteX7" fmla="*/ 50128 w 197810"/>
                  <a:gd name="connsiteY7" fmla="*/ 219735 h 267018"/>
                  <a:gd name="connsiteX8" fmla="*/ 99486 w 197810"/>
                  <a:gd name="connsiteY8" fmla="*/ 235749 h 267018"/>
                  <a:gd name="connsiteX9" fmla="*/ 149222 w 197810"/>
                  <a:gd name="connsiteY9" fmla="*/ 219735 h 267018"/>
                  <a:gd name="connsiteX10" fmla="*/ 164648 w 197810"/>
                  <a:gd name="connsiteY10" fmla="*/ 168615 h 267018"/>
                  <a:gd name="connsiteX11" fmla="*/ 164648 w 197810"/>
                  <a:gd name="connsiteY11" fmla="*/ 0 h 267018"/>
                  <a:gd name="connsiteX12" fmla="*/ 197810 w 197810"/>
                  <a:gd name="connsiteY12" fmla="*/ 0 h 267018"/>
                  <a:gd name="connsiteX13" fmla="*/ 197810 w 197810"/>
                  <a:gd name="connsiteY13" fmla="*/ 165536 h 267018"/>
                  <a:gd name="connsiteX14" fmla="*/ 174319 w 197810"/>
                  <a:gd name="connsiteY14" fmla="*/ 242901 h 267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7810" h="267018">
                    <a:moveTo>
                      <a:pt x="174319" y="242901"/>
                    </a:moveTo>
                    <a:cubicBezTo>
                      <a:pt x="158632" y="258979"/>
                      <a:pt x="133561" y="267018"/>
                      <a:pt x="99120" y="267018"/>
                    </a:cubicBezTo>
                    <a:cubicBezTo>
                      <a:pt x="64666" y="267018"/>
                      <a:pt x="39544" y="258979"/>
                      <a:pt x="23726" y="242901"/>
                    </a:cubicBezTo>
                    <a:cubicBezTo>
                      <a:pt x="7909" y="226822"/>
                      <a:pt x="0" y="201034"/>
                      <a:pt x="0" y="165536"/>
                    </a:cubicBezTo>
                    <a:lnTo>
                      <a:pt x="0" y="0"/>
                    </a:lnTo>
                    <a:lnTo>
                      <a:pt x="34702" y="0"/>
                    </a:lnTo>
                    <a:lnTo>
                      <a:pt x="34702" y="168615"/>
                    </a:lnTo>
                    <a:cubicBezTo>
                      <a:pt x="34702" y="192029"/>
                      <a:pt x="39844" y="209073"/>
                      <a:pt x="50128" y="219735"/>
                    </a:cubicBezTo>
                    <a:cubicBezTo>
                      <a:pt x="60412" y="230424"/>
                      <a:pt x="76869" y="235749"/>
                      <a:pt x="99486" y="235749"/>
                    </a:cubicBezTo>
                    <a:cubicBezTo>
                      <a:pt x="122351" y="235749"/>
                      <a:pt x="138951" y="230411"/>
                      <a:pt x="149222" y="219735"/>
                    </a:cubicBezTo>
                    <a:cubicBezTo>
                      <a:pt x="159506" y="209073"/>
                      <a:pt x="164648" y="192029"/>
                      <a:pt x="164648" y="168615"/>
                    </a:cubicBezTo>
                    <a:lnTo>
                      <a:pt x="164648" y="0"/>
                    </a:lnTo>
                    <a:lnTo>
                      <a:pt x="197810" y="0"/>
                    </a:lnTo>
                    <a:lnTo>
                      <a:pt x="197810" y="165536"/>
                    </a:lnTo>
                    <a:cubicBezTo>
                      <a:pt x="197836" y="201034"/>
                      <a:pt x="189993" y="226822"/>
                      <a:pt x="174319" y="242901"/>
                    </a:cubicBezTo>
                    <a:close/>
                  </a:path>
                </a:pathLst>
              </a:custGeom>
              <a:solidFill>
                <a:srgbClr val="3D434B"/>
              </a:solidFill>
              <a:ln w="1305" cap="flat">
                <a:noFill/>
                <a:prstDash val="solid"/>
                <a:miter/>
              </a:ln>
            </p:spPr>
            <p:txBody>
              <a:bodyPr rtlCol="0" anchor="ctr"/>
              <a:lstStyle/>
              <a:p>
                <a:endParaRPr lang="de-DE" dirty="0"/>
              </a:p>
            </p:txBody>
          </p:sp>
          <p:sp>
            <p:nvSpPr>
              <p:cNvPr id="26" name="Freeform: Shape 91">
                <a:extLst>
                  <a:ext uri="{FF2B5EF4-FFF2-40B4-BE49-F238E27FC236}">
                    <a16:creationId xmlns:a16="http://schemas.microsoft.com/office/drawing/2014/main" id="{5583F8BC-EB1F-44E5-86CC-FB71B0434302}"/>
                  </a:ext>
                </a:extLst>
              </p:cNvPr>
              <p:cNvSpPr/>
              <p:nvPr/>
            </p:nvSpPr>
            <p:spPr bwMode="gray">
              <a:xfrm>
                <a:off x="3525970" y="4483107"/>
                <a:ext cx="207859" cy="262385"/>
              </a:xfrm>
              <a:custGeom>
                <a:avLst/>
                <a:gdLst>
                  <a:gd name="connsiteX0" fmla="*/ 0 w 207859"/>
                  <a:gd name="connsiteY0" fmla="*/ 262385 h 262385"/>
                  <a:gd name="connsiteX1" fmla="*/ 0 w 207859"/>
                  <a:gd name="connsiteY1" fmla="*/ 0 h 262385"/>
                  <a:gd name="connsiteX2" fmla="*/ 43642 w 207859"/>
                  <a:gd name="connsiteY2" fmla="*/ 0 h 262385"/>
                  <a:gd name="connsiteX3" fmla="*/ 174697 w 207859"/>
                  <a:gd name="connsiteY3" fmla="*/ 199885 h 262385"/>
                  <a:gd name="connsiteX4" fmla="*/ 174697 w 207859"/>
                  <a:gd name="connsiteY4" fmla="*/ 0 h 262385"/>
                  <a:gd name="connsiteX5" fmla="*/ 207859 w 207859"/>
                  <a:gd name="connsiteY5" fmla="*/ 0 h 262385"/>
                  <a:gd name="connsiteX6" fmla="*/ 207859 w 207859"/>
                  <a:gd name="connsiteY6" fmla="*/ 262385 h 262385"/>
                  <a:gd name="connsiteX7" fmla="*/ 175076 w 207859"/>
                  <a:gd name="connsiteY7" fmla="*/ 262385 h 262385"/>
                  <a:gd name="connsiteX8" fmla="*/ 33175 w 207859"/>
                  <a:gd name="connsiteY8" fmla="*/ 45925 h 262385"/>
                  <a:gd name="connsiteX9" fmla="*/ 33175 w 207859"/>
                  <a:gd name="connsiteY9" fmla="*/ 262385 h 262385"/>
                  <a:gd name="connsiteX10" fmla="*/ 0 w 207859"/>
                  <a:gd name="connsiteY10"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859" h="262385">
                    <a:moveTo>
                      <a:pt x="0" y="262385"/>
                    </a:moveTo>
                    <a:lnTo>
                      <a:pt x="0" y="0"/>
                    </a:lnTo>
                    <a:lnTo>
                      <a:pt x="43642" y="0"/>
                    </a:lnTo>
                    <a:lnTo>
                      <a:pt x="174697" y="199885"/>
                    </a:lnTo>
                    <a:lnTo>
                      <a:pt x="174697" y="0"/>
                    </a:lnTo>
                    <a:lnTo>
                      <a:pt x="207859" y="0"/>
                    </a:lnTo>
                    <a:lnTo>
                      <a:pt x="207859" y="262385"/>
                    </a:lnTo>
                    <a:lnTo>
                      <a:pt x="175076" y="262385"/>
                    </a:lnTo>
                    <a:lnTo>
                      <a:pt x="33175" y="45925"/>
                    </a:lnTo>
                    <a:lnTo>
                      <a:pt x="33175" y="262385"/>
                    </a:lnTo>
                    <a:lnTo>
                      <a:pt x="0" y="262385"/>
                    </a:lnTo>
                    <a:close/>
                  </a:path>
                </a:pathLst>
              </a:custGeom>
              <a:solidFill>
                <a:srgbClr val="3D434B"/>
              </a:solidFill>
              <a:ln w="1305" cap="flat">
                <a:noFill/>
                <a:prstDash val="solid"/>
                <a:miter/>
              </a:ln>
            </p:spPr>
            <p:txBody>
              <a:bodyPr rtlCol="0" anchor="ctr"/>
              <a:lstStyle/>
              <a:p>
                <a:endParaRPr lang="de-DE" dirty="0"/>
              </a:p>
            </p:txBody>
          </p:sp>
          <p:sp>
            <p:nvSpPr>
              <p:cNvPr id="27" name="Freeform: Shape 92">
                <a:extLst>
                  <a:ext uri="{FF2B5EF4-FFF2-40B4-BE49-F238E27FC236}">
                    <a16:creationId xmlns:a16="http://schemas.microsoft.com/office/drawing/2014/main" id="{B6B6A9CB-2E18-4D05-A59C-627428BBDBA8}"/>
                  </a:ext>
                </a:extLst>
              </p:cNvPr>
              <p:cNvSpPr/>
              <p:nvPr/>
            </p:nvSpPr>
            <p:spPr bwMode="gray">
              <a:xfrm>
                <a:off x="3842463" y="4483107"/>
                <a:ext cx="34702" cy="262385"/>
              </a:xfrm>
              <a:custGeom>
                <a:avLst/>
                <a:gdLst>
                  <a:gd name="connsiteX0" fmla="*/ 0 w 34702"/>
                  <a:gd name="connsiteY0" fmla="*/ 262385 h 262385"/>
                  <a:gd name="connsiteX1" fmla="*/ 0 w 34702"/>
                  <a:gd name="connsiteY1" fmla="*/ 0 h 262385"/>
                  <a:gd name="connsiteX2" fmla="*/ 34702 w 34702"/>
                  <a:gd name="connsiteY2" fmla="*/ 0 h 262385"/>
                  <a:gd name="connsiteX3" fmla="*/ 34702 w 34702"/>
                  <a:gd name="connsiteY3" fmla="*/ 262385 h 262385"/>
                  <a:gd name="connsiteX4" fmla="*/ 0 w 34702"/>
                  <a:gd name="connsiteY4" fmla="*/ 262385 h 262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2" h="262385">
                    <a:moveTo>
                      <a:pt x="0" y="262385"/>
                    </a:moveTo>
                    <a:lnTo>
                      <a:pt x="0" y="0"/>
                    </a:lnTo>
                    <a:lnTo>
                      <a:pt x="34702" y="0"/>
                    </a:lnTo>
                    <a:lnTo>
                      <a:pt x="34702" y="262385"/>
                    </a:lnTo>
                    <a:lnTo>
                      <a:pt x="0" y="262385"/>
                    </a:lnTo>
                    <a:close/>
                  </a:path>
                </a:pathLst>
              </a:custGeom>
              <a:solidFill>
                <a:srgbClr val="3D434B"/>
              </a:solidFill>
              <a:ln w="1305" cap="flat">
                <a:noFill/>
                <a:prstDash val="solid"/>
                <a:miter/>
              </a:ln>
            </p:spPr>
            <p:txBody>
              <a:bodyPr rtlCol="0" anchor="ctr"/>
              <a:lstStyle/>
              <a:p>
                <a:endParaRPr lang="de-DE" dirty="0"/>
              </a:p>
            </p:txBody>
          </p:sp>
          <p:sp>
            <p:nvSpPr>
              <p:cNvPr id="28" name="Freeform: Shape 93">
                <a:extLst>
                  <a:ext uri="{FF2B5EF4-FFF2-40B4-BE49-F238E27FC236}">
                    <a16:creationId xmlns:a16="http://schemas.microsoft.com/office/drawing/2014/main" id="{2C5F991D-C30D-4A3A-8433-6E5581B55632}"/>
                  </a:ext>
                </a:extLst>
              </p:cNvPr>
              <p:cNvSpPr/>
              <p:nvPr/>
            </p:nvSpPr>
            <p:spPr bwMode="gray">
              <a:xfrm>
                <a:off x="3960377" y="4483107"/>
                <a:ext cx="224825" cy="262385"/>
              </a:xfrm>
              <a:custGeom>
                <a:avLst/>
                <a:gdLst>
                  <a:gd name="connsiteX0" fmla="*/ 94070 w 224825"/>
                  <a:gd name="connsiteY0" fmla="*/ 262385 h 262385"/>
                  <a:gd name="connsiteX1" fmla="*/ 0 w 224825"/>
                  <a:gd name="connsiteY1" fmla="*/ 0 h 262385"/>
                  <a:gd name="connsiteX2" fmla="*/ 37025 w 224825"/>
                  <a:gd name="connsiteY2" fmla="*/ 0 h 262385"/>
                  <a:gd name="connsiteX3" fmla="*/ 113385 w 224825"/>
                  <a:gd name="connsiteY3" fmla="*/ 214306 h 262385"/>
                  <a:gd name="connsiteX4" fmla="*/ 189731 w 224825"/>
                  <a:gd name="connsiteY4" fmla="*/ 0 h 262385"/>
                  <a:gd name="connsiteX5" fmla="*/ 224825 w 224825"/>
                  <a:gd name="connsiteY5" fmla="*/ 0 h 262385"/>
                  <a:gd name="connsiteX6" fmla="*/ 130742 w 224825"/>
                  <a:gd name="connsiteY6" fmla="*/ 262385 h 262385"/>
                  <a:gd name="connsiteX7" fmla="*/ 94070 w 224825"/>
                  <a:gd name="connsiteY7"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825" h="262385">
                    <a:moveTo>
                      <a:pt x="94070" y="262385"/>
                    </a:moveTo>
                    <a:lnTo>
                      <a:pt x="0" y="0"/>
                    </a:lnTo>
                    <a:lnTo>
                      <a:pt x="37025" y="0"/>
                    </a:lnTo>
                    <a:lnTo>
                      <a:pt x="113385" y="214306"/>
                    </a:lnTo>
                    <a:lnTo>
                      <a:pt x="189731" y="0"/>
                    </a:lnTo>
                    <a:lnTo>
                      <a:pt x="224825" y="0"/>
                    </a:lnTo>
                    <a:lnTo>
                      <a:pt x="130742" y="262385"/>
                    </a:lnTo>
                    <a:lnTo>
                      <a:pt x="94070" y="262385"/>
                    </a:lnTo>
                    <a:close/>
                  </a:path>
                </a:pathLst>
              </a:custGeom>
              <a:solidFill>
                <a:srgbClr val="3D434B"/>
              </a:solidFill>
              <a:ln w="1305" cap="flat">
                <a:noFill/>
                <a:prstDash val="solid"/>
                <a:miter/>
              </a:ln>
            </p:spPr>
            <p:txBody>
              <a:bodyPr rtlCol="0" anchor="ctr"/>
              <a:lstStyle/>
              <a:p>
                <a:endParaRPr lang="de-DE" dirty="0"/>
              </a:p>
            </p:txBody>
          </p:sp>
          <p:sp>
            <p:nvSpPr>
              <p:cNvPr id="29" name="Freeform: Shape 94">
                <a:extLst>
                  <a:ext uri="{FF2B5EF4-FFF2-40B4-BE49-F238E27FC236}">
                    <a16:creationId xmlns:a16="http://schemas.microsoft.com/office/drawing/2014/main" id="{55A1AC90-D7E0-496A-B957-040A184F744F}"/>
                  </a:ext>
                </a:extLst>
              </p:cNvPr>
              <p:cNvSpPr/>
              <p:nvPr/>
            </p:nvSpPr>
            <p:spPr bwMode="gray">
              <a:xfrm>
                <a:off x="4268413" y="4483107"/>
                <a:ext cx="189731" cy="262385"/>
              </a:xfrm>
              <a:custGeom>
                <a:avLst/>
                <a:gdLst>
                  <a:gd name="connsiteX0" fmla="*/ 0 w 189731"/>
                  <a:gd name="connsiteY0" fmla="*/ 262385 h 262385"/>
                  <a:gd name="connsiteX1" fmla="*/ 0 w 189731"/>
                  <a:gd name="connsiteY1" fmla="*/ 0 h 262385"/>
                  <a:gd name="connsiteX2" fmla="*/ 187422 w 189731"/>
                  <a:gd name="connsiteY2" fmla="*/ 0 h 262385"/>
                  <a:gd name="connsiteX3" fmla="*/ 187422 w 189731"/>
                  <a:gd name="connsiteY3" fmla="*/ 30865 h 262385"/>
                  <a:gd name="connsiteX4" fmla="*/ 34715 w 189731"/>
                  <a:gd name="connsiteY4" fmla="*/ 30865 h 262385"/>
                  <a:gd name="connsiteX5" fmla="*/ 34715 w 189731"/>
                  <a:gd name="connsiteY5" fmla="*/ 113437 h 262385"/>
                  <a:gd name="connsiteX6" fmla="*/ 165836 w 189731"/>
                  <a:gd name="connsiteY6" fmla="*/ 113437 h 262385"/>
                  <a:gd name="connsiteX7" fmla="*/ 165836 w 189731"/>
                  <a:gd name="connsiteY7" fmla="*/ 144302 h 262385"/>
                  <a:gd name="connsiteX8" fmla="*/ 34715 w 189731"/>
                  <a:gd name="connsiteY8" fmla="*/ 144302 h 262385"/>
                  <a:gd name="connsiteX9" fmla="*/ 34715 w 189731"/>
                  <a:gd name="connsiteY9" fmla="*/ 231507 h 262385"/>
                  <a:gd name="connsiteX10" fmla="*/ 189732 w 189731"/>
                  <a:gd name="connsiteY10" fmla="*/ 231507 h 262385"/>
                  <a:gd name="connsiteX11" fmla="*/ 189732 w 189731"/>
                  <a:gd name="connsiteY11" fmla="*/ 262372 h 262385"/>
                  <a:gd name="connsiteX12" fmla="*/ 0 w 189731"/>
                  <a:gd name="connsiteY12" fmla="*/ 262372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731" h="262385">
                    <a:moveTo>
                      <a:pt x="0" y="262385"/>
                    </a:moveTo>
                    <a:lnTo>
                      <a:pt x="0" y="0"/>
                    </a:lnTo>
                    <a:lnTo>
                      <a:pt x="187422" y="0"/>
                    </a:lnTo>
                    <a:lnTo>
                      <a:pt x="187422" y="30865"/>
                    </a:lnTo>
                    <a:lnTo>
                      <a:pt x="34715" y="30865"/>
                    </a:lnTo>
                    <a:lnTo>
                      <a:pt x="34715" y="113437"/>
                    </a:lnTo>
                    <a:lnTo>
                      <a:pt x="165836" y="113437"/>
                    </a:lnTo>
                    <a:lnTo>
                      <a:pt x="165836" y="144302"/>
                    </a:lnTo>
                    <a:lnTo>
                      <a:pt x="34715" y="144302"/>
                    </a:lnTo>
                    <a:lnTo>
                      <a:pt x="34715" y="231507"/>
                    </a:lnTo>
                    <a:lnTo>
                      <a:pt x="189732" y="231507"/>
                    </a:lnTo>
                    <a:lnTo>
                      <a:pt x="189732" y="262372"/>
                    </a:lnTo>
                    <a:lnTo>
                      <a:pt x="0" y="262372"/>
                    </a:lnTo>
                    <a:close/>
                  </a:path>
                </a:pathLst>
              </a:custGeom>
              <a:solidFill>
                <a:srgbClr val="3D434B"/>
              </a:solidFill>
              <a:ln w="1305" cap="flat">
                <a:noFill/>
                <a:prstDash val="solid"/>
                <a:miter/>
              </a:ln>
            </p:spPr>
            <p:txBody>
              <a:bodyPr rtlCol="0" anchor="ctr"/>
              <a:lstStyle/>
              <a:p>
                <a:endParaRPr lang="de-DE" dirty="0"/>
              </a:p>
            </p:txBody>
          </p:sp>
          <p:sp>
            <p:nvSpPr>
              <p:cNvPr id="30" name="Freeform: Shape 95">
                <a:extLst>
                  <a:ext uri="{FF2B5EF4-FFF2-40B4-BE49-F238E27FC236}">
                    <a16:creationId xmlns:a16="http://schemas.microsoft.com/office/drawing/2014/main" id="{5E065023-3EB8-4EB9-BFC1-1658CE248BF3}"/>
                  </a:ext>
                </a:extLst>
              </p:cNvPr>
              <p:cNvSpPr/>
              <p:nvPr/>
            </p:nvSpPr>
            <p:spPr bwMode="gray">
              <a:xfrm>
                <a:off x="4548195" y="4483107"/>
                <a:ext cx="207062" cy="262385"/>
              </a:xfrm>
              <a:custGeom>
                <a:avLst/>
                <a:gdLst>
                  <a:gd name="connsiteX0" fmla="*/ 0 w 207062"/>
                  <a:gd name="connsiteY0" fmla="*/ 262385 h 262385"/>
                  <a:gd name="connsiteX1" fmla="*/ 0 w 207062"/>
                  <a:gd name="connsiteY1" fmla="*/ 0 h 262385"/>
                  <a:gd name="connsiteX2" fmla="*/ 102957 w 207062"/>
                  <a:gd name="connsiteY2" fmla="*/ 0 h 262385"/>
                  <a:gd name="connsiteX3" fmla="*/ 169855 w 207062"/>
                  <a:gd name="connsiteY3" fmla="*/ 18336 h 262385"/>
                  <a:gd name="connsiteX4" fmla="*/ 190867 w 207062"/>
                  <a:gd name="connsiteY4" fmla="*/ 76791 h 262385"/>
                  <a:gd name="connsiteX5" fmla="*/ 177568 w 207062"/>
                  <a:gd name="connsiteY5" fmla="*/ 126762 h 262385"/>
                  <a:gd name="connsiteX6" fmla="*/ 136106 w 207062"/>
                  <a:gd name="connsiteY6" fmla="*/ 150488 h 262385"/>
                  <a:gd name="connsiteX7" fmla="*/ 207063 w 207062"/>
                  <a:gd name="connsiteY7" fmla="*/ 262385 h 262385"/>
                  <a:gd name="connsiteX8" fmla="*/ 165797 w 207062"/>
                  <a:gd name="connsiteY8" fmla="*/ 262385 h 262385"/>
                  <a:gd name="connsiteX9" fmla="*/ 96341 w 207062"/>
                  <a:gd name="connsiteY9" fmla="*/ 153581 h 262385"/>
                  <a:gd name="connsiteX10" fmla="*/ 34689 w 207062"/>
                  <a:gd name="connsiteY10" fmla="*/ 153581 h 262385"/>
                  <a:gd name="connsiteX11" fmla="*/ 34689 w 207062"/>
                  <a:gd name="connsiteY11" fmla="*/ 262385 h 262385"/>
                  <a:gd name="connsiteX12" fmla="*/ 0 w 207062"/>
                  <a:gd name="connsiteY12" fmla="*/ 262385 h 262385"/>
                  <a:gd name="connsiteX13" fmla="*/ 34702 w 207062"/>
                  <a:gd name="connsiteY13" fmla="*/ 122703 h 262385"/>
                  <a:gd name="connsiteX14" fmla="*/ 101404 w 207062"/>
                  <a:gd name="connsiteY14" fmla="*/ 122703 h 262385"/>
                  <a:gd name="connsiteX15" fmla="*/ 143245 w 207062"/>
                  <a:gd name="connsiteY15" fmla="*/ 112289 h 262385"/>
                  <a:gd name="connsiteX16" fmla="*/ 155774 w 207062"/>
                  <a:gd name="connsiteY16" fmla="*/ 76791 h 262385"/>
                  <a:gd name="connsiteX17" fmla="*/ 143245 w 207062"/>
                  <a:gd name="connsiteY17" fmla="*/ 41293 h 262385"/>
                  <a:gd name="connsiteX18" fmla="*/ 101404 w 207062"/>
                  <a:gd name="connsiteY18" fmla="*/ 30878 h 262385"/>
                  <a:gd name="connsiteX19" fmla="*/ 34702 w 207062"/>
                  <a:gd name="connsiteY19" fmla="*/ 30878 h 262385"/>
                  <a:gd name="connsiteX20" fmla="*/ 34702 w 207062"/>
                  <a:gd name="connsiteY20" fmla="*/ 122703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7062" h="262385">
                    <a:moveTo>
                      <a:pt x="0" y="262385"/>
                    </a:moveTo>
                    <a:lnTo>
                      <a:pt x="0" y="0"/>
                    </a:lnTo>
                    <a:lnTo>
                      <a:pt x="102957" y="0"/>
                    </a:lnTo>
                    <a:cubicBezTo>
                      <a:pt x="133548" y="0"/>
                      <a:pt x="155839" y="6108"/>
                      <a:pt x="169855" y="18336"/>
                    </a:cubicBezTo>
                    <a:cubicBezTo>
                      <a:pt x="183872" y="30565"/>
                      <a:pt x="190867" y="50037"/>
                      <a:pt x="190867" y="76791"/>
                    </a:cubicBezTo>
                    <a:cubicBezTo>
                      <a:pt x="190867" y="98141"/>
                      <a:pt x="186430" y="114794"/>
                      <a:pt x="177568" y="126762"/>
                    </a:cubicBezTo>
                    <a:cubicBezTo>
                      <a:pt x="168707" y="138716"/>
                      <a:pt x="154886" y="146625"/>
                      <a:pt x="136106" y="150488"/>
                    </a:cubicBezTo>
                    <a:lnTo>
                      <a:pt x="207063" y="262385"/>
                    </a:lnTo>
                    <a:lnTo>
                      <a:pt x="165797" y="262385"/>
                    </a:lnTo>
                    <a:lnTo>
                      <a:pt x="96341" y="153581"/>
                    </a:lnTo>
                    <a:lnTo>
                      <a:pt x="34689" y="153581"/>
                    </a:lnTo>
                    <a:lnTo>
                      <a:pt x="34689" y="262385"/>
                    </a:lnTo>
                    <a:lnTo>
                      <a:pt x="0" y="262385"/>
                    </a:lnTo>
                    <a:close/>
                    <a:moveTo>
                      <a:pt x="34702" y="122703"/>
                    </a:moveTo>
                    <a:lnTo>
                      <a:pt x="101404" y="122703"/>
                    </a:lnTo>
                    <a:cubicBezTo>
                      <a:pt x="120941" y="122703"/>
                      <a:pt x="134893" y="119232"/>
                      <a:pt x="143245" y="112289"/>
                    </a:cubicBezTo>
                    <a:cubicBezTo>
                      <a:pt x="151597" y="105346"/>
                      <a:pt x="155774" y="93509"/>
                      <a:pt x="155774" y="76791"/>
                    </a:cubicBezTo>
                    <a:cubicBezTo>
                      <a:pt x="155774" y="60073"/>
                      <a:pt x="151584" y="48235"/>
                      <a:pt x="143245" y="41293"/>
                    </a:cubicBezTo>
                    <a:cubicBezTo>
                      <a:pt x="134893" y="34350"/>
                      <a:pt x="120928" y="30878"/>
                      <a:pt x="101404" y="30878"/>
                    </a:cubicBezTo>
                    <a:lnTo>
                      <a:pt x="34702" y="30878"/>
                    </a:lnTo>
                    <a:lnTo>
                      <a:pt x="34702" y="122703"/>
                    </a:lnTo>
                    <a:close/>
                  </a:path>
                </a:pathLst>
              </a:custGeom>
              <a:solidFill>
                <a:srgbClr val="3D434B"/>
              </a:solidFill>
              <a:ln w="1305" cap="flat">
                <a:noFill/>
                <a:prstDash val="solid"/>
                <a:miter/>
              </a:ln>
            </p:spPr>
            <p:txBody>
              <a:bodyPr rtlCol="0" anchor="ctr"/>
              <a:lstStyle/>
              <a:p>
                <a:endParaRPr lang="de-DE" dirty="0"/>
              </a:p>
            </p:txBody>
          </p:sp>
          <p:sp>
            <p:nvSpPr>
              <p:cNvPr id="31" name="Freeform: Shape 96">
                <a:extLst>
                  <a:ext uri="{FF2B5EF4-FFF2-40B4-BE49-F238E27FC236}">
                    <a16:creationId xmlns:a16="http://schemas.microsoft.com/office/drawing/2014/main" id="{A81EFDD3-7ED9-4683-95EB-D060E4959EC6}"/>
                  </a:ext>
                </a:extLst>
              </p:cNvPr>
              <p:cNvSpPr/>
              <p:nvPr/>
            </p:nvSpPr>
            <p:spPr bwMode="gray">
              <a:xfrm>
                <a:off x="4828186" y="4478487"/>
                <a:ext cx="184341" cy="271638"/>
              </a:xfrm>
              <a:custGeom>
                <a:avLst/>
                <a:gdLst>
                  <a:gd name="connsiteX0" fmla="*/ 87544 w 184341"/>
                  <a:gd name="connsiteY0" fmla="*/ 271638 h 271638"/>
                  <a:gd name="connsiteX1" fmla="*/ 0 w 184341"/>
                  <a:gd name="connsiteY1" fmla="*/ 249256 h 271638"/>
                  <a:gd name="connsiteX2" fmla="*/ 0 w 184341"/>
                  <a:gd name="connsiteY2" fmla="*/ 213758 h 271638"/>
                  <a:gd name="connsiteX3" fmla="*/ 88301 w 184341"/>
                  <a:gd name="connsiteY3" fmla="*/ 240773 h 271638"/>
                  <a:gd name="connsiteX4" fmla="*/ 149627 w 184341"/>
                  <a:gd name="connsiteY4" fmla="*/ 195239 h 271638"/>
                  <a:gd name="connsiteX5" fmla="*/ 138625 w 184341"/>
                  <a:gd name="connsiteY5" fmla="*/ 168942 h 271638"/>
                  <a:gd name="connsiteX6" fmla="*/ 97515 w 184341"/>
                  <a:gd name="connsiteY6" fmla="*/ 153007 h 271638"/>
                  <a:gd name="connsiteX7" fmla="*/ 68634 w 184341"/>
                  <a:gd name="connsiteY7" fmla="*/ 146234 h 271638"/>
                  <a:gd name="connsiteX8" fmla="*/ 18506 w 184341"/>
                  <a:gd name="connsiteY8" fmla="*/ 121346 h 271638"/>
                  <a:gd name="connsiteX9" fmla="*/ 3850 w 184341"/>
                  <a:gd name="connsiteY9" fmla="*/ 76778 h 271638"/>
                  <a:gd name="connsiteX10" fmla="*/ 96406 w 184341"/>
                  <a:gd name="connsiteY10" fmla="*/ 0 h 271638"/>
                  <a:gd name="connsiteX11" fmla="*/ 170064 w 184341"/>
                  <a:gd name="connsiteY11" fmla="*/ 16209 h 271638"/>
                  <a:gd name="connsiteX12" fmla="*/ 170064 w 184341"/>
                  <a:gd name="connsiteY12" fmla="*/ 51329 h 271638"/>
                  <a:gd name="connsiteX13" fmla="*/ 97567 w 184341"/>
                  <a:gd name="connsiteY13" fmla="*/ 30878 h 271638"/>
                  <a:gd name="connsiteX14" fmla="*/ 38565 w 184341"/>
                  <a:gd name="connsiteY14" fmla="*/ 74481 h 271638"/>
                  <a:gd name="connsiteX15" fmla="*/ 48784 w 184341"/>
                  <a:gd name="connsiteY15" fmla="*/ 99499 h 271638"/>
                  <a:gd name="connsiteX16" fmla="*/ 86017 w 184341"/>
                  <a:gd name="connsiteY16" fmla="*/ 114520 h 271638"/>
                  <a:gd name="connsiteX17" fmla="*/ 115708 w 184341"/>
                  <a:gd name="connsiteY17" fmla="*/ 121085 h 271638"/>
                  <a:gd name="connsiteX18" fmla="*/ 168524 w 184341"/>
                  <a:gd name="connsiteY18" fmla="*/ 146978 h 271638"/>
                  <a:gd name="connsiteX19" fmla="*/ 184342 w 184341"/>
                  <a:gd name="connsiteY19" fmla="*/ 194104 h 271638"/>
                  <a:gd name="connsiteX20" fmla="*/ 87544 w 184341"/>
                  <a:gd name="connsiteY20" fmla="*/ 271638 h 27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4341" h="271638">
                    <a:moveTo>
                      <a:pt x="87544" y="271638"/>
                    </a:moveTo>
                    <a:cubicBezTo>
                      <a:pt x="48209" y="271638"/>
                      <a:pt x="19028" y="264173"/>
                      <a:pt x="0" y="249256"/>
                    </a:cubicBezTo>
                    <a:lnTo>
                      <a:pt x="0" y="213758"/>
                    </a:lnTo>
                    <a:cubicBezTo>
                      <a:pt x="24157" y="231768"/>
                      <a:pt x="53612" y="240773"/>
                      <a:pt x="88301" y="240773"/>
                    </a:cubicBezTo>
                    <a:cubicBezTo>
                      <a:pt x="129189" y="240773"/>
                      <a:pt x="149627" y="225595"/>
                      <a:pt x="149627" y="195239"/>
                    </a:cubicBezTo>
                    <a:cubicBezTo>
                      <a:pt x="149627" y="183715"/>
                      <a:pt x="145946" y="174958"/>
                      <a:pt x="138625" y="168942"/>
                    </a:cubicBezTo>
                    <a:cubicBezTo>
                      <a:pt x="131290" y="162926"/>
                      <a:pt x="117587" y="157614"/>
                      <a:pt x="97515" y="153007"/>
                    </a:cubicBezTo>
                    <a:lnTo>
                      <a:pt x="68634" y="146234"/>
                    </a:lnTo>
                    <a:cubicBezTo>
                      <a:pt x="44986" y="140831"/>
                      <a:pt x="28268" y="132530"/>
                      <a:pt x="18506" y="121346"/>
                    </a:cubicBezTo>
                    <a:cubicBezTo>
                      <a:pt x="8731" y="110161"/>
                      <a:pt x="3850" y="95310"/>
                      <a:pt x="3850" y="76778"/>
                    </a:cubicBezTo>
                    <a:cubicBezTo>
                      <a:pt x="3850" y="25593"/>
                      <a:pt x="34702" y="0"/>
                      <a:pt x="96406" y="0"/>
                    </a:cubicBezTo>
                    <a:cubicBezTo>
                      <a:pt x="130338" y="0"/>
                      <a:pt x="154886" y="5403"/>
                      <a:pt x="170064" y="16209"/>
                    </a:cubicBezTo>
                    <a:lnTo>
                      <a:pt x="170064" y="51329"/>
                    </a:lnTo>
                    <a:cubicBezTo>
                      <a:pt x="150775" y="37691"/>
                      <a:pt x="126618" y="30878"/>
                      <a:pt x="97567" y="30878"/>
                    </a:cubicBezTo>
                    <a:cubicBezTo>
                      <a:pt x="58232" y="30878"/>
                      <a:pt x="38565" y="45417"/>
                      <a:pt x="38565" y="74481"/>
                    </a:cubicBezTo>
                    <a:cubicBezTo>
                      <a:pt x="38565" y="85013"/>
                      <a:pt x="41958" y="93339"/>
                      <a:pt x="48784" y="99499"/>
                    </a:cubicBezTo>
                    <a:cubicBezTo>
                      <a:pt x="55596" y="105659"/>
                      <a:pt x="68007" y="110670"/>
                      <a:pt x="86017" y="114520"/>
                    </a:cubicBezTo>
                    <a:lnTo>
                      <a:pt x="115708" y="121085"/>
                    </a:lnTo>
                    <a:cubicBezTo>
                      <a:pt x="140374" y="126501"/>
                      <a:pt x="157992" y="135127"/>
                      <a:pt x="168524" y="146978"/>
                    </a:cubicBezTo>
                    <a:cubicBezTo>
                      <a:pt x="179069" y="158828"/>
                      <a:pt x="184342" y="174541"/>
                      <a:pt x="184342" y="194104"/>
                    </a:cubicBezTo>
                    <a:cubicBezTo>
                      <a:pt x="184342" y="245785"/>
                      <a:pt x="152067" y="271638"/>
                      <a:pt x="87544" y="271638"/>
                    </a:cubicBezTo>
                    <a:close/>
                  </a:path>
                </a:pathLst>
              </a:custGeom>
              <a:solidFill>
                <a:srgbClr val="3D434B"/>
              </a:solidFill>
              <a:ln w="1305" cap="flat">
                <a:noFill/>
                <a:prstDash val="solid"/>
                <a:miter/>
              </a:ln>
            </p:spPr>
            <p:txBody>
              <a:bodyPr rtlCol="0" anchor="ctr"/>
              <a:lstStyle/>
              <a:p>
                <a:endParaRPr lang="de-DE" dirty="0"/>
              </a:p>
            </p:txBody>
          </p:sp>
          <p:sp>
            <p:nvSpPr>
              <p:cNvPr id="32" name="Freeform: Shape 97">
                <a:extLst>
                  <a:ext uri="{FF2B5EF4-FFF2-40B4-BE49-F238E27FC236}">
                    <a16:creationId xmlns:a16="http://schemas.microsoft.com/office/drawing/2014/main" id="{8284BB03-3AAB-443C-92DB-DB118DDE5A64}"/>
                  </a:ext>
                </a:extLst>
              </p:cNvPr>
              <p:cNvSpPr/>
              <p:nvPr/>
            </p:nvSpPr>
            <p:spPr bwMode="gray">
              <a:xfrm>
                <a:off x="5103334" y="4483107"/>
                <a:ext cx="34702" cy="262385"/>
              </a:xfrm>
              <a:custGeom>
                <a:avLst/>
                <a:gdLst>
                  <a:gd name="connsiteX0" fmla="*/ 0 w 34702"/>
                  <a:gd name="connsiteY0" fmla="*/ 262385 h 262385"/>
                  <a:gd name="connsiteX1" fmla="*/ 0 w 34702"/>
                  <a:gd name="connsiteY1" fmla="*/ 0 h 262385"/>
                  <a:gd name="connsiteX2" fmla="*/ 34702 w 34702"/>
                  <a:gd name="connsiteY2" fmla="*/ 0 h 262385"/>
                  <a:gd name="connsiteX3" fmla="*/ 34702 w 34702"/>
                  <a:gd name="connsiteY3" fmla="*/ 262385 h 262385"/>
                  <a:gd name="connsiteX4" fmla="*/ 0 w 34702"/>
                  <a:gd name="connsiteY4" fmla="*/ 262385 h 262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2" h="262385">
                    <a:moveTo>
                      <a:pt x="0" y="262385"/>
                    </a:moveTo>
                    <a:lnTo>
                      <a:pt x="0" y="0"/>
                    </a:lnTo>
                    <a:lnTo>
                      <a:pt x="34702" y="0"/>
                    </a:lnTo>
                    <a:lnTo>
                      <a:pt x="34702" y="262385"/>
                    </a:lnTo>
                    <a:lnTo>
                      <a:pt x="0" y="262385"/>
                    </a:lnTo>
                    <a:close/>
                  </a:path>
                </a:pathLst>
              </a:custGeom>
              <a:solidFill>
                <a:srgbClr val="3D434B"/>
              </a:solidFill>
              <a:ln w="1305" cap="flat">
                <a:noFill/>
                <a:prstDash val="solid"/>
                <a:miter/>
              </a:ln>
            </p:spPr>
            <p:txBody>
              <a:bodyPr rtlCol="0" anchor="ctr"/>
              <a:lstStyle/>
              <a:p>
                <a:endParaRPr lang="de-DE" dirty="0"/>
              </a:p>
            </p:txBody>
          </p:sp>
          <p:sp>
            <p:nvSpPr>
              <p:cNvPr id="33" name="Freeform: Shape 98">
                <a:extLst>
                  <a:ext uri="{FF2B5EF4-FFF2-40B4-BE49-F238E27FC236}">
                    <a16:creationId xmlns:a16="http://schemas.microsoft.com/office/drawing/2014/main" id="{F1B78B91-BF6C-440A-8332-3776571F868F}"/>
                  </a:ext>
                </a:extLst>
              </p:cNvPr>
              <p:cNvSpPr/>
              <p:nvPr/>
            </p:nvSpPr>
            <p:spPr bwMode="gray">
              <a:xfrm>
                <a:off x="5222174" y="4483107"/>
                <a:ext cx="202834" cy="262385"/>
              </a:xfrm>
              <a:custGeom>
                <a:avLst/>
                <a:gdLst>
                  <a:gd name="connsiteX0" fmla="*/ 84060 w 202834"/>
                  <a:gd name="connsiteY0" fmla="*/ 262385 h 262385"/>
                  <a:gd name="connsiteX1" fmla="*/ 84060 w 202834"/>
                  <a:gd name="connsiteY1" fmla="*/ 31256 h 262385"/>
                  <a:gd name="connsiteX2" fmla="*/ 0 w 202834"/>
                  <a:gd name="connsiteY2" fmla="*/ 31256 h 262385"/>
                  <a:gd name="connsiteX3" fmla="*/ 0 w 202834"/>
                  <a:gd name="connsiteY3" fmla="*/ 0 h 262385"/>
                  <a:gd name="connsiteX4" fmla="*/ 202834 w 202834"/>
                  <a:gd name="connsiteY4" fmla="*/ 0 h 262385"/>
                  <a:gd name="connsiteX5" fmla="*/ 202834 w 202834"/>
                  <a:gd name="connsiteY5" fmla="*/ 31256 h 262385"/>
                  <a:gd name="connsiteX6" fmla="*/ 118762 w 202834"/>
                  <a:gd name="connsiteY6" fmla="*/ 31256 h 262385"/>
                  <a:gd name="connsiteX7" fmla="*/ 118762 w 202834"/>
                  <a:gd name="connsiteY7" fmla="*/ 262385 h 262385"/>
                  <a:gd name="connsiteX8" fmla="*/ 84060 w 202834"/>
                  <a:gd name="connsiteY8"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834" h="262385">
                    <a:moveTo>
                      <a:pt x="84060" y="262385"/>
                    </a:moveTo>
                    <a:lnTo>
                      <a:pt x="84060" y="31256"/>
                    </a:lnTo>
                    <a:lnTo>
                      <a:pt x="0" y="31256"/>
                    </a:lnTo>
                    <a:lnTo>
                      <a:pt x="0" y="0"/>
                    </a:lnTo>
                    <a:lnTo>
                      <a:pt x="202834" y="0"/>
                    </a:lnTo>
                    <a:lnTo>
                      <a:pt x="202834" y="31256"/>
                    </a:lnTo>
                    <a:lnTo>
                      <a:pt x="118762" y="31256"/>
                    </a:lnTo>
                    <a:lnTo>
                      <a:pt x="118762" y="262385"/>
                    </a:lnTo>
                    <a:lnTo>
                      <a:pt x="84060" y="262385"/>
                    </a:lnTo>
                    <a:close/>
                  </a:path>
                </a:pathLst>
              </a:custGeom>
              <a:solidFill>
                <a:srgbClr val="3D434B"/>
              </a:solidFill>
              <a:ln w="1305" cap="flat">
                <a:noFill/>
                <a:prstDash val="solid"/>
                <a:miter/>
              </a:ln>
            </p:spPr>
            <p:txBody>
              <a:bodyPr rtlCol="0" anchor="ctr"/>
              <a:lstStyle/>
              <a:p>
                <a:endParaRPr lang="de-DE" dirty="0"/>
              </a:p>
            </p:txBody>
          </p:sp>
          <p:sp>
            <p:nvSpPr>
              <p:cNvPr id="34" name="Freeform: Shape 99">
                <a:extLst>
                  <a:ext uri="{FF2B5EF4-FFF2-40B4-BE49-F238E27FC236}">
                    <a16:creationId xmlns:a16="http://schemas.microsoft.com/office/drawing/2014/main" id="{43BB4CB4-C072-4D8E-920F-66691C8A3342}"/>
                  </a:ext>
                </a:extLst>
              </p:cNvPr>
              <p:cNvSpPr/>
              <p:nvPr/>
            </p:nvSpPr>
            <p:spPr bwMode="gray">
              <a:xfrm>
                <a:off x="5488644" y="4483107"/>
                <a:ext cx="225582" cy="262385"/>
              </a:xfrm>
              <a:custGeom>
                <a:avLst/>
                <a:gdLst>
                  <a:gd name="connsiteX0" fmla="*/ 95636 w 225582"/>
                  <a:gd name="connsiteY0" fmla="*/ 262385 h 262385"/>
                  <a:gd name="connsiteX1" fmla="*/ 95636 w 225582"/>
                  <a:gd name="connsiteY1" fmla="*/ 152420 h 262385"/>
                  <a:gd name="connsiteX2" fmla="*/ 0 w 225582"/>
                  <a:gd name="connsiteY2" fmla="*/ 0 h 262385"/>
                  <a:gd name="connsiteX3" fmla="*/ 40875 w 225582"/>
                  <a:gd name="connsiteY3" fmla="*/ 0 h 262385"/>
                  <a:gd name="connsiteX4" fmla="*/ 114142 w 225582"/>
                  <a:gd name="connsiteY4" fmla="*/ 117496 h 262385"/>
                  <a:gd name="connsiteX5" fmla="*/ 187030 w 225582"/>
                  <a:gd name="connsiteY5" fmla="*/ 0 h 262385"/>
                  <a:gd name="connsiteX6" fmla="*/ 225582 w 225582"/>
                  <a:gd name="connsiteY6" fmla="*/ 0 h 262385"/>
                  <a:gd name="connsiteX7" fmla="*/ 130338 w 225582"/>
                  <a:gd name="connsiteY7" fmla="*/ 151650 h 262385"/>
                  <a:gd name="connsiteX8" fmla="*/ 130338 w 225582"/>
                  <a:gd name="connsiteY8" fmla="*/ 262385 h 262385"/>
                  <a:gd name="connsiteX9" fmla="*/ 95636 w 225582"/>
                  <a:gd name="connsiteY9"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582" h="262385">
                    <a:moveTo>
                      <a:pt x="95636" y="262385"/>
                    </a:moveTo>
                    <a:lnTo>
                      <a:pt x="95636" y="152420"/>
                    </a:lnTo>
                    <a:lnTo>
                      <a:pt x="0" y="0"/>
                    </a:lnTo>
                    <a:lnTo>
                      <a:pt x="40875" y="0"/>
                    </a:lnTo>
                    <a:lnTo>
                      <a:pt x="114142" y="117496"/>
                    </a:lnTo>
                    <a:lnTo>
                      <a:pt x="187030" y="0"/>
                    </a:lnTo>
                    <a:lnTo>
                      <a:pt x="225582" y="0"/>
                    </a:lnTo>
                    <a:lnTo>
                      <a:pt x="130338" y="151650"/>
                    </a:lnTo>
                    <a:lnTo>
                      <a:pt x="130338" y="262385"/>
                    </a:lnTo>
                    <a:lnTo>
                      <a:pt x="95636" y="262385"/>
                    </a:lnTo>
                    <a:close/>
                  </a:path>
                </a:pathLst>
              </a:custGeom>
              <a:solidFill>
                <a:srgbClr val="3D434B"/>
              </a:solidFill>
              <a:ln w="1305" cap="flat">
                <a:noFill/>
                <a:prstDash val="solid"/>
                <a:miter/>
              </a:ln>
            </p:spPr>
            <p:txBody>
              <a:bodyPr rtlCol="0" anchor="ctr"/>
              <a:lstStyle/>
              <a:p>
                <a:endParaRPr lang="de-DE" dirty="0"/>
              </a:p>
            </p:txBody>
          </p:sp>
          <p:sp>
            <p:nvSpPr>
              <p:cNvPr id="35" name="Freeform: Shape 100">
                <a:extLst>
                  <a:ext uri="{FF2B5EF4-FFF2-40B4-BE49-F238E27FC236}">
                    <a16:creationId xmlns:a16="http://schemas.microsoft.com/office/drawing/2014/main" id="{A772FB55-12B1-4A14-B535-BF0045244A8E}"/>
                  </a:ext>
                </a:extLst>
              </p:cNvPr>
              <p:cNvSpPr/>
              <p:nvPr/>
            </p:nvSpPr>
            <p:spPr bwMode="gray">
              <a:xfrm>
                <a:off x="5917452" y="4478474"/>
                <a:ext cx="229836" cy="271651"/>
              </a:xfrm>
              <a:custGeom>
                <a:avLst/>
                <a:gdLst>
                  <a:gd name="connsiteX0" fmla="*/ 201686 w 229836"/>
                  <a:gd name="connsiteY0" fmla="*/ 238267 h 271651"/>
                  <a:gd name="connsiteX1" fmla="*/ 114912 w 229836"/>
                  <a:gd name="connsiteY1" fmla="*/ 271651 h 271651"/>
                  <a:gd name="connsiteX2" fmla="*/ 28150 w 229836"/>
                  <a:gd name="connsiteY2" fmla="*/ 238267 h 271651"/>
                  <a:gd name="connsiteX3" fmla="*/ 0 w 229836"/>
                  <a:gd name="connsiteY3" fmla="*/ 135819 h 271651"/>
                  <a:gd name="connsiteX4" fmla="*/ 28150 w 229836"/>
                  <a:gd name="connsiteY4" fmla="*/ 33371 h 271651"/>
                  <a:gd name="connsiteX5" fmla="*/ 114912 w 229836"/>
                  <a:gd name="connsiteY5" fmla="*/ 0 h 271651"/>
                  <a:gd name="connsiteX6" fmla="*/ 201686 w 229836"/>
                  <a:gd name="connsiteY6" fmla="*/ 33371 h 271651"/>
                  <a:gd name="connsiteX7" fmla="*/ 229836 w 229836"/>
                  <a:gd name="connsiteY7" fmla="*/ 135819 h 271651"/>
                  <a:gd name="connsiteX8" fmla="*/ 201686 w 229836"/>
                  <a:gd name="connsiteY8" fmla="*/ 238267 h 271651"/>
                  <a:gd name="connsiteX9" fmla="*/ 54578 w 229836"/>
                  <a:gd name="connsiteY9" fmla="*/ 215507 h 271651"/>
                  <a:gd name="connsiteX10" fmla="*/ 114925 w 229836"/>
                  <a:gd name="connsiteY10" fmla="*/ 240786 h 271651"/>
                  <a:gd name="connsiteX11" fmla="*/ 175285 w 229836"/>
                  <a:gd name="connsiteY11" fmla="*/ 215507 h 271651"/>
                  <a:gd name="connsiteX12" fmla="*/ 194365 w 229836"/>
                  <a:gd name="connsiteY12" fmla="*/ 135819 h 271651"/>
                  <a:gd name="connsiteX13" fmla="*/ 175285 w 229836"/>
                  <a:gd name="connsiteY13" fmla="*/ 56131 h 271651"/>
                  <a:gd name="connsiteX14" fmla="*/ 114925 w 229836"/>
                  <a:gd name="connsiteY14" fmla="*/ 30865 h 271651"/>
                  <a:gd name="connsiteX15" fmla="*/ 54578 w 229836"/>
                  <a:gd name="connsiteY15" fmla="*/ 56131 h 271651"/>
                  <a:gd name="connsiteX16" fmla="*/ 35498 w 229836"/>
                  <a:gd name="connsiteY16" fmla="*/ 135819 h 271651"/>
                  <a:gd name="connsiteX17" fmla="*/ 54578 w 229836"/>
                  <a:gd name="connsiteY17" fmla="*/ 215507 h 27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836" h="271651">
                    <a:moveTo>
                      <a:pt x="201686" y="238267"/>
                    </a:moveTo>
                    <a:cubicBezTo>
                      <a:pt x="182919" y="260519"/>
                      <a:pt x="153999" y="271651"/>
                      <a:pt x="114912" y="271651"/>
                    </a:cubicBezTo>
                    <a:cubicBezTo>
                      <a:pt x="75838" y="271651"/>
                      <a:pt x="46918" y="260519"/>
                      <a:pt x="28150" y="238267"/>
                    </a:cubicBezTo>
                    <a:cubicBezTo>
                      <a:pt x="9383" y="216029"/>
                      <a:pt x="0" y="181875"/>
                      <a:pt x="0" y="135819"/>
                    </a:cubicBezTo>
                    <a:cubicBezTo>
                      <a:pt x="0" y="89776"/>
                      <a:pt x="9383" y="55622"/>
                      <a:pt x="28150" y="33371"/>
                    </a:cubicBezTo>
                    <a:cubicBezTo>
                      <a:pt x="46904" y="11119"/>
                      <a:pt x="75838" y="0"/>
                      <a:pt x="114912" y="0"/>
                    </a:cubicBezTo>
                    <a:cubicBezTo>
                      <a:pt x="153999" y="0"/>
                      <a:pt x="182906" y="11119"/>
                      <a:pt x="201686" y="33371"/>
                    </a:cubicBezTo>
                    <a:cubicBezTo>
                      <a:pt x="220453" y="55622"/>
                      <a:pt x="229836" y="89776"/>
                      <a:pt x="229836" y="135819"/>
                    </a:cubicBezTo>
                    <a:cubicBezTo>
                      <a:pt x="229850" y="181875"/>
                      <a:pt x="220466" y="216029"/>
                      <a:pt x="201686" y="238267"/>
                    </a:cubicBezTo>
                    <a:close/>
                    <a:moveTo>
                      <a:pt x="54578" y="215507"/>
                    </a:moveTo>
                    <a:cubicBezTo>
                      <a:pt x="67302" y="232355"/>
                      <a:pt x="87414" y="240786"/>
                      <a:pt x="114925" y="240786"/>
                    </a:cubicBezTo>
                    <a:cubicBezTo>
                      <a:pt x="142436" y="240786"/>
                      <a:pt x="162560" y="232368"/>
                      <a:pt x="175285" y="215507"/>
                    </a:cubicBezTo>
                    <a:cubicBezTo>
                      <a:pt x="188009" y="198659"/>
                      <a:pt x="194365" y="172100"/>
                      <a:pt x="194365" y="135819"/>
                    </a:cubicBezTo>
                    <a:cubicBezTo>
                      <a:pt x="194365" y="99551"/>
                      <a:pt x="188009" y="72993"/>
                      <a:pt x="175285" y="56131"/>
                    </a:cubicBezTo>
                    <a:cubicBezTo>
                      <a:pt x="162560" y="39283"/>
                      <a:pt x="142436" y="30865"/>
                      <a:pt x="114925" y="30865"/>
                    </a:cubicBezTo>
                    <a:cubicBezTo>
                      <a:pt x="87414" y="30865"/>
                      <a:pt x="67302" y="39283"/>
                      <a:pt x="54578" y="56131"/>
                    </a:cubicBezTo>
                    <a:cubicBezTo>
                      <a:pt x="41853" y="72980"/>
                      <a:pt x="35498" y="99551"/>
                      <a:pt x="35498" y="135819"/>
                    </a:cubicBezTo>
                    <a:cubicBezTo>
                      <a:pt x="35498" y="172100"/>
                      <a:pt x="41853" y="198659"/>
                      <a:pt x="54578" y="215507"/>
                    </a:cubicBezTo>
                    <a:close/>
                  </a:path>
                </a:pathLst>
              </a:custGeom>
              <a:solidFill>
                <a:srgbClr val="3D434B"/>
              </a:solidFill>
              <a:ln w="1305" cap="flat">
                <a:noFill/>
                <a:prstDash val="solid"/>
                <a:miter/>
              </a:ln>
            </p:spPr>
            <p:txBody>
              <a:bodyPr rtlCol="0" anchor="ctr"/>
              <a:lstStyle/>
              <a:p>
                <a:endParaRPr lang="de-DE" dirty="0"/>
              </a:p>
            </p:txBody>
          </p:sp>
          <p:sp>
            <p:nvSpPr>
              <p:cNvPr id="36" name="Freeform: Shape 101">
                <a:extLst>
                  <a:ext uri="{FF2B5EF4-FFF2-40B4-BE49-F238E27FC236}">
                    <a16:creationId xmlns:a16="http://schemas.microsoft.com/office/drawing/2014/main" id="{171E50CD-CF4E-4C1D-96B1-C5B831EA4298}"/>
                  </a:ext>
                </a:extLst>
              </p:cNvPr>
              <p:cNvSpPr/>
              <p:nvPr/>
            </p:nvSpPr>
            <p:spPr bwMode="gray">
              <a:xfrm>
                <a:off x="6244399" y="4483107"/>
                <a:ext cx="174305" cy="262385"/>
              </a:xfrm>
              <a:custGeom>
                <a:avLst/>
                <a:gdLst>
                  <a:gd name="connsiteX0" fmla="*/ 0 w 174305"/>
                  <a:gd name="connsiteY0" fmla="*/ 262385 h 262385"/>
                  <a:gd name="connsiteX1" fmla="*/ 0 w 174305"/>
                  <a:gd name="connsiteY1" fmla="*/ 0 h 262385"/>
                  <a:gd name="connsiteX2" fmla="*/ 174306 w 174305"/>
                  <a:gd name="connsiteY2" fmla="*/ 0 h 262385"/>
                  <a:gd name="connsiteX3" fmla="*/ 174306 w 174305"/>
                  <a:gd name="connsiteY3" fmla="*/ 30865 h 262385"/>
                  <a:gd name="connsiteX4" fmla="*/ 34702 w 174305"/>
                  <a:gd name="connsiteY4" fmla="*/ 30865 h 262385"/>
                  <a:gd name="connsiteX5" fmla="*/ 34702 w 174305"/>
                  <a:gd name="connsiteY5" fmla="*/ 114599 h 262385"/>
                  <a:gd name="connsiteX6" fmla="*/ 159636 w 174305"/>
                  <a:gd name="connsiteY6" fmla="*/ 114599 h 262385"/>
                  <a:gd name="connsiteX7" fmla="*/ 159636 w 174305"/>
                  <a:gd name="connsiteY7" fmla="*/ 145463 h 262385"/>
                  <a:gd name="connsiteX8" fmla="*/ 34702 w 174305"/>
                  <a:gd name="connsiteY8" fmla="*/ 145463 h 262385"/>
                  <a:gd name="connsiteX9" fmla="*/ 34702 w 174305"/>
                  <a:gd name="connsiteY9" fmla="*/ 262372 h 262385"/>
                  <a:gd name="connsiteX10" fmla="*/ 0 w 174305"/>
                  <a:gd name="connsiteY10" fmla="*/ 262372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5" h="262385">
                    <a:moveTo>
                      <a:pt x="0" y="262385"/>
                    </a:moveTo>
                    <a:lnTo>
                      <a:pt x="0" y="0"/>
                    </a:lnTo>
                    <a:lnTo>
                      <a:pt x="174306" y="0"/>
                    </a:lnTo>
                    <a:lnTo>
                      <a:pt x="174306" y="30865"/>
                    </a:lnTo>
                    <a:lnTo>
                      <a:pt x="34702" y="30865"/>
                    </a:lnTo>
                    <a:lnTo>
                      <a:pt x="34702" y="114599"/>
                    </a:lnTo>
                    <a:lnTo>
                      <a:pt x="159636" y="114599"/>
                    </a:lnTo>
                    <a:lnTo>
                      <a:pt x="159636" y="145463"/>
                    </a:lnTo>
                    <a:lnTo>
                      <a:pt x="34702" y="145463"/>
                    </a:lnTo>
                    <a:lnTo>
                      <a:pt x="34702" y="262372"/>
                    </a:lnTo>
                    <a:lnTo>
                      <a:pt x="0" y="262372"/>
                    </a:lnTo>
                    <a:close/>
                  </a:path>
                </a:pathLst>
              </a:custGeom>
              <a:solidFill>
                <a:srgbClr val="3D434B"/>
              </a:solidFill>
              <a:ln w="1305" cap="flat">
                <a:noFill/>
                <a:prstDash val="solid"/>
                <a:miter/>
              </a:ln>
            </p:spPr>
            <p:txBody>
              <a:bodyPr rtlCol="0" anchor="ctr"/>
              <a:lstStyle/>
              <a:p>
                <a:endParaRPr lang="de-DE" dirty="0"/>
              </a:p>
            </p:txBody>
          </p:sp>
          <p:sp>
            <p:nvSpPr>
              <p:cNvPr id="37" name="Freeform: Shape 102">
                <a:extLst>
                  <a:ext uri="{FF2B5EF4-FFF2-40B4-BE49-F238E27FC236}">
                    <a16:creationId xmlns:a16="http://schemas.microsoft.com/office/drawing/2014/main" id="{A8CDE1DB-8AB7-40E7-BE32-FA997A82B049}"/>
                  </a:ext>
                </a:extLst>
              </p:cNvPr>
              <p:cNvSpPr/>
              <p:nvPr/>
            </p:nvSpPr>
            <p:spPr bwMode="gray">
              <a:xfrm>
                <a:off x="6618446" y="4483107"/>
                <a:ext cx="243344" cy="262385"/>
              </a:xfrm>
              <a:custGeom>
                <a:avLst/>
                <a:gdLst>
                  <a:gd name="connsiteX0" fmla="*/ 0 w 243344"/>
                  <a:gd name="connsiteY0" fmla="*/ 262385 h 262385"/>
                  <a:gd name="connsiteX1" fmla="*/ 103741 w 243344"/>
                  <a:gd name="connsiteY1" fmla="*/ 0 h 262385"/>
                  <a:gd name="connsiteX2" fmla="*/ 139604 w 243344"/>
                  <a:gd name="connsiteY2" fmla="*/ 0 h 262385"/>
                  <a:gd name="connsiteX3" fmla="*/ 243344 w 243344"/>
                  <a:gd name="connsiteY3" fmla="*/ 262385 h 262385"/>
                  <a:gd name="connsiteX4" fmla="*/ 206320 w 243344"/>
                  <a:gd name="connsiteY4" fmla="*/ 262385 h 262385"/>
                  <a:gd name="connsiteX5" fmla="*/ 181562 w 243344"/>
                  <a:gd name="connsiteY5" fmla="*/ 197954 h 262385"/>
                  <a:gd name="connsiteX6" fmla="*/ 59864 w 243344"/>
                  <a:gd name="connsiteY6" fmla="*/ 197954 h 262385"/>
                  <a:gd name="connsiteX7" fmla="*/ 35107 w 243344"/>
                  <a:gd name="connsiteY7" fmla="*/ 262385 h 262385"/>
                  <a:gd name="connsiteX8" fmla="*/ 0 w 243344"/>
                  <a:gd name="connsiteY8" fmla="*/ 262385 h 262385"/>
                  <a:gd name="connsiteX9" fmla="*/ 72014 w 243344"/>
                  <a:gd name="connsiteY9" fmla="*/ 166305 h 262385"/>
                  <a:gd name="connsiteX10" fmla="*/ 169412 w 243344"/>
                  <a:gd name="connsiteY10" fmla="*/ 166305 h 262385"/>
                  <a:gd name="connsiteX11" fmla="*/ 120707 w 243344"/>
                  <a:gd name="connsiteY11" fmla="*/ 39557 h 262385"/>
                  <a:gd name="connsiteX12" fmla="*/ 72014 w 243344"/>
                  <a:gd name="connsiteY12" fmla="*/ 16630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344" h="262385">
                    <a:moveTo>
                      <a:pt x="0" y="262385"/>
                    </a:moveTo>
                    <a:lnTo>
                      <a:pt x="103741" y="0"/>
                    </a:lnTo>
                    <a:lnTo>
                      <a:pt x="139604" y="0"/>
                    </a:lnTo>
                    <a:lnTo>
                      <a:pt x="243344" y="262385"/>
                    </a:lnTo>
                    <a:lnTo>
                      <a:pt x="206320" y="262385"/>
                    </a:lnTo>
                    <a:lnTo>
                      <a:pt x="181562" y="197954"/>
                    </a:lnTo>
                    <a:lnTo>
                      <a:pt x="59864" y="197954"/>
                    </a:lnTo>
                    <a:lnTo>
                      <a:pt x="35107" y="262385"/>
                    </a:lnTo>
                    <a:lnTo>
                      <a:pt x="0" y="262385"/>
                    </a:lnTo>
                    <a:close/>
                    <a:moveTo>
                      <a:pt x="72014" y="166305"/>
                    </a:moveTo>
                    <a:lnTo>
                      <a:pt x="169412" y="166305"/>
                    </a:lnTo>
                    <a:lnTo>
                      <a:pt x="120707" y="39557"/>
                    </a:lnTo>
                    <a:lnTo>
                      <a:pt x="72014" y="166305"/>
                    </a:lnTo>
                    <a:close/>
                  </a:path>
                </a:pathLst>
              </a:custGeom>
              <a:solidFill>
                <a:srgbClr val="3D434B"/>
              </a:solidFill>
              <a:ln w="1305" cap="flat">
                <a:noFill/>
                <a:prstDash val="solid"/>
                <a:miter/>
              </a:ln>
            </p:spPr>
            <p:txBody>
              <a:bodyPr rtlCol="0" anchor="ctr"/>
              <a:lstStyle/>
              <a:p>
                <a:endParaRPr lang="de-DE" dirty="0"/>
              </a:p>
            </p:txBody>
          </p:sp>
          <p:sp>
            <p:nvSpPr>
              <p:cNvPr id="38" name="Freeform: Shape 103">
                <a:extLst>
                  <a:ext uri="{FF2B5EF4-FFF2-40B4-BE49-F238E27FC236}">
                    <a16:creationId xmlns:a16="http://schemas.microsoft.com/office/drawing/2014/main" id="{462022AE-CCDF-4B0A-8D4B-EDC4B07F1051}"/>
                  </a:ext>
                </a:extLst>
              </p:cNvPr>
              <p:cNvSpPr/>
              <p:nvPr/>
            </p:nvSpPr>
            <p:spPr bwMode="gray">
              <a:xfrm>
                <a:off x="6944819" y="4483107"/>
                <a:ext cx="195526" cy="262385"/>
              </a:xfrm>
              <a:custGeom>
                <a:avLst/>
                <a:gdLst>
                  <a:gd name="connsiteX0" fmla="*/ 0 w 195526"/>
                  <a:gd name="connsiteY0" fmla="*/ 262385 h 262385"/>
                  <a:gd name="connsiteX1" fmla="*/ 0 w 195526"/>
                  <a:gd name="connsiteY1" fmla="*/ 0 h 262385"/>
                  <a:gd name="connsiteX2" fmla="*/ 106051 w 195526"/>
                  <a:gd name="connsiteY2" fmla="*/ 0 h 262385"/>
                  <a:gd name="connsiteX3" fmla="*/ 174697 w 195526"/>
                  <a:gd name="connsiteY3" fmla="*/ 18715 h 262385"/>
                  <a:gd name="connsiteX4" fmla="*/ 195527 w 195526"/>
                  <a:gd name="connsiteY4" fmla="*/ 79870 h 262385"/>
                  <a:gd name="connsiteX5" fmla="*/ 174697 w 195526"/>
                  <a:gd name="connsiteY5" fmla="*/ 140831 h 262385"/>
                  <a:gd name="connsiteX6" fmla="*/ 106051 w 195526"/>
                  <a:gd name="connsiteY6" fmla="*/ 159350 h 262385"/>
                  <a:gd name="connsiteX7" fmla="*/ 34715 w 195526"/>
                  <a:gd name="connsiteY7" fmla="*/ 159350 h 262385"/>
                  <a:gd name="connsiteX8" fmla="*/ 34715 w 195526"/>
                  <a:gd name="connsiteY8" fmla="*/ 262372 h 262385"/>
                  <a:gd name="connsiteX9" fmla="*/ 0 w 195526"/>
                  <a:gd name="connsiteY9" fmla="*/ 262372 h 262385"/>
                  <a:gd name="connsiteX10" fmla="*/ 34702 w 195526"/>
                  <a:gd name="connsiteY10" fmla="*/ 128498 h 262385"/>
                  <a:gd name="connsiteX11" fmla="*/ 103715 w 195526"/>
                  <a:gd name="connsiteY11" fmla="*/ 128498 h 262385"/>
                  <a:gd name="connsiteX12" fmla="*/ 147487 w 195526"/>
                  <a:gd name="connsiteY12" fmla="*/ 117496 h 262385"/>
                  <a:gd name="connsiteX13" fmla="*/ 160407 w 195526"/>
                  <a:gd name="connsiteY13" fmla="*/ 79870 h 262385"/>
                  <a:gd name="connsiteX14" fmla="*/ 147487 w 195526"/>
                  <a:gd name="connsiteY14" fmla="*/ 42063 h 262385"/>
                  <a:gd name="connsiteX15" fmla="*/ 103715 w 195526"/>
                  <a:gd name="connsiteY15" fmla="*/ 30865 h 262385"/>
                  <a:gd name="connsiteX16" fmla="*/ 34702 w 195526"/>
                  <a:gd name="connsiteY16" fmla="*/ 30865 h 262385"/>
                  <a:gd name="connsiteX17" fmla="*/ 34702 w 195526"/>
                  <a:gd name="connsiteY17" fmla="*/ 128498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5526" h="262385">
                    <a:moveTo>
                      <a:pt x="0" y="262385"/>
                    </a:moveTo>
                    <a:lnTo>
                      <a:pt x="0" y="0"/>
                    </a:lnTo>
                    <a:lnTo>
                      <a:pt x="106051" y="0"/>
                    </a:lnTo>
                    <a:cubicBezTo>
                      <a:pt x="137920" y="0"/>
                      <a:pt x="160811" y="6238"/>
                      <a:pt x="174697" y="18715"/>
                    </a:cubicBezTo>
                    <a:cubicBezTo>
                      <a:pt x="188583" y="31191"/>
                      <a:pt x="195527" y="51577"/>
                      <a:pt x="195527" y="79870"/>
                    </a:cubicBezTo>
                    <a:cubicBezTo>
                      <a:pt x="195527" y="108178"/>
                      <a:pt x="188583" y="128484"/>
                      <a:pt x="174697" y="140831"/>
                    </a:cubicBezTo>
                    <a:cubicBezTo>
                      <a:pt x="160811" y="153190"/>
                      <a:pt x="137920" y="159350"/>
                      <a:pt x="106051" y="159350"/>
                    </a:cubicBezTo>
                    <a:lnTo>
                      <a:pt x="34715" y="159350"/>
                    </a:lnTo>
                    <a:lnTo>
                      <a:pt x="34715" y="262372"/>
                    </a:lnTo>
                    <a:lnTo>
                      <a:pt x="0" y="262372"/>
                    </a:lnTo>
                    <a:close/>
                    <a:moveTo>
                      <a:pt x="34702" y="128498"/>
                    </a:moveTo>
                    <a:lnTo>
                      <a:pt x="103715" y="128498"/>
                    </a:lnTo>
                    <a:cubicBezTo>
                      <a:pt x="124282" y="128498"/>
                      <a:pt x="138873" y="124831"/>
                      <a:pt x="147487" y="117496"/>
                    </a:cubicBezTo>
                    <a:cubicBezTo>
                      <a:pt x="156100" y="110161"/>
                      <a:pt x="160407" y="97633"/>
                      <a:pt x="160407" y="79870"/>
                    </a:cubicBezTo>
                    <a:cubicBezTo>
                      <a:pt x="160407" y="62109"/>
                      <a:pt x="156100" y="49527"/>
                      <a:pt x="147487" y="42063"/>
                    </a:cubicBezTo>
                    <a:cubicBezTo>
                      <a:pt x="138860" y="34611"/>
                      <a:pt x="124282" y="30865"/>
                      <a:pt x="103715" y="30865"/>
                    </a:cubicBezTo>
                    <a:lnTo>
                      <a:pt x="34702" y="30865"/>
                    </a:lnTo>
                    <a:lnTo>
                      <a:pt x="34702" y="128498"/>
                    </a:lnTo>
                    <a:close/>
                  </a:path>
                </a:pathLst>
              </a:custGeom>
              <a:solidFill>
                <a:srgbClr val="3D434B"/>
              </a:solidFill>
              <a:ln w="1305" cap="flat">
                <a:noFill/>
                <a:prstDash val="solid"/>
                <a:miter/>
              </a:ln>
            </p:spPr>
            <p:txBody>
              <a:bodyPr rtlCol="0" anchor="ctr"/>
              <a:lstStyle/>
              <a:p>
                <a:endParaRPr lang="de-DE" dirty="0"/>
              </a:p>
            </p:txBody>
          </p:sp>
          <p:sp>
            <p:nvSpPr>
              <p:cNvPr id="39" name="Freeform: Shape 104">
                <a:extLst>
                  <a:ext uri="{FF2B5EF4-FFF2-40B4-BE49-F238E27FC236}">
                    <a16:creationId xmlns:a16="http://schemas.microsoft.com/office/drawing/2014/main" id="{36DBB6E6-B43B-449D-BC45-A291D3C25C69}"/>
                  </a:ext>
                </a:extLst>
              </p:cNvPr>
              <p:cNvSpPr/>
              <p:nvPr/>
            </p:nvSpPr>
            <p:spPr bwMode="gray">
              <a:xfrm>
                <a:off x="7227394" y="4483107"/>
                <a:ext cx="195526" cy="262385"/>
              </a:xfrm>
              <a:custGeom>
                <a:avLst/>
                <a:gdLst>
                  <a:gd name="connsiteX0" fmla="*/ 0 w 195526"/>
                  <a:gd name="connsiteY0" fmla="*/ 262385 h 262385"/>
                  <a:gd name="connsiteX1" fmla="*/ 0 w 195526"/>
                  <a:gd name="connsiteY1" fmla="*/ 0 h 262385"/>
                  <a:gd name="connsiteX2" fmla="*/ 106051 w 195526"/>
                  <a:gd name="connsiteY2" fmla="*/ 0 h 262385"/>
                  <a:gd name="connsiteX3" fmla="*/ 174697 w 195526"/>
                  <a:gd name="connsiteY3" fmla="*/ 18715 h 262385"/>
                  <a:gd name="connsiteX4" fmla="*/ 195527 w 195526"/>
                  <a:gd name="connsiteY4" fmla="*/ 79870 h 262385"/>
                  <a:gd name="connsiteX5" fmla="*/ 174697 w 195526"/>
                  <a:gd name="connsiteY5" fmla="*/ 140831 h 262385"/>
                  <a:gd name="connsiteX6" fmla="*/ 106051 w 195526"/>
                  <a:gd name="connsiteY6" fmla="*/ 159350 h 262385"/>
                  <a:gd name="connsiteX7" fmla="*/ 34715 w 195526"/>
                  <a:gd name="connsiteY7" fmla="*/ 159350 h 262385"/>
                  <a:gd name="connsiteX8" fmla="*/ 34715 w 195526"/>
                  <a:gd name="connsiteY8" fmla="*/ 262372 h 262385"/>
                  <a:gd name="connsiteX9" fmla="*/ 0 w 195526"/>
                  <a:gd name="connsiteY9" fmla="*/ 262372 h 262385"/>
                  <a:gd name="connsiteX10" fmla="*/ 34715 w 195526"/>
                  <a:gd name="connsiteY10" fmla="*/ 128498 h 262385"/>
                  <a:gd name="connsiteX11" fmla="*/ 103727 w 195526"/>
                  <a:gd name="connsiteY11" fmla="*/ 128498 h 262385"/>
                  <a:gd name="connsiteX12" fmla="*/ 147499 w 195526"/>
                  <a:gd name="connsiteY12" fmla="*/ 117496 h 262385"/>
                  <a:gd name="connsiteX13" fmla="*/ 160420 w 195526"/>
                  <a:gd name="connsiteY13" fmla="*/ 79870 h 262385"/>
                  <a:gd name="connsiteX14" fmla="*/ 147499 w 195526"/>
                  <a:gd name="connsiteY14" fmla="*/ 42063 h 262385"/>
                  <a:gd name="connsiteX15" fmla="*/ 103727 w 195526"/>
                  <a:gd name="connsiteY15" fmla="*/ 30865 h 262385"/>
                  <a:gd name="connsiteX16" fmla="*/ 34715 w 195526"/>
                  <a:gd name="connsiteY16" fmla="*/ 30865 h 262385"/>
                  <a:gd name="connsiteX17" fmla="*/ 34715 w 195526"/>
                  <a:gd name="connsiteY17" fmla="*/ 128498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5526" h="262385">
                    <a:moveTo>
                      <a:pt x="0" y="262385"/>
                    </a:moveTo>
                    <a:lnTo>
                      <a:pt x="0" y="0"/>
                    </a:lnTo>
                    <a:lnTo>
                      <a:pt x="106051" y="0"/>
                    </a:lnTo>
                    <a:cubicBezTo>
                      <a:pt x="137920" y="0"/>
                      <a:pt x="160811" y="6238"/>
                      <a:pt x="174697" y="18715"/>
                    </a:cubicBezTo>
                    <a:cubicBezTo>
                      <a:pt x="188583" y="31191"/>
                      <a:pt x="195527" y="51577"/>
                      <a:pt x="195527" y="79870"/>
                    </a:cubicBezTo>
                    <a:cubicBezTo>
                      <a:pt x="195527" y="108178"/>
                      <a:pt x="188583" y="128484"/>
                      <a:pt x="174697" y="140831"/>
                    </a:cubicBezTo>
                    <a:cubicBezTo>
                      <a:pt x="160811" y="153190"/>
                      <a:pt x="137920" y="159350"/>
                      <a:pt x="106051" y="159350"/>
                    </a:cubicBezTo>
                    <a:lnTo>
                      <a:pt x="34715" y="159350"/>
                    </a:lnTo>
                    <a:lnTo>
                      <a:pt x="34715" y="262372"/>
                    </a:lnTo>
                    <a:lnTo>
                      <a:pt x="0" y="262372"/>
                    </a:lnTo>
                    <a:close/>
                    <a:moveTo>
                      <a:pt x="34715" y="128498"/>
                    </a:moveTo>
                    <a:lnTo>
                      <a:pt x="103727" y="128498"/>
                    </a:lnTo>
                    <a:cubicBezTo>
                      <a:pt x="124296" y="128498"/>
                      <a:pt x="138886" y="124831"/>
                      <a:pt x="147499" y="117496"/>
                    </a:cubicBezTo>
                    <a:cubicBezTo>
                      <a:pt x="156113" y="110161"/>
                      <a:pt x="160420" y="97633"/>
                      <a:pt x="160420" y="79870"/>
                    </a:cubicBezTo>
                    <a:cubicBezTo>
                      <a:pt x="160420" y="62109"/>
                      <a:pt x="156113" y="49527"/>
                      <a:pt x="147499" y="42063"/>
                    </a:cubicBezTo>
                    <a:cubicBezTo>
                      <a:pt x="138873" y="34611"/>
                      <a:pt x="124296" y="30865"/>
                      <a:pt x="103727" y="30865"/>
                    </a:cubicBezTo>
                    <a:lnTo>
                      <a:pt x="34715" y="30865"/>
                    </a:lnTo>
                    <a:lnTo>
                      <a:pt x="34715" y="128498"/>
                    </a:lnTo>
                    <a:close/>
                  </a:path>
                </a:pathLst>
              </a:custGeom>
              <a:solidFill>
                <a:srgbClr val="3D434B"/>
              </a:solidFill>
              <a:ln w="1305" cap="flat">
                <a:noFill/>
                <a:prstDash val="solid"/>
                <a:miter/>
              </a:ln>
            </p:spPr>
            <p:txBody>
              <a:bodyPr rtlCol="0" anchor="ctr"/>
              <a:lstStyle/>
              <a:p>
                <a:endParaRPr lang="de-DE" dirty="0"/>
              </a:p>
            </p:txBody>
          </p:sp>
          <p:sp>
            <p:nvSpPr>
              <p:cNvPr id="40" name="Freeform: Shape 105">
                <a:extLst>
                  <a:ext uri="{FF2B5EF4-FFF2-40B4-BE49-F238E27FC236}">
                    <a16:creationId xmlns:a16="http://schemas.microsoft.com/office/drawing/2014/main" id="{25957C94-862B-4025-B2B8-318A7C905F65}"/>
                  </a:ext>
                </a:extLst>
              </p:cNvPr>
              <p:cNvSpPr/>
              <p:nvPr/>
            </p:nvSpPr>
            <p:spPr bwMode="gray">
              <a:xfrm>
                <a:off x="7509982" y="4483107"/>
                <a:ext cx="166187" cy="262385"/>
              </a:xfrm>
              <a:custGeom>
                <a:avLst/>
                <a:gdLst>
                  <a:gd name="connsiteX0" fmla="*/ 0 w 166187"/>
                  <a:gd name="connsiteY0" fmla="*/ 262385 h 262385"/>
                  <a:gd name="connsiteX1" fmla="*/ 0 w 166187"/>
                  <a:gd name="connsiteY1" fmla="*/ 0 h 262385"/>
                  <a:gd name="connsiteX2" fmla="*/ 34702 w 166187"/>
                  <a:gd name="connsiteY2" fmla="*/ 0 h 262385"/>
                  <a:gd name="connsiteX3" fmla="*/ 34702 w 166187"/>
                  <a:gd name="connsiteY3" fmla="*/ 231129 h 262385"/>
                  <a:gd name="connsiteX4" fmla="*/ 166188 w 166187"/>
                  <a:gd name="connsiteY4" fmla="*/ 231129 h 262385"/>
                  <a:gd name="connsiteX5" fmla="*/ 166188 w 166187"/>
                  <a:gd name="connsiteY5" fmla="*/ 262385 h 262385"/>
                  <a:gd name="connsiteX6" fmla="*/ 0 w 166187"/>
                  <a:gd name="connsiteY6"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187" h="262385">
                    <a:moveTo>
                      <a:pt x="0" y="262385"/>
                    </a:moveTo>
                    <a:lnTo>
                      <a:pt x="0" y="0"/>
                    </a:lnTo>
                    <a:lnTo>
                      <a:pt x="34702" y="0"/>
                    </a:lnTo>
                    <a:lnTo>
                      <a:pt x="34702" y="231129"/>
                    </a:lnTo>
                    <a:lnTo>
                      <a:pt x="166188" y="231129"/>
                    </a:lnTo>
                    <a:lnTo>
                      <a:pt x="166188" y="262385"/>
                    </a:lnTo>
                    <a:lnTo>
                      <a:pt x="0" y="262385"/>
                    </a:lnTo>
                    <a:close/>
                  </a:path>
                </a:pathLst>
              </a:custGeom>
              <a:solidFill>
                <a:srgbClr val="3D434B"/>
              </a:solidFill>
              <a:ln w="1305" cap="flat">
                <a:noFill/>
                <a:prstDash val="solid"/>
                <a:miter/>
              </a:ln>
            </p:spPr>
            <p:txBody>
              <a:bodyPr rtlCol="0" anchor="ctr"/>
              <a:lstStyle/>
              <a:p>
                <a:endParaRPr lang="de-DE" dirty="0"/>
              </a:p>
            </p:txBody>
          </p:sp>
          <p:sp>
            <p:nvSpPr>
              <p:cNvPr id="47" name="Freeform: Shape 106">
                <a:extLst>
                  <a:ext uri="{FF2B5EF4-FFF2-40B4-BE49-F238E27FC236}">
                    <a16:creationId xmlns:a16="http://schemas.microsoft.com/office/drawing/2014/main" id="{F2526064-B3A7-4B07-8C10-EDE415E7EF20}"/>
                  </a:ext>
                </a:extLst>
              </p:cNvPr>
              <p:cNvSpPr/>
              <p:nvPr/>
            </p:nvSpPr>
            <p:spPr bwMode="gray">
              <a:xfrm>
                <a:off x="7760334" y="4483107"/>
                <a:ext cx="34702" cy="262385"/>
              </a:xfrm>
              <a:custGeom>
                <a:avLst/>
                <a:gdLst>
                  <a:gd name="connsiteX0" fmla="*/ 0 w 34702"/>
                  <a:gd name="connsiteY0" fmla="*/ 262385 h 262385"/>
                  <a:gd name="connsiteX1" fmla="*/ 0 w 34702"/>
                  <a:gd name="connsiteY1" fmla="*/ 0 h 262385"/>
                  <a:gd name="connsiteX2" fmla="*/ 34702 w 34702"/>
                  <a:gd name="connsiteY2" fmla="*/ 0 h 262385"/>
                  <a:gd name="connsiteX3" fmla="*/ 34702 w 34702"/>
                  <a:gd name="connsiteY3" fmla="*/ 262385 h 262385"/>
                  <a:gd name="connsiteX4" fmla="*/ 0 w 34702"/>
                  <a:gd name="connsiteY4" fmla="*/ 262385 h 262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2" h="262385">
                    <a:moveTo>
                      <a:pt x="0" y="262385"/>
                    </a:moveTo>
                    <a:lnTo>
                      <a:pt x="0" y="0"/>
                    </a:lnTo>
                    <a:lnTo>
                      <a:pt x="34702" y="0"/>
                    </a:lnTo>
                    <a:lnTo>
                      <a:pt x="34702" y="262385"/>
                    </a:lnTo>
                    <a:lnTo>
                      <a:pt x="0" y="262385"/>
                    </a:lnTo>
                    <a:close/>
                  </a:path>
                </a:pathLst>
              </a:custGeom>
              <a:solidFill>
                <a:srgbClr val="3D434B"/>
              </a:solidFill>
              <a:ln w="1305" cap="flat">
                <a:noFill/>
                <a:prstDash val="solid"/>
                <a:miter/>
              </a:ln>
            </p:spPr>
            <p:txBody>
              <a:bodyPr rtlCol="0" anchor="ctr"/>
              <a:lstStyle/>
              <a:p>
                <a:endParaRPr lang="de-DE" dirty="0"/>
              </a:p>
            </p:txBody>
          </p:sp>
          <p:sp>
            <p:nvSpPr>
              <p:cNvPr id="48" name="Freeform: Shape 107">
                <a:extLst>
                  <a:ext uri="{FF2B5EF4-FFF2-40B4-BE49-F238E27FC236}">
                    <a16:creationId xmlns:a16="http://schemas.microsoft.com/office/drawing/2014/main" id="{845FCE33-C4C1-47BC-A2C5-CF0B80BA4C30}"/>
                  </a:ext>
                </a:extLst>
              </p:cNvPr>
              <p:cNvSpPr/>
              <p:nvPr/>
            </p:nvSpPr>
            <p:spPr bwMode="gray">
              <a:xfrm>
                <a:off x="7903853" y="4483107"/>
                <a:ext cx="189718" cy="262385"/>
              </a:xfrm>
              <a:custGeom>
                <a:avLst/>
                <a:gdLst>
                  <a:gd name="connsiteX0" fmla="*/ 0 w 189718"/>
                  <a:gd name="connsiteY0" fmla="*/ 262385 h 262385"/>
                  <a:gd name="connsiteX1" fmla="*/ 0 w 189718"/>
                  <a:gd name="connsiteY1" fmla="*/ 0 h 262385"/>
                  <a:gd name="connsiteX2" fmla="*/ 187409 w 189718"/>
                  <a:gd name="connsiteY2" fmla="*/ 0 h 262385"/>
                  <a:gd name="connsiteX3" fmla="*/ 187409 w 189718"/>
                  <a:gd name="connsiteY3" fmla="*/ 30865 h 262385"/>
                  <a:gd name="connsiteX4" fmla="*/ 34702 w 189718"/>
                  <a:gd name="connsiteY4" fmla="*/ 30865 h 262385"/>
                  <a:gd name="connsiteX5" fmla="*/ 34702 w 189718"/>
                  <a:gd name="connsiteY5" fmla="*/ 113437 h 262385"/>
                  <a:gd name="connsiteX6" fmla="*/ 165809 w 189718"/>
                  <a:gd name="connsiteY6" fmla="*/ 113437 h 262385"/>
                  <a:gd name="connsiteX7" fmla="*/ 165809 w 189718"/>
                  <a:gd name="connsiteY7" fmla="*/ 144302 h 262385"/>
                  <a:gd name="connsiteX8" fmla="*/ 34702 w 189718"/>
                  <a:gd name="connsiteY8" fmla="*/ 144302 h 262385"/>
                  <a:gd name="connsiteX9" fmla="*/ 34702 w 189718"/>
                  <a:gd name="connsiteY9" fmla="*/ 231507 h 262385"/>
                  <a:gd name="connsiteX10" fmla="*/ 189719 w 189718"/>
                  <a:gd name="connsiteY10" fmla="*/ 231507 h 262385"/>
                  <a:gd name="connsiteX11" fmla="*/ 189719 w 189718"/>
                  <a:gd name="connsiteY11" fmla="*/ 262372 h 262385"/>
                  <a:gd name="connsiteX12" fmla="*/ 0 w 189718"/>
                  <a:gd name="connsiteY12" fmla="*/ 262372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718" h="262385">
                    <a:moveTo>
                      <a:pt x="0" y="262385"/>
                    </a:moveTo>
                    <a:lnTo>
                      <a:pt x="0" y="0"/>
                    </a:lnTo>
                    <a:lnTo>
                      <a:pt x="187409" y="0"/>
                    </a:lnTo>
                    <a:lnTo>
                      <a:pt x="187409" y="30865"/>
                    </a:lnTo>
                    <a:lnTo>
                      <a:pt x="34702" y="30865"/>
                    </a:lnTo>
                    <a:lnTo>
                      <a:pt x="34702" y="113437"/>
                    </a:lnTo>
                    <a:lnTo>
                      <a:pt x="165809" y="113437"/>
                    </a:lnTo>
                    <a:lnTo>
                      <a:pt x="165809" y="144302"/>
                    </a:lnTo>
                    <a:lnTo>
                      <a:pt x="34702" y="144302"/>
                    </a:lnTo>
                    <a:lnTo>
                      <a:pt x="34702" y="231507"/>
                    </a:lnTo>
                    <a:lnTo>
                      <a:pt x="189719" y="231507"/>
                    </a:lnTo>
                    <a:lnTo>
                      <a:pt x="189719" y="262372"/>
                    </a:lnTo>
                    <a:lnTo>
                      <a:pt x="0" y="262372"/>
                    </a:lnTo>
                    <a:close/>
                  </a:path>
                </a:pathLst>
              </a:custGeom>
              <a:solidFill>
                <a:srgbClr val="3D434B"/>
              </a:solidFill>
              <a:ln w="1305" cap="flat">
                <a:noFill/>
                <a:prstDash val="solid"/>
                <a:miter/>
              </a:ln>
            </p:spPr>
            <p:txBody>
              <a:bodyPr rtlCol="0" anchor="ctr"/>
              <a:lstStyle/>
              <a:p>
                <a:endParaRPr lang="de-DE" dirty="0"/>
              </a:p>
            </p:txBody>
          </p:sp>
          <p:sp>
            <p:nvSpPr>
              <p:cNvPr id="49" name="Freeform: Shape 108">
                <a:extLst>
                  <a:ext uri="{FF2B5EF4-FFF2-40B4-BE49-F238E27FC236}">
                    <a16:creationId xmlns:a16="http://schemas.microsoft.com/office/drawing/2014/main" id="{E27C3DDA-6819-44F5-9645-4BD6B5D7B03A}"/>
                  </a:ext>
                </a:extLst>
              </p:cNvPr>
              <p:cNvSpPr/>
              <p:nvPr/>
            </p:nvSpPr>
            <p:spPr bwMode="gray">
              <a:xfrm>
                <a:off x="8183635" y="4483107"/>
                <a:ext cx="201673" cy="262385"/>
              </a:xfrm>
              <a:custGeom>
                <a:avLst/>
                <a:gdLst>
                  <a:gd name="connsiteX0" fmla="*/ 0 w 201673"/>
                  <a:gd name="connsiteY0" fmla="*/ 262385 h 262385"/>
                  <a:gd name="connsiteX1" fmla="*/ 0 w 201673"/>
                  <a:gd name="connsiteY1" fmla="*/ 0 h 262385"/>
                  <a:gd name="connsiteX2" fmla="*/ 81750 w 201673"/>
                  <a:gd name="connsiteY2" fmla="*/ 0 h 262385"/>
                  <a:gd name="connsiteX3" fmla="*/ 173719 w 201673"/>
                  <a:gd name="connsiteY3" fmla="*/ 30669 h 262385"/>
                  <a:gd name="connsiteX4" fmla="*/ 201673 w 201673"/>
                  <a:gd name="connsiteY4" fmla="*/ 131186 h 262385"/>
                  <a:gd name="connsiteX5" fmla="*/ 173719 w 201673"/>
                  <a:gd name="connsiteY5" fmla="*/ 231703 h 262385"/>
                  <a:gd name="connsiteX6" fmla="*/ 81750 w 201673"/>
                  <a:gd name="connsiteY6" fmla="*/ 262372 h 262385"/>
                  <a:gd name="connsiteX7" fmla="*/ 0 w 201673"/>
                  <a:gd name="connsiteY7" fmla="*/ 262372 h 262385"/>
                  <a:gd name="connsiteX8" fmla="*/ 34702 w 201673"/>
                  <a:gd name="connsiteY8" fmla="*/ 231520 h 262385"/>
                  <a:gd name="connsiteX9" fmla="*/ 79440 w 201673"/>
                  <a:gd name="connsiteY9" fmla="*/ 231520 h 262385"/>
                  <a:gd name="connsiteX10" fmla="*/ 147108 w 201673"/>
                  <a:gd name="connsiteY10" fmla="*/ 209334 h 262385"/>
                  <a:gd name="connsiteX11" fmla="*/ 166189 w 201673"/>
                  <a:gd name="connsiteY11" fmla="*/ 131199 h 262385"/>
                  <a:gd name="connsiteX12" fmla="*/ 147108 w 201673"/>
                  <a:gd name="connsiteY12" fmla="*/ 53065 h 262385"/>
                  <a:gd name="connsiteX13" fmla="*/ 79440 w 201673"/>
                  <a:gd name="connsiteY13" fmla="*/ 30878 h 262385"/>
                  <a:gd name="connsiteX14" fmla="*/ 34702 w 201673"/>
                  <a:gd name="connsiteY14" fmla="*/ 30878 h 262385"/>
                  <a:gd name="connsiteX15" fmla="*/ 34702 w 201673"/>
                  <a:gd name="connsiteY15" fmla="*/ 231520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1673" h="262385">
                    <a:moveTo>
                      <a:pt x="0" y="262385"/>
                    </a:moveTo>
                    <a:lnTo>
                      <a:pt x="0" y="0"/>
                    </a:lnTo>
                    <a:lnTo>
                      <a:pt x="81750" y="0"/>
                    </a:lnTo>
                    <a:cubicBezTo>
                      <a:pt x="124413" y="0"/>
                      <a:pt x="155069" y="10219"/>
                      <a:pt x="173719" y="30669"/>
                    </a:cubicBezTo>
                    <a:cubicBezTo>
                      <a:pt x="192355" y="51120"/>
                      <a:pt x="201673" y="84634"/>
                      <a:pt x="201673" y="131186"/>
                    </a:cubicBezTo>
                    <a:cubicBezTo>
                      <a:pt x="201673" y="177751"/>
                      <a:pt x="192355" y="211252"/>
                      <a:pt x="173719" y="231703"/>
                    </a:cubicBezTo>
                    <a:cubicBezTo>
                      <a:pt x="155069" y="252153"/>
                      <a:pt x="124413" y="262372"/>
                      <a:pt x="81750" y="262372"/>
                    </a:cubicBezTo>
                    <a:lnTo>
                      <a:pt x="0" y="262372"/>
                    </a:lnTo>
                    <a:close/>
                    <a:moveTo>
                      <a:pt x="34702" y="231520"/>
                    </a:moveTo>
                    <a:lnTo>
                      <a:pt x="79440" y="231520"/>
                    </a:lnTo>
                    <a:cubicBezTo>
                      <a:pt x="111832" y="231520"/>
                      <a:pt x="134396" y="224120"/>
                      <a:pt x="147108" y="209334"/>
                    </a:cubicBezTo>
                    <a:cubicBezTo>
                      <a:pt x="159833" y="194547"/>
                      <a:pt x="166189" y="168511"/>
                      <a:pt x="166189" y="131199"/>
                    </a:cubicBezTo>
                    <a:cubicBezTo>
                      <a:pt x="166189" y="93900"/>
                      <a:pt x="159833" y="67864"/>
                      <a:pt x="147108" y="53065"/>
                    </a:cubicBezTo>
                    <a:cubicBezTo>
                      <a:pt x="134384" y="38278"/>
                      <a:pt x="111819" y="30878"/>
                      <a:pt x="79440" y="30878"/>
                    </a:cubicBezTo>
                    <a:lnTo>
                      <a:pt x="34702" y="30878"/>
                    </a:lnTo>
                    <a:lnTo>
                      <a:pt x="34702" y="231520"/>
                    </a:lnTo>
                    <a:close/>
                  </a:path>
                </a:pathLst>
              </a:custGeom>
              <a:solidFill>
                <a:srgbClr val="3D434B"/>
              </a:solidFill>
              <a:ln w="1305" cap="flat">
                <a:noFill/>
                <a:prstDash val="solid"/>
                <a:miter/>
              </a:ln>
            </p:spPr>
            <p:txBody>
              <a:bodyPr rtlCol="0" anchor="ctr"/>
              <a:lstStyle/>
              <a:p>
                <a:endParaRPr lang="de-DE" dirty="0"/>
              </a:p>
            </p:txBody>
          </p:sp>
          <p:sp>
            <p:nvSpPr>
              <p:cNvPr id="50" name="Freeform: Shape 109">
                <a:extLst>
                  <a:ext uri="{FF2B5EF4-FFF2-40B4-BE49-F238E27FC236}">
                    <a16:creationId xmlns:a16="http://schemas.microsoft.com/office/drawing/2014/main" id="{5EB876A6-85F2-4B41-B2AE-4697683E23DF}"/>
                  </a:ext>
                </a:extLst>
              </p:cNvPr>
              <p:cNvSpPr/>
              <p:nvPr/>
            </p:nvSpPr>
            <p:spPr bwMode="gray">
              <a:xfrm>
                <a:off x="8612430" y="4478487"/>
                <a:ext cx="184341" cy="271638"/>
              </a:xfrm>
              <a:custGeom>
                <a:avLst/>
                <a:gdLst>
                  <a:gd name="connsiteX0" fmla="*/ 87544 w 184341"/>
                  <a:gd name="connsiteY0" fmla="*/ 271638 h 271638"/>
                  <a:gd name="connsiteX1" fmla="*/ 0 w 184341"/>
                  <a:gd name="connsiteY1" fmla="*/ 249256 h 271638"/>
                  <a:gd name="connsiteX2" fmla="*/ 0 w 184341"/>
                  <a:gd name="connsiteY2" fmla="*/ 213758 h 271638"/>
                  <a:gd name="connsiteX3" fmla="*/ 88302 w 184341"/>
                  <a:gd name="connsiteY3" fmla="*/ 240773 h 271638"/>
                  <a:gd name="connsiteX4" fmla="*/ 149627 w 184341"/>
                  <a:gd name="connsiteY4" fmla="*/ 195239 h 271638"/>
                  <a:gd name="connsiteX5" fmla="*/ 138625 w 184341"/>
                  <a:gd name="connsiteY5" fmla="*/ 168942 h 271638"/>
                  <a:gd name="connsiteX6" fmla="*/ 97515 w 184341"/>
                  <a:gd name="connsiteY6" fmla="*/ 153007 h 271638"/>
                  <a:gd name="connsiteX7" fmla="*/ 68634 w 184341"/>
                  <a:gd name="connsiteY7" fmla="*/ 146234 h 271638"/>
                  <a:gd name="connsiteX8" fmla="*/ 18506 w 184341"/>
                  <a:gd name="connsiteY8" fmla="*/ 121346 h 271638"/>
                  <a:gd name="connsiteX9" fmla="*/ 3850 w 184341"/>
                  <a:gd name="connsiteY9" fmla="*/ 76778 h 271638"/>
                  <a:gd name="connsiteX10" fmla="*/ 96406 w 184341"/>
                  <a:gd name="connsiteY10" fmla="*/ 0 h 271638"/>
                  <a:gd name="connsiteX11" fmla="*/ 170064 w 184341"/>
                  <a:gd name="connsiteY11" fmla="*/ 16209 h 271638"/>
                  <a:gd name="connsiteX12" fmla="*/ 170064 w 184341"/>
                  <a:gd name="connsiteY12" fmla="*/ 51329 h 271638"/>
                  <a:gd name="connsiteX13" fmla="*/ 97568 w 184341"/>
                  <a:gd name="connsiteY13" fmla="*/ 30878 h 271638"/>
                  <a:gd name="connsiteX14" fmla="*/ 38565 w 184341"/>
                  <a:gd name="connsiteY14" fmla="*/ 74481 h 271638"/>
                  <a:gd name="connsiteX15" fmla="*/ 48784 w 184341"/>
                  <a:gd name="connsiteY15" fmla="*/ 99499 h 271638"/>
                  <a:gd name="connsiteX16" fmla="*/ 86018 w 184341"/>
                  <a:gd name="connsiteY16" fmla="*/ 114520 h 271638"/>
                  <a:gd name="connsiteX17" fmla="*/ 115708 w 184341"/>
                  <a:gd name="connsiteY17" fmla="*/ 121085 h 271638"/>
                  <a:gd name="connsiteX18" fmla="*/ 168524 w 184341"/>
                  <a:gd name="connsiteY18" fmla="*/ 146978 h 271638"/>
                  <a:gd name="connsiteX19" fmla="*/ 184342 w 184341"/>
                  <a:gd name="connsiteY19" fmla="*/ 194104 h 271638"/>
                  <a:gd name="connsiteX20" fmla="*/ 87544 w 184341"/>
                  <a:gd name="connsiteY20" fmla="*/ 271638 h 27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4341" h="271638">
                    <a:moveTo>
                      <a:pt x="87544" y="271638"/>
                    </a:moveTo>
                    <a:cubicBezTo>
                      <a:pt x="48209" y="271638"/>
                      <a:pt x="19028" y="264173"/>
                      <a:pt x="0" y="249256"/>
                    </a:cubicBezTo>
                    <a:lnTo>
                      <a:pt x="0" y="213758"/>
                    </a:lnTo>
                    <a:cubicBezTo>
                      <a:pt x="24157" y="231768"/>
                      <a:pt x="53613" y="240773"/>
                      <a:pt x="88302" y="240773"/>
                    </a:cubicBezTo>
                    <a:cubicBezTo>
                      <a:pt x="129190" y="240773"/>
                      <a:pt x="149627" y="225595"/>
                      <a:pt x="149627" y="195239"/>
                    </a:cubicBezTo>
                    <a:cubicBezTo>
                      <a:pt x="149627" y="183715"/>
                      <a:pt x="145947" y="174958"/>
                      <a:pt x="138625" y="168942"/>
                    </a:cubicBezTo>
                    <a:cubicBezTo>
                      <a:pt x="131291" y="162926"/>
                      <a:pt x="117587" y="157614"/>
                      <a:pt x="97515" y="153007"/>
                    </a:cubicBezTo>
                    <a:lnTo>
                      <a:pt x="68634" y="146234"/>
                    </a:lnTo>
                    <a:cubicBezTo>
                      <a:pt x="44973" y="140831"/>
                      <a:pt x="28268" y="132530"/>
                      <a:pt x="18506" y="121346"/>
                    </a:cubicBezTo>
                    <a:cubicBezTo>
                      <a:pt x="8731" y="110161"/>
                      <a:pt x="3850" y="95310"/>
                      <a:pt x="3850" y="76778"/>
                    </a:cubicBezTo>
                    <a:cubicBezTo>
                      <a:pt x="3850" y="25593"/>
                      <a:pt x="34702" y="0"/>
                      <a:pt x="96406" y="0"/>
                    </a:cubicBezTo>
                    <a:cubicBezTo>
                      <a:pt x="130338" y="0"/>
                      <a:pt x="154886" y="5403"/>
                      <a:pt x="170064" y="16209"/>
                    </a:cubicBezTo>
                    <a:lnTo>
                      <a:pt x="170064" y="51329"/>
                    </a:lnTo>
                    <a:cubicBezTo>
                      <a:pt x="150776" y="37691"/>
                      <a:pt x="126618" y="30878"/>
                      <a:pt x="97568" y="30878"/>
                    </a:cubicBezTo>
                    <a:cubicBezTo>
                      <a:pt x="58233" y="30878"/>
                      <a:pt x="38565" y="45417"/>
                      <a:pt x="38565" y="74481"/>
                    </a:cubicBezTo>
                    <a:cubicBezTo>
                      <a:pt x="38565" y="85013"/>
                      <a:pt x="41958" y="93339"/>
                      <a:pt x="48784" y="99499"/>
                    </a:cubicBezTo>
                    <a:cubicBezTo>
                      <a:pt x="55596" y="105659"/>
                      <a:pt x="68007" y="110670"/>
                      <a:pt x="86018" y="114520"/>
                    </a:cubicBezTo>
                    <a:lnTo>
                      <a:pt x="115708" y="121085"/>
                    </a:lnTo>
                    <a:cubicBezTo>
                      <a:pt x="140374" y="126501"/>
                      <a:pt x="157992" y="135127"/>
                      <a:pt x="168524" y="146978"/>
                    </a:cubicBezTo>
                    <a:cubicBezTo>
                      <a:pt x="179069" y="158828"/>
                      <a:pt x="184342" y="174541"/>
                      <a:pt x="184342" y="194104"/>
                    </a:cubicBezTo>
                    <a:cubicBezTo>
                      <a:pt x="184342" y="245785"/>
                      <a:pt x="152067" y="271638"/>
                      <a:pt x="87544" y="271638"/>
                    </a:cubicBezTo>
                    <a:close/>
                  </a:path>
                </a:pathLst>
              </a:custGeom>
              <a:solidFill>
                <a:srgbClr val="3D434B"/>
              </a:solidFill>
              <a:ln w="1305" cap="flat">
                <a:noFill/>
                <a:prstDash val="solid"/>
                <a:miter/>
              </a:ln>
            </p:spPr>
            <p:txBody>
              <a:bodyPr rtlCol="0" anchor="ctr"/>
              <a:lstStyle/>
              <a:p>
                <a:endParaRPr lang="de-DE" dirty="0"/>
              </a:p>
            </p:txBody>
          </p:sp>
          <p:sp>
            <p:nvSpPr>
              <p:cNvPr id="51" name="Freeform: Shape 110">
                <a:extLst>
                  <a:ext uri="{FF2B5EF4-FFF2-40B4-BE49-F238E27FC236}">
                    <a16:creationId xmlns:a16="http://schemas.microsoft.com/office/drawing/2014/main" id="{DE034138-A622-4389-A045-C31359665E14}"/>
                  </a:ext>
                </a:extLst>
              </p:cNvPr>
              <p:cNvSpPr/>
              <p:nvPr/>
            </p:nvSpPr>
            <p:spPr bwMode="gray">
              <a:xfrm>
                <a:off x="8875950" y="4478474"/>
                <a:ext cx="185112" cy="271651"/>
              </a:xfrm>
              <a:custGeom>
                <a:avLst/>
                <a:gdLst>
                  <a:gd name="connsiteX0" fmla="*/ 121085 w 185112"/>
                  <a:gd name="connsiteY0" fmla="*/ 271651 h 271651"/>
                  <a:gd name="connsiteX1" fmla="*/ 29690 w 185112"/>
                  <a:gd name="connsiteY1" fmla="*/ 238267 h 271651"/>
                  <a:gd name="connsiteX2" fmla="*/ 0 w 185112"/>
                  <a:gd name="connsiteY2" fmla="*/ 135819 h 271651"/>
                  <a:gd name="connsiteX3" fmla="*/ 29495 w 185112"/>
                  <a:gd name="connsiteY3" fmla="*/ 33371 h 271651"/>
                  <a:gd name="connsiteX4" fmla="*/ 120315 w 185112"/>
                  <a:gd name="connsiteY4" fmla="*/ 0 h 271651"/>
                  <a:gd name="connsiteX5" fmla="*/ 185099 w 185112"/>
                  <a:gd name="connsiteY5" fmla="*/ 13508 h 271651"/>
                  <a:gd name="connsiteX6" fmla="*/ 185099 w 185112"/>
                  <a:gd name="connsiteY6" fmla="*/ 47466 h 271651"/>
                  <a:gd name="connsiteX7" fmla="*/ 121476 w 185112"/>
                  <a:gd name="connsiteY7" fmla="*/ 30878 h 271651"/>
                  <a:gd name="connsiteX8" fmla="*/ 55923 w 185112"/>
                  <a:gd name="connsiteY8" fmla="*/ 55753 h 271651"/>
                  <a:gd name="connsiteX9" fmla="*/ 35485 w 185112"/>
                  <a:gd name="connsiteY9" fmla="*/ 135441 h 271651"/>
                  <a:gd name="connsiteX10" fmla="*/ 56118 w 185112"/>
                  <a:gd name="connsiteY10" fmla="*/ 215703 h 271651"/>
                  <a:gd name="connsiteX11" fmla="*/ 122638 w 185112"/>
                  <a:gd name="connsiteY11" fmla="*/ 240786 h 271651"/>
                  <a:gd name="connsiteX12" fmla="*/ 185112 w 185112"/>
                  <a:gd name="connsiteY12" fmla="*/ 224186 h 271651"/>
                  <a:gd name="connsiteX13" fmla="*/ 185112 w 185112"/>
                  <a:gd name="connsiteY13" fmla="*/ 258144 h 271651"/>
                  <a:gd name="connsiteX14" fmla="*/ 121085 w 185112"/>
                  <a:gd name="connsiteY14" fmla="*/ 271651 h 27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5112" h="271651">
                    <a:moveTo>
                      <a:pt x="121085" y="271651"/>
                    </a:moveTo>
                    <a:cubicBezTo>
                      <a:pt x="79949" y="271651"/>
                      <a:pt x="49476" y="260519"/>
                      <a:pt x="29690" y="238267"/>
                    </a:cubicBezTo>
                    <a:cubicBezTo>
                      <a:pt x="9893" y="216029"/>
                      <a:pt x="0" y="181875"/>
                      <a:pt x="0" y="135819"/>
                    </a:cubicBezTo>
                    <a:cubicBezTo>
                      <a:pt x="0" y="89776"/>
                      <a:pt x="9828" y="55622"/>
                      <a:pt x="29495" y="33371"/>
                    </a:cubicBezTo>
                    <a:cubicBezTo>
                      <a:pt x="49175" y="11119"/>
                      <a:pt x="79440" y="0"/>
                      <a:pt x="120315" y="0"/>
                    </a:cubicBezTo>
                    <a:cubicBezTo>
                      <a:pt x="147565" y="0"/>
                      <a:pt x="169164" y="4503"/>
                      <a:pt x="185099" y="13508"/>
                    </a:cubicBezTo>
                    <a:lnTo>
                      <a:pt x="185099" y="47466"/>
                    </a:lnTo>
                    <a:cubicBezTo>
                      <a:pt x="166841" y="36412"/>
                      <a:pt x="145634" y="30878"/>
                      <a:pt x="121476" y="30878"/>
                    </a:cubicBezTo>
                    <a:cubicBezTo>
                      <a:pt x="91395" y="30878"/>
                      <a:pt x="69535" y="39165"/>
                      <a:pt x="55923" y="55753"/>
                    </a:cubicBezTo>
                    <a:cubicBezTo>
                      <a:pt x="42284" y="72354"/>
                      <a:pt x="35485" y="98912"/>
                      <a:pt x="35485" y="135441"/>
                    </a:cubicBezTo>
                    <a:cubicBezTo>
                      <a:pt x="35485" y="172231"/>
                      <a:pt x="42350" y="198985"/>
                      <a:pt x="56118" y="215703"/>
                    </a:cubicBezTo>
                    <a:cubicBezTo>
                      <a:pt x="69861" y="232421"/>
                      <a:pt x="92034" y="240786"/>
                      <a:pt x="122638" y="240786"/>
                    </a:cubicBezTo>
                    <a:cubicBezTo>
                      <a:pt x="146547" y="240786"/>
                      <a:pt x="167376" y="235253"/>
                      <a:pt x="185112" y="224186"/>
                    </a:cubicBezTo>
                    <a:lnTo>
                      <a:pt x="185112" y="258144"/>
                    </a:lnTo>
                    <a:cubicBezTo>
                      <a:pt x="169399" y="267136"/>
                      <a:pt x="148074" y="271651"/>
                      <a:pt x="121085" y="271651"/>
                    </a:cubicBezTo>
                    <a:close/>
                  </a:path>
                </a:pathLst>
              </a:custGeom>
              <a:solidFill>
                <a:srgbClr val="3D434B"/>
              </a:solidFill>
              <a:ln w="1305" cap="flat">
                <a:noFill/>
                <a:prstDash val="solid"/>
                <a:miter/>
              </a:ln>
            </p:spPr>
            <p:txBody>
              <a:bodyPr rtlCol="0" anchor="ctr"/>
              <a:lstStyle/>
              <a:p>
                <a:endParaRPr lang="de-DE" dirty="0"/>
              </a:p>
            </p:txBody>
          </p:sp>
          <p:sp>
            <p:nvSpPr>
              <p:cNvPr id="52" name="Freeform: Shape 111">
                <a:extLst>
                  <a:ext uri="{FF2B5EF4-FFF2-40B4-BE49-F238E27FC236}">
                    <a16:creationId xmlns:a16="http://schemas.microsoft.com/office/drawing/2014/main" id="{69A39CCE-B779-498E-9CC8-3FB06661EE2A}"/>
                  </a:ext>
                </a:extLst>
              </p:cNvPr>
              <p:cNvSpPr/>
              <p:nvPr/>
            </p:nvSpPr>
            <p:spPr bwMode="gray">
              <a:xfrm>
                <a:off x="9151856" y="4483107"/>
                <a:ext cx="34701" cy="262385"/>
              </a:xfrm>
              <a:custGeom>
                <a:avLst/>
                <a:gdLst>
                  <a:gd name="connsiteX0" fmla="*/ 0 w 34701"/>
                  <a:gd name="connsiteY0" fmla="*/ 262385 h 262385"/>
                  <a:gd name="connsiteX1" fmla="*/ 0 w 34701"/>
                  <a:gd name="connsiteY1" fmla="*/ 0 h 262385"/>
                  <a:gd name="connsiteX2" fmla="*/ 34702 w 34701"/>
                  <a:gd name="connsiteY2" fmla="*/ 0 h 262385"/>
                  <a:gd name="connsiteX3" fmla="*/ 34702 w 34701"/>
                  <a:gd name="connsiteY3" fmla="*/ 262385 h 262385"/>
                  <a:gd name="connsiteX4" fmla="*/ 0 w 34701"/>
                  <a:gd name="connsiteY4" fmla="*/ 262385 h 262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1" h="262385">
                    <a:moveTo>
                      <a:pt x="0" y="262385"/>
                    </a:moveTo>
                    <a:lnTo>
                      <a:pt x="0" y="0"/>
                    </a:lnTo>
                    <a:lnTo>
                      <a:pt x="34702" y="0"/>
                    </a:lnTo>
                    <a:lnTo>
                      <a:pt x="34702" y="262385"/>
                    </a:lnTo>
                    <a:lnTo>
                      <a:pt x="0" y="262385"/>
                    </a:lnTo>
                    <a:close/>
                  </a:path>
                </a:pathLst>
              </a:custGeom>
              <a:solidFill>
                <a:srgbClr val="3D434B"/>
              </a:solidFill>
              <a:ln w="1305" cap="flat">
                <a:noFill/>
                <a:prstDash val="solid"/>
                <a:miter/>
              </a:ln>
            </p:spPr>
            <p:txBody>
              <a:bodyPr rtlCol="0" anchor="ctr"/>
              <a:lstStyle/>
              <a:p>
                <a:endParaRPr lang="de-DE" dirty="0"/>
              </a:p>
            </p:txBody>
          </p:sp>
          <p:sp>
            <p:nvSpPr>
              <p:cNvPr id="53" name="Freeform: Shape 112">
                <a:extLst>
                  <a:ext uri="{FF2B5EF4-FFF2-40B4-BE49-F238E27FC236}">
                    <a16:creationId xmlns:a16="http://schemas.microsoft.com/office/drawing/2014/main" id="{A366C5A0-12B1-439D-A23F-C51D787CA052}"/>
                  </a:ext>
                </a:extLst>
              </p:cNvPr>
              <p:cNvSpPr/>
              <p:nvPr/>
            </p:nvSpPr>
            <p:spPr bwMode="gray">
              <a:xfrm>
                <a:off x="9295375" y="4483107"/>
                <a:ext cx="189718" cy="262385"/>
              </a:xfrm>
              <a:custGeom>
                <a:avLst/>
                <a:gdLst>
                  <a:gd name="connsiteX0" fmla="*/ 0 w 189718"/>
                  <a:gd name="connsiteY0" fmla="*/ 262385 h 262385"/>
                  <a:gd name="connsiteX1" fmla="*/ 0 w 189718"/>
                  <a:gd name="connsiteY1" fmla="*/ 0 h 262385"/>
                  <a:gd name="connsiteX2" fmla="*/ 187408 w 189718"/>
                  <a:gd name="connsiteY2" fmla="*/ 0 h 262385"/>
                  <a:gd name="connsiteX3" fmla="*/ 187408 w 189718"/>
                  <a:gd name="connsiteY3" fmla="*/ 30865 h 262385"/>
                  <a:gd name="connsiteX4" fmla="*/ 34702 w 189718"/>
                  <a:gd name="connsiteY4" fmla="*/ 30865 h 262385"/>
                  <a:gd name="connsiteX5" fmla="*/ 34702 w 189718"/>
                  <a:gd name="connsiteY5" fmla="*/ 113437 h 262385"/>
                  <a:gd name="connsiteX6" fmla="*/ 165809 w 189718"/>
                  <a:gd name="connsiteY6" fmla="*/ 113437 h 262385"/>
                  <a:gd name="connsiteX7" fmla="*/ 165809 w 189718"/>
                  <a:gd name="connsiteY7" fmla="*/ 144302 h 262385"/>
                  <a:gd name="connsiteX8" fmla="*/ 34702 w 189718"/>
                  <a:gd name="connsiteY8" fmla="*/ 144302 h 262385"/>
                  <a:gd name="connsiteX9" fmla="*/ 34702 w 189718"/>
                  <a:gd name="connsiteY9" fmla="*/ 231507 h 262385"/>
                  <a:gd name="connsiteX10" fmla="*/ 189718 w 189718"/>
                  <a:gd name="connsiteY10" fmla="*/ 231507 h 262385"/>
                  <a:gd name="connsiteX11" fmla="*/ 189718 w 189718"/>
                  <a:gd name="connsiteY11" fmla="*/ 262372 h 262385"/>
                  <a:gd name="connsiteX12" fmla="*/ 0 w 189718"/>
                  <a:gd name="connsiteY12" fmla="*/ 262372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718" h="262385">
                    <a:moveTo>
                      <a:pt x="0" y="262385"/>
                    </a:moveTo>
                    <a:lnTo>
                      <a:pt x="0" y="0"/>
                    </a:lnTo>
                    <a:lnTo>
                      <a:pt x="187408" y="0"/>
                    </a:lnTo>
                    <a:lnTo>
                      <a:pt x="187408" y="30865"/>
                    </a:lnTo>
                    <a:lnTo>
                      <a:pt x="34702" y="30865"/>
                    </a:lnTo>
                    <a:lnTo>
                      <a:pt x="34702" y="113437"/>
                    </a:lnTo>
                    <a:lnTo>
                      <a:pt x="165809" y="113437"/>
                    </a:lnTo>
                    <a:lnTo>
                      <a:pt x="165809" y="144302"/>
                    </a:lnTo>
                    <a:lnTo>
                      <a:pt x="34702" y="144302"/>
                    </a:lnTo>
                    <a:lnTo>
                      <a:pt x="34702" y="231507"/>
                    </a:lnTo>
                    <a:lnTo>
                      <a:pt x="189718" y="231507"/>
                    </a:lnTo>
                    <a:lnTo>
                      <a:pt x="189718" y="262372"/>
                    </a:lnTo>
                    <a:lnTo>
                      <a:pt x="0" y="262372"/>
                    </a:lnTo>
                    <a:close/>
                  </a:path>
                </a:pathLst>
              </a:custGeom>
              <a:solidFill>
                <a:srgbClr val="3D434B"/>
              </a:solidFill>
              <a:ln w="1305" cap="flat">
                <a:noFill/>
                <a:prstDash val="solid"/>
                <a:miter/>
              </a:ln>
            </p:spPr>
            <p:txBody>
              <a:bodyPr rtlCol="0" anchor="ctr"/>
              <a:lstStyle/>
              <a:p>
                <a:endParaRPr lang="de-DE" dirty="0"/>
              </a:p>
            </p:txBody>
          </p:sp>
          <p:sp>
            <p:nvSpPr>
              <p:cNvPr id="54" name="Freeform: Shape 113">
                <a:extLst>
                  <a:ext uri="{FF2B5EF4-FFF2-40B4-BE49-F238E27FC236}">
                    <a16:creationId xmlns:a16="http://schemas.microsoft.com/office/drawing/2014/main" id="{E9AF9229-BC3D-41AC-9DED-11FB60D2208B}"/>
                  </a:ext>
                </a:extLst>
              </p:cNvPr>
              <p:cNvSpPr/>
              <p:nvPr/>
            </p:nvSpPr>
            <p:spPr bwMode="gray">
              <a:xfrm>
                <a:off x="9575157" y="4483107"/>
                <a:ext cx="207845" cy="262385"/>
              </a:xfrm>
              <a:custGeom>
                <a:avLst/>
                <a:gdLst>
                  <a:gd name="connsiteX0" fmla="*/ 0 w 207845"/>
                  <a:gd name="connsiteY0" fmla="*/ 262385 h 262385"/>
                  <a:gd name="connsiteX1" fmla="*/ 0 w 207845"/>
                  <a:gd name="connsiteY1" fmla="*/ 0 h 262385"/>
                  <a:gd name="connsiteX2" fmla="*/ 43628 w 207845"/>
                  <a:gd name="connsiteY2" fmla="*/ 0 h 262385"/>
                  <a:gd name="connsiteX3" fmla="*/ 174684 w 207845"/>
                  <a:gd name="connsiteY3" fmla="*/ 199885 h 262385"/>
                  <a:gd name="connsiteX4" fmla="*/ 174684 w 207845"/>
                  <a:gd name="connsiteY4" fmla="*/ 0 h 262385"/>
                  <a:gd name="connsiteX5" fmla="*/ 207846 w 207845"/>
                  <a:gd name="connsiteY5" fmla="*/ 0 h 262385"/>
                  <a:gd name="connsiteX6" fmla="*/ 207846 w 207845"/>
                  <a:gd name="connsiteY6" fmla="*/ 262385 h 262385"/>
                  <a:gd name="connsiteX7" fmla="*/ 175076 w 207845"/>
                  <a:gd name="connsiteY7" fmla="*/ 262385 h 262385"/>
                  <a:gd name="connsiteX8" fmla="*/ 33161 w 207845"/>
                  <a:gd name="connsiteY8" fmla="*/ 45925 h 262385"/>
                  <a:gd name="connsiteX9" fmla="*/ 33161 w 207845"/>
                  <a:gd name="connsiteY9" fmla="*/ 262385 h 262385"/>
                  <a:gd name="connsiteX10" fmla="*/ 0 w 207845"/>
                  <a:gd name="connsiteY10" fmla="*/ 262385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845" h="262385">
                    <a:moveTo>
                      <a:pt x="0" y="262385"/>
                    </a:moveTo>
                    <a:lnTo>
                      <a:pt x="0" y="0"/>
                    </a:lnTo>
                    <a:lnTo>
                      <a:pt x="43628" y="0"/>
                    </a:lnTo>
                    <a:lnTo>
                      <a:pt x="174684" y="199885"/>
                    </a:lnTo>
                    <a:lnTo>
                      <a:pt x="174684" y="0"/>
                    </a:lnTo>
                    <a:lnTo>
                      <a:pt x="207846" y="0"/>
                    </a:lnTo>
                    <a:lnTo>
                      <a:pt x="207846" y="262385"/>
                    </a:lnTo>
                    <a:lnTo>
                      <a:pt x="175076" y="262385"/>
                    </a:lnTo>
                    <a:lnTo>
                      <a:pt x="33161" y="45925"/>
                    </a:lnTo>
                    <a:lnTo>
                      <a:pt x="33161" y="262385"/>
                    </a:lnTo>
                    <a:lnTo>
                      <a:pt x="0" y="262385"/>
                    </a:lnTo>
                    <a:close/>
                  </a:path>
                </a:pathLst>
              </a:custGeom>
              <a:solidFill>
                <a:srgbClr val="3D434B"/>
              </a:solidFill>
              <a:ln w="1305" cap="flat">
                <a:noFill/>
                <a:prstDash val="solid"/>
                <a:miter/>
              </a:ln>
            </p:spPr>
            <p:txBody>
              <a:bodyPr rtlCol="0" anchor="ctr"/>
              <a:lstStyle/>
              <a:p>
                <a:endParaRPr lang="de-DE" dirty="0"/>
              </a:p>
            </p:txBody>
          </p:sp>
          <p:sp>
            <p:nvSpPr>
              <p:cNvPr id="55" name="Freeform: Shape 114">
                <a:extLst>
                  <a:ext uri="{FF2B5EF4-FFF2-40B4-BE49-F238E27FC236}">
                    <a16:creationId xmlns:a16="http://schemas.microsoft.com/office/drawing/2014/main" id="{8414AAFE-E789-42B5-BA9A-F2B4E16C86FB}"/>
                  </a:ext>
                </a:extLst>
              </p:cNvPr>
              <p:cNvSpPr/>
              <p:nvPr/>
            </p:nvSpPr>
            <p:spPr bwMode="gray">
              <a:xfrm>
                <a:off x="9879500" y="4478474"/>
                <a:ext cx="185112" cy="271651"/>
              </a:xfrm>
              <a:custGeom>
                <a:avLst/>
                <a:gdLst>
                  <a:gd name="connsiteX0" fmla="*/ 121085 w 185112"/>
                  <a:gd name="connsiteY0" fmla="*/ 271651 h 271651"/>
                  <a:gd name="connsiteX1" fmla="*/ 29690 w 185112"/>
                  <a:gd name="connsiteY1" fmla="*/ 238267 h 271651"/>
                  <a:gd name="connsiteX2" fmla="*/ 0 w 185112"/>
                  <a:gd name="connsiteY2" fmla="*/ 135819 h 271651"/>
                  <a:gd name="connsiteX3" fmla="*/ 29495 w 185112"/>
                  <a:gd name="connsiteY3" fmla="*/ 33371 h 271651"/>
                  <a:gd name="connsiteX4" fmla="*/ 120315 w 185112"/>
                  <a:gd name="connsiteY4" fmla="*/ 0 h 271651"/>
                  <a:gd name="connsiteX5" fmla="*/ 185099 w 185112"/>
                  <a:gd name="connsiteY5" fmla="*/ 13508 h 271651"/>
                  <a:gd name="connsiteX6" fmla="*/ 185099 w 185112"/>
                  <a:gd name="connsiteY6" fmla="*/ 47466 h 271651"/>
                  <a:gd name="connsiteX7" fmla="*/ 121476 w 185112"/>
                  <a:gd name="connsiteY7" fmla="*/ 30878 h 271651"/>
                  <a:gd name="connsiteX8" fmla="*/ 55923 w 185112"/>
                  <a:gd name="connsiteY8" fmla="*/ 55753 h 271651"/>
                  <a:gd name="connsiteX9" fmla="*/ 35485 w 185112"/>
                  <a:gd name="connsiteY9" fmla="*/ 135441 h 271651"/>
                  <a:gd name="connsiteX10" fmla="*/ 56118 w 185112"/>
                  <a:gd name="connsiteY10" fmla="*/ 215703 h 271651"/>
                  <a:gd name="connsiteX11" fmla="*/ 122638 w 185112"/>
                  <a:gd name="connsiteY11" fmla="*/ 240786 h 271651"/>
                  <a:gd name="connsiteX12" fmla="*/ 185112 w 185112"/>
                  <a:gd name="connsiteY12" fmla="*/ 224186 h 271651"/>
                  <a:gd name="connsiteX13" fmla="*/ 185112 w 185112"/>
                  <a:gd name="connsiteY13" fmla="*/ 258144 h 271651"/>
                  <a:gd name="connsiteX14" fmla="*/ 121085 w 185112"/>
                  <a:gd name="connsiteY14" fmla="*/ 271651 h 27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5112" h="271651">
                    <a:moveTo>
                      <a:pt x="121085" y="271651"/>
                    </a:moveTo>
                    <a:cubicBezTo>
                      <a:pt x="79949" y="271651"/>
                      <a:pt x="49476" y="260519"/>
                      <a:pt x="29690" y="238267"/>
                    </a:cubicBezTo>
                    <a:cubicBezTo>
                      <a:pt x="9893" y="216029"/>
                      <a:pt x="0" y="181875"/>
                      <a:pt x="0" y="135819"/>
                    </a:cubicBezTo>
                    <a:cubicBezTo>
                      <a:pt x="0" y="89776"/>
                      <a:pt x="9828" y="55622"/>
                      <a:pt x="29495" y="33371"/>
                    </a:cubicBezTo>
                    <a:cubicBezTo>
                      <a:pt x="49175" y="11119"/>
                      <a:pt x="79440" y="0"/>
                      <a:pt x="120315" y="0"/>
                    </a:cubicBezTo>
                    <a:cubicBezTo>
                      <a:pt x="147565" y="0"/>
                      <a:pt x="169164" y="4503"/>
                      <a:pt x="185099" y="13508"/>
                    </a:cubicBezTo>
                    <a:lnTo>
                      <a:pt x="185099" y="47466"/>
                    </a:lnTo>
                    <a:cubicBezTo>
                      <a:pt x="166841" y="36412"/>
                      <a:pt x="145634" y="30878"/>
                      <a:pt x="121476" y="30878"/>
                    </a:cubicBezTo>
                    <a:cubicBezTo>
                      <a:pt x="91395" y="30878"/>
                      <a:pt x="69535" y="39165"/>
                      <a:pt x="55923" y="55753"/>
                    </a:cubicBezTo>
                    <a:cubicBezTo>
                      <a:pt x="42285" y="72354"/>
                      <a:pt x="35485" y="98912"/>
                      <a:pt x="35485" y="135441"/>
                    </a:cubicBezTo>
                    <a:cubicBezTo>
                      <a:pt x="35485" y="172231"/>
                      <a:pt x="42350" y="198985"/>
                      <a:pt x="56118" y="215703"/>
                    </a:cubicBezTo>
                    <a:cubicBezTo>
                      <a:pt x="69861" y="232421"/>
                      <a:pt x="92034" y="240786"/>
                      <a:pt x="122638" y="240786"/>
                    </a:cubicBezTo>
                    <a:cubicBezTo>
                      <a:pt x="146547" y="240786"/>
                      <a:pt x="167376" y="235253"/>
                      <a:pt x="185112" y="224186"/>
                    </a:cubicBezTo>
                    <a:lnTo>
                      <a:pt x="185112" y="258144"/>
                    </a:lnTo>
                    <a:cubicBezTo>
                      <a:pt x="169412" y="267136"/>
                      <a:pt x="148074" y="271651"/>
                      <a:pt x="121085" y="271651"/>
                    </a:cubicBezTo>
                    <a:close/>
                  </a:path>
                </a:pathLst>
              </a:custGeom>
              <a:solidFill>
                <a:srgbClr val="3D434B"/>
              </a:solidFill>
              <a:ln w="1305" cap="flat">
                <a:noFill/>
                <a:prstDash val="solid"/>
                <a:miter/>
              </a:ln>
            </p:spPr>
            <p:txBody>
              <a:bodyPr rtlCol="0" anchor="ctr"/>
              <a:lstStyle/>
              <a:p>
                <a:endParaRPr lang="de-DE" dirty="0"/>
              </a:p>
            </p:txBody>
          </p:sp>
          <p:sp>
            <p:nvSpPr>
              <p:cNvPr id="56" name="Freeform: Shape 115">
                <a:extLst>
                  <a:ext uri="{FF2B5EF4-FFF2-40B4-BE49-F238E27FC236}">
                    <a16:creationId xmlns:a16="http://schemas.microsoft.com/office/drawing/2014/main" id="{65A2BE84-4221-44BB-A963-139147F42248}"/>
                  </a:ext>
                </a:extLst>
              </p:cNvPr>
              <p:cNvSpPr/>
              <p:nvPr/>
            </p:nvSpPr>
            <p:spPr bwMode="gray">
              <a:xfrm>
                <a:off x="10154858" y="4483107"/>
                <a:ext cx="189718" cy="262385"/>
              </a:xfrm>
              <a:custGeom>
                <a:avLst/>
                <a:gdLst>
                  <a:gd name="connsiteX0" fmla="*/ 0 w 189718"/>
                  <a:gd name="connsiteY0" fmla="*/ 262385 h 262385"/>
                  <a:gd name="connsiteX1" fmla="*/ 0 w 189718"/>
                  <a:gd name="connsiteY1" fmla="*/ 0 h 262385"/>
                  <a:gd name="connsiteX2" fmla="*/ 187409 w 189718"/>
                  <a:gd name="connsiteY2" fmla="*/ 0 h 262385"/>
                  <a:gd name="connsiteX3" fmla="*/ 187409 w 189718"/>
                  <a:gd name="connsiteY3" fmla="*/ 30865 h 262385"/>
                  <a:gd name="connsiteX4" fmla="*/ 34702 w 189718"/>
                  <a:gd name="connsiteY4" fmla="*/ 30865 h 262385"/>
                  <a:gd name="connsiteX5" fmla="*/ 34702 w 189718"/>
                  <a:gd name="connsiteY5" fmla="*/ 113437 h 262385"/>
                  <a:gd name="connsiteX6" fmla="*/ 165809 w 189718"/>
                  <a:gd name="connsiteY6" fmla="*/ 113437 h 262385"/>
                  <a:gd name="connsiteX7" fmla="*/ 165809 w 189718"/>
                  <a:gd name="connsiteY7" fmla="*/ 144302 h 262385"/>
                  <a:gd name="connsiteX8" fmla="*/ 34702 w 189718"/>
                  <a:gd name="connsiteY8" fmla="*/ 144302 h 262385"/>
                  <a:gd name="connsiteX9" fmla="*/ 34702 w 189718"/>
                  <a:gd name="connsiteY9" fmla="*/ 231507 h 262385"/>
                  <a:gd name="connsiteX10" fmla="*/ 189719 w 189718"/>
                  <a:gd name="connsiteY10" fmla="*/ 231507 h 262385"/>
                  <a:gd name="connsiteX11" fmla="*/ 189719 w 189718"/>
                  <a:gd name="connsiteY11" fmla="*/ 262372 h 262385"/>
                  <a:gd name="connsiteX12" fmla="*/ 0 w 189718"/>
                  <a:gd name="connsiteY12" fmla="*/ 262372 h 26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718" h="262385">
                    <a:moveTo>
                      <a:pt x="0" y="262385"/>
                    </a:moveTo>
                    <a:lnTo>
                      <a:pt x="0" y="0"/>
                    </a:lnTo>
                    <a:lnTo>
                      <a:pt x="187409" y="0"/>
                    </a:lnTo>
                    <a:lnTo>
                      <a:pt x="187409" y="30865"/>
                    </a:lnTo>
                    <a:lnTo>
                      <a:pt x="34702" y="30865"/>
                    </a:lnTo>
                    <a:lnTo>
                      <a:pt x="34702" y="113437"/>
                    </a:lnTo>
                    <a:lnTo>
                      <a:pt x="165809" y="113437"/>
                    </a:lnTo>
                    <a:lnTo>
                      <a:pt x="165809" y="144302"/>
                    </a:lnTo>
                    <a:lnTo>
                      <a:pt x="34702" y="144302"/>
                    </a:lnTo>
                    <a:lnTo>
                      <a:pt x="34702" y="231507"/>
                    </a:lnTo>
                    <a:lnTo>
                      <a:pt x="189719" y="231507"/>
                    </a:lnTo>
                    <a:lnTo>
                      <a:pt x="189719" y="262372"/>
                    </a:lnTo>
                    <a:lnTo>
                      <a:pt x="0" y="262372"/>
                    </a:lnTo>
                    <a:close/>
                  </a:path>
                </a:pathLst>
              </a:custGeom>
              <a:solidFill>
                <a:srgbClr val="3D434B"/>
              </a:solidFill>
              <a:ln w="1305" cap="flat">
                <a:noFill/>
                <a:prstDash val="solid"/>
                <a:miter/>
              </a:ln>
            </p:spPr>
            <p:txBody>
              <a:bodyPr rtlCol="0" anchor="ctr"/>
              <a:lstStyle/>
              <a:p>
                <a:endParaRPr lang="de-DE" dirty="0"/>
              </a:p>
            </p:txBody>
          </p:sp>
          <p:sp>
            <p:nvSpPr>
              <p:cNvPr id="57" name="Freeform: Shape 116">
                <a:extLst>
                  <a:ext uri="{FF2B5EF4-FFF2-40B4-BE49-F238E27FC236}">
                    <a16:creationId xmlns:a16="http://schemas.microsoft.com/office/drawing/2014/main" id="{7C64DDBC-FE2C-4161-8338-9D2EFC3EF658}"/>
                  </a:ext>
                </a:extLst>
              </p:cNvPr>
              <p:cNvSpPr/>
              <p:nvPr/>
            </p:nvSpPr>
            <p:spPr bwMode="gray">
              <a:xfrm>
                <a:off x="10425608" y="4478487"/>
                <a:ext cx="184341" cy="271638"/>
              </a:xfrm>
              <a:custGeom>
                <a:avLst/>
                <a:gdLst>
                  <a:gd name="connsiteX0" fmla="*/ 87544 w 184341"/>
                  <a:gd name="connsiteY0" fmla="*/ 271638 h 271638"/>
                  <a:gd name="connsiteX1" fmla="*/ 0 w 184341"/>
                  <a:gd name="connsiteY1" fmla="*/ 249256 h 271638"/>
                  <a:gd name="connsiteX2" fmla="*/ 0 w 184341"/>
                  <a:gd name="connsiteY2" fmla="*/ 213758 h 271638"/>
                  <a:gd name="connsiteX3" fmla="*/ 88302 w 184341"/>
                  <a:gd name="connsiteY3" fmla="*/ 240773 h 271638"/>
                  <a:gd name="connsiteX4" fmla="*/ 149627 w 184341"/>
                  <a:gd name="connsiteY4" fmla="*/ 195239 h 271638"/>
                  <a:gd name="connsiteX5" fmla="*/ 138625 w 184341"/>
                  <a:gd name="connsiteY5" fmla="*/ 168942 h 271638"/>
                  <a:gd name="connsiteX6" fmla="*/ 97515 w 184341"/>
                  <a:gd name="connsiteY6" fmla="*/ 153007 h 271638"/>
                  <a:gd name="connsiteX7" fmla="*/ 68634 w 184341"/>
                  <a:gd name="connsiteY7" fmla="*/ 146234 h 271638"/>
                  <a:gd name="connsiteX8" fmla="*/ 18506 w 184341"/>
                  <a:gd name="connsiteY8" fmla="*/ 121346 h 271638"/>
                  <a:gd name="connsiteX9" fmla="*/ 3850 w 184341"/>
                  <a:gd name="connsiteY9" fmla="*/ 76778 h 271638"/>
                  <a:gd name="connsiteX10" fmla="*/ 96406 w 184341"/>
                  <a:gd name="connsiteY10" fmla="*/ 0 h 271638"/>
                  <a:gd name="connsiteX11" fmla="*/ 170064 w 184341"/>
                  <a:gd name="connsiteY11" fmla="*/ 16209 h 271638"/>
                  <a:gd name="connsiteX12" fmla="*/ 170064 w 184341"/>
                  <a:gd name="connsiteY12" fmla="*/ 51329 h 271638"/>
                  <a:gd name="connsiteX13" fmla="*/ 97567 w 184341"/>
                  <a:gd name="connsiteY13" fmla="*/ 30878 h 271638"/>
                  <a:gd name="connsiteX14" fmla="*/ 38565 w 184341"/>
                  <a:gd name="connsiteY14" fmla="*/ 74481 h 271638"/>
                  <a:gd name="connsiteX15" fmla="*/ 48784 w 184341"/>
                  <a:gd name="connsiteY15" fmla="*/ 99499 h 271638"/>
                  <a:gd name="connsiteX16" fmla="*/ 86018 w 184341"/>
                  <a:gd name="connsiteY16" fmla="*/ 114520 h 271638"/>
                  <a:gd name="connsiteX17" fmla="*/ 115708 w 184341"/>
                  <a:gd name="connsiteY17" fmla="*/ 121085 h 271638"/>
                  <a:gd name="connsiteX18" fmla="*/ 168524 w 184341"/>
                  <a:gd name="connsiteY18" fmla="*/ 146978 h 271638"/>
                  <a:gd name="connsiteX19" fmla="*/ 184342 w 184341"/>
                  <a:gd name="connsiteY19" fmla="*/ 194104 h 271638"/>
                  <a:gd name="connsiteX20" fmla="*/ 87544 w 184341"/>
                  <a:gd name="connsiteY20" fmla="*/ 271638 h 27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4341" h="271638">
                    <a:moveTo>
                      <a:pt x="87544" y="271638"/>
                    </a:moveTo>
                    <a:cubicBezTo>
                      <a:pt x="48209" y="271638"/>
                      <a:pt x="19028" y="264173"/>
                      <a:pt x="0" y="249256"/>
                    </a:cubicBezTo>
                    <a:lnTo>
                      <a:pt x="0" y="213758"/>
                    </a:lnTo>
                    <a:cubicBezTo>
                      <a:pt x="24157" y="231768"/>
                      <a:pt x="53613" y="240773"/>
                      <a:pt x="88302" y="240773"/>
                    </a:cubicBezTo>
                    <a:cubicBezTo>
                      <a:pt x="129189" y="240773"/>
                      <a:pt x="149627" y="225595"/>
                      <a:pt x="149627" y="195239"/>
                    </a:cubicBezTo>
                    <a:cubicBezTo>
                      <a:pt x="149627" y="183715"/>
                      <a:pt x="145947" y="174958"/>
                      <a:pt x="138625" y="168942"/>
                    </a:cubicBezTo>
                    <a:cubicBezTo>
                      <a:pt x="131291" y="162926"/>
                      <a:pt x="117587" y="157614"/>
                      <a:pt x="97515" y="153007"/>
                    </a:cubicBezTo>
                    <a:lnTo>
                      <a:pt x="68634" y="146234"/>
                    </a:lnTo>
                    <a:cubicBezTo>
                      <a:pt x="44986" y="140831"/>
                      <a:pt x="28268" y="132530"/>
                      <a:pt x="18506" y="121346"/>
                    </a:cubicBezTo>
                    <a:cubicBezTo>
                      <a:pt x="8731" y="110161"/>
                      <a:pt x="3850" y="95310"/>
                      <a:pt x="3850" y="76778"/>
                    </a:cubicBezTo>
                    <a:cubicBezTo>
                      <a:pt x="3850" y="25593"/>
                      <a:pt x="34702" y="0"/>
                      <a:pt x="96406" y="0"/>
                    </a:cubicBezTo>
                    <a:cubicBezTo>
                      <a:pt x="130338" y="0"/>
                      <a:pt x="154886" y="5403"/>
                      <a:pt x="170064" y="16209"/>
                    </a:cubicBezTo>
                    <a:lnTo>
                      <a:pt x="170064" y="51329"/>
                    </a:lnTo>
                    <a:cubicBezTo>
                      <a:pt x="150775" y="37691"/>
                      <a:pt x="126618" y="30878"/>
                      <a:pt x="97567" y="30878"/>
                    </a:cubicBezTo>
                    <a:cubicBezTo>
                      <a:pt x="58233" y="30878"/>
                      <a:pt x="38565" y="45417"/>
                      <a:pt x="38565" y="74481"/>
                    </a:cubicBezTo>
                    <a:cubicBezTo>
                      <a:pt x="38565" y="85013"/>
                      <a:pt x="41958" y="93339"/>
                      <a:pt x="48784" y="99499"/>
                    </a:cubicBezTo>
                    <a:cubicBezTo>
                      <a:pt x="55596" y="105659"/>
                      <a:pt x="68007" y="110670"/>
                      <a:pt x="86018" y="114520"/>
                    </a:cubicBezTo>
                    <a:lnTo>
                      <a:pt x="115708" y="121085"/>
                    </a:lnTo>
                    <a:cubicBezTo>
                      <a:pt x="140374" y="126501"/>
                      <a:pt x="157992" y="135127"/>
                      <a:pt x="168524" y="146978"/>
                    </a:cubicBezTo>
                    <a:cubicBezTo>
                      <a:pt x="179069" y="158828"/>
                      <a:pt x="184342" y="174541"/>
                      <a:pt x="184342" y="194104"/>
                    </a:cubicBezTo>
                    <a:cubicBezTo>
                      <a:pt x="184342" y="245785"/>
                      <a:pt x="152067" y="271638"/>
                      <a:pt x="87544" y="271638"/>
                    </a:cubicBezTo>
                    <a:close/>
                  </a:path>
                </a:pathLst>
              </a:custGeom>
              <a:solidFill>
                <a:srgbClr val="3D434B"/>
              </a:solidFill>
              <a:ln w="1305" cap="flat">
                <a:noFill/>
                <a:prstDash val="solid"/>
                <a:miter/>
              </a:ln>
            </p:spPr>
            <p:txBody>
              <a:bodyPr rtlCol="0" anchor="ctr"/>
              <a:lstStyle/>
              <a:p>
                <a:endParaRPr lang="de-DE" dirty="0"/>
              </a:p>
            </p:txBody>
          </p:sp>
        </p:grpSp>
        <p:grpSp>
          <p:nvGrpSpPr>
            <p:cNvPr id="21" name="Graphic 3">
              <a:extLst>
                <a:ext uri="{FF2B5EF4-FFF2-40B4-BE49-F238E27FC236}">
                  <a16:creationId xmlns:a16="http://schemas.microsoft.com/office/drawing/2014/main" id="{049414A7-B170-4882-A0CE-C8F24ECD2B64}"/>
                </a:ext>
              </a:extLst>
            </p:cNvPr>
            <p:cNvGrpSpPr/>
            <p:nvPr/>
          </p:nvGrpSpPr>
          <p:grpSpPr bwMode="gray">
            <a:xfrm>
              <a:off x="1225830" y="2481785"/>
              <a:ext cx="1609205" cy="1626009"/>
              <a:chOff x="1225830" y="2481785"/>
              <a:chExt cx="1609205" cy="1626009"/>
            </a:xfrm>
          </p:grpSpPr>
          <p:sp>
            <p:nvSpPr>
              <p:cNvPr id="22" name="Freeform: Shape 87">
                <a:extLst>
                  <a:ext uri="{FF2B5EF4-FFF2-40B4-BE49-F238E27FC236}">
                    <a16:creationId xmlns:a16="http://schemas.microsoft.com/office/drawing/2014/main" id="{701788EC-E39B-46A7-B163-EC3A53C0D316}"/>
                  </a:ext>
                </a:extLst>
              </p:cNvPr>
              <p:cNvSpPr/>
              <p:nvPr/>
            </p:nvSpPr>
            <p:spPr bwMode="gray">
              <a:xfrm>
                <a:off x="1225830" y="3224285"/>
                <a:ext cx="1147028" cy="713117"/>
              </a:xfrm>
              <a:custGeom>
                <a:avLst/>
                <a:gdLst>
                  <a:gd name="connsiteX0" fmla="*/ 801276 w 1147028"/>
                  <a:gd name="connsiteY0" fmla="*/ 441233 h 713117"/>
                  <a:gd name="connsiteX1" fmla="*/ 271677 w 1147028"/>
                  <a:gd name="connsiteY1" fmla="*/ 223168 h 713117"/>
                  <a:gd name="connsiteX2" fmla="*/ 246163 w 1147028"/>
                  <a:gd name="connsiteY2" fmla="*/ 0 h 713117"/>
                  <a:gd name="connsiteX3" fmla="*/ 3549 w 1147028"/>
                  <a:gd name="connsiteY3" fmla="*/ 78 h 713117"/>
                  <a:gd name="connsiteX4" fmla="*/ 49827 w 1147028"/>
                  <a:gd name="connsiteY4" fmla="*/ 315737 h 713117"/>
                  <a:gd name="connsiteX5" fmla="*/ 893792 w 1147028"/>
                  <a:gd name="connsiteY5" fmla="*/ 663213 h 713117"/>
                  <a:gd name="connsiteX6" fmla="*/ 1147029 w 1147028"/>
                  <a:gd name="connsiteY6" fmla="*/ 473690 h 713117"/>
                  <a:gd name="connsiteX7" fmla="*/ 975412 w 1147028"/>
                  <a:gd name="connsiteY7" fmla="*/ 302060 h 713117"/>
                  <a:gd name="connsiteX8" fmla="*/ 801276 w 1147028"/>
                  <a:gd name="connsiteY8" fmla="*/ 441233 h 71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7028" h="713117">
                    <a:moveTo>
                      <a:pt x="801276" y="441233"/>
                    </a:moveTo>
                    <a:cubicBezTo>
                      <a:pt x="594865" y="527354"/>
                      <a:pt x="357759" y="429722"/>
                      <a:pt x="271677" y="223168"/>
                    </a:cubicBezTo>
                    <a:cubicBezTo>
                      <a:pt x="241164" y="149940"/>
                      <a:pt x="233843" y="72875"/>
                      <a:pt x="246163" y="0"/>
                    </a:cubicBezTo>
                    <a:lnTo>
                      <a:pt x="3549" y="78"/>
                    </a:lnTo>
                    <a:cubicBezTo>
                      <a:pt x="-7413" y="104132"/>
                      <a:pt x="6747" y="212362"/>
                      <a:pt x="49827" y="315737"/>
                    </a:cubicBezTo>
                    <a:cubicBezTo>
                      <a:pt x="186964" y="644876"/>
                      <a:pt x="564835" y="800467"/>
                      <a:pt x="893792" y="663213"/>
                    </a:cubicBezTo>
                    <a:cubicBezTo>
                      <a:pt x="996241" y="620485"/>
                      <a:pt x="1081840" y="554369"/>
                      <a:pt x="1147029" y="473690"/>
                    </a:cubicBezTo>
                    <a:lnTo>
                      <a:pt x="975412" y="302060"/>
                    </a:lnTo>
                    <a:cubicBezTo>
                      <a:pt x="933023" y="361858"/>
                      <a:pt x="873942" y="410929"/>
                      <a:pt x="801276" y="441233"/>
                    </a:cubicBezTo>
                    <a:close/>
                  </a:path>
                </a:pathLst>
              </a:custGeom>
              <a:solidFill>
                <a:srgbClr val="62636B"/>
              </a:solidFill>
              <a:ln w="1305" cap="flat">
                <a:noFill/>
                <a:prstDash val="solid"/>
                <a:miter/>
              </a:ln>
            </p:spPr>
            <p:txBody>
              <a:bodyPr rtlCol="0" anchor="ctr"/>
              <a:lstStyle/>
              <a:p>
                <a:endParaRPr lang="de-DE" dirty="0"/>
              </a:p>
            </p:txBody>
          </p:sp>
          <p:sp>
            <p:nvSpPr>
              <p:cNvPr id="23" name="Freeform: Shape 88">
                <a:extLst>
                  <a:ext uri="{FF2B5EF4-FFF2-40B4-BE49-F238E27FC236}">
                    <a16:creationId xmlns:a16="http://schemas.microsoft.com/office/drawing/2014/main" id="{FE2E418C-0094-408D-8208-CE09537CCFBE}"/>
                  </a:ext>
                </a:extLst>
              </p:cNvPr>
              <p:cNvSpPr/>
              <p:nvPr/>
            </p:nvSpPr>
            <p:spPr bwMode="gray">
              <a:xfrm>
                <a:off x="1580809" y="2481785"/>
                <a:ext cx="1026584" cy="874769"/>
              </a:xfrm>
              <a:custGeom>
                <a:avLst/>
                <a:gdLst>
                  <a:gd name="connsiteX0" fmla="*/ 243997 w 1026584"/>
                  <a:gd name="connsiteY0" fmla="*/ 592208 h 874769"/>
                  <a:gd name="connsiteX1" fmla="*/ 698945 w 1026584"/>
                  <a:gd name="connsiteY1" fmla="*/ 244158 h 874769"/>
                  <a:gd name="connsiteX2" fmla="*/ 904481 w 1026584"/>
                  <a:gd name="connsiteY2" fmla="*/ 334469 h 874769"/>
                  <a:gd name="connsiteX3" fmla="*/ 1026584 w 1026584"/>
                  <a:gd name="connsiteY3" fmla="*/ 124665 h 874769"/>
                  <a:gd name="connsiteX4" fmla="*/ 730737 w 1026584"/>
                  <a:gd name="connsiteY4" fmla="*/ 5747 h 874769"/>
                  <a:gd name="connsiteX5" fmla="*/ 5742 w 1026584"/>
                  <a:gd name="connsiteY5" fmla="*/ 560416 h 874769"/>
                  <a:gd name="connsiteX6" fmla="*/ 41893 w 1026584"/>
                  <a:gd name="connsiteY6" fmla="*/ 874770 h 874769"/>
                  <a:gd name="connsiteX7" fmla="*/ 276493 w 1026584"/>
                  <a:gd name="connsiteY7" fmla="*/ 812818 h 874769"/>
                  <a:gd name="connsiteX8" fmla="*/ 243997 w 1026584"/>
                  <a:gd name="connsiteY8" fmla="*/ 592208 h 87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6584" h="874769">
                    <a:moveTo>
                      <a:pt x="243997" y="592208"/>
                    </a:moveTo>
                    <a:cubicBezTo>
                      <a:pt x="273570" y="370398"/>
                      <a:pt x="477252" y="214559"/>
                      <a:pt x="698945" y="244158"/>
                    </a:cubicBezTo>
                    <a:cubicBezTo>
                      <a:pt x="777537" y="254651"/>
                      <a:pt x="847776" y="287121"/>
                      <a:pt x="904481" y="334469"/>
                    </a:cubicBezTo>
                    <a:lnTo>
                      <a:pt x="1026584" y="124665"/>
                    </a:lnTo>
                    <a:cubicBezTo>
                      <a:pt x="942263" y="62792"/>
                      <a:pt x="841681" y="20546"/>
                      <a:pt x="730737" y="5747"/>
                    </a:cubicBezTo>
                    <a:cubicBezTo>
                      <a:pt x="377480" y="-41418"/>
                      <a:pt x="52869" y="206911"/>
                      <a:pt x="5742" y="560416"/>
                    </a:cubicBezTo>
                    <a:cubicBezTo>
                      <a:pt x="-8940" y="670486"/>
                      <a:pt x="5038" y="777789"/>
                      <a:pt x="41893" y="874770"/>
                    </a:cubicBezTo>
                    <a:lnTo>
                      <a:pt x="276493" y="812818"/>
                    </a:lnTo>
                    <a:cubicBezTo>
                      <a:pt x="246215" y="746050"/>
                      <a:pt x="233582" y="670278"/>
                      <a:pt x="243997" y="592208"/>
                    </a:cubicBezTo>
                    <a:close/>
                  </a:path>
                </a:pathLst>
              </a:custGeom>
              <a:solidFill>
                <a:srgbClr val="3D434B"/>
              </a:solidFill>
              <a:ln w="1305" cap="flat">
                <a:noFill/>
                <a:prstDash val="solid"/>
                <a:miter/>
              </a:ln>
            </p:spPr>
            <p:txBody>
              <a:bodyPr rtlCol="0" anchor="ctr"/>
              <a:lstStyle/>
              <a:p>
                <a:endParaRPr lang="de-DE" dirty="0"/>
              </a:p>
            </p:txBody>
          </p:sp>
          <p:sp>
            <p:nvSpPr>
              <p:cNvPr id="24" name="Freeform: Shape 89">
                <a:extLst>
                  <a:ext uri="{FF2B5EF4-FFF2-40B4-BE49-F238E27FC236}">
                    <a16:creationId xmlns:a16="http://schemas.microsoft.com/office/drawing/2014/main" id="{40F687E6-A9D2-45FC-9F1C-5F1AA9289C0E}"/>
                  </a:ext>
                </a:extLst>
              </p:cNvPr>
              <p:cNvSpPr/>
              <p:nvPr/>
            </p:nvSpPr>
            <p:spPr bwMode="gray">
              <a:xfrm>
                <a:off x="2229927" y="2879315"/>
                <a:ext cx="605107" cy="1228479"/>
              </a:xfrm>
              <a:custGeom>
                <a:avLst/>
                <a:gdLst>
                  <a:gd name="connsiteX0" fmla="*/ 207128 w 605107"/>
                  <a:gd name="connsiteY0" fmla="*/ 316559 h 1228479"/>
                  <a:gd name="connsiteX1" fmla="*/ 280369 w 605107"/>
                  <a:gd name="connsiteY1" fmla="*/ 884879 h 1228479"/>
                  <a:gd name="connsiteX2" fmla="*/ 99316 w 605107"/>
                  <a:gd name="connsiteY2" fmla="*/ 1017671 h 1228479"/>
                  <a:gd name="connsiteX3" fmla="*/ 219644 w 605107"/>
                  <a:gd name="connsiteY3" fmla="*/ 1228479 h 1228479"/>
                  <a:gd name="connsiteX4" fmla="*/ 470675 w 605107"/>
                  <a:gd name="connsiteY4" fmla="*/ 1031804 h 1228479"/>
                  <a:gd name="connsiteX5" fmla="*/ 353949 w 605107"/>
                  <a:gd name="connsiteY5" fmla="*/ 126122 h 1228479"/>
                  <a:gd name="connsiteX6" fmla="*/ 63922 w 605107"/>
                  <a:gd name="connsiteY6" fmla="*/ 0 h 1228479"/>
                  <a:gd name="connsiteX7" fmla="*/ 0 w 605107"/>
                  <a:gd name="connsiteY7" fmla="*/ 234209 h 1228479"/>
                  <a:gd name="connsiteX8" fmla="*/ 207128 w 605107"/>
                  <a:gd name="connsiteY8" fmla="*/ 316559 h 122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5107" h="1228479">
                    <a:moveTo>
                      <a:pt x="207128" y="316559"/>
                    </a:moveTo>
                    <a:cubicBezTo>
                      <a:pt x="384201" y="453239"/>
                      <a:pt x="417010" y="707702"/>
                      <a:pt x="280369" y="884879"/>
                    </a:cubicBezTo>
                    <a:cubicBezTo>
                      <a:pt x="231938" y="947679"/>
                      <a:pt x="168668" y="992261"/>
                      <a:pt x="99316" y="1017671"/>
                    </a:cubicBezTo>
                    <a:lnTo>
                      <a:pt x="219644" y="1228479"/>
                    </a:lnTo>
                    <a:cubicBezTo>
                      <a:pt x="315384" y="1186429"/>
                      <a:pt x="402302" y="1120471"/>
                      <a:pt x="470675" y="1031804"/>
                    </a:cubicBezTo>
                    <a:cubicBezTo>
                      <a:pt x="688387" y="749478"/>
                      <a:pt x="636145" y="343978"/>
                      <a:pt x="353949" y="126122"/>
                    </a:cubicBezTo>
                    <a:cubicBezTo>
                      <a:pt x="266092" y="58284"/>
                      <a:pt x="166266" y="16653"/>
                      <a:pt x="63922" y="0"/>
                    </a:cubicBezTo>
                    <a:lnTo>
                      <a:pt x="0" y="234209"/>
                    </a:lnTo>
                    <a:cubicBezTo>
                      <a:pt x="72954" y="241426"/>
                      <a:pt x="144824" y="268441"/>
                      <a:pt x="207128" y="316559"/>
                    </a:cubicBezTo>
                    <a:close/>
                  </a:path>
                </a:pathLst>
              </a:custGeom>
              <a:solidFill>
                <a:srgbClr val="7B7B81"/>
              </a:solidFill>
              <a:ln w="1305" cap="flat">
                <a:noFill/>
                <a:prstDash val="solid"/>
                <a:miter/>
              </a:ln>
            </p:spPr>
            <p:txBody>
              <a:bodyPr rtlCol="0" anchor="ctr"/>
              <a:lstStyle/>
              <a:p>
                <a:endParaRPr lang="de-DE" dirty="0"/>
              </a:p>
            </p:txBody>
          </p:sp>
        </p:grpSp>
      </p:grpSp>
      <p:pic>
        <p:nvPicPr>
          <p:cNvPr id="78" name="Grafik 77">
            <a:extLst>
              <a:ext uri="{FF2B5EF4-FFF2-40B4-BE49-F238E27FC236}">
                <a16:creationId xmlns:a16="http://schemas.microsoft.com/office/drawing/2014/main" id="{BAACC72D-323B-3246-B100-B65A1E3DB02F}"/>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bwMode="gray">
          <a:xfrm>
            <a:off x="4124267" y="1989000"/>
            <a:ext cx="1054601" cy="1054601"/>
          </a:xfrm>
          <a:prstGeom prst="rect">
            <a:avLst/>
          </a:prstGeom>
          <a:noFill/>
        </p:spPr>
      </p:pic>
    </p:spTree>
    <p:extLst>
      <p:ext uri="{BB962C8B-B14F-4D97-AF65-F5344CB8AC3E}">
        <p14:creationId xmlns:p14="http://schemas.microsoft.com/office/powerpoint/2010/main" val="2287591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26D454CA-81F1-413F-8FC2-5375AE80773B}"/>
              </a:ext>
            </a:extLst>
          </p:cNvPr>
          <p:cNvGraphicFramePr>
            <a:graphicFrameLocks noChangeAspect="1"/>
          </p:cNvGraphicFramePr>
          <p:nvPr>
            <p:custDataLst>
              <p:tags r:id="rId1"/>
            </p:custDataLst>
            <p:extLst>
              <p:ext uri="{D42A27DB-BD31-4B8C-83A1-F6EECF244321}">
                <p14:modId xmlns:p14="http://schemas.microsoft.com/office/powerpoint/2010/main" val="595771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p:cNvSpPr>
            <a:spLocks noGrp="1"/>
          </p:cNvSpPr>
          <p:nvPr>
            <p:ph type="title"/>
          </p:nvPr>
        </p:nvSpPr>
        <p:spPr bwMode="gray"/>
        <p:txBody>
          <a:bodyPr vert="horz"/>
          <a:lstStyle/>
          <a:p>
            <a:r>
              <a:rPr lang="de-DE" dirty="0"/>
              <a:t>Texte mit Icons</a:t>
            </a:r>
          </a:p>
        </p:txBody>
      </p:sp>
      <p:sp>
        <p:nvSpPr>
          <p:cNvPr id="2" name="Datumsplatzhalter 1">
            <a:extLst>
              <a:ext uri="{FF2B5EF4-FFF2-40B4-BE49-F238E27FC236}">
                <a16:creationId xmlns:a16="http://schemas.microsoft.com/office/drawing/2014/main" id="{78877DEA-78CF-4D74-997C-E7B08F41050B}"/>
              </a:ext>
            </a:extLst>
          </p:cNvPr>
          <p:cNvSpPr>
            <a:spLocks noGrp="1"/>
          </p:cNvSpPr>
          <p:nvPr>
            <p:ph type="dt" sz="half" idx="10"/>
          </p:nvPr>
        </p:nvSpPr>
        <p:spPr bwMode="gray"/>
        <p:txBody>
          <a:bodyPr/>
          <a:lstStyle/>
          <a:p>
            <a:fld id="{69DB1DE5-73D3-4F82-A76A-946299E06CF9}" type="datetime1">
              <a:rPr lang="de-DE" smtClean="0"/>
              <a:t>29.09.25</a:t>
            </a:fld>
            <a:endParaRPr lang="de-DE" dirty="0"/>
          </a:p>
        </p:txBody>
      </p:sp>
      <p:sp>
        <p:nvSpPr>
          <p:cNvPr id="3" name="Fußzeilenplatzhalter 2">
            <a:extLst>
              <a:ext uri="{FF2B5EF4-FFF2-40B4-BE49-F238E27FC236}">
                <a16:creationId xmlns:a16="http://schemas.microsoft.com/office/drawing/2014/main" id="{D5C17C2D-AD69-4BCE-97B0-1DAD76B75059}"/>
              </a:ext>
            </a:extLst>
          </p:cNvPr>
          <p:cNvSpPr>
            <a:spLocks noGrp="1"/>
          </p:cNvSpPr>
          <p:nvPr>
            <p:ph type="ftr" sz="quarter" idx="11"/>
          </p:nvPr>
        </p:nvSpPr>
        <p:spPr bwMode="gray"/>
        <p:txBody>
          <a:bodyPr/>
          <a:lstStyle/>
          <a:p>
            <a:r>
              <a:rPr lang="de-DE" dirty="0"/>
              <a:t>TITEL DER PRÄSENTATION | TITEL VORNAME NAME</a:t>
            </a:r>
          </a:p>
        </p:txBody>
      </p:sp>
      <p:sp>
        <p:nvSpPr>
          <p:cNvPr id="5" name="Foliennummernplatzhalter 4">
            <a:extLst>
              <a:ext uri="{FF2B5EF4-FFF2-40B4-BE49-F238E27FC236}">
                <a16:creationId xmlns:a16="http://schemas.microsoft.com/office/drawing/2014/main" id="{D6EFAFA1-35E3-4437-B538-14916802A9DB}"/>
              </a:ext>
            </a:extLst>
          </p:cNvPr>
          <p:cNvSpPr>
            <a:spLocks noGrp="1"/>
          </p:cNvSpPr>
          <p:nvPr>
            <p:ph type="sldNum" sz="quarter" idx="12"/>
          </p:nvPr>
        </p:nvSpPr>
        <p:spPr bwMode="gray"/>
        <p:txBody>
          <a:bodyPr/>
          <a:lstStyle/>
          <a:p>
            <a:fld id="{09E9C37E-8A19-4E30-BE2B-5A966AD23C7A}" type="slidenum">
              <a:rPr lang="de-DE" smtClean="0"/>
              <a:pPr/>
              <a:t>58</a:t>
            </a:fld>
            <a:endParaRPr lang="de-DE" dirty="0"/>
          </a:p>
        </p:txBody>
      </p:sp>
      <p:pic>
        <p:nvPicPr>
          <p:cNvPr id="34" name="Grafik 33">
            <a:extLst>
              <a:ext uri="{FF2B5EF4-FFF2-40B4-BE49-F238E27FC236}">
                <a16:creationId xmlns:a16="http://schemas.microsoft.com/office/drawing/2014/main" id="{3E81D25B-4C89-422E-A048-1780E198A9F0}"/>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bwMode="gray">
          <a:xfrm>
            <a:off x="1920000" y="1989000"/>
            <a:ext cx="1008000" cy="1008000"/>
          </a:xfrm>
          <a:prstGeom prst="rect">
            <a:avLst/>
          </a:prstGeom>
          <a:noFill/>
        </p:spPr>
      </p:pic>
      <p:pic>
        <p:nvPicPr>
          <p:cNvPr id="35" name="Grafik 34">
            <a:extLst>
              <a:ext uri="{FF2B5EF4-FFF2-40B4-BE49-F238E27FC236}">
                <a16:creationId xmlns:a16="http://schemas.microsoft.com/office/drawing/2014/main" id="{691AB31A-A186-446F-9F2C-62BE1DD8496B}"/>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bwMode="gray">
          <a:xfrm>
            <a:off x="1920000" y="3321075"/>
            <a:ext cx="1008000" cy="1008000"/>
          </a:xfrm>
          <a:prstGeom prst="rect">
            <a:avLst/>
          </a:prstGeom>
          <a:noFill/>
        </p:spPr>
      </p:pic>
      <p:pic>
        <p:nvPicPr>
          <p:cNvPr id="36" name="Grafik 35">
            <a:extLst>
              <a:ext uri="{FF2B5EF4-FFF2-40B4-BE49-F238E27FC236}">
                <a16:creationId xmlns:a16="http://schemas.microsoft.com/office/drawing/2014/main" id="{ADC51DA1-5D8A-4AE7-B48D-E4AC6DD76528}"/>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bwMode="gray">
          <a:xfrm>
            <a:off x="1920000" y="4653075"/>
            <a:ext cx="1008000" cy="1008000"/>
          </a:xfrm>
          <a:prstGeom prst="rect">
            <a:avLst/>
          </a:prstGeom>
          <a:noFill/>
        </p:spPr>
      </p:pic>
      <p:sp>
        <p:nvSpPr>
          <p:cNvPr id="37" name="Content Placeholder 10">
            <a:extLst>
              <a:ext uri="{FF2B5EF4-FFF2-40B4-BE49-F238E27FC236}">
                <a16:creationId xmlns:a16="http://schemas.microsoft.com/office/drawing/2014/main" id="{485C7866-57F7-4A23-9C19-B1B450753853}"/>
              </a:ext>
            </a:extLst>
          </p:cNvPr>
          <p:cNvSpPr txBox="1">
            <a:spLocks/>
          </p:cNvSpPr>
          <p:nvPr/>
        </p:nvSpPr>
        <p:spPr bwMode="gray">
          <a:xfrm>
            <a:off x="3216000" y="1989075"/>
            <a:ext cx="6480450"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a:p>
            <a:pPr lvl="1"/>
            <a:r>
              <a:rPr lang="de-DE" dirty="0"/>
              <a:t>Consetetur sadipscing elitr, sed diam nonumy eirmod tempor invidunt ut labore et dolore magna aliquyam erat, voluptua. </a:t>
            </a:r>
          </a:p>
        </p:txBody>
      </p:sp>
      <p:sp>
        <p:nvSpPr>
          <p:cNvPr id="38" name="Content Placeholder 10">
            <a:extLst>
              <a:ext uri="{FF2B5EF4-FFF2-40B4-BE49-F238E27FC236}">
                <a16:creationId xmlns:a16="http://schemas.microsoft.com/office/drawing/2014/main" id="{DDEF967C-4D5E-4865-AD9B-0ACCD0EA8F2B}"/>
              </a:ext>
            </a:extLst>
          </p:cNvPr>
          <p:cNvSpPr txBox="1">
            <a:spLocks/>
          </p:cNvSpPr>
          <p:nvPr/>
        </p:nvSpPr>
        <p:spPr bwMode="gray">
          <a:xfrm>
            <a:off x="3216000" y="3321075"/>
            <a:ext cx="6480450"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a:p>
            <a:pPr lvl="1"/>
            <a:r>
              <a:rPr lang="de-DE" dirty="0"/>
              <a:t>Consetetur sadipscing elitr, sed diam nonumy eirmod tempor invidunt ut labore et dolore magna aliquyam erat, voluptua. </a:t>
            </a:r>
          </a:p>
        </p:txBody>
      </p:sp>
      <p:sp>
        <p:nvSpPr>
          <p:cNvPr id="39" name="Content Placeholder 10">
            <a:extLst>
              <a:ext uri="{FF2B5EF4-FFF2-40B4-BE49-F238E27FC236}">
                <a16:creationId xmlns:a16="http://schemas.microsoft.com/office/drawing/2014/main" id="{485712FD-72F3-4508-82C1-B9C00C455E4B}"/>
              </a:ext>
            </a:extLst>
          </p:cNvPr>
          <p:cNvSpPr txBox="1">
            <a:spLocks/>
          </p:cNvSpPr>
          <p:nvPr/>
        </p:nvSpPr>
        <p:spPr bwMode="gray">
          <a:xfrm>
            <a:off x="3216000" y="4653075"/>
            <a:ext cx="6480450"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a:p>
            <a:pPr lvl="1"/>
            <a:r>
              <a:rPr lang="de-DE" dirty="0"/>
              <a:t>Consetetur sadipscing elitr, sed diam nonumy eirmod tempor invidunt ut labore et dolore magna aliquyam erat, voluptua. </a:t>
            </a:r>
          </a:p>
        </p:txBody>
      </p:sp>
    </p:spTree>
    <p:extLst>
      <p:ext uri="{BB962C8B-B14F-4D97-AF65-F5344CB8AC3E}">
        <p14:creationId xmlns:p14="http://schemas.microsoft.com/office/powerpoint/2010/main" val="3594378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8BCFD33-1768-4590-801B-B7B0C2BD8CDF}"/>
              </a:ext>
            </a:extLst>
          </p:cNvPr>
          <p:cNvGraphicFramePr>
            <a:graphicFrameLocks noChangeAspect="1"/>
          </p:cNvGraphicFramePr>
          <p:nvPr>
            <p:custDataLst>
              <p:tags r:id="rId1"/>
            </p:custDataLst>
            <p:extLst>
              <p:ext uri="{D42A27DB-BD31-4B8C-83A1-F6EECF244321}">
                <p14:modId xmlns:p14="http://schemas.microsoft.com/office/powerpoint/2010/main" val="115985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p:txBody>
          <a:bodyPr vert="horz"/>
          <a:lstStyle/>
          <a:p>
            <a:r>
              <a:rPr lang="de-DE" dirty="0"/>
              <a:t>SWOT-Analyse</a:t>
            </a:r>
          </a:p>
        </p:txBody>
      </p:sp>
      <p:sp>
        <p:nvSpPr>
          <p:cNvPr id="3" name="Datumsplatzhalter 2">
            <a:extLst>
              <a:ext uri="{FF2B5EF4-FFF2-40B4-BE49-F238E27FC236}">
                <a16:creationId xmlns:a16="http://schemas.microsoft.com/office/drawing/2014/main" id="{0AE7B07E-A427-41DE-8647-DD64A7E07C18}"/>
              </a:ext>
            </a:extLst>
          </p:cNvPr>
          <p:cNvSpPr>
            <a:spLocks noGrp="1"/>
          </p:cNvSpPr>
          <p:nvPr>
            <p:ph type="dt" sz="half" idx="10"/>
          </p:nvPr>
        </p:nvSpPr>
        <p:spPr bwMode="gray"/>
        <p:txBody>
          <a:bodyPr/>
          <a:lstStyle/>
          <a:p>
            <a:fld id="{358C2C0F-80A1-486D-AAE8-DACAE8BA62B1}" type="datetime1">
              <a:rPr lang="de-DE" smtClean="0"/>
              <a:t>29.09.25</a:t>
            </a:fld>
            <a:endParaRPr lang="de-DE" dirty="0"/>
          </a:p>
        </p:txBody>
      </p:sp>
      <p:sp>
        <p:nvSpPr>
          <p:cNvPr id="4" name="Fußzeilenplatzhalter 3">
            <a:extLst>
              <a:ext uri="{FF2B5EF4-FFF2-40B4-BE49-F238E27FC236}">
                <a16:creationId xmlns:a16="http://schemas.microsoft.com/office/drawing/2014/main" id="{0E6E4BA3-9A20-4D4D-AD45-112FE72478E5}"/>
              </a:ext>
            </a:extLst>
          </p:cNvPr>
          <p:cNvSpPr>
            <a:spLocks noGrp="1"/>
          </p:cNvSpPr>
          <p:nvPr>
            <p:ph type="ftr" sz="quarter" idx="11"/>
          </p:nvPr>
        </p:nvSpPr>
        <p:spPr bwMode="gray"/>
        <p:txBody>
          <a:bodyPr/>
          <a:lstStyle/>
          <a:p>
            <a:r>
              <a:rPr lang="de-DE" dirty="0"/>
              <a:t>TITEL DER PRÄSENTATION | TITEL VORNAME NAME</a:t>
            </a:r>
          </a:p>
        </p:txBody>
      </p:sp>
      <p:sp>
        <p:nvSpPr>
          <p:cNvPr id="5" name="Foliennummernplatzhalter 4">
            <a:extLst>
              <a:ext uri="{FF2B5EF4-FFF2-40B4-BE49-F238E27FC236}">
                <a16:creationId xmlns:a16="http://schemas.microsoft.com/office/drawing/2014/main" id="{9C49C49F-72C9-47FF-8DE7-C0C382A35132}"/>
              </a:ext>
            </a:extLst>
          </p:cNvPr>
          <p:cNvSpPr>
            <a:spLocks noGrp="1"/>
          </p:cNvSpPr>
          <p:nvPr>
            <p:ph type="sldNum" sz="quarter" idx="12"/>
          </p:nvPr>
        </p:nvSpPr>
        <p:spPr bwMode="gray"/>
        <p:txBody>
          <a:bodyPr/>
          <a:lstStyle/>
          <a:p>
            <a:fld id="{09E9C37E-8A19-4E30-BE2B-5A966AD23C7A}" type="slidenum">
              <a:rPr lang="de-DE" smtClean="0"/>
              <a:pPr/>
              <a:t>59</a:t>
            </a:fld>
            <a:endParaRPr lang="de-DE" dirty="0"/>
          </a:p>
        </p:txBody>
      </p:sp>
      <p:cxnSp>
        <p:nvCxnSpPr>
          <p:cNvPr id="11" name="Gerader Verbinder 10">
            <a:extLst>
              <a:ext uri="{FF2B5EF4-FFF2-40B4-BE49-F238E27FC236}">
                <a16:creationId xmlns:a16="http://schemas.microsoft.com/office/drawing/2014/main" id="{52FB9232-C8E8-45B6-8EB6-A79BAF9C7307}"/>
              </a:ext>
            </a:extLst>
          </p:cNvPr>
          <p:cNvCxnSpPr>
            <a:cxnSpLocks/>
          </p:cNvCxnSpPr>
          <p:nvPr/>
        </p:nvCxnSpPr>
        <p:spPr bwMode="gray">
          <a:xfrm>
            <a:off x="5952000" y="2349000"/>
            <a:ext cx="0" cy="3024000"/>
          </a:xfrm>
          <a:prstGeom prst="line">
            <a:avLst/>
          </a:prstGeom>
          <a:ln w="9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633CAA84-52DF-4D90-A7AA-CFC82549AD2C}"/>
              </a:ext>
            </a:extLst>
          </p:cNvPr>
          <p:cNvCxnSpPr>
            <a:cxnSpLocks/>
          </p:cNvCxnSpPr>
          <p:nvPr/>
        </p:nvCxnSpPr>
        <p:spPr bwMode="gray">
          <a:xfrm rot="16200000">
            <a:off x="5952000" y="2348800"/>
            <a:ext cx="0" cy="3024000"/>
          </a:xfrm>
          <a:prstGeom prst="line">
            <a:avLst/>
          </a:prstGeom>
          <a:ln w="9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Content Placeholder 10">
            <a:extLst>
              <a:ext uri="{FF2B5EF4-FFF2-40B4-BE49-F238E27FC236}">
                <a16:creationId xmlns:a16="http://schemas.microsoft.com/office/drawing/2014/main" id="{01D140E9-D3F2-4B56-B9A5-9CA8A0834DE7}"/>
              </a:ext>
            </a:extLst>
          </p:cNvPr>
          <p:cNvSpPr txBox="1">
            <a:spLocks/>
          </p:cNvSpPr>
          <p:nvPr/>
        </p:nvSpPr>
        <p:spPr bwMode="gray">
          <a:xfrm>
            <a:off x="8040687" y="2349000"/>
            <a:ext cx="3527425" cy="1080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t>Pellentesque habant morbi tristique senectus et netus et malesuada fames ac tur pis egestas.</a:t>
            </a:r>
          </a:p>
        </p:txBody>
      </p:sp>
      <p:sp>
        <p:nvSpPr>
          <p:cNvPr id="33" name="Content Placeholder 10">
            <a:extLst>
              <a:ext uri="{FF2B5EF4-FFF2-40B4-BE49-F238E27FC236}">
                <a16:creationId xmlns:a16="http://schemas.microsoft.com/office/drawing/2014/main" id="{C2574005-E307-4B22-8A30-61E0420BD790}"/>
              </a:ext>
            </a:extLst>
          </p:cNvPr>
          <p:cNvSpPr txBox="1">
            <a:spLocks/>
          </p:cNvSpPr>
          <p:nvPr/>
        </p:nvSpPr>
        <p:spPr bwMode="gray">
          <a:xfrm>
            <a:off x="336000" y="2349000"/>
            <a:ext cx="3527425" cy="1080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t>Lorem ipsum dolor sit conse ctetuer adipiscing elit. Maec enas congue massa. Fusce sed lectus amet com.</a:t>
            </a:r>
          </a:p>
        </p:txBody>
      </p:sp>
      <p:sp>
        <p:nvSpPr>
          <p:cNvPr id="46" name="Content Placeholder 10">
            <a:extLst>
              <a:ext uri="{FF2B5EF4-FFF2-40B4-BE49-F238E27FC236}">
                <a16:creationId xmlns:a16="http://schemas.microsoft.com/office/drawing/2014/main" id="{10FC826C-E8E2-4D8F-A28C-4D6EA8693BEF}"/>
              </a:ext>
            </a:extLst>
          </p:cNvPr>
          <p:cNvSpPr txBox="1">
            <a:spLocks/>
          </p:cNvSpPr>
          <p:nvPr/>
        </p:nvSpPr>
        <p:spPr bwMode="gray">
          <a:xfrm>
            <a:off x="4728000" y="2637000"/>
            <a:ext cx="1080000" cy="1080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sz="5400" b="1" dirty="0">
                <a:solidFill>
                  <a:schemeClr val="tx2"/>
                </a:solidFill>
              </a:rPr>
              <a:t>S</a:t>
            </a:r>
          </a:p>
        </p:txBody>
      </p:sp>
      <p:sp>
        <p:nvSpPr>
          <p:cNvPr id="47" name="Content Placeholder 10">
            <a:extLst>
              <a:ext uri="{FF2B5EF4-FFF2-40B4-BE49-F238E27FC236}">
                <a16:creationId xmlns:a16="http://schemas.microsoft.com/office/drawing/2014/main" id="{FF69A791-0199-4829-8BF5-09D2BF656196}"/>
              </a:ext>
            </a:extLst>
          </p:cNvPr>
          <p:cNvSpPr txBox="1">
            <a:spLocks/>
          </p:cNvSpPr>
          <p:nvPr/>
        </p:nvSpPr>
        <p:spPr bwMode="gray">
          <a:xfrm>
            <a:off x="6096000" y="2637000"/>
            <a:ext cx="1080000" cy="1080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sz="5400" b="1" dirty="0">
                <a:solidFill>
                  <a:schemeClr val="bg2"/>
                </a:solidFill>
              </a:rPr>
              <a:t>W</a:t>
            </a:r>
          </a:p>
        </p:txBody>
      </p:sp>
      <p:sp>
        <p:nvSpPr>
          <p:cNvPr id="48" name="Content Placeholder 10">
            <a:extLst>
              <a:ext uri="{FF2B5EF4-FFF2-40B4-BE49-F238E27FC236}">
                <a16:creationId xmlns:a16="http://schemas.microsoft.com/office/drawing/2014/main" id="{C2F637DE-4C32-4F7B-9BB3-002B2CF3FA59}"/>
              </a:ext>
            </a:extLst>
          </p:cNvPr>
          <p:cNvSpPr txBox="1">
            <a:spLocks/>
          </p:cNvSpPr>
          <p:nvPr/>
        </p:nvSpPr>
        <p:spPr bwMode="gray">
          <a:xfrm>
            <a:off x="4728000" y="4005000"/>
            <a:ext cx="1080000" cy="1080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sz="5400" b="1" dirty="0">
                <a:solidFill>
                  <a:schemeClr val="accent1"/>
                </a:solidFill>
              </a:rPr>
              <a:t>O</a:t>
            </a:r>
          </a:p>
        </p:txBody>
      </p:sp>
      <p:sp>
        <p:nvSpPr>
          <p:cNvPr id="49" name="Content Placeholder 10">
            <a:extLst>
              <a:ext uri="{FF2B5EF4-FFF2-40B4-BE49-F238E27FC236}">
                <a16:creationId xmlns:a16="http://schemas.microsoft.com/office/drawing/2014/main" id="{9BEAD38D-288C-4512-BAB7-64DCA7372C99}"/>
              </a:ext>
            </a:extLst>
          </p:cNvPr>
          <p:cNvSpPr txBox="1">
            <a:spLocks/>
          </p:cNvSpPr>
          <p:nvPr/>
        </p:nvSpPr>
        <p:spPr bwMode="gray">
          <a:xfrm>
            <a:off x="6096000" y="4005000"/>
            <a:ext cx="1080000" cy="1080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sz="5400" b="1" dirty="0">
                <a:solidFill>
                  <a:schemeClr val="accent2"/>
                </a:solidFill>
              </a:rPr>
              <a:t>T</a:t>
            </a:r>
          </a:p>
        </p:txBody>
      </p:sp>
      <p:sp>
        <p:nvSpPr>
          <p:cNvPr id="50" name="Content Placeholder 10">
            <a:extLst>
              <a:ext uri="{FF2B5EF4-FFF2-40B4-BE49-F238E27FC236}">
                <a16:creationId xmlns:a16="http://schemas.microsoft.com/office/drawing/2014/main" id="{ADB8FEBB-2114-4B6E-B1C2-6A1606596481}"/>
              </a:ext>
            </a:extLst>
          </p:cNvPr>
          <p:cNvSpPr txBox="1">
            <a:spLocks/>
          </p:cNvSpPr>
          <p:nvPr/>
        </p:nvSpPr>
        <p:spPr bwMode="gray">
          <a:xfrm>
            <a:off x="8040687" y="4293000"/>
            <a:ext cx="3527425" cy="1080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t>Lorem ipsum dolor sit conse ctetuer adipiscing elit. Maec enas congue massa. Fusce sed lectus amet com.</a:t>
            </a:r>
          </a:p>
        </p:txBody>
      </p:sp>
      <p:sp>
        <p:nvSpPr>
          <p:cNvPr id="51" name="Content Placeholder 10">
            <a:extLst>
              <a:ext uri="{FF2B5EF4-FFF2-40B4-BE49-F238E27FC236}">
                <a16:creationId xmlns:a16="http://schemas.microsoft.com/office/drawing/2014/main" id="{03274708-B95F-466D-814F-97E3E35C4DFF}"/>
              </a:ext>
            </a:extLst>
          </p:cNvPr>
          <p:cNvSpPr txBox="1">
            <a:spLocks/>
          </p:cNvSpPr>
          <p:nvPr/>
        </p:nvSpPr>
        <p:spPr bwMode="gray">
          <a:xfrm>
            <a:off x="336000" y="4293000"/>
            <a:ext cx="3527425" cy="1080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t>Pellentesque habant morbi tristique senectus et netus et malesuada fames ac tur pis egestas. </a:t>
            </a:r>
          </a:p>
        </p:txBody>
      </p:sp>
    </p:spTree>
    <p:extLst>
      <p:ext uri="{BB962C8B-B14F-4D97-AF65-F5344CB8AC3E}">
        <p14:creationId xmlns:p14="http://schemas.microsoft.com/office/powerpoint/2010/main" val="3107451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7BBB88E2-3FAF-461E-B334-22608DDC4DFD}"/>
              </a:ext>
            </a:extLst>
          </p:cNvPr>
          <p:cNvGraphicFramePr>
            <a:graphicFrameLocks noChangeAspect="1"/>
          </p:cNvGraphicFramePr>
          <p:nvPr>
            <p:custDataLst>
              <p:tags r:id="rId1"/>
            </p:custDataLst>
            <p:extLst>
              <p:ext uri="{D42A27DB-BD31-4B8C-83A1-F6EECF244321}">
                <p14:modId xmlns:p14="http://schemas.microsoft.com/office/powerpoint/2010/main" val="4016279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ACBB89D-F6B6-4141-A067-F5DB50900F85}"/>
              </a:ext>
            </a:extLst>
          </p:cNvPr>
          <p:cNvSpPr>
            <a:spLocks noGrp="1"/>
          </p:cNvSpPr>
          <p:nvPr>
            <p:ph type="title"/>
          </p:nvPr>
        </p:nvSpPr>
        <p:spPr bwMode="gray"/>
        <p:txBody>
          <a:bodyPr vert="horz"/>
          <a:lstStyle/>
          <a:p>
            <a:r>
              <a:rPr lang="de-DE" dirty="0"/>
              <a:t>Inhalt</a:t>
            </a:r>
          </a:p>
        </p:txBody>
      </p:sp>
      <p:sp>
        <p:nvSpPr>
          <p:cNvPr id="2" name="Date Placeholder 1">
            <a:extLst>
              <a:ext uri="{FF2B5EF4-FFF2-40B4-BE49-F238E27FC236}">
                <a16:creationId xmlns:a16="http://schemas.microsoft.com/office/drawing/2014/main" id="{2B9BDFF9-8A00-4A41-8C44-9A5E3C55787F}"/>
              </a:ext>
            </a:extLst>
          </p:cNvPr>
          <p:cNvSpPr>
            <a:spLocks noGrp="1"/>
          </p:cNvSpPr>
          <p:nvPr>
            <p:ph type="dt" sz="half" idx="10"/>
          </p:nvPr>
        </p:nvSpPr>
        <p:spPr bwMode="gray"/>
        <p:txBody>
          <a:bodyPr/>
          <a:lstStyle/>
          <a:p>
            <a:fld id="{BE1F0A0F-EF46-4352-B9C3-B62C858DE457}" type="datetime1">
              <a:rPr lang="de-DE" smtClean="0"/>
              <a:pPr/>
              <a:t>29.09.25</a:t>
            </a:fld>
            <a:endParaRPr lang="de-DE" dirty="0"/>
          </a:p>
        </p:txBody>
      </p:sp>
      <p:sp>
        <p:nvSpPr>
          <p:cNvPr id="3" name="Footer Placeholder 2">
            <a:extLst>
              <a:ext uri="{FF2B5EF4-FFF2-40B4-BE49-F238E27FC236}">
                <a16:creationId xmlns:a16="http://schemas.microsoft.com/office/drawing/2014/main" id="{48E21A36-0C84-4986-9DBA-F622AD04B885}"/>
              </a:ext>
            </a:extLst>
          </p:cNvPr>
          <p:cNvSpPr>
            <a:spLocks noGrp="1"/>
          </p:cNvSpPr>
          <p:nvPr>
            <p:ph type="ftr" sz="quarter" idx="11"/>
          </p:nvPr>
        </p:nvSpPr>
        <p:spPr bwMode="gray"/>
        <p:txBody>
          <a:bodyPr/>
          <a:lstStyle/>
          <a:p>
            <a:r>
              <a:rPr lang="de-DE" dirty="0"/>
              <a:t>TITEL DER PRÄSENTATION | TITEL VORNAME NAME</a:t>
            </a:r>
          </a:p>
        </p:txBody>
      </p:sp>
      <p:sp>
        <p:nvSpPr>
          <p:cNvPr id="4" name="Slide Number Placeholder 3">
            <a:extLst>
              <a:ext uri="{FF2B5EF4-FFF2-40B4-BE49-F238E27FC236}">
                <a16:creationId xmlns:a16="http://schemas.microsoft.com/office/drawing/2014/main" id="{D4DAAC6A-5353-4FDE-86E8-C0DF791F141B}"/>
              </a:ext>
            </a:extLst>
          </p:cNvPr>
          <p:cNvSpPr>
            <a:spLocks noGrp="1"/>
          </p:cNvSpPr>
          <p:nvPr>
            <p:ph type="sldNum" sz="quarter" idx="12"/>
          </p:nvPr>
        </p:nvSpPr>
        <p:spPr bwMode="gray"/>
        <p:txBody>
          <a:bodyPr/>
          <a:lstStyle/>
          <a:p>
            <a:fld id="{09E9C37E-8A19-4E30-BE2B-5A966AD23C7A}" type="slidenum">
              <a:rPr lang="de-DE" smtClean="0"/>
              <a:pPr/>
              <a:t>6</a:t>
            </a:fld>
            <a:endParaRPr lang="de-DE" dirty="0"/>
          </a:p>
        </p:txBody>
      </p:sp>
      <p:sp>
        <p:nvSpPr>
          <p:cNvPr id="6" name="Titel 7">
            <a:extLst>
              <a:ext uri="{FF2B5EF4-FFF2-40B4-BE49-F238E27FC236}">
                <a16:creationId xmlns:a16="http://schemas.microsoft.com/office/drawing/2014/main" id="{26339E73-82FC-45CE-A650-0D5F4B247E5C}"/>
              </a:ext>
            </a:extLst>
          </p:cNvPr>
          <p:cNvSpPr txBox="1">
            <a:spLocks/>
          </p:cNvSpPr>
          <p:nvPr/>
        </p:nvSpPr>
        <p:spPr bwMode="gray">
          <a:xfrm>
            <a:off x="1992000" y="1989000"/>
            <a:ext cx="432000" cy="5760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000" b="1" kern="1200" cap="all" baseline="0">
                <a:solidFill>
                  <a:srgbClr val="009EE0"/>
                </a:solidFill>
                <a:latin typeface="+mj-lt"/>
                <a:ea typeface="+mj-ea"/>
                <a:cs typeface="+mj-cs"/>
              </a:defRPr>
            </a:lvl1pPr>
          </a:lstStyle>
          <a:p>
            <a:r>
              <a:rPr lang="de-DE" sz="1400" b="0" dirty="0">
                <a:solidFill>
                  <a:schemeClr val="bg1"/>
                </a:solidFill>
                <a:latin typeface="+mn-lt"/>
              </a:rPr>
              <a:t>1</a:t>
            </a:r>
          </a:p>
        </p:txBody>
      </p:sp>
      <p:sp>
        <p:nvSpPr>
          <p:cNvPr id="7" name="Untertitel 2">
            <a:extLst>
              <a:ext uri="{FF2B5EF4-FFF2-40B4-BE49-F238E27FC236}">
                <a16:creationId xmlns:a16="http://schemas.microsoft.com/office/drawing/2014/main" id="{53C04086-FBDF-46D0-ACA5-8DBB91123747}"/>
              </a:ext>
            </a:extLst>
          </p:cNvPr>
          <p:cNvSpPr txBox="1">
            <a:spLocks/>
          </p:cNvSpPr>
          <p:nvPr/>
        </p:nvSpPr>
        <p:spPr bwMode="gray">
          <a:xfrm>
            <a:off x="2424002" y="1989000"/>
            <a:ext cx="3384661" cy="576000"/>
          </a:xfrm>
          <a:prstGeom prst="rect">
            <a:avLst/>
          </a:prstGeom>
        </p:spPr>
        <p:txBody>
          <a:bodyPr vert="horz" lIns="0" tIns="0" rIns="0" bIns="0" rtlCol="0" anchor="b">
            <a:noAutofit/>
          </a:bodyPr>
          <a:lstStyle>
            <a:lvl1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tx1"/>
                </a:solidFill>
                <a:latin typeface="+mn-lt"/>
                <a:ea typeface="+mn-ea"/>
                <a:cs typeface="+mn-cs"/>
              </a:defRPr>
            </a:lvl1pPr>
            <a:lvl2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b="0" kern="1200" baseline="0">
                <a:solidFill>
                  <a:schemeClr val="bg1"/>
                </a:solidFill>
                <a:latin typeface="+mn-lt"/>
                <a:ea typeface="+mn-ea"/>
                <a:cs typeface="+mn-cs"/>
              </a:defRPr>
            </a:lvl3pPr>
            <a:lvl4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7pPr>
            <a:lvl8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8pPr>
            <a:lvl9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9pPr>
          </a:lstStyle>
          <a:p>
            <a:pPr>
              <a:lnSpc>
                <a:spcPct val="100000"/>
              </a:lnSpc>
              <a:spcAft>
                <a:spcPts val="0"/>
              </a:spcAft>
            </a:pPr>
            <a:r>
              <a:rPr lang="de-DE" sz="1400" b="1" cap="all" dirty="0">
                <a:solidFill>
                  <a:schemeClr val="bg1"/>
                </a:solidFill>
              </a:rPr>
              <a:t>Name des Kapitels </a:t>
            </a:r>
            <a:br>
              <a:rPr lang="de-DE" sz="1400" b="1" cap="all" dirty="0">
                <a:solidFill>
                  <a:schemeClr val="bg1"/>
                </a:solidFill>
              </a:rPr>
            </a:br>
            <a:r>
              <a:rPr lang="de-DE" sz="1400" cap="all" dirty="0">
                <a:solidFill>
                  <a:schemeClr val="bg1"/>
                </a:solidFill>
              </a:rPr>
              <a:t>in maximal zwei Zeilen</a:t>
            </a:r>
          </a:p>
        </p:txBody>
      </p:sp>
      <p:sp>
        <p:nvSpPr>
          <p:cNvPr id="8" name="Titel 7">
            <a:extLst>
              <a:ext uri="{FF2B5EF4-FFF2-40B4-BE49-F238E27FC236}">
                <a16:creationId xmlns:a16="http://schemas.microsoft.com/office/drawing/2014/main" id="{048CCBC3-E3FE-4B5E-BA3D-403FCABF2090}"/>
              </a:ext>
            </a:extLst>
          </p:cNvPr>
          <p:cNvSpPr txBox="1">
            <a:spLocks/>
          </p:cNvSpPr>
          <p:nvPr/>
        </p:nvSpPr>
        <p:spPr bwMode="gray">
          <a:xfrm>
            <a:off x="1992000" y="2781000"/>
            <a:ext cx="432000" cy="5760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000" b="1" kern="1200" cap="all" baseline="0">
                <a:solidFill>
                  <a:srgbClr val="009EE0"/>
                </a:solidFill>
                <a:latin typeface="+mj-lt"/>
                <a:ea typeface="+mj-ea"/>
                <a:cs typeface="+mj-cs"/>
              </a:defRPr>
            </a:lvl1pPr>
          </a:lstStyle>
          <a:p>
            <a:r>
              <a:rPr lang="de-DE" sz="1400" b="0" dirty="0">
                <a:solidFill>
                  <a:schemeClr val="bg1"/>
                </a:solidFill>
                <a:latin typeface="+mn-lt"/>
              </a:rPr>
              <a:t>2</a:t>
            </a:r>
          </a:p>
        </p:txBody>
      </p:sp>
      <p:sp>
        <p:nvSpPr>
          <p:cNvPr id="9" name="Untertitel 2">
            <a:extLst>
              <a:ext uri="{FF2B5EF4-FFF2-40B4-BE49-F238E27FC236}">
                <a16:creationId xmlns:a16="http://schemas.microsoft.com/office/drawing/2014/main" id="{2D9B9EFE-816C-4E80-A6A3-180D49BCCCA3}"/>
              </a:ext>
            </a:extLst>
          </p:cNvPr>
          <p:cNvSpPr txBox="1">
            <a:spLocks/>
          </p:cNvSpPr>
          <p:nvPr/>
        </p:nvSpPr>
        <p:spPr bwMode="gray">
          <a:xfrm>
            <a:off x="2424002" y="2781000"/>
            <a:ext cx="3384661" cy="576000"/>
          </a:xfrm>
          <a:prstGeom prst="rect">
            <a:avLst/>
          </a:prstGeom>
        </p:spPr>
        <p:txBody>
          <a:bodyPr vert="horz" lIns="0" tIns="0" rIns="0" bIns="0" rtlCol="0" anchor="b">
            <a:noAutofit/>
          </a:bodyPr>
          <a:lstStyle>
            <a:lvl1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tx1"/>
                </a:solidFill>
                <a:latin typeface="+mn-lt"/>
                <a:ea typeface="+mn-ea"/>
                <a:cs typeface="+mn-cs"/>
              </a:defRPr>
            </a:lvl1pPr>
            <a:lvl2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b="0" kern="1200" baseline="0">
                <a:solidFill>
                  <a:schemeClr val="bg1"/>
                </a:solidFill>
                <a:latin typeface="+mn-lt"/>
                <a:ea typeface="+mn-ea"/>
                <a:cs typeface="+mn-cs"/>
              </a:defRPr>
            </a:lvl3pPr>
            <a:lvl4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7pPr>
            <a:lvl8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8pPr>
            <a:lvl9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9pPr>
          </a:lstStyle>
          <a:p>
            <a:pPr lvl="0">
              <a:lnSpc>
                <a:spcPct val="100000"/>
              </a:lnSpc>
              <a:spcAft>
                <a:spcPts val="0"/>
              </a:spcAft>
            </a:pPr>
            <a:r>
              <a:rPr lang="de-DE" sz="1400" b="1" cap="all" dirty="0">
                <a:solidFill>
                  <a:schemeClr val="bg1"/>
                </a:solidFill>
              </a:rPr>
              <a:t>Name des Kapitels </a:t>
            </a:r>
            <a:br>
              <a:rPr lang="de-DE" sz="1400" b="1" cap="all" dirty="0">
                <a:solidFill>
                  <a:schemeClr val="bg1"/>
                </a:solidFill>
              </a:rPr>
            </a:br>
            <a:r>
              <a:rPr lang="de-DE" sz="1400" cap="all" dirty="0">
                <a:solidFill>
                  <a:schemeClr val="bg1"/>
                </a:solidFill>
              </a:rPr>
              <a:t>in maximal zwei Zeilen</a:t>
            </a:r>
          </a:p>
        </p:txBody>
      </p:sp>
      <p:sp>
        <p:nvSpPr>
          <p:cNvPr id="10" name="Titel 7">
            <a:extLst>
              <a:ext uri="{FF2B5EF4-FFF2-40B4-BE49-F238E27FC236}">
                <a16:creationId xmlns:a16="http://schemas.microsoft.com/office/drawing/2014/main" id="{FACE4E81-CBBE-49D3-A8B3-41BBD1B549E7}"/>
              </a:ext>
            </a:extLst>
          </p:cNvPr>
          <p:cNvSpPr txBox="1">
            <a:spLocks/>
          </p:cNvSpPr>
          <p:nvPr/>
        </p:nvSpPr>
        <p:spPr bwMode="gray">
          <a:xfrm>
            <a:off x="1992000" y="3573000"/>
            <a:ext cx="432000" cy="5760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000" b="1" kern="1200" cap="all" baseline="0">
                <a:solidFill>
                  <a:srgbClr val="009EE0"/>
                </a:solidFill>
                <a:latin typeface="+mj-lt"/>
                <a:ea typeface="+mj-ea"/>
                <a:cs typeface="+mj-cs"/>
              </a:defRPr>
            </a:lvl1pPr>
          </a:lstStyle>
          <a:p>
            <a:r>
              <a:rPr lang="de-DE" sz="1400" b="0" dirty="0">
                <a:solidFill>
                  <a:schemeClr val="bg1"/>
                </a:solidFill>
                <a:latin typeface="+mn-lt"/>
              </a:rPr>
              <a:t>3</a:t>
            </a:r>
          </a:p>
        </p:txBody>
      </p:sp>
      <p:sp>
        <p:nvSpPr>
          <p:cNvPr id="11" name="Untertitel 2">
            <a:extLst>
              <a:ext uri="{FF2B5EF4-FFF2-40B4-BE49-F238E27FC236}">
                <a16:creationId xmlns:a16="http://schemas.microsoft.com/office/drawing/2014/main" id="{BEEE7555-E0BB-45AD-8D94-EFBDED27E45C}"/>
              </a:ext>
            </a:extLst>
          </p:cNvPr>
          <p:cNvSpPr txBox="1">
            <a:spLocks/>
          </p:cNvSpPr>
          <p:nvPr/>
        </p:nvSpPr>
        <p:spPr bwMode="gray">
          <a:xfrm>
            <a:off x="2424002" y="3573000"/>
            <a:ext cx="3384661" cy="576000"/>
          </a:xfrm>
          <a:prstGeom prst="rect">
            <a:avLst/>
          </a:prstGeom>
        </p:spPr>
        <p:txBody>
          <a:bodyPr vert="horz" lIns="0" tIns="0" rIns="0" bIns="0" rtlCol="0" anchor="b">
            <a:noAutofit/>
          </a:bodyPr>
          <a:lstStyle>
            <a:lvl1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tx1"/>
                </a:solidFill>
                <a:latin typeface="+mn-lt"/>
                <a:ea typeface="+mn-ea"/>
                <a:cs typeface="+mn-cs"/>
              </a:defRPr>
            </a:lvl1pPr>
            <a:lvl2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b="0" kern="1200" baseline="0">
                <a:solidFill>
                  <a:schemeClr val="bg1"/>
                </a:solidFill>
                <a:latin typeface="+mn-lt"/>
                <a:ea typeface="+mn-ea"/>
                <a:cs typeface="+mn-cs"/>
              </a:defRPr>
            </a:lvl3pPr>
            <a:lvl4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7pPr>
            <a:lvl8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8pPr>
            <a:lvl9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9pPr>
          </a:lstStyle>
          <a:p>
            <a:pPr lvl="0">
              <a:lnSpc>
                <a:spcPct val="100000"/>
              </a:lnSpc>
              <a:spcAft>
                <a:spcPts val="0"/>
              </a:spcAft>
            </a:pPr>
            <a:r>
              <a:rPr lang="de-DE" sz="1400" b="1" cap="all" dirty="0">
                <a:solidFill>
                  <a:schemeClr val="bg1"/>
                </a:solidFill>
              </a:rPr>
              <a:t>Name des Kapitels </a:t>
            </a:r>
            <a:br>
              <a:rPr lang="de-DE" sz="1400" b="1" cap="all" dirty="0">
                <a:solidFill>
                  <a:schemeClr val="bg1"/>
                </a:solidFill>
              </a:rPr>
            </a:br>
            <a:r>
              <a:rPr lang="de-DE" sz="1400" cap="all" dirty="0">
                <a:solidFill>
                  <a:schemeClr val="bg1"/>
                </a:solidFill>
              </a:rPr>
              <a:t>in maximal zwei Zeilen</a:t>
            </a:r>
          </a:p>
        </p:txBody>
      </p:sp>
      <p:sp>
        <p:nvSpPr>
          <p:cNvPr id="12" name="Titel 7">
            <a:extLst>
              <a:ext uri="{FF2B5EF4-FFF2-40B4-BE49-F238E27FC236}">
                <a16:creationId xmlns:a16="http://schemas.microsoft.com/office/drawing/2014/main" id="{95013F09-DA4B-45CB-B8EE-767A1E45055D}"/>
              </a:ext>
            </a:extLst>
          </p:cNvPr>
          <p:cNvSpPr txBox="1">
            <a:spLocks/>
          </p:cNvSpPr>
          <p:nvPr/>
        </p:nvSpPr>
        <p:spPr bwMode="gray">
          <a:xfrm>
            <a:off x="1992000" y="4365000"/>
            <a:ext cx="432000" cy="5760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000" b="1" kern="1200" cap="all" baseline="0">
                <a:solidFill>
                  <a:srgbClr val="009EE0"/>
                </a:solidFill>
                <a:latin typeface="+mj-lt"/>
                <a:ea typeface="+mj-ea"/>
                <a:cs typeface="+mj-cs"/>
              </a:defRPr>
            </a:lvl1pPr>
          </a:lstStyle>
          <a:p>
            <a:r>
              <a:rPr lang="de-DE" sz="1400" b="0" dirty="0">
                <a:solidFill>
                  <a:schemeClr val="bg1"/>
                </a:solidFill>
                <a:latin typeface="+mn-lt"/>
              </a:rPr>
              <a:t>4</a:t>
            </a:r>
          </a:p>
        </p:txBody>
      </p:sp>
      <p:sp>
        <p:nvSpPr>
          <p:cNvPr id="13" name="Untertitel 2">
            <a:extLst>
              <a:ext uri="{FF2B5EF4-FFF2-40B4-BE49-F238E27FC236}">
                <a16:creationId xmlns:a16="http://schemas.microsoft.com/office/drawing/2014/main" id="{45D63A0F-668F-49B8-8169-7737590A0160}"/>
              </a:ext>
            </a:extLst>
          </p:cNvPr>
          <p:cNvSpPr txBox="1">
            <a:spLocks/>
          </p:cNvSpPr>
          <p:nvPr/>
        </p:nvSpPr>
        <p:spPr bwMode="gray">
          <a:xfrm>
            <a:off x="2424002" y="4365000"/>
            <a:ext cx="3384661" cy="576000"/>
          </a:xfrm>
          <a:prstGeom prst="rect">
            <a:avLst/>
          </a:prstGeom>
        </p:spPr>
        <p:txBody>
          <a:bodyPr vert="horz" lIns="0" tIns="0" rIns="0" bIns="0" rtlCol="0" anchor="b">
            <a:noAutofit/>
          </a:bodyPr>
          <a:lstStyle>
            <a:lvl1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tx1"/>
                </a:solidFill>
                <a:latin typeface="+mn-lt"/>
                <a:ea typeface="+mn-ea"/>
                <a:cs typeface="+mn-cs"/>
              </a:defRPr>
            </a:lvl1pPr>
            <a:lvl2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b="0" kern="1200" baseline="0">
                <a:solidFill>
                  <a:schemeClr val="bg1"/>
                </a:solidFill>
                <a:latin typeface="+mn-lt"/>
                <a:ea typeface="+mn-ea"/>
                <a:cs typeface="+mn-cs"/>
              </a:defRPr>
            </a:lvl3pPr>
            <a:lvl4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7pPr>
            <a:lvl8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8pPr>
            <a:lvl9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9pPr>
          </a:lstStyle>
          <a:p>
            <a:pPr lvl="0">
              <a:lnSpc>
                <a:spcPct val="100000"/>
              </a:lnSpc>
              <a:spcAft>
                <a:spcPts val="0"/>
              </a:spcAft>
            </a:pPr>
            <a:r>
              <a:rPr lang="de-DE" sz="1400" b="1" cap="all" dirty="0">
                <a:solidFill>
                  <a:schemeClr val="bg1"/>
                </a:solidFill>
              </a:rPr>
              <a:t>Name des Kapitels </a:t>
            </a:r>
            <a:br>
              <a:rPr lang="de-DE" sz="1400" b="1" cap="all" dirty="0">
                <a:solidFill>
                  <a:schemeClr val="bg1"/>
                </a:solidFill>
              </a:rPr>
            </a:br>
            <a:r>
              <a:rPr lang="de-DE" sz="1400" cap="all" dirty="0">
                <a:solidFill>
                  <a:schemeClr val="bg1"/>
                </a:solidFill>
              </a:rPr>
              <a:t>in maximal zwei Zeilen</a:t>
            </a:r>
          </a:p>
        </p:txBody>
      </p:sp>
      <p:sp>
        <p:nvSpPr>
          <p:cNvPr id="14" name="Titel 7">
            <a:extLst>
              <a:ext uri="{FF2B5EF4-FFF2-40B4-BE49-F238E27FC236}">
                <a16:creationId xmlns:a16="http://schemas.microsoft.com/office/drawing/2014/main" id="{D1F21EB7-65DE-47FB-A2BE-8A620CBA7174}"/>
              </a:ext>
            </a:extLst>
          </p:cNvPr>
          <p:cNvSpPr txBox="1">
            <a:spLocks/>
          </p:cNvSpPr>
          <p:nvPr/>
        </p:nvSpPr>
        <p:spPr bwMode="gray">
          <a:xfrm>
            <a:off x="1992000" y="5157000"/>
            <a:ext cx="432000" cy="5760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000" b="1" kern="1200" cap="all" baseline="0">
                <a:solidFill>
                  <a:srgbClr val="009EE0"/>
                </a:solidFill>
                <a:latin typeface="+mj-lt"/>
                <a:ea typeface="+mj-ea"/>
                <a:cs typeface="+mj-cs"/>
              </a:defRPr>
            </a:lvl1pPr>
          </a:lstStyle>
          <a:p>
            <a:r>
              <a:rPr lang="de-DE" sz="1400" b="0" dirty="0">
                <a:solidFill>
                  <a:schemeClr val="bg1"/>
                </a:solidFill>
                <a:latin typeface="+mn-lt"/>
              </a:rPr>
              <a:t>5</a:t>
            </a:r>
          </a:p>
        </p:txBody>
      </p:sp>
      <p:sp>
        <p:nvSpPr>
          <p:cNvPr id="15" name="Untertitel 2">
            <a:extLst>
              <a:ext uri="{FF2B5EF4-FFF2-40B4-BE49-F238E27FC236}">
                <a16:creationId xmlns:a16="http://schemas.microsoft.com/office/drawing/2014/main" id="{33B4AB8D-B19B-484D-97B2-9E4A41EDD7A9}"/>
              </a:ext>
            </a:extLst>
          </p:cNvPr>
          <p:cNvSpPr txBox="1">
            <a:spLocks/>
          </p:cNvSpPr>
          <p:nvPr/>
        </p:nvSpPr>
        <p:spPr bwMode="gray">
          <a:xfrm>
            <a:off x="2424002" y="5157000"/>
            <a:ext cx="3384661" cy="576000"/>
          </a:xfrm>
          <a:prstGeom prst="rect">
            <a:avLst/>
          </a:prstGeom>
        </p:spPr>
        <p:txBody>
          <a:bodyPr vert="horz" lIns="0" tIns="0" rIns="0" bIns="0" rtlCol="0" anchor="b">
            <a:noAutofit/>
          </a:bodyPr>
          <a:lstStyle>
            <a:lvl1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tx1"/>
                </a:solidFill>
                <a:latin typeface="+mn-lt"/>
                <a:ea typeface="+mn-ea"/>
                <a:cs typeface="+mn-cs"/>
              </a:defRPr>
            </a:lvl1pPr>
            <a:lvl2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b="0" kern="1200" baseline="0">
                <a:solidFill>
                  <a:schemeClr val="bg1"/>
                </a:solidFill>
                <a:latin typeface="+mn-lt"/>
                <a:ea typeface="+mn-ea"/>
                <a:cs typeface="+mn-cs"/>
              </a:defRPr>
            </a:lvl3pPr>
            <a:lvl4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7pPr>
            <a:lvl8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8pPr>
            <a:lvl9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9pPr>
          </a:lstStyle>
          <a:p>
            <a:pPr lvl="0">
              <a:lnSpc>
                <a:spcPct val="100000"/>
              </a:lnSpc>
              <a:spcAft>
                <a:spcPts val="0"/>
              </a:spcAft>
            </a:pPr>
            <a:r>
              <a:rPr lang="de-DE" sz="1400" b="1" cap="all" dirty="0">
                <a:solidFill>
                  <a:schemeClr val="bg1"/>
                </a:solidFill>
              </a:rPr>
              <a:t>Name des Kapitels </a:t>
            </a:r>
            <a:br>
              <a:rPr lang="de-DE" sz="1400" b="1" cap="all" dirty="0">
                <a:solidFill>
                  <a:schemeClr val="bg1"/>
                </a:solidFill>
              </a:rPr>
            </a:br>
            <a:r>
              <a:rPr lang="de-DE" sz="1400" cap="all" dirty="0">
                <a:solidFill>
                  <a:schemeClr val="bg1"/>
                </a:solidFill>
              </a:rPr>
              <a:t>in maximal zwei Zeilen</a:t>
            </a:r>
          </a:p>
        </p:txBody>
      </p:sp>
      <p:sp>
        <p:nvSpPr>
          <p:cNvPr id="26" name="Titel 7">
            <a:extLst>
              <a:ext uri="{FF2B5EF4-FFF2-40B4-BE49-F238E27FC236}">
                <a16:creationId xmlns:a16="http://schemas.microsoft.com/office/drawing/2014/main" id="{61712DF6-0FC3-410A-BAB1-19707E1108FA}"/>
              </a:ext>
            </a:extLst>
          </p:cNvPr>
          <p:cNvSpPr txBox="1">
            <a:spLocks/>
          </p:cNvSpPr>
          <p:nvPr/>
        </p:nvSpPr>
        <p:spPr bwMode="gray">
          <a:xfrm>
            <a:off x="6096000" y="1989000"/>
            <a:ext cx="432000" cy="5760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000" b="1" kern="1200" cap="all" baseline="0">
                <a:solidFill>
                  <a:srgbClr val="009EE0"/>
                </a:solidFill>
                <a:latin typeface="+mj-lt"/>
                <a:ea typeface="+mj-ea"/>
                <a:cs typeface="+mj-cs"/>
              </a:defRPr>
            </a:lvl1pPr>
          </a:lstStyle>
          <a:p>
            <a:r>
              <a:rPr lang="de-DE" sz="1400" b="0" dirty="0">
                <a:solidFill>
                  <a:schemeClr val="bg1"/>
                </a:solidFill>
                <a:latin typeface="+mn-lt"/>
              </a:rPr>
              <a:t>6</a:t>
            </a:r>
          </a:p>
        </p:txBody>
      </p:sp>
      <p:sp>
        <p:nvSpPr>
          <p:cNvPr id="27" name="Untertitel 2">
            <a:extLst>
              <a:ext uri="{FF2B5EF4-FFF2-40B4-BE49-F238E27FC236}">
                <a16:creationId xmlns:a16="http://schemas.microsoft.com/office/drawing/2014/main" id="{3643CD15-A959-49E0-AD30-7ECDA6E243D3}"/>
              </a:ext>
            </a:extLst>
          </p:cNvPr>
          <p:cNvSpPr txBox="1">
            <a:spLocks/>
          </p:cNvSpPr>
          <p:nvPr/>
        </p:nvSpPr>
        <p:spPr bwMode="gray">
          <a:xfrm>
            <a:off x="6528002" y="1989000"/>
            <a:ext cx="3384661" cy="576000"/>
          </a:xfrm>
          <a:prstGeom prst="rect">
            <a:avLst/>
          </a:prstGeom>
        </p:spPr>
        <p:txBody>
          <a:bodyPr vert="horz" lIns="0" tIns="0" rIns="0" bIns="0" rtlCol="0" anchor="b">
            <a:noAutofit/>
          </a:bodyPr>
          <a:lstStyle>
            <a:lvl1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tx1"/>
                </a:solidFill>
                <a:latin typeface="+mn-lt"/>
                <a:ea typeface="+mn-ea"/>
                <a:cs typeface="+mn-cs"/>
              </a:defRPr>
            </a:lvl1pPr>
            <a:lvl2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b="0" kern="1200" baseline="0">
                <a:solidFill>
                  <a:schemeClr val="bg1"/>
                </a:solidFill>
                <a:latin typeface="+mn-lt"/>
                <a:ea typeface="+mn-ea"/>
                <a:cs typeface="+mn-cs"/>
              </a:defRPr>
            </a:lvl3pPr>
            <a:lvl4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7pPr>
            <a:lvl8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8pPr>
            <a:lvl9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9pPr>
          </a:lstStyle>
          <a:p>
            <a:pPr>
              <a:lnSpc>
                <a:spcPct val="100000"/>
              </a:lnSpc>
              <a:spcAft>
                <a:spcPts val="0"/>
              </a:spcAft>
            </a:pPr>
            <a:r>
              <a:rPr lang="de-DE" sz="1400" b="1" cap="all" dirty="0">
                <a:solidFill>
                  <a:schemeClr val="bg1"/>
                </a:solidFill>
              </a:rPr>
              <a:t>Name des Kapitels </a:t>
            </a:r>
            <a:br>
              <a:rPr lang="de-DE" sz="1400" b="1" cap="all" dirty="0">
                <a:solidFill>
                  <a:schemeClr val="bg1"/>
                </a:solidFill>
              </a:rPr>
            </a:br>
            <a:r>
              <a:rPr lang="de-DE" sz="1400" cap="all" dirty="0">
                <a:solidFill>
                  <a:schemeClr val="bg1"/>
                </a:solidFill>
              </a:rPr>
              <a:t>in maximal zwei Zeilen</a:t>
            </a:r>
          </a:p>
        </p:txBody>
      </p:sp>
      <p:sp>
        <p:nvSpPr>
          <p:cNvPr id="28" name="Titel 7">
            <a:extLst>
              <a:ext uri="{FF2B5EF4-FFF2-40B4-BE49-F238E27FC236}">
                <a16:creationId xmlns:a16="http://schemas.microsoft.com/office/drawing/2014/main" id="{31CCAC2D-5129-4C18-A906-4339D4ED7864}"/>
              </a:ext>
            </a:extLst>
          </p:cNvPr>
          <p:cNvSpPr txBox="1">
            <a:spLocks/>
          </p:cNvSpPr>
          <p:nvPr/>
        </p:nvSpPr>
        <p:spPr bwMode="gray">
          <a:xfrm>
            <a:off x="6096000" y="2781000"/>
            <a:ext cx="432000" cy="5760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000" b="1" kern="1200" cap="all" baseline="0">
                <a:solidFill>
                  <a:srgbClr val="009EE0"/>
                </a:solidFill>
                <a:latin typeface="+mj-lt"/>
                <a:ea typeface="+mj-ea"/>
                <a:cs typeface="+mj-cs"/>
              </a:defRPr>
            </a:lvl1pPr>
          </a:lstStyle>
          <a:p>
            <a:r>
              <a:rPr lang="de-DE" sz="1400" b="0" dirty="0">
                <a:solidFill>
                  <a:schemeClr val="bg1"/>
                </a:solidFill>
                <a:latin typeface="+mn-lt"/>
              </a:rPr>
              <a:t>7</a:t>
            </a:r>
          </a:p>
        </p:txBody>
      </p:sp>
      <p:sp>
        <p:nvSpPr>
          <p:cNvPr id="29" name="Untertitel 2">
            <a:extLst>
              <a:ext uri="{FF2B5EF4-FFF2-40B4-BE49-F238E27FC236}">
                <a16:creationId xmlns:a16="http://schemas.microsoft.com/office/drawing/2014/main" id="{91BD4DA4-5CB6-457F-80E8-451AAE1FB2BE}"/>
              </a:ext>
            </a:extLst>
          </p:cNvPr>
          <p:cNvSpPr txBox="1">
            <a:spLocks/>
          </p:cNvSpPr>
          <p:nvPr/>
        </p:nvSpPr>
        <p:spPr bwMode="gray">
          <a:xfrm>
            <a:off x="6528002" y="2781000"/>
            <a:ext cx="3384661" cy="576000"/>
          </a:xfrm>
          <a:prstGeom prst="rect">
            <a:avLst/>
          </a:prstGeom>
        </p:spPr>
        <p:txBody>
          <a:bodyPr vert="horz" lIns="0" tIns="0" rIns="0" bIns="0" rtlCol="0" anchor="b">
            <a:noAutofit/>
          </a:bodyPr>
          <a:lstStyle>
            <a:lvl1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tx1"/>
                </a:solidFill>
                <a:latin typeface="+mn-lt"/>
                <a:ea typeface="+mn-ea"/>
                <a:cs typeface="+mn-cs"/>
              </a:defRPr>
            </a:lvl1pPr>
            <a:lvl2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b="0" kern="1200" baseline="0">
                <a:solidFill>
                  <a:schemeClr val="bg1"/>
                </a:solidFill>
                <a:latin typeface="+mn-lt"/>
                <a:ea typeface="+mn-ea"/>
                <a:cs typeface="+mn-cs"/>
              </a:defRPr>
            </a:lvl3pPr>
            <a:lvl4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7pPr>
            <a:lvl8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8pPr>
            <a:lvl9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9pPr>
          </a:lstStyle>
          <a:p>
            <a:pPr lvl="0">
              <a:lnSpc>
                <a:spcPct val="100000"/>
              </a:lnSpc>
              <a:spcAft>
                <a:spcPts val="0"/>
              </a:spcAft>
            </a:pPr>
            <a:r>
              <a:rPr lang="de-DE" sz="1400" b="1" cap="all" dirty="0">
                <a:solidFill>
                  <a:schemeClr val="bg1"/>
                </a:solidFill>
              </a:rPr>
              <a:t>Name des Kapitels </a:t>
            </a:r>
            <a:br>
              <a:rPr lang="de-DE" sz="1400" b="1" cap="all" dirty="0">
                <a:solidFill>
                  <a:schemeClr val="bg1"/>
                </a:solidFill>
              </a:rPr>
            </a:br>
            <a:r>
              <a:rPr lang="de-DE" sz="1400" cap="all" dirty="0">
                <a:solidFill>
                  <a:schemeClr val="bg1"/>
                </a:solidFill>
              </a:rPr>
              <a:t>in maximal zwei Zeilen</a:t>
            </a:r>
          </a:p>
        </p:txBody>
      </p:sp>
      <p:sp>
        <p:nvSpPr>
          <p:cNvPr id="30" name="Titel 7">
            <a:extLst>
              <a:ext uri="{FF2B5EF4-FFF2-40B4-BE49-F238E27FC236}">
                <a16:creationId xmlns:a16="http://schemas.microsoft.com/office/drawing/2014/main" id="{9BAFE14B-B8ED-484C-8E08-7DBF38DE6A12}"/>
              </a:ext>
            </a:extLst>
          </p:cNvPr>
          <p:cNvSpPr txBox="1">
            <a:spLocks/>
          </p:cNvSpPr>
          <p:nvPr/>
        </p:nvSpPr>
        <p:spPr bwMode="gray">
          <a:xfrm>
            <a:off x="6096000" y="3573000"/>
            <a:ext cx="432000" cy="5760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000" b="1" kern="1200" cap="all" baseline="0">
                <a:solidFill>
                  <a:srgbClr val="009EE0"/>
                </a:solidFill>
                <a:latin typeface="+mj-lt"/>
                <a:ea typeface="+mj-ea"/>
                <a:cs typeface="+mj-cs"/>
              </a:defRPr>
            </a:lvl1pPr>
          </a:lstStyle>
          <a:p>
            <a:r>
              <a:rPr lang="de-DE" sz="1400" b="0" dirty="0">
                <a:solidFill>
                  <a:schemeClr val="bg1"/>
                </a:solidFill>
                <a:latin typeface="+mn-lt"/>
              </a:rPr>
              <a:t>8</a:t>
            </a:r>
          </a:p>
        </p:txBody>
      </p:sp>
      <p:sp>
        <p:nvSpPr>
          <p:cNvPr id="31" name="Untertitel 2">
            <a:extLst>
              <a:ext uri="{FF2B5EF4-FFF2-40B4-BE49-F238E27FC236}">
                <a16:creationId xmlns:a16="http://schemas.microsoft.com/office/drawing/2014/main" id="{0B190920-D775-4A57-B26A-349156DFBD5C}"/>
              </a:ext>
            </a:extLst>
          </p:cNvPr>
          <p:cNvSpPr txBox="1">
            <a:spLocks/>
          </p:cNvSpPr>
          <p:nvPr/>
        </p:nvSpPr>
        <p:spPr bwMode="gray">
          <a:xfrm>
            <a:off x="6528002" y="3573000"/>
            <a:ext cx="3384661" cy="576000"/>
          </a:xfrm>
          <a:prstGeom prst="rect">
            <a:avLst/>
          </a:prstGeom>
        </p:spPr>
        <p:txBody>
          <a:bodyPr vert="horz" lIns="0" tIns="0" rIns="0" bIns="0" rtlCol="0" anchor="b">
            <a:noAutofit/>
          </a:bodyPr>
          <a:lstStyle>
            <a:lvl1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tx1"/>
                </a:solidFill>
                <a:latin typeface="+mn-lt"/>
                <a:ea typeface="+mn-ea"/>
                <a:cs typeface="+mn-cs"/>
              </a:defRPr>
            </a:lvl1pPr>
            <a:lvl2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b="0" kern="1200" baseline="0">
                <a:solidFill>
                  <a:schemeClr val="bg1"/>
                </a:solidFill>
                <a:latin typeface="+mn-lt"/>
                <a:ea typeface="+mn-ea"/>
                <a:cs typeface="+mn-cs"/>
              </a:defRPr>
            </a:lvl3pPr>
            <a:lvl4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7pPr>
            <a:lvl8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8pPr>
            <a:lvl9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9pPr>
          </a:lstStyle>
          <a:p>
            <a:pPr lvl="0">
              <a:lnSpc>
                <a:spcPct val="100000"/>
              </a:lnSpc>
              <a:spcAft>
                <a:spcPts val="0"/>
              </a:spcAft>
            </a:pPr>
            <a:r>
              <a:rPr lang="de-DE" sz="1400" b="1" cap="all" dirty="0">
                <a:solidFill>
                  <a:schemeClr val="bg1"/>
                </a:solidFill>
              </a:rPr>
              <a:t>Name des Kapitels </a:t>
            </a:r>
            <a:br>
              <a:rPr lang="de-DE" sz="1400" b="1" cap="all" dirty="0">
                <a:solidFill>
                  <a:schemeClr val="bg1"/>
                </a:solidFill>
              </a:rPr>
            </a:br>
            <a:r>
              <a:rPr lang="de-DE" sz="1400" cap="all" dirty="0">
                <a:solidFill>
                  <a:schemeClr val="bg1"/>
                </a:solidFill>
              </a:rPr>
              <a:t>in maximal zwei Zeilen</a:t>
            </a:r>
          </a:p>
        </p:txBody>
      </p:sp>
      <p:sp>
        <p:nvSpPr>
          <p:cNvPr id="32" name="Titel 7">
            <a:extLst>
              <a:ext uri="{FF2B5EF4-FFF2-40B4-BE49-F238E27FC236}">
                <a16:creationId xmlns:a16="http://schemas.microsoft.com/office/drawing/2014/main" id="{B88DBE7D-97C9-49E9-93F4-0689F0E8AE7C}"/>
              </a:ext>
            </a:extLst>
          </p:cNvPr>
          <p:cNvSpPr txBox="1">
            <a:spLocks/>
          </p:cNvSpPr>
          <p:nvPr/>
        </p:nvSpPr>
        <p:spPr bwMode="gray">
          <a:xfrm>
            <a:off x="6096000" y="4365000"/>
            <a:ext cx="432000" cy="5760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000" b="1" kern="1200" cap="all" baseline="0">
                <a:solidFill>
                  <a:srgbClr val="009EE0"/>
                </a:solidFill>
                <a:latin typeface="+mj-lt"/>
                <a:ea typeface="+mj-ea"/>
                <a:cs typeface="+mj-cs"/>
              </a:defRPr>
            </a:lvl1pPr>
          </a:lstStyle>
          <a:p>
            <a:r>
              <a:rPr lang="de-DE" sz="1400" b="0" dirty="0">
                <a:solidFill>
                  <a:schemeClr val="bg1"/>
                </a:solidFill>
                <a:latin typeface="+mn-lt"/>
              </a:rPr>
              <a:t>9</a:t>
            </a:r>
          </a:p>
        </p:txBody>
      </p:sp>
      <p:sp>
        <p:nvSpPr>
          <p:cNvPr id="33" name="Untertitel 2">
            <a:extLst>
              <a:ext uri="{FF2B5EF4-FFF2-40B4-BE49-F238E27FC236}">
                <a16:creationId xmlns:a16="http://schemas.microsoft.com/office/drawing/2014/main" id="{BD0D2CB8-39C5-425B-8276-05208C0E331F}"/>
              </a:ext>
            </a:extLst>
          </p:cNvPr>
          <p:cNvSpPr txBox="1">
            <a:spLocks/>
          </p:cNvSpPr>
          <p:nvPr/>
        </p:nvSpPr>
        <p:spPr bwMode="gray">
          <a:xfrm>
            <a:off x="6528002" y="4365000"/>
            <a:ext cx="3384661" cy="576000"/>
          </a:xfrm>
          <a:prstGeom prst="rect">
            <a:avLst/>
          </a:prstGeom>
        </p:spPr>
        <p:txBody>
          <a:bodyPr vert="horz" lIns="0" tIns="0" rIns="0" bIns="0" rtlCol="0" anchor="b">
            <a:noAutofit/>
          </a:bodyPr>
          <a:lstStyle>
            <a:lvl1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tx1"/>
                </a:solidFill>
                <a:latin typeface="+mn-lt"/>
                <a:ea typeface="+mn-ea"/>
                <a:cs typeface="+mn-cs"/>
              </a:defRPr>
            </a:lvl1pPr>
            <a:lvl2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b="0" kern="1200" baseline="0">
                <a:solidFill>
                  <a:schemeClr val="bg1"/>
                </a:solidFill>
                <a:latin typeface="+mn-lt"/>
                <a:ea typeface="+mn-ea"/>
                <a:cs typeface="+mn-cs"/>
              </a:defRPr>
            </a:lvl3pPr>
            <a:lvl4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7pPr>
            <a:lvl8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8pPr>
            <a:lvl9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9pPr>
          </a:lstStyle>
          <a:p>
            <a:pPr lvl="0">
              <a:lnSpc>
                <a:spcPct val="100000"/>
              </a:lnSpc>
              <a:spcAft>
                <a:spcPts val="0"/>
              </a:spcAft>
            </a:pPr>
            <a:r>
              <a:rPr lang="de-DE" sz="1400" b="1" cap="all" dirty="0">
                <a:solidFill>
                  <a:schemeClr val="bg1"/>
                </a:solidFill>
              </a:rPr>
              <a:t>Name des Kapitels </a:t>
            </a:r>
            <a:br>
              <a:rPr lang="de-DE" sz="1400" b="1" cap="all" dirty="0">
                <a:solidFill>
                  <a:schemeClr val="bg1"/>
                </a:solidFill>
              </a:rPr>
            </a:br>
            <a:r>
              <a:rPr lang="de-DE" sz="1400" cap="all" dirty="0">
                <a:solidFill>
                  <a:schemeClr val="bg1"/>
                </a:solidFill>
              </a:rPr>
              <a:t>in maximal zwei Zeilen</a:t>
            </a:r>
          </a:p>
        </p:txBody>
      </p:sp>
      <p:sp>
        <p:nvSpPr>
          <p:cNvPr id="34" name="Titel 7">
            <a:extLst>
              <a:ext uri="{FF2B5EF4-FFF2-40B4-BE49-F238E27FC236}">
                <a16:creationId xmlns:a16="http://schemas.microsoft.com/office/drawing/2014/main" id="{661C5439-BBEF-493B-9D6E-CC7655A06A1A}"/>
              </a:ext>
            </a:extLst>
          </p:cNvPr>
          <p:cNvSpPr txBox="1">
            <a:spLocks/>
          </p:cNvSpPr>
          <p:nvPr/>
        </p:nvSpPr>
        <p:spPr bwMode="gray">
          <a:xfrm>
            <a:off x="6096000" y="5157000"/>
            <a:ext cx="432000" cy="5760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000" b="1" kern="1200" cap="all" baseline="0">
                <a:solidFill>
                  <a:srgbClr val="009EE0"/>
                </a:solidFill>
                <a:latin typeface="+mj-lt"/>
                <a:ea typeface="+mj-ea"/>
                <a:cs typeface="+mj-cs"/>
              </a:defRPr>
            </a:lvl1pPr>
          </a:lstStyle>
          <a:p>
            <a:r>
              <a:rPr lang="de-DE" sz="1400" b="0" dirty="0">
                <a:solidFill>
                  <a:schemeClr val="bg1"/>
                </a:solidFill>
                <a:latin typeface="+mn-lt"/>
              </a:rPr>
              <a:t>10</a:t>
            </a:r>
          </a:p>
        </p:txBody>
      </p:sp>
      <p:sp>
        <p:nvSpPr>
          <p:cNvPr id="35" name="Untertitel 2">
            <a:extLst>
              <a:ext uri="{FF2B5EF4-FFF2-40B4-BE49-F238E27FC236}">
                <a16:creationId xmlns:a16="http://schemas.microsoft.com/office/drawing/2014/main" id="{3F2855C5-085B-40FF-9C74-0C8E30C2C78A}"/>
              </a:ext>
            </a:extLst>
          </p:cNvPr>
          <p:cNvSpPr txBox="1">
            <a:spLocks/>
          </p:cNvSpPr>
          <p:nvPr/>
        </p:nvSpPr>
        <p:spPr bwMode="gray">
          <a:xfrm>
            <a:off x="6528002" y="5157000"/>
            <a:ext cx="3384661" cy="576000"/>
          </a:xfrm>
          <a:prstGeom prst="rect">
            <a:avLst/>
          </a:prstGeom>
        </p:spPr>
        <p:txBody>
          <a:bodyPr vert="horz" lIns="0" tIns="0" rIns="0" bIns="0" rtlCol="0" anchor="b">
            <a:noAutofit/>
          </a:bodyPr>
          <a:lstStyle>
            <a:lvl1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tx1"/>
                </a:solidFill>
                <a:latin typeface="+mn-lt"/>
                <a:ea typeface="+mn-ea"/>
                <a:cs typeface="+mn-cs"/>
              </a:defRPr>
            </a:lvl1pPr>
            <a:lvl2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b="0" kern="1200" baseline="0">
                <a:solidFill>
                  <a:schemeClr val="bg1"/>
                </a:solidFill>
                <a:latin typeface="+mn-lt"/>
                <a:ea typeface="+mn-ea"/>
                <a:cs typeface="+mn-cs"/>
              </a:defRPr>
            </a:lvl3pPr>
            <a:lvl4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7pPr>
            <a:lvl8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8pPr>
            <a:lvl9pPr marL="0" indent="0" algn="l" defTabSz="914400" rtl="0" eaLnBrk="1" latinLnBrk="0" hangingPunct="1">
              <a:lnSpc>
                <a:spcPct val="90000"/>
              </a:lnSpc>
              <a:spcBef>
                <a:spcPts val="0"/>
              </a:spcBef>
              <a:spcAft>
                <a:spcPts val="200"/>
              </a:spcAft>
              <a:buSzPct val="100000"/>
              <a:buFont typeface="Wingdings" panose="05000000000000000000" pitchFamily="2" charset="2"/>
              <a:buNone/>
              <a:defRPr sz="800" kern="1200">
                <a:solidFill>
                  <a:schemeClr val="bg1"/>
                </a:solidFill>
                <a:latin typeface="+mn-lt"/>
                <a:ea typeface="+mn-ea"/>
                <a:cs typeface="+mn-cs"/>
              </a:defRPr>
            </a:lvl9pPr>
          </a:lstStyle>
          <a:p>
            <a:pPr lvl="0">
              <a:lnSpc>
                <a:spcPct val="100000"/>
              </a:lnSpc>
              <a:spcAft>
                <a:spcPts val="0"/>
              </a:spcAft>
            </a:pPr>
            <a:r>
              <a:rPr lang="de-DE" sz="1400" b="1" cap="all" dirty="0">
                <a:solidFill>
                  <a:schemeClr val="bg1"/>
                </a:solidFill>
              </a:rPr>
              <a:t>Name des Kapitels </a:t>
            </a:r>
            <a:br>
              <a:rPr lang="de-DE" sz="1400" b="1" cap="all" dirty="0">
                <a:solidFill>
                  <a:schemeClr val="bg1"/>
                </a:solidFill>
              </a:rPr>
            </a:br>
            <a:r>
              <a:rPr lang="de-DE" sz="1400" cap="all" dirty="0">
                <a:solidFill>
                  <a:schemeClr val="bg1"/>
                </a:solidFill>
              </a:rPr>
              <a:t>in maximal zwei Zeilen</a:t>
            </a:r>
          </a:p>
        </p:txBody>
      </p:sp>
    </p:spTree>
    <p:extLst>
      <p:ext uri="{BB962C8B-B14F-4D97-AF65-F5344CB8AC3E}">
        <p14:creationId xmlns:p14="http://schemas.microsoft.com/office/powerpoint/2010/main" val="1998616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tx1">
            <a:lumMod val="60000"/>
            <a:lumOff val="40000"/>
          </a:schemeClr>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8BCFD33-1768-4590-801B-B7B0C2BD8CDF}"/>
              </a:ext>
            </a:extLst>
          </p:cNvPr>
          <p:cNvGraphicFramePr>
            <a:graphicFrameLocks noChangeAspect="1"/>
          </p:cNvGraphicFramePr>
          <p:nvPr>
            <p:custDataLst>
              <p:tags r:id="rId1"/>
            </p:custDataLst>
            <p:extLst>
              <p:ext uri="{D42A27DB-BD31-4B8C-83A1-F6EECF244321}">
                <p14:modId xmlns:p14="http://schemas.microsoft.com/office/powerpoint/2010/main" val="276267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9" name="Objekt 8" hidden="1">
                        <a:extLst>
                          <a:ext uri="{FF2B5EF4-FFF2-40B4-BE49-F238E27FC236}">
                            <a16:creationId xmlns:a16="http://schemas.microsoft.com/office/drawing/2014/main" id="{D8BCFD33-1768-4590-801B-B7B0C2BD8C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p:txBody>
          <a:bodyPr vert="horz"/>
          <a:lstStyle/>
          <a:p>
            <a:r>
              <a:rPr lang="de-DE" dirty="0">
                <a:solidFill>
                  <a:schemeClr val="bg1"/>
                </a:solidFill>
              </a:rPr>
              <a:t>SWOT-Analyse</a:t>
            </a:r>
          </a:p>
        </p:txBody>
      </p:sp>
      <p:sp>
        <p:nvSpPr>
          <p:cNvPr id="3" name="Datumsplatzhalter 2">
            <a:extLst>
              <a:ext uri="{FF2B5EF4-FFF2-40B4-BE49-F238E27FC236}">
                <a16:creationId xmlns:a16="http://schemas.microsoft.com/office/drawing/2014/main" id="{5C9249B0-2518-4428-A356-7137D24C7E9D}"/>
              </a:ext>
            </a:extLst>
          </p:cNvPr>
          <p:cNvSpPr>
            <a:spLocks noGrp="1"/>
          </p:cNvSpPr>
          <p:nvPr>
            <p:ph type="dt" sz="half" idx="10"/>
          </p:nvPr>
        </p:nvSpPr>
        <p:spPr bwMode="gray"/>
        <p:txBody>
          <a:bodyPr/>
          <a:lstStyle/>
          <a:p>
            <a:fld id="{48025263-267F-496B-AF6C-ECEA3A008326}" type="datetime1">
              <a:rPr lang="de-DE" smtClean="0">
                <a:solidFill>
                  <a:schemeClr val="bg1"/>
                </a:solidFill>
              </a:rPr>
              <a:t>29.09.25</a:t>
            </a:fld>
            <a:endParaRPr lang="de-DE" dirty="0">
              <a:solidFill>
                <a:schemeClr val="bg1"/>
              </a:solidFill>
            </a:endParaRPr>
          </a:p>
        </p:txBody>
      </p:sp>
      <p:sp>
        <p:nvSpPr>
          <p:cNvPr id="4" name="Fußzeilenplatzhalter 3">
            <a:extLst>
              <a:ext uri="{FF2B5EF4-FFF2-40B4-BE49-F238E27FC236}">
                <a16:creationId xmlns:a16="http://schemas.microsoft.com/office/drawing/2014/main" id="{5F766D83-899C-4B2B-ABC8-5AB23F6B7042}"/>
              </a:ext>
            </a:extLst>
          </p:cNvPr>
          <p:cNvSpPr>
            <a:spLocks noGrp="1"/>
          </p:cNvSpPr>
          <p:nvPr>
            <p:ph type="ftr" sz="quarter" idx="11"/>
          </p:nvPr>
        </p:nvSpPr>
        <p:spPr bwMode="gray"/>
        <p:txBody>
          <a:bodyPr/>
          <a:lstStyle/>
          <a:p>
            <a:r>
              <a:rPr lang="de-DE" dirty="0">
                <a:solidFill>
                  <a:schemeClr val="bg1"/>
                </a:solidFill>
              </a:rPr>
              <a:t>TITEL DER PRÄSENTATION | TITEL VORNAME NAME</a:t>
            </a:r>
          </a:p>
        </p:txBody>
      </p:sp>
      <p:sp>
        <p:nvSpPr>
          <p:cNvPr id="5" name="Foliennummernplatzhalter 4">
            <a:extLst>
              <a:ext uri="{FF2B5EF4-FFF2-40B4-BE49-F238E27FC236}">
                <a16:creationId xmlns:a16="http://schemas.microsoft.com/office/drawing/2014/main" id="{514340A3-A5FB-4045-A690-0E739F301056}"/>
              </a:ext>
            </a:extLst>
          </p:cNvPr>
          <p:cNvSpPr>
            <a:spLocks noGrp="1"/>
          </p:cNvSpPr>
          <p:nvPr>
            <p:ph type="sldNum" sz="quarter" idx="12"/>
          </p:nvPr>
        </p:nvSpPr>
        <p:spPr bwMode="gray"/>
        <p:txBody>
          <a:bodyPr/>
          <a:lstStyle/>
          <a:p>
            <a:fld id="{09E9C37E-8A19-4E30-BE2B-5A966AD23C7A}" type="slidenum">
              <a:rPr lang="de-DE" smtClean="0">
                <a:solidFill>
                  <a:schemeClr val="bg1"/>
                </a:solidFill>
              </a:rPr>
              <a:pPr/>
              <a:t>60</a:t>
            </a:fld>
            <a:endParaRPr lang="de-DE" dirty="0">
              <a:solidFill>
                <a:schemeClr val="bg1"/>
              </a:solidFill>
            </a:endParaRPr>
          </a:p>
        </p:txBody>
      </p:sp>
      <p:cxnSp>
        <p:nvCxnSpPr>
          <p:cNvPr id="11" name="Gerader Verbinder 10">
            <a:extLst>
              <a:ext uri="{FF2B5EF4-FFF2-40B4-BE49-F238E27FC236}">
                <a16:creationId xmlns:a16="http://schemas.microsoft.com/office/drawing/2014/main" id="{52FB9232-C8E8-45B6-8EB6-A79BAF9C7307}"/>
              </a:ext>
            </a:extLst>
          </p:cNvPr>
          <p:cNvCxnSpPr>
            <a:cxnSpLocks/>
          </p:cNvCxnSpPr>
          <p:nvPr/>
        </p:nvCxnSpPr>
        <p:spPr bwMode="gray">
          <a:xfrm>
            <a:off x="5952000" y="2349000"/>
            <a:ext cx="0" cy="3024000"/>
          </a:xfrm>
          <a:prstGeom prst="line">
            <a:avLst/>
          </a:prstGeom>
          <a:ln w="9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633CAA84-52DF-4D90-A7AA-CFC82549AD2C}"/>
              </a:ext>
            </a:extLst>
          </p:cNvPr>
          <p:cNvCxnSpPr>
            <a:cxnSpLocks/>
          </p:cNvCxnSpPr>
          <p:nvPr/>
        </p:nvCxnSpPr>
        <p:spPr bwMode="gray">
          <a:xfrm rot="16200000">
            <a:off x="5952000" y="2348800"/>
            <a:ext cx="0" cy="3024000"/>
          </a:xfrm>
          <a:prstGeom prst="line">
            <a:avLst/>
          </a:prstGeom>
          <a:ln w="9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Content Placeholder 10">
            <a:extLst>
              <a:ext uri="{FF2B5EF4-FFF2-40B4-BE49-F238E27FC236}">
                <a16:creationId xmlns:a16="http://schemas.microsoft.com/office/drawing/2014/main" id="{01D140E9-D3F2-4B56-B9A5-9CA8A0834DE7}"/>
              </a:ext>
            </a:extLst>
          </p:cNvPr>
          <p:cNvSpPr txBox="1">
            <a:spLocks/>
          </p:cNvSpPr>
          <p:nvPr/>
        </p:nvSpPr>
        <p:spPr bwMode="gray">
          <a:xfrm>
            <a:off x="8040687" y="2349000"/>
            <a:ext cx="3527425" cy="1080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solidFill>
                  <a:schemeClr val="bg1"/>
                </a:solidFill>
              </a:rPr>
              <a:t>Pellentesque habant morbi tristique senectus et netus et malesuada fames ac tur pis egestas.</a:t>
            </a:r>
          </a:p>
        </p:txBody>
      </p:sp>
      <p:sp>
        <p:nvSpPr>
          <p:cNvPr id="33" name="Content Placeholder 10">
            <a:extLst>
              <a:ext uri="{FF2B5EF4-FFF2-40B4-BE49-F238E27FC236}">
                <a16:creationId xmlns:a16="http://schemas.microsoft.com/office/drawing/2014/main" id="{C2574005-E307-4B22-8A30-61E0420BD790}"/>
              </a:ext>
            </a:extLst>
          </p:cNvPr>
          <p:cNvSpPr txBox="1">
            <a:spLocks/>
          </p:cNvSpPr>
          <p:nvPr/>
        </p:nvSpPr>
        <p:spPr bwMode="gray">
          <a:xfrm>
            <a:off x="336000" y="2349000"/>
            <a:ext cx="3527425" cy="1080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solidFill>
                  <a:schemeClr val="bg1"/>
                </a:solidFill>
              </a:rPr>
              <a:t>Lorem ipsum dolor sit conse ctetuer adipiscing elit. Maec enas congue massa. Fusce sed lectus amet com.</a:t>
            </a:r>
          </a:p>
        </p:txBody>
      </p:sp>
      <p:sp>
        <p:nvSpPr>
          <p:cNvPr id="46" name="Content Placeholder 10">
            <a:extLst>
              <a:ext uri="{FF2B5EF4-FFF2-40B4-BE49-F238E27FC236}">
                <a16:creationId xmlns:a16="http://schemas.microsoft.com/office/drawing/2014/main" id="{10FC826C-E8E2-4D8F-A28C-4D6EA8693BEF}"/>
              </a:ext>
            </a:extLst>
          </p:cNvPr>
          <p:cNvSpPr txBox="1">
            <a:spLocks/>
          </p:cNvSpPr>
          <p:nvPr/>
        </p:nvSpPr>
        <p:spPr bwMode="gray">
          <a:xfrm>
            <a:off x="4728000" y="2637000"/>
            <a:ext cx="1080000" cy="1080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sz="5400" b="1" dirty="0">
                <a:solidFill>
                  <a:schemeClr val="bg1"/>
                </a:solidFill>
              </a:rPr>
              <a:t>S</a:t>
            </a:r>
          </a:p>
        </p:txBody>
      </p:sp>
      <p:sp>
        <p:nvSpPr>
          <p:cNvPr id="47" name="Content Placeholder 10">
            <a:extLst>
              <a:ext uri="{FF2B5EF4-FFF2-40B4-BE49-F238E27FC236}">
                <a16:creationId xmlns:a16="http://schemas.microsoft.com/office/drawing/2014/main" id="{FF69A791-0199-4829-8BF5-09D2BF656196}"/>
              </a:ext>
            </a:extLst>
          </p:cNvPr>
          <p:cNvSpPr txBox="1">
            <a:spLocks/>
          </p:cNvSpPr>
          <p:nvPr/>
        </p:nvSpPr>
        <p:spPr bwMode="gray">
          <a:xfrm>
            <a:off x="6096000" y="2637000"/>
            <a:ext cx="1080000" cy="1080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sz="5400" b="1" dirty="0">
                <a:solidFill>
                  <a:schemeClr val="bg1"/>
                </a:solidFill>
              </a:rPr>
              <a:t>W</a:t>
            </a:r>
          </a:p>
        </p:txBody>
      </p:sp>
      <p:sp>
        <p:nvSpPr>
          <p:cNvPr id="48" name="Content Placeholder 10">
            <a:extLst>
              <a:ext uri="{FF2B5EF4-FFF2-40B4-BE49-F238E27FC236}">
                <a16:creationId xmlns:a16="http://schemas.microsoft.com/office/drawing/2014/main" id="{C2F637DE-4C32-4F7B-9BB3-002B2CF3FA59}"/>
              </a:ext>
            </a:extLst>
          </p:cNvPr>
          <p:cNvSpPr txBox="1">
            <a:spLocks/>
          </p:cNvSpPr>
          <p:nvPr/>
        </p:nvSpPr>
        <p:spPr bwMode="gray">
          <a:xfrm>
            <a:off x="4728000" y="4005000"/>
            <a:ext cx="1080000" cy="1080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sz="5400" b="1" dirty="0">
                <a:solidFill>
                  <a:schemeClr val="bg1"/>
                </a:solidFill>
              </a:rPr>
              <a:t>O</a:t>
            </a:r>
          </a:p>
        </p:txBody>
      </p:sp>
      <p:sp>
        <p:nvSpPr>
          <p:cNvPr id="49" name="Content Placeholder 10">
            <a:extLst>
              <a:ext uri="{FF2B5EF4-FFF2-40B4-BE49-F238E27FC236}">
                <a16:creationId xmlns:a16="http://schemas.microsoft.com/office/drawing/2014/main" id="{9BEAD38D-288C-4512-BAB7-64DCA7372C99}"/>
              </a:ext>
            </a:extLst>
          </p:cNvPr>
          <p:cNvSpPr txBox="1">
            <a:spLocks/>
          </p:cNvSpPr>
          <p:nvPr/>
        </p:nvSpPr>
        <p:spPr bwMode="gray">
          <a:xfrm>
            <a:off x="6096000" y="4005000"/>
            <a:ext cx="1080000" cy="1080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sz="5400" b="1" dirty="0">
                <a:solidFill>
                  <a:schemeClr val="bg1"/>
                </a:solidFill>
              </a:rPr>
              <a:t>T</a:t>
            </a:r>
          </a:p>
        </p:txBody>
      </p:sp>
      <p:sp>
        <p:nvSpPr>
          <p:cNvPr id="50" name="Content Placeholder 10">
            <a:extLst>
              <a:ext uri="{FF2B5EF4-FFF2-40B4-BE49-F238E27FC236}">
                <a16:creationId xmlns:a16="http://schemas.microsoft.com/office/drawing/2014/main" id="{ADB8FEBB-2114-4B6E-B1C2-6A1606596481}"/>
              </a:ext>
            </a:extLst>
          </p:cNvPr>
          <p:cNvSpPr txBox="1">
            <a:spLocks/>
          </p:cNvSpPr>
          <p:nvPr/>
        </p:nvSpPr>
        <p:spPr bwMode="gray">
          <a:xfrm>
            <a:off x="8040687" y="4293000"/>
            <a:ext cx="3527425" cy="1080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solidFill>
                  <a:schemeClr val="bg1"/>
                </a:solidFill>
              </a:rPr>
              <a:t>Lorem ipsum dolor sit conse ctetuer adipiscing elit. Maec enas congue massa. Fusce sed lectus amet com.</a:t>
            </a:r>
          </a:p>
        </p:txBody>
      </p:sp>
      <p:sp>
        <p:nvSpPr>
          <p:cNvPr id="51" name="Content Placeholder 10">
            <a:extLst>
              <a:ext uri="{FF2B5EF4-FFF2-40B4-BE49-F238E27FC236}">
                <a16:creationId xmlns:a16="http://schemas.microsoft.com/office/drawing/2014/main" id="{03274708-B95F-466D-814F-97E3E35C4DFF}"/>
              </a:ext>
            </a:extLst>
          </p:cNvPr>
          <p:cNvSpPr txBox="1">
            <a:spLocks/>
          </p:cNvSpPr>
          <p:nvPr/>
        </p:nvSpPr>
        <p:spPr bwMode="gray">
          <a:xfrm>
            <a:off x="336000" y="4293000"/>
            <a:ext cx="3527425" cy="1080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solidFill>
                  <a:schemeClr val="bg1"/>
                </a:solidFill>
              </a:rPr>
              <a:t>Pellentesque habant morbi tristique senectus et netus et malesuada fames ac tur pis egestas. </a:t>
            </a:r>
          </a:p>
        </p:txBody>
      </p:sp>
    </p:spTree>
    <p:extLst>
      <p:ext uri="{BB962C8B-B14F-4D97-AF65-F5344CB8AC3E}">
        <p14:creationId xmlns:p14="http://schemas.microsoft.com/office/powerpoint/2010/main" val="1160361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FE427B-CD34-534F-AEDF-61E66FBF6B89}"/>
              </a:ext>
            </a:extLst>
          </p:cNvPr>
          <p:cNvSpPr>
            <a:spLocks noGrp="1"/>
          </p:cNvSpPr>
          <p:nvPr>
            <p:ph type="title"/>
          </p:nvPr>
        </p:nvSpPr>
        <p:spPr/>
        <p:txBody>
          <a:bodyPr/>
          <a:lstStyle/>
          <a:p>
            <a:endParaRPr lang="de-DE"/>
          </a:p>
        </p:txBody>
      </p:sp>
      <p:sp>
        <p:nvSpPr>
          <p:cNvPr id="3" name="Datumsplatzhalter 2">
            <a:extLst>
              <a:ext uri="{FF2B5EF4-FFF2-40B4-BE49-F238E27FC236}">
                <a16:creationId xmlns:a16="http://schemas.microsoft.com/office/drawing/2014/main" id="{2238C00E-7756-E942-BF93-7E4A25F71457}"/>
              </a:ext>
            </a:extLst>
          </p:cNvPr>
          <p:cNvSpPr>
            <a:spLocks noGrp="1"/>
          </p:cNvSpPr>
          <p:nvPr>
            <p:ph type="dt" sz="half" idx="14"/>
          </p:nvPr>
        </p:nvSpPr>
        <p:spPr/>
        <p:txBody>
          <a:bodyPr/>
          <a:lstStyle/>
          <a:p>
            <a:fld id="{B374E66D-E309-46E1-9668-1F0B6B2ECF6A}" type="datetime1">
              <a:rPr lang="de-DE" smtClean="0"/>
              <a:pPr/>
              <a:t>29.09.25</a:t>
            </a:fld>
            <a:endParaRPr lang="de-DE" dirty="0"/>
          </a:p>
        </p:txBody>
      </p:sp>
      <p:sp>
        <p:nvSpPr>
          <p:cNvPr id="4" name="Fußzeilenplatzhalter 3">
            <a:extLst>
              <a:ext uri="{FF2B5EF4-FFF2-40B4-BE49-F238E27FC236}">
                <a16:creationId xmlns:a16="http://schemas.microsoft.com/office/drawing/2014/main" id="{48FC595C-AC4F-7C43-95F0-10FC6CCC7733}"/>
              </a:ext>
            </a:extLst>
          </p:cNvPr>
          <p:cNvSpPr>
            <a:spLocks noGrp="1"/>
          </p:cNvSpPr>
          <p:nvPr>
            <p:ph type="ftr" sz="quarter" idx="15"/>
          </p:nvPr>
        </p:nvSpPr>
        <p:spPr/>
        <p:txBody>
          <a:bodyPr/>
          <a:lstStyle/>
          <a:p>
            <a:r>
              <a:rPr lang="de-DE"/>
              <a:t>TITEL DER PRÄSENTATION | TITEL VORNAME NAME</a:t>
            </a:r>
            <a:endParaRPr lang="de-DE" dirty="0"/>
          </a:p>
        </p:txBody>
      </p:sp>
      <p:sp>
        <p:nvSpPr>
          <p:cNvPr id="5" name="Foliennummernplatzhalter 4">
            <a:extLst>
              <a:ext uri="{FF2B5EF4-FFF2-40B4-BE49-F238E27FC236}">
                <a16:creationId xmlns:a16="http://schemas.microsoft.com/office/drawing/2014/main" id="{4D38FA79-2441-B448-8AEA-A4E56384BDEF}"/>
              </a:ext>
            </a:extLst>
          </p:cNvPr>
          <p:cNvSpPr>
            <a:spLocks noGrp="1"/>
          </p:cNvSpPr>
          <p:nvPr>
            <p:ph type="sldNum" sz="quarter" idx="16"/>
          </p:nvPr>
        </p:nvSpPr>
        <p:spPr/>
        <p:txBody>
          <a:bodyPr/>
          <a:lstStyle/>
          <a:p>
            <a:fld id="{09E9C37E-8A19-4E30-BE2B-5A966AD23C7A}" type="slidenum">
              <a:rPr lang="de-DE" smtClean="0"/>
              <a:pPr/>
              <a:t>61</a:t>
            </a:fld>
            <a:endParaRPr lang="de-DE" dirty="0"/>
          </a:p>
        </p:txBody>
      </p:sp>
      <p:sp>
        <p:nvSpPr>
          <p:cNvPr id="6" name="Textplatzhalter 5">
            <a:extLst>
              <a:ext uri="{FF2B5EF4-FFF2-40B4-BE49-F238E27FC236}">
                <a16:creationId xmlns:a16="http://schemas.microsoft.com/office/drawing/2014/main" id="{C653EC64-4D21-D54B-BBEA-28A8887D10E6}"/>
              </a:ext>
            </a:extLst>
          </p:cNvPr>
          <p:cNvSpPr>
            <a:spLocks noGrp="1"/>
          </p:cNvSpPr>
          <p:nvPr>
            <p:ph type="body" sz="quarter" idx="13"/>
          </p:nvPr>
        </p:nvSpPr>
        <p:spPr/>
        <p:txBody>
          <a:bodyPr/>
          <a:lstStyle/>
          <a:p>
            <a:endParaRPr lang="de-DE" dirty="0">
              <a:solidFill>
                <a:schemeClr val="bg1"/>
              </a:solidFill>
            </a:endParaRPr>
          </a:p>
        </p:txBody>
      </p:sp>
    </p:spTree>
    <p:extLst>
      <p:ext uri="{BB962C8B-B14F-4D97-AF65-F5344CB8AC3E}">
        <p14:creationId xmlns:p14="http://schemas.microsoft.com/office/powerpoint/2010/main" val="276998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13231D3-9A1F-42EF-B9D6-7CDEAD427955}"/>
              </a:ext>
            </a:extLst>
          </p:cNvPr>
          <p:cNvGraphicFramePr>
            <a:graphicFrameLocks noChangeAspect="1"/>
          </p:cNvGraphicFramePr>
          <p:nvPr>
            <p:custDataLst>
              <p:tags r:id="rId1"/>
            </p:custDataLst>
            <p:extLst>
              <p:ext uri="{D42A27DB-BD31-4B8C-83A1-F6EECF244321}">
                <p14:modId xmlns:p14="http://schemas.microsoft.com/office/powerpoint/2010/main" val="1034420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9" name="Bildplatzhalter 28">
            <a:extLst>
              <a:ext uri="{FF2B5EF4-FFF2-40B4-BE49-F238E27FC236}">
                <a16:creationId xmlns:a16="http://schemas.microsoft.com/office/drawing/2014/main" id="{2312E180-8AC3-4825-AA2C-E16AFDDDAD1D}"/>
              </a:ext>
            </a:extLst>
          </p:cNvPr>
          <p:cNvPicPr>
            <a:picLocks noGrp="1" noChangeAspect="1"/>
          </p:cNvPicPr>
          <p:nvPr>
            <p:ph type="pic" sz="quarter" idx="13"/>
          </p:nvPr>
        </p:nvPicPr>
        <p:blipFill>
          <a:blip r:embed="rId5" cstate="screen">
            <a:extLst>
              <a:ext uri="{28A0092B-C50C-407E-A947-70E740481C1C}">
                <a14:useLocalDpi xmlns:a14="http://schemas.microsoft.com/office/drawing/2010/main"/>
              </a:ext>
            </a:extLst>
          </a:blip>
          <a:srcRect t="7823" b="7823"/>
          <a:stretch/>
        </p:blipFill>
        <p:spPr bwMode="gray"/>
      </p:pic>
      <p:sp>
        <p:nvSpPr>
          <p:cNvPr id="2" name="Datumsplatzhalter 1">
            <a:extLst>
              <a:ext uri="{FF2B5EF4-FFF2-40B4-BE49-F238E27FC236}">
                <a16:creationId xmlns:a16="http://schemas.microsoft.com/office/drawing/2014/main" id="{07FBA21E-013C-45D8-87E4-E11B77710070}"/>
              </a:ext>
            </a:extLst>
          </p:cNvPr>
          <p:cNvSpPr>
            <a:spLocks noGrp="1"/>
          </p:cNvSpPr>
          <p:nvPr>
            <p:ph type="dt" sz="half" idx="15"/>
          </p:nvPr>
        </p:nvSpPr>
        <p:spPr bwMode="gray"/>
        <p:txBody>
          <a:bodyPr/>
          <a:lstStyle/>
          <a:p>
            <a:fld id="{981762AA-E212-4765-A3D9-747B6328AE9E}" type="datetime1">
              <a:rPr lang="de-DE" smtClean="0">
                <a:solidFill>
                  <a:schemeClr val="bg1"/>
                </a:solidFill>
              </a:rPr>
              <a:t>29.09.25</a:t>
            </a:fld>
            <a:endParaRPr lang="de-DE" dirty="0">
              <a:solidFill>
                <a:schemeClr val="bg1"/>
              </a:solidFill>
            </a:endParaRPr>
          </a:p>
        </p:txBody>
      </p:sp>
      <p:sp>
        <p:nvSpPr>
          <p:cNvPr id="4" name="Foliennummernplatzhalter 3">
            <a:extLst>
              <a:ext uri="{FF2B5EF4-FFF2-40B4-BE49-F238E27FC236}">
                <a16:creationId xmlns:a16="http://schemas.microsoft.com/office/drawing/2014/main" id="{29718BEF-D1BE-4A72-A561-19C0AC3003E5}"/>
              </a:ext>
            </a:extLst>
          </p:cNvPr>
          <p:cNvSpPr>
            <a:spLocks noGrp="1"/>
          </p:cNvSpPr>
          <p:nvPr>
            <p:ph type="sldNum" sz="quarter" idx="17"/>
          </p:nvPr>
        </p:nvSpPr>
        <p:spPr bwMode="gray"/>
        <p:txBody>
          <a:bodyPr/>
          <a:lstStyle/>
          <a:p>
            <a:fld id="{09E9C37E-8A19-4E30-BE2B-5A966AD23C7A}" type="slidenum">
              <a:rPr lang="de-DE" smtClean="0">
                <a:solidFill>
                  <a:schemeClr val="bg1"/>
                </a:solidFill>
              </a:rPr>
              <a:pPr/>
              <a:t>62</a:t>
            </a:fld>
            <a:endParaRPr lang="de-DE" dirty="0">
              <a:solidFill>
                <a:schemeClr val="bg1"/>
              </a:solidFill>
            </a:endParaRPr>
          </a:p>
        </p:txBody>
      </p:sp>
      <p:sp>
        <p:nvSpPr>
          <p:cNvPr id="46" name="Textplatzhalter 45">
            <a:extLst>
              <a:ext uri="{FF2B5EF4-FFF2-40B4-BE49-F238E27FC236}">
                <a16:creationId xmlns:a16="http://schemas.microsoft.com/office/drawing/2014/main" id="{D72534E0-A188-4E95-91EC-9CDA0ABC93FE}"/>
              </a:ext>
            </a:extLst>
          </p:cNvPr>
          <p:cNvSpPr>
            <a:spLocks noGrp="1"/>
          </p:cNvSpPr>
          <p:nvPr>
            <p:ph type="body" sz="quarter" idx="14"/>
          </p:nvPr>
        </p:nvSpPr>
        <p:spPr bwMode="gray">
          <a:xfrm>
            <a:off x="0" y="4065588"/>
            <a:ext cx="10488000" cy="515937"/>
          </a:xfrm>
        </p:spPr>
        <p:txBody>
          <a:bodyPr/>
          <a:lstStyle/>
          <a:p>
            <a:r>
              <a:rPr lang="de-DE" dirty="0"/>
              <a:t>Maecenas semper sem vel erat. Nam condimentum.</a:t>
            </a:r>
          </a:p>
        </p:txBody>
      </p:sp>
      <p:sp>
        <p:nvSpPr>
          <p:cNvPr id="45" name="Titel 44">
            <a:extLst>
              <a:ext uri="{FF2B5EF4-FFF2-40B4-BE49-F238E27FC236}">
                <a16:creationId xmlns:a16="http://schemas.microsoft.com/office/drawing/2014/main" id="{1BC98617-1DF7-4FF9-8862-8F3F7FDB414C}"/>
              </a:ext>
            </a:extLst>
          </p:cNvPr>
          <p:cNvSpPr>
            <a:spLocks noGrp="1"/>
          </p:cNvSpPr>
          <p:nvPr>
            <p:ph type="ctrTitle"/>
          </p:nvPr>
        </p:nvSpPr>
        <p:spPr bwMode="gray">
          <a:xfrm>
            <a:off x="0" y="3500438"/>
            <a:ext cx="1658326" cy="514738"/>
          </a:xfrm>
        </p:spPr>
        <p:txBody>
          <a:bodyPr vert="horz"/>
          <a:lstStyle/>
          <a:p>
            <a:r>
              <a:rPr lang="de-DE" dirty="0"/>
              <a:t>Zitat</a:t>
            </a:r>
          </a:p>
        </p:txBody>
      </p:sp>
      <p:sp>
        <p:nvSpPr>
          <p:cNvPr id="3" name="Fußzeilenplatzhalter 2">
            <a:extLst>
              <a:ext uri="{FF2B5EF4-FFF2-40B4-BE49-F238E27FC236}">
                <a16:creationId xmlns:a16="http://schemas.microsoft.com/office/drawing/2014/main" id="{25EE6585-8258-402D-A4F6-C746E6B6FD64}"/>
              </a:ext>
            </a:extLst>
          </p:cNvPr>
          <p:cNvSpPr>
            <a:spLocks noGrp="1"/>
          </p:cNvSpPr>
          <p:nvPr>
            <p:ph type="ftr" sz="quarter" idx="16"/>
          </p:nvPr>
        </p:nvSpPr>
        <p:spPr bwMode="gray"/>
        <p:txBody>
          <a:bodyPr/>
          <a:lstStyle/>
          <a:p>
            <a:r>
              <a:rPr lang="de-DE" dirty="0">
                <a:solidFill>
                  <a:schemeClr val="bg1"/>
                </a:solidFill>
              </a:rPr>
              <a:t>TITEL DER PRÄSENTATION | TITEL VORNAME NAME</a:t>
            </a:r>
          </a:p>
        </p:txBody>
      </p:sp>
      <p:sp>
        <p:nvSpPr>
          <p:cNvPr id="7" name="Textplatzhalter 6">
            <a:extLst>
              <a:ext uri="{FF2B5EF4-FFF2-40B4-BE49-F238E27FC236}">
                <a16:creationId xmlns:a16="http://schemas.microsoft.com/office/drawing/2014/main" id="{E70C09CD-8E26-4C80-8644-451209439FAB}"/>
              </a:ext>
            </a:extLst>
          </p:cNvPr>
          <p:cNvSpPr>
            <a:spLocks noGrp="1"/>
          </p:cNvSpPr>
          <p:nvPr>
            <p:ph type="body" sz="quarter" idx="16"/>
          </p:nvPr>
        </p:nvSpPr>
        <p:spPr bwMode="gray">
          <a:xfrm>
            <a:off x="0" y="4642262"/>
            <a:ext cx="8937562" cy="514738"/>
          </a:xfrm>
          <a:solidFill>
            <a:srgbClr val="009EE0"/>
          </a:solidFill>
        </p:spPr>
        <p:txBody>
          <a:bodyPr vert="horz" wrap="none" lIns="468000" tIns="72000" rIns="144000" bIns="72000" rtlCol="0" anchor="t" anchorCtr="0">
            <a:spAutoFit/>
          </a:bodyPr>
          <a:lstStyle/>
          <a:p>
            <a:pPr>
              <a:buSzPct val="100000"/>
            </a:pPr>
            <a:r>
              <a:rPr lang="de-DE" sz="2400" b="1" dirty="0">
                <a:solidFill>
                  <a:schemeClr val="bg1"/>
                </a:solidFill>
              </a:rPr>
              <a:t>Pellentesque sollicitudin eros id risus. </a:t>
            </a:r>
          </a:p>
        </p:txBody>
      </p:sp>
    </p:spTree>
    <p:extLst>
      <p:ext uri="{BB962C8B-B14F-4D97-AF65-F5344CB8AC3E}">
        <p14:creationId xmlns:p14="http://schemas.microsoft.com/office/powerpoint/2010/main" val="3815834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CCBD253A-DCE7-4FC8-9093-E67900787B79}"/>
              </a:ext>
            </a:extLst>
          </p:cNvPr>
          <p:cNvGraphicFramePr>
            <a:graphicFrameLocks noChangeAspect="1"/>
          </p:cNvGraphicFramePr>
          <p:nvPr>
            <p:custDataLst>
              <p:tags r:id="rId2"/>
            </p:custDataLst>
            <p:extLst>
              <p:ext uri="{D42A27DB-BD31-4B8C-83A1-F6EECF244321}">
                <p14:modId xmlns:p14="http://schemas.microsoft.com/office/powerpoint/2010/main" val="1255486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59" imgH="358" progId="TCLayout.ActiveDocument.1">
                  <p:embed/>
                </p:oleObj>
              </mc:Choice>
              <mc:Fallback>
                <p:oleObj name="think-cell Folie" r:id="rId6" imgW="359" imgH="35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2" name="Bildplatzhalter 9">
            <a:extLst>
              <a:ext uri="{FF2B5EF4-FFF2-40B4-BE49-F238E27FC236}">
                <a16:creationId xmlns:a16="http://schemas.microsoft.com/office/drawing/2014/main" id="{E0E82EDD-7D96-4903-A624-ADF2D671A0D7}"/>
              </a:ext>
            </a:extLst>
          </p:cNvPr>
          <p:cNvPicPr>
            <a:picLocks noChangeAspect="1"/>
          </p:cNvPicPr>
          <p:nvPr/>
        </p:nvPicPr>
        <p:blipFill>
          <a:blip r:embed="rId8" cstate="screen">
            <a:extLst>
              <a:ext uri="{28A0092B-C50C-407E-A947-70E740481C1C}">
                <a14:useLocalDpi xmlns:a14="http://schemas.microsoft.com/office/drawing/2010/main"/>
              </a:ext>
            </a:extLst>
          </a:blip>
          <a:srcRect t="14834" b="14834"/>
          <a:stretch/>
        </p:blipFill>
        <p:spPr bwMode="gray">
          <a:xfrm>
            <a:off x="336550" y="1988999"/>
            <a:ext cx="3527450" cy="1656001"/>
          </a:xfrm>
          <a:prstGeom prst="rect">
            <a:avLst/>
          </a:prstGeom>
        </p:spPr>
      </p:pic>
      <p:sp>
        <p:nvSpPr>
          <p:cNvPr id="2" name="Titel 1"/>
          <p:cNvSpPr>
            <a:spLocks noGrp="1"/>
          </p:cNvSpPr>
          <p:nvPr>
            <p:ph type="title"/>
            <p:custDataLst>
              <p:tags r:id="rId3"/>
            </p:custDataLst>
          </p:nvPr>
        </p:nvSpPr>
        <p:spPr bwMode="gray"/>
        <p:txBody>
          <a:bodyPr vert="horz"/>
          <a:lstStyle/>
          <a:p>
            <a:r>
              <a:rPr lang="de-DE" dirty="0"/>
              <a:t>Texte mit Fotos</a:t>
            </a:r>
          </a:p>
        </p:txBody>
      </p:sp>
      <p:sp>
        <p:nvSpPr>
          <p:cNvPr id="3" name="Datumsplatzhalter 2">
            <a:extLst>
              <a:ext uri="{FF2B5EF4-FFF2-40B4-BE49-F238E27FC236}">
                <a16:creationId xmlns:a16="http://schemas.microsoft.com/office/drawing/2014/main" id="{1E6F66DD-1FB2-4305-B8BA-19EB0D77383F}"/>
              </a:ext>
            </a:extLst>
          </p:cNvPr>
          <p:cNvSpPr>
            <a:spLocks noGrp="1"/>
          </p:cNvSpPr>
          <p:nvPr>
            <p:ph type="dt" sz="half" idx="10"/>
          </p:nvPr>
        </p:nvSpPr>
        <p:spPr bwMode="gray"/>
        <p:txBody>
          <a:bodyPr/>
          <a:lstStyle/>
          <a:p>
            <a:fld id="{0277B49C-F8D9-4300-B08E-6F628D86B87C}" type="datetime1">
              <a:rPr lang="de-DE" smtClean="0"/>
              <a:t>29.09.25</a:t>
            </a:fld>
            <a:endParaRPr lang="de-DE" dirty="0"/>
          </a:p>
        </p:txBody>
      </p:sp>
      <p:sp>
        <p:nvSpPr>
          <p:cNvPr id="4" name="Fußzeilenplatzhalter 3">
            <a:extLst>
              <a:ext uri="{FF2B5EF4-FFF2-40B4-BE49-F238E27FC236}">
                <a16:creationId xmlns:a16="http://schemas.microsoft.com/office/drawing/2014/main" id="{51FDB23E-A905-4EBC-995F-58AFD04AEF3D}"/>
              </a:ext>
            </a:extLst>
          </p:cNvPr>
          <p:cNvSpPr>
            <a:spLocks noGrp="1"/>
          </p:cNvSpPr>
          <p:nvPr>
            <p:ph type="ftr" sz="quarter" idx="11"/>
          </p:nvPr>
        </p:nvSpPr>
        <p:spPr bwMode="gray"/>
        <p:txBody>
          <a:bodyPr/>
          <a:lstStyle/>
          <a:p>
            <a:r>
              <a:rPr lang="de-DE" dirty="0"/>
              <a:t>TITEL DER PRÄSENTATION | TITEL VORNAME NAME</a:t>
            </a:r>
          </a:p>
        </p:txBody>
      </p:sp>
      <p:sp>
        <p:nvSpPr>
          <p:cNvPr id="5" name="Foliennummernplatzhalter 4">
            <a:extLst>
              <a:ext uri="{FF2B5EF4-FFF2-40B4-BE49-F238E27FC236}">
                <a16:creationId xmlns:a16="http://schemas.microsoft.com/office/drawing/2014/main" id="{03872BA3-8CD3-4625-9768-E57337D22BDA}"/>
              </a:ext>
            </a:extLst>
          </p:cNvPr>
          <p:cNvSpPr>
            <a:spLocks noGrp="1"/>
          </p:cNvSpPr>
          <p:nvPr>
            <p:ph type="sldNum" sz="quarter" idx="12"/>
          </p:nvPr>
        </p:nvSpPr>
        <p:spPr bwMode="gray"/>
        <p:txBody>
          <a:bodyPr/>
          <a:lstStyle/>
          <a:p>
            <a:fld id="{09E9C37E-8A19-4E30-BE2B-5A966AD23C7A}" type="slidenum">
              <a:rPr lang="de-DE" smtClean="0"/>
              <a:pPr/>
              <a:t>63</a:t>
            </a:fld>
            <a:endParaRPr lang="de-DE" dirty="0"/>
          </a:p>
        </p:txBody>
      </p:sp>
      <p:sp>
        <p:nvSpPr>
          <p:cNvPr id="19" name="Content Placeholder 10">
            <a:extLst>
              <a:ext uri="{FF2B5EF4-FFF2-40B4-BE49-F238E27FC236}">
                <a16:creationId xmlns:a16="http://schemas.microsoft.com/office/drawing/2014/main" id="{75CF1224-0398-4B17-B930-FCF2B19E59E6}"/>
              </a:ext>
            </a:extLst>
          </p:cNvPr>
          <p:cNvSpPr txBox="1">
            <a:spLocks/>
          </p:cNvSpPr>
          <p:nvPr/>
        </p:nvSpPr>
        <p:spPr bwMode="gray">
          <a:xfrm>
            <a:off x="8040688" y="3789000"/>
            <a:ext cx="3527425" cy="1944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a:p>
            <a:pPr lvl="1"/>
            <a:r>
              <a:rPr lang="de-DE" dirty="0"/>
              <a:t>Integer facilisis, sem ut vestibulum, felis massa laoreet mi, vel venenatis lacus erat quis. </a:t>
            </a:r>
          </a:p>
          <a:p>
            <a:pPr lvl="1"/>
            <a:r>
              <a:rPr lang="de-DE" dirty="0"/>
              <a:t>Donec urna dapibus et, tincidunt sed, pretium bibendum, nibh.</a:t>
            </a:r>
          </a:p>
        </p:txBody>
      </p:sp>
      <p:sp>
        <p:nvSpPr>
          <p:cNvPr id="20" name="Content Placeholder 10">
            <a:extLst>
              <a:ext uri="{FF2B5EF4-FFF2-40B4-BE49-F238E27FC236}">
                <a16:creationId xmlns:a16="http://schemas.microsoft.com/office/drawing/2014/main" id="{D94E9FEE-70AF-431E-825D-40C9EB299C9E}"/>
              </a:ext>
            </a:extLst>
          </p:cNvPr>
          <p:cNvSpPr txBox="1">
            <a:spLocks/>
          </p:cNvSpPr>
          <p:nvPr/>
        </p:nvSpPr>
        <p:spPr bwMode="gray">
          <a:xfrm>
            <a:off x="335888" y="3789000"/>
            <a:ext cx="3528088" cy="1944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a:p>
            <a:pPr lvl="1"/>
            <a:r>
              <a:rPr lang="de-DE" dirty="0"/>
              <a:t>Integer facilisis, sem ut vestibulum, felis massa laoreet mi, vel venenatis lacus erat quis. </a:t>
            </a:r>
          </a:p>
          <a:p>
            <a:pPr lvl="1"/>
            <a:r>
              <a:rPr lang="de-DE" dirty="0"/>
              <a:t>Donec urna dapibus et, tincidunt sed, pretium bibendum, nibh.</a:t>
            </a:r>
          </a:p>
        </p:txBody>
      </p:sp>
      <p:sp>
        <p:nvSpPr>
          <p:cNvPr id="21" name="Content Placeholder 10">
            <a:extLst>
              <a:ext uri="{FF2B5EF4-FFF2-40B4-BE49-F238E27FC236}">
                <a16:creationId xmlns:a16="http://schemas.microsoft.com/office/drawing/2014/main" id="{71EE680A-F3D1-4C95-902E-FDE269654EAE}"/>
              </a:ext>
            </a:extLst>
          </p:cNvPr>
          <p:cNvSpPr txBox="1">
            <a:spLocks/>
          </p:cNvSpPr>
          <p:nvPr/>
        </p:nvSpPr>
        <p:spPr bwMode="gray">
          <a:xfrm>
            <a:off x="4151313" y="3789000"/>
            <a:ext cx="3600000" cy="1944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a:p>
            <a:pPr lvl="1"/>
            <a:r>
              <a:rPr lang="de-DE" dirty="0"/>
              <a:t>Integer facilisis, sem ut vestibulum, felis massa laoreet mi, vel venenatis lacus erat quis. </a:t>
            </a:r>
          </a:p>
          <a:p>
            <a:pPr lvl="1"/>
            <a:r>
              <a:rPr lang="de-DE" dirty="0"/>
              <a:t>Donec urna dapibus et, tincidunt sed, pretium bibendum, nibh.</a:t>
            </a:r>
          </a:p>
        </p:txBody>
      </p:sp>
      <p:pic>
        <p:nvPicPr>
          <p:cNvPr id="15" name="Grafik 14">
            <a:extLst>
              <a:ext uri="{FF2B5EF4-FFF2-40B4-BE49-F238E27FC236}">
                <a16:creationId xmlns:a16="http://schemas.microsoft.com/office/drawing/2014/main" id="{09047C5B-5B8E-4DA0-BF95-D7463DACEDEC}"/>
              </a:ext>
            </a:extLst>
          </p:cNvPr>
          <p:cNvPicPr>
            <a:picLocks noChangeAspect="1"/>
          </p:cNvPicPr>
          <p:nvPr/>
        </p:nvPicPr>
        <p:blipFill>
          <a:blip r:embed="rId9" cstate="screen">
            <a:extLst>
              <a:ext uri="{28A0092B-C50C-407E-A947-70E740481C1C}">
                <a14:useLocalDpi xmlns:a14="http://schemas.microsoft.com/office/drawing/2010/main"/>
              </a:ext>
            </a:extLst>
          </a:blip>
          <a:srcRect t="15522" b="15522"/>
          <a:stretch/>
        </p:blipFill>
        <p:spPr bwMode="gray">
          <a:xfrm>
            <a:off x="4151314" y="1989000"/>
            <a:ext cx="3600450" cy="1656000"/>
          </a:xfrm>
          <a:prstGeom prst="rect">
            <a:avLst/>
          </a:prstGeom>
        </p:spPr>
      </p:pic>
      <p:pic>
        <p:nvPicPr>
          <p:cNvPr id="27" name="Bildplatzhalter 14">
            <a:extLst>
              <a:ext uri="{FF2B5EF4-FFF2-40B4-BE49-F238E27FC236}">
                <a16:creationId xmlns:a16="http://schemas.microsoft.com/office/drawing/2014/main" id="{8D47FF98-0E5C-4B03-BD1C-1D9B7F6B1E7C}"/>
              </a:ext>
            </a:extLst>
          </p:cNvPr>
          <p:cNvPicPr>
            <a:picLocks noChangeAspect="1"/>
          </p:cNvPicPr>
          <p:nvPr/>
        </p:nvPicPr>
        <p:blipFill>
          <a:blip r:embed="rId10" cstate="screen">
            <a:extLst>
              <a:ext uri="{28A0092B-C50C-407E-A947-70E740481C1C}">
                <a14:useLocalDpi xmlns:a14="http://schemas.microsoft.com/office/drawing/2010/main"/>
              </a:ext>
            </a:extLst>
          </a:blip>
          <a:srcRect t="14837" b="14837"/>
          <a:stretch/>
        </p:blipFill>
        <p:spPr bwMode="gray">
          <a:xfrm>
            <a:off x="8040687" y="1989138"/>
            <a:ext cx="3527425" cy="1655862"/>
          </a:xfrm>
          <a:prstGeom prst="rect">
            <a:avLst/>
          </a:prstGeom>
        </p:spPr>
      </p:pic>
    </p:spTree>
    <p:custDataLst>
      <p:tags r:id="rId1"/>
    </p:custDataLst>
    <p:extLst>
      <p:ext uri="{BB962C8B-B14F-4D97-AF65-F5344CB8AC3E}">
        <p14:creationId xmlns:p14="http://schemas.microsoft.com/office/powerpoint/2010/main" val="317314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0369283-9D58-4E08-A137-67F52DEFAAE6}"/>
              </a:ext>
            </a:extLst>
          </p:cNvPr>
          <p:cNvGraphicFramePr>
            <a:graphicFrameLocks noChangeAspect="1"/>
          </p:cNvGraphicFramePr>
          <p:nvPr>
            <p:custDataLst>
              <p:tags r:id="rId1"/>
            </p:custDataLst>
            <p:extLst>
              <p:ext uri="{D42A27DB-BD31-4B8C-83A1-F6EECF244321}">
                <p14:modId xmlns:p14="http://schemas.microsoft.com/office/powerpoint/2010/main" val="10295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6" name="Objekt 5" hidden="1">
                        <a:extLst>
                          <a:ext uri="{FF2B5EF4-FFF2-40B4-BE49-F238E27FC236}">
                            <a16:creationId xmlns:a16="http://schemas.microsoft.com/office/drawing/2014/main" id="{40369283-9D58-4E08-A137-67F52DEFAA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DCAFD5BC-81CF-47B4-AF89-CD23CA9A07FD}"/>
              </a:ext>
            </a:extLst>
          </p:cNvPr>
          <p:cNvPicPr>
            <a:picLocks noChangeAspect="1"/>
          </p:cNvPicPr>
          <p:nvPr/>
        </p:nvPicPr>
        <p:blipFill>
          <a:blip r:embed="rId7" cstate="screen">
            <a:extLst>
              <a:ext uri="{28A0092B-C50C-407E-A947-70E740481C1C}">
                <a14:useLocalDpi xmlns:a14="http://schemas.microsoft.com/office/drawing/2010/main"/>
              </a:ext>
            </a:extLst>
          </a:blip>
          <a:srcRect l="1257" r="1257"/>
          <a:stretch/>
        </p:blipFill>
        <p:spPr bwMode="gray">
          <a:xfrm>
            <a:off x="6096000" y="1989000"/>
            <a:ext cx="5472113" cy="3744000"/>
          </a:xfrm>
          <a:prstGeom prst="rect">
            <a:avLst/>
          </a:prstGeom>
        </p:spPr>
      </p:pic>
      <p:sp>
        <p:nvSpPr>
          <p:cNvPr id="14" name="Rechteck 13">
            <a:extLst>
              <a:ext uri="{FF2B5EF4-FFF2-40B4-BE49-F238E27FC236}">
                <a16:creationId xmlns:a16="http://schemas.microsoft.com/office/drawing/2014/main" id="{EAB0CB28-5F50-4AE7-B7C9-E52028937864}"/>
              </a:ext>
            </a:extLst>
          </p:cNvPr>
          <p:cNvSpPr/>
          <p:nvPr/>
        </p:nvSpPr>
        <p:spPr bwMode="gray">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5" name="Rechteck 4" hidden="1">
            <a:extLst>
              <a:ext uri="{FF2B5EF4-FFF2-40B4-BE49-F238E27FC236}">
                <a16:creationId xmlns:a16="http://schemas.microsoft.com/office/drawing/2014/main" id="{0277F7BC-0F5B-42F8-B838-0C636BF08C75}"/>
              </a:ext>
            </a:extLst>
          </p:cNvPr>
          <p:cNvSpPr/>
          <p:nvPr>
            <p:custDataLst>
              <p:tags r:id="rId2"/>
            </p:custDataLst>
          </p:nvPr>
        </p:nvSpPr>
        <p:spPr bwMode="gray">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e-DE" sz="3000" dirty="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sym typeface="Open Sans Extrabold" panose="020B0906030804020204" pitchFamily="34" charset="0"/>
            </a:endParaRPr>
          </a:p>
        </p:txBody>
      </p:sp>
      <p:sp>
        <p:nvSpPr>
          <p:cNvPr id="2" name="Titel 1">
            <a:extLst>
              <a:ext uri="{FF2B5EF4-FFF2-40B4-BE49-F238E27FC236}">
                <a16:creationId xmlns:a16="http://schemas.microsoft.com/office/drawing/2014/main" id="{1B4B1883-641C-44DF-8304-B2A0EE2ACDB9}"/>
              </a:ext>
            </a:extLst>
          </p:cNvPr>
          <p:cNvSpPr>
            <a:spLocks noGrp="1"/>
          </p:cNvSpPr>
          <p:nvPr>
            <p:ph type="title"/>
            <p:custDataLst>
              <p:tags r:id="rId3"/>
            </p:custDataLst>
          </p:nvPr>
        </p:nvSpPr>
        <p:spPr bwMode="gray"/>
        <p:txBody>
          <a:bodyPr vert="horz"/>
          <a:lstStyle/>
          <a:p>
            <a:r>
              <a:rPr lang="de-DE" dirty="0"/>
              <a:t>Foto mit Text und Icons</a:t>
            </a:r>
          </a:p>
        </p:txBody>
      </p:sp>
      <p:sp>
        <p:nvSpPr>
          <p:cNvPr id="3" name="Datumsplatzhalter 2">
            <a:extLst>
              <a:ext uri="{FF2B5EF4-FFF2-40B4-BE49-F238E27FC236}">
                <a16:creationId xmlns:a16="http://schemas.microsoft.com/office/drawing/2014/main" id="{3FAD0399-97CD-490B-81AD-AC79DC1A2A00}"/>
              </a:ext>
            </a:extLst>
          </p:cNvPr>
          <p:cNvSpPr>
            <a:spLocks noGrp="1"/>
          </p:cNvSpPr>
          <p:nvPr>
            <p:ph type="dt" sz="half" idx="10"/>
          </p:nvPr>
        </p:nvSpPr>
        <p:spPr bwMode="gray"/>
        <p:txBody>
          <a:bodyPr/>
          <a:lstStyle/>
          <a:p>
            <a:fld id="{F439A2F7-D8E5-4785-9654-89CE194405CB}" type="datetime1">
              <a:rPr lang="de-DE" smtClean="0"/>
              <a:t>29.09.25</a:t>
            </a:fld>
            <a:endParaRPr lang="de-DE" dirty="0"/>
          </a:p>
        </p:txBody>
      </p:sp>
      <p:sp>
        <p:nvSpPr>
          <p:cNvPr id="4" name="Fußzeilenplatzhalter 3">
            <a:extLst>
              <a:ext uri="{FF2B5EF4-FFF2-40B4-BE49-F238E27FC236}">
                <a16:creationId xmlns:a16="http://schemas.microsoft.com/office/drawing/2014/main" id="{F024461F-3C0C-429A-A982-FDD22010640F}"/>
              </a:ext>
            </a:extLst>
          </p:cNvPr>
          <p:cNvSpPr>
            <a:spLocks noGrp="1"/>
          </p:cNvSpPr>
          <p:nvPr>
            <p:ph type="ftr" sz="quarter" idx="11"/>
          </p:nvPr>
        </p:nvSpPr>
        <p:spPr bwMode="gray"/>
        <p:txBody>
          <a:bodyPr/>
          <a:lstStyle/>
          <a:p>
            <a:r>
              <a:rPr lang="de-DE" dirty="0"/>
              <a:t>TITEL DER PRÄSENTATION | TITEL VORNAME NAME</a:t>
            </a:r>
          </a:p>
        </p:txBody>
      </p:sp>
      <p:sp>
        <p:nvSpPr>
          <p:cNvPr id="8" name="Foliennummernplatzhalter 7">
            <a:extLst>
              <a:ext uri="{FF2B5EF4-FFF2-40B4-BE49-F238E27FC236}">
                <a16:creationId xmlns:a16="http://schemas.microsoft.com/office/drawing/2014/main" id="{80F773FF-BB39-4118-A306-1B4A33F5BDE4}"/>
              </a:ext>
            </a:extLst>
          </p:cNvPr>
          <p:cNvSpPr>
            <a:spLocks noGrp="1"/>
          </p:cNvSpPr>
          <p:nvPr>
            <p:ph type="sldNum" sz="quarter" idx="12"/>
          </p:nvPr>
        </p:nvSpPr>
        <p:spPr bwMode="gray"/>
        <p:txBody>
          <a:bodyPr/>
          <a:lstStyle/>
          <a:p>
            <a:fld id="{09E9C37E-8A19-4E30-BE2B-5A966AD23C7A}" type="slidenum">
              <a:rPr lang="de-DE" smtClean="0"/>
              <a:pPr/>
              <a:t>64</a:t>
            </a:fld>
            <a:endParaRPr lang="de-DE" dirty="0"/>
          </a:p>
        </p:txBody>
      </p:sp>
      <p:pic>
        <p:nvPicPr>
          <p:cNvPr id="48" name="Grafik 47">
            <a:extLst>
              <a:ext uri="{FF2B5EF4-FFF2-40B4-BE49-F238E27FC236}">
                <a16:creationId xmlns:a16="http://schemas.microsoft.com/office/drawing/2014/main" id="{19DC05C1-2F32-417B-9B7A-E681234F9CB0}"/>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bwMode="gray">
          <a:xfrm>
            <a:off x="336000" y="1989000"/>
            <a:ext cx="1008000" cy="1008000"/>
          </a:xfrm>
          <a:prstGeom prst="rect">
            <a:avLst/>
          </a:prstGeom>
          <a:noFill/>
        </p:spPr>
      </p:pic>
      <p:pic>
        <p:nvPicPr>
          <p:cNvPr id="50" name="Grafik 49">
            <a:extLst>
              <a:ext uri="{FF2B5EF4-FFF2-40B4-BE49-F238E27FC236}">
                <a16:creationId xmlns:a16="http://schemas.microsoft.com/office/drawing/2014/main" id="{49E49D02-E53A-408E-ACF5-8F73A3E57EEA}"/>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bwMode="gray">
          <a:xfrm>
            <a:off x="336000" y="3321075"/>
            <a:ext cx="1008000" cy="1008000"/>
          </a:xfrm>
          <a:prstGeom prst="rect">
            <a:avLst/>
          </a:prstGeom>
          <a:noFill/>
        </p:spPr>
      </p:pic>
      <p:pic>
        <p:nvPicPr>
          <p:cNvPr id="51" name="Grafik 50">
            <a:extLst>
              <a:ext uri="{FF2B5EF4-FFF2-40B4-BE49-F238E27FC236}">
                <a16:creationId xmlns:a16="http://schemas.microsoft.com/office/drawing/2014/main" id="{36EBD422-B10F-4090-A85F-B5DCDC20DB9F}"/>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bwMode="gray">
          <a:xfrm>
            <a:off x="336000" y="4653075"/>
            <a:ext cx="1008000" cy="1008000"/>
          </a:xfrm>
          <a:prstGeom prst="rect">
            <a:avLst/>
          </a:prstGeom>
          <a:noFill/>
        </p:spPr>
      </p:pic>
      <p:sp>
        <p:nvSpPr>
          <p:cNvPr id="52" name="Content Placeholder 10">
            <a:extLst>
              <a:ext uri="{FF2B5EF4-FFF2-40B4-BE49-F238E27FC236}">
                <a16:creationId xmlns:a16="http://schemas.microsoft.com/office/drawing/2014/main" id="{B34223DC-B15D-40B5-82DE-D5E872C6BB19}"/>
              </a:ext>
            </a:extLst>
          </p:cNvPr>
          <p:cNvSpPr txBox="1">
            <a:spLocks/>
          </p:cNvSpPr>
          <p:nvPr/>
        </p:nvSpPr>
        <p:spPr bwMode="gray">
          <a:xfrm>
            <a:off x="1632000" y="1989075"/>
            <a:ext cx="4176563"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a:p>
            <a:pPr lvl="1"/>
            <a:r>
              <a:rPr lang="de-DE" dirty="0"/>
              <a:t>Proin libero dolor, ullamcorpe porta sodales purus arcu condiment blandit. </a:t>
            </a:r>
          </a:p>
        </p:txBody>
      </p:sp>
      <p:sp>
        <p:nvSpPr>
          <p:cNvPr id="53" name="Content Placeholder 10">
            <a:extLst>
              <a:ext uri="{FF2B5EF4-FFF2-40B4-BE49-F238E27FC236}">
                <a16:creationId xmlns:a16="http://schemas.microsoft.com/office/drawing/2014/main" id="{618F0A61-061D-40DE-8C1C-208A9BFF1097}"/>
              </a:ext>
            </a:extLst>
          </p:cNvPr>
          <p:cNvSpPr txBox="1">
            <a:spLocks/>
          </p:cNvSpPr>
          <p:nvPr/>
        </p:nvSpPr>
        <p:spPr bwMode="gray">
          <a:xfrm>
            <a:off x="1632000" y="3321075"/>
            <a:ext cx="4176563"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a:p>
            <a:pPr lvl="1"/>
            <a:r>
              <a:rPr lang="de-DE" dirty="0"/>
              <a:t>Proin libero dolor, ullamcorpe porta sodales purus arcu condiment blandit. </a:t>
            </a:r>
          </a:p>
        </p:txBody>
      </p:sp>
      <p:sp>
        <p:nvSpPr>
          <p:cNvPr id="54" name="Content Placeholder 10">
            <a:extLst>
              <a:ext uri="{FF2B5EF4-FFF2-40B4-BE49-F238E27FC236}">
                <a16:creationId xmlns:a16="http://schemas.microsoft.com/office/drawing/2014/main" id="{C3150455-824F-42CC-A385-C5319F9CDC7D}"/>
              </a:ext>
            </a:extLst>
          </p:cNvPr>
          <p:cNvSpPr txBox="1">
            <a:spLocks/>
          </p:cNvSpPr>
          <p:nvPr/>
        </p:nvSpPr>
        <p:spPr bwMode="gray">
          <a:xfrm>
            <a:off x="1632000" y="4653075"/>
            <a:ext cx="4176563"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a:p>
            <a:pPr lvl="1"/>
            <a:r>
              <a:rPr lang="de-DE" dirty="0"/>
              <a:t>Proin libero dolor, ullamcorpe porta sodales purus arcu condiment blandit. </a:t>
            </a:r>
          </a:p>
        </p:txBody>
      </p:sp>
    </p:spTree>
    <p:extLst>
      <p:ext uri="{BB962C8B-B14F-4D97-AF65-F5344CB8AC3E}">
        <p14:creationId xmlns:p14="http://schemas.microsoft.com/office/powerpoint/2010/main" val="2823288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tx1">
            <a:lumMod val="60000"/>
            <a:lumOff val="40000"/>
          </a:schemeClr>
        </a:solidFill>
        <a:effectLst/>
      </p:bgPr>
    </p:bg>
    <p:spTree>
      <p:nvGrpSpPr>
        <p:cNvPr id="1" name=""/>
        <p:cNvGrpSpPr/>
        <p:nvPr/>
      </p:nvGrpSpPr>
      <p:grpSpPr>
        <a:xfrm>
          <a:off x="0" y="0"/>
          <a:ext cx="0" cy="0"/>
          <a:chOff x="0" y="0"/>
          <a:chExt cx="0" cy="0"/>
        </a:xfrm>
      </p:grpSpPr>
      <p:graphicFrame>
        <p:nvGraphicFramePr>
          <p:cNvPr id="12" name="Objekt 11" hidden="1"/>
          <p:cNvGraphicFramePr>
            <a:graphicFrameLocks/>
          </p:cNvGraphicFramePr>
          <p:nvPr>
            <p:custDataLst>
              <p:tags r:id="rId1"/>
            </p:custDataLst>
            <p:extLst>
              <p:ext uri="{D42A27DB-BD31-4B8C-83A1-F6EECF244321}">
                <p14:modId xmlns:p14="http://schemas.microsoft.com/office/powerpoint/2010/main" val="2454469168"/>
              </p:ext>
            </p:ext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Folie" r:id="rId7" imgW="360" imgH="360" progId="TCLayout.ActiveDocument.1">
                  <p:embed/>
                </p:oleObj>
              </mc:Choice>
              <mc:Fallback>
                <p:oleObj name="think-cell Folie" r:id="rId7" imgW="360" imgH="360" progId="TCLayout.ActiveDocument.1">
                  <p:embed/>
                  <p:pic>
                    <p:nvPicPr>
                      <p:cNvPr id="12" name="Objekt 11" hidden="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Rechteck 18">
            <a:extLst>
              <a:ext uri="{FF2B5EF4-FFF2-40B4-BE49-F238E27FC236}">
                <a16:creationId xmlns:a16="http://schemas.microsoft.com/office/drawing/2014/main" id="{F2E18BA7-F828-4446-9703-17B791A76058}"/>
              </a:ext>
            </a:extLst>
          </p:cNvPr>
          <p:cNvSpPr/>
          <p:nvPr/>
        </p:nvSpPr>
        <p:spPr bwMode="gray">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4" name="Titel 3"/>
          <p:cNvSpPr>
            <a:spLocks noGrp="1"/>
          </p:cNvSpPr>
          <p:nvPr>
            <p:ph type="title"/>
            <p:custDataLst>
              <p:tags r:id="rId2"/>
            </p:custDataLst>
          </p:nvPr>
        </p:nvSpPr>
        <p:spPr bwMode="gray"/>
        <p:txBody>
          <a:bodyPr vert="horz"/>
          <a:lstStyle/>
          <a:p>
            <a:r>
              <a:rPr lang="de-DE" dirty="0"/>
              <a:t>Smartphone-Bildschirm</a:t>
            </a:r>
          </a:p>
        </p:txBody>
      </p:sp>
      <p:sp>
        <p:nvSpPr>
          <p:cNvPr id="2" name="Datumsplatzhalter 1">
            <a:extLst>
              <a:ext uri="{FF2B5EF4-FFF2-40B4-BE49-F238E27FC236}">
                <a16:creationId xmlns:a16="http://schemas.microsoft.com/office/drawing/2014/main" id="{F55539FA-BEE8-4C33-8458-BBD72118489F}"/>
              </a:ext>
            </a:extLst>
          </p:cNvPr>
          <p:cNvSpPr>
            <a:spLocks noGrp="1"/>
          </p:cNvSpPr>
          <p:nvPr>
            <p:ph type="dt" sz="half" idx="10"/>
          </p:nvPr>
        </p:nvSpPr>
        <p:spPr bwMode="gray"/>
        <p:txBody>
          <a:bodyPr/>
          <a:lstStyle/>
          <a:p>
            <a:fld id="{6438BCE6-14B6-496D-97B2-45AF30138737}" type="datetime1">
              <a:rPr lang="de-DE" smtClean="0"/>
              <a:t>29.09.25</a:t>
            </a:fld>
            <a:endParaRPr lang="de-DE" dirty="0"/>
          </a:p>
        </p:txBody>
      </p:sp>
      <p:sp>
        <p:nvSpPr>
          <p:cNvPr id="3" name="Fußzeilenplatzhalter 2">
            <a:extLst>
              <a:ext uri="{FF2B5EF4-FFF2-40B4-BE49-F238E27FC236}">
                <a16:creationId xmlns:a16="http://schemas.microsoft.com/office/drawing/2014/main" id="{7AA9B767-A75F-42CD-A2A0-70453C213EA5}"/>
              </a:ext>
            </a:extLst>
          </p:cNvPr>
          <p:cNvSpPr>
            <a:spLocks noGrp="1"/>
          </p:cNvSpPr>
          <p:nvPr>
            <p:ph type="ftr" sz="quarter" idx="11"/>
          </p:nvPr>
        </p:nvSpPr>
        <p:spPr bwMode="gray"/>
        <p:txBody>
          <a:bodyPr/>
          <a:lstStyle/>
          <a:p>
            <a:r>
              <a:rPr lang="de-DE" dirty="0"/>
              <a:t>TITEL DER PRÄSENTATION | TITEL VORNAME NAME</a:t>
            </a:r>
          </a:p>
        </p:txBody>
      </p:sp>
      <p:sp>
        <p:nvSpPr>
          <p:cNvPr id="5" name="Foliennummernplatzhalter 4">
            <a:extLst>
              <a:ext uri="{FF2B5EF4-FFF2-40B4-BE49-F238E27FC236}">
                <a16:creationId xmlns:a16="http://schemas.microsoft.com/office/drawing/2014/main" id="{70906BD2-DA47-42A9-9CF0-2FEBE9773346}"/>
              </a:ext>
            </a:extLst>
          </p:cNvPr>
          <p:cNvSpPr>
            <a:spLocks noGrp="1"/>
          </p:cNvSpPr>
          <p:nvPr>
            <p:ph type="sldNum" sz="quarter" idx="12"/>
          </p:nvPr>
        </p:nvSpPr>
        <p:spPr bwMode="gray"/>
        <p:txBody>
          <a:bodyPr/>
          <a:lstStyle/>
          <a:p>
            <a:fld id="{09E9C37E-8A19-4E30-BE2B-5A966AD23C7A}" type="slidenum">
              <a:rPr lang="de-DE" smtClean="0"/>
              <a:pPr/>
              <a:t>65</a:t>
            </a:fld>
            <a:endParaRPr lang="de-DE" dirty="0"/>
          </a:p>
        </p:txBody>
      </p:sp>
      <p:sp>
        <p:nvSpPr>
          <p:cNvPr id="14" name="Freihandform: Form 13">
            <a:extLst>
              <a:ext uri="{FF2B5EF4-FFF2-40B4-BE49-F238E27FC236}">
                <a16:creationId xmlns:a16="http://schemas.microsoft.com/office/drawing/2014/main" id="{E88FFB4D-8195-4203-A8B1-3746C4FC07DC}"/>
              </a:ext>
            </a:extLst>
          </p:cNvPr>
          <p:cNvSpPr>
            <a:spLocks noChangeAspect="1"/>
          </p:cNvSpPr>
          <p:nvPr>
            <p:custDataLst>
              <p:tags r:id="rId3"/>
            </p:custDataLst>
          </p:nvPr>
        </p:nvSpPr>
        <p:spPr bwMode="gray">
          <a:xfrm>
            <a:off x="3334551" y="2067940"/>
            <a:ext cx="1804897" cy="3627190"/>
          </a:xfrm>
          <a:custGeom>
            <a:avLst/>
            <a:gdLst>
              <a:gd name="connsiteX0" fmla="*/ 214530 w 1804897"/>
              <a:gd name="connsiteY0" fmla="*/ 0 h 3627190"/>
              <a:gd name="connsiteX1" fmla="*/ 1590367 w 1804897"/>
              <a:gd name="connsiteY1" fmla="*/ 0 h 3627190"/>
              <a:gd name="connsiteX2" fmla="*/ 1804897 w 1804897"/>
              <a:gd name="connsiteY2" fmla="*/ 214530 h 3627190"/>
              <a:gd name="connsiteX3" fmla="*/ 1804897 w 1804897"/>
              <a:gd name="connsiteY3" fmla="*/ 3412660 h 3627190"/>
              <a:gd name="connsiteX4" fmla="*/ 1590367 w 1804897"/>
              <a:gd name="connsiteY4" fmla="*/ 3627190 h 3627190"/>
              <a:gd name="connsiteX5" fmla="*/ 214530 w 1804897"/>
              <a:gd name="connsiteY5" fmla="*/ 3627190 h 3627190"/>
              <a:gd name="connsiteX6" fmla="*/ 0 w 1804897"/>
              <a:gd name="connsiteY6" fmla="*/ 3412660 h 3627190"/>
              <a:gd name="connsiteX7" fmla="*/ 0 w 1804897"/>
              <a:gd name="connsiteY7" fmla="*/ 214530 h 3627190"/>
              <a:gd name="connsiteX8" fmla="*/ 214530 w 1804897"/>
              <a:gd name="connsiteY8" fmla="*/ 0 h 362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4897" h="3627190">
                <a:moveTo>
                  <a:pt x="214530" y="0"/>
                </a:moveTo>
                <a:lnTo>
                  <a:pt x="1590367" y="0"/>
                </a:lnTo>
                <a:cubicBezTo>
                  <a:pt x="1708849" y="0"/>
                  <a:pt x="1804897" y="96048"/>
                  <a:pt x="1804897" y="214530"/>
                </a:cubicBezTo>
                <a:lnTo>
                  <a:pt x="1804897" y="3412660"/>
                </a:lnTo>
                <a:cubicBezTo>
                  <a:pt x="1804897" y="3531142"/>
                  <a:pt x="1708849" y="3627190"/>
                  <a:pt x="1590367" y="3627190"/>
                </a:cubicBezTo>
                <a:lnTo>
                  <a:pt x="214530" y="3627190"/>
                </a:lnTo>
                <a:cubicBezTo>
                  <a:pt x="96048" y="3627190"/>
                  <a:pt x="0" y="3531142"/>
                  <a:pt x="0" y="3412660"/>
                </a:cubicBezTo>
                <a:lnTo>
                  <a:pt x="0" y="214530"/>
                </a:lnTo>
                <a:cubicBezTo>
                  <a:pt x="0" y="96048"/>
                  <a:pt x="96048" y="0"/>
                  <a:pt x="214530" y="0"/>
                </a:cubicBezTo>
                <a:close/>
              </a:path>
            </a:pathLst>
          </a:custGeom>
          <a:blipFill dpi="0" rotWithShape="1">
            <a:blip r:embed="rId9" cstate="screen">
              <a:extLst>
                <a:ext uri="{28A0092B-C50C-407E-A947-70E740481C1C}">
                  <a14:useLocalDpi xmlns:a14="http://schemas.microsoft.com/office/drawing/2010/main"/>
                </a:ext>
              </a:extLst>
            </a:blip>
            <a:srcRect/>
            <a:stretch>
              <a:fillRect l="-74328" t="-1425" r="-81105" b="-775"/>
            </a:stretch>
          </a:bli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dirty="0">
              <a:solidFill>
                <a:schemeClr val="tx1"/>
              </a:solidFill>
            </a:endParaRPr>
          </a:p>
        </p:txBody>
      </p:sp>
      <p:pic>
        <p:nvPicPr>
          <p:cNvPr id="23" name="Picture 5">
            <a:extLst>
              <a:ext uri="{FF2B5EF4-FFF2-40B4-BE49-F238E27FC236}">
                <a16:creationId xmlns:a16="http://schemas.microsoft.com/office/drawing/2014/main" id="{694D06E8-7A1F-435B-B4A7-0D5524B50A93}"/>
              </a:ext>
            </a:extLst>
          </p:cNvPr>
          <p:cNvPicPr>
            <a:picLocks noChangeAspect="1"/>
          </p:cNvPicPr>
          <p:nvPr>
            <p:custDataLst>
              <p:tags r:id="rId4"/>
            </p:custDataLst>
          </p:nvPr>
        </p:nvPicPr>
        <p:blipFill rotWithShape="1">
          <a:blip r:embed="rId10" cstate="screen">
            <a:extLst>
              <a:ext uri="{28A0092B-C50C-407E-A947-70E740481C1C}">
                <a14:useLocalDpi xmlns:a14="http://schemas.microsoft.com/office/drawing/2010/main"/>
              </a:ext>
            </a:extLst>
          </a:blip>
          <a:srcRect l="31567" t="17735" r="31567" b="17735"/>
          <a:stretch/>
        </p:blipFill>
        <p:spPr bwMode="gray">
          <a:xfrm>
            <a:off x="3144000" y="1773000"/>
            <a:ext cx="2162457" cy="4104000"/>
          </a:xfrm>
          <a:prstGeom prst="rect">
            <a:avLst/>
          </a:prstGeom>
        </p:spPr>
      </p:pic>
      <p:sp>
        <p:nvSpPr>
          <p:cNvPr id="24" name="Content Placeholder 10">
            <a:extLst>
              <a:ext uri="{FF2B5EF4-FFF2-40B4-BE49-F238E27FC236}">
                <a16:creationId xmlns:a16="http://schemas.microsoft.com/office/drawing/2014/main" id="{9AD46A2B-ADF1-41B4-8257-9670754F06FA}"/>
              </a:ext>
            </a:extLst>
          </p:cNvPr>
          <p:cNvSpPr txBox="1">
            <a:spLocks/>
          </p:cNvSpPr>
          <p:nvPr/>
        </p:nvSpPr>
        <p:spPr bwMode="gray">
          <a:xfrm>
            <a:off x="6096000" y="4365076"/>
            <a:ext cx="5472113" cy="1367388"/>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 dolor sit amet</a:t>
            </a:r>
          </a:p>
          <a:p>
            <a:pPr lvl="1"/>
            <a:r>
              <a:rPr lang="de-DE" dirty="0">
                <a:solidFill>
                  <a:schemeClr val="bg1"/>
                </a:solidFill>
              </a:rPr>
              <a:t>Proin libero tempus ullamcorpe enim. Sed sodales</a:t>
            </a:r>
            <a:br>
              <a:rPr lang="de-DE" dirty="0">
                <a:solidFill>
                  <a:schemeClr val="bg1"/>
                </a:solidFill>
              </a:rPr>
            </a:br>
            <a:r>
              <a:rPr lang="de-DE" dirty="0">
                <a:solidFill>
                  <a:schemeClr val="bg1"/>
                </a:solidFill>
              </a:rPr>
              <a:t>purus eget tortor. Sed vitae arcu in dolor condimentum ullamcorpe posuere, magna sed pulvinar ultricies.</a:t>
            </a:r>
          </a:p>
        </p:txBody>
      </p:sp>
      <p:pic>
        <p:nvPicPr>
          <p:cNvPr id="13" name="Grafik 12">
            <a:extLst>
              <a:ext uri="{FF2B5EF4-FFF2-40B4-BE49-F238E27FC236}">
                <a16:creationId xmlns:a16="http://schemas.microsoft.com/office/drawing/2014/main" id="{4FD2F679-6B4A-994D-807E-B146703006E4}"/>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bwMode="gray">
          <a:xfrm>
            <a:off x="6096000" y="3069000"/>
            <a:ext cx="1008000" cy="1008000"/>
          </a:xfrm>
          <a:prstGeom prst="rect">
            <a:avLst/>
          </a:prstGeom>
          <a:noFill/>
        </p:spPr>
      </p:pic>
    </p:spTree>
    <p:extLst>
      <p:ext uri="{BB962C8B-B14F-4D97-AF65-F5344CB8AC3E}">
        <p14:creationId xmlns:p14="http://schemas.microsoft.com/office/powerpoint/2010/main" val="1381021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12" name="Objekt 11" hidden="1"/>
          <p:cNvGraphicFramePr>
            <a:graphicFrameLocks/>
          </p:cNvGraphicFramePr>
          <p:nvPr>
            <p:custDataLst>
              <p:tags r:id="rId1"/>
            </p:custDataLst>
            <p:extLst>
              <p:ext uri="{D42A27DB-BD31-4B8C-83A1-F6EECF244321}">
                <p14:modId xmlns:p14="http://schemas.microsoft.com/office/powerpoint/2010/main" val="4067436368"/>
              </p:ext>
            </p:ext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12" name="Objekt 11" hidden="1"/>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Rechteck 18">
            <a:extLst>
              <a:ext uri="{FF2B5EF4-FFF2-40B4-BE49-F238E27FC236}">
                <a16:creationId xmlns:a16="http://schemas.microsoft.com/office/drawing/2014/main" id="{F2E18BA7-F828-4446-9703-17B791A76058}"/>
              </a:ext>
            </a:extLst>
          </p:cNvPr>
          <p:cNvSpPr/>
          <p:nvPr/>
        </p:nvSpPr>
        <p:spPr bwMode="gray">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pic>
        <p:nvPicPr>
          <p:cNvPr id="16" name="Grafik 15">
            <a:extLst>
              <a:ext uri="{FF2B5EF4-FFF2-40B4-BE49-F238E27FC236}">
                <a16:creationId xmlns:a16="http://schemas.microsoft.com/office/drawing/2014/main" id="{18716391-0032-46AB-A61E-29FA679A7B05}"/>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29012" t="2060" r="32470" b="1215"/>
          <a:stretch/>
        </p:blipFill>
        <p:spPr bwMode="gray">
          <a:xfrm>
            <a:off x="2604397" y="867667"/>
            <a:ext cx="2390698" cy="4804436"/>
          </a:xfrm>
          <a:custGeom>
            <a:avLst/>
            <a:gdLst>
              <a:gd name="connsiteX0" fmla="*/ 284158 w 2390698"/>
              <a:gd name="connsiteY0" fmla="*/ 0 h 4804436"/>
              <a:gd name="connsiteX1" fmla="*/ 2106540 w 2390698"/>
              <a:gd name="connsiteY1" fmla="*/ 0 h 4804436"/>
              <a:gd name="connsiteX2" fmla="*/ 2390698 w 2390698"/>
              <a:gd name="connsiteY2" fmla="*/ 284158 h 4804436"/>
              <a:gd name="connsiteX3" fmla="*/ 2390698 w 2390698"/>
              <a:gd name="connsiteY3" fmla="*/ 4520278 h 4804436"/>
              <a:gd name="connsiteX4" fmla="*/ 2106540 w 2390698"/>
              <a:gd name="connsiteY4" fmla="*/ 4804436 h 4804436"/>
              <a:gd name="connsiteX5" fmla="*/ 284158 w 2390698"/>
              <a:gd name="connsiteY5" fmla="*/ 4804436 h 4804436"/>
              <a:gd name="connsiteX6" fmla="*/ 0 w 2390698"/>
              <a:gd name="connsiteY6" fmla="*/ 4520278 h 4804436"/>
              <a:gd name="connsiteX7" fmla="*/ 0 w 2390698"/>
              <a:gd name="connsiteY7" fmla="*/ 284158 h 4804436"/>
              <a:gd name="connsiteX8" fmla="*/ 284158 w 2390698"/>
              <a:gd name="connsiteY8" fmla="*/ 0 h 4804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90698" h="4804436">
                <a:moveTo>
                  <a:pt x="284158" y="0"/>
                </a:moveTo>
                <a:lnTo>
                  <a:pt x="2106540" y="0"/>
                </a:lnTo>
                <a:cubicBezTo>
                  <a:pt x="2263476" y="0"/>
                  <a:pt x="2390698" y="127222"/>
                  <a:pt x="2390698" y="284158"/>
                </a:cubicBezTo>
                <a:lnTo>
                  <a:pt x="2390698" y="4520278"/>
                </a:lnTo>
                <a:cubicBezTo>
                  <a:pt x="2390698" y="4677214"/>
                  <a:pt x="2263476" y="4804436"/>
                  <a:pt x="2106540" y="4804436"/>
                </a:cubicBezTo>
                <a:lnTo>
                  <a:pt x="284158" y="4804436"/>
                </a:lnTo>
                <a:cubicBezTo>
                  <a:pt x="127222" y="4804436"/>
                  <a:pt x="0" y="4677214"/>
                  <a:pt x="0" y="4520278"/>
                </a:cubicBezTo>
                <a:lnTo>
                  <a:pt x="0" y="284158"/>
                </a:lnTo>
                <a:cubicBezTo>
                  <a:pt x="0" y="127222"/>
                  <a:pt x="127222" y="0"/>
                  <a:pt x="284158" y="0"/>
                </a:cubicBezTo>
                <a:close/>
              </a:path>
            </a:pathLst>
          </a:custGeom>
        </p:spPr>
      </p:pic>
      <p:pic>
        <p:nvPicPr>
          <p:cNvPr id="23" name="Picture 5">
            <a:extLst>
              <a:ext uri="{FF2B5EF4-FFF2-40B4-BE49-F238E27FC236}">
                <a16:creationId xmlns:a16="http://schemas.microsoft.com/office/drawing/2014/main" id="{694D06E8-7A1F-435B-B4A7-0D5524B50A93}"/>
              </a:ext>
            </a:extLst>
          </p:cNvPr>
          <p:cNvPicPr>
            <a:picLocks noChangeAspect="1"/>
          </p:cNvPicPr>
          <p:nvPr>
            <p:custDataLst>
              <p:tags r:id="rId2"/>
            </p:custDataLst>
          </p:nvPr>
        </p:nvPicPr>
        <p:blipFill rotWithShape="1">
          <a:blip r:embed="rId8" cstate="screen">
            <a:extLst>
              <a:ext uri="{28A0092B-C50C-407E-A947-70E740481C1C}">
                <a14:useLocalDpi xmlns:a14="http://schemas.microsoft.com/office/drawing/2010/main"/>
              </a:ext>
            </a:extLst>
          </a:blip>
          <a:srcRect l="31567" t="17735" r="31567" b="17735"/>
          <a:stretch/>
        </p:blipFill>
        <p:spPr bwMode="gray">
          <a:xfrm>
            <a:off x="2352000" y="477000"/>
            <a:ext cx="2864309" cy="5436000"/>
          </a:xfrm>
          <a:prstGeom prst="rect">
            <a:avLst/>
          </a:prstGeom>
        </p:spPr>
      </p:pic>
      <p:sp>
        <p:nvSpPr>
          <p:cNvPr id="24" name="Content Placeholder 10">
            <a:extLst>
              <a:ext uri="{FF2B5EF4-FFF2-40B4-BE49-F238E27FC236}">
                <a16:creationId xmlns:a16="http://schemas.microsoft.com/office/drawing/2014/main" id="{9AD46A2B-ADF1-41B4-8257-9670754F06FA}"/>
              </a:ext>
            </a:extLst>
          </p:cNvPr>
          <p:cNvSpPr txBox="1">
            <a:spLocks/>
          </p:cNvSpPr>
          <p:nvPr/>
        </p:nvSpPr>
        <p:spPr bwMode="gray">
          <a:xfrm>
            <a:off x="6096000" y="4365076"/>
            <a:ext cx="5472113" cy="1367388"/>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 dolor sit amet</a:t>
            </a:r>
          </a:p>
          <a:p>
            <a:pPr lvl="1"/>
            <a:r>
              <a:rPr lang="de-DE" dirty="0">
                <a:solidFill>
                  <a:schemeClr val="bg1"/>
                </a:solidFill>
              </a:rPr>
              <a:t>Proin libero tempus ullamcorpe enim. Sed sodales</a:t>
            </a:r>
            <a:br>
              <a:rPr lang="de-DE" dirty="0">
                <a:solidFill>
                  <a:schemeClr val="bg1"/>
                </a:solidFill>
              </a:rPr>
            </a:br>
            <a:r>
              <a:rPr lang="de-DE" dirty="0">
                <a:solidFill>
                  <a:schemeClr val="bg1"/>
                </a:solidFill>
              </a:rPr>
              <a:t>purus eget tortor. Sed vitae arcu in dolor condimentum ullamcorpe posuere, magna sed pulvinar ultricies.</a:t>
            </a:r>
          </a:p>
        </p:txBody>
      </p:sp>
      <p:sp>
        <p:nvSpPr>
          <p:cNvPr id="10" name="Titel 1">
            <a:extLst>
              <a:ext uri="{FF2B5EF4-FFF2-40B4-BE49-F238E27FC236}">
                <a16:creationId xmlns:a16="http://schemas.microsoft.com/office/drawing/2014/main" id="{44D7AC41-F20A-4A77-82D8-FFF904BC8C6A}"/>
              </a:ext>
            </a:extLst>
          </p:cNvPr>
          <p:cNvSpPr txBox="1">
            <a:spLocks/>
          </p:cNvSpPr>
          <p:nvPr/>
        </p:nvSpPr>
        <p:spPr bwMode="gray">
          <a:xfrm>
            <a:off x="0" y="1989138"/>
            <a:ext cx="3033702" cy="514738"/>
          </a:xfrm>
          <a:prstGeom prst="rect">
            <a:avLst/>
          </a:prstGeom>
          <a:solidFill>
            <a:schemeClr val="tx2"/>
          </a:solidFill>
        </p:spPr>
        <p:txBody>
          <a:bodyPr wrap="none" lIns="468000" tIns="72000" rIns="144000" bIns="72000" anchor="t" anchorCtr="0">
            <a:spAutoFit/>
          </a:bodyPr>
          <a:lstStyle>
            <a:lvl1pPr algn="l" defTabSz="914400" rtl="0" eaLnBrk="1" latinLnBrk="0" hangingPunct="1">
              <a:lnSpc>
                <a:spcPct val="100000"/>
              </a:lnSpc>
              <a:spcBef>
                <a:spcPct val="0"/>
              </a:spcBef>
              <a:buNone/>
              <a:defRPr sz="2400" b="1" kern="1200" cap="all" baseline="0">
                <a:solidFill>
                  <a:schemeClr val="bg1"/>
                </a:solidFill>
                <a:latin typeface="+mj-lt"/>
                <a:ea typeface="+mj-ea"/>
                <a:cs typeface="+mj-cs"/>
              </a:defRPr>
            </a:lvl1pPr>
          </a:lstStyle>
          <a:p>
            <a:r>
              <a:rPr lang="de-DE" dirty="0"/>
              <a:t>Smartphone</a:t>
            </a:r>
          </a:p>
        </p:txBody>
      </p:sp>
      <p:sp>
        <p:nvSpPr>
          <p:cNvPr id="11" name="Titel 1">
            <a:extLst>
              <a:ext uri="{FF2B5EF4-FFF2-40B4-BE49-F238E27FC236}">
                <a16:creationId xmlns:a16="http://schemas.microsoft.com/office/drawing/2014/main" id="{963E5149-D3D5-4474-AC64-F33D01EE1BB5}"/>
              </a:ext>
            </a:extLst>
          </p:cNvPr>
          <p:cNvSpPr txBox="1">
            <a:spLocks/>
          </p:cNvSpPr>
          <p:nvPr/>
        </p:nvSpPr>
        <p:spPr bwMode="gray">
          <a:xfrm>
            <a:off x="0" y="2565000"/>
            <a:ext cx="2870196" cy="514738"/>
          </a:xfrm>
          <a:prstGeom prst="rect">
            <a:avLst/>
          </a:prstGeom>
          <a:solidFill>
            <a:schemeClr val="tx2"/>
          </a:solidFill>
        </p:spPr>
        <p:txBody>
          <a:bodyPr wrap="none" lIns="468000" tIns="72000" rIns="144000" bIns="72000" anchor="t" anchorCtr="0">
            <a:spAutoFit/>
          </a:bodyPr>
          <a:lstStyle>
            <a:lvl1pPr algn="l" defTabSz="914400" rtl="0" eaLnBrk="1" latinLnBrk="0" hangingPunct="1">
              <a:lnSpc>
                <a:spcPct val="100000"/>
              </a:lnSpc>
              <a:spcBef>
                <a:spcPct val="0"/>
              </a:spcBef>
              <a:buNone/>
              <a:defRPr sz="2400" b="1" kern="1200" cap="all" baseline="0">
                <a:solidFill>
                  <a:schemeClr val="bg1"/>
                </a:solidFill>
                <a:latin typeface="+mj-lt"/>
                <a:ea typeface="+mj-ea"/>
                <a:cs typeface="+mj-cs"/>
              </a:defRPr>
            </a:lvl1pPr>
          </a:lstStyle>
          <a:p>
            <a:r>
              <a:rPr lang="de-DE" dirty="0"/>
              <a:t>Bildschirm</a:t>
            </a:r>
          </a:p>
        </p:txBody>
      </p:sp>
      <p:pic>
        <p:nvPicPr>
          <p:cNvPr id="13" name="Grafik 12">
            <a:extLst>
              <a:ext uri="{FF2B5EF4-FFF2-40B4-BE49-F238E27FC236}">
                <a16:creationId xmlns:a16="http://schemas.microsoft.com/office/drawing/2014/main" id="{15332CC2-316C-401F-A9F9-62F93D0BD182}"/>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bwMode="gray">
          <a:xfrm>
            <a:off x="6096000" y="3069000"/>
            <a:ext cx="1008000" cy="1008000"/>
          </a:xfrm>
          <a:prstGeom prst="rect">
            <a:avLst/>
          </a:prstGeom>
          <a:noFill/>
        </p:spPr>
      </p:pic>
      <p:sp>
        <p:nvSpPr>
          <p:cNvPr id="2" name="Datumsplatzhalter 1">
            <a:extLst>
              <a:ext uri="{FF2B5EF4-FFF2-40B4-BE49-F238E27FC236}">
                <a16:creationId xmlns:a16="http://schemas.microsoft.com/office/drawing/2014/main" id="{43AF1D6A-3B4F-4F41-B3EB-9B43229F6CE6}"/>
              </a:ext>
            </a:extLst>
          </p:cNvPr>
          <p:cNvSpPr>
            <a:spLocks noGrp="1"/>
          </p:cNvSpPr>
          <p:nvPr>
            <p:ph type="dt" sz="half" idx="10"/>
          </p:nvPr>
        </p:nvSpPr>
        <p:spPr bwMode="gray"/>
        <p:txBody>
          <a:bodyPr/>
          <a:lstStyle/>
          <a:p>
            <a:fld id="{730D85C5-59C0-4A99-924E-28449EB41DEB}" type="datetime1">
              <a:rPr lang="de-DE" smtClean="0">
                <a:solidFill>
                  <a:schemeClr val="bg1"/>
                </a:solidFill>
              </a:rPr>
              <a:t>29.09.25</a:t>
            </a:fld>
            <a:endParaRPr lang="de-DE" dirty="0">
              <a:solidFill>
                <a:schemeClr val="bg1"/>
              </a:solidFill>
            </a:endParaRPr>
          </a:p>
        </p:txBody>
      </p:sp>
      <p:sp>
        <p:nvSpPr>
          <p:cNvPr id="3" name="Fußzeilenplatzhalter 2">
            <a:extLst>
              <a:ext uri="{FF2B5EF4-FFF2-40B4-BE49-F238E27FC236}">
                <a16:creationId xmlns:a16="http://schemas.microsoft.com/office/drawing/2014/main" id="{F5A9C383-2A4B-4B6B-900E-97E337258549}"/>
              </a:ext>
            </a:extLst>
          </p:cNvPr>
          <p:cNvSpPr>
            <a:spLocks noGrp="1"/>
          </p:cNvSpPr>
          <p:nvPr>
            <p:ph type="ftr" sz="quarter" idx="11"/>
          </p:nvPr>
        </p:nvSpPr>
        <p:spPr bwMode="gray"/>
        <p:txBody>
          <a:bodyPr/>
          <a:lstStyle/>
          <a:p>
            <a:r>
              <a:rPr lang="de-DE" dirty="0"/>
              <a:t>TITEL DER PRÄSENTATION | TITEL VORNAME NAME</a:t>
            </a:r>
          </a:p>
        </p:txBody>
      </p:sp>
      <p:sp>
        <p:nvSpPr>
          <p:cNvPr id="4" name="Foliennummernplatzhalter 3">
            <a:extLst>
              <a:ext uri="{FF2B5EF4-FFF2-40B4-BE49-F238E27FC236}">
                <a16:creationId xmlns:a16="http://schemas.microsoft.com/office/drawing/2014/main" id="{392377E0-CB88-4DA8-A42A-49771069A4E5}"/>
              </a:ext>
            </a:extLst>
          </p:cNvPr>
          <p:cNvSpPr>
            <a:spLocks noGrp="1"/>
          </p:cNvSpPr>
          <p:nvPr>
            <p:ph type="sldNum" sz="quarter" idx="12"/>
          </p:nvPr>
        </p:nvSpPr>
        <p:spPr bwMode="gray"/>
        <p:txBody>
          <a:bodyPr/>
          <a:lstStyle/>
          <a:p>
            <a:fld id="{09E9C37E-8A19-4E30-BE2B-5A966AD23C7A}" type="slidenum">
              <a:rPr lang="de-DE" smtClean="0">
                <a:solidFill>
                  <a:schemeClr val="bg1"/>
                </a:solidFill>
              </a:rPr>
              <a:pPr/>
              <a:t>66</a:t>
            </a:fld>
            <a:endParaRPr lang="de-DE" dirty="0">
              <a:solidFill>
                <a:schemeClr val="bg1"/>
              </a:solidFill>
            </a:endParaRPr>
          </a:p>
        </p:txBody>
      </p:sp>
    </p:spTree>
    <p:extLst>
      <p:ext uri="{BB962C8B-B14F-4D97-AF65-F5344CB8AC3E}">
        <p14:creationId xmlns:p14="http://schemas.microsoft.com/office/powerpoint/2010/main" val="499118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5AA18CF-1F62-41A5-A556-E39F0A950055}"/>
              </a:ext>
            </a:extLst>
          </p:cNvPr>
          <p:cNvGraphicFramePr>
            <a:graphicFrameLocks noChangeAspect="1"/>
          </p:cNvGraphicFramePr>
          <p:nvPr>
            <p:custDataLst>
              <p:tags r:id="rId1"/>
            </p:custDataLst>
            <p:extLst>
              <p:ext uri="{D42A27DB-BD31-4B8C-83A1-F6EECF244321}">
                <p14:modId xmlns:p14="http://schemas.microsoft.com/office/powerpoint/2010/main" val="4100176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7" name="Objekt 6" hidden="1">
                        <a:extLst>
                          <a:ext uri="{FF2B5EF4-FFF2-40B4-BE49-F238E27FC236}">
                            <a16:creationId xmlns:a16="http://schemas.microsoft.com/office/drawing/2014/main" id="{15AA18CF-1F62-41A5-A556-E39F0A9500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0E6F8413-9193-41C8-9C76-918137DBE12D}"/>
              </a:ext>
            </a:extLst>
          </p:cNvPr>
          <p:cNvSpPr/>
          <p:nvPr>
            <p:custDataLst>
              <p:tags r:id="rId2"/>
            </p:custDataLst>
          </p:nvPr>
        </p:nvSpPr>
        <p:spPr bwMode="gray">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e-DE" sz="3000" dirty="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sym typeface="Open Sans Extrabold" panose="020B0906030804020204" pitchFamily="34" charset="0"/>
            </a:endParaRPr>
          </a:p>
        </p:txBody>
      </p:sp>
      <p:sp>
        <p:nvSpPr>
          <p:cNvPr id="2" name="Titel 1"/>
          <p:cNvSpPr>
            <a:spLocks noGrp="1"/>
          </p:cNvSpPr>
          <p:nvPr>
            <p:ph type="title"/>
          </p:nvPr>
        </p:nvSpPr>
        <p:spPr bwMode="gray"/>
        <p:txBody>
          <a:bodyPr vert="horz"/>
          <a:lstStyle/>
          <a:p>
            <a:r>
              <a:rPr lang="de-DE" dirty="0"/>
              <a:t>Vier Phasen mit Fotos</a:t>
            </a:r>
          </a:p>
        </p:txBody>
      </p:sp>
      <p:sp>
        <p:nvSpPr>
          <p:cNvPr id="3" name="Datumsplatzhalter 2">
            <a:extLst>
              <a:ext uri="{FF2B5EF4-FFF2-40B4-BE49-F238E27FC236}">
                <a16:creationId xmlns:a16="http://schemas.microsoft.com/office/drawing/2014/main" id="{EE3890F9-B233-45C5-9907-C9C12E371FA3}"/>
              </a:ext>
            </a:extLst>
          </p:cNvPr>
          <p:cNvSpPr>
            <a:spLocks noGrp="1"/>
          </p:cNvSpPr>
          <p:nvPr>
            <p:ph type="dt" sz="half" idx="10"/>
          </p:nvPr>
        </p:nvSpPr>
        <p:spPr bwMode="gray"/>
        <p:txBody>
          <a:bodyPr/>
          <a:lstStyle/>
          <a:p>
            <a:fld id="{76C6E483-AA3B-44E4-8AF8-40569C05482F}" type="datetime1">
              <a:rPr lang="de-DE" smtClean="0"/>
              <a:t>29.09.25</a:t>
            </a:fld>
            <a:endParaRPr lang="de-DE" dirty="0"/>
          </a:p>
        </p:txBody>
      </p:sp>
      <p:sp>
        <p:nvSpPr>
          <p:cNvPr id="4" name="Fußzeilenplatzhalter 3">
            <a:extLst>
              <a:ext uri="{FF2B5EF4-FFF2-40B4-BE49-F238E27FC236}">
                <a16:creationId xmlns:a16="http://schemas.microsoft.com/office/drawing/2014/main" id="{A184CCE5-9AE8-40B2-8042-2A5A72BE63BB}"/>
              </a:ext>
            </a:extLst>
          </p:cNvPr>
          <p:cNvSpPr>
            <a:spLocks noGrp="1"/>
          </p:cNvSpPr>
          <p:nvPr>
            <p:ph type="ftr" sz="quarter" idx="11"/>
          </p:nvPr>
        </p:nvSpPr>
        <p:spPr bwMode="gray"/>
        <p:txBody>
          <a:bodyPr/>
          <a:lstStyle/>
          <a:p>
            <a:r>
              <a:rPr lang="de-DE" dirty="0"/>
              <a:t>TITEL DER PRÄSENTATION | TITEL VORNAME NAME</a:t>
            </a:r>
          </a:p>
        </p:txBody>
      </p:sp>
      <p:sp>
        <p:nvSpPr>
          <p:cNvPr id="5" name="Foliennummernplatzhalter 4">
            <a:extLst>
              <a:ext uri="{FF2B5EF4-FFF2-40B4-BE49-F238E27FC236}">
                <a16:creationId xmlns:a16="http://schemas.microsoft.com/office/drawing/2014/main" id="{4A553E05-81B5-4CF3-AD50-85C79BE21988}"/>
              </a:ext>
            </a:extLst>
          </p:cNvPr>
          <p:cNvSpPr>
            <a:spLocks noGrp="1"/>
          </p:cNvSpPr>
          <p:nvPr>
            <p:ph type="sldNum" sz="quarter" idx="12"/>
          </p:nvPr>
        </p:nvSpPr>
        <p:spPr bwMode="gray"/>
        <p:txBody>
          <a:bodyPr/>
          <a:lstStyle/>
          <a:p>
            <a:fld id="{09E9C37E-8A19-4E30-BE2B-5A966AD23C7A}" type="slidenum">
              <a:rPr lang="de-DE" smtClean="0"/>
              <a:pPr/>
              <a:t>67</a:t>
            </a:fld>
            <a:endParaRPr lang="de-DE" dirty="0"/>
          </a:p>
        </p:txBody>
      </p:sp>
      <p:sp>
        <p:nvSpPr>
          <p:cNvPr id="34" name="Content Placeholder 10">
            <a:extLst>
              <a:ext uri="{FF2B5EF4-FFF2-40B4-BE49-F238E27FC236}">
                <a16:creationId xmlns:a16="http://schemas.microsoft.com/office/drawing/2014/main" id="{8B4138D0-CE19-4F82-80AF-DCCD11A7C4AC}"/>
              </a:ext>
            </a:extLst>
          </p:cNvPr>
          <p:cNvSpPr txBox="1">
            <a:spLocks/>
          </p:cNvSpPr>
          <p:nvPr/>
        </p:nvSpPr>
        <p:spPr bwMode="gray">
          <a:xfrm>
            <a:off x="336001" y="1989075"/>
            <a:ext cx="2591350"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Phase 1</a:t>
            </a:r>
          </a:p>
          <a:p>
            <a:pPr lvl="1"/>
            <a:r>
              <a:rPr lang="de-DE" dirty="0"/>
              <a:t>Proin libero tempus </a:t>
            </a:r>
            <a:br>
              <a:rPr lang="de-DE" dirty="0"/>
            </a:br>
            <a:r>
              <a:rPr lang="de-DE" dirty="0"/>
              <a:t>porta enim</a:t>
            </a:r>
          </a:p>
        </p:txBody>
      </p:sp>
      <p:sp>
        <p:nvSpPr>
          <p:cNvPr id="35" name="Content Placeholder 10">
            <a:extLst>
              <a:ext uri="{FF2B5EF4-FFF2-40B4-BE49-F238E27FC236}">
                <a16:creationId xmlns:a16="http://schemas.microsoft.com/office/drawing/2014/main" id="{3E4CD4A7-3378-41D6-A88C-F48B5D86163B}"/>
              </a:ext>
            </a:extLst>
          </p:cNvPr>
          <p:cNvSpPr txBox="1">
            <a:spLocks/>
          </p:cNvSpPr>
          <p:nvPr/>
        </p:nvSpPr>
        <p:spPr bwMode="gray">
          <a:xfrm>
            <a:off x="3216000" y="1989075"/>
            <a:ext cx="2591350"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Phase 2</a:t>
            </a:r>
          </a:p>
          <a:p>
            <a:pPr lvl="1"/>
            <a:r>
              <a:rPr lang="de-DE" dirty="0"/>
              <a:t>Proin libero tempus </a:t>
            </a:r>
            <a:br>
              <a:rPr lang="de-DE" dirty="0"/>
            </a:br>
            <a:r>
              <a:rPr lang="de-DE" dirty="0"/>
              <a:t>porta enim</a:t>
            </a:r>
          </a:p>
        </p:txBody>
      </p:sp>
      <p:sp>
        <p:nvSpPr>
          <p:cNvPr id="38" name="Content Placeholder 10">
            <a:extLst>
              <a:ext uri="{FF2B5EF4-FFF2-40B4-BE49-F238E27FC236}">
                <a16:creationId xmlns:a16="http://schemas.microsoft.com/office/drawing/2014/main" id="{514A6558-891C-4082-9967-C212CB99067E}"/>
              </a:ext>
            </a:extLst>
          </p:cNvPr>
          <p:cNvSpPr txBox="1">
            <a:spLocks/>
          </p:cNvSpPr>
          <p:nvPr/>
        </p:nvSpPr>
        <p:spPr bwMode="gray">
          <a:xfrm>
            <a:off x="6096000" y="1989075"/>
            <a:ext cx="2591350"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Phase 3</a:t>
            </a:r>
          </a:p>
          <a:p>
            <a:pPr lvl="1"/>
            <a:r>
              <a:rPr lang="de-DE" dirty="0"/>
              <a:t>Proin libero tempus </a:t>
            </a:r>
            <a:br>
              <a:rPr lang="de-DE" dirty="0"/>
            </a:br>
            <a:r>
              <a:rPr lang="de-DE" dirty="0"/>
              <a:t>porta enim</a:t>
            </a:r>
          </a:p>
        </p:txBody>
      </p:sp>
      <p:sp>
        <p:nvSpPr>
          <p:cNvPr id="39" name="Content Placeholder 10">
            <a:extLst>
              <a:ext uri="{FF2B5EF4-FFF2-40B4-BE49-F238E27FC236}">
                <a16:creationId xmlns:a16="http://schemas.microsoft.com/office/drawing/2014/main" id="{4DF10F14-60CA-4F9C-BD1B-3DB6D3F37534}"/>
              </a:ext>
            </a:extLst>
          </p:cNvPr>
          <p:cNvSpPr txBox="1">
            <a:spLocks/>
          </p:cNvSpPr>
          <p:nvPr/>
        </p:nvSpPr>
        <p:spPr bwMode="gray">
          <a:xfrm>
            <a:off x="8976000" y="1989075"/>
            <a:ext cx="2591350"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Phase 4</a:t>
            </a:r>
          </a:p>
          <a:p>
            <a:pPr lvl="1"/>
            <a:r>
              <a:rPr lang="de-DE" dirty="0"/>
              <a:t>Proin libero tempus </a:t>
            </a:r>
            <a:br>
              <a:rPr lang="de-DE" dirty="0"/>
            </a:br>
            <a:r>
              <a:rPr lang="de-DE" dirty="0"/>
              <a:t>porta enim</a:t>
            </a:r>
          </a:p>
        </p:txBody>
      </p:sp>
      <p:pic>
        <p:nvPicPr>
          <p:cNvPr id="41" name="Bildplatzhalter 9">
            <a:extLst>
              <a:ext uri="{FF2B5EF4-FFF2-40B4-BE49-F238E27FC236}">
                <a16:creationId xmlns:a16="http://schemas.microsoft.com/office/drawing/2014/main" id="{0BD24FEB-A19D-4041-BE4C-B599983F1F82}"/>
              </a:ext>
            </a:extLst>
          </p:cNvPr>
          <p:cNvPicPr>
            <a:picLocks noChangeAspect="1"/>
          </p:cNvPicPr>
          <p:nvPr/>
        </p:nvPicPr>
        <p:blipFill>
          <a:blip r:embed="rId7" cstate="screen">
            <a:extLst>
              <a:ext uri="{28A0092B-C50C-407E-A947-70E740481C1C}">
                <a14:useLocalDpi xmlns:a14="http://schemas.microsoft.com/office/drawing/2010/main"/>
              </a:ext>
            </a:extLst>
          </a:blip>
          <a:srcRect t="16692" b="16692"/>
          <a:stretch/>
        </p:blipFill>
        <p:spPr bwMode="gray">
          <a:xfrm>
            <a:off x="336550" y="3213000"/>
            <a:ext cx="2590800" cy="1152000"/>
          </a:xfrm>
          <a:prstGeom prst="rect">
            <a:avLst/>
          </a:prstGeom>
        </p:spPr>
      </p:pic>
      <p:pic>
        <p:nvPicPr>
          <p:cNvPr id="42" name="Grafik 41">
            <a:extLst>
              <a:ext uri="{FF2B5EF4-FFF2-40B4-BE49-F238E27FC236}">
                <a16:creationId xmlns:a16="http://schemas.microsoft.com/office/drawing/2014/main" id="{CC62D8A4-F595-43EE-B339-F6803EED8B96}"/>
              </a:ext>
            </a:extLst>
          </p:cNvPr>
          <p:cNvPicPr>
            <a:picLocks noChangeAspect="1"/>
          </p:cNvPicPr>
          <p:nvPr/>
        </p:nvPicPr>
        <p:blipFill>
          <a:blip r:embed="rId8" cstate="screen">
            <a:extLst>
              <a:ext uri="{28A0092B-C50C-407E-A947-70E740481C1C}">
                <a14:useLocalDpi xmlns:a14="http://schemas.microsoft.com/office/drawing/2010/main"/>
              </a:ext>
            </a:extLst>
          </a:blip>
          <a:srcRect t="16660" b="16660"/>
          <a:stretch/>
        </p:blipFill>
        <p:spPr bwMode="gray">
          <a:xfrm>
            <a:off x="3218449" y="3213001"/>
            <a:ext cx="2590213" cy="1152000"/>
          </a:xfrm>
          <a:prstGeom prst="rect">
            <a:avLst/>
          </a:prstGeom>
        </p:spPr>
      </p:pic>
      <p:pic>
        <p:nvPicPr>
          <p:cNvPr id="43" name="Bildplatzhalter 14">
            <a:extLst>
              <a:ext uri="{FF2B5EF4-FFF2-40B4-BE49-F238E27FC236}">
                <a16:creationId xmlns:a16="http://schemas.microsoft.com/office/drawing/2014/main" id="{DF467967-38E6-422D-8B20-854ED45F08EF}"/>
              </a:ext>
            </a:extLst>
          </p:cNvPr>
          <p:cNvPicPr>
            <a:picLocks noChangeAspect="1"/>
          </p:cNvPicPr>
          <p:nvPr/>
        </p:nvPicPr>
        <p:blipFill>
          <a:blip r:embed="rId9" cstate="screen">
            <a:extLst>
              <a:ext uri="{28A0092B-C50C-407E-A947-70E740481C1C}">
                <a14:useLocalDpi xmlns:a14="http://schemas.microsoft.com/office/drawing/2010/main"/>
              </a:ext>
            </a:extLst>
          </a:blip>
          <a:srcRect t="16651" b="16651"/>
          <a:stretch/>
        </p:blipFill>
        <p:spPr bwMode="gray">
          <a:xfrm>
            <a:off x="6096000" y="3213000"/>
            <a:ext cx="2592388" cy="1152000"/>
          </a:xfrm>
          <a:prstGeom prst="rect">
            <a:avLst/>
          </a:prstGeom>
        </p:spPr>
      </p:pic>
      <p:sp>
        <p:nvSpPr>
          <p:cNvPr id="47" name="Content Placeholder 10">
            <a:extLst>
              <a:ext uri="{FF2B5EF4-FFF2-40B4-BE49-F238E27FC236}">
                <a16:creationId xmlns:a16="http://schemas.microsoft.com/office/drawing/2014/main" id="{BCB16ECD-5A0C-4A19-AF2A-887A75B445CE}"/>
              </a:ext>
            </a:extLst>
          </p:cNvPr>
          <p:cNvSpPr txBox="1">
            <a:spLocks/>
          </p:cNvSpPr>
          <p:nvPr/>
        </p:nvSpPr>
        <p:spPr bwMode="gray">
          <a:xfrm>
            <a:off x="336001" y="4364999"/>
            <a:ext cx="2591350" cy="1368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t>Proin libero dolor, tempus ullamcorpe vel, vitae arcu in dolor blandit. Maecenas semper.</a:t>
            </a:r>
          </a:p>
        </p:txBody>
      </p:sp>
      <p:sp>
        <p:nvSpPr>
          <p:cNvPr id="48" name="Content Placeholder 10">
            <a:extLst>
              <a:ext uri="{FF2B5EF4-FFF2-40B4-BE49-F238E27FC236}">
                <a16:creationId xmlns:a16="http://schemas.microsoft.com/office/drawing/2014/main" id="{7E5B912E-5CE2-42A3-91C3-34ACA6643B34}"/>
              </a:ext>
            </a:extLst>
          </p:cNvPr>
          <p:cNvSpPr txBox="1">
            <a:spLocks/>
          </p:cNvSpPr>
          <p:nvPr/>
        </p:nvSpPr>
        <p:spPr bwMode="gray">
          <a:xfrm>
            <a:off x="3216000" y="4364999"/>
            <a:ext cx="2591350" cy="1368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t>Proin libero dolor, tempus ullamcorpe vel, vitae arcu in dolor blandit. Maecenas semper.</a:t>
            </a:r>
          </a:p>
        </p:txBody>
      </p:sp>
      <p:sp>
        <p:nvSpPr>
          <p:cNvPr id="49" name="Content Placeholder 10">
            <a:extLst>
              <a:ext uri="{FF2B5EF4-FFF2-40B4-BE49-F238E27FC236}">
                <a16:creationId xmlns:a16="http://schemas.microsoft.com/office/drawing/2014/main" id="{54D1A454-B61D-4084-A1F9-A1BF1088EF1C}"/>
              </a:ext>
            </a:extLst>
          </p:cNvPr>
          <p:cNvSpPr txBox="1">
            <a:spLocks/>
          </p:cNvSpPr>
          <p:nvPr/>
        </p:nvSpPr>
        <p:spPr bwMode="gray">
          <a:xfrm>
            <a:off x="6096000" y="4364999"/>
            <a:ext cx="2591350" cy="1368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t>Proin libero dolor, tempus ullamcorpe vel, vitae arcu in dolor blandit. Maecenas semper.</a:t>
            </a:r>
          </a:p>
        </p:txBody>
      </p:sp>
      <p:sp>
        <p:nvSpPr>
          <p:cNvPr id="50" name="Content Placeholder 10">
            <a:extLst>
              <a:ext uri="{FF2B5EF4-FFF2-40B4-BE49-F238E27FC236}">
                <a16:creationId xmlns:a16="http://schemas.microsoft.com/office/drawing/2014/main" id="{D718D73F-1268-4F11-A926-AB402FE2D63B}"/>
              </a:ext>
            </a:extLst>
          </p:cNvPr>
          <p:cNvSpPr txBox="1">
            <a:spLocks/>
          </p:cNvSpPr>
          <p:nvPr/>
        </p:nvSpPr>
        <p:spPr bwMode="gray">
          <a:xfrm>
            <a:off x="8976000" y="4364999"/>
            <a:ext cx="2591350" cy="1368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t>Proin libero dolor, tempus ullamcorpe vel, vitae arcu in dolor blandit. Maecenas semper.</a:t>
            </a:r>
          </a:p>
        </p:txBody>
      </p:sp>
      <p:pic>
        <p:nvPicPr>
          <p:cNvPr id="52" name="Bildplatzhalter 14">
            <a:extLst>
              <a:ext uri="{FF2B5EF4-FFF2-40B4-BE49-F238E27FC236}">
                <a16:creationId xmlns:a16="http://schemas.microsoft.com/office/drawing/2014/main" id="{AA7F7AF1-5773-4902-97F9-66519C1FCBE3}"/>
              </a:ext>
            </a:extLst>
          </p:cNvPr>
          <p:cNvPicPr>
            <a:picLocks noChangeAspect="1"/>
          </p:cNvPicPr>
          <p:nvPr/>
        </p:nvPicPr>
        <p:blipFill>
          <a:blip r:embed="rId10" cstate="screen">
            <a:extLst>
              <a:ext uri="{28A0092B-C50C-407E-A947-70E740481C1C}">
                <a14:useLocalDpi xmlns:a14="http://schemas.microsoft.com/office/drawing/2010/main"/>
              </a:ext>
            </a:extLst>
          </a:blip>
          <a:srcRect t="16713" b="16713"/>
          <a:stretch/>
        </p:blipFill>
        <p:spPr bwMode="gray">
          <a:xfrm>
            <a:off x="8976000" y="3213001"/>
            <a:ext cx="2592389" cy="1152000"/>
          </a:xfrm>
          <a:prstGeom prst="rect">
            <a:avLst/>
          </a:prstGeom>
        </p:spPr>
      </p:pic>
      <p:sp>
        <p:nvSpPr>
          <p:cNvPr id="55" name="Freihandform: Form 54">
            <a:extLst>
              <a:ext uri="{FF2B5EF4-FFF2-40B4-BE49-F238E27FC236}">
                <a16:creationId xmlns:a16="http://schemas.microsoft.com/office/drawing/2014/main" id="{5A526F73-6F8B-4584-BED2-304283B33C86}"/>
              </a:ext>
            </a:extLst>
          </p:cNvPr>
          <p:cNvSpPr>
            <a:spLocks noChangeAspect="1"/>
          </p:cNvSpPr>
          <p:nvPr/>
        </p:nvSpPr>
        <p:spPr bwMode="gray">
          <a:xfrm>
            <a:off x="5879675" y="2133000"/>
            <a:ext cx="144000" cy="216000"/>
          </a:xfrm>
          <a:custGeom>
            <a:avLst/>
            <a:gdLst>
              <a:gd name="connsiteX0" fmla="*/ 72000 w 288000"/>
              <a:gd name="connsiteY0" fmla="*/ 0 h 432000"/>
              <a:gd name="connsiteX1" fmla="*/ 288000 w 288000"/>
              <a:gd name="connsiteY1" fmla="*/ 216000 h 432000"/>
              <a:gd name="connsiteX2" fmla="*/ 72000 w 288000"/>
              <a:gd name="connsiteY2" fmla="*/ 432000 h 432000"/>
              <a:gd name="connsiteX3" fmla="*/ 0 w 288000"/>
              <a:gd name="connsiteY3" fmla="*/ 360000 h 432000"/>
              <a:gd name="connsiteX4" fmla="*/ 144000 w 288000"/>
              <a:gd name="connsiteY4" fmla="*/ 216000 h 432000"/>
              <a:gd name="connsiteX5" fmla="*/ 0 w 288000"/>
              <a:gd name="connsiteY5" fmla="*/ 72000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000" h="432000">
                <a:moveTo>
                  <a:pt x="72000" y="0"/>
                </a:moveTo>
                <a:lnTo>
                  <a:pt x="288000" y="216000"/>
                </a:lnTo>
                <a:lnTo>
                  <a:pt x="72000" y="432000"/>
                </a:lnTo>
                <a:lnTo>
                  <a:pt x="0" y="360000"/>
                </a:lnTo>
                <a:lnTo>
                  <a:pt x="144000" y="216000"/>
                </a:lnTo>
                <a:lnTo>
                  <a:pt x="0" y="72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56" name="Freihandform: Form 55">
            <a:extLst>
              <a:ext uri="{FF2B5EF4-FFF2-40B4-BE49-F238E27FC236}">
                <a16:creationId xmlns:a16="http://schemas.microsoft.com/office/drawing/2014/main" id="{3C646F63-B5DD-4BE2-BA9C-D0451E5CECDF}"/>
              </a:ext>
            </a:extLst>
          </p:cNvPr>
          <p:cNvSpPr>
            <a:spLocks noChangeAspect="1"/>
          </p:cNvSpPr>
          <p:nvPr/>
        </p:nvSpPr>
        <p:spPr bwMode="gray">
          <a:xfrm>
            <a:off x="2999675" y="2133000"/>
            <a:ext cx="144000" cy="216000"/>
          </a:xfrm>
          <a:custGeom>
            <a:avLst/>
            <a:gdLst>
              <a:gd name="connsiteX0" fmla="*/ 72000 w 288000"/>
              <a:gd name="connsiteY0" fmla="*/ 0 h 432000"/>
              <a:gd name="connsiteX1" fmla="*/ 288000 w 288000"/>
              <a:gd name="connsiteY1" fmla="*/ 216000 h 432000"/>
              <a:gd name="connsiteX2" fmla="*/ 72000 w 288000"/>
              <a:gd name="connsiteY2" fmla="*/ 432000 h 432000"/>
              <a:gd name="connsiteX3" fmla="*/ 0 w 288000"/>
              <a:gd name="connsiteY3" fmla="*/ 360000 h 432000"/>
              <a:gd name="connsiteX4" fmla="*/ 144000 w 288000"/>
              <a:gd name="connsiteY4" fmla="*/ 216000 h 432000"/>
              <a:gd name="connsiteX5" fmla="*/ 0 w 288000"/>
              <a:gd name="connsiteY5" fmla="*/ 72000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000" h="432000">
                <a:moveTo>
                  <a:pt x="72000" y="0"/>
                </a:moveTo>
                <a:lnTo>
                  <a:pt x="288000" y="216000"/>
                </a:lnTo>
                <a:lnTo>
                  <a:pt x="72000" y="432000"/>
                </a:lnTo>
                <a:lnTo>
                  <a:pt x="0" y="360000"/>
                </a:lnTo>
                <a:lnTo>
                  <a:pt x="144000" y="216000"/>
                </a:lnTo>
                <a:lnTo>
                  <a:pt x="0" y="72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57" name="Freihandform: Form 56">
            <a:extLst>
              <a:ext uri="{FF2B5EF4-FFF2-40B4-BE49-F238E27FC236}">
                <a16:creationId xmlns:a16="http://schemas.microsoft.com/office/drawing/2014/main" id="{F066FCDD-C519-45C6-ACAC-D6BEB293DCBE}"/>
              </a:ext>
            </a:extLst>
          </p:cNvPr>
          <p:cNvSpPr>
            <a:spLocks noChangeAspect="1"/>
          </p:cNvSpPr>
          <p:nvPr/>
        </p:nvSpPr>
        <p:spPr bwMode="gray">
          <a:xfrm>
            <a:off x="8759675" y="2133000"/>
            <a:ext cx="144000" cy="216000"/>
          </a:xfrm>
          <a:custGeom>
            <a:avLst/>
            <a:gdLst>
              <a:gd name="connsiteX0" fmla="*/ 72000 w 288000"/>
              <a:gd name="connsiteY0" fmla="*/ 0 h 432000"/>
              <a:gd name="connsiteX1" fmla="*/ 288000 w 288000"/>
              <a:gd name="connsiteY1" fmla="*/ 216000 h 432000"/>
              <a:gd name="connsiteX2" fmla="*/ 72000 w 288000"/>
              <a:gd name="connsiteY2" fmla="*/ 432000 h 432000"/>
              <a:gd name="connsiteX3" fmla="*/ 0 w 288000"/>
              <a:gd name="connsiteY3" fmla="*/ 360000 h 432000"/>
              <a:gd name="connsiteX4" fmla="*/ 144000 w 288000"/>
              <a:gd name="connsiteY4" fmla="*/ 216000 h 432000"/>
              <a:gd name="connsiteX5" fmla="*/ 0 w 288000"/>
              <a:gd name="connsiteY5" fmla="*/ 72000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000" h="432000">
                <a:moveTo>
                  <a:pt x="72000" y="0"/>
                </a:moveTo>
                <a:lnTo>
                  <a:pt x="288000" y="216000"/>
                </a:lnTo>
                <a:lnTo>
                  <a:pt x="72000" y="432000"/>
                </a:lnTo>
                <a:lnTo>
                  <a:pt x="0" y="360000"/>
                </a:lnTo>
                <a:lnTo>
                  <a:pt x="144000" y="216000"/>
                </a:lnTo>
                <a:lnTo>
                  <a:pt x="0" y="72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Tree>
    <p:extLst>
      <p:ext uri="{BB962C8B-B14F-4D97-AF65-F5344CB8AC3E}">
        <p14:creationId xmlns:p14="http://schemas.microsoft.com/office/powerpoint/2010/main" val="4127540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4A8867DA-B510-4F21-88C5-96D69E5C51F7}"/>
              </a:ext>
            </a:extLst>
          </p:cNvPr>
          <p:cNvGraphicFramePr>
            <a:graphicFrameLocks noChangeAspect="1"/>
          </p:cNvGraphicFramePr>
          <p:nvPr>
            <p:custDataLst>
              <p:tags r:id="rId1"/>
            </p:custDataLst>
            <p:extLst>
              <p:ext uri="{D42A27DB-BD31-4B8C-83A1-F6EECF244321}">
                <p14:modId xmlns:p14="http://schemas.microsoft.com/office/powerpoint/2010/main" val="1488056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hteck 16">
            <a:extLst>
              <a:ext uri="{FF2B5EF4-FFF2-40B4-BE49-F238E27FC236}">
                <a16:creationId xmlns:a16="http://schemas.microsoft.com/office/drawing/2014/main" id="{F15B8269-C2B1-4F87-AE63-FCBB29DE810C}"/>
              </a:ext>
            </a:extLst>
          </p:cNvPr>
          <p:cNvSpPr/>
          <p:nvPr/>
        </p:nvSpPr>
        <p:spPr bwMode="gray">
          <a:xfrm>
            <a:off x="0" y="3608800"/>
            <a:ext cx="11568113" cy="50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3" name="Titel 2"/>
          <p:cNvSpPr>
            <a:spLocks noGrp="1"/>
          </p:cNvSpPr>
          <p:nvPr>
            <p:ph type="title"/>
          </p:nvPr>
        </p:nvSpPr>
        <p:spPr bwMode="gray"/>
        <p:txBody>
          <a:bodyPr vert="horz"/>
          <a:lstStyle/>
          <a:p>
            <a:r>
              <a:rPr lang="de-DE" dirty="0"/>
              <a:t>Zeitstrahl</a:t>
            </a:r>
          </a:p>
        </p:txBody>
      </p:sp>
      <p:sp>
        <p:nvSpPr>
          <p:cNvPr id="2" name="Datumsplatzhalter 1">
            <a:extLst>
              <a:ext uri="{FF2B5EF4-FFF2-40B4-BE49-F238E27FC236}">
                <a16:creationId xmlns:a16="http://schemas.microsoft.com/office/drawing/2014/main" id="{17E6988F-E9B9-460E-8DC3-5C6B849BFA1C}"/>
              </a:ext>
            </a:extLst>
          </p:cNvPr>
          <p:cNvSpPr>
            <a:spLocks noGrp="1"/>
          </p:cNvSpPr>
          <p:nvPr>
            <p:ph type="dt" sz="half" idx="10"/>
          </p:nvPr>
        </p:nvSpPr>
        <p:spPr bwMode="gray"/>
        <p:txBody>
          <a:bodyPr/>
          <a:lstStyle/>
          <a:p>
            <a:fld id="{59693DC8-3397-489A-8202-0FE15C152AC4}" type="datetime1">
              <a:rPr lang="de-DE" smtClean="0"/>
              <a:t>29.09.25</a:t>
            </a:fld>
            <a:endParaRPr lang="de-DE" dirty="0"/>
          </a:p>
        </p:txBody>
      </p:sp>
      <p:sp>
        <p:nvSpPr>
          <p:cNvPr id="4" name="Fußzeilenplatzhalter 3">
            <a:extLst>
              <a:ext uri="{FF2B5EF4-FFF2-40B4-BE49-F238E27FC236}">
                <a16:creationId xmlns:a16="http://schemas.microsoft.com/office/drawing/2014/main" id="{0695EB16-5A8A-47EA-967B-D7F5B7FA9F5E}"/>
              </a:ext>
            </a:extLst>
          </p:cNvPr>
          <p:cNvSpPr>
            <a:spLocks noGrp="1"/>
          </p:cNvSpPr>
          <p:nvPr>
            <p:ph type="ftr" sz="quarter" idx="11"/>
          </p:nvPr>
        </p:nvSpPr>
        <p:spPr bwMode="gray"/>
        <p:txBody>
          <a:bodyPr/>
          <a:lstStyle/>
          <a:p>
            <a:r>
              <a:rPr lang="de-DE" dirty="0"/>
              <a:t>TITEL DER PRÄSENTATION | TITEL VORNAME NAME</a:t>
            </a:r>
          </a:p>
        </p:txBody>
      </p:sp>
      <p:sp>
        <p:nvSpPr>
          <p:cNvPr id="5" name="Foliennummernplatzhalter 4">
            <a:extLst>
              <a:ext uri="{FF2B5EF4-FFF2-40B4-BE49-F238E27FC236}">
                <a16:creationId xmlns:a16="http://schemas.microsoft.com/office/drawing/2014/main" id="{24BE2BA8-0AD9-4E79-BDF5-E3C0A99D6D18}"/>
              </a:ext>
            </a:extLst>
          </p:cNvPr>
          <p:cNvSpPr>
            <a:spLocks noGrp="1"/>
          </p:cNvSpPr>
          <p:nvPr>
            <p:ph type="sldNum" sz="quarter" idx="12"/>
          </p:nvPr>
        </p:nvSpPr>
        <p:spPr bwMode="gray"/>
        <p:txBody>
          <a:bodyPr/>
          <a:lstStyle/>
          <a:p>
            <a:fld id="{09E9C37E-8A19-4E30-BE2B-5A966AD23C7A}" type="slidenum">
              <a:rPr lang="de-DE" smtClean="0"/>
              <a:pPr/>
              <a:t>68</a:t>
            </a:fld>
            <a:endParaRPr lang="de-DE" dirty="0"/>
          </a:p>
        </p:txBody>
      </p:sp>
      <p:sp>
        <p:nvSpPr>
          <p:cNvPr id="87" name="Content Placeholder 10">
            <a:extLst>
              <a:ext uri="{FF2B5EF4-FFF2-40B4-BE49-F238E27FC236}">
                <a16:creationId xmlns:a16="http://schemas.microsoft.com/office/drawing/2014/main" id="{941D21F9-CAFD-44CA-98B0-00F4A7AB88FE}"/>
              </a:ext>
            </a:extLst>
          </p:cNvPr>
          <p:cNvSpPr txBox="1">
            <a:spLocks/>
          </p:cNvSpPr>
          <p:nvPr/>
        </p:nvSpPr>
        <p:spPr bwMode="gray">
          <a:xfrm>
            <a:off x="336000" y="1989000"/>
            <a:ext cx="2016000" cy="936000"/>
          </a:xfrm>
          <a:prstGeom prst="rect">
            <a:avLst/>
          </a:prstGeom>
        </p:spPr>
        <p:txBody>
          <a:bodyPr lIns="144000" tIns="144000" rIns="144000" bIns="144000" anchor="b"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t>Quisque mauris turpis, volutpat nec rhoncus eu.</a:t>
            </a:r>
          </a:p>
        </p:txBody>
      </p:sp>
      <p:sp>
        <p:nvSpPr>
          <p:cNvPr id="89" name="Content Placeholder 10">
            <a:extLst>
              <a:ext uri="{FF2B5EF4-FFF2-40B4-BE49-F238E27FC236}">
                <a16:creationId xmlns:a16="http://schemas.microsoft.com/office/drawing/2014/main" id="{5E67D221-866F-43AF-A785-0B2D6CFB1AA9}"/>
              </a:ext>
            </a:extLst>
          </p:cNvPr>
          <p:cNvSpPr txBox="1">
            <a:spLocks/>
          </p:cNvSpPr>
          <p:nvPr/>
        </p:nvSpPr>
        <p:spPr bwMode="gray">
          <a:xfrm>
            <a:off x="2639999" y="1989000"/>
            <a:ext cx="2016000" cy="936000"/>
          </a:xfrm>
          <a:prstGeom prst="rect">
            <a:avLst/>
          </a:prstGeom>
        </p:spPr>
        <p:txBody>
          <a:bodyPr lIns="144000" tIns="144000" rIns="144000" bIns="144000" anchor="b"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p:txBody>
      </p:sp>
      <p:sp>
        <p:nvSpPr>
          <p:cNvPr id="90" name="Content Placeholder 10">
            <a:extLst>
              <a:ext uri="{FF2B5EF4-FFF2-40B4-BE49-F238E27FC236}">
                <a16:creationId xmlns:a16="http://schemas.microsoft.com/office/drawing/2014/main" id="{CE0BE8DD-4DF5-490B-AE63-6FD1CCF27C88}"/>
              </a:ext>
            </a:extLst>
          </p:cNvPr>
          <p:cNvSpPr txBox="1">
            <a:spLocks/>
          </p:cNvSpPr>
          <p:nvPr/>
        </p:nvSpPr>
        <p:spPr bwMode="gray">
          <a:xfrm>
            <a:off x="4944000" y="1989000"/>
            <a:ext cx="2016000" cy="936000"/>
          </a:xfrm>
          <a:prstGeom prst="rect">
            <a:avLst/>
          </a:prstGeom>
        </p:spPr>
        <p:txBody>
          <a:bodyPr lIns="144000" tIns="144000" rIns="144000" bIns="144000" anchor="b"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t>Quisque mauris turpis, volutpat nec rhoncus eu.</a:t>
            </a:r>
          </a:p>
        </p:txBody>
      </p:sp>
      <p:sp>
        <p:nvSpPr>
          <p:cNvPr id="95" name="Content Placeholder 10">
            <a:extLst>
              <a:ext uri="{FF2B5EF4-FFF2-40B4-BE49-F238E27FC236}">
                <a16:creationId xmlns:a16="http://schemas.microsoft.com/office/drawing/2014/main" id="{ADD49525-684B-43C7-BB12-D30D7DC63F15}"/>
              </a:ext>
            </a:extLst>
          </p:cNvPr>
          <p:cNvSpPr txBox="1">
            <a:spLocks/>
          </p:cNvSpPr>
          <p:nvPr/>
        </p:nvSpPr>
        <p:spPr bwMode="gray">
          <a:xfrm>
            <a:off x="7247999" y="1989000"/>
            <a:ext cx="2016000" cy="936000"/>
          </a:xfrm>
          <a:prstGeom prst="rect">
            <a:avLst/>
          </a:prstGeom>
        </p:spPr>
        <p:txBody>
          <a:bodyPr lIns="144000" tIns="144000" rIns="144000" bIns="144000" anchor="b"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p:txBody>
      </p:sp>
      <p:sp>
        <p:nvSpPr>
          <p:cNvPr id="97" name="Content Placeholder 10">
            <a:extLst>
              <a:ext uri="{FF2B5EF4-FFF2-40B4-BE49-F238E27FC236}">
                <a16:creationId xmlns:a16="http://schemas.microsoft.com/office/drawing/2014/main" id="{E7CCCB2E-2EC2-466D-A578-E7D239536888}"/>
              </a:ext>
            </a:extLst>
          </p:cNvPr>
          <p:cNvSpPr txBox="1">
            <a:spLocks/>
          </p:cNvSpPr>
          <p:nvPr/>
        </p:nvSpPr>
        <p:spPr bwMode="gray">
          <a:xfrm>
            <a:off x="9552000" y="1989000"/>
            <a:ext cx="2016000" cy="936000"/>
          </a:xfrm>
          <a:prstGeom prst="rect">
            <a:avLst/>
          </a:prstGeom>
        </p:spPr>
        <p:txBody>
          <a:bodyPr lIns="144000" tIns="144000" rIns="144000" bIns="144000" anchor="b"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t>Quisque mauris turpis, volutpat nec rhoncus eu.</a:t>
            </a:r>
          </a:p>
        </p:txBody>
      </p:sp>
      <p:sp>
        <p:nvSpPr>
          <p:cNvPr id="99" name="Content Placeholder 10">
            <a:extLst>
              <a:ext uri="{FF2B5EF4-FFF2-40B4-BE49-F238E27FC236}">
                <a16:creationId xmlns:a16="http://schemas.microsoft.com/office/drawing/2014/main" id="{FB68F870-F3E4-4A19-876E-95CAD3DF3832}"/>
              </a:ext>
            </a:extLst>
          </p:cNvPr>
          <p:cNvSpPr txBox="1">
            <a:spLocks/>
          </p:cNvSpPr>
          <p:nvPr/>
        </p:nvSpPr>
        <p:spPr bwMode="gray">
          <a:xfrm>
            <a:off x="336000" y="4797000"/>
            <a:ext cx="2016000" cy="936000"/>
          </a:xfrm>
          <a:prstGeom prst="rect">
            <a:avLst/>
          </a:prstGeom>
        </p:spPr>
        <p:txBody>
          <a:bodyPr lIns="144000" tIns="144000" rIns="144000" bIns="144000" anchor="t"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p:txBody>
      </p:sp>
      <p:sp>
        <p:nvSpPr>
          <p:cNvPr id="125" name="Content Placeholder 10">
            <a:extLst>
              <a:ext uri="{FF2B5EF4-FFF2-40B4-BE49-F238E27FC236}">
                <a16:creationId xmlns:a16="http://schemas.microsoft.com/office/drawing/2014/main" id="{767AD43B-E497-4608-842B-FC19949A4D9A}"/>
              </a:ext>
            </a:extLst>
          </p:cNvPr>
          <p:cNvSpPr txBox="1">
            <a:spLocks/>
          </p:cNvSpPr>
          <p:nvPr/>
        </p:nvSpPr>
        <p:spPr bwMode="gray">
          <a:xfrm>
            <a:off x="2639999" y="4797000"/>
            <a:ext cx="2016000" cy="936000"/>
          </a:xfrm>
          <a:prstGeom prst="rect">
            <a:avLst/>
          </a:prstGeom>
        </p:spPr>
        <p:txBody>
          <a:bodyPr lIns="144000" tIns="144000" rIns="144000" bIns="144000" anchor="t"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t>Quisque mauris turpis, volutpat nec rhoncus eu.</a:t>
            </a:r>
          </a:p>
        </p:txBody>
      </p:sp>
      <p:sp>
        <p:nvSpPr>
          <p:cNvPr id="126" name="Content Placeholder 10">
            <a:extLst>
              <a:ext uri="{FF2B5EF4-FFF2-40B4-BE49-F238E27FC236}">
                <a16:creationId xmlns:a16="http://schemas.microsoft.com/office/drawing/2014/main" id="{2BA768D6-2530-4EF5-81B7-37EF00BBCD5F}"/>
              </a:ext>
            </a:extLst>
          </p:cNvPr>
          <p:cNvSpPr txBox="1">
            <a:spLocks/>
          </p:cNvSpPr>
          <p:nvPr/>
        </p:nvSpPr>
        <p:spPr bwMode="gray">
          <a:xfrm>
            <a:off x="4944000" y="4797000"/>
            <a:ext cx="2016000" cy="936000"/>
          </a:xfrm>
          <a:prstGeom prst="rect">
            <a:avLst/>
          </a:prstGeom>
        </p:spPr>
        <p:txBody>
          <a:bodyPr lIns="144000" tIns="144000" rIns="144000" bIns="144000" anchor="t"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p:txBody>
      </p:sp>
      <p:sp>
        <p:nvSpPr>
          <p:cNvPr id="127" name="Content Placeholder 10">
            <a:extLst>
              <a:ext uri="{FF2B5EF4-FFF2-40B4-BE49-F238E27FC236}">
                <a16:creationId xmlns:a16="http://schemas.microsoft.com/office/drawing/2014/main" id="{85DAB4AD-EE14-4FE0-B8ED-015A2662EBB0}"/>
              </a:ext>
            </a:extLst>
          </p:cNvPr>
          <p:cNvSpPr txBox="1">
            <a:spLocks/>
          </p:cNvSpPr>
          <p:nvPr/>
        </p:nvSpPr>
        <p:spPr bwMode="gray">
          <a:xfrm>
            <a:off x="7247999" y="4797000"/>
            <a:ext cx="2016000" cy="936000"/>
          </a:xfrm>
          <a:prstGeom prst="rect">
            <a:avLst/>
          </a:prstGeom>
        </p:spPr>
        <p:txBody>
          <a:bodyPr lIns="144000" tIns="144000" rIns="144000" bIns="144000" anchor="t"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t>Quisque mauris turpis, volutpat nec rhoncus eu.</a:t>
            </a:r>
          </a:p>
        </p:txBody>
      </p:sp>
      <p:sp>
        <p:nvSpPr>
          <p:cNvPr id="128" name="Content Placeholder 10">
            <a:extLst>
              <a:ext uri="{FF2B5EF4-FFF2-40B4-BE49-F238E27FC236}">
                <a16:creationId xmlns:a16="http://schemas.microsoft.com/office/drawing/2014/main" id="{24A162FB-5E9E-4ECB-AFC7-FEF1A2AE3D16}"/>
              </a:ext>
            </a:extLst>
          </p:cNvPr>
          <p:cNvSpPr txBox="1">
            <a:spLocks/>
          </p:cNvSpPr>
          <p:nvPr/>
        </p:nvSpPr>
        <p:spPr bwMode="gray">
          <a:xfrm>
            <a:off x="9552000" y="4797000"/>
            <a:ext cx="2016000" cy="936000"/>
          </a:xfrm>
          <a:prstGeom prst="rect">
            <a:avLst/>
          </a:prstGeom>
        </p:spPr>
        <p:txBody>
          <a:bodyPr lIns="144000" tIns="144000" rIns="144000" bIns="144000" anchor="t"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p:txBody>
      </p:sp>
      <p:sp>
        <p:nvSpPr>
          <p:cNvPr id="129" name="Content Placeholder 10">
            <a:extLst>
              <a:ext uri="{FF2B5EF4-FFF2-40B4-BE49-F238E27FC236}">
                <a16:creationId xmlns:a16="http://schemas.microsoft.com/office/drawing/2014/main" id="{3C393B29-8B07-4E83-BD90-6C545AD8DE84}"/>
              </a:ext>
            </a:extLst>
          </p:cNvPr>
          <p:cNvSpPr txBox="1">
            <a:spLocks/>
          </p:cNvSpPr>
          <p:nvPr/>
        </p:nvSpPr>
        <p:spPr bwMode="gray">
          <a:xfrm>
            <a:off x="336000" y="3608800"/>
            <a:ext cx="2016000" cy="504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sz="2000" dirty="0">
                <a:solidFill>
                  <a:schemeClr val="bg1"/>
                </a:solidFill>
              </a:rPr>
              <a:t>20XX</a:t>
            </a:r>
          </a:p>
        </p:txBody>
      </p:sp>
      <p:sp>
        <p:nvSpPr>
          <p:cNvPr id="131" name="Content Placeholder 10">
            <a:extLst>
              <a:ext uri="{FF2B5EF4-FFF2-40B4-BE49-F238E27FC236}">
                <a16:creationId xmlns:a16="http://schemas.microsoft.com/office/drawing/2014/main" id="{0AF17A28-324B-4574-9B8D-765311017DE1}"/>
              </a:ext>
            </a:extLst>
          </p:cNvPr>
          <p:cNvSpPr txBox="1">
            <a:spLocks/>
          </p:cNvSpPr>
          <p:nvPr/>
        </p:nvSpPr>
        <p:spPr bwMode="gray">
          <a:xfrm>
            <a:off x="2639999" y="3608800"/>
            <a:ext cx="2016000" cy="504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sz="2000" dirty="0">
                <a:solidFill>
                  <a:schemeClr val="bg1"/>
                </a:solidFill>
              </a:rPr>
              <a:t>20XX</a:t>
            </a:r>
          </a:p>
        </p:txBody>
      </p:sp>
      <p:sp>
        <p:nvSpPr>
          <p:cNvPr id="132" name="Content Placeholder 10">
            <a:extLst>
              <a:ext uri="{FF2B5EF4-FFF2-40B4-BE49-F238E27FC236}">
                <a16:creationId xmlns:a16="http://schemas.microsoft.com/office/drawing/2014/main" id="{B0E239D8-332A-4D74-B099-394C17EBC21A}"/>
              </a:ext>
            </a:extLst>
          </p:cNvPr>
          <p:cNvSpPr txBox="1">
            <a:spLocks/>
          </p:cNvSpPr>
          <p:nvPr/>
        </p:nvSpPr>
        <p:spPr bwMode="gray">
          <a:xfrm>
            <a:off x="4944000" y="3608800"/>
            <a:ext cx="2016000" cy="504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sz="2000" dirty="0">
                <a:solidFill>
                  <a:schemeClr val="bg1"/>
                </a:solidFill>
              </a:rPr>
              <a:t>20XX</a:t>
            </a:r>
          </a:p>
        </p:txBody>
      </p:sp>
      <p:sp>
        <p:nvSpPr>
          <p:cNvPr id="133" name="Content Placeholder 10">
            <a:extLst>
              <a:ext uri="{FF2B5EF4-FFF2-40B4-BE49-F238E27FC236}">
                <a16:creationId xmlns:a16="http://schemas.microsoft.com/office/drawing/2014/main" id="{94E5024C-829B-4D57-9BD5-34ECD7F111A2}"/>
              </a:ext>
            </a:extLst>
          </p:cNvPr>
          <p:cNvSpPr txBox="1">
            <a:spLocks/>
          </p:cNvSpPr>
          <p:nvPr/>
        </p:nvSpPr>
        <p:spPr bwMode="gray">
          <a:xfrm>
            <a:off x="7247999" y="3608800"/>
            <a:ext cx="2016000" cy="504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sz="2000" dirty="0">
                <a:solidFill>
                  <a:schemeClr val="bg1"/>
                </a:solidFill>
              </a:rPr>
              <a:t>20XX</a:t>
            </a:r>
          </a:p>
        </p:txBody>
      </p:sp>
      <p:sp>
        <p:nvSpPr>
          <p:cNvPr id="134" name="Content Placeholder 10">
            <a:extLst>
              <a:ext uri="{FF2B5EF4-FFF2-40B4-BE49-F238E27FC236}">
                <a16:creationId xmlns:a16="http://schemas.microsoft.com/office/drawing/2014/main" id="{37B7E9C8-D642-47A8-9D96-12374E57857F}"/>
              </a:ext>
            </a:extLst>
          </p:cNvPr>
          <p:cNvSpPr txBox="1">
            <a:spLocks/>
          </p:cNvSpPr>
          <p:nvPr/>
        </p:nvSpPr>
        <p:spPr bwMode="gray">
          <a:xfrm>
            <a:off x="9552000" y="3608800"/>
            <a:ext cx="2016000" cy="504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sz="2000" dirty="0">
                <a:solidFill>
                  <a:schemeClr val="bg1"/>
                </a:solidFill>
              </a:rPr>
              <a:t>20XX</a:t>
            </a:r>
          </a:p>
        </p:txBody>
      </p:sp>
      <p:pic>
        <p:nvPicPr>
          <p:cNvPr id="135" name="Grafik 134">
            <a:extLst>
              <a:ext uri="{FF2B5EF4-FFF2-40B4-BE49-F238E27FC236}">
                <a16:creationId xmlns:a16="http://schemas.microsoft.com/office/drawing/2014/main" id="{077E7879-9B80-4496-AF7D-8581D6EDC974}"/>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bwMode="gray">
          <a:xfrm>
            <a:off x="408000" y="4221000"/>
            <a:ext cx="576000" cy="576000"/>
          </a:xfrm>
          <a:prstGeom prst="rect">
            <a:avLst/>
          </a:prstGeom>
          <a:noFill/>
        </p:spPr>
      </p:pic>
      <p:pic>
        <p:nvPicPr>
          <p:cNvPr id="137" name="Grafik 136">
            <a:extLst>
              <a:ext uri="{FF2B5EF4-FFF2-40B4-BE49-F238E27FC236}">
                <a16:creationId xmlns:a16="http://schemas.microsoft.com/office/drawing/2014/main" id="{C8258F33-45DC-4AC2-9062-9A14C53FF087}"/>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bwMode="gray">
          <a:xfrm>
            <a:off x="5016000" y="4221000"/>
            <a:ext cx="576000" cy="576000"/>
          </a:xfrm>
          <a:prstGeom prst="rect">
            <a:avLst/>
          </a:prstGeom>
          <a:noFill/>
        </p:spPr>
      </p:pic>
      <p:pic>
        <p:nvPicPr>
          <p:cNvPr id="139" name="Grafik 138">
            <a:extLst>
              <a:ext uri="{FF2B5EF4-FFF2-40B4-BE49-F238E27FC236}">
                <a16:creationId xmlns:a16="http://schemas.microsoft.com/office/drawing/2014/main" id="{B411D796-8A23-4A42-9CBF-DF859337C4C4}"/>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bwMode="gray">
          <a:xfrm>
            <a:off x="2712000" y="2925000"/>
            <a:ext cx="576000" cy="576000"/>
          </a:xfrm>
          <a:prstGeom prst="rect">
            <a:avLst/>
          </a:prstGeom>
          <a:noFill/>
        </p:spPr>
      </p:pic>
      <p:pic>
        <p:nvPicPr>
          <p:cNvPr id="140" name="Grafik 139">
            <a:extLst>
              <a:ext uri="{FF2B5EF4-FFF2-40B4-BE49-F238E27FC236}">
                <a16:creationId xmlns:a16="http://schemas.microsoft.com/office/drawing/2014/main" id="{B2DAC354-9E4A-4F57-8464-7F419CEC679A}"/>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bwMode="gray">
          <a:xfrm>
            <a:off x="9696000" y="4221000"/>
            <a:ext cx="576000" cy="576000"/>
          </a:xfrm>
          <a:prstGeom prst="rect">
            <a:avLst/>
          </a:prstGeom>
          <a:noFill/>
        </p:spPr>
      </p:pic>
      <p:pic>
        <p:nvPicPr>
          <p:cNvPr id="141" name="Grafik 140">
            <a:extLst>
              <a:ext uri="{FF2B5EF4-FFF2-40B4-BE49-F238E27FC236}">
                <a16:creationId xmlns:a16="http://schemas.microsoft.com/office/drawing/2014/main" id="{42D8BB18-4337-425E-8B74-5EA9D965C2A3}"/>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bwMode="gray">
          <a:xfrm>
            <a:off x="7320000" y="2925000"/>
            <a:ext cx="576000" cy="576000"/>
          </a:xfrm>
          <a:prstGeom prst="rect">
            <a:avLst/>
          </a:prstGeom>
          <a:noFill/>
        </p:spPr>
      </p:pic>
      <p:cxnSp>
        <p:nvCxnSpPr>
          <p:cNvPr id="19" name="Gerader Verbinder 18">
            <a:extLst>
              <a:ext uri="{FF2B5EF4-FFF2-40B4-BE49-F238E27FC236}">
                <a16:creationId xmlns:a16="http://schemas.microsoft.com/office/drawing/2014/main" id="{BC7FA66E-632E-429F-B13C-13135A3872E0}"/>
              </a:ext>
            </a:extLst>
          </p:cNvPr>
          <p:cNvCxnSpPr>
            <a:cxnSpLocks/>
          </p:cNvCxnSpPr>
          <p:nvPr/>
        </p:nvCxnSpPr>
        <p:spPr bwMode="gray">
          <a:xfrm>
            <a:off x="4944000" y="1989138"/>
            <a:ext cx="0" cy="151186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Gerader Verbinder 142">
            <a:extLst>
              <a:ext uri="{FF2B5EF4-FFF2-40B4-BE49-F238E27FC236}">
                <a16:creationId xmlns:a16="http://schemas.microsoft.com/office/drawing/2014/main" id="{F7FB69B5-D377-46CD-8CFF-FCEA2217821F}"/>
              </a:ext>
            </a:extLst>
          </p:cNvPr>
          <p:cNvCxnSpPr>
            <a:cxnSpLocks/>
          </p:cNvCxnSpPr>
          <p:nvPr/>
        </p:nvCxnSpPr>
        <p:spPr bwMode="gray">
          <a:xfrm>
            <a:off x="336000" y="1989138"/>
            <a:ext cx="0" cy="151186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r Verbinder 143">
            <a:extLst>
              <a:ext uri="{FF2B5EF4-FFF2-40B4-BE49-F238E27FC236}">
                <a16:creationId xmlns:a16="http://schemas.microsoft.com/office/drawing/2014/main" id="{CDF5DBF9-6C59-475D-B0DD-08DDBE915DBA}"/>
              </a:ext>
            </a:extLst>
          </p:cNvPr>
          <p:cNvCxnSpPr>
            <a:cxnSpLocks/>
          </p:cNvCxnSpPr>
          <p:nvPr/>
        </p:nvCxnSpPr>
        <p:spPr bwMode="gray">
          <a:xfrm>
            <a:off x="2639999" y="4221000"/>
            <a:ext cx="0" cy="151146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r Verbinder 144">
            <a:extLst>
              <a:ext uri="{FF2B5EF4-FFF2-40B4-BE49-F238E27FC236}">
                <a16:creationId xmlns:a16="http://schemas.microsoft.com/office/drawing/2014/main" id="{C6584963-E4C1-4338-8FD4-5FB8FF3C688D}"/>
              </a:ext>
            </a:extLst>
          </p:cNvPr>
          <p:cNvCxnSpPr>
            <a:cxnSpLocks/>
          </p:cNvCxnSpPr>
          <p:nvPr/>
        </p:nvCxnSpPr>
        <p:spPr bwMode="gray">
          <a:xfrm>
            <a:off x="7247999" y="4221000"/>
            <a:ext cx="0" cy="151146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r Verbinder 145">
            <a:extLst>
              <a:ext uri="{FF2B5EF4-FFF2-40B4-BE49-F238E27FC236}">
                <a16:creationId xmlns:a16="http://schemas.microsoft.com/office/drawing/2014/main" id="{7093CC6A-3421-4B6A-9E0B-AF921C58A596}"/>
              </a:ext>
            </a:extLst>
          </p:cNvPr>
          <p:cNvCxnSpPr>
            <a:cxnSpLocks/>
          </p:cNvCxnSpPr>
          <p:nvPr/>
        </p:nvCxnSpPr>
        <p:spPr bwMode="gray">
          <a:xfrm>
            <a:off x="9552000" y="1989138"/>
            <a:ext cx="0" cy="151186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4866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tx1">
            <a:lumMod val="60000"/>
            <a:lumOff val="40000"/>
          </a:schemeClr>
        </a:solidFill>
        <a:effectLst/>
      </p:bgPr>
    </p:bg>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4A8867DA-B510-4F21-88C5-96D69E5C51F7}"/>
              </a:ext>
            </a:extLst>
          </p:cNvPr>
          <p:cNvGraphicFramePr>
            <a:graphicFrameLocks noChangeAspect="1"/>
          </p:cNvGraphicFramePr>
          <p:nvPr>
            <p:custDataLst>
              <p:tags r:id="rId1"/>
            </p:custDataLst>
            <p:extLst>
              <p:ext uri="{D42A27DB-BD31-4B8C-83A1-F6EECF244321}">
                <p14:modId xmlns:p14="http://schemas.microsoft.com/office/powerpoint/2010/main" val="3972168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11" name="Objekt 10" hidden="1">
                        <a:extLst>
                          <a:ext uri="{FF2B5EF4-FFF2-40B4-BE49-F238E27FC236}">
                            <a16:creationId xmlns:a16="http://schemas.microsoft.com/office/drawing/2014/main" id="{4A8867DA-B510-4F21-88C5-96D69E5C51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hteck 16">
            <a:extLst>
              <a:ext uri="{FF2B5EF4-FFF2-40B4-BE49-F238E27FC236}">
                <a16:creationId xmlns:a16="http://schemas.microsoft.com/office/drawing/2014/main" id="{F15B8269-C2B1-4F87-AE63-FCBB29DE810C}"/>
              </a:ext>
            </a:extLst>
          </p:cNvPr>
          <p:cNvSpPr/>
          <p:nvPr/>
        </p:nvSpPr>
        <p:spPr bwMode="gray">
          <a:xfrm>
            <a:off x="0" y="3608800"/>
            <a:ext cx="11568113" cy="50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3" name="Titel 2"/>
          <p:cNvSpPr>
            <a:spLocks noGrp="1"/>
          </p:cNvSpPr>
          <p:nvPr>
            <p:ph type="title"/>
          </p:nvPr>
        </p:nvSpPr>
        <p:spPr bwMode="gray"/>
        <p:txBody>
          <a:bodyPr vert="horz"/>
          <a:lstStyle/>
          <a:p>
            <a:r>
              <a:rPr lang="de-DE" dirty="0">
                <a:solidFill>
                  <a:schemeClr val="bg1"/>
                </a:solidFill>
              </a:rPr>
              <a:t>Zeitstrahl</a:t>
            </a:r>
          </a:p>
        </p:txBody>
      </p:sp>
      <p:sp>
        <p:nvSpPr>
          <p:cNvPr id="2" name="Datumsplatzhalter 1">
            <a:extLst>
              <a:ext uri="{FF2B5EF4-FFF2-40B4-BE49-F238E27FC236}">
                <a16:creationId xmlns:a16="http://schemas.microsoft.com/office/drawing/2014/main" id="{1781F404-F134-4D3C-B40D-D73488D7956A}"/>
              </a:ext>
            </a:extLst>
          </p:cNvPr>
          <p:cNvSpPr>
            <a:spLocks noGrp="1"/>
          </p:cNvSpPr>
          <p:nvPr>
            <p:ph type="dt" sz="half" idx="10"/>
          </p:nvPr>
        </p:nvSpPr>
        <p:spPr bwMode="gray"/>
        <p:txBody>
          <a:bodyPr/>
          <a:lstStyle/>
          <a:p>
            <a:fld id="{4293F436-3E8E-4910-987D-1B695B71F70F}" type="datetime1">
              <a:rPr lang="de-DE" smtClean="0"/>
              <a:t>29.09.25</a:t>
            </a:fld>
            <a:endParaRPr lang="de-DE" dirty="0"/>
          </a:p>
        </p:txBody>
      </p:sp>
      <p:sp>
        <p:nvSpPr>
          <p:cNvPr id="4" name="Fußzeilenplatzhalter 3">
            <a:extLst>
              <a:ext uri="{FF2B5EF4-FFF2-40B4-BE49-F238E27FC236}">
                <a16:creationId xmlns:a16="http://schemas.microsoft.com/office/drawing/2014/main" id="{B8238822-E76D-4ECA-9810-EAD5C0504267}"/>
              </a:ext>
            </a:extLst>
          </p:cNvPr>
          <p:cNvSpPr>
            <a:spLocks noGrp="1"/>
          </p:cNvSpPr>
          <p:nvPr>
            <p:ph type="ftr" sz="quarter" idx="11"/>
          </p:nvPr>
        </p:nvSpPr>
        <p:spPr bwMode="gray"/>
        <p:txBody>
          <a:bodyPr/>
          <a:lstStyle/>
          <a:p>
            <a:r>
              <a:rPr lang="de-DE" dirty="0"/>
              <a:t>TITEL DER PRÄSENTATION | TITEL VORNAME NAME</a:t>
            </a:r>
          </a:p>
        </p:txBody>
      </p:sp>
      <p:sp>
        <p:nvSpPr>
          <p:cNvPr id="5" name="Foliennummernplatzhalter 4">
            <a:extLst>
              <a:ext uri="{FF2B5EF4-FFF2-40B4-BE49-F238E27FC236}">
                <a16:creationId xmlns:a16="http://schemas.microsoft.com/office/drawing/2014/main" id="{F5CB3594-B543-4FAE-B0E4-BDAFDC26ABCF}"/>
              </a:ext>
            </a:extLst>
          </p:cNvPr>
          <p:cNvSpPr>
            <a:spLocks noGrp="1"/>
          </p:cNvSpPr>
          <p:nvPr>
            <p:ph type="sldNum" sz="quarter" idx="12"/>
          </p:nvPr>
        </p:nvSpPr>
        <p:spPr bwMode="gray"/>
        <p:txBody>
          <a:bodyPr/>
          <a:lstStyle/>
          <a:p>
            <a:fld id="{09E9C37E-8A19-4E30-BE2B-5A966AD23C7A}" type="slidenum">
              <a:rPr lang="de-DE" smtClean="0"/>
              <a:pPr/>
              <a:t>69</a:t>
            </a:fld>
            <a:endParaRPr lang="de-DE" dirty="0"/>
          </a:p>
        </p:txBody>
      </p:sp>
      <p:sp>
        <p:nvSpPr>
          <p:cNvPr id="129" name="Content Placeholder 10">
            <a:extLst>
              <a:ext uri="{FF2B5EF4-FFF2-40B4-BE49-F238E27FC236}">
                <a16:creationId xmlns:a16="http://schemas.microsoft.com/office/drawing/2014/main" id="{3C393B29-8B07-4E83-BD90-6C545AD8DE84}"/>
              </a:ext>
            </a:extLst>
          </p:cNvPr>
          <p:cNvSpPr txBox="1">
            <a:spLocks/>
          </p:cNvSpPr>
          <p:nvPr/>
        </p:nvSpPr>
        <p:spPr bwMode="gray">
          <a:xfrm>
            <a:off x="336000" y="3608800"/>
            <a:ext cx="2016000" cy="504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sz="2000" dirty="0">
                <a:solidFill>
                  <a:schemeClr val="bg1"/>
                </a:solidFill>
              </a:rPr>
              <a:t>20XX</a:t>
            </a:r>
          </a:p>
        </p:txBody>
      </p:sp>
      <p:sp>
        <p:nvSpPr>
          <p:cNvPr id="131" name="Content Placeholder 10">
            <a:extLst>
              <a:ext uri="{FF2B5EF4-FFF2-40B4-BE49-F238E27FC236}">
                <a16:creationId xmlns:a16="http://schemas.microsoft.com/office/drawing/2014/main" id="{0AF17A28-324B-4574-9B8D-765311017DE1}"/>
              </a:ext>
            </a:extLst>
          </p:cNvPr>
          <p:cNvSpPr txBox="1">
            <a:spLocks/>
          </p:cNvSpPr>
          <p:nvPr/>
        </p:nvSpPr>
        <p:spPr bwMode="gray">
          <a:xfrm>
            <a:off x="2639999" y="3608800"/>
            <a:ext cx="2016000" cy="504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sz="2000" dirty="0">
                <a:solidFill>
                  <a:schemeClr val="bg1"/>
                </a:solidFill>
              </a:rPr>
              <a:t>20XX</a:t>
            </a:r>
          </a:p>
        </p:txBody>
      </p:sp>
      <p:sp>
        <p:nvSpPr>
          <p:cNvPr id="132" name="Content Placeholder 10">
            <a:extLst>
              <a:ext uri="{FF2B5EF4-FFF2-40B4-BE49-F238E27FC236}">
                <a16:creationId xmlns:a16="http://schemas.microsoft.com/office/drawing/2014/main" id="{B0E239D8-332A-4D74-B099-394C17EBC21A}"/>
              </a:ext>
            </a:extLst>
          </p:cNvPr>
          <p:cNvSpPr txBox="1">
            <a:spLocks/>
          </p:cNvSpPr>
          <p:nvPr/>
        </p:nvSpPr>
        <p:spPr bwMode="gray">
          <a:xfrm>
            <a:off x="4944000" y="3608800"/>
            <a:ext cx="2016000" cy="504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sz="2000" dirty="0">
                <a:solidFill>
                  <a:schemeClr val="bg1"/>
                </a:solidFill>
              </a:rPr>
              <a:t>20XX</a:t>
            </a:r>
          </a:p>
        </p:txBody>
      </p:sp>
      <p:sp>
        <p:nvSpPr>
          <p:cNvPr id="133" name="Content Placeholder 10">
            <a:extLst>
              <a:ext uri="{FF2B5EF4-FFF2-40B4-BE49-F238E27FC236}">
                <a16:creationId xmlns:a16="http://schemas.microsoft.com/office/drawing/2014/main" id="{94E5024C-829B-4D57-9BD5-34ECD7F111A2}"/>
              </a:ext>
            </a:extLst>
          </p:cNvPr>
          <p:cNvSpPr txBox="1">
            <a:spLocks/>
          </p:cNvSpPr>
          <p:nvPr/>
        </p:nvSpPr>
        <p:spPr bwMode="gray">
          <a:xfrm>
            <a:off x="7247999" y="3608800"/>
            <a:ext cx="2016000" cy="504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sz="2000" dirty="0">
                <a:solidFill>
                  <a:schemeClr val="bg1"/>
                </a:solidFill>
              </a:rPr>
              <a:t>20XX</a:t>
            </a:r>
          </a:p>
        </p:txBody>
      </p:sp>
      <p:sp>
        <p:nvSpPr>
          <p:cNvPr id="134" name="Content Placeholder 10">
            <a:extLst>
              <a:ext uri="{FF2B5EF4-FFF2-40B4-BE49-F238E27FC236}">
                <a16:creationId xmlns:a16="http://schemas.microsoft.com/office/drawing/2014/main" id="{37B7E9C8-D642-47A8-9D96-12374E57857F}"/>
              </a:ext>
            </a:extLst>
          </p:cNvPr>
          <p:cNvSpPr txBox="1">
            <a:spLocks/>
          </p:cNvSpPr>
          <p:nvPr/>
        </p:nvSpPr>
        <p:spPr bwMode="gray">
          <a:xfrm>
            <a:off x="9552000" y="3608800"/>
            <a:ext cx="2016000" cy="504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sz="2000" dirty="0">
                <a:solidFill>
                  <a:schemeClr val="bg1"/>
                </a:solidFill>
              </a:rPr>
              <a:t>20XX</a:t>
            </a:r>
          </a:p>
        </p:txBody>
      </p:sp>
      <p:pic>
        <p:nvPicPr>
          <p:cNvPr id="135" name="Grafik 134">
            <a:extLst>
              <a:ext uri="{FF2B5EF4-FFF2-40B4-BE49-F238E27FC236}">
                <a16:creationId xmlns:a16="http://schemas.microsoft.com/office/drawing/2014/main" id="{077E7879-9B80-4496-AF7D-8581D6EDC974}"/>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bwMode="gray">
          <a:xfrm>
            <a:off x="1056000" y="4221000"/>
            <a:ext cx="576000" cy="576000"/>
          </a:xfrm>
          <a:prstGeom prst="rect">
            <a:avLst/>
          </a:prstGeom>
          <a:noFill/>
        </p:spPr>
      </p:pic>
      <p:pic>
        <p:nvPicPr>
          <p:cNvPr id="137" name="Grafik 136">
            <a:extLst>
              <a:ext uri="{FF2B5EF4-FFF2-40B4-BE49-F238E27FC236}">
                <a16:creationId xmlns:a16="http://schemas.microsoft.com/office/drawing/2014/main" id="{C8258F33-45DC-4AC2-9062-9A14C53FF087}"/>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bwMode="gray">
          <a:xfrm>
            <a:off x="5664000" y="4221000"/>
            <a:ext cx="576000" cy="576000"/>
          </a:xfrm>
          <a:prstGeom prst="rect">
            <a:avLst/>
          </a:prstGeom>
          <a:noFill/>
        </p:spPr>
      </p:pic>
      <p:pic>
        <p:nvPicPr>
          <p:cNvPr id="139" name="Grafik 138">
            <a:extLst>
              <a:ext uri="{FF2B5EF4-FFF2-40B4-BE49-F238E27FC236}">
                <a16:creationId xmlns:a16="http://schemas.microsoft.com/office/drawing/2014/main" id="{B411D796-8A23-4A42-9CBF-DF859337C4C4}"/>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bwMode="gray">
          <a:xfrm>
            <a:off x="3359999" y="2925000"/>
            <a:ext cx="576000" cy="576000"/>
          </a:xfrm>
          <a:prstGeom prst="rect">
            <a:avLst/>
          </a:prstGeom>
          <a:noFill/>
        </p:spPr>
      </p:pic>
      <p:pic>
        <p:nvPicPr>
          <p:cNvPr id="140" name="Grafik 139">
            <a:extLst>
              <a:ext uri="{FF2B5EF4-FFF2-40B4-BE49-F238E27FC236}">
                <a16:creationId xmlns:a16="http://schemas.microsoft.com/office/drawing/2014/main" id="{B2DAC354-9E4A-4F57-8464-7F419CEC679A}"/>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bwMode="gray">
          <a:xfrm>
            <a:off x="10272000" y="4221000"/>
            <a:ext cx="576000" cy="576000"/>
          </a:xfrm>
          <a:prstGeom prst="rect">
            <a:avLst/>
          </a:prstGeom>
          <a:noFill/>
        </p:spPr>
      </p:pic>
      <p:pic>
        <p:nvPicPr>
          <p:cNvPr id="141" name="Grafik 140">
            <a:extLst>
              <a:ext uri="{FF2B5EF4-FFF2-40B4-BE49-F238E27FC236}">
                <a16:creationId xmlns:a16="http://schemas.microsoft.com/office/drawing/2014/main" id="{42D8BB18-4337-425E-8B74-5EA9D965C2A3}"/>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bwMode="gray">
          <a:xfrm>
            <a:off x="7967999" y="2925000"/>
            <a:ext cx="576000" cy="576000"/>
          </a:xfrm>
          <a:prstGeom prst="rect">
            <a:avLst/>
          </a:prstGeom>
          <a:noFill/>
        </p:spPr>
      </p:pic>
      <p:cxnSp>
        <p:nvCxnSpPr>
          <p:cNvPr id="19" name="Gerader Verbinder 18">
            <a:extLst>
              <a:ext uri="{FF2B5EF4-FFF2-40B4-BE49-F238E27FC236}">
                <a16:creationId xmlns:a16="http://schemas.microsoft.com/office/drawing/2014/main" id="{BC7FA66E-632E-429F-B13C-13135A3872E0}"/>
              </a:ext>
            </a:extLst>
          </p:cNvPr>
          <p:cNvCxnSpPr>
            <a:cxnSpLocks/>
          </p:cNvCxnSpPr>
          <p:nvPr/>
        </p:nvCxnSpPr>
        <p:spPr bwMode="gray">
          <a:xfrm>
            <a:off x="5952000" y="2925000"/>
            <a:ext cx="0" cy="576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Gerader Verbinder 141">
            <a:extLst>
              <a:ext uri="{FF2B5EF4-FFF2-40B4-BE49-F238E27FC236}">
                <a16:creationId xmlns:a16="http://schemas.microsoft.com/office/drawing/2014/main" id="{CECC33B3-C6B3-4376-9638-F8F9B2C9A3D5}"/>
              </a:ext>
            </a:extLst>
          </p:cNvPr>
          <p:cNvCxnSpPr>
            <a:cxnSpLocks/>
          </p:cNvCxnSpPr>
          <p:nvPr/>
        </p:nvCxnSpPr>
        <p:spPr bwMode="gray">
          <a:xfrm>
            <a:off x="10560000" y="2925000"/>
            <a:ext cx="0" cy="576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Gerader Verbinder 142">
            <a:extLst>
              <a:ext uri="{FF2B5EF4-FFF2-40B4-BE49-F238E27FC236}">
                <a16:creationId xmlns:a16="http://schemas.microsoft.com/office/drawing/2014/main" id="{F7FB69B5-D377-46CD-8CFF-FCEA2217821F}"/>
              </a:ext>
            </a:extLst>
          </p:cNvPr>
          <p:cNvCxnSpPr>
            <a:cxnSpLocks/>
          </p:cNvCxnSpPr>
          <p:nvPr/>
        </p:nvCxnSpPr>
        <p:spPr bwMode="gray">
          <a:xfrm>
            <a:off x="1344000" y="2925000"/>
            <a:ext cx="0" cy="576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r Verbinder 143">
            <a:extLst>
              <a:ext uri="{FF2B5EF4-FFF2-40B4-BE49-F238E27FC236}">
                <a16:creationId xmlns:a16="http://schemas.microsoft.com/office/drawing/2014/main" id="{CDF5DBF9-6C59-475D-B0DD-08DDBE915DBA}"/>
              </a:ext>
            </a:extLst>
          </p:cNvPr>
          <p:cNvCxnSpPr>
            <a:cxnSpLocks/>
          </p:cNvCxnSpPr>
          <p:nvPr/>
        </p:nvCxnSpPr>
        <p:spPr bwMode="gray">
          <a:xfrm>
            <a:off x="3647999" y="4221000"/>
            <a:ext cx="0" cy="576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r Verbinder 144">
            <a:extLst>
              <a:ext uri="{FF2B5EF4-FFF2-40B4-BE49-F238E27FC236}">
                <a16:creationId xmlns:a16="http://schemas.microsoft.com/office/drawing/2014/main" id="{C6584963-E4C1-4338-8FD4-5FB8FF3C688D}"/>
              </a:ext>
            </a:extLst>
          </p:cNvPr>
          <p:cNvCxnSpPr>
            <a:cxnSpLocks/>
          </p:cNvCxnSpPr>
          <p:nvPr/>
        </p:nvCxnSpPr>
        <p:spPr bwMode="gray">
          <a:xfrm>
            <a:off x="8255999" y="4221000"/>
            <a:ext cx="0" cy="576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Content Placeholder 10">
            <a:extLst>
              <a:ext uri="{FF2B5EF4-FFF2-40B4-BE49-F238E27FC236}">
                <a16:creationId xmlns:a16="http://schemas.microsoft.com/office/drawing/2014/main" id="{F99771AE-B783-4019-A445-1D712ADB144D}"/>
              </a:ext>
            </a:extLst>
          </p:cNvPr>
          <p:cNvSpPr txBox="1">
            <a:spLocks/>
          </p:cNvSpPr>
          <p:nvPr/>
        </p:nvSpPr>
        <p:spPr bwMode="gray">
          <a:xfrm>
            <a:off x="336000" y="1989000"/>
            <a:ext cx="2016000" cy="936000"/>
          </a:xfrm>
          <a:prstGeom prst="rect">
            <a:avLst/>
          </a:prstGeom>
        </p:spPr>
        <p:txBody>
          <a:bodyPr lIns="144000" tIns="144000" rIns="144000" bIns="144000" anchor="b"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dirty="0">
                <a:solidFill>
                  <a:schemeClr val="bg1"/>
                </a:solidFill>
              </a:rPr>
              <a:t>Quisque mauris turpis, volutpat nec rhoncus eu.</a:t>
            </a:r>
          </a:p>
        </p:txBody>
      </p:sp>
      <p:sp>
        <p:nvSpPr>
          <p:cNvPr id="31" name="Content Placeholder 10">
            <a:extLst>
              <a:ext uri="{FF2B5EF4-FFF2-40B4-BE49-F238E27FC236}">
                <a16:creationId xmlns:a16="http://schemas.microsoft.com/office/drawing/2014/main" id="{C59C87E4-C87C-44E8-9651-BBC9E5233586}"/>
              </a:ext>
            </a:extLst>
          </p:cNvPr>
          <p:cNvSpPr txBox="1">
            <a:spLocks/>
          </p:cNvSpPr>
          <p:nvPr/>
        </p:nvSpPr>
        <p:spPr bwMode="gray">
          <a:xfrm>
            <a:off x="2639999" y="1989000"/>
            <a:ext cx="2016000" cy="936000"/>
          </a:xfrm>
          <a:prstGeom prst="rect">
            <a:avLst/>
          </a:prstGeom>
        </p:spPr>
        <p:txBody>
          <a:bodyPr lIns="144000" tIns="144000" rIns="144000" bIns="144000" anchor="b"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Lorem ipsum</a:t>
            </a:r>
          </a:p>
        </p:txBody>
      </p:sp>
      <p:sp>
        <p:nvSpPr>
          <p:cNvPr id="32" name="Content Placeholder 10">
            <a:extLst>
              <a:ext uri="{FF2B5EF4-FFF2-40B4-BE49-F238E27FC236}">
                <a16:creationId xmlns:a16="http://schemas.microsoft.com/office/drawing/2014/main" id="{C0E0B725-C1C9-4B6D-BB60-470EB6B358FF}"/>
              </a:ext>
            </a:extLst>
          </p:cNvPr>
          <p:cNvSpPr txBox="1">
            <a:spLocks/>
          </p:cNvSpPr>
          <p:nvPr/>
        </p:nvSpPr>
        <p:spPr bwMode="gray">
          <a:xfrm>
            <a:off x="4944000" y="1989000"/>
            <a:ext cx="2016000" cy="936000"/>
          </a:xfrm>
          <a:prstGeom prst="rect">
            <a:avLst/>
          </a:prstGeom>
        </p:spPr>
        <p:txBody>
          <a:bodyPr lIns="144000" tIns="144000" rIns="144000" bIns="144000" anchor="b"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dirty="0">
                <a:solidFill>
                  <a:schemeClr val="bg1"/>
                </a:solidFill>
              </a:rPr>
              <a:t>Quisque mauris turpis, volutpat nec rhoncus eu.</a:t>
            </a:r>
          </a:p>
        </p:txBody>
      </p:sp>
      <p:sp>
        <p:nvSpPr>
          <p:cNvPr id="33" name="Content Placeholder 10">
            <a:extLst>
              <a:ext uri="{FF2B5EF4-FFF2-40B4-BE49-F238E27FC236}">
                <a16:creationId xmlns:a16="http://schemas.microsoft.com/office/drawing/2014/main" id="{8DE918D1-94BA-4D7F-8F8E-06F26DA0643B}"/>
              </a:ext>
            </a:extLst>
          </p:cNvPr>
          <p:cNvSpPr txBox="1">
            <a:spLocks/>
          </p:cNvSpPr>
          <p:nvPr/>
        </p:nvSpPr>
        <p:spPr bwMode="gray">
          <a:xfrm>
            <a:off x="7247999" y="1989000"/>
            <a:ext cx="2016000" cy="936000"/>
          </a:xfrm>
          <a:prstGeom prst="rect">
            <a:avLst/>
          </a:prstGeom>
        </p:spPr>
        <p:txBody>
          <a:bodyPr lIns="144000" tIns="144000" rIns="144000" bIns="144000" anchor="b"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Lorem ipsum</a:t>
            </a:r>
          </a:p>
        </p:txBody>
      </p:sp>
      <p:sp>
        <p:nvSpPr>
          <p:cNvPr id="34" name="Content Placeholder 10">
            <a:extLst>
              <a:ext uri="{FF2B5EF4-FFF2-40B4-BE49-F238E27FC236}">
                <a16:creationId xmlns:a16="http://schemas.microsoft.com/office/drawing/2014/main" id="{9192FFE6-AD73-46F9-B6AE-0BDE66AB118A}"/>
              </a:ext>
            </a:extLst>
          </p:cNvPr>
          <p:cNvSpPr txBox="1">
            <a:spLocks/>
          </p:cNvSpPr>
          <p:nvPr/>
        </p:nvSpPr>
        <p:spPr bwMode="gray">
          <a:xfrm>
            <a:off x="9552000" y="1989000"/>
            <a:ext cx="2016000" cy="936000"/>
          </a:xfrm>
          <a:prstGeom prst="rect">
            <a:avLst/>
          </a:prstGeom>
        </p:spPr>
        <p:txBody>
          <a:bodyPr lIns="144000" tIns="144000" rIns="144000" bIns="144000" anchor="b"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dirty="0">
                <a:solidFill>
                  <a:schemeClr val="bg1"/>
                </a:solidFill>
              </a:rPr>
              <a:t>Quisque mauris turpis, volutpat nec rhoncus eu.</a:t>
            </a:r>
          </a:p>
        </p:txBody>
      </p:sp>
      <p:sp>
        <p:nvSpPr>
          <p:cNvPr id="35" name="Content Placeholder 10">
            <a:extLst>
              <a:ext uri="{FF2B5EF4-FFF2-40B4-BE49-F238E27FC236}">
                <a16:creationId xmlns:a16="http://schemas.microsoft.com/office/drawing/2014/main" id="{78344761-175D-4908-B84D-A0EC28150016}"/>
              </a:ext>
            </a:extLst>
          </p:cNvPr>
          <p:cNvSpPr txBox="1">
            <a:spLocks/>
          </p:cNvSpPr>
          <p:nvPr/>
        </p:nvSpPr>
        <p:spPr bwMode="gray">
          <a:xfrm>
            <a:off x="336000" y="4797000"/>
            <a:ext cx="2016000" cy="936000"/>
          </a:xfrm>
          <a:prstGeom prst="rect">
            <a:avLst/>
          </a:prstGeom>
        </p:spPr>
        <p:txBody>
          <a:bodyPr lIns="144000" tIns="144000" rIns="144000" bIns="144000" anchor="t"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Lorem ipsum</a:t>
            </a:r>
          </a:p>
        </p:txBody>
      </p:sp>
      <p:sp>
        <p:nvSpPr>
          <p:cNvPr id="36" name="Content Placeholder 10">
            <a:extLst>
              <a:ext uri="{FF2B5EF4-FFF2-40B4-BE49-F238E27FC236}">
                <a16:creationId xmlns:a16="http://schemas.microsoft.com/office/drawing/2014/main" id="{DA076414-E7B7-4A17-A2E7-1E101CDCF34A}"/>
              </a:ext>
            </a:extLst>
          </p:cNvPr>
          <p:cNvSpPr txBox="1">
            <a:spLocks/>
          </p:cNvSpPr>
          <p:nvPr/>
        </p:nvSpPr>
        <p:spPr bwMode="gray">
          <a:xfrm>
            <a:off x="2639999" y="4797000"/>
            <a:ext cx="2016000" cy="936000"/>
          </a:xfrm>
          <a:prstGeom prst="rect">
            <a:avLst/>
          </a:prstGeom>
        </p:spPr>
        <p:txBody>
          <a:bodyPr lIns="144000" tIns="144000" rIns="144000" bIns="144000" anchor="t"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dirty="0">
                <a:solidFill>
                  <a:schemeClr val="bg1"/>
                </a:solidFill>
              </a:rPr>
              <a:t>Quisque mauris turpis, volutpat nec rhoncus eu.</a:t>
            </a:r>
          </a:p>
        </p:txBody>
      </p:sp>
      <p:sp>
        <p:nvSpPr>
          <p:cNvPr id="37" name="Content Placeholder 10">
            <a:extLst>
              <a:ext uri="{FF2B5EF4-FFF2-40B4-BE49-F238E27FC236}">
                <a16:creationId xmlns:a16="http://schemas.microsoft.com/office/drawing/2014/main" id="{CADC1640-6934-4FA6-A4F2-AE147BDBEBF3}"/>
              </a:ext>
            </a:extLst>
          </p:cNvPr>
          <p:cNvSpPr txBox="1">
            <a:spLocks/>
          </p:cNvSpPr>
          <p:nvPr/>
        </p:nvSpPr>
        <p:spPr bwMode="gray">
          <a:xfrm>
            <a:off x="4944000" y="4797000"/>
            <a:ext cx="2016000" cy="936000"/>
          </a:xfrm>
          <a:prstGeom prst="rect">
            <a:avLst/>
          </a:prstGeom>
        </p:spPr>
        <p:txBody>
          <a:bodyPr lIns="144000" tIns="144000" rIns="144000" bIns="144000" anchor="t"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Lorem ipsum</a:t>
            </a:r>
          </a:p>
        </p:txBody>
      </p:sp>
      <p:sp>
        <p:nvSpPr>
          <p:cNvPr id="38" name="Content Placeholder 10">
            <a:extLst>
              <a:ext uri="{FF2B5EF4-FFF2-40B4-BE49-F238E27FC236}">
                <a16:creationId xmlns:a16="http://schemas.microsoft.com/office/drawing/2014/main" id="{BF6B36DF-3E4F-483D-88AB-796A5B959419}"/>
              </a:ext>
            </a:extLst>
          </p:cNvPr>
          <p:cNvSpPr txBox="1">
            <a:spLocks/>
          </p:cNvSpPr>
          <p:nvPr/>
        </p:nvSpPr>
        <p:spPr bwMode="gray">
          <a:xfrm>
            <a:off x="7247999" y="4797000"/>
            <a:ext cx="2016000" cy="936000"/>
          </a:xfrm>
          <a:prstGeom prst="rect">
            <a:avLst/>
          </a:prstGeom>
        </p:spPr>
        <p:txBody>
          <a:bodyPr lIns="144000" tIns="144000" rIns="144000" bIns="144000" anchor="t"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dirty="0">
                <a:solidFill>
                  <a:schemeClr val="bg1"/>
                </a:solidFill>
              </a:rPr>
              <a:t>Quisque mauris turpis, volutpat nec rhoncus eu.</a:t>
            </a:r>
          </a:p>
        </p:txBody>
      </p:sp>
      <p:sp>
        <p:nvSpPr>
          <p:cNvPr id="39" name="Content Placeholder 10">
            <a:extLst>
              <a:ext uri="{FF2B5EF4-FFF2-40B4-BE49-F238E27FC236}">
                <a16:creationId xmlns:a16="http://schemas.microsoft.com/office/drawing/2014/main" id="{395C8B39-6C85-430A-B480-39FD9A81D967}"/>
              </a:ext>
            </a:extLst>
          </p:cNvPr>
          <p:cNvSpPr txBox="1">
            <a:spLocks/>
          </p:cNvSpPr>
          <p:nvPr/>
        </p:nvSpPr>
        <p:spPr bwMode="gray">
          <a:xfrm>
            <a:off x="9552000" y="4797000"/>
            <a:ext cx="2016000" cy="936000"/>
          </a:xfrm>
          <a:prstGeom prst="rect">
            <a:avLst/>
          </a:prstGeom>
        </p:spPr>
        <p:txBody>
          <a:bodyPr lIns="144000" tIns="144000" rIns="144000" bIns="144000" anchor="t"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Lorem ipsum</a:t>
            </a:r>
          </a:p>
        </p:txBody>
      </p:sp>
    </p:spTree>
    <p:extLst>
      <p:ext uri="{BB962C8B-B14F-4D97-AF65-F5344CB8AC3E}">
        <p14:creationId xmlns:p14="http://schemas.microsoft.com/office/powerpoint/2010/main" val="2975431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ildplatzhalter 1">
            <a:extLst>
              <a:ext uri="{FF2B5EF4-FFF2-40B4-BE49-F238E27FC236}">
                <a16:creationId xmlns:a16="http://schemas.microsoft.com/office/drawing/2014/main" id="{4AADAC03-033D-044E-BC08-26F83D0E9250}"/>
              </a:ext>
            </a:extLst>
          </p:cNvPr>
          <p:cNvSpPr>
            <a:spLocks noGrp="1"/>
          </p:cNvSpPr>
          <p:nvPr>
            <p:ph type="pic" sz="quarter" idx="13"/>
          </p:nvPr>
        </p:nvSpPr>
        <p:spPr/>
        <p:txBody>
          <a:bodyPr/>
          <a:lstStyle/>
          <a:p>
            <a:endParaRPr lang="de-DE"/>
          </a:p>
        </p:txBody>
      </p:sp>
      <p:sp>
        <p:nvSpPr>
          <p:cNvPr id="3" name="Datumsplatzhalter 2">
            <a:extLst>
              <a:ext uri="{FF2B5EF4-FFF2-40B4-BE49-F238E27FC236}">
                <a16:creationId xmlns:a16="http://schemas.microsoft.com/office/drawing/2014/main" id="{8BC1D114-9506-FB41-A0B3-8331D6C8D601}"/>
              </a:ext>
            </a:extLst>
          </p:cNvPr>
          <p:cNvSpPr>
            <a:spLocks noGrp="1"/>
          </p:cNvSpPr>
          <p:nvPr>
            <p:ph type="dt" sz="half" idx="15"/>
          </p:nvPr>
        </p:nvSpPr>
        <p:spPr/>
        <p:txBody>
          <a:bodyPr/>
          <a:lstStyle/>
          <a:p>
            <a:fld id="{EFEE6A8C-7DE0-4735-94CF-981A16B54C7F}" type="datetime1">
              <a:rPr lang="de-DE" smtClean="0"/>
              <a:t>29.09.25</a:t>
            </a:fld>
            <a:endParaRPr lang="de-DE" dirty="0"/>
          </a:p>
        </p:txBody>
      </p:sp>
      <p:sp>
        <p:nvSpPr>
          <p:cNvPr id="5" name="Foliennummernplatzhalter 4">
            <a:extLst>
              <a:ext uri="{FF2B5EF4-FFF2-40B4-BE49-F238E27FC236}">
                <a16:creationId xmlns:a16="http://schemas.microsoft.com/office/drawing/2014/main" id="{4FB5342A-7DB0-DE41-8E45-5419019BEACA}"/>
              </a:ext>
            </a:extLst>
          </p:cNvPr>
          <p:cNvSpPr>
            <a:spLocks noGrp="1"/>
          </p:cNvSpPr>
          <p:nvPr>
            <p:ph type="sldNum" sz="quarter" idx="17"/>
          </p:nvPr>
        </p:nvSpPr>
        <p:spPr/>
        <p:txBody>
          <a:bodyPr/>
          <a:lstStyle/>
          <a:p>
            <a:fld id="{09E9C37E-8A19-4E30-BE2B-5A966AD23C7A}" type="slidenum">
              <a:rPr lang="de-DE" smtClean="0"/>
              <a:pPr/>
              <a:t>7</a:t>
            </a:fld>
            <a:endParaRPr lang="de-DE" dirty="0"/>
          </a:p>
        </p:txBody>
      </p:sp>
      <p:sp>
        <p:nvSpPr>
          <p:cNvPr id="6" name="Textplatzhalter 5">
            <a:extLst>
              <a:ext uri="{FF2B5EF4-FFF2-40B4-BE49-F238E27FC236}">
                <a16:creationId xmlns:a16="http://schemas.microsoft.com/office/drawing/2014/main" id="{155FB7EF-321A-194E-9A20-CD40E32A15D0}"/>
              </a:ext>
            </a:extLst>
          </p:cNvPr>
          <p:cNvSpPr>
            <a:spLocks noGrp="1"/>
          </p:cNvSpPr>
          <p:nvPr>
            <p:ph type="body" sz="quarter" idx="14"/>
          </p:nvPr>
        </p:nvSpPr>
        <p:spPr/>
        <p:txBody>
          <a:bodyPr/>
          <a:lstStyle/>
          <a:p>
            <a:endParaRPr lang="de-DE" dirty="0"/>
          </a:p>
        </p:txBody>
      </p:sp>
      <p:sp>
        <p:nvSpPr>
          <p:cNvPr id="7" name="Titel 6">
            <a:extLst>
              <a:ext uri="{FF2B5EF4-FFF2-40B4-BE49-F238E27FC236}">
                <a16:creationId xmlns:a16="http://schemas.microsoft.com/office/drawing/2014/main" id="{96FEFC00-B17D-4E4D-A46C-21854FBE5C2A}"/>
              </a:ext>
            </a:extLst>
          </p:cNvPr>
          <p:cNvSpPr>
            <a:spLocks noGrp="1"/>
          </p:cNvSpPr>
          <p:nvPr>
            <p:ph type="ctrTitle"/>
          </p:nvPr>
        </p:nvSpPr>
        <p:spPr/>
        <p:txBody>
          <a:bodyPr/>
          <a:lstStyle/>
          <a:p>
            <a:endParaRPr lang="de-DE" dirty="0"/>
          </a:p>
        </p:txBody>
      </p:sp>
      <p:sp>
        <p:nvSpPr>
          <p:cNvPr id="4" name="Fußzeilenplatzhalter 3">
            <a:extLst>
              <a:ext uri="{FF2B5EF4-FFF2-40B4-BE49-F238E27FC236}">
                <a16:creationId xmlns:a16="http://schemas.microsoft.com/office/drawing/2014/main" id="{D9756616-2E01-3249-BBC0-A34439F924A0}"/>
              </a:ext>
            </a:extLst>
          </p:cNvPr>
          <p:cNvSpPr>
            <a:spLocks noGrp="1"/>
          </p:cNvSpPr>
          <p:nvPr>
            <p:ph type="ftr" sz="quarter" idx="16"/>
          </p:nvPr>
        </p:nvSpPr>
        <p:spPr/>
        <p:txBody>
          <a:bodyPr/>
          <a:lstStyle/>
          <a:p>
            <a:r>
              <a:rPr lang="de-DE" dirty="0"/>
              <a:t>TITEL DER PRÄSENTATION | TITEL VORNAME NAME</a:t>
            </a:r>
          </a:p>
        </p:txBody>
      </p:sp>
    </p:spTree>
    <p:extLst>
      <p:ext uri="{BB962C8B-B14F-4D97-AF65-F5344CB8AC3E}">
        <p14:creationId xmlns:p14="http://schemas.microsoft.com/office/powerpoint/2010/main" val="156315637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Objekt 69" hidden="1"/>
          <p:cNvGraphicFramePr>
            <a:graphicFrameLocks noChangeAspect="1"/>
          </p:cNvGraphicFramePr>
          <p:nvPr>
            <p:custDataLst>
              <p:tags r:id="rId1"/>
            </p:custDataLst>
            <p:extLst>
              <p:ext uri="{D42A27DB-BD31-4B8C-83A1-F6EECF244321}">
                <p14:modId xmlns:p14="http://schemas.microsoft.com/office/powerpoint/2010/main" val="1339401731"/>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0" name="Objekt 6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bwMode="gray"/>
        <p:txBody>
          <a:bodyPr vert="horz"/>
          <a:lstStyle/>
          <a:p>
            <a:r>
              <a:rPr lang="de-DE" dirty="0"/>
              <a:t>Organigramm</a:t>
            </a:r>
          </a:p>
        </p:txBody>
      </p:sp>
      <p:sp>
        <p:nvSpPr>
          <p:cNvPr id="3" name="Datumsplatzhalter 2">
            <a:extLst>
              <a:ext uri="{FF2B5EF4-FFF2-40B4-BE49-F238E27FC236}">
                <a16:creationId xmlns:a16="http://schemas.microsoft.com/office/drawing/2014/main" id="{86FAA962-36A8-459D-9222-852304977025}"/>
              </a:ext>
            </a:extLst>
          </p:cNvPr>
          <p:cNvSpPr>
            <a:spLocks noGrp="1"/>
          </p:cNvSpPr>
          <p:nvPr>
            <p:ph type="dt" sz="half" idx="10"/>
          </p:nvPr>
        </p:nvSpPr>
        <p:spPr bwMode="gray"/>
        <p:txBody>
          <a:bodyPr/>
          <a:lstStyle/>
          <a:p>
            <a:fld id="{4D7F10D9-B224-4208-994A-95E3E0587577}" type="datetime1">
              <a:rPr lang="de-DE" smtClean="0"/>
              <a:t>29.09.25</a:t>
            </a:fld>
            <a:endParaRPr lang="de-DE" dirty="0"/>
          </a:p>
        </p:txBody>
      </p:sp>
      <p:sp>
        <p:nvSpPr>
          <p:cNvPr id="4" name="Fußzeilenplatzhalter 3">
            <a:extLst>
              <a:ext uri="{FF2B5EF4-FFF2-40B4-BE49-F238E27FC236}">
                <a16:creationId xmlns:a16="http://schemas.microsoft.com/office/drawing/2014/main" id="{520F5897-D968-4744-8085-D243745F4F6C}"/>
              </a:ext>
            </a:extLst>
          </p:cNvPr>
          <p:cNvSpPr>
            <a:spLocks noGrp="1"/>
          </p:cNvSpPr>
          <p:nvPr>
            <p:ph type="ftr" sz="quarter" idx="11"/>
          </p:nvPr>
        </p:nvSpPr>
        <p:spPr bwMode="gray"/>
        <p:txBody>
          <a:bodyPr/>
          <a:lstStyle/>
          <a:p>
            <a:r>
              <a:rPr lang="de-DE" dirty="0"/>
              <a:t>TITEL DER PRÄSENTATION | TITEL VORNAME NAME</a:t>
            </a:r>
          </a:p>
        </p:txBody>
      </p:sp>
      <p:sp>
        <p:nvSpPr>
          <p:cNvPr id="5" name="Foliennummernplatzhalter 4">
            <a:extLst>
              <a:ext uri="{FF2B5EF4-FFF2-40B4-BE49-F238E27FC236}">
                <a16:creationId xmlns:a16="http://schemas.microsoft.com/office/drawing/2014/main" id="{83D14462-0E79-4E45-B294-29DD489925CC}"/>
              </a:ext>
            </a:extLst>
          </p:cNvPr>
          <p:cNvSpPr>
            <a:spLocks noGrp="1"/>
          </p:cNvSpPr>
          <p:nvPr>
            <p:ph type="sldNum" sz="quarter" idx="12"/>
          </p:nvPr>
        </p:nvSpPr>
        <p:spPr bwMode="gray"/>
        <p:txBody>
          <a:bodyPr/>
          <a:lstStyle/>
          <a:p>
            <a:fld id="{09E9C37E-8A19-4E30-BE2B-5A966AD23C7A}" type="slidenum">
              <a:rPr lang="de-DE" smtClean="0"/>
              <a:pPr/>
              <a:t>70</a:t>
            </a:fld>
            <a:endParaRPr lang="de-DE" dirty="0"/>
          </a:p>
        </p:txBody>
      </p:sp>
      <p:sp>
        <p:nvSpPr>
          <p:cNvPr id="29" name="Content Placeholder 10">
            <a:extLst>
              <a:ext uri="{FF2B5EF4-FFF2-40B4-BE49-F238E27FC236}">
                <a16:creationId xmlns:a16="http://schemas.microsoft.com/office/drawing/2014/main" id="{0188C59B-AADA-4DAB-ABFD-B0D37E0C991D}"/>
              </a:ext>
            </a:extLst>
          </p:cNvPr>
          <p:cNvSpPr txBox="1">
            <a:spLocks/>
          </p:cNvSpPr>
          <p:nvPr/>
        </p:nvSpPr>
        <p:spPr bwMode="gray">
          <a:xfrm>
            <a:off x="4152649" y="1989075"/>
            <a:ext cx="3599113" cy="504000"/>
          </a:xfrm>
          <a:prstGeom prst="rect">
            <a:avLst/>
          </a:prstGeom>
          <a:solidFill>
            <a:schemeClr val="tx2"/>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Lorem ipsum</a:t>
            </a:r>
          </a:p>
        </p:txBody>
      </p:sp>
      <p:sp>
        <p:nvSpPr>
          <p:cNvPr id="30" name="Content Placeholder 10">
            <a:extLst>
              <a:ext uri="{FF2B5EF4-FFF2-40B4-BE49-F238E27FC236}">
                <a16:creationId xmlns:a16="http://schemas.microsoft.com/office/drawing/2014/main" id="{21B93072-DB15-4158-8CCA-E591EE7843F9}"/>
              </a:ext>
            </a:extLst>
          </p:cNvPr>
          <p:cNvSpPr txBox="1">
            <a:spLocks/>
          </p:cNvSpPr>
          <p:nvPr/>
        </p:nvSpPr>
        <p:spPr bwMode="gray">
          <a:xfrm>
            <a:off x="336551" y="2709000"/>
            <a:ext cx="5472112" cy="648000"/>
          </a:xfrm>
          <a:prstGeom prst="rect">
            <a:avLst/>
          </a:prstGeom>
          <a:solidFill>
            <a:schemeClr val="bg2"/>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br>
              <a:rPr lang="de-DE" dirty="0">
                <a:solidFill>
                  <a:schemeClr val="bg1"/>
                </a:solidFill>
              </a:rPr>
            </a:br>
            <a:r>
              <a:rPr lang="de-DE" b="0" dirty="0">
                <a:solidFill>
                  <a:schemeClr val="bg1"/>
                </a:solidFill>
              </a:rPr>
              <a:t>Maecenas porttitor congue.</a:t>
            </a:r>
          </a:p>
        </p:txBody>
      </p:sp>
      <p:sp>
        <p:nvSpPr>
          <p:cNvPr id="31" name="Content Placeholder 10">
            <a:extLst>
              <a:ext uri="{FF2B5EF4-FFF2-40B4-BE49-F238E27FC236}">
                <a16:creationId xmlns:a16="http://schemas.microsoft.com/office/drawing/2014/main" id="{B3C6E98A-2A36-494E-A985-7FC4000ED57C}"/>
              </a:ext>
            </a:extLst>
          </p:cNvPr>
          <p:cNvSpPr txBox="1">
            <a:spLocks/>
          </p:cNvSpPr>
          <p:nvPr/>
        </p:nvSpPr>
        <p:spPr bwMode="gray">
          <a:xfrm>
            <a:off x="6096000" y="2709000"/>
            <a:ext cx="5472112" cy="648000"/>
          </a:xfrm>
          <a:prstGeom prst="rect">
            <a:avLst/>
          </a:prstGeom>
          <a:solidFill>
            <a:schemeClr val="bg2"/>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br>
              <a:rPr lang="de-DE" dirty="0">
                <a:solidFill>
                  <a:schemeClr val="bg1"/>
                </a:solidFill>
              </a:rPr>
            </a:br>
            <a:r>
              <a:rPr lang="de-DE" b="0" dirty="0">
                <a:solidFill>
                  <a:schemeClr val="bg1"/>
                </a:solidFill>
              </a:rPr>
              <a:t>Maecenas porttitor congue.</a:t>
            </a:r>
          </a:p>
        </p:txBody>
      </p:sp>
      <p:cxnSp>
        <p:nvCxnSpPr>
          <p:cNvPr id="10" name="Verbinder: gewinkelt 9">
            <a:extLst>
              <a:ext uri="{FF2B5EF4-FFF2-40B4-BE49-F238E27FC236}">
                <a16:creationId xmlns:a16="http://schemas.microsoft.com/office/drawing/2014/main" id="{C9CDC6C4-5B1C-4BED-B905-E0469E6759B3}"/>
              </a:ext>
            </a:extLst>
          </p:cNvPr>
          <p:cNvCxnSpPr>
            <a:stCxn id="30" idx="0"/>
            <a:endCxn id="29" idx="2"/>
          </p:cNvCxnSpPr>
          <p:nvPr/>
        </p:nvCxnSpPr>
        <p:spPr bwMode="gray">
          <a:xfrm rot="5400000" flipH="1" flipV="1">
            <a:off x="4404444" y="1161239"/>
            <a:ext cx="215925" cy="2879599"/>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Verbinder: gewinkelt 33">
            <a:extLst>
              <a:ext uri="{FF2B5EF4-FFF2-40B4-BE49-F238E27FC236}">
                <a16:creationId xmlns:a16="http://schemas.microsoft.com/office/drawing/2014/main" id="{730FC51E-F577-4658-8823-87FE24BD4AC5}"/>
              </a:ext>
            </a:extLst>
          </p:cNvPr>
          <p:cNvCxnSpPr>
            <a:cxnSpLocks/>
            <a:stCxn id="31" idx="0"/>
            <a:endCxn id="29" idx="2"/>
          </p:cNvCxnSpPr>
          <p:nvPr/>
        </p:nvCxnSpPr>
        <p:spPr bwMode="gray">
          <a:xfrm rot="16200000" flipV="1">
            <a:off x="7284169" y="1161113"/>
            <a:ext cx="215925" cy="2879850"/>
          </a:xfrm>
          <a:prstGeom prst="bentConnector3">
            <a:avLst>
              <a:gd name="adj1"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Content Placeholder 10">
            <a:extLst>
              <a:ext uri="{FF2B5EF4-FFF2-40B4-BE49-F238E27FC236}">
                <a16:creationId xmlns:a16="http://schemas.microsoft.com/office/drawing/2014/main" id="{B8E266B0-0214-4CED-B036-819763E9DFC9}"/>
              </a:ext>
            </a:extLst>
          </p:cNvPr>
          <p:cNvSpPr txBox="1">
            <a:spLocks/>
          </p:cNvSpPr>
          <p:nvPr/>
        </p:nvSpPr>
        <p:spPr bwMode="gray">
          <a:xfrm>
            <a:off x="336551" y="3501000"/>
            <a:ext cx="2590799" cy="648000"/>
          </a:xfrm>
          <a:prstGeom prst="rect">
            <a:avLst/>
          </a:prstGeom>
          <a:solidFill>
            <a:srgbClr val="E7E5E2"/>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br>
              <a:rPr lang="de-DE" dirty="0"/>
            </a:br>
            <a:r>
              <a:rPr lang="de-DE" b="0" dirty="0"/>
              <a:t>Maecenas porttitor.</a:t>
            </a:r>
          </a:p>
        </p:txBody>
      </p:sp>
      <p:sp>
        <p:nvSpPr>
          <p:cNvPr id="40" name="Content Placeholder 10">
            <a:extLst>
              <a:ext uri="{FF2B5EF4-FFF2-40B4-BE49-F238E27FC236}">
                <a16:creationId xmlns:a16="http://schemas.microsoft.com/office/drawing/2014/main" id="{6E1ED667-3571-4BD6-AEEE-AD5B3406FF42}"/>
              </a:ext>
            </a:extLst>
          </p:cNvPr>
          <p:cNvSpPr txBox="1">
            <a:spLocks/>
          </p:cNvSpPr>
          <p:nvPr/>
        </p:nvSpPr>
        <p:spPr bwMode="gray">
          <a:xfrm>
            <a:off x="3216000" y="3501000"/>
            <a:ext cx="2590799" cy="648000"/>
          </a:xfrm>
          <a:prstGeom prst="rect">
            <a:avLst/>
          </a:prstGeom>
          <a:solidFill>
            <a:srgbClr val="E7E5E2"/>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br>
              <a:rPr lang="de-DE" dirty="0"/>
            </a:br>
            <a:r>
              <a:rPr lang="de-DE" b="0" dirty="0"/>
              <a:t>Maecenas porttitor.</a:t>
            </a:r>
          </a:p>
        </p:txBody>
      </p:sp>
      <p:sp>
        <p:nvSpPr>
          <p:cNvPr id="42" name="Content Placeholder 10">
            <a:extLst>
              <a:ext uri="{FF2B5EF4-FFF2-40B4-BE49-F238E27FC236}">
                <a16:creationId xmlns:a16="http://schemas.microsoft.com/office/drawing/2014/main" id="{12DB6478-316B-4C56-9DFD-14B9BCFDD17E}"/>
              </a:ext>
            </a:extLst>
          </p:cNvPr>
          <p:cNvSpPr txBox="1">
            <a:spLocks/>
          </p:cNvSpPr>
          <p:nvPr/>
        </p:nvSpPr>
        <p:spPr bwMode="gray">
          <a:xfrm>
            <a:off x="336551" y="4293000"/>
            <a:ext cx="2590799" cy="648000"/>
          </a:xfrm>
          <a:prstGeom prst="rect">
            <a:avLst/>
          </a:prstGeom>
          <a:solidFill>
            <a:srgbClr val="E7E5E2"/>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br>
              <a:rPr lang="de-DE" dirty="0"/>
            </a:br>
            <a:r>
              <a:rPr lang="de-DE" b="0" dirty="0"/>
              <a:t>Maecenas porttitor.</a:t>
            </a:r>
          </a:p>
        </p:txBody>
      </p:sp>
      <p:sp>
        <p:nvSpPr>
          <p:cNvPr id="43" name="Content Placeholder 10">
            <a:extLst>
              <a:ext uri="{FF2B5EF4-FFF2-40B4-BE49-F238E27FC236}">
                <a16:creationId xmlns:a16="http://schemas.microsoft.com/office/drawing/2014/main" id="{B41016CD-57EE-411A-9A1A-6472F43B1C63}"/>
              </a:ext>
            </a:extLst>
          </p:cNvPr>
          <p:cNvSpPr txBox="1">
            <a:spLocks/>
          </p:cNvSpPr>
          <p:nvPr/>
        </p:nvSpPr>
        <p:spPr bwMode="gray">
          <a:xfrm>
            <a:off x="3216000" y="4293000"/>
            <a:ext cx="2590799" cy="648000"/>
          </a:xfrm>
          <a:prstGeom prst="rect">
            <a:avLst/>
          </a:prstGeom>
          <a:solidFill>
            <a:srgbClr val="E7E5E2"/>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br>
              <a:rPr lang="de-DE" dirty="0"/>
            </a:br>
            <a:r>
              <a:rPr lang="de-DE" b="0" dirty="0"/>
              <a:t>Maecenas porttitor.</a:t>
            </a:r>
          </a:p>
        </p:txBody>
      </p:sp>
      <p:sp>
        <p:nvSpPr>
          <p:cNvPr id="46" name="Content Placeholder 10">
            <a:extLst>
              <a:ext uri="{FF2B5EF4-FFF2-40B4-BE49-F238E27FC236}">
                <a16:creationId xmlns:a16="http://schemas.microsoft.com/office/drawing/2014/main" id="{CC7D0F37-C343-4A14-B43E-C94F8EFE9286}"/>
              </a:ext>
            </a:extLst>
          </p:cNvPr>
          <p:cNvSpPr txBox="1">
            <a:spLocks/>
          </p:cNvSpPr>
          <p:nvPr/>
        </p:nvSpPr>
        <p:spPr bwMode="gray">
          <a:xfrm>
            <a:off x="336551" y="5085000"/>
            <a:ext cx="2590799" cy="648000"/>
          </a:xfrm>
          <a:prstGeom prst="rect">
            <a:avLst/>
          </a:prstGeom>
          <a:solidFill>
            <a:srgbClr val="E7E5E2"/>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br>
              <a:rPr lang="de-DE" dirty="0"/>
            </a:br>
            <a:r>
              <a:rPr lang="de-DE" b="0" dirty="0"/>
              <a:t>Maecenas porttitor.</a:t>
            </a:r>
          </a:p>
        </p:txBody>
      </p:sp>
      <p:sp>
        <p:nvSpPr>
          <p:cNvPr id="48" name="Content Placeholder 10">
            <a:extLst>
              <a:ext uri="{FF2B5EF4-FFF2-40B4-BE49-F238E27FC236}">
                <a16:creationId xmlns:a16="http://schemas.microsoft.com/office/drawing/2014/main" id="{9AD48E70-D282-4DB7-9704-A3F387508DDD}"/>
              </a:ext>
            </a:extLst>
          </p:cNvPr>
          <p:cNvSpPr txBox="1">
            <a:spLocks/>
          </p:cNvSpPr>
          <p:nvPr/>
        </p:nvSpPr>
        <p:spPr bwMode="gray">
          <a:xfrm>
            <a:off x="3216000" y="5085000"/>
            <a:ext cx="2590799" cy="648000"/>
          </a:xfrm>
          <a:prstGeom prst="rect">
            <a:avLst/>
          </a:prstGeom>
          <a:solidFill>
            <a:srgbClr val="E7E5E2"/>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br>
              <a:rPr lang="de-DE" dirty="0"/>
            </a:br>
            <a:r>
              <a:rPr lang="de-DE" b="0" dirty="0"/>
              <a:t>Maecenas porttitor.</a:t>
            </a:r>
          </a:p>
        </p:txBody>
      </p:sp>
      <p:sp>
        <p:nvSpPr>
          <p:cNvPr id="49" name="Content Placeholder 10">
            <a:extLst>
              <a:ext uri="{FF2B5EF4-FFF2-40B4-BE49-F238E27FC236}">
                <a16:creationId xmlns:a16="http://schemas.microsoft.com/office/drawing/2014/main" id="{DD035C56-F6F7-4636-808A-874360B4A8DA}"/>
              </a:ext>
            </a:extLst>
          </p:cNvPr>
          <p:cNvSpPr txBox="1">
            <a:spLocks/>
          </p:cNvSpPr>
          <p:nvPr/>
        </p:nvSpPr>
        <p:spPr bwMode="gray">
          <a:xfrm>
            <a:off x="6097752" y="3501000"/>
            <a:ext cx="2590799" cy="648000"/>
          </a:xfrm>
          <a:prstGeom prst="rect">
            <a:avLst/>
          </a:prstGeom>
          <a:solidFill>
            <a:srgbClr val="E7E5E2"/>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br>
              <a:rPr lang="de-DE" dirty="0"/>
            </a:br>
            <a:r>
              <a:rPr lang="de-DE" b="0" dirty="0"/>
              <a:t>Maecenas porttitor.</a:t>
            </a:r>
          </a:p>
        </p:txBody>
      </p:sp>
      <p:sp>
        <p:nvSpPr>
          <p:cNvPr id="50" name="Content Placeholder 10">
            <a:extLst>
              <a:ext uri="{FF2B5EF4-FFF2-40B4-BE49-F238E27FC236}">
                <a16:creationId xmlns:a16="http://schemas.microsoft.com/office/drawing/2014/main" id="{E604DE57-5DF8-44F0-86C1-08A6329E1025}"/>
              </a:ext>
            </a:extLst>
          </p:cNvPr>
          <p:cNvSpPr txBox="1">
            <a:spLocks/>
          </p:cNvSpPr>
          <p:nvPr/>
        </p:nvSpPr>
        <p:spPr bwMode="gray">
          <a:xfrm>
            <a:off x="8977201" y="3501000"/>
            <a:ext cx="2590799" cy="648000"/>
          </a:xfrm>
          <a:prstGeom prst="rect">
            <a:avLst/>
          </a:prstGeom>
          <a:solidFill>
            <a:srgbClr val="E7E5E2"/>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br>
              <a:rPr lang="de-DE" dirty="0"/>
            </a:br>
            <a:r>
              <a:rPr lang="de-DE" b="0" dirty="0"/>
              <a:t>Maecenas porttitor.</a:t>
            </a:r>
          </a:p>
        </p:txBody>
      </p:sp>
      <p:sp>
        <p:nvSpPr>
          <p:cNvPr id="51" name="Content Placeholder 10">
            <a:extLst>
              <a:ext uri="{FF2B5EF4-FFF2-40B4-BE49-F238E27FC236}">
                <a16:creationId xmlns:a16="http://schemas.microsoft.com/office/drawing/2014/main" id="{B2F1800F-9B47-4963-A0E2-97D801B6F5A0}"/>
              </a:ext>
            </a:extLst>
          </p:cNvPr>
          <p:cNvSpPr txBox="1">
            <a:spLocks/>
          </p:cNvSpPr>
          <p:nvPr/>
        </p:nvSpPr>
        <p:spPr bwMode="gray">
          <a:xfrm>
            <a:off x="6097752" y="4293000"/>
            <a:ext cx="2590799" cy="648000"/>
          </a:xfrm>
          <a:prstGeom prst="rect">
            <a:avLst/>
          </a:prstGeom>
          <a:solidFill>
            <a:srgbClr val="E7E5E2"/>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br>
              <a:rPr lang="de-DE" dirty="0"/>
            </a:br>
            <a:r>
              <a:rPr lang="de-DE" b="0" dirty="0"/>
              <a:t>Maecenas porttitor.</a:t>
            </a:r>
          </a:p>
        </p:txBody>
      </p:sp>
      <p:sp>
        <p:nvSpPr>
          <p:cNvPr id="53" name="Content Placeholder 10">
            <a:extLst>
              <a:ext uri="{FF2B5EF4-FFF2-40B4-BE49-F238E27FC236}">
                <a16:creationId xmlns:a16="http://schemas.microsoft.com/office/drawing/2014/main" id="{A62178B3-AB0C-4C5D-8834-24C173259DA0}"/>
              </a:ext>
            </a:extLst>
          </p:cNvPr>
          <p:cNvSpPr txBox="1">
            <a:spLocks/>
          </p:cNvSpPr>
          <p:nvPr/>
        </p:nvSpPr>
        <p:spPr bwMode="gray">
          <a:xfrm>
            <a:off x="8977201" y="4293000"/>
            <a:ext cx="2590799" cy="648000"/>
          </a:xfrm>
          <a:prstGeom prst="rect">
            <a:avLst/>
          </a:prstGeom>
          <a:solidFill>
            <a:srgbClr val="E7E5E2"/>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br>
              <a:rPr lang="de-DE" dirty="0"/>
            </a:br>
            <a:r>
              <a:rPr lang="de-DE" b="0" dirty="0"/>
              <a:t>Maecenas porttitor.</a:t>
            </a:r>
          </a:p>
        </p:txBody>
      </p:sp>
      <p:sp>
        <p:nvSpPr>
          <p:cNvPr id="56" name="Content Placeholder 10">
            <a:extLst>
              <a:ext uri="{FF2B5EF4-FFF2-40B4-BE49-F238E27FC236}">
                <a16:creationId xmlns:a16="http://schemas.microsoft.com/office/drawing/2014/main" id="{DBB8BF11-7CE4-45EC-B8FB-8E65D3D6D821}"/>
              </a:ext>
            </a:extLst>
          </p:cNvPr>
          <p:cNvSpPr txBox="1">
            <a:spLocks/>
          </p:cNvSpPr>
          <p:nvPr/>
        </p:nvSpPr>
        <p:spPr bwMode="gray">
          <a:xfrm>
            <a:off x="6097752" y="5085000"/>
            <a:ext cx="2590799" cy="648000"/>
          </a:xfrm>
          <a:prstGeom prst="rect">
            <a:avLst/>
          </a:prstGeom>
          <a:solidFill>
            <a:srgbClr val="E7E5E2"/>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br>
              <a:rPr lang="de-DE" dirty="0"/>
            </a:br>
            <a:r>
              <a:rPr lang="de-DE" b="0" dirty="0"/>
              <a:t>Maecenas porttitor.</a:t>
            </a:r>
          </a:p>
        </p:txBody>
      </p:sp>
      <p:sp>
        <p:nvSpPr>
          <p:cNvPr id="58" name="Content Placeholder 10">
            <a:extLst>
              <a:ext uri="{FF2B5EF4-FFF2-40B4-BE49-F238E27FC236}">
                <a16:creationId xmlns:a16="http://schemas.microsoft.com/office/drawing/2014/main" id="{7958F659-F0D0-48E6-BBD0-4DE7BA1D5736}"/>
              </a:ext>
            </a:extLst>
          </p:cNvPr>
          <p:cNvSpPr txBox="1">
            <a:spLocks/>
          </p:cNvSpPr>
          <p:nvPr/>
        </p:nvSpPr>
        <p:spPr bwMode="gray">
          <a:xfrm>
            <a:off x="8977201" y="5085000"/>
            <a:ext cx="2590799" cy="648000"/>
          </a:xfrm>
          <a:prstGeom prst="rect">
            <a:avLst/>
          </a:prstGeom>
          <a:solidFill>
            <a:srgbClr val="E7E5E2"/>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br>
              <a:rPr lang="de-DE" dirty="0"/>
            </a:br>
            <a:r>
              <a:rPr lang="de-DE" b="0" dirty="0"/>
              <a:t>Maecenas porttitor.</a:t>
            </a:r>
          </a:p>
        </p:txBody>
      </p:sp>
    </p:spTree>
    <p:extLst>
      <p:ext uri="{BB962C8B-B14F-4D97-AF65-F5344CB8AC3E}">
        <p14:creationId xmlns:p14="http://schemas.microsoft.com/office/powerpoint/2010/main" val="2672726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70" name="Objekt 69" hidden="1"/>
          <p:cNvGraphicFramePr>
            <a:graphicFrameLocks noChangeAspect="1"/>
          </p:cNvGraphicFramePr>
          <p:nvPr>
            <p:custDataLst>
              <p:tags r:id="rId1"/>
            </p:custDataLst>
            <p:extLst>
              <p:ext uri="{D42A27DB-BD31-4B8C-83A1-F6EECF244321}">
                <p14:modId xmlns:p14="http://schemas.microsoft.com/office/powerpoint/2010/main" val="4202992234"/>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0" name="Objekt 6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bwMode="gray"/>
        <p:txBody>
          <a:bodyPr vert="horz"/>
          <a:lstStyle/>
          <a:p>
            <a:r>
              <a:rPr lang="de-DE" dirty="0"/>
              <a:t>Organigramm</a:t>
            </a:r>
          </a:p>
        </p:txBody>
      </p:sp>
      <p:sp>
        <p:nvSpPr>
          <p:cNvPr id="3" name="Datumsplatzhalter 2">
            <a:extLst>
              <a:ext uri="{FF2B5EF4-FFF2-40B4-BE49-F238E27FC236}">
                <a16:creationId xmlns:a16="http://schemas.microsoft.com/office/drawing/2014/main" id="{55428914-A025-4988-86D2-06475B114032}"/>
              </a:ext>
            </a:extLst>
          </p:cNvPr>
          <p:cNvSpPr>
            <a:spLocks noGrp="1"/>
          </p:cNvSpPr>
          <p:nvPr>
            <p:ph type="dt" sz="half" idx="10"/>
          </p:nvPr>
        </p:nvSpPr>
        <p:spPr bwMode="gray"/>
        <p:txBody>
          <a:bodyPr/>
          <a:lstStyle/>
          <a:p>
            <a:fld id="{BF5CE713-D313-4CAC-AF79-02F80A880F74}" type="datetime1">
              <a:rPr lang="de-DE" smtClean="0">
                <a:solidFill>
                  <a:schemeClr val="bg1"/>
                </a:solidFill>
              </a:rPr>
              <a:t>29.09.25</a:t>
            </a:fld>
            <a:endParaRPr lang="de-DE" dirty="0">
              <a:solidFill>
                <a:schemeClr val="bg1"/>
              </a:solidFill>
            </a:endParaRPr>
          </a:p>
        </p:txBody>
      </p:sp>
      <p:sp>
        <p:nvSpPr>
          <p:cNvPr id="4" name="Fußzeilenplatzhalter 3">
            <a:extLst>
              <a:ext uri="{FF2B5EF4-FFF2-40B4-BE49-F238E27FC236}">
                <a16:creationId xmlns:a16="http://schemas.microsoft.com/office/drawing/2014/main" id="{B2E0DB85-34CD-46DF-A05F-69E2D78BA24F}"/>
              </a:ext>
            </a:extLst>
          </p:cNvPr>
          <p:cNvSpPr>
            <a:spLocks noGrp="1"/>
          </p:cNvSpPr>
          <p:nvPr>
            <p:ph type="ftr" sz="quarter" idx="11"/>
          </p:nvPr>
        </p:nvSpPr>
        <p:spPr bwMode="gray"/>
        <p:txBody>
          <a:bodyPr/>
          <a:lstStyle/>
          <a:p>
            <a:r>
              <a:rPr lang="de-DE" dirty="0">
                <a:solidFill>
                  <a:schemeClr val="bg1"/>
                </a:solidFill>
              </a:rPr>
              <a:t>TITEL DER PRÄSENTATION | TITEL VORNAME NAME</a:t>
            </a:r>
          </a:p>
        </p:txBody>
      </p:sp>
      <p:sp>
        <p:nvSpPr>
          <p:cNvPr id="5" name="Foliennummernplatzhalter 4">
            <a:extLst>
              <a:ext uri="{FF2B5EF4-FFF2-40B4-BE49-F238E27FC236}">
                <a16:creationId xmlns:a16="http://schemas.microsoft.com/office/drawing/2014/main" id="{9BEEA1C5-07BE-4F6E-B00D-582D3049EA5D}"/>
              </a:ext>
            </a:extLst>
          </p:cNvPr>
          <p:cNvSpPr>
            <a:spLocks noGrp="1"/>
          </p:cNvSpPr>
          <p:nvPr>
            <p:ph type="sldNum" sz="quarter" idx="12"/>
          </p:nvPr>
        </p:nvSpPr>
        <p:spPr bwMode="gray"/>
        <p:txBody>
          <a:bodyPr/>
          <a:lstStyle/>
          <a:p>
            <a:fld id="{09E9C37E-8A19-4E30-BE2B-5A966AD23C7A}" type="slidenum">
              <a:rPr lang="de-DE" smtClean="0">
                <a:solidFill>
                  <a:schemeClr val="bg1"/>
                </a:solidFill>
              </a:rPr>
              <a:pPr/>
              <a:t>71</a:t>
            </a:fld>
            <a:endParaRPr lang="de-DE" dirty="0">
              <a:solidFill>
                <a:schemeClr val="bg1"/>
              </a:solidFill>
            </a:endParaRPr>
          </a:p>
        </p:txBody>
      </p:sp>
      <p:sp>
        <p:nvSpPr>
          <p:cNvPr id="29" name="Content Placeholder 10">
            <a:extLst>
              <a:ext uri="{FF2B5EF4-FFF2-40B4-BE49-F238E27FC236}">
                <a16:creationId xmlns:a16="http://schemas.microsoft.com/office/drawing/2014/main" id="{0188C59B-AADA-4DAB-ABFD-B0D37E0C991D}"/>
              </a:ext>
            </a:extLst>
          </p:cNvPr>
          <p:cNvSpPr txBox="1">
            <a:spLocks/>
          </p:cNvSpPr>
          <p:nvPr/>
        </p:nvSpPr>
        <p:spPr bwMode="gray">
          <a:xfrm>
            <a:off x="4152649" y="1989075"/>
            <a:ext cx="3599113" cy="504000"/>
          </a:xfrm>
          <a:prstGeom prst="rect">
            <a:avLst/>
          </a:prstGeom>
          <a:solidFill>
            <a:schemeClr val="tx2"/>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Lorem ipsum</a:t>
            </a:r>
          </a:p>
        </p:txBody>
      </p:sp>
      <p:sp>
        <p:nvSpPr>
          <p:cNvPr id="30" name="Content Placeholder 10">
            <a:extLst>
              <a:ext uri="{FF2B5EF4-FFF2-40B4-BE49-F238E27FC236}">
                <a16:creationId xmlns:a16="http://schemas.microsoft.com/office/drawing/2014/main" id="{21B93072-DB15-4158-8CCA-E591EE7843F9}"/>
              </a:ext>
            </a:extLst>
          </p:cNvPr>
          <p:cNvSpPr txBox="1">
            <a:spLocks/>
          </p:cNvSpPr>
          <p:nvPr/>
        </p:nvSpPr>
        <p:spPr bwMode="gray">
          <a:xfrm>
            <a:off x="336551" y="2709000"/>
            <a:ext cx="5472112" cy="648000"/>
          </a:xfrm>
          <a:prstGeom prst="rect">
            <a:avLst/>
          </a:prstGeom>
          <a:solidFill>
            <a:schemeClr val="tx2"/>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br>
              <a:rPr lang="de-DE" dirty="0">
                <a:solidFill>
                  <a:schemeClr val="bg1"/>
                </a:solidFill>
              </a:rPr>
            </a:br>
            <a:r>
              <a:rPr lang="de-DE" b="0" dirty="0">
                <a:solidFill>
                  <a:schemeClr val="bg1"/>
                </a:solidFill>
              </a:rPr>
              <a:t>Maecenas porttitor congue.</a:t>
            </a:r>
          </a:p>
        </p:txBody>
      </p:sp>
      <p:sp>
        <p:nvSpPr>
          <p:cNvPr id="31" name="Content Placeholder 10">
            <a:extLst>
              <a:ext uri="{FF2B5EF4-FFF2-40B4-BE49-F238E27FC236}">
                <a16:creationId xmlns:a16="http://schemas.microsoft.com/office/drawing/2014/main" id="{B3C6E98A-2A36-494E-A985-7FC4000ED57C}"/>
              </a:ext>
            </a:extLst>
          </p:cNvPr>
          <p:cNvSpPr txBox="1">
            <a:spLocks/>
          </p:cNvSpPr>
          <p:nvPr/>
        </p:nvSpPr>
        <p:spPr bwMode="gray">
          <a:xfrm>
            <a:off x="6096000" y="2709000"/>
            <a:ext cx="5472112" cy="648000"/>
          </a:xfrm>
          <a:prstGeom prst="rect">
            <a:avLst/>
          </a:prstGeom>
          <a:solidFill>
            <a:schemeClr val="tx2"/>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br>
              <a:rPr lang="de-DE" dirty="0">
                <a:solidFill>
                  <a:schemeClr val="bg1"/>
                </a:solidFill>
              </a:rPr>
            </a:br>
            <a:r>
              <a:rPr lang="de-DE" b="0" dirty="0">
                <a:solidFill>
                  <a:schemeClr val="bg1"/>
                </a:solidFill>
              </a:rPr>
              <a:t>Maecenas porttitor congue.</a:t>
            </a:r>
          </a:p>
        </p:txBody>
      </p:sp>
      <p:cxnSp>
        <p:nvCxnSpPr>
          <p:cNvPr id="10" name="Verbinder: gewinkelt 9">
            <a:extLst>
              <a:ext uri="{FF2B5EF4-FFF2-40B4-BE49-F238E27FC236}">
                <a16:creationId xmlns:a16="http://schemas.microsoft.com/office/drawing/2014/main" id="{C9CDC6C4-5B1C-4BED-B905-E0469E6759B3}"/>
              </a:ext>
            </a:extLst>
          </p:cNvPr>
          <p:cNvCxnSpPr>
            <a:stCxn id="30" idx="0"/>
            <a:endCxn id="29" idx="2"/>
          </p:cNvCxnSpPr>
          <p:nvPr/>
        </p:nvCxnSpPr>
        <p:spPr bwMode="gray">
          <a:xfrm rot="5400000" flipH="1" flipV="1">
            <a:off x="4404444" y="1161239"/>
            <a:ext cx="215925" cy="2879599"/>
          </a:xfrm>
          <a:prstGeom prst="bentConnector3">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Verbinder: gewinkelt 33">
            <a:extLst>
              <a:ext uri="{FF2B5EF4-FFF2-40B4-BE49-F238E27FC236}">
                <a16:creationId xmlns:a16="http://schemas.microsoft.com/office/drawing/2014/main" id="{730FC51E-F577-4658-8823-87FE24BD4AC5}"/>
              </a:ext>
            </a:extLst>
          </p:cNvPr>
          <p:cNvCxnSpPr>
            <a:cxnSpLocks/>
            <a:stCxn id="31" idx="0"/>
            <a:endCxn id="29" idx="2"/>
          </p:cNvCxnSpPr>
          <p:nvPr/>
        </p:nvCxnSpPr>
        <p:spPr bwMode="gray">
          <a:xfrm rot="16200000" flipV="1">
            <a:off x="7284169" y="1161113"/>
            <a:ext cx="215925" cy="2879850"/>
          </a:xfrm>
          <a:prstGeom prst="bentConnector3">
            <a:avLst>
              <a:gd name="adj1" fmla="val 50000"/>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Content Placeholder 10">
            <a:extLst>
              <a:ext uri="{FF2B5EF4-FFF2-40B4-BE49-F238E27FC236}">
                <a16:creationId xmlns:a16="http://schemas.microsoft.com/office/drawing/2014/main" id="{B8E266B0-0214-4CED-B036-819763E9DFC9}"/>
              </a:ext>
            </a:extLst>
          </p:cNvPr>
          <p:cNvSpPr txBox="1">
            <a:spLocks/>
          </p:cNvSpPr>
          <p:nvPr/>
        </p:nvSpPr>
        <p:spPr bwMode="gray">
          <a:xfrm>
            <a:off x="336551" y="3501000"/>
            <a:ext cx="2590799" cy="648000"/>
          </a:xfrm>
          <a:prstGeom prst="rect">
            <a:avLst/>
          </a:prstGeom>
          <a:no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br>
              <a:rPr lang="de-DE" dirty="0">
                <a:solidFill>
                  <a:schemeClr val="bg1"/>
                </a:solidFill>
              </a:rPr>
            </a:br>
            <a:r>
              <a:rPr lang="de-DE" b="0" dirty="0">
                <a:solidFill>
                  <a:schemeClr val="bg1"/>
                </a:solidFill>
              </a:rPr>
              <a:t>Maecenas porttitor.</a:t>
            </a:r>
          </a:p>
        </p:txBody>
      </p:sp>
      <p:sp>
        <p:nvSpPr>
          <p:cNvPr id="40" name="Content Placeholder 10">
            <a:extLst>
              <a:ext uri="{FF2B5EF4-FFF2-40B4-BE49-F238E27FC236}">
                <a16:creationId xmlns:a16="http://schemas.microsoft.com/office/drawing/2014/main" id="{6E1ED667-3571-4BD6-AEEE-AD5B3406FF42}"/>
              </a:ext>
            </a:extLst>
          </p:cNvPr>
          <p:cNvSpPr txBox="1">
            <a:spLocks/>
          </p:cNvSpPr>
          <p:nvPr/>
        </p:nvSpPr>
        <p:spPr bwMode="gray">
          <a:xfrm>
            <a:off x="3216000" y="3501000"/>
            <a:ext cx="2590799" cy="648000"/>
          </a:xfrm>
          <a:prstGeom prst="rect">
            <a:avLst/>
          </a:prstGeom>
          <a:no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br>
              <a:rPr lang="de-DE" dirty="0">
                <a:solidFill>
                  <a:schemeClr val="bg1"/>
                </a:solidFill>
              </a:rPr>
            </a:br>
            <a:r>
              <a:rPr lang="de-DE" b="0" dirty="0">
                <a:solidFill>
                  <a:schemeClr val="bg1"/>
                </a:solidFill>
              </a:rPr>
              <a:t>Maecenas porttitor.</a:t>
            </a:r>
          </a:p>
        </p:txBody>
      </p:sp>
      <p:sp>
        <p:nvSpPr>
          <p:cNvPr id="42" name="Content Placeholder 10">
            <a:extLst>
              <a:ext uri="{FF2B5EF4-FFF2-40B4-BE49-F238E27FC236}">
                <a16:creationId xmlns:a16="http://schemas.microsoft.com/office/drawing/2014/main" id="{12DB6478-316B-4C56-9DFD-14B9BCFDD17E}"/>
              </a:ext>
            </a:extLst>
          </p:cNvPr>
          <p:cNvSpPr txBox="1">
            <a:spLocks/>
          </p:cNvSpPr>
          <p:nvPr/>
        </p:nvSpPr>
        <p:spPr bwMode="gray">
          <a:xfrm>
            <a:off x="336551" y="4293000"/>
            <a:ext cx="2590799" cy="648000"/>
          </a:xfrm>
          <a:prstGeom prst="rect">
            <a:avLst/>
          </a:prstGeom>
          <a:no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br>
              <a:rPr lang="de-DE" dirty="0">
                <a:solidFill>
                  <a:schemeClr val="bg1"/>
                </a:solidFill>
              </a:rPr>
            </a:br>
            <a:r>
              <a:rPr lang="de-DE" b="0" dirty="0">
                <a:solidFill>
                  <a:schemeClr val="bg1"/>
                </a:solidFill>
              </a:rPr>
              <a:t>Maecenas porttitor.</a:t>
            </a:r>
          </a:p>
        </p:txBody>
      </p:sp>
      <p:sp>
        <p:nvSpPr>
          <p:cNvPr id="43" name="Content Placeholder 10">
            <a:extLst>
              <a:ext uri="{FF2B5EF4-FFF2-40B4-BE49-F238E27FC236}">
                <a16:creationId xmlns:a16="http://schemas.microsoft.com/office/drawing/2014/main" id="{B41016CD-57EE-411A-9A1A-6472F43B1C63}"/>
              </a:ext>
            </a:extLst>
          </p:cNvPr>
          <p:cNvSpPr txBox="1">
            <a:spLocks/>
          </p:cNvSpPr>
          <p:nvPr/>
        </p:nvSpPr>
        <p:spPr bwMode="gray">
          <a:xfrm>
            <a:off x="3216000" y="4293000"/>
            <a:ext cx="2590799" cy="648000"/>
          </a:xfrm>
          <a:prstGeom prst="rect">
            <a:avLst/>
          </a:prstGeom>
          <a:no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br>
              <a:rPr lang="de-DE" dirty="0">
                <a:solidFill>
                  <a:schemeClr val="bg1"/>
                </a:solidFill>
              </a:rPr>
            </a:br>
            <a:r>
              <a:rPr lang="de-DE" b="0" dirty="0">
                <a:solidFill>
                  <a:schemeClr val="bg1"/>
                </a:solidFill>
              </a:rPr>
              <a:t>Maecenas porttitor.</a:t>
            </a:r>
          </a:p>
        </p:txBody>
      </p:sp>
      <p:sp>
        <p:nvSpPr>
          <p:cNvPr id="46" name="Content Placeholder 10">
            <a:extLst>
              <a:ext uri="{FF2B5EF4-FFF2-40B4-BE49-F238E27FC236}">
                <a16:creationId xmlns:a16="http://schemas.microsoft.com/office/drawing/2014/main" id="{CC7D0F37-C343-4A14-B43E-C94F8EFE9286}"/>
              </a:ext>
            </a:extLst>
          </p:cNvPr>
          <p:cNvSpPr txBox="1">
            <a:spLocks/>
          </p:cNvSpPr>
          <p:nvPr/>
        </p:nvSpPr>
        <p:spPr bwMode="gray">
          <a:xfrm>
            <a:off x="336551" y="5085000"/>
            <a:ext cx="2590799" cy="648000"/>
          </a:xfrm>
          <a:prstGeom prst="rect">
            <a:avLst/>
          </a:prstGeom>
          <a:no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br>
              <a:rPr lang="de-DE" dirty="0">
                <a:solidFill>
                  <a:schemeClr val="bg1"/>
                </a:solidFill>
              </a:rPr>
            </a:br>
            <a:r>
              <a:rPr lang="de-DE" b="0" dirty="0">
                <a:solidFill>
                  <a:schemeClr val="bg1"/>
                </a:solidFill>
              </a:rPr>
              <a:t>Maecenas porttitor.</a:t>
            </a:r>
          </a:p>
        </p:txBody>
      </p:sp>
      <p:sp>
        <p:nvSpPr>
          <p:cNvPr id="48" name="Content Placeholder 10">
            <a:extLst>
              <a:ext uri="{FF2B5EF4-FFF2-40B4-BE49-F238E27FC236}">
                <a16:creationId xmlns:a16="http://schemas.microsoft.com/office/drawing/2014/main" id="{9AD48E70-D282-4DB7-9704-A3F387508DDD}"/>
              </a:ext>
            </a:extLst>
          </p:cNvPr>
          <p:cNvSpPr txBox="1">
            <a:spLocks/>
          </p:cNvSpPr>
          <p:nvPr/>
        </p:nvSpPr>
        <p:spPr bwMode="gray">
          <a:xfrm>
            <a:off x="3216000" y="5085000"/>
            <a:ext cx="2590799" cy="648000"/>
          </a:xfrm>
          <a:prstGeom prst="rect">
            <a:avLst/>
          </a:prstGeom>
          <a:no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br>
              <a:rPr lang="de-DE" dirty="0">
                <a:solidFill>
                  <a:schemeClr val="bg1"/>
                </a:solidFill>
              </a:rPr>
            </a:br>
            <a:r>
              <a:rPr lang="de-DE" b="0" dirty="0">
                <a:solidFill>
                  <a:schemeClr val="bg1"/>
                </a:solidFill>
              </a:rPr>
              <a:t>Maecenas porttitor.</a:t>
            </a:r>
          </a:p>
        </p:txBody>
      </p:sp>
      <p:sp>
        <p:nvSpPr>
          <p:cNvPr id="49" name="Content Placeholder 10">
            <a:extLst>
              <a:ext uri="{FF2B5EF4-FFF2-40B4-BE49-F238E27FC236}">
                <a16:creationId xmlns:a16="http://schemas.microsoft.com/office/drawing/2014/main" id="{DD035C56-F6F7-4636-808A-874360B4A8DA}"/>
              </a:ext>
            </a:extLst>
          </p:cNvPr>
          <p:cNvSpPr txBox="1">
            <a:spLocks/>
          </p:cNvSpPr>
          <p:nvPr/>
        </p:nvSpPr>
        <p:spPr bwMode="gray">
          <a:xfrm>
            <a:off x="6097752" y="3501000"/>
            <a:ext cx="2590799" cy="648000"/>
          </a:xfrm>
          <a:prstGeom prst="rect">
            <a:avLst/>
          </a:prstGeom>
          <a:no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br>
              <a:rPr lang="de-DE" dirty="0">
                <a:solidFill>
                  <a:schemeClr val="bg1"/>
                </a:solidFill>
              </a:rPr>
            </a:br>
            <a:r>
              <a:rPr lang="de-DE" b="0" dirty="0">
                <a:solidFill>
                  <a:schemeClr val="bg1"/>
                </a:solidFill>
              </a:rPr>
              <a:t>Maecenas porttitor.</a:t>
            </a:r>
          </a:p>
        </p:txBody>
      </p:sp>
      <p:sp>
        <p:nvSpPr>
          <p:cNvPr id="50" name="Content Placeholder 10">
            <a:extLst>
              <a:ext uri="{FF2B5EF4-FFF2-40B4-BE49-F238E27FC236}">
                <a16:creationId xmlns:a16="http://schemas.microsoft.com/office/drawing/2014/main" id="{E604DE57-5DF8-44F0-86C1-08A6329E1025}"/>
              </a:ext>
            </a:extLst>
          </p:cNvPr>
          <p:cNvSpPr txBox="1">
            <a:spLocks/>
          </p:cNvSpPr>
          <p:nvPr/>
        </p:nvSpPr>
        <p:spPr bwMode="gray">
          <a:xfrm>
            <a:off x="8977201" y="3501000"/>
            <a:ext cx="2590799" cy="648000"/>
          </a:xfrm>
          <a:prstGeom prst="rect">
            <a:avLst/>
          </a:prstGeom>
          <a:no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br>
              <a:rPr lang="de-DE" dirty="0">
                <a:solidFill>
                  <a:schemeClr val="bg1"/>
                </a:solidFill>
              </a:rPr>
            </a:br>
            <a:r>
              <a:rPr lang="de-DE" b="0" dirty="0">
                <a:solidFill>
                  <a:schemeClr val="bg1"/>
                </a:solidFill>
              </a:rPr>
              <a:t>Maecenas porttitor.</a:t>
            </a:r>
          </a:p>
        </p:txBody>
      </p:sp>
      <p:sp>
        <p:nvSpPr>
          <p:cNvPr id="51" name="Content Placeholder 10">
            <a:extLst>
              <a:ext uri="{FF2B5EF4-FFF2-40B4-BE49-F238E27FC236}">
                <a16:creationId xmlns:a16="http://schemas.microsoft.com/office/drawing/2014/main" id="{B2F1800F-9B47-4963-A0E2-97D801B6F5A0}"/>
              </a:ext>
            </a:extLst>
          </p:cNvPr>
          <p:cNvSpPr txBox="1">
            <a:spLocks/>
          </p:cNvSpPr>
          <p:nvPr/>
        </p:nvSpPr>
        <p:spPr bwMode="gray">
          <a:xfrm>
            <a:off x="6097752" y="4293000"/>
            <a:ext cx="2590799" cy="648000"/>
          </a:xfrm>
          <a:prstGeom prst="rect">
            <a:avLst/>
          </a:prstGeom>
          <a:no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br>
              <a:rPr lang="de-DE" dirty="0">
                <a:solidFill>
                  <a:schemeClr val="bg1"/>
                </a:solidFill>
              </a:rPr>
            </a:br>
            <a:r>
              <a:rPr lang="de-DE" b="0" dirty="0">
                <a:solidFill>
                  <a:schemeClr val="bg1"/>
                </a:solidFill>
              </a:rPr>
              <a:t>Maecenas porttitor.</a:t>
            </a:r>
          </a:p>
        </p:txBody>
      </p:sp>
      <p:sp>
        <p:nvSpPr>
          <p:cNvPr id="53" name="Content Placeholder 10">
            <a:extLst>
              <a:ext uri="{FF2B5EF4-FFF2-40B4-BE49-F238E27FC236}">
                <a16:creationId xmlns:a16="http://schemas.microsoft.com/office/drawing/2014/main" id="{A62178B3-AB0C-4C5D-8834-24C173259DA0}"/>
              </a:ext>
            </a:extLst>
          </p:cNvPr>
          <p:cNvSpPr txBox="1">
            <a:spLocks/>
          </p:cNvSpPr>
          <p:nvPr/>
        </p:nvSpPr>
        <p:spPr bwMode="gray">
          <a:xfrm>
            <a:off x="8977201" y="4293000"/>
            <a:ext cx="2590799" cy="648000"/>
          </a:xfrm>
          <a:prstGeom prst="rect">
            <a:avLst/>
          </a:prstGeom>
          <a:no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br>
              <a:rPr lang="de-DE" dirty="0">
                <a:solidFill>
                  <a:schemeClr val="bg1"/>
                </a:solidFill>
              </a:rPr>
            </a:br>
            <a:r>
              <a:rPr lang="de-DE" b="0" dirty="0">
                <a:solidFill>
                  <a:schemeClr val="bg1"/>
                </a:solidFill>
              </a:rPr>
              <a:t>Maecenas porttitor.</a:t>
            </a:r>
          </a:p>
        </p:txBody>
      </p:sp>
      <p:sp>
        <p:nvSpPr>
          <p:cNvPr id="56" name="Content Placeholder 10">
            <a:extLst>
              <a:ext uri="{FF2B5EF4-FFF2-40B4-BE49-F238E27FC236}">
                <a16:creationId xmlns:a16="http://schemas.microsoft.com/office/drawing/2014/main" id="{DBB8BF11-7CE4-45EC-B8FB-8E65D3D6D821}"/>
              </a:ext>
            </a:extLst>
          </p:cNvPr>
          <p:cNvSpPr txBox="1">
            <a:spLocks/>
          </p:cNvSpPr>
          <p:nvPr/>
        </p:nvSpPr>
        <p:spPr bwMode="gray">
          <a:xfrm>
            <a:off x="6097752" y="5085000"/>
            <a:ext cx="2590799" cy="648000"/>
          </a:xfrm>
          <a:prstGeom prst="rect">
            <a:avLst/>
          </a:prstGeom>
          <a:no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br>
              <a:rPr lang="de-DE" dirty="0">
                <a:solidFill>
                  <a:schemeClr val="bg1"/>
                </a:solidFill>
              </a:rPr>
            </a:br>
            <a:r>
              <a:rPr lang="de-DE" b="0" dirty="0">
                <a:solidFill>
                  <a:schemeClr val="bg1"/>
                </a:solidFill>
              </a:rPr>
              <a:t>Maecenas porttitor.</a:t>
            </a:r>
          </a:p>
        </p:txBody>
      </p:sp>
      <p:sp>
        <p:nvSpPr>
          <p:cNvPr id="58" name="Content Placeholder 10">
            <a:extLst>
              <a:ext uri="{FF2B5EF4-FFF2-40B4-BE49-F238E27FC236}">
                <a16:creationId xmlns:a16="http://schemas.microsoft.com/office/drawing/2014/main" id="{7958F659-F0D0-48E6-BBD0-4DE7BA1D5736}"/>
              </a:ext>
            </a:extLst>
          </p:cNvPr>
          <p:cNvSpPr txBox="1">
            <a:spLocks/>
          </p:cNvSpPr>
          <p:nvPr/>
        </p:nvSpPr>
        <p:spPr bwMode="gray">
          <a:xfrm>
            <a:off x="8977201" y="5085000"/>
            <a:ext cx="2590799" cy="648000"/>
          </a:xfrm>
          <a:prstGeom prst="rect">
            <a:avLst/>
          </a:prstGeom>
          <a:no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br>
              <a:rPr lang="de-DE" dirty="0">
                <a:solidFill>
                  <a:schemeClr val="bg1"/>
                </a:solidFill>
              </a:rPr>
            </a:br>
            <a:r>
              <a:rPr lang="de-DE" b="0" dirty="0">
                <a:solidFill>
                  <a:schemeClr val="bg1"/>
                </a:solidFill>
              </a:rPr>
              <a:t>Maecenas porttitor.</a:t>
            </a:r>
          </a:p>
        </p:txBody>
      </p:sp>
    </p:spTree>
    <p:extLst>
      <p:ext uri="{BB962C8B-B14F-4D97-AF65-F5344CB8AC3E}">
        <p14:creationId xmlns:p14="http://schemas.microsoft.com/office/powerpoint/2010/main" val="3691074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CFD81D0-965E-4C28-8E48-AF86F8886F31}"/>
              </a:ext>
            </a:extLst>
          </p:cNvPr>
          <p:cNvGraphicFramePr>
            <a:graphicFrameLocks noChangeAspect="1"/>
          </p:cNvGraphicFramePr>
          <p:nvPr>
            <p:custDataLst>
              <p:tags r:id="rId1"/>
            </p:custDataLst>
            <p:extLst>
              <p:ext uri="{D42A27DB-BD31-4B8C-83A1-F6EECF244321}">
                <p14:modId xmlns:p14="http://schemas.microsoft.com/office/powerpoint/2010/main" val="4287437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10" name="Objekt 9" hidden="1">
                        <a:extLst>
                          <a:ext uri="{FF2B5EF4-FFF2-40B4-BE49-F238E27FC236}">
                            <a16:creationId xmlns:a16="http://schemas.microsoft.com/office/drawing/2014/main" id="{0CFD81D0-965E-4C28-8E48-AF86F8886F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8" name="Inhaltsplatzhalter 7">
            <a:extLst>
              <a:ext uri="{FF2B5EF4-FFF2-40B4-BE49-F238E27FC236}">
                <a16:creationId xmlns:a16="http://schemas.microsoft.com/office/drawing/2014/main" id="{F343E35B-611D-4600-B4BD-B183A3CFB3BF}"/>
              </a:ext>
            </a:extLst>
          </p:cNvPr>
          <p:cNvGraphicFramePr>
            <a:graphicFrameLocks noGrp="1"/>
          </p:cNvGraphicFramePr>
          <p:nvPr>
            <p:ph sz="quarter" idx="18"/>
            <p:extLst>
              <p:ext uri="{D42A27DB-BD31-4B8C-83A1-F6EECF244321}">
                <p14:modId xmlns:p14="http://schemas.microsoft.com/office/powerpoint/2010/main" val="3302724989"/>
              </p:ext>
            </p:extLst>
          </p:nvPr>
        </p:nvGraphicFramePr>
        <p:xfrm>
          <a:off x="336550" y="1989138"/>
          <a:ext cx="11232000" cy="3748088"/>
        </p:xfrm>
        <a:graphic>
          <a:graphicData uri="http://schemas.openxmlformats.org/drawingml/2006/table">
            <a:tbl>
              <a:tblPr firstRow="1" bandRow="1">
                <a:tableStyleId>{5C22544A-7EE6-4342-B048-85BDC9FD1C3A}</a:tableStyleId>
              </a:tblPr>
              <a:tblGrid>
                <a:gridCol w="2246400">
                  <a:extLst>
                    <a:ext uri="{9D8B030D-6E8A-4147-A177-3AD203B41FA5}">
                      <a16:colId xmlns:a16="http://schemas.microsoft.com/office/drawing/2014/main" val="3444078101"/>
                    </a:ext>
                  </a:extLst>
                </a:gridCol>
                <a:gridCol w="2246400">
                  <a:extLst>
                    <a:ext uri="{9D8B030D-6E8A-4147-A177-3AD203B41FA5}">
                      <a16:colId xmlns:a16="http://schemas.microsoft.com/office/drawing/2014/main" val="3554067948"/>
                    </a:ext>
                  </a:extLst>
                </a:gridCol>
                <a:gridCol w="2246400">
                  <a:extLst>
                    <a:ext uri="{9D8B030D-6E8A-4147-A177-3AD203B41FA5}">
                      <a16:colId xmlns:a16="http://schemas.microsoft.com/office/drawing/2014/main" val="2476635605"/>
                    </a:ext>
                  </a:extLst>
                </a:gridCol>
                <a:gridCol w="2246400">
                  <a:extLst>
                    <a:ext uri="{9D8B030D-6E8A-4147-A177-3AD203B41FA5}">
                      <a16:colId xmlns:a16="http://schemas.microsoft.com/office/drawing/2014/main" val="367126273"/>
                    </a:ext>
                  </a:extLst>
                </a:gridCol>
                <a:gridCol w="2246400">
                  <a:extLst>
                    <a:ext uri="{9D8B030D-6E8A-4147-A177-3AD203B41FA5}">
                      <a16:colId xmlns:a16="http://schemas.microsoft.com/office/drawing/2014/main" val="896039492"/>
                    </a:ext>
                  </a:extLst>
                </a:gridCol>
              </a:tblGrid>
              <a:tr h="468511">
                <a:tc>
                  <a:txBody>
                    <a:bodyPr/>
                    <a:lstStyle/>
                    <a:p>
                      <a:r>
                        <a:rPr lang="de-DE" sz="1200" cap="none" baseline="0" dirty="0">
                          <a:solidFill>
                            <a:schemeClr val="bg1"/>
                          </a:solidFill>
                        </a:rPr>
                        <a:t>Lorem ipsum</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9EE0"/>
                    </a:solidFill>
                  </a:tcPr>
                </a:tc>
                <a:tc>
                  <a:txBody>
                    <a:bodyPr/>
                    <a:lstStyle/>
                    <a:p>
                      <a:pPr algn="r"/>
                      <a:r>
                        <a:rPr lang="de-DE" sz="1200" cap="none" baseline="0" dirty="0">
                          <a:solidFill>
                            <a:schemeClr val="bg1"/>
                          </a:solidFill>
                        </a:rPr>
                        <a:t>Lorem ipsum</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9EE0"/>
                    </a:solidFill>
                  </a:tcPr>
                </a:tc>
                <a:tc>
                  <a:txBody>
                    <a:bodyPr/>
                    <a:lstStyle/>
                    <a:p>
                      <a:pPr algn="r"/>
                      <a:r>
                        <a:rPr lang="de-DE" sz="1200" cap="none" baseline="0" dirty="0">
                          <a:solidFill>
                            <a:schemeClr val="bg1"/>
                          </a:solidFill>
                        </a:rPr>
                        <a:t>Lorem ipsum</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9EE0"/>
                    </a:solidFill>
                  </a:tcPr>
                </a:tc>
                <a:tc>
                  <a:txBody>
                    <a:bodyPr/>
                    <a:lstStyle/>
                    <a:p>
                      <a:pPr algn="r"/>
                      <a:r>
                        <a:rPr lang="de-DE" sz="1200" cap="none" baseline="0" dirty="0">
                          <a:solidFill>
                            <a:schemeClr val="bg1"/>
                          </a:solidFill>
                        </a:rPr>
                        <a:t>Lorem ipsum</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9EE0"/>
                    </a:solidFill>
                  </a:tcPr>
                </a:tc>
                <a:tc>
                  <a:txBody>
                    <a:bodyPr/>
                    <a:lstStyle/>
                    <a:p>
                      <a:pPr algn="r"/>
                      <a:r>
                        <a:rPr lang="de-DE" sz="1200" cap="none" baseline="0" dirty="0">
                          <a:solidFill>
                            <a:schemeClr val="bg1"/>
                          </a:solidFill>
                        </a:rPr>
                        <a:t>Lorem ipsum</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9EE0"/>
                    </a:solidFill>
                  </a:tcPr>
                </a:tc>
                <a:extLst>
                  <a:ext uri="{0D108BD9-81ED-4DB2-BD59-A6C34878D82A}">
                    <a16:rowId xmlns:a16="http://schemas.microsoft.com/office/drawing/2014/main" val="4259198390"/>
                  </a:ext>
                </a:extLst>
              </a:tr>
              <a:tr h="468511">
                <a:tc>
                  <a:txBody>
                    <a:bodyPr/>
                    <a:lstStyle/>
                    <a:p>
                      <a:r>
                        <a:rPr lang="de-DE" sz="1200" dirty="0">
                          <a:solidFill>
                            <a:schemeClr val="tx1"/>
                          </a:solidFill>
                        </a:rPr>
                        <a:t>Dolor sit</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78888331"/>
                  </a:ext>
                </a:extLst>
              </a:tr>
              <a:tr h="468511">
                <a:tc>
                  <a:txBody>
                    <a:bodyPr/>
                    <a:lstStyle/>
                    <a:p>
                      <a:r>
                        <a:rPr lang="de-DE" sz="1200" dirty="0">
                          <a:solidFill>
                            <a:schemeClr val="tx1"/>
                          </a:solidFill>
                        </a:rPr>
                        <a:t>Dolor sit</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37628179"/>
                  </a:ext>
                </a:extLst>
              </a:tr>
              <a:tr h="468511">
                <a:tc>
                  <a:txBody>
                    <a:bodyPr/>
                    <a:lstStyle/>
                    <a:p>
                      <a:r>
                        <a:rPr lang="de-DE" sz="1200" dirty="0">
                          <a:solidFill>
                            <a:schemeClr val="tx1"/>
                          </a:solidFill>
                        </a:rPr>
                        <a:t>Dolor sit</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84112090"/>
                  </a:ext>
                </a:extLst>
              </a:tr>
              <a:tr h="468511">
                <a:tc>
                  <a:txBody>
                    <a:bodyPr/>
                    <a:lstStyle/>
                    <a:p>
                      <a:r>
                        <a:rPr lang="de-DE" sz="1200" dirty="0">
                          <a:solidFill>
                            <a:schemeClr val="tx1"/>
                          </a:solidFill>
                        </a:rPr>
                        <a:t>Dolor sit</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65655654"/>
                  </a:ext>
                </a:extLst>
              </a:tr>
              <a:tr h="468511">
                <a:tc>
                  <a:txBody>
                    <a:bodyPr/>
                    <a:lstStyle/>
                    <a:p>
                      <a:r>
                        <a:rPr lang="de-DE" sz="1200" dirty="0">
                          <a:solidFill>
                            <a:schemeClr val="tx1"/>
                          </a:solidFill>
                        </a:rPr>
                        <a:t>Dolor sit</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31502459"/>
                  </a:ext>
                </a:extLst>
              </a:tr>
              <a:tr h="468511">
                <a:tc>
                  <a:txBody>
                    <a:bodyPr/>
                    <a:lstStyle/>
                    <a:p>
                      <a:r>
                        <a:rPr lang="de-DE" sz="1200" dirty="0">
                          <a:solidFill>
                            <a:schemeClr val="tx1"/>
                          </a:solidFill>
                        </a:rPr>
                        <a:t>Dolor sit</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54934934"/>
                  </a:ext>
                </a:extLst>
              </a:tr>
              <a:tr h="468511">
                <a:tc>
                  <a:txBody>
                    <a:bodyPr/>
                    <a:lstStyle/>
                    <a:p>
                      <a:r>
                        <a:rPr lang="de-DE" sz="1200" dirty="0">
                          <a:solidFill>
                            <a:schemeClr val="tx1"/>
                          </a:solidFill>
                        </a:rPr>
                        <a:t>Dolor sit</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0247313"/>
                  </a:ext>
                </a:extLst>
              </a:tr>
            </a:tbl>
          </a:graphicData>
        </a:graphic>
      </p:graphicFrame>
      <p:sp>
        <p:nvSpPr>
          <p:cNvPr id="2" name="Titel 1"/>
          <p:cNvSpPr>
            <a:spLocks noGrp="1"/>
          </p:cNvSpPr>
          <p:nvPr>
            <p:ph type="title"/>
          </p:nvPr>
        </p:nvSpPr>
        <p:spPr bwMode="gray"/>
        <p:txBody>
          <a:bodyPr vert="horz"/>
          <a:lstStyle/>
          <a:p>
            <a:r>
              <a:rPr lang="de-DE" dirty="0"/>
              <a:t>Tabelle</a:t>
            </a:r>
          </a:p>
        </p:txBody>
      </p:sp>
      <p:sp>
        <p:nvSpPr>
          <p:cNvPr id="3" name="Datumsplatzhalter 2">
            <a:extLst>
              <a:ext uri="{FF2B5EF4-FFF2-40B4-BE49-F238E27FC236}">
                <a16:creationId xmlns:a16="http://schemas.microsoft.com/office/drawing/2014/main" id="{DDE5AE33-A298-4820-828F-832D46224D21}"/>
              </a:ext>
            </a:extLst>
          </p:cNvPr>
          <p:cNvSpPr>
            <a:spLocks noGrp="1"/>
          </p:cNvSpPr>
          <p:nvPr>
            <p:ph type="dt" sz="half" idx="19"/>
          </p:nvPr>
        </p:nvSpPr>
        <p:spPr bwMode="gray"/>
        <p:txBody>
          <a:bodyPr/>
          <a:lstStyle/>
          <a:p>
            <a:fld id="{783BA784-C404-4584-BD24-6B48DE901760}" type="datetime1">
              <a:rPr lang="de-DE" smtClean="0"/>
              <a:t>29.09.25</a:t>
            </a:fld>
            <a:endParaRPr lang="de-DE" dirty="0"/>
          </a:p>
        </p:txBody>
      </p:sp>
      <p:sp>
        <p:nvSpPr>
          <p:cNvPr id="4" name="Fußzeilenplatzhalter 3">
            <a:extLst>
              <a:ext uri="{FF2B5EF4-FFF2-40B4-BE49-F238E27FC236}">
                <a16:creationId xmlns:a16="http://schemas.microsoft.com/office/drawing/2014/main" id="{ECBFEFE9-A0D2-4F90-9254-435E2D3FB5A2}"/>
              </a:ext>
            </a:extLst>
          </p:cNvPr>
          <p:cNvSpPr>
            <a:spLocks noGrp="1"/>
          </p:cNvSpPr>
          <p:nvPr>
            <p:ph type="ftr" sz="quarter" idx="20"/>
          </p:nvPr>
        </p:nvSpPr>
        <p:spPr bwMode="gray"/>
        <p:txBody>
          <a:bodyPr/>
          <a:lstStyle/>
          <a:p>
            <a:r>
              <a:rPr lang="de-DE" dirty="0"/>
              <a:t>TITEL DER PRÄSENTATION | TITEL VORNAME NAME</a:t>
            </a:r>
          </a:p>
        </p:txBody>
      </p:sp>
      <p:sp>
        <p:nvSpPr>
          <p:cNvPr id="5" name="Foliennummernplatzhalter 4">
            <a:extLst>
              <a:ext uri="{FF2B5EF4-FFF2-40B4-BE49-F238E27FC236}">
                <a16:creationId xmlns:a16="http://schemas.microsoft.com/office/drawing/2014/main" id="{EFEF3DA3-457E-41B1-8A40-71DFE779EE02}"/>
              </a:ext>
            </a:extLst>
          </p:cNvPr>
          <p:cNvSpPr>
            <a:spLocks noGrp="1"/>
          </p:cNvSpPr>
          <p:nvPr>
            <p:ph type="sldNum" sz="quarter" idx="21"/>
          </p:nvPr>
        </p:nvSpPr>
        <p:spPr bwMode="gray"/>
        <p:txBody>
          <a:bodyPr/>
          <a:lstStyle/>
          <a:p>
            <a:fld id="{09E9C37E-8A19-4E30-BE2B-5A966AD23C7A}" type="slidenum">
              <a:rPr lang="de-DE" smtClean="0"/>
              <a:pPr/>
              <a:t>72</a:t>
            </a:fld>
            <a:endParaRPr lang="de-DE" dirty="0"/>
          </a:p>
        </p:txBody>
      </p:sp>
    </p:spTree>
    <p:extLst>
      <p:ext uri="{BB962C8B-B14F-4D97-AF65-F5344CB8AC3E}">
        <p14:creationId xmlns:p14="http://schemas.microsoft.com/office/powerpoint/2010/main" val="3811471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CFD81D0-965E-4C28-8E48-AF86F8886F31}"/>
              </a:ext>
            </a:extLst>
          </p:cNvPr>
          <p:cNvGraphicFramePr>
            <a:graphicFrameLocks noChangeAspect="1"/>
          </p:cNvGraphicFramePr>
          <p:nvPr>
            <p:custDataLst>
              <p:tags r:id="rId1"/>
            </p:custDataLst>
            <p:extLst>
              <p:ext uri="{D42A27DB-BD31-4B8C-83A1-F6EECF244321}">
                <p14:modId xmlns:p14="http://schemas.microsoft.com/office/powerpoint/2010/main" val="3422529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2" name="Inhaltsplatzhalter 11">
            <a:extLst>
              <a:ext uri="{FF2B5EF4-FFF2-40B4-BE49-F238E27FC236}">
                <a16:creationId xmlns:a16="http://schemas.microsoft.com/office/drawing/2014/main" id="{D000CA78-CAF2-4160-A96B-DA1372A2AC91}"/>
              </a:ext>
            </a:extLst>
          </p:cNvPr>
          <p:cNvGraphicFramePr>
            <a:graphicFrameLocks noGrp="1"/>
          </p:cNvGraphicFramePr>
          <p:nvPr>
            <p:ph sz="quarter" idx="18"/>
            <p:extLst>
              <p:ext uri="{D42A27DB-BD31-4B8C-83A1-F6EECF244321}">
                <p14:modId xmlns:p14="http://schemas.microsoft.com/office/powerpoint/2010/main" val="1381252946"/>
              </p:ext>
            </p:extLst>
          </p:nvPr>
        </p:nvGraphicFramePr>
        <p:xfrm>
          <a:off x="336550" y="1989138"/>
          <a:ext cx="11232000" cy="3748088"/>
        </p:xfrm>
        <a:graphic>
          <a:graphicData uri="http://schemas.openxmlformats.org/drawingml/2006/table">
            <a:tbl>
              <a:tblPr firstRow="1" bandRow="1">
                <a:tableStyleId>{5C22544A-7EE6-4342-B048-85BDC9FD1C3A}</a:tableStyleId>
              </a:tblPr>
              <a:tblGrid>
                <a:gridCol w="2246400">
                  <a:extLst>
                    <a:ext uri="{9D8B030D-6E8A-4147-A177-3AD203B41FA5}">
                      <a16:colId xmlns:a16="http://schemas.microsoft.com/office/drawing/2014/main" val="3444078101"/>
                    </a:ext>
                  </a:extLst>
                </a:gridCol>
                <a:gridCol w="2246400">
                  <a:extLst>
                    <a:ext uri="{9D8B030D-6E8A-4147-A177-3AD203B41FA5}">
                      <a16:colId xmlns:a16="http://schemas.microsoft.com/office/drawing/2014/main" val="3554067948"/>
                    </a:ext>
                  </a:extLst>
                </a:gridCol>
                <a:gridCol w="2246400">
                  <a:extLst>
                    <a:ext uri="{9D8B030D-6E8A-4147-A177-3AD203B41FA5}">
                      <a16:colId xmlns:a16="http://schemas.microsoft.com/office/drawing/2014/main" val="707025383"/>
                    </a:ext>
                  </a:extLst>
                </a:gridCol>
                <a:gridCol w="2246400">
                  <a:extLst>
                    <a:ext uri="{9D8B030D-6E8A-4147-A177-3AD203B41FA5}">
                      <a16:colId xmlns:a16="http://schemas.microsoft.com/office/drawing/2014/main" val="2476635605"/>
                    </a:ext>
                  </a:extLst>
                </a:gridCol>
                <a:gridCol w="2246400">
                  <a:extLst>
                    <a:ext uri="{9D8B030D-6E8A-4147-A177-3AD203B41FA5}">
                      <a16:colId xmlns:a16="http://schemas.microsoft.com/office/drawing/2014/main" val="896039492"/>
                    </a:ext>
                  </a:extLst>
                </a:gridCol>
              </a:tblGrid>
              <a:tr h="468511">
                <a:tc>
                  <a:txBody>
                    <a:bodyPr/>
                    <a:lstStyle/>
                    <a:p>
                      <a:pPr algn="l"/>
                      <a:r>
                        <a:rPr lang="de-DE" sz="1200" cap="none" baseline="0" dirty="0">
                          <a:solidFill>
                            <a:schemeClr val="bg1"/>
                          </a:solidFill>
                        </a:rPr>
                        <a:t>Lorem ipsum</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9EE0"/>
                    </a:solidFill>
                  </a:tcPr>
                </a:tc>
                <a:tc>
                  <a:txBody>
                    <a:bodyPr/>
                    <a:lstStyle/>
                    <a:p>
                      <a:pPr algn="l"/>
                      <a:r>
                        <a:rPr lang="de-DE" sz="1200" cap="none" baseline="0" dirty="0">
                          <a:solidFill>
                            <a:schemeClr val="bg1"/>
                          </a:solidFill>
                        </a:rPr>
                        <a:t>Lorem ipsum</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9EE0"/>
                    </a:solidFill>
                  </a:tcPr>
                </a:tc>
                <a:tc>
                  <a:txBody>
                    <a:bodyPr/>
                    <a:lstStyle/>
                    <a:p>
                      <a:pPr algn="l"/>
                      <a:r>
                        <a:rPr lang="de-DE" sz="1200" cap="none" baseline="0" dirty="0">
                          <a:solidFill>
                            <a:schemeClr val="bg1"/>
                          </a:solidFill>
                        </a:rPr>
                        <a:t>Lorem ipsum</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9EE0"/>
                    </a:solidFill>
                  </a:tcPr>
                </a:tc>
                <a:tc>
                  <a:txBody>
                    <a:bodyPr/>
                    <a:lstStyle/>
                    <a:p>
                      <a:pPr algn="l"/>
                      <a:r>
                        <a:rPr lang="de-DE" sz="1200" cap="none" baseline="0" dirty="0">
                          <a:solidFill>
                            <a:schemeClr val="bg1"/>
                          </a:solidFill>
                        </a:rPr>
                        <a:t>Lorem ipsum</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9EE0"/>
                    </a:solidFill>
                  </a:tcPr>
                </a:tc>
                <a:tc>
                  <a:txBody>
                    <a:bodyPr/>
                    <a:lstStyle/>
                    <a:p>
                      <a:pPr algn="l"/>
                      <a:r>
                        <a:rPr lang="de-DE" sz="1200" cap="none" baseline="0" dirty="0">
                          <a:solidFill>
                            <a:schemeClr val="bg1"/>
                          </a:solidFill>
                        </a:rPr>
                        <a:t>Lorem ipsum</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9EE0"/>
                    </a:solidFill>
                  </a:tcPr>
                </a:tc>
                <a:extLst>
                  <a:ext uri="{0D108BD9-81ED-4DB2-BD59-A6C34878D82A}">
                    <a16:rowId xmlns:a16="http://schemas.microsoft.com/office/drawing/2014/main" val="4259198390"/>
                  </a:ext>
                </a:extLst>
              </a:tr>
              <a:tr h="468511">
                <a:tc>
                  <a:txBody>
                    <a:bodyPr/>
                    <a:lstStyle/>
                    <a:p>
                      <a:pPr algn="l"/>
                      <a:r>
                        <a:rPr lang="de-DE" sz="1200" dirty="0">
                          <a:solidFill>
                            <a:schemeClr val="tx1"/>
                          </a:solidFill>
                        </a:rPr>
                        <a:t>Dolor sit</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78888331"/>
                  </a:ext>
                </a:extLst>
              </a:tr>
              <a:tr h="468511">
                <a:tc>
                  <a:txBody>
                    <a:bodyPr/>
                    <a:lstStyle/>
                    <a:p>
                      <a:pPr algn="l"/>
                      <a:r>
                        <a:rPr lang="de-DE" sz="1200" dirty="0">
                          <a:solidFill>
                            <a:schemeClr val="tx1"/>
                          </a:solidFill>
                        </a:rPr>
                        <a:t>Dolor sit</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7E5E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7E5E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7E5E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7E5E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7E5E2"/>
                    </a:solidFill>
                  </a:tcPr>
                </a:tc>
                <a:extLst>
                  <a:ext uri="{0D108BD9-81ED-4DB2-BD59-A6C34878D82A}">
                    <a16:rowId xmlns:a16="http://schemas.microsoft.com/office/drawing/2014/main" val="1337628179"/>
                  </a:ext>
                </a:extLst>
              </a:tr>
              <a:tr h="468511">
                <a:tc>
                  <a:txBody>
                    <a:bodyPr/>
                    <a:lstStyle/>
                    <a:p>
                      <a:pPr algn="l"/>
                      <a:r>
                        <a:rPr lang="de-DE" sz="1200" dirty="0">
                          <a:solidFill>
                            <a:schemeClr val="tx1"/>
                          </a:solidFill>
                        </a:rPr>
                        <a:t>Dolor sit</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684112090"/>
                  </a:ext>
                </a:extLst>
              </a:tr>
              <a:tr h="468511">
                <a:tc>
                  <a:txBody>
                    <a:bodyPr/>
                    <a:lstStyle/>
                    <a:p>
                      <a:pPr algn="l"/>
                      <a:r>
                        <a:rPr lang="de-DE" sz="1200" dirty="0">
                          <a:solidFill>
                            <a:schemeClr val="tx1"/>
                          </a:solidFill>
                        </a:rPr>
                        <a:t>Dolor sit</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7E5E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7E5E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7E5E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7E5E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7E5E2"/>
                    </a:solidFill>
                  </a:tcPr>
                </a:tc>
                <a:extLst>
                  <a:ext uri="{0D108BD9-81ED-4DB2-BD59-A6C34878D82A}">
                    <a16:rowId xmlns:a16="http://schemas.microsoft.com/office/drawing/2014/main" val="1265655654"/>
                  </a:ext>
                </a:extLst>
              </a:tr>
              <a:tr h="468511">
                <a:tc>
                  <a:txBody>
                    <a:bodyPr/>
                    <a:lstStyle/>
                    <a:p>
                      <a:pPr algn="l"/>
                      <a:r>
                        <a:rPr lang="de-DE" sz="1200" dirty="0">
                          <a:solidFill>
                            <a:schemeClr val="tx1"/>
                          </a:solidFill>
                        </a:rPr>
                        <a:t>Dolor sit</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02459"/>
                  </a:ext>
                </a:extLst>
              </a:tr>
              <a:tr h="468511">
                <a:tc>
                  <a:txBody>
                    <a:bodyPr/>
                    <a:lstStyle/>
                    <a:p>
                      <a:pPr algn="l"/>
                      <a:r>
                        <a:rPr lang="de-DE" sz="1200" dirty="0">
                          <a:solidFill>
                            <a:schemeClr val="tx1"/>
                          </a:solidFill>
                        </a:rPr>
                        <a:t>Dolor sit</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7E5E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7E5E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7E5E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7E5E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7E5E2"/>
                    </a:solidFill>
                  </a:tcPr>
                </a:tc>
                <a:extLst>
                  <a:ext uri="{0D108BD9-81ED-4DB2-BD59-A6C34878D82A}">
                    <a16:rowId xmlns:a16="http://schemas.microsoft.com/office/drawing/2014/main" val="2154934934"/>
                  </a:ext>
                </a:extLst>
              </a:tr>
              <a:tr h="468511">
                <a:tc>
                  <a:txBody>
                    <a:bodyPr/>
                    <a:lstStyle/>
                    <a:p>
                      <a:pPr algn="l"/>
                      <a:r>
                        <a:rPr lang="de-DE" sz="1200" dirty="0">
                          <a:solidFill>
                            <a:schemeClr val="tx1"/>
                          </a:solidFill>
                        </a:rPr>
                        <a:t>Dolor sit</a:t>
                      </a:r>
                    </a:p>
                  </a:txBody>
                  <a:tcPr marL="144000" marR="144000" marT="36000" marB="36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38414A"/>
                          </a:solidFill>
                          <a:effectLst/>
                          <a:uLnTx/>
                          <a:uFillTx/>
                          <a:latin typeface="Verdana"/>
                          <a:ea typeface="+mn-ea"/>
                          <a:cs typeface="+mn-cs"/>
                        </a:rPr>
                        <a:t>Dolor sit</a:t>
                      </a:r>
                    </a:p>
                  </a:txBody>
                  <a:tcPr marL="144000" marR="144000" marT="36000" marB="36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50247313"/>
                  </a:ext>
                </a:extLst>
              </a:tr>
            </a:tbl>
          </a:graphicData>
        </a:graphic>
      </p:graphicFrame>
      <p:sp>
        <p:nvSpPr>
          <p:cNvPr id="2" name="Titel 1"/>
          <p:cNvSpPr>
            <a:spLocks noGrp="1"/>
          </p:cNvSpPr>
          <p:nvPr>
            <p:ph type="title"/>
          </p:nvPr>
        </p:nvSpPr>
        <p:spPr bwMode="gray"/>
        <p:txBody>
          <a:bodyPr vert="horz"/>
          <a:lstStyle/>
          <a:p>
            <a:r>
              <a:rPr lang="de-DE" dirty="0"/>
              <a:t>Tabelle</a:t>
            </a:r>
          </a:p>
        </p:txBody>
      </p:sp>
      <p:sp>
        <p:nvSpPr>
          <p:cNvPr id="3" name="Datumsplatzhalter 2">
            <a:extLst>
              <a:ext uri="{FF2B5EF4-FFF2-40B4-BE49-F238E27FC236}">
                <a16:creationId xmlns:a16="http://schemas.microsoft.com/office/drawing/2014/main" id="{D422576E-FFBE-4587-B6D4-7650520A68D5}"/>
              </a:ext>
            </a:extLst>
          </p:cNvPr>
          <p:cNvSpPr>
            <a:spLocks noGrp="1"/>
          </p:cNvSpPr>
          <p:nvPr>
            <p:ph type="dt" sz="half" idx="19"/>
          </p:nvPr>
        </p:nvSpPr>
        <p:spPr bwMode="gray"/>
        <p:txBody>
          <a:bodyPr/>
          <a:lstStyle/>
          <a:p>
            <a:fld id="{711ADD55-867C-4425-8DC6-31AB4B50B49B}" type="datetime1">
              <a:rPr lang="de-DE" smtClean="0"/>
              <a:t>29.09.25</a:t>
            </a:fld>
            <a:endParaRPr lang="de-DE" dirty="0"/>
          </a:p>
        </p:txBody>
      </p:sp>
      <p:sp>
        <p:nvSpPr>
          <p:cNvPr id="4" name="Fußzeilenplatzhalter 3">
            <a:extLst>
              <a:ext uri="{FF2B5EF4-FFF2-40B4-BE49-F238E27FC236}">
                <a16:creationId xmlns:a16="http://schemas.microsoft.com/office/drawing/2014/main" id="{9F5E00B6-99E8-4E84-92DA-B39C6825ADAE}"/>
              </a:ext>
            </a:extLst>
          </p:cNvPr>
          <p:cNvSpPr>
            <a:spLocks noGrp="1"/>
          </p:cNvSpPr>
          <p:nvPr>
            <p:ph type="ftr" sz="quarter" idx="20"/>
          </p:nvPr>
        </p:nvSpPr>
        <p:spPr bwMode="gray"/>
        <p:txBody>
          <a:bodyPr/>
          <a:lstStyle/>
          <a:p>
            <a:r>
              <a:rPr lang="de-DE" dirty="0"/>
              <a:t>TITEL DER PRÄSENTATION | TITEL VORNAME NAME</a:t>
            </a:r>
          </a:p>
        </p:txBody>
      </p:sp>
      <p:sp>
        <p:nvSpPr>
          <p:cNvPr id="5" name="Foliennummernplatzhalter 4">
            <a:extLst>
              <a:ext uri="{FF2B5EF4-FFF2-40B4-BE49-F238E27FC236}">
                <a16:creationId xmlns:a16="http://schemas.microsoft.com/office/drawing/2014/main" id="{9CA620E6-E850-438C-A973-876C90967C22}"/>
              </a:ext>
            </a:extLst>
          </p:cNvPr>
          <p:cNvSpPr>
            <a:spLocks noGrp="1"/>
          </p:cNvSpPr>
          <p:nvPr>
            <p:ph type="sldNum" sz="quarter" idx="21"/>
          </p:nvPr>
        </p:nvSpPr>
        <p:spPr bwMode="gray"/>
        <p:txBody>
          <a:bodyPr/>
          <a:lstStyle/>
          <a:p>
            <a:fld id="{09E9C37E-8A19-4E30-BE2B-5A966AD23C7A}" type="slidenum">
              <a:rPr lang="de-DE" smtClean="0"/>
              <a:pPr/>
              <a:t>73</a:t>
            </a:fld>
            <a:endParaRPr lang="de-DE" dirty="0"/>
          </a:p>
        </p:txBody>
      </p:sp>
    </p:spTree>
    <p:extLst>
      <p:ext uri="{BB962C8B-B14F-4D97-AF65-F5344CB8AC3E}">
        <p14:creationId xmlns:p14="http://schemas.microsoft.com/office/powerpoint/2010/main" val="2066331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13CF4092-1F05-4E11-8EA4-3B5C5AB94955}"/>
              </a:ext>
            </a:extLst>
          </p:cNvPr>
          <p:cNvGraphicFramePr>
            <a:graphicFrameLocks noChangeAspect="1"/>
          </p:cNvGraphicFramePr>
          <p:nvPr>
            <p:custDataLst>
              <p:tags r:id="rId1"/>
            </p:custDataLst>
            <p:extLst>
              <p:ext uri="{D42A27DB-BD31-4B8C-83A1-F6EECF244321}">
                <p14:modId xmlns:p14="http://schemas.microsoft.com/office/powerpoint/2010/main" val="4798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59" imgH="358" progId="TCLayout.ActiveDocument.1">
                  <p:embed/>
                </p:oleObj>
              </mc:Choice>
              <mc:Fallback>
                <p:oleObj name="think-cell Folie" r:id="rId6" imgW="359" imgH="35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12" name="Inhaltsplatzhalter 11">
            <a:extLst>
              <a:ext uri="{FF2B5EF4-FFF2-40B4-BE49-F238E27FC236}">
                <a16:creationId xmlns:a16="http://schemas.microsoft.com/office/drawing/2014/main" id="{FFB86DA6-CC47-49FA-8D73-D5B68A175DC7}"/>
              </a:ext>
            </a:extLst>
          </p:cNvPr>
          <p:cNvGraphicFramePr>
            <a:graphicFrameLocks noGrp="1"/>
          </p:cNvGraphicFramePr>
          <p:nvPr>
            <p:ph sz="quarter" idx="18"/>
            <p:custDataLst>
              <p:tags r:id="rId2"/>
            </p:custDataLst>
            <p:extLst>
              <p:ext uri="{D42A27DB-BD31-4B8C-83A1-F6EECF244321}">
                <p14:modId xmlns:p14="http://schemas.microsoft.com/office/powerpoint/2010/main" val="359627072"/>
              </p:ext>
            </p:extLst>
          </p:nvPr>
        </p:nvGraphicFramePr>
        <p:xfrm>
          <a:off x="336550" y="1989138"/>
          <a:ext cx="11231563" cy="3743325"/>
        </p:xfrm>
        <a:graphic>
          <a:graphicData uri="http://schemas.openxmlformats.org/drawingml/2006/chart">
            <c:chart xmlns:c="http://schemas.openxmlformats.org/drawingml/2006/chart" xmlns:r="http://schemas.openxmlformats.org/officeDocument/2006/relationships" r:id="rId8"/>
          </a:graphicData>
        </a:graphic>
      </p:graphicFrame>
      <p:sp>
        <p:nvSpPr>
          <p:cNvPr id="2" name="Titel 1"/>
          <p:cNvSpPr>
            <a:spLocks noGrp="1"/>
          </p:cNvSpPr>
          <p:nvPr>
            <p:ph type="title"/>
            <p:custDataLst>
              <p:tags r:id="rId3"/>
            </p:custDataLst>
          </p:nvPr>
        </p:nvSpPr>
        <p:spPr bwMode="gray"/>
        <p:txBody>
          <a:bodyPr vert="horz"/>
          <a:lstStyle/>
          <a:p>
            <a:r>
              <a:rPr lang="de-DE" dirty="0"/>
              <a:t>Säulendiagramm</a:t>
            </a:r>
          </a:p>
        </p:txBody>
      </p:sp>
      <p:sp>
        <p:nvSpPr>
          <p:cNvPr id="3" name="Datumsplatzhalter 2">
            <a:extLst>
              <a:ext uri="{FF2B5EF4-FFF2-40B4-BE49-F238E27FC236}">
                <a16:creationId xmlns:a16="http://schemas.microsoft.com/office/drawing/2014/main" id="{87129CEA-0043-4BA5-A0F8-9621A4477B4E}"/>
              </a:ext>
            </a:extLst>
          </p:cNvPr>
          <p:cNvSpPr>
            <a:spLocks noGrp="1"/>
          </p:cNvSpPr>
          <p:nvPr>
            <p:ph type="dt" sz="half" idx="19"/>
          </p:nvPr>
        </p:nvSpPr>
        <p:spPr bwMode="gray"/>
        <p:txBody>
          <a:bodyPr/>
          <a:lstStyle/>
          <a:p>
            <a:fld id="{E55FF4BC-6037-47A0-9CC0-AD9991E3BA09}" type="datetime1">
              <a:rPr lang="de-DE" smtClean="0"/>
              <a:t>29.09.25</a:t>
            </a:fld>
            <a:endParaRPr lang="de-DE" dirty="0"/>
          </a:p>
        </p:txBody>
      </p:sp>
      <p:sp>
        <p:nvSpPr>
          <p:cNvPr id="4" name="Fußzeilenplatzhalter 3">
            <a:extLst>
              <a:ext uri="{FF2B5EF4-FFF2-40B4-BE49-F238E27FC236}">
                <a16:creationId xmlns:a16="http://schemas.microsoft.com/office/drawing/2014/main" id="{0664C54F-D7C4-4556-B556-C10A40BE0D5C}"/>
              </a:ext>
            </a:extLst>
          </p:cNvPr>
          <p:cNvSpPr>
            <a:spLocks noGrp="1"/>
          </p:cNvSpPr>
          <p:nvPr>
            <p:ph type="ftr" sz="quarter" idx="20"/>
          </p:nvPr>
        </p:nvSpPr>
        <p:spPr bwMode="gray"/>
        <p:txBody>
          <a:bodyPr/>
          <a:lstStyle/>
          <a:p>
            <a:r>
              <a:rPr lang="de-DE" dirty="0"/>
              <a:t>TITEL DER PRÄSENTATION | TITEL VORNAME NAME</a:t>
            </a:r>
          </a:p>
        </p:txBody>
      </p:sp>
      <p:sp>
        <p:nvSpPr>
          <p:cNvPr id="5" name="Foliennummernplatzhalter 4">
            <a:extLst>
              <a:ext uri="{FF2B5EF4-FFF2-40B4-BE49-F238E27FC236}">
                <a16:creationId xmlns:a16="http://schemas.microsoft.com/office/drawing/2014/main" id="{596E99D1-C669-4B98-9333-6E397AAE3BC9}"/>
              </a:ext>
            </a:extLst>
          </p:cNvPr>
          <p:cNvSpPr>
            <a:spLocks noGrp="1"/>
          </p:cNvSpPr>
          <p:nvPr>
            <p:ph type="sldNum" sz="quarter" idx="21"/>
          </p:nvPr>
        </p:nvSpPr>
        <p:spPr bwMode="gray"/>
        <p:txBody>
          <a:bodyPr/>
          <a:lstStyle/>
          <a:p>
            <a:fld id="{09E9C37E-8A19-4E30-BE2B-5A966AD23C7A}" type="slidenum">
              <a:rPr lang="de-DE" smtClean="0"/>
              <a:pPr/>
              <a:t>74</a:t>
            </a:fld>
            <a:endParaRPr lang="de-DE" dirty="0"/>
          </a:p>
        </p:txBody>
      </p:sp>
    </p:spTree>
    <p:extLst>
      <p:ext uri="{BB962C8B-B14F-4D97-AF65-F5344CB8AC3E}">
        <p14:creationId xmlns:p14="http://schemas.microsoft.com/office/powerpoint/2010/main" val="4280801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13CF4092-1F05-4E11-8EA4-3B5C5AB94955}"/>
              </a:ext>
            </a:extLst>
          </p:cNvPr>
          <p:cNvGraphicFramePr>
            <a:graphicFrameLocks noChangeAspect="1"/>
          </p:cNvGraphicFramePr>
          <p:nvPr>
            <p:custDataLst>
              <p:tags r:id="rId1"/>
            </p:custDataLst>
            <p:extLst>
              <p:ext uri="{D42A27DB-BD31-4B8C-83A1-F6EECF244321}">
                <p14:modId xmlns:p14="http://schemas.microsoft.com/office/powerpoint/2010/main" val="3235920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59" imgH="358" progId="TCLayout.ActiveDocument.1">
                  <p:embed/>
                </p:oleObj>
              </mc:Choice>
              <mc:Fallback>
                <p:oleObj name="think-cell Folie" r:id="rId6" imgW="359" imgH="358" progId="TCLayout.ActiveDocument.1">
                  <p:embed/>
                  <p:pic>
                    <p:nvPicPr>
                      <p:cNvPr id="11" name="Objekt 10" hidden="1">
                        <a:extLst>
                          <a:ext uri="{FF2B5EF4-FFF2-40B4-BE49-F238E27FC236}">
                            <a16:creationId xmlns:a16="http://schemas.microsoft.com/office/drawing/2014/main" id="{13CF4092-1F05-4E11-8EA4-3B5C5AB9495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12" name="Inhaltsplatzhalter 11">
            <a:extLst>
              <a:ext uri="{FF2B5EF4-FFF2-40B4-BE49-F238E27FC236}">
                <a16:creationId xmlns:a16="http://schemas.microsoft.com/office/drawing/2014/main" id="{FFB86DA6-CC47-49FA-8D73-D5B68A175DC7}"/>
              </a:ext>
            </a:extLst>
          </p:cNvPr>
          <p:cNvGraphicFramePr>
            <a:graphicFrameLocks noGrp="1"/>
          </p:cNvGraphicFramePr>
          <p:nvPr>
            <p:ph sz="quarter" idx="18"/>
            <p:custDataLst>
              <p:tags r:id="rId2"/>
            </p:custDataLst>
            <p:extLst>
              <p:ext uri="{D42A27DB-BD31-4B8C-83A1-F6EECF244321}">
                <p14:modId xmlns:p14="http://schemas.microsoft.com/office/powerpoint/2010/main" val="3080244500"/>
              </p:ext>
            </p:extLst>
          </p:nvPr>
        </p:nvGraphicFramePr>
        <p:xfrm>
          <a:off x="336550" y="1989138"/>
          <a:ext cx="11231563" cy="3743325"/>
        </p:xfrm>
        <a:graphic>
          <a:graphicData uri="http://schemas.openxmlformats.org/drawingml/2006/chart">
            <c:chart xmlns:c="http://schemas.openxmlformats.org/drawingml/2006/chart" xmlns:r="http://schemas.openxmlformats.org/officeDocument/2006/relationships" r:id="rId8"/>
          </a:graphicData>
        </a:graphic>
      </p:graphicFrame>
      <p:sp>
        <p:nvSpPr>
          <p:cNvPr id="2" name="Titel 1"/>
          <p:cNvSpPr>
            <a:spLocks noGrp="1"/>
          </p:cNvSpPr>
          <p:nvPr>
            <p:ph type="title"/>
            <p:custDataLst>
              <p:tags r:id="rId3"/>
            </p:custDataLst>
          </p:nvPr>
        </p:nvSpPr>
        <p:spPr bwMode="gray"/>
        <p:txBody>
          <a:bodyPr vert="horz"/>
          <a:lstStyle/>
          <a:p>
            <a:r>
              <a:rPr lang="de-DE" dirty="0">
                <a:solidFill>
                  <a:schemeClr val="bg1"/>
                </a:solidFill>
              </a:rPr>
              <a:t>Säulendiagramm</a:t>
            </a:r>
          </a:p>
        </p:txBody>
      </p:sp>
      <p:sp>
        <p:nvSpPr>
          <p:cNvPr id="3" name="Datumsplatzhalter 2">
            <a:extLst>
              <a:ext uri="{FF2B5EF4-FFF2-40B4-BE49-F238E27FC236}">
                <a16:creationId xmlns:a16="http://schemas.microsoft.com/office/drawing/2014/main" id="{A5643FA3-927D-4A23-8CB0-67F1155FF989}"/>
              </a:ext>
            </a:extLst>
          </p:cNvPr>
          <p:cNvSpPr>
            <a:spLocks noGrp="1"/>
          </p:cNvSpPr>
          <p:nvPr>
            <p:ph type="dt" sz="half" idx="19"/>
          </p:nvPr>
        </p:nvSpPr>
        <p:spPr bwMode="gray"/>
        <p:txBody>
          <a:bodyPr/>
          <a:lstStyle/>
          <a:p>
            <a:fld id="{F9DDB4F9-9BB2-4EDD-A080-FA0957661D6C}" type="datetime1">
              <a:rPr lang="de-DE" smtClean="0">
                <a:solidFill>
                  <a:schemeClr val="bg1"/>
                </a:solidFill>
              </a:rPr>
              <a:t>29.09.25</a:t>
            </a:fld>
            <a:endParaRPr lang="de-DE" dirty="0">
              <a:solidFill>
                <a:schemeClr val="bg1"/>
              </a:solidFill>
            </a:endParaRPr>
          </a:p>
        </p:txBody>
      </p:sp>
      <p:sp>
        <p:nvSpPr>
          <p:cNvPr id="4" name="Fußzeilenplatzhalter 3">
            <a:extLst>
              <a:ext uri="{FF2B5EF4-FFF2-40B4-BE49-F238E27FC236}">
                <a16:creationId xmlns:a16="http://schemas.microsoft.com/office/drawing/2014/main" id="{B35CF664-AD74-4B41-9D55-647CAFCBE17D}"/>
              </a:ext>
            </a:extLst>
          </p:cNvPr>
          <p:cNvSpPr>
            <a:spLocks noGrp="1"/>
          </p:cNvSpPr>
          <p:nvPr>
            <p:ph type="ftr" sz="quarter" idx="20"/>
          </p:nvPr>
        </p:nvSpPr>
        <p:spPr bwMode="gray"/>
        <p:txBody>
          <a:bodyPr/>
          <a:lstStyle/>
          <a:p>
            <a:r>
              <a:rPr lang="de-DE" dirty="0">
                <a:solidFill>
                  <a:schemeClr val="bg1"/>
                </a:solidFill>
              </a:rPr>
              <a:t>TITEL DER PRÄSENTATION | TITEL VORNAME NAME</a:t>
            </a:r>
          </a:p>
        </p:txBody>
      </p:sp>
      <p:sp>
        <p:nvSpPr>
          <p:cNvPr id="5" name="Foliennummernplatzhalter 4">
            <a:extLst>
              <a:ext uri="{FF2B5EF4-FFF2-40B4-BE49-F238E27FC236}">
                <a16:creationId xmlns:a16="http://schemas.microsoft.com/office/drawing/2014/main" id="{6DC38A83-9B89-46A4-937C-252A6BC8BED5}"/>
              </a:ext>
            </a:extLst>
          </p:cNvPr>
          <p:cNvSpPr>
            <a:spLocks noGrp="1"/>
          </p:cNvSpPr>
          <p:nvPr>
            <p:ph type="sldNum" sz="quarter" idx="21"/>
          </p:nvPr>
        </p:nvSpPr>
        <p:spPr bwMode="gray"/>
        <p:txBody>
          <a:bodyPr/>
          <a:lstStyle/>
          <a:p>
            <a:fld id="{09E9C37E-8A19-4E30-BE2B-5A966AD23C7A}" type="slidenum">
              <a:rPr lang="de-DE" smtClean="0">
                <a:solidFill>
                  <a:schemeClr val="bg1"/>
                </a:solidFill>
              </a:rPr>
              <a:pPr/>
              <a:t>75</a:t>
            </a:fld>
            <a:endParaRPr lang="de-DE" dirty="0">
              <a:solidFill>
                <a:schemeClr val="bg1"/>
              </a:solidFill>
            </a:endParaRPr>
          </a:p>
        </p:txBody>
      </p:sp>
    </p:spTree>
    <p:extLst>
      <p:ext uri="{BB962C8B-B14F-4D97-AF65-F5344CB8AC3E}">
        <p14:creationId xmlns:p14="http://schemas.microsoft.com/office/powerpoint/2010/main" val="375250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tx1">
            <a:lumMod val="60000"/>
            <a:lumOff val="40000"/>
          </a:schemeClr>
        </a:solidFill>
        <a:effectLst/>
      </p:bgPr>
    </p:bg>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13CF4092-1F05-4E11-8EA4-3B5C5AB94955}"/>
              </a:ext>
            </a:extLst>
          </p:cNvPr>
          <p:cNvGraphicFramePr>
            <a:graphicFrameLocks noChangeAspect="1"/>
          </p:cNvGraphicFramePr>
          <p:nvPr>
            <p:custDataLst>
              <p:tags r:id="rId1"/>
            </p:custDataLst>
            <p:extLst>
              <p:ext uri="{D42A27DB-BD31-4B8C-83A1-F6EECF244321}">
                <p14:modId xmlns:p14="http://schemas.microsoft.com/office/powerpoint/2010/main" val="391831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59" imgH="358" progId="TCLayout.ActiveDocument.1">
                  <p:embed/>
                </p:oleObj>
              </mc:Choice>
              <mc:Fallback>
                <p:oleObj name="think-cell Folie" r:id="rId6" imgW="359" imgH="358" progId="TCLayout.ActiveDocument.1">
                  <p:embed/>
                  <p:pic>
                    <p:nvPicPr>
                      <p:cNvPr id="11" name="Objekt 10" hidden="1">
                        <a:extLst>
                          <a:ext uri="{FF2B5EF4-FFF2-40B4-BE49-F238E27FC236}">
                            <a16:creationId xmlns:a16="http://schemas.microsoft.com/office/drawing/2014/main" id="{13CF4092-1F05-4E11-8EA4-3B5C5AB9495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12" name="Inhaltsplatzhalter 11">
            <a:extLst>
              <a:ext uri="{FF2B5EF4-FFF2-40B4-BE49-F238E27FC236}">
                <a16:creationId xmlns:a16="http://schemas.microsoft.com/office/drawing/2014/main" id="{FFB86DA6-CC47-49FA-8D73-D5B68A175DC7}"/>
              </a:ext>
            </a:extLst>
          </p:cNvPr>
          <p:cNvGraphicFramePr>
            <a:graphicFrameLocks noGrp="1"/>
          </p:cNvGraphicFramePr>
          <p:nvPr>
            <p:ph sz="quarter" idx="18"/>
            <p:custDataLst>
              <p:tags r:id="rId2"/>
            </p:custDataLst>
            <p:extLst>
              <p:ext uri="{D42A27DB-BD31-4B8C-83A1-F6EECF244321}">
                <p14:modId xmlns:p14="http://schemas.microsoft.com/office/powerpoint/2010/main" val="965659435"/>
              </p:ext>
            </p:extLst>
          </p:nvPr>
        </p:nvGraphicFramePr>
        <p:xfrm>
          <a:off x="336550" y="1989138"/>
          <a:ext cx="11231563" cy="3743325"/>
        </p:xfrm>
        <a:graphic>
          <a:graphicData uri="http://schemas.openxmlformats.org/drawingml/2006/chart">
            <c:chart xmlns:c="http://schemas.openxmlformats.org/drawingml/2006/chart" xmlns:r="http://schemas.openxmlformats.org/officeDocument/2006/relationships" r:id="rId8"/>
          </a:graphicData>
        </a:graphic>
      </p:graphicFrame>
      <p:sp>
        <p:nvSpPr>
          <p:cNvPr id="2" name="Titel 1"/>
          <p:cNvSpPr>
            <a:spLocks noGrp="1"/>
          </p:cNvSpPr>
          <p:nvPr>
            <p:ph type="title"/>
            <p:custDataLst>
              <p:tags r:id="rId3"/>
            </p:custDataLst>
          </p:nvPr>
        </p:nvSpPr>
        <p:spPr bwMode="gray"/>
        <p:txBody>
          <a:bodyPr vert="horz"/>
          <a:lstStyle/>
          <a:p>
            <a:r>
              <a:rPr lang="de-DE" dirty="0">
                <a:solidFill>
                  <a:schemeClr val="bg1"/>
                </a:solidFill>
              </a:rPr>
              <a:t>Säulendiagramm</a:t>
            </a:r>
          </a:p>
        </p:txBody>
      </p:sp>
      <p:sp>
        <p:nvSpPr>
          <p:cNvPr id="3" name="Datumsplatzhalter 2">
            <a:extLst>
              <a:ext uri="{FF2B5EF4-FFF2-40B4-BE49-F238E27FC236}">
                <a16:creationId xmlns:a16="http://schemas.microsoft.com/office/drawing/2014/main" id="{F8300A4F-FA59-408F-9DF6-17F3F5E9ACFA}"/>
              </a:ext>
            </a:extLst>
          </p:cNvPr>
          <p:cNvSpPr>
            <a:spLocks noGrp="1"/>
          </p:cNvSpPr>
          <p:nvPr>
            <p:ph type="dt" sz="half" idx="19"/>
          </p:nvPr>
        </p:nvSpPr>
        <p:spPr bwMode="gray"/>
        <p:txBody>
          <a:bodyPr/>
          <a:lstStyle/>
          <a:p>
            <a:fld id="{2C7A7CA3-89EC-4055-8DCD-BAE2FB1868CF}" type="datetime1">
              <a:rPr lang="de-DE" smtClean="0">
                <a:solidFill>
                  <a:schemeClr val="bg1"/>
                </a:solidFill>
              </a:rPr>
              <a:t>29.09.25</a:t>
            </a:fld>
            <a:endParaRPr lang="de-DE" dirty="0">
              <a:solidFill>
                <a:schemeClr val="bg1"/>
              </a:solidFill>
            </a:endParaRPr>
          </a:p>
        </p:txBody>
      </p:sp>
      <p:sp>
        <p:nvSpPr>
          <p:cNvPr id="4" name="Fußzeilenplatzhalter 3">
            <a:extLst>
              <a:ext uri="{FF2B5EF4-FFF2-40B4-BE49-F238E27FC236}">
                <a16:creationId xmlns:a16="http://schemas.microsoft.com/office/drawing/2014/main" id="{4E0A8F28-4744-4CCC-A064-FFACDCD6B298}"/>
              </a:ext>
            </a:extLst>
          </p:cNvPr>
          <p:cNvSpPr>
            <a:spLocks noGrp="1"/>
          </p:cNvSpPr>
          <p:nvPr>
            <p:ph type="ftr" sz="quarter" idx="20"/>
          </p:nvPr>
        </p:nvSpPr>
        <p:spPr bwMode="gray"/>
        <p:txBody>
          <a:bodyPr/>
          <a:lstStyle/>
          <a:p>
            <a:r>
              <a:rPr lang="de-DE" dirty="0">
                <a:solidFill>
                  <a:schemeClr val="bg1"/>
                </a:solidFill>
              </a:rPr>
              <a:t>TITEL DER PRÄSENTATION | TITEL VORNAME NAME</a:t>
            </a:r>
          </a:p>
        </p:txBody>
      </p:sp>
      <p:sp>
        <p:nvSpPr>
          <p:cNvPr id="5" name="Foliennummernplatzhalter 4">
            <a:extLst>
              <a:ext uri="{FF2B5EF4-FFF2-40B4-BE49-F238E27FC236}">
                <a16:creationId xmlns:a16="http://schemas.microsoft.com/office/drawing/2014/main" id="{5E7A0E44-9622-46CB-8B77-6BCAF42971C4}"/>
              </a:ext>
            </a:extLst>
          </p:cNvPr>
          <p:cNvSpPr>
            <a:spLocks noGrp="1"/>
          </p:cNvSpPr>
          <p:nvPr>
            <p:ph type="sldNum" sz="quarter" idx="21"/>
          </p:nvPr>
        </p:nvSpPr>
        <p:spPr bwMode="gray"/>
        <p:txBody>
          <a:bodyPr/>
          <a:lstStyle/>
          <a:p>
            <a:fld id="{09E9C37E-8A19-4E30-BE2B-5A966AD23C7A}" type="slidenum">
              <a:rPr lang="de-DE" smtClean="0">
                <a:solidFill>
                  <a:schemeClr val="bg1"/>
                </a:solidFill>
              </a:rPr>
              <a:pPr/>
              <a:t>76</a:t>
            </a:fld>
            <a:endParaRPr lang="de-DE" dirty="0">
              <a:solidFill>
                <a:schemeClr val="bg1"/>
              </a:solidFill>
            </a:endParaRPr>
          </a:p>
        </p:txBody>
      </p:sp>
    </p:spTree>
    <p:extLst>
      <p:ext uri="{BB962C8B-B14F-4D97-AF65-F5344CB8AC3E}">
        <p14:creationId xmlns:p14="http://schemas.microsoft.com/office/powerpoint/2010/main" val="2366928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p:cNvGraphicFramePr>
          <p:nvPr>
            <p:custDataLst>
              <p:tags r:id="rId1"/>
            </p:custDataLst>
            <p:extLst>
              <p:ext uri="{D42A27DB-BD31-4B8C-83A1-F6EECF244321}">
                <p14:modId xmlns:p14="http://schemas.microsoft.com/office/powerpoint/2010/main" val="2817815817"/>
              </p:ext>
            </p:ext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Folie" r:id="rId7" imgW="360" imgH="360" progId="TCLayout.ActiveDocument.1">
                  <p:embed/>
                </p:oleObj>
              </mc:Choice>
              <mc:Fallback>
                <p:oleObj name="think-cell Folie" r:id="rId7" imgW="360" imgH="360" progId="TCLayout.ActiveDocument.1">
                  <p:embed/>
                  <p:pic>
                    <p:nvPicPr>
                      <p:cNvPr id="4" name="Objekt 3" hidden="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a:extLst>
              <a:ext uri="{FF2B5EF4-FFF2-40B4-BE49-F238E27FC236}">
                <a16:creationId xmlns:a16="http://schemas.microsoft.com/office/drawing/2014/main" id="{424F2F7B-B6A0-43E1-914D-1FE711B980FC}"/>
              </a:ext>
            </a:extLst>
          </p:cNvPr>
          <p:cNvSpPr/>
          <p:nvPr>
            <p:custDataLst>
              <p:tags r:id="rId2"/>
            </p:custDataLst>
          </p:nvPr>
        </p:nvSpPr>
        <p:spPr bwMode="gray">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e-DE" sz="3000" dirty="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sym typeface="Open Sans Extrabold" panose="020B0906030804020204" pitchFamily="34" charset="0"/>
            </a:endParaRPr>
          </a:p>
        </p:txBody>
      </p:sp>
      <p:sp>
        <p:nvSpPr>
          <p:cNvPr id="2" name="Titel 1"/>
          <p:cNvSpPr>
            <a:spLocks noGrp="1"/>
          </p:cNvSpPr>
          <p:nvPr>
            <p:ph type="title"/>
          </p:nvPr>
        </p:nvSpPr>
        <p:spPr bwMode="gray"/>
        <p:txBody>
          <a:bodyPr vert="horz"/>
          <a:lstStyle/>
          <a:p>
            <a:r>
              <a:rPr lang="de-DE" dirty="0"/>
              <a:t>Zwei Ringdiagramme mit Text</a:t>
            </a:r>
          </a:p>
        </p:txBody>
      </p:sp>
      <p:sp>
        <p:nvSpPr>
          <p:cNvPr id="5" name="Datumsplatzhalter 4">
            <a:extLst>
              <a:ext uri="{FF2B5EF4-FFF2-40B4-BE49-F238E27FC236}">
                <a16:creationId xmlns:a16="http://schemas.microsoft.com/office/drawing/2014/main" id="{ACE56335-F2F2-4F5F-8A73-09646AB50A77}"/>
              </a:ext>
            </a:extLst>
          </p:cNvPr>
          <p:cNvSpPr>
            <a:spLocks noGrp="1"/>
          </p:cNvSpPr>
          <p:nvPr>
            <p:ph type="dt" sz="half" idx="10"/>
          </p:nvPr>
        </p:nvSpPr>
        <p:spPr bwMode="gray"/>
        <p:txBody>
          <a:bodyPr/>
          <a:lstStyle/>
          <a:p>
            <a:fld id="{41498D9C-77D0-4130-89C2-9961FF2EF12D}" type="datetime1">
              <a:rPr lang="de-DE" smtClean="0"/>
              <a:t>29.09.25</a:t>
            </a:fld>
            <a:endParaRPr lang="de-DE" dirty="0"/>
          </a:p>
        </p:txBody>
      </p:sp>
      <p:sp>
        <p:nvSpPr>
          <p:cNvPr id="6" name="Fußzeilenplatzhalter 5">
            <a:extLst>
              <a:ext uri="{FF2B5EF4-FFF2-40B4-BE49-F238E27FC236}">
                <a16:creationId xmlns:a16="http://schemas.microsoft.com/office/drawing/2014/main" id="{B7CB80A9-9629-4EDB-9DC6-355B4605E496}"/>
              </a:ext>
            </a:extLst>
          </p:cNvPr>
          <p:cNvSpPr>
            <a:spLocks noGrp="1"/>
          </p:cNvSpPr>
          <p:nvPr>
            <p:ph type="ftr" sz="quarter" idx="11"/>
          </p:nvPr>
        </p:nvSpPr>
        <p:spPr bwMode="gray"/>
        <p:txBody>
          <a:bodyPr/>
          <a:lstStyle/>
          <a:p>
            <a:r>
              <a:rPr lang="de-DE" dirty="0"/>
              <a:t>TITEL DER PRÄSENTATION | TITEL VORNAME NAME</a:t>
            </a:r>
          </a:p>
        </p:txBody>
      </p:sp>
      <p:sp>
        <p:nvSpPr>
          <p:cNvPr id="7" name="Foliennummernplatzhalter 6">
            <a:extLst>
              <a:ext uri="{FF2B5EF4-FFF2-40B4-BE49-F238E27FC236}">
                <a16:creationId xmlns:a16="http://schemas.microsoft.com/office/drawing/2014/main" id="{66BD9EA1-6957-44F6-AC92-04C1A55E8D89}"/>
              </a:ext>
            </a:extLst>
          </p:cNvPr>
          <p:cNvSpPr>
            <a:spLocks noGrp="1"/>
          </p:cNvSpPr>
          <p:nvPr>
            <p:ph type="sldNum" sz="quarter" idx="12"/>
          </p:nvPr>
        </p:nvSpPr>
        <p:spPr bwMode="gray"/>
        <p:txBody>
          <a:bodyPr/>
          <a:lstStyle/>
          <a:p>
            <a:fld id="{09E9C37E-8A19-4E30-BE2B-5A966AD23C7A}" type="slidenum">
              <a:rPr lang="de-DE" smtClean="0"/>
              <a:pPr/>
              <a:t>77</a:t>
            </a:fld>
            <a:endParaRPr lang="de-DE" dirty="0"/>
          </a:p>
        </p:txBody>
      </p:sp>
      <p:graphicFrame>
        <p:nvGraphicFramePr>
          <p:cNvPr id="21" name="Diagramm 11">
            <a:extLst>
              <a:ext uri="{FF2B5EF4-FFF2-40B4-BE49-F238E27FC236}">
                <a16:creationId xmlns:a16="http://schemas.microsoft.com/office/drawing/2014/main" id="{C6DDC952-6968-4858-8A51-A07877BD1D4E}"/>
              </a:ext>
            </a:extLst>
          </p:cNvPr>
          <p:cNvGraphicFramePr/>
          <p:nvPr>
            <p:custDataLst>
              <p:tags r:id="rId3"/>
            </p:custDataLst>
            <p:extLst>
              <p:ext uri="{D42A27DB-BD31-4B8C-83A1-F6EECF244321}">
                <p14:modId xmlns:p14="http://schemas.microsoft.com/office/powerpoint/2010/main" val="926896540"/>
              </p:ext>
            </p:extLst>
          </p:nvPr>
        </p:nvGraphicFramePr>
        <p:xfrm>
          <a:off x="335999" y="1989138"/>
          <a:ext cx="5472663" cy="2519862"/>
        </p:xfrm>
        <a:graphic>
          <a:graphicData uri="http://schemas.openxmlformats.org/drawingml/2006/chart">
            <c:chart xmlns:c="http://schemas.openxmlformats.org/drawingml/2006/chart" xmlns:r="http://schemas.openxmlformats.org/officeDocument/2006/relationships" r:id="rId9"/>
          </a:graphicData>
        </a:graphic>
      </p:graphicFrame>
      <p:sp>
        <p:nvSpPr>
          <p:cNvPr id="22" name="Content Placeholder 10">
            <a:extLst>
              <a:ext uri="{FF2B5EF4-FFF2-40B4-BE49-F238E27FC236}">
                <a16:creationId xmlns:a16="http://schemas.microsoft.com/office/drawing/2014/main" id="{70865A39-4811-4674-A480-82E716054E64}"/>
              </a:ext>
            </a:extLst>
          </p:cNvPr>
          <p:cNvSpPr txBox="1">
            <a:spLocks/>
          </p:cNvSpPr>
          <p:nvPr/>
        </p:nvSpPr>
        <p:spPr bwMode="gray">
          <a:xfrm>
            <a:off x="2712000" y="2493000"/>
            <a:ext cx="1512000" cy="1512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t>Proin</a:t>
            </a:r>
            <a:br>
              <a:rPr lang="de-DE" dirty="0"/>
            </a:br>
            <a:r>
              <a:rPr lang="de-DE" dirty="0"/>
              <a:t>libero dolor tempus.</a:t>
            </a:r>
          </a:p>
        </p:txBody>
      </p:sp>
      <p:graphicFrame>
        <p:nvGraphicFramePr>
          <p:cNvPr id="23" name="Diagramm 11">
            <a:extLst>
              <a:ext uri="{FF2B5EF4-FFF2-40B4-BE49-F238E27FC236}">
                <a16:creationId xmlns:a16="http://schemas.microsoft.com/office/drawing/2014/main" id="{EBF9B482-B457-43E5-9C49-27A7337A99CA}"/>
              </a:ext>
            </a:extLst>
          </p:cNvPr>
          <p:cNvGraphicFramePr/>
          <p:nvPr>
            <p:custDataLst>
              <p:tags r:id="rId4"/>
            </p:custDataLst>
            <p:extLst>
              <p:ext uri="{D42A27DB-BD31-4B8C-83A1-F6EECF244321}">
                <p14:modId xmlns:p14="http://schemas.microsoft.com/office/powerpoint/2010/main" val="1814437845"/>
              </p:ext>
            </p:extLst>
          </p:nvPr>
        </p:nvGraphicFramePr>
        <p:xfrm>
          <a:off x="6095450" y="1989138"/>
          <a:ext cx="5472663" cy="2519862"/>
        </p:xfrm>
        <a:graphic>
          <a:graphicData uri="http://schemas.openxmlformats.org/drawingml/2006/chart">
            <c:chart xmlns:c="http://schemas.openxmlformats.org/drawingml/2006/chart" xmlns:r="http://schemas.openxmlformats.org/officeDocument/2006/relationships" r:id="rId10"/>
          </a:graphicData>
        </a:graphic>
      </p:graphicFrame>
      <p:sp>
        <p:nvSpPr>
          <p:cNvPr id="24" name="Content Placeholder 10">
            <a:extLst>
              <a:ext uri="{FF2B5EF4-FFF2-40B4-BE49-F238E27FC236}">
                <a16:creationId xmlns:a16="http://schemas.microsoft.com/office/drawing/2014/main" id="{3CCFF6B6-D0F8-4374-AD00-718AA64E0D9E}"/>
              </a:ext>
            </a:extLst>
          </p:cNvPr>
          <p:cNvSpPr txBox="1">
            <a:spLocks/>
          </p:cNvSpPr>
          <p:nvPr/>
        </p:nvSpPr>
        <p:spPr bwMode="gray">
          <a:xfrm>
            <a:off x="7660948" y="2493000"/>
            <a:ext cx="1512000" cy="1512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t>Proin</a:t>
            </a:r>
            <a:br>
              <a:rPr lang="de-DE" dirty="0"/>
            </a:br>
            <a:r>
              <a:rPr lang="de-DE" dirty="0"/>
              <a:t>libero dolor tempus.</a:t>
            </a:r>
          </a:p>
        </p:txBody>
      </p:sp>
      <p:sp>
        <p:nvSpPr>
          <p:cNvPr id="25" name="Content Placeholder 10">
            <a:extLst>
              <a:ext uri="{FF2B5EF4-FFF2-40B4-BE49-F238E27FC236}">
                <a16:creationId xmlns:a16="http://schemas.microsoft.com/office/drawing/2014/main" id="{2128AE54-6DE1-4216-B22B-DFA7F0449143}"/>
              </a:ext>
            </a:extLst>
          </p:cNvPr>
          <p:cNvSpPr txBox="1">
            <a:spLocks/>
          </p:cNvSpPr>
          <p:nvPr/>
        </p:nvSpPr>
        <p:spPr bwMode="gray">
          <a:xfrm>
            <a:off x="4151887" y="4653075"/>
            <a:ext cx="7416113"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a:p>
            <a:pPr lvl="1"/>
            <a:r>
              <a:rPr lang="de-DE" dirty="0"/>
              <a:t>Maecenas semper sem vel erat. Nam condimentum dui at ped. Proin et turpis. Praesent tortor, condimentum dui pede. Proin et turpis. </a:t>
            </a:r>
          </a:p>
        </p:txBody>
      </p:sp>
    </p:spTree>
    <p:extLst>
      <p:ext uri="{BB962C8B-B14F-4D97-AF65-F5344CB8AC3E}">
        <p14:creationId xmlns:p14="http://schemas.microsoft.com/office/powerpoint/2010/main" val="2073521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p:cNvGraphicFramePr>
          <p:nvPr>
            <p:custDataLst>
              <p:tags r:id="rId1"/>
            </p:custDataLst>
            <p:extLst>
              <p:ext uri="{D42A27DB-BD31-4B8C-83A1-F6EECF244321}">
                <p14:modId xmlns:p14="http://schemas.microsoft.com/office/powerpoint/2010/main" val="107918651"/>
              </p:ext>
            </p:ext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Folie" r:id="rId7" imgW="360" imgH="360" progId="TCLayout.ActiveDocument.1">
                  <p:embed/>
                </p:oleObj>
              </mc:Choice>
              <mc:Fallback>
                <p:oleObj name="think-cell Folie" r:id="rId7" imgW="360" imgH="360" progId="TCLayout.ActiveDocument.1">
                  <p:embed/>
                  <p:pic>
                    <p:nvPicPr>
                      <p:cNvPr id="4" name="Objekt 3" hidden="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a:extLst>
              <a:ext uri="{FF2B5EF4-FFF2-40B4-BE49-F238E27FC236}">
                <a16:creationId xmlns:a16="http://schemas.microsoft.com/office/drawing/2014/main" id="{424F2F7B-B6A0-43E1-914D-1FE711B980FC}"/>
              </a:ext>
            </a:extLst>
          </p:cNvPr>
          <p:cNvSpPr/>
          <p:nvPr>
            <p:custDataLst>
              <p:tags r:id="rId2"/>
            </p:custDataLst>
          </p:nvPr>
        </p:nvSpPr>
        <p:spPr bwMode="gray">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e-DE" sz="3000" dirty="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sym typeface="Open Sans Extrabold" panose="020B0906030804020204" pitchFamily="34" charset="0"/>
            </a:endParaRPr>
          </a:p>
        </p:txBody>
      </p:sp>
      <p:sp>
        <p:nvSpPr>
          <p:cNvPr id="2" name="Titel 1"/>
          <p:cNvSpPr>
            <a:spLocks noGrp="1"/>
          </p:cNvSpPr>
          <p:nvPr>
            <p:ph type="title"/>
          </p:nvPr>
        </p:nvSpPr>
        <p:spPr bwMode="gray"/>
        <p:txBody>
          <a:bodyPr vert="horz"/>
          <a:lstStyle/>
          <a:p>
            <a:r>
              <a:rPr lang="de-DE" dirty="0">
                <a:solidFill>
                  <a:schemeClr val="bg1"/>
                </a:solidFill>
              </a:rPr>
              <a:t>Zwei Ringdiagramme mit Text</a:t>
            </a:r>
          </a:p>
        </p:txBody>
      </p:sp>
      <p:sp>
        <p:nvSpPr>
          <p:cNvPr id="5" name="Datumsplatzhalter 4">
            <a:extLst>
              <a:ext uri="{FF2B5EF4-FFF2-40B4-BE49-F238E27FC236}">
                <a16:creationId xmlns:a16="http://schemas.microsoft.com/office/drawing/2014/main" id="{5B4FFF79-CF2B-4E08-93DF-76C4B8AB7AA1}"/>
              </a:ext>
            </a:extLst>
          </p:cNvPr>
          <p:cNvSpPr>
            <a:spLocks noGrp="1"/>
          </p:cNvSpPr>
          <p:nvPr>
            <p:ph type="dt" sz="half" idx="10"/>
          </p:nvPr>
        </p:nvSpPr>
        <p:spPr bwMode="gray"/>
        <p:txBody>
          <a:bodyPr/>
          <a:lstStyle/>
          <a:p>
            <a:fld id="{64A85289-947A-400F-B792-C7AFB3EAB7EB}" type="datetime1">
              <a:rPr lang="de-DE" smtClean="0">
                <a:solidFill>
                  <a:schemeClr val="bg1"/>
                </a:solidFill>
              </a:rPr>
              <a:t>29.09.25</a:t>
            </a:fld>
            <a:endParaRPr lang="de-DE" dirty="0">
              <a:solidFill>
                <a:schemeClr val="bg1"/>
              </a:solidFill>
            </a:endParaRPr>
          </a:p>
        </p:txBody>
      </p:sp>
      <p:sp>
        <p:nvSpPr>
          <p:cNvPr id="6" name="Fußzeilenplatzhalter 5">
            <a:extLst>
              <a:ext uri="{FF2B5EF4-FFF2-40B4-BE49-F238E27FC236}">
                <a16:creationId xmlns:a16="http://schemas.microsoft.com/office/drawing/2014/main" id="{805D8EDD-E954-40F3-B81E-030DE42FFC58}"/>
              </a:ext>
            </a:extLst>
          </p:cNvPr>
          <p:cNvSpPr>
            <a:spLocks noGrp="1"/>
          </p:cNvSpPr>
          <p:nvPr>
            <p:ph type="ftr" sz="quarter" idx="11"/>
          </p:nvPr>
        </p:nvSpPr>
        <p:spPr bwMode="gray"/>
        <p:txBody>
          <a:bodyPr/>
          <a:lstStyle/>
          <a:p>
            <a:r>
              <a:rPr lang="de-DE" dirty="0">
                <a:solidFill>
                  <a:schemeClr val="bg1"/>
                </a:solidFill>
              </a:rPr>
              <a:t>TITEL DER PRÄSENTATION | TITEL VORNAME NAME</a:t>
            </a:r>
          </a:p>
        </p:txBody>
      </p:sp>
      <p:sp>
        <p:nvSpPr>
          <p:cNvPr id="7" name="Foliennummernplatzhalter 6">
            <a:extLst>
              <a:ext uri="{FF2B5EF4-FFF2-40B4-BE49-F238E27FC236}">
                <a16:creationId xmlns:a16="http://schemas.microsoft.com/office/drawing/2014/main" id="{6F4AD6A5-7EE9-49A9-A370-90F020B61002}"/>
              </a:ext>
            </a:extLst>
          </p:cNvPr>
          <p:cNvSpPr>
            <a:spLocks noGrp="1"/>
          </p:cNvSpPr>
          <p:nvPr>
            <p:ph type="sldNum" sz="quarter" idx="12"/>
          </p:nvPr>
        </p:nvSpPr>
        <p:spPr bwMode="gray"/>
        <p:txBody>
          <a:bodyPr/>
          <a:lstStyle/>
          <a:p>
            <a:fld id="{09E9C37E-8A19-4E30-BE2B-5A966AD23C7A}" type="slidenum">
              <a:rPr lang="de-DE" smtClean="0">
                <a:solidFill>
                  <a:schemeClr val="bg1"/>
                </a:solidFill>
              </a:rPr>
              <a:pPr/>
              <a:t>78</a:t>
            </a:fld>
            <a:endParaRPr lang="de-DE" dirty="0">
              <a:solidFill>
                <a:schemeClr val="bg1"/>
              </a:solidFill>
            </a:endParaRPr>
          </a:p>
        </p:txBody>
      </p:sp>
      <p:graphicFrame>
        <p:nvGraphicFramePr>
          <p:cNvPr id="21" name="Diagramm 11">
            <a:extLst>
              <a:ext uri="{FF2B5EF4-FFF2-40B4-BE49-F238E27FC236}">
                <a16:creationId xmlns:a16="http://schemas.microsoft.com/office/drawing/2014/main" id="{C6DDC952-6968-4858-8A51-A07877BD1D4E}"/>
              </a:ext>
            </a:extLst>
          </p:cNvPr>
          <p:cNvGraphicFramePr/>
          <p:nvPr>
            <p:custDataLst>
              <p:tags r:id="rId3"/>
            </p:custDataLst>
            <p:extLst>
              <p:ext uri="{D42A27DB-BD31-4B8C-83A1-F6EECF244321}">
                <p14:modId xmlns:p14="http://schemas.microsoft.com/office/powerpoint/2010/main" val="62935916"/>
              </p:ext>
            </p:extLst>
          </p:nvPr>
        </p:nvGraphicFramePr>
        <p:xfrm>
          <a:off x="335999" y="1989138"/>
          <a:ext cx="5472663" cy="2519862"/>
        </p:xfrm>
        <a:graphic>
          <a:graphicData uri="http://schemas.openxmlformats.org/drawingml/2006/chart">
            <c:chart xmlns:c="http://schemas.openxmlformats.org/drawingml/2006/chart" xmlns:r="http://schemas.openxmlformats.org/officeDocument/2006/relationships" r:id="rId9"/>
          </a:graphicData>
        </a:graphic>
      </p:graphicFrame>
      <p:sp>
        <p:nvSpPr>
          <p:cNvPr id="22" name="Content Placeholder 10">
            <a:extLst>
              <a:ext uri="{FF2B5EF4-FFF2-40B4-BE49-F238E27FC236}">
                <a16:creationId xmlns:a16="http://schemas.microsoft.com/office/drawing/2014/main" id="{70865A39-4811-4674-A480-82E716054E64}"/>
              </a:ext>
            </a:extLst>
          </p:cNvPr>
          <p:cNvSpPr txBox="1">
            <a:spLocks/>
          </p:cNvSpPr>
          <p:nvPr/>
        </p:nvSpPr>
        <p:spPr bwMode="gray">
          <a:xfrm>
            <a:off x="2712000" y="2493000"/>
            <a:ext cx="1512000" cy="1512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Proin</a:t>
            </a:r>
            <a:br>
              <a:rPr lang="de-DE" dirty="0">
                <a:solidFill>
                  <a:schemeClr val="bg1"/>
                </a:solidFill>
              </a:rPr>
            </a:br>
            <a:r>
              <a:rPr lang="de-DE" dirty="0">
                <a:solidFill>
                  <a:schemeClr val="bg1"/>
                </a:solidFill>
              </a:rPr>
              <a:t>libero dolor tempus.</a:t>
            </a:r>
          </a:p>
        </p:txBody>
      </p:sp>
      <p:graphicFrame>
        <p:nvGraphicFramePr>
          <p:cNvPr id="23" name="Diagramm 11">
            <a:extLst>
              <a:ext uri="{FF2B5EF4-FFF2-40B4-BE49-F238E27FC236}">
                <a16:creationId xmlns:a16="http://schemas.microsoft.com/office/drawing/2014/main" id="{EBF9B482-B457-43E5-9C49-27A7337A99CA}"/>
              </a:ext>
            </a:extLst>
          </p:cNvPr>
          <p:cNvGraphicFramePr/>
          <p:nvPr>
            <p:custDataLst>
              <p:tags r:id="rId4"/>
            </p:custDataLst>
            <p:extLst>
              <p:ext uri="{D42A27DB-BD31-4B8C-83A1-F6EECF244321}">
                <p14:modId xmlns:p14="http://schemas.microsoft.com/office/powerpoint/2010/main" val="283254134"/>
              </p:ext>
            </p:extLst>
          </p:nvPr>
        </p:nvGraphicFramePr>
        <p:xfrm>
          <a:off x="6095450" y="1989138"/>
          <a:ext cx="5472663" cy="2519862"/>
        </p:xfrm>
        <a:graphic>
          <a:graphicData uri="http://schemas.openxmlformats.org/drawingml/2006/chart">
            <c:chart xmlns:c="http://schemas.openxmlformats.org/drawingml/2006/chart" xmlns:r="http://schemas.openxmlformats.org/officeDocument/2006/relationships" r:id="rId10"/>
          </a:graphicData>
        </a:graphic>
      </p:graphicFrame>
      <p:sp>
        <p:nvSpPr>
          <p:cNvPr id="24" name="Content Placeholder 10">
            <a:extLst>
              <a:ext uri="{FF2B5EF4-FFF2-40B4-BE49-F238E27FC236}">
                <a16:creationId xmlns:a16="http://schemas.microsoft.com/office/drawing/2014/main" id="{3CCFF6B6-D0F8-4374-AD00-718AA64E0D9E}"/>
              </a:ext>
            </a:extLst>
          </p:cNvPr>
          <p:cNvSpPr txBox="1">
            <a:spLocks/>
          </p:cNvSpPr>
          <p:nvPr/>
        </p:nvSpPr>
        <p:spPr bwMode="gray">
          <a:xfrm>
            <a:off x="7660948" y="2493000"/>
            <a:ext cx="1512000" cy="1512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Proin</a:t>
            </a:r>
            <a:br>
              <a:rPr lang="de-DE" dirty="0">
                <a:solidFill>
                  <a:schemeClr val="bg1"/>
                </a:solidFill>
              </a:rPr>
            </a:br>
            <a:r>
              <a:rPr lang="de-DE" dirty="0">
                <a:solidFill>
                  <a:schemeClr val="bg1"/>
                </a:solidFill>
              </a:rPr>
              <a:t>libero dolor tempus.</a:t>
            </a:r>
          </a:p>
        </p:txBody>
      </p:sp>
      <p:sp>
        <p:nvSpPr>
          <p:cNvPr id="25" name="Content Placeholder 10">
            <a:extLst>
              <a:ext uri="{FF2B5EF4-FFF2-40B4-BE49-F238E27FC236}">
                <a16:creationId xmlns:a16="http://schemas.microsoft.com/office/drawing/2014/main" id="{2128AE54-6DE1-4216-B22B-DFA7F0449143}"/>
              </a:ext>
            </a:extLst>
          </p:cNvPr>
          <p:cNvSpPr txBox="1">
            <a:spLocks/>
          </p:cNvSpPr>
          <p:nvPr/>
        </p:nvSpPr>
        <p:spPr bwMode="gray">
          <a:xfrm>
            <a:off x="4151887" y="4653075"/>
            <a:ext cx="7416113"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p>
          <a:p>
            <a:pPr lvl="1"/>
            <a:r>
              <a:rPr lang="de-DE" dirty="0">
                <a:solidFill>
                  <a:schemeClr val="bg1"/>
                </a:solidFill>
              </a:rPr>
              <a:t>Maecenas semper sem vel erat. Nam condimentum dui at ped. Proin et turpis. Praesent tortor, condimentum dui pede. Proin et turpis. </a:t>
            </a:r>
          </a:p>
        </p:txBody>
      </p:sp>
    </p:spTree>
    <p:extLst>
      <p:ext uri="{BB962C8B-B14F-4D97-AF65-F5344CB8AC3E}">
        <p14:creationId xmlns:p14="http://schemas.microsoft.com/office/powerpoint/2010/main" val="3827705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bg>
      <p:bgPr>
        <a:solidFill>
          <a:schemeClr val="tx1">
            <a:lumMod val="60000"/>
            <a:lumOff val="40000"/>
          </a:schemeClr>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p:cNvGraphicFramePr>
          <p:nvPr>
            <p:custDataLst>
              <p:tags r:id="rId1"/>
            </p:custDataLst>
            <p:extLst>
              <p:ext uri="{D42A27DB-BD31-4B8C-83A1-F6EECF244321}">
                <p14:modId xmlns:p14="http://schemas.microsoft.com/office/powerpoint/2010/main" val="997503672"/>
              </p:ext>
            </p:ext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Folie" r:id="rId7" imgW="360" imgH="360" progId="TCLayout.ActiveDocument.1">
                  <p:embed/>
                </p:oleObj>
              </mc:Choice>
              <mc:Fallback>
                <p:oleObj name="think-cell Folie" r:id="rId7" imgW="360" imgH="360" progId="TCLayout.ActiveDocument.1">
                  <p:embed/>
                  <p:pic>
                    <p:nvPicPr>
                      <p:cNvPr id="4" name="Objekt 3" hidden="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a:extLst>
              <a:ext uri="{FF2B5EF4-FFF2-40B4-BE49-F238E27FC236}">
                <a16:creationId xmlns:a16="http://schemas.microsoft.com/office/drawing/2014/main" id="{424F2F7B-B6A0-43E1-914D-1FE711B980FC}"/>
              </a:ext>
            </a:extLst>
          </p:cNvPr>
          <p:cNvSpPr/>
          <p:nvPr>
            <p:custDataLst>
              <p:tags r:id="rId2"/>
            </p:custDataLst>
          </p:nvPr>
        </p:nvSpPr>
        <p:spPr bwMode="gray">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e-DE" sz="3000" dirty="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sym typeface="Open Sans Extrabold" panose="020B0906030804020204" pitchFamily="34" charset="0"/>
            </a:endParaRPr>
          </a:p>
        </p:txBody>
      </p:sp>
      <p:sp>
        <p:nvSpPr>
          <p:cNvPr id="2" name="Titel 1"/>
          <p:cNvSpPr>
            <a:spLocks noGrp="1"/>
          </p:cNvSpPr>
          <p:nvPr>
            <p:ph type="title"/>
          </p:nvPr>
        </p:nvSpPr>
        <p:spPr bwMode="gray"/>
        <p:txBody>
          <a:bodyPr vert="horz"/>
          <a:lstStyle/>
          <a:p>
            <a:r>
              <a:rPr lang="de-DE" dirty="0"/>
              <a:t>Zwei Ringdiagramme mit Text</a:t>
            </a:r>
          </a:p>
        </p:txBody>
      </p:sp>
      <p:sp>
        <p:nvSpPr>
          <p:cNvPr id="5" name="Datumsplatzhalter 4">
            <a:extLst>
              <a:ext uri="{FF2B5EF4-FFF2-40B4-BE49-F238E27FC236}">
                <a16:creationId xmlns:a16="http://schemas.microsoft.com/office/drawing/2014/main" id="{1C6ED9CB-BFCE-4E37-828C-9001E8F11B3A}"/>
              </a:ext>
            </a:extLst>
          </p:cNvPr>
          <p:cNvSpPr>
            <a:spLocks noGrp="1"/>
          </p:cNvSpPr>
          <p:nvPr>
            <p:ph type="dt" sz="half" idx="10"/>
          </p:nvPr>
        </p:nvSpPr>
        <p:spPr bwMode="gray"/>
        <p:txBody>
          <a:bodyPr/>
          <a:lstStyle/>
          <a:p>
            <a:fld id="{8183FB41-D554-44F7-8D50-218C2BC25517}" type="datetime1">
              <a:rPr lang="de-DE" smtClean="0"/>
              <a:t>29.09.25</a:t>
            </a:fld>
            <a:endParaRPr lang="de-DE" dirty="0"/>
          </a:p>
        </p:txBody>
      </p:sp>
      <p:sp>
        <p:nvSpPr>
          <p:cNvPr id="6" name="Fußzeilenplatzhalter 5">
            <a:extLst>
              <a:ext uri="{FF2B5EF4-FFF2-40B4-BE49-F238E27FC236}">
                <a16:creationId xmlns:a16="http://schemas.microsoft.com/office/drawing/2014/main" id="{FCFD286B-4F42-4356-B2F2-7E34F6DDCA7E}"/>
              </a:ext>
            </a:extLst>
          </p:cNvPr>
          <p:cNvSpPr>
            <a:spLocks noGrp="1"/>
          </p:cNvSpPr>
          <p:nvPr>
            <p:ph type="ftr" sz="quarter" idx="11"/>
          </p:nvPr>
        </p:nvSpPr>
        <p:spPr bwMode="gray"/>
        <p:txBody>
          <a:bodyPr/>
          <a:lstStyle/>
          <a:p>
            <a:r>
              <a:rPr lang="de-DE" dirty="0"/>
              <a:t>TITEL DER PRÄSENTATION | TITEL VORNAME NAME</a:t>
            </a:r>
          </a:p>
        </p:txBody>
      </p:sp>
      <p:sp>
        <p:nvSpPr>
          <p:cNvPr id="7" name="Foliennummernplatzhalter 6">
            <a:extLst>
              <a:ext uri="{FF2B5EF4-FFF2-40B4-BE49-F238E27FC236}">
                <a16:creationId xmlns:a16="http://schemas.microsoft.com/office/drawing/2014/main" id="{B1D573DB-0B7D-4444-A255-9FF6B9C18627}"/>
              </a:ext>
            </a:extLst>
          </p:cNvPr>
          <p:cNvSpPr>
            <a:spLocks noGrp="1"/>
          </p:cNvSpPr>
          <p:nvPr>
            <p:ph type="sldNum" sz="quarter" idx="12"/>
          </p:nvPr>
        </p:nvSpPr>
        <p:spPr bwMode="gray"/>
        <p:txBody>
          <a:bodyPr/>
          <a:lstStyle/>
          <a:p>
            <a:fld id="{09E9C37E-8A19-4E30-BE2B-5A966AD23C7A}" type="slidenum">
              <a:rPr lang="de-DE" smtClean="0"/>
              <a:pPr/>
              <a:t>79</a:t>
            </a:fld>
            <a:endParaRPr lang="de-DE" dirty="0"/>
          </a:p>
        </p:txBody>
      </p:sp>
      <p:graphicFrame>
        <p:nvGraphicFramePr>
          <p:cNvPr id="21" name="Diagramm 11">
            <a:extLst>
              <a:ext uri="{FF2B5EF4-FFF2-40B4-BE49-F238E27FC236}">
                <a16:creationId xmlns:a16="http://schemas.microsoft.com/office/drawing/2014/main" id="{C6DDC952-6968-4858-8A51-A07877BD1D4E}"/>
              </a:ext>
            </a:extLst>
          </p:cNvPr>
          <p:cNvGraphicFramePr/>
          <p:nvPr>
            <p:custDataLst>
              <p:tags r:id="rId3"/>
            </p:custDataLst>
            <p:extLst>
              <p:ext uri="{D42A27DB-BD31-4B8C-83A1-F6EECF244321}">
                <p14:modId xmlns:p14="http://schemas.microsoft.com/office/powerpoint/2010/main" val="1831016321"/>
              </p:ext>
            </p:extLst>
          </p:nvPr>
        </p:nvGraphicFramePr>
        <p:xfrm>
          <a:off x="335999" y="1989138"/>
          <a:ext cx="5472663" cy="2519862"/>
        </p:xfrm>
        <a:graphic>
          <a:graphicData uri="http://schemas.openxmlformats.org/drawingml/2006/chart">
            <c:chart xmlns:c="http://schemas.openxmlformats.org/drawingml/2006/chart" xmlns:r="http://schemas.openxmlformats.org/officeDocument/2006/relationships" r:id="rId9"/>
          </a:graphicData>
        </a:graphic>
      </p:graphicFrame>
      <p:sp>
        <p:nvSpPr>
          <p:cNvPr id="22" name="Content Placeholder 10">
            <a:extLst>
              <a:ext uri="{FF2B5EF4-FFF2-40B4-BE49-F238E27FC236}">
                <a16:creationId xmlns:a16="http://schemas.microsoft.com/office/drawing/2014/main" id="{70865A39-4811-4674-A480-82E716054E64}"/>
              </a:ext>
            </a:extLst>
          </p:cNvPr>
          <p:cNvSpPr txBox="1">
            <a:spLocks/>
          </p:cNvSpPr>
          <p:nvPr/>
        </p:nvSpPr>
        <p:spPr bwMode="gray">
          <a:xfrm>
            <a:off x="2712000" y="2493000"/>
            <a:ext cx="1512000" cy="1512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Proin</a:t>
            </a:r>
            <a:br>
              <a:rPr lang="de-DE" dirty="0">
                <a:solidFill>
                  <a:schemeClr val="bg1"/>
                </a:solidFill>
              </a:rPr>
            </a:br>
            <a:r>
              <a:rPr lang="de-DE" dirty="0">
                <a:solidFill>
                  <a:schemeClr val="bg1"/>
                </a:solidFill>
              </a:rPr>
              <a:t>libero dolor tempus.</a:t>
            </a:r>
          </a:p>
        </p:txBody>
      </p:sp>
      <p:graphicFrame>
        <p:nvGraphicFramePr>
          <p:cNvPr id="23" name="Diagramm 11">
            <a:extLst>
              <a:ext uri="{FF2B5EF4-FFF2-40B4-BE49-F238E27FC236}">
                <a16:creationId xmlns:a16="http://schemas.microsoft.com/office/drawing/2014/main" id="{EBF9B482-B457-43E5-9C49-27A7337A99CA}"/>
              </a:ext>
            </a:extLst>
          </p:cNvPr>
          <p:cNvGraphicFramePr/>
          <p:nvPr>
            <p:custDataLst>
              <p:tags r:id="rId4"/>
            </p:custDataLst>
            <p:extLst>
              <p:ext uri="{D42A27DB-BD31-4B8C-83A1-F6EECF244321}">
                <p14:modId xmlns:p14="http://schemas.microsoft.com/office/powerpoint/2010/main" val="1084572254"/>
              </p:ext>
            </p:extLst>
          </p:nvPr>
        </p:nvGraphicFramePr>
        <p:xfrm>
          <a:off x="6095450" y="1989138"/>
          <a:ext cx="5472663" cy="2519862"/>
        </p:xfrm>
        <a:graphic>
          <a:graphicData uri="http://schemas.openxmlformats.org/drawingml/2006/chart">
            <c:chart xmlns:c="http://schemas.openxmlformats.org/drawingml/2006/chart" xmlns:r="http://schemas.openxmlformats.org/officeDocument/2006/relationships" r:id="rId10"/>
          </a:graphicData>
        </a:graphic>
      </p:graphicFrame>
      <p:sp>
        <p:nvSpPr>
          <p:cNvPr id="24" name="Content Placeholder 10">
            <a:extLst>
              <a:ext uri="{FF2B5EF4-FFF2-40B4-BE49-F238E27FC236}">
                <a16:creationId xmlns:a16="http://schemas.microsoft.com/office/drawing/2014/main" id="{3CCFF6B6-D0F8-4374-AD00-718AA64E0D9E}"/>
              </a:ext>
            </a:extLst>
          </p:cNvPr>
          <p:cNvSpPr txBox="1">
            <a:spLocks/>
          </p:cNvSpPr>
          <p:nvPr/>
        </p:nvSpPr>
        <p:spPr bwMode="gray">
          <a:xfrm>
            <a:off x="7660948" y="2493000"/>
            <a:ext cx="1512000" cy="151200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Proin</a:t>
            </a:r>
            <a:br>
              <a:rPr lang="de-DE" dirty="0">
                <a:solidFill>
                  <a:schemeClr val="bg1"/>
                </a:solidFill>
              </a:rPr>
            </a:br>
            <a:r>
              <a:rPr lang="de-DE" dirty="0">
                <a:solidFill>
                  <a:schemeClr val="bg1"/>
                </a:solidFill>
              </a:rPr>
              <a:t>libero dolor tempus.</a:t>
            </a:r>
          </a:p>
        </p:txBody>
      </p:sp>
      <p:sp>
        <p:nvSpPr>
          <p:cNvPr id="25" name="Content Placeholder 10">
            <a:extLst>
              <a:ext uri="{FF2B5EF4-FFF2-40B4-BE49-F238E27FC236}">
                <a16:creationId xmlns:a16="http://schemas.microsoft.com/office/drawing/2014/main" id="{2128AE54-6DE1-4216-B22B-DFA7F0449143}"/>
              </a:ext>
            </a:extLst>
          </p:cNvPr>
          <p:cNvSpPr txBox="1">
            <a:spLocks/>
          </p:cNvSpPr>
          <p:nvPr/>
        </p:nvSpPr>
        <p:spPr bwMode="gray">
          <a:xfrm>
            <a:off x="4151887" y="4653075"/>
            <a:ext cx="7416113"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p>
          <a:p>
            <a:pPr lvl="1"/>
            <a:r>
              <a:rPr lang="de-DE" dirty="0">
                <a:solidFill>
                  <a:schemeClr val="bg1"/>
                </a:solidFill>
              </a:rPr>
              <a:t>Maecenas semper sem vel erat. Nam condimentum dui at ped. Proin et turpis. Praesent tortor, condimentum dui pede. Proin et turpis. </a:t>
            </a:r>
          </a:p>
        </p:txBody>
      </p:sp>
    </p:spTree>
    <p:extLst>
      <p:ext uri="{BB962C8B-B14F-4D97-AF65-F5344CB8AC3E}">
        <p14:creationId xmlns:p14="http://schemas.microsoft.com/office/powerpoint/2010/main" val="1103419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475E444-58D4-4E3A-B1EA-AB9EE0337FAC}"/>
              </a:ext>
            </a:extLst>
          </p:cNvPr>
          <p:cNvGraphicFramePr>
            <a:graphicFrameLocks noChangeAspect="1"/>
          </p:cNvGraphicFramePr>
          <p:nvPr>
            <p:custDataLst>
              <p:tags r:id="rId1"/>
            </p:custDataLst>
            <p:extLst>
              <p:ext uri="{D42A27DB-BD31-4B8C-83A1-F6EECF244321}">
                <p14:modId xmlns:p14="http://schemas.microsoft.com/office/powerpoint/2010/main" val="1937621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F2B4F8-69B3-40E0-B120-7FA24ADA9200}"/>
              </a:ext>
            </a:extLst>
          </p:cNvPr>
          <p:cNvSpPr>
            <a:spLocks noGrp="1"/>
          </p:cNvSpPr>
          <p:nvPr>
            <p:ph type="title"/>
          </p:nvPr>
        </p:nvSpPr>
        <p:spPr bwMode="gray"/>
        <p:txBody>
          <a:bodyPr vert="horz"/>
          <a:lstStyle/>
          <a:p>
            <a:r>
              <a:rPr lang="de-DE" dirty="0"/>
              <a:t>ÜBERSCHRIFT 1 in 20 pt</a:t>
            </a:r>
            <a:br>
              <a:rPr lang="de-DE" dirty="0"/>
            </a:br>
            <a:r>
              <a:rPr lang="de-DE" b="0" dirty="0"/>
              <a:t>zweite Zeile ungefettet (Manuell)</a:t>
            </a:r>
          </a:p>
        </p:txBody>
      </p:sp>
      <p:sp>
        <p:nvSpPr>
          <p:cNvPr id="14" name="Date Placeholder 13">
            <a:extLst>
              <a:ext uri="{FF2B5EF4-FFF2-40B4-BE49-F238E27FC236}">
                <a16:creationId xmlns:a16="http://schemas.microsoft.com/office/drawing/2014/main" id="{DC64BB43-C60C-462D-957F-6AB41D5519AF}"/>
              </a:ext>
            </a:extLst>
          </p:cNvPr>
          <p:cNvSpPr>
            <a:spLocks noGrp="1"/>
          </p:cNvSpPr>
          <p:nvPr>
            <p:ph type="dt" sz="half" idx="14"/>
          </p:nvPr>
        </p:nvSpPr>
        <p:spPr bwMode="gray"/>
        <p:txBody>
          <a:bodyPr/>
          <a:lstStyle/>
          <a:p>
            <a:fld id="{C11FD278-B085-429C-A912-3C04F3D2EBF9}" type="datetime1">
              <a:rPr lang="de-DE" smtClean="0"/>
              <a:t>29.09.25</a:t>
            </a:fld>
            <a:endParaRPr lang="de-DE" dirty="0"/>
          </a:p>
        </p:txBody>
      </p:sp>
      <p:sp>
        <p:nvSpPr>
          <p:cNvPr id="5" name="Fußzeilenplatzhalter 4">
            <a:extLst>
              <a:ext uri="{FF2B5EF4-FFF2-40B4-BE49-F238E27FC236}">
                <a16:creationId xmlns:a16="http://schemas.microsoft.com/office/drawing/2014/main" id="{910957FD-CF3A-4367-8B11-DF91FE2155C2}"/>
              </a:ext>
            </a:extLst>
          </p:cNvPr>
          <p:cNvSpPr>
            <a:spLocks noGrp="1"/>
          </p:cNvSpPr>
          <p:nvPr>
            <p:ph type="ftr" sz="quarter" idx="15"/>
          </p:nvPr>
        </p:nvSpPr>
        <p:spPr bwMode="gray"/>
        <p:txBody>
          <a:bodyPr/>
          <a:lstStyle/>
          <a:p>
            <a:r>
              <a:rPr lang="de-DE" dirty="0"/>
              <a:t>TITEL DER PRÄSENTATION | TITEL VORNAME NAME</a:t>
            </a:r>
          </a:p>
        </p:txBody>
      </p:sp>
      <p:sp>
        <p:nvSpPr>
          <p:cNvPr id="6" name="Foliennummernplatzhalter 5">
            <a:extLst>
              <a:ext uri="{FF2B5EF4-FFF2-40B4-BE49-F238E27FC236}">
                <a16:creationId xmlns:a16="http://schemas.microsoft.com/office/drawing/2014/main" id="{6D197547-2CF3-4E2D-8366-79AC5445288C}"/>
              </a:ext>
            </a:extLst>
          </p:cNvPr>
          <p:cNvSpPr>
            <a:spLocks noGrp="1"/>
          </p:cNvSpPr>
          <p:nvPr>
            <p:ph type="sldNum" sz="quarter" idx="16"/>
          </p:nvPr>
        </p:nvSpPr>
        <p:spPr bwMode="gray"/>
        <p:txBody>
          <a:bodyPr/>
          <a:lstStyle/>
          <a:p>
            <a:fld id="{09E9C37E-8A19-4E30-BE2B-5A966AD23C7A}" type="slidenum">
              <a:rPr lang="de-DE" smtClean="0"/>
              <a:pPr/>
              <a:t>8</a:t>
            </a:fld>
            <a:endParaRPr lang="de-DE" dirty="0"/>
          </a:p>
        </p:txBody>
      </p:sp>
      <p:sp>
        <p:nvSpPr>
          <p:cNvPr id="3" name="Textplatzhalter 2">
            <a:extLst>
              <a:ext uri="{FF2B5EF4-FFF2-40B4-BE49-F238E27FC236}">
                <a16:creationId xmlns:a16="http://schemas.microsoft.com/office/drawing/2014/main" id="{52912098-EC81-4307-B2FA-DA6B8A7282E2}"/>
              </a:ext>
            </a:extLst>
          </p:cNvPr>
          <p:cNvSpPr>
            <a:spLocks noGrp="1"/>
          </p:cNvSpPr>
          <p:nvPr>
            <p:ph sz="quarter" idx="17"/>
          </p:nvPr>
        </p:nvSpPr>
        <p:spPr bwMode="gray"/>
        <p:txBody>
          <a:bodyPr/>
          <a:lstStyle/>
          <a:p>
            <a:pPr lvl="2"/>
            <a:r>
              <a:rPr lang="de-DE" dirty="0"/>
              <a:t>Zwischenüberschrift auf Listenebene Drei</a:t>
            </a:r>
          </a:p>
          <a:p>
            <a:pPr lvl="1"/>
            <a:r>
              <a:rPr lang="de-DE" dirty="0"/>
              <a:t>Fließtext auf Listenebene Zwei, Verdana 14 pt. Ased diam voluptua. At vero eos et justo duo dolores et ea rebum. Lorem ipsum dolor sit amet, conse tetur, sed diam nonumy eirmod tempor invidunt ut labore et dolore magna.</a:t>
            </a:r>
          </a:p>
          <a:p>
            <a:pPr lvl="2"/>
            <a:r>
              <a:rPr lang="de-DE" dirty="0"/>
              <a:t>Zwischenüberschrift auf Listenebene Drei</a:t>
            </a:r>
          </a:p>
          <a:p>
            <a:pPr lvl="1"/>
            <a:r>
              <a:rPr lang="de-DE" dirty="0"/>
              <a:t>Ano sea takimata sanctus ipsum dolor sit amet. Lorem ipsum dolor sit amet, sadipscing elitr, sed diam nonumy eirmod tempor invidunt ut labore et dolore dolores et ea rebum. Stet clita kasd gubergren, no sea takimata sanctus.</a:t>
            </a:r>
          </a:p>
          <a:p>
            <a:r>
              <a:rPr lang="de-DE" dirty="0"/>
              <a:t>Erste Aufzählungsebene: Ebene Eins</a:t>
            </a:r>
          </a:p>
          <a:p>
            <a:r>
              <a:rPr lang="de-DE" dirty="0"/>
              <a:t>Lorem ipsum dolor sit amet</a:t>
            </a:r>
          </a:p>
          <a:p>
            <a:pPr lvl="3"/>
            <a:r>
              <a:rPr lang="de-DE" dirty="0"/>
              <a:t>Weitere Aufzählungsebene ab vierter Ebene</a:t>
            </a:r>
          </a:p>
          <a:p>
            <a:pPr lvl="2"/>
            <a:endParaRPr lang="de-DE" dirty="0"/>
          </a:p>
        </p:txBody>
      </p:sp>
    </p:spTree>
    <p:extLst>
      <p:ext uri="{BB962C8B-B14F-4D97-AF65-F5344CB8AC3E}">
        <p14:creationId xmlns:p14="http://schemas.microsoft.com/office/powerpoint/2010/main" val="202220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FE18CDC6-ECB3-4E0F-B20E-39F8BFBB7CAF}"/>
              </a:ext>
            </a:extLst>
          </p:cNvPr>
          <p:cNvGraphicFramePr>
            <a:graphicFrameLocks noChangeAspect="1"/>
          </p:cNvGraphicFramePr>
          <p:nvPr>
            <p:custDataLst>
              <p:tags r:id="rId1"/>
            </p:custDataLst>
            <p:extLst>
              <p:ext uri="{D42A27DB-BD31-4B8C-83A1-F6EECF244321}">
                <p14:modId xmlns:p14="http://schemas.microsoft.com/office/powerpoint/2010/main" val="1866105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59" imgH="358" progId="TCLayout.ActiveDocument.1">
                  <p:embed/>
                </p:oleObj>
              </mc:Choice>
              <mc:Fallback>
                <p:oleObj name="think-cell Folie" r:id="rId9" imgW="359" imgH="358"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2"/>
            </p:custDataLst>
          </p:nvPr>
        </p:nvSpPr>
        <p:spPr bwMode="gray"/>
        <p:txBody>
          <a:bodyPr vert="horz"/>
          <a:lstStyle/>
          <a:p>
            <a:r>
              <a:rPr lang="de-DE" dirty="0"/>
              <a:t>Ring-Diagramme</a:t>
            </a:r>
          </a:p>
        </p:txBody>
      </p:sp>
      <p:sp>
        <p:nvSpPr>
          <p:cNvPr id="3" name="Datumsplatzhalter 2">
            <a:extLst>
              <a:ext uri="{FF2B5EF4-FFF2-40B4-BE49-F238E27FC236}">
                <a16:creationId xmlns:a16="http://schemas.microsoft.com/office/drawing/2014/main" id="{0A162789-3D5F-4EFD-920B-5052DC87BF11}"/>
              </a:ext>
            </a:extLst>
          </p:cNvPr>
          <p:cNvSpPr>
            <a:spLocks noGrp="1"/>
          </p:cNvSpPr>
          <p:nvPr>
            <p:ph type="dt" sz="half" idx="10"/>
          </p:nvPr>
        </p:nvSpPr>
        <p:spPr bwMode="gray"/>
        <p:txBody>
          <a:bodyPr/>
          <a:lstStyle/>
          <a:p>
            <a:fld id="{B75EA6F7-CB50-4B1A-B8AA-630D7CF8080D}" type="datetime1">
              <a:rPr lang="de-DE" smtClean="0"/>
              <a:t>29.09.25</a:t>
            </a:fld>
            <a:endParaRPr lang="de-DE" dirty="0"/>
          </a:p>
        </p:txBody>
      </p:sp>
      <p:sp>
        <p:nvSpPr>
          <p:cNvPr id="4" name="Fußzeilenplatzhalter 3">
            <a:extLst>
              <a:ext uri="{FF2B5EF4-FFF2-40B4-BE49-F238E27FC236}">
                <a16:creationId xmlns:a16="http://schemas.microsoft.com/office/drawing/2014/main" id="{6B46B2C5-237C-4584-891E-DE6F3359138A}"/>
              </a:ext>
            </a:extLst>
          </p:cNvPr>
          <p:cNvSpPr>
            <a:spLocks noGrp="1"/>
          </p:cNvSpPr>
          <p:nvPr>
            <p:ph type="ftr" sz="quarter" idx="11"/>
          </p:nvPr>
        </p:nvSpPr>
        <p:spPr bwMode="gray"/>
        <p:txBody>
          <a:bodyPr/>
          <a:lstStyle/>
          <a:p>
            <a:r>
              <a:rPr lang="de-DE" dirty="0"/>
              <a:t>TITEL DER PRÄSENTATION | TITEL VORNAME NAME</a:t>
            </a:r>
          </a:p>
        </p:txBody>
      </p:sp>
      <p:sp>
        <p:nvSpPr>
          <p:cNvPr id="5" name="Foliennummernplatzhalter 4">
            <a:extLst>
              <a:ext uri="{FF2B5EF4-FFF2-40B4-BE49-F238E27FC236}">
                <a16:creationId xmlns:a16="http://schemas.microsoft.com/office/drawing/2014/main" id="{2233937D-0223-482E-8AE9-BEF55E98A83C}"/>
              </a:ext>
            </a:extLst>
          </p:cNvPr>
          <p:cNvSpPr>
            <a:spLocks noGrp="1"/>
          </p:cNvSpPr>
          <p:nvPr>
            <p:ph type="sldNum" sz="quarter" idx="12"/>
          </p:nvPr>
        </p:nvSpPr>
        <p:spPr bwMode="gray"/>
        <p:txBody>
          <a:bodyPr/>
          <a:lstStyle/>
          <a:p>
            <a:fld id="{09E9C37E-8A19-4E30-BE2B-5A966AD23C7A}" type="slidenum">
              <a:rPr lang="de-DE" smtClean="0"/>
              <a:pPr/>
              <a:t>80</a:t>
            </a:fld>
            <a:endParaRPr lang="de-DE" dirty="0"/>
          </a:p>
        </p:txBody>
      </p:sp>
      <p:sp>
        <p:nvSpPr>
          <p:cNvPr id="27" name="Content Placeholder 10">
            <a:extLst>
              <a:ext uri="{FF2B5EF4-FFF2-40B4-BE49-F238E27FC236}">
                <a16:creationId xmlns:a16="http://schemas.microsoft.com/office/drawing/2014/main" id="{FF0424E6-691F-41E0-A351-15DE435590BE}"/>
              </a:ext>
            </a:extLst>
          </p:cNvPr>
          <p:cNvSpPr txBox="1">
            <a:spLocks/>
          </p:cNvSpPr>
          <p:nvPr/>
        </p:nvSpPr>
        <p:spPr bwMode="gray">
          <a:xfrm>
            <a:off x="336001" y="1989075"/>
            <a:ext cx="2591350"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a:p>
            <a:pPr lvl="1"/>
            <a:r>
              <a:rPr lang="de-DE" dirty="0"/>
              <a:t>Dolor sit amet, consec-tetuer adipiscing elit.</a:t>
            </a:r>
          </a:p>
        </p:txBody>
      </p:sp>
      <p:sp>
        <p:nvSpPr>
          <p:cNvPr id="28" name="Content Placeholder 10">
            <a:extLst>
              <a:ext uri="{FF2B5EF4-FFF2-40B4-BE49-F238E27FC236}">
                <a16:creationId xmlns:a16="http://schemas.microsoft.com/office/drawing/2014/main" id="{AE82E7F8-675D-474D-A618-1D0C47403A77}"/>
              </a:ext>
            </a:extLst>
          </p:cNvPr>
          <p:cNvSpPr txBox="1">
            <a:spLocks/>
          </p:cNvSpPr>
          <p:nvPr/>
        </p:nvSpPr>
        <p:spPr bwMode="gray">
          <a:xfrm>
            <a:off x="3216000" y="1989075"/>
            <a:ext cx="2591350"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a:p>
            <a:pPr lvl="1"/>
            <a:r>
              <a:rPr lang="de-DE" dirty="0"/>
              <a:t>Dolor sit amet, consec-tetuer adipiscing elit.</a:t>
            </a:r>
          </a:p>
        </p:txBody>
      </p:sp>
      <p:sp>
        <p:nvSpPr>
          <p:cNvPr id="29" name="Content Placeholder 10">
            <a:extLst>
              <a:ext uri="{FF2B5EF4-FFF2-40B4-BE49-F238E27FC236}">
                <a16:creationId xmlns:a16="http://schemas.microsoft.com/office/drawing/2014/main" id="{2F4893D9-C89F-4FA8-B343-00DDC6A27C90}"/>
              </a:ext>
            </a:extLst>
          </p:cNvPr>
          <p:cNvSpPr txBox="1">
            <a:spLocks/>
          </p:cNvSpPr>
          <p:nvPr/>
        </p:nvSpPr>
        <p:spPr bwMode="gray">
          <a:xfrm>
            <a:off x="6096000" y="1989075"/>
            <a:ext cx="2591350"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a:p>
            <a:pPr lvl="1"/>
            <a:r>
              <a:rPr lang="de-DE" dirty="0"/>
              <a:t>Dolor sit amet, consec-tetuer adipiscing elit.</a:t>
            </a:r>
          </a:p>
        </p:txBody>
      </p:sp>
      <p:sp>
        <p:nvSpPr>
          <p:cNvPr id="30" name="Content Placeholder 10">
            <a:extLst>
              <a:ext uri="{FF2B5EF4-FFF2-40B4-BE49-F238E27FC236}">
                <a16:creationId xmlns:a16="http://schemas.microsoft.com/office/drawing/2014/main" id="{AD509E6B-E4F0-4FA0-A426-149EB45FEE36}"/>
              </a:ext>
            </a:extLst>
          </p:cNvPr>
          <p:cNvSpPr txBox="1">
            <a:spLocks/>
          </p:cNvSpPr>
          <p:nvPr/>
        </p:nvSpPr>
        <p:spPr bwMode="gray">
          <a:xfrm>
            <a:off x="8976000" y="1989075"/>
            <a:ext cx="2591350"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t>Lorem ipsum</a:t>
            </a:r>
          </a:p>
          <a:p>
            <a:pPr lvl="1"/>
            <a:r>
              <a:rPr lang="de-DE" dirty="0"/>
              <a:t>Dolor sit amet, consec-tetuer adipiscing elit.</a:t>
            </a:r>
          </a:p>
        </p:txBody>
      </p:sp>
      <p:sp>
        <p:nvSpPr>
          <p:cNvPr id="31" name="Content Placeholder 10">
            <a:extLst>
              <a:ext uri="{FF2B5EF4-FFF2-40B4-BE49-F238E27FC236}">
                <a16:creationId xmlns:a16="http://schemas.microsoft.com/office/drawing/2014/main" id="{5673B926-BDE1-4616-945A-848E9D158A3D}"/>
              </a:ext>
            </a:extLst>
          </p:cNvPr>
          <p:cNvSpPr txBox="1">
            <a:spLocks/>
          </p:cNvSpPr>
          <p:nvPr/>
        </p:nvSpPr>
        <p:spPr bwMode="gray">
          <a:xfrm>
            <a:off x="336001" y="5228999"/>
            <a:ext cx="2591350" cy="503999"/>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t>Lorem ipsum</a:t>
            </a:r>
          </a:p>
        </p:txBody>
      </p:sp>
      <p:sp>
        <p:nvSpPr>
          <p:cNvPr id="32" name="Content Placeholder 10">
            <a:extLst>
              <a:ext uri="{FF2B5EF4-FFF2-40B4-BE49-F238E27FC236}">
                <a16:creationId xmlns:a16="http://schemas.microsoft.com/office/drawing/2014/main" id="{8176AB32-984F-450C-8469-0A3BDD39DBB8}"/>
              </a:ext>
            </a:extLst>
          </p:cNvPr>
          <p:cNvSpPr txBox="1">
            <a:spLocks/>
          </p:cNvSpPr>
          <p:nvPr/>
        </p:nvSpPr>
        <p:spPr bwMode="gray">
          <a:xfrm>
            <a:off x="3216000" y="5228999"/>
            <a:ext cx="2591350" cy="503999"/>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t>Lorem ipsum</a:t>
            </a:r>
          </a:p>
        </p:txBody>
      </p:sp>
      <p:sp>
        <p:nvSpPr>
          <p:cNvPr id="33" name="Content Placeholder 10">
            <a:extLst>
              <a:ext uri="{FF2B5EF4-FFF2-40B4-BE49-F238E27FC236}">
                <a16:creationId xmlns:a16="http://schemas.microsoft.com/office/drawing/2014/main" id="{909DFA30-8843-4A66-A645-29BEDC8B8B5F}"/>
              </a:ext>
            </a:extLst>
          </p:cNvPr>
          <p:cNvSpPr txBox="1">
            <a:spLocks/>
          </p:cNvSpPr>
          <p:nvPr/>
        </p:nvSpPr>
        <p:spPr bwMode="gray">
          <a:xfrm>
            <a:off x="6096000" y="5228999"/>
            <a:ext cx="2591350" cy="503999"/>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t>Lorem ipsum</a:t>
            </a:r>
          </a:p>
        </p:txBody>
      </p:sp>
      <p:sp>
        <p:nvSpPr>
          <p:cNvPr id="34" name="Content Placeholder 10">
            <a:extLst>
              <a:ext uri="{FF2B5EF4-FFF2-40B4-BE49-F238E27FC236}">
                <a16:creationId xmlns:a16="http://schemas.microsoft.com/office/drawing/2014/main" id="{9312EDDE-65E4-4436-9B58-A7A6491683F9}"/>
              </a:ext>
            </a:extLst>
          </p:cNvPr>
          <p:cNvSpPr txBox="1">
            <a:spLocks/>
          </p:cNvSpPr>
          <p:nvPr/>
        </p:nvSpPr>
        <p:spPr bwMode="gray">
          <a:xfrm>
            <a:off x="8976000" y="5228999"/>
            <a:ext cx="2591350" cy="503999"/>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t>Lorem ipsum</a:t>
            </a:r>
          </a:p>
        </p:txBody>
      </p:sp>
      <p:graphicFrame>
        <p:nvGraphicFramePr>
          <p:cNvPr id="35" name="Dia Asia">
            <a:extLst>
              <a:ext uri="{FF2B5EF4-FFF2-40B4-BE49-F238E27FC236}">
                <a16:creationId xmlns:a16="http://schemas.microsoft.com/office/drawing/2014/main" id="{64D9D3A9-1F12-4629-8E78-121395EE3623}"/>
              </a:ext>
            </a:extLst>
          </p:cNvPr>
          <p:cNvGraphicFramePr/>
          <p:nvPr>
            <p:custDataLst>
              <p:tags r:id="rId3"/>
            </p:custDataLst>
            <p:extLst>
              <p:ext uri="{D42A27DB-BD31-4B8C-83A1-F6EECF244321}">
                <p14:modId xmlns:p14="http://schemas.microsoft.com/office/powerpoint/2010/main" val="3759827198"/>
              </p:ext>
            </p:extLst>
          </p:nvPr>
        </p:nvGraphicFramePr>
        <p:xfrm>
          <a:off x="336000" y="3213000"/>
          <a:ext cx="2591350" cy="18720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41" name="Dia Asia">
            <a:extLst>
              <a:ext uri="{FF2B5EF4-FFF2-40B4-BE49-F238E27FC236}">
                <a16:creationId xmlns:a16="http://schemas.microsoft.com/office/drawing/2014/main" id="{D6CBC0A9-104B-4748-9A22-E6BAAB23A52F}"/>
              </a:ext>
            </a:extLst>
          </p:cNvPr>
          <p:cNvGraphicFramePr/>
          <p:nvPr>
            <p:custDataLst>
              <p:tags r:id="rId4"/>
            </p:custDataLst>
            <p:extLst>
              <p:ext uri="{D42A27DB-BD31-4B8C-83A1-F6EECF244321}">
                <p14:modId xmlns:p14="http://schemas.microsoft.com/office/powerpoint/2010/main" val="2280935973"/>
              </p:ext>
            </p:extLst>
          </p:nvPr>
        </p:nvGraphicFramePr>
        <p:xfrm>
          <a:off x="3216276" y="3213000"/>
          <a:ext cx="2592388" cy="18720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43" name="Dia Asia">
            <a:extLst>
              <a:ext uri="{FF2B5EF4-FFF2-40B4-BE49-F238E27FC236}">
                <a16:creationId xmlns:a16="http://schemas.microsoft.com/office/drawing/2014/main" id="{0F82640F-C2A1-4282-AE3E-A705AD02B06C}"/>
              </a:ext>
            </a:extLst>
          </p:cNvPr>
          <p:cNvGraphicFramePr/>
          <p:nvPr>
            <p:custDataLst>
              <p:tags r:id="rId5"/>
            </p:custDataLst>
            <p:extLst>
              <p:ext uri="{D42A27DB-BD31-4B8C-83A1-F6EECF244321}">
                <p14:modId xmlns:p14="http://schemas.microsoft.com/office/powerpoint/2010/main" val="3152369808"/>
              </p:ext>
            </p:extLst>
          </p:nvPr>
        </p:nvGraphicFramePr>
        <p:xfrm>
          <a:off x="6096000" y="3213000"/>
          <a:ext cx="2592388" cy="18720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5" name="Dia Asia">
            <a:extLst>
              <a:ext uri="{FF2B5EF4-FFF2-40B4-BE49-F238E27FC236}">
                <a16:creationId xmlns:a16="http://schemas.microsoft.com/office/drawing/2014/main" id="{616E04BB-8984-4F10-B548-111471DC27A3}"/>
              </a:ext>
            </a:extLst>
          </p:cNvPr>
          <p:cNvGraphicFramePr/>
          <p:nvPr>
            <p:custDataLst>
              <p:tags r:id="rId6"/>
            </p:custDataLst>
            <p:extLst>
              <p:ext uri="{D42A27DB-BD31-4B8C-83A1-F6EECF244321}">
                <p14:modId xmlns:p14="http://schemas.microsoft.com/office/powerpoint/2010/main" val="3390103245"/>
              </p:ext>
            </p:extLst>
          </p:nvPr>
        </p:nvGraphicFramePr>
        <p:xfrm>
          <a:off x="8975725" y="3213000"/>
          <a:ext cx="2592388" cy="1872000"/>
        </p:xfrm>
        <a:graphic>
          <a:graphicData uri="http://schemas.openxmlformats.org/drawingml/2006/chart">
            <c:chart xmlns:c="http://schemas.openxmlformats.org/drawingml/2006/chart" xmlns:r="http://schemas.openxmlformats.org/officeDocument/2006/relationships" r:id="rId14"/>
          </a:graphicData>
        </a:graphic>
      </p:graphicFrame>
      <p:sp>
        <p:nvSpPr>
          <p:cNvPr id="46" name="Content Placeholder 10">
            <a:extLst>
              <a:ext uri="{FF2B5EF4-FFF2-40B4-BE49-F238E27FC236}">
                <a16:creationId xmlns:a16="http://schemas.microsoft.com/office/drawing/2014/main" id="{6CA7686B-BABC-4A88-8421-274A59E7990A}"/>
              </a:ext>
            </a:extLst>
          </p:cNvPr>
          <p:cNvSpPr txBox="1">
            <a:spLocks/>
          </p:cNvSpPr>
          <p:nvPr/>
        </p:nvSpPr>
        <p:spPr bwMode="gray">
          <a:xfrm>
            <a:off x="1056001" y="3576891"/>
            <a:ext cx="1152000" cy="114811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sz="2000" b="1" dirty="0"/>
              <a:t>87</a:t>
            </a:r>
            <a:r>
              <a:rPr lang="de-DE" b="1" dirty="0"/>
              <a:t>%</a:t>
            </a:r>
          </a:p>
        </p:txBody>
      </p:sp>
      <p:sp>
        <p:nvSpPr>
          <p:cNvPr id="47" name="Content Placeholder 10">
            <a:extLst>
              <a:ext uri="{FF2B5EF4-FFF2-40B4-BE49-F238E27FC236}">
                <a16:creationId xmlns:a16="http://schemas.microsoft.com/office/drawing/2014/main" id="{C1AC77CB-8C4B-4B06-AF26-678283F036AF}"/>
              </a:ext>
            </a:extLst>
          </p:cNvPr>
          <p:cNvSpPr txBox="1">
            <a:spLocks/>
          </p:cNvSpPr>
          <p:nvPr/>
        </p:nvSpPr>
        <p:spPr bwMode="gray">
          <a:xfrm>
            <a:off x="3936000" y="3576891"/>
            <a:ext cx="1152000" cy="114811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sz="2000" b="1" dirty="0"/>
              <a:t>33</a:t>
            </a:r>
            <a:r>
              <a:rPr lang="de-DE" b="1" dirty="0"/>
              <a:t>%</a:t>
            </a:r>
          </a:p>
        </p:txBody>
      </p:sp>
      <p:sp>
        <p:nvSpPr>
          <p:cNvPr id="48" name="Content Placeholder 10">
            <a:extLst>
              <a:ext uri="{FF2B5EF4-FFF2-40B4-BE49-F238E27FC236}">
                <a16:creationId xmlns:a16="http://schemas.microsoft.com/office/drawing/2014/main" id="{6271A075-4F83-482D-B2A1-EDFBD304C466}"/>
              </a:ext>
            </a:extLst>
          </p:cNvPr>
          <p:cNvSpPr txBox="1">
            <a:spLocks/>
          </p:cNvSpPr>
          <p:nvPr/>
        </p:nvSpPr>
        <p:spPr bwMode="gray">
          <a:xfrm>
            <a:off x="6816000" y="3576891"/>
            <a:ext cx="1152000" cy="114811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sz="2000" b="1" dirty="0"/>
              <a:t>15</a:t>
            </a:r>
            <a:r>
              <a:rPr lang="de-DE" b="1" dirty="0"/>
              <a:t>%</a:t>
            </a:r>
          </a:p>
        </p:txBody>
      </p:sp>
      <p:sp>
        <p:nvSpPr>
          <p:cNvPr id="49" name="Content Placeholder 10">
            <a:extLst>
              <a:ext uri="{FF2B5EF4-FFF2-40B4-BE49-F238E27FC236}">
                <a16:creationId xmlns:a16="http://schemas.microsoft.com/office/drawing/2014/main" id="{63A53B5C-BF76-4597-AE5B-C7706CAE306C}"/>
              </a:ext>
            </a:extLst>
          </p:cNvPr>
          <p:cNvSpPr txBox="1">
            <a:spLocks/>
          </p:cNvSpPr>
          <p:nvPr/>
        </p:nvSpPr>
        <p:spPr bwMode="gray">
          <a:xfrm>
            <a:off x="9696000" y="3576891"/>
            <a:ext cx="1152000" cy="114811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sz="2000" b="1" dirty="0"/>
              <a:t>56</a:t>
            </a:r>
            <a:r>
              <a:rPr lang="de-DE" b="1" dirty="0"/>
              <a:t>%</a:t>
            </a:r>
          </a:p>
        </p:txBody>
      </p:sp>
      <p:sp>
        <p:nvSpPr>
          <p:cNvPr id="50" name="Rechteck 49">
            <a:extLst>
              <a:ext uri="{FF2B5EF4-FFF2-40B4-BE49-F238E27FC236}">
                <a16:creationId xmlns:a16="http://schemas.microsoft.com/office/drawing/2014/main" id="{300F8383-7BBA-45C9-BC62-831930D5761F}"/>
              </a:ext>
            </a:extLst>
          </p:cNvPr>
          <p:cNvSpPr/>
          <p:nvPr/>
        </p:nvSpPr>
        <p:spPr bwMode="gray">
          <a:xfrm>
            <a:off x="0" y="0"/>
            <a:ext cx="2352000" cy="29287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0" tIns="61200" rIns="72000" bIns="61200" rtlCol="0" anchor="ctr">
            <a:spAutoFit/>
          </a:bodyPr>
          <a:lstStyle/>
          <a:p>
            <a:r>
              <a:rPr lang="de-DE" sz="1100" dirty="0">
                <a:solidFill>
                  <a:schemeClr val="bg1"/>
                </a:solidFill>
              </a:rPr>
              <a:t>Excel-basiertes Diagramm</a:t>
            </a:r>
          </a:p>
        </p:txBody>
      </p:sp>
    </p:spTree>
    <p:extLst>
      <p:ext uri="{BB962C8B-B14F-4D97-AF65-F5344CB8AC3E}">
        <p14:creationId xmlns:p14="http://schemas.microsoft.com/office/powerpoint/2010/main" val="2011187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FE18CDC6-ECB3-4E0F-B20E-39F8BFBB7CAF}"/>
              </a:ext>
            </a:extLst>
          </p:cNvPr>
          <p:cNvGraphicFramePr>
            <a:graphicFrameLocks noChangeAspect="1"/>
          </p:cNvGraphicFramePr>
          <p:nvPr>
            <p:custDataLst>
              <p:tags r:id="rId1"/>
            </p:custDataLst>
            <p:extLst>
              <p:ext uri="{D42A27DB-BD31-4B8C-83A1-F6EECF244321}">
                <p14:modId xmlns:p14="http://schemas.microsoft.com/office/powerpoint/2010/main" val="1121884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59" imgH="358" progId="TCLayout.ActiveDocument.1">
                  <p:embed/>
                </p:oleObj>
              </mc:Choice>
              <mc:Fallback>
                <p:oleObj name="think-cell Folie" r:id="rId9" imgW="359" imgH="358" progId="TCLayout.ActiveDocument.1">
                  <p:embed/>
                  <p:pic>
                    <p:nvPicPr>
                      <p:cNvPr id="9" name="Objekt 8" hidden="1">
                        <a:extLst>
                          <a:ext uri="{FF2B5EF4-FFF2-40B4-BE49-F238E27FC236}">
                            <a16:creationId xmlns:a16="http://schemas.microsoft.com/office/drawing/2014/main" id="{FE18CDC6-ECB3-4E0F-B20E-39F8BFBB7CA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2"/>
            </p:custDataLst>
          </p:nvPr>
        </p:nvSpPr>
        <p:spPr bwMode="gray"/>
        <p:txBody>
          <a:bodyPr vert="horz"/>
          <a:lstStyle/>
          <a:p>
            <a:r>
              <a:rPr lang="de-DE" dirty="0">
                <a:solidFill>
                  <a:schemeClr val="bg1"/>
                </a:solidFill>
              </a:rPr>
              <a:t>Ring-Diagramme</a:t>
            </a:r>
          </a:p>
        </p:txBody>
      </p:sp>
      <p:sp>
        <p:nvSpPr>
          <p:cNvPr id="3" name="Datumsplatzhalter 2">
            <a:extLst>
              <a:ext uri="{FF2B5EF4-FFF2-40B4-BE49-F238E27FC236}">
                <a16:creationId xmlns:a16="http://schemas.microsoft.com/office/drawing/2014/main" id="{61939EBA-6573-4072-A0B0-2C2F6FB8A279}"/>
              </a:ext>
            </a:extLst>
          </p:cNvPr>
          <p:cNvSpPr>
            <a:spLocks noGrp="1"/>
          </p:cNvSpPr>
          <p:nvPr>
            <p:ph type="dt" sz="half" idx="10"/>
          </p:nvPr>
        </p:nvSpPr>
        <p:spPr bwMode="gray"/>
        <p:txBody>
          <a:bodyPr/>
          <a:lstStyle/>
          <a:p>
            <a:fld id="{58F8F642-56B7-426A-A03D-177D5A2EBC21}" type="datetime1">
              <a:rPr lang="de-DE" smtClean="0">
                <a:solidFill>
                  <a:schemeClr val="bg1"/>
                </a:solidFill>
              </a:rPr>
              <a:t>29.09.25</a:t>
            </a:fld>
            <a:endParaRPr lang="de-DE" dirty="0">
              <a:solidFill>
                <a:schemeClr val="bg1"/>
              </a:solidFill>
            </a:endParaRPr>
          </a:p>
        </p:txBody>
      </p:sp>
      <p:sp>
        <p:nvSpPr>
          <p:cNvPr id="4" name="Fußzeilenplatzhalter 3">
            <a:extLst>
              <a:ext uri="{FF2B5EF4-FFF2-40B4-BE49-F238E27FC236}">
                <a16:creationId xmlns:a16="http://schemas.microsoft.com/office/drawing/2014/main" id="{61F96C1C-0EA8-4B25-B3E1-02E2DFB88641}"/>
              </a:ext>
            </a:extLst>
          </p:cNvPr>
          <p:cNvSpPr>
            <a:spLocks noGrp="1"/>
          </p:cNvSpPr>
          <p:nvPr>
            <p:ph type="ftr" sz="quarter" idx="11"/>
          </p:nvPr>
        </p:nvSpPr>
        <p:spPr bwMode="gray"/>
        <p:txBody>
          <a:bodyPr/>
          <a:lstStyle/>
          <a:p>
            <a:r>
              <a:rPr lang="de-DE" dirty="0">
                <a:solidFill>
                  <a:schemeClr val="bg1"/>
                </a:solidFill>
              </a:rPr>
              <a:t>TITEL DER PRÄSENTATION | TITEL VORNAME NAME</a:t>
            </a:r>
          </a:p>
        </p:txBody>
      </p:sp>
      <p:sp>
        <p:nvSpPr>
          <p:cNvPr id="5" name="Foliennummernplatzhalter 4">
            <a:extLst>
              <a:ext uri="{FF2B5EF4-FFF2-40B4-BE49-F238E27FC236}">
                <a16:creationId xmlns:a16="http://schemas.microsoft.com/office/drawing/2014/main" id="{6175B0C5-56A5-42A8-B7C9-95C75D638C97}"/>
              </a:ext>
            </a:extLst>
          </p:cNvPr>
          <p:cNvSpPr>
            <a:spLocks noGrp="1"/>
          </p:cNvSpPr>
          <p:nvPr>
            <p:ph type="sldNum" sz="quarter" idx="12"/>
          </p:nvPr>
        </p:nvSpPr>
        <p:spPr bwMode="gray"/>
        <p:txBody>
          <a:bodyPr/>
          <a:lstStyle/>
          <a:p>
            <a:fld id="{09E9C37E-8A19-4E30-BE2B-5A966AD23C7A}" type="slidenum">
              <a:rPr lang="de-DE" smtClean="0">
                <a:solidFill>
                  <a:schemeClr val="bg1"/>
                </a:solidFill>
              </a:rPr>
              <a:pPr/>
              <a:t>81</a:t>
            </a:fld>
            <a:endParaRPr lang="de-DE" dirty="0">
              <a:solidFill>
                <a:schemeClr val="bg1"/>
              </a:solidFill>
            </a:endParaRPr>
          </a:p>
        </p:txBody>
      </p:sp>
      <p:sp>
        <p:nvSpPr>
          <p:cNvPr id="27" name="Content Placeholder 10">
            <a:extLst>
              <a:ext uri="{FF2B5EF4-FFF2-40B4-BE49-F238E27FC236}">
                <a16:creationId xmlns:a16="http://schemas.microsoft.com/office/drawing/2014/main" id="{FF0424E6-691F-41E0-A351-15DE435590BE}"/>
              </a:ext>
            </a:extLst>
          </p:cNvPr>
          <p:cNvSpPr txBox="1">
            <a:spLocks/>
          </p:cNvSpPr>
          <p:nvPr/>
        </p:nvSpPr>
        <p:spPr bwMode="gray">
          <a:xfrm>
            <a:off x="336001" y="1989075"/>
            <a:ext cx="2591350"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p>
          <a:p>
            <a:pPr lvl="1"/>
            <a:r>
              <a:rPr lang="de-DE" dirty="0">
                <a:solidFill>
                  <a:schemeClr val="bg1"/>
                </a:solidFill>
              </a:rPr>
              <a:t>Dolor sit amet, consec-tetuer adipiscing elit.</a:t>
            </a:r>
          </a:p>
        </p:txBody>
      </p:sp>
      <p:sp>
        <p:nvSpPr>
          <p:cNvPr id="28" name="Content Placeholder 10">
            <a:extLst>
              <a:ext uri="{FF2B5EF4-FFF2-40B4-BE49-F238E27FC236}">
                <a16:creationId xmlns:a16="http://schemas.microsoft.com/office/drawing/2014/main" id="{AE82E7F8-675D-474D-A618-1D0C47403A77}"/>
              </a:ext>
            </a:extLst>
          </p:cNvPr>
          <p:cNvSpPr txBox="1">
            <a:spLocks/>
          </p:cNvSpPr>
          <p:nvPr/>
        </p:nvSpPr>
        <p:spPr bwMode="gray">
          <a:xfrm>
            <a:off x="3216000" y="1989075"/>
            <a:ext cx="2591350"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p>
          <a:p>
            <a:pPr lvl="1"/>
            <a:r>
              <a:rPr lang="de-DE" dirty="0">
                <a:solidFill>
                  <a:schemeClr val="bg1"/>
                </a:solidFill>
              </a:rPr>
              <a:t>Dolor sit amet, consec-tetuer adipiscing elit.</a:t>
            </a:r>
          </a:p>
        </p:txBody>
      </p:sp>
      <p:sp>
        <p:nvSpPr>
          <p:cNvPr id="29" name="Content Placeholder 10">
            <a:extLst>
              <a:ext uri="{FF2B5EF4-FFF2-40B4-BE49-F238E27FC236}">
                <a16:creationId xmlns:a16="http://schemas.microsoft.com/office/drawing/2014/main" id="{2F4893D9-C89F-4FA8-B343-00DDC6A27C90}"/>
              </a:ext>
            </a:extLst>
          </p:cNvPr>
          <p:cNvSpPr txBox="1">
            <a:spLocks/>
          </p:cNvSpPr>
          <p:nvPr/>
        </p:nvSpPr>
        <p:spPr bwMode="gray">
          <a:xfrm>
            <a:off x="6096000" y="1989075"/>
            <a:ext cx="2591350"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p>
          <a:p>
            <a:pPr lvl="1"/>
            <a:r>
              <a:rPr lang="de-DE" dirty="0">
                <a:solidFill>
                  <a:schemeClr val="bg1"/>
                </a:solidFill>
              </a:rPr>
              <a:t>Dolor sit amet, consec-tetuer adipiscing elit.</a:t>
            </a:r>
          </a:p>
        </p:txBody>
      </p:sp>
      <p:sp>
        <p:nvSpPr>
          <p:cNvPr id="30" name="Content Placeholder 10">
            <a:extLst>
              <a:ext uri="{FF2B5EF4-FFF2-40B4-BE49-F238E27FC236}">
                <a16:creationId xmlns:a16="http://schemas.microsoft.com/office/drawing/2014/main" id="{AD509E6B-E4F0-4FA0-A426-149EB45FEE36}"/>
              </a:ext>
            </a:extLst>
          </p:cNvPr>
          <p:cNvSpPr txBox="1">
            <a:spLocks/>
          </p:cNvSpPr>
          <p:nvPr/>
        </p:nvSpPr>
        <p:spPr bwMode="gray">
          <a:xfrm>
            <a:off x="8976000" y="1989075"/>
            <a:ext cx="2591350"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p>
          <a:p>
            <a:pPr lvl="1"/>
            <a:r>
              <a:rPr lang="de-DE" dirty="0">
                <a:solidFill>
                  <a:schemeClr val="bg1"/>
                </a:solidFill>
              </a:rPr>
              <a:t>Dolor sit amet, consec-tetuer adipiscing elit.</a:t>
            </a:r>
          </a:p>
        </p:txBody>
      </p:sp>
      <p:sp>
        <p:nvSpPr>
          <p:cNvPr id="31" name="Content Placeholder 10">
            <a:extLst>
              <a:ext uri="{FF2B5EF4-FFF2-40B4-BE49-F238E27FC236}">
                <a16:creationId xmlns:a16="http://schemas.microsoft.com/office/drawing/2014/main" id="{5673B926-BDE1-4616-945A-848E9D158A3D}"/>
              </a:ext>
            </a:extLst>
          </p:cNvPr>
          <p:cNvSpPr txBox="1">
            <a:spLocks/>
          </p:cNvSpPr>
          <p:nvPr/>
        </p:nvSpPr>
        <p:spPr bwMode="gray">
          <a:xfrm>
            <a:off x="336001" y="5228999"/>
            <a:ext cx="2591350" cy="503999"/>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solidFill>
                  <a:schemeClr val="bg1"/>
                </a:solidFill>
              </a:rPr>
              <a:t>Lorem ipsum</a:t>
            </a:r>
          </a:p>
        </p:txBody>
      </p:sp>
      <p:sp>
        <p:nvSpPr>
          <p:cNvPr id="32" name="Content Placeholder 10">
            <a:extLst>
              <a:ext uri="{FF2B5EF4-FFF2-40B4-BE49-F238E27FC236}">
                <a16:creationId xmlns:a16="http://schemas.microsoft.com/office/drawing/2014/main" id="{8176AB32-984F-450C-8469-0A3BDD39DBB8}"/>
              </a:ext>
            </a:extLst>
          </p:cNvPr>
          <p:cNvSpPr txBox="1">
            <a:spLocks/>
          </p:cNvSpPr>
          <p:nvPr/>
        </p:nvSpPr>
        <p:spPr bwMode="gray">
          <a:xfrm>
            <a:off x="3216000" y="5228999"/>
            <a:ext cx="2591350" cy="503999"/>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solidFill>
                  <a:schemeClr val="bg1"/>
                </a:solidFill>
              </a:rPr>
              <a:t>Lorem ipsum</a:t>
            </a:r>
          </a:p>
        </p:txBody>
      </p:sp>
      <p:sp>
        <p:nvSpPr>
          <p:cNvPr id="33" name="Content Placeholder 10">
            <a:extLst>
              <a:ext uri="{FF2B5EF4-FFF2-40B4-BE49-F238E27FC236}">
                <a16:creationId xmlns:a16="http://schemas.microsoft.com/office/drawing/2014/main" id="{909DFA30-8843-4A66-A645-29BEDC8B8B5F}"/>
              </a:ext>
            </a:extLst>
          </p:cNvPr>
          <p:cNvSpPr txBox="1">
            <a:spLocks/>
          </p:cNvSpPr>
          <p:nvPr/>
        </p:nvSpPr>
        <p:spPr bwMode="gray">
          <a:xfrm>
            <a:off x="6096000" y="5228999"/>
            <a:ext cx="2591350" cy="503999"/>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solidFill>
                  <a:schemeClr val="bg1"/>
                </a:solidFill>
              </a:rPr>
              <a:t>Lorem ipsum</a:t>
            </a:r>
          </a:p>
        </p:txBody>
      </p:sp>
      <p:sp>
        <p:nvSpPr>
          <p:cNvPr id="34" name="Content Placeholder 10">
            <a:extLst>
              <a:ext uri="{FF2B5EF4-FFF2-40B4-BE49-F238E27FC236}">
                <a16:creationId xmlns:a16="http://schemas.microsoft.com/office/drawing/2014/main" id="{9312EDDE-65E4-4436-9B58-A7A6491683F9}"/>
              </a:ext>
            </a:extLst>
          </p:cNvPr>
          <p:cNvSpPr txBox="1">
            <a:spLocks/>
          </p:cNvSpPr>
          <p:nvPr/>
        </p:nvSpPr>
        <p:spPr bwMode="gray">
          <a:xfrm>
            <a:off x="8976000" y="5228999"/>
            <a:ext cx="2591350" cy="503999"/>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solidFill>
                  <a:schemeClr val="bg1"/>
                </a:solidFill>
              </a:rPr>
              <a:t>Lorem ipsum</a:t>
            </a:r>
          </a:p>
        </p:txBody>
      </p:sp>
      <p:graphicFrame>
        <p:nvGraphicFramePr>
          <p:cNvPr id="35" name="Dia Asia">
            <a:extLst>
              <a:ext uri="{FF2B5EF4-FFF2-40B4-BE49-F238E27FC236}">
                <a16:creationId xmlns:a16="http://schemas.microsoft.com/office/drawing/2014/main" id="{64D9D3A9-1F12-4629-8E78-121395EE3623}"/>
              </a:ext>
            </a:extLst>
          </p:cNvPr>
          <p:cNvGraphicFramePr/>
          <p:nvPr>
            <p:custDataLst>
              <p:tags r:id="rId3"/>
            </p:custDataLst>
            <p:extLst>
              <p:ext uri="{D42A27DB-BD31-4B8C-83A1-F6EECF244321}">
                <p14:modId xmlns:p14="http://schemas.microsoft.com/office/powerpoint/2010/main" val="1292995615"/>
              </p:ext>
            </p:extLst>
          </p:nvPr>
        </p:nvGraphicFramePr>
        <p:xfrm>
          <a:off x="336000" y="3213000"/>
          <a:ext cx="2591350" cy="18720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41" name="Dia Asia">
            <a:extLst>
              <a:ext uri="{FF2B5EF4-FFF2-40B4-BE49-F238E27FC236}">
                <a16:creationId xmlns:a16="http://schemas.microsoft.com/office/drawing/2014/main" id="{D6CBC0A9-104B-4748-9A22-E6BAAB23A52F}"/>
              </a:ext>
            </a:extLst>
          </p:cNvPr>
          <p:cNvGraphicFramePr/>
          <p:nvPr>
            <p:custDataLst>
              <p:tags r:id="rId4"/>
            </p:custDataLst>
            <p:extLst>
              <p:ext uri="{D42A27DB-BD31-4B8C-83A1-F6EECF244321}">
                <p14:modId xmlns:p14="http://schemas.microsoft.com/office/powerpoint/2010/main" val="2551787133"/>
              </p:ext>
            </p:extLst>
          </p:nvPr>
        </p:nvGraphicFramePr>
        <p:xfrm>
          <a:off x="3216276" y="3213000"/>
          <a:ext cx="2592388" cy="18720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43" name="Dia Asia">
            <a:extLst>
              <a:ext uri="{FF2B5EF4-FFF2-40B4-BE49-F238E27FC236}">
                <a16:creationId xmlns:a16="http://schemas.microsoft.com/office/drawing/2014/main" id="{0F82640F-C2A1-4282-AE3E-A705AD02B06C}"/>
              </a:ext>
            </a:extLst>
          </p:cNvPr>
          <p:cNvGraphicFramePr/>
          <p:nvPr>
            <p:custDataLst>
              <p:tags r:id="rId5"/>
            </p:custDataLst>
            <p:extLst>
              <p:ext uri="{D42A27DB-BD31-4B8C-83A1-F6EECF244321}">
                <p14:modId xmlns:p14="http://schemas.microsoft.com/office/powerpoint/2010/main" val="2819171681"/>
              </p:ext>
            </p:extLst>
          </p:nvPr>
        </p:nvGraphicFramePr>
        <p:xfrm>
          <a:off x="6096000" y="3213000"/>
          <a:ext cx="2592388" cy="18720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5" name="Dia Asia">
            <a:extLst>
              <a:ext uri="{FF2B5EF4-FFF2-40B4-BE49-F238E27FC236}">
                <a16:creationId xmlns:a16="http://schemas.microsoft.com/office/drawing/2014/main" id="{616E04BB-8984-4F10-B548-111471DC27A3}"/>
              </a:ext>
            </a:extLst>
          </p:cNvPr>
          <p:cNvGraphicFramePr/>
          <p:nvPr>
            <p:custDataLst>
              <p:tags r:id="rId6"/>
            </p:custDataLst>
            <p:extLst>
              <p:ext uri="{D42A27DB-BD31-4B8C-83A1-F6EECF244321}">
                <p14:modId xmlns:p14="http://schemas.microsoft.com/office/powerpoint/2010/main" val="3899001601"/>
              </p:ext>
            </p:extLst>
          </p:nvPr>
        </p:nvGraphicFramePr>
        <p:xfrm>
          <a:off x="8975725" y="3213000"/>
          <a:ext cx="2592388" cy="1872000"/>
        </p:xfrm>
        <a:graphic>
          <a:graphicData uri="http://schemas.openxmlformats.org/drawingml/2006/chart">
            <c:chart xmlns:c="http://schemas.openxmlformats.org/drawingml/2006/chart" xmlns:r="http://schemas.openxmlformats.org/officeDocument/2006/relationships" r:id="rId14"/>
          </a:graphicData>
        </a:graphic>
      </p:graphicFrame>
      <p:sp>
        <p:nvSpPr>
          <p:cNvPr id="46" name="Content Placeholder 10">
            <a:extLst>
              <a:ext uri="{FF2B5EF4-FFF2-40B4-BE49-F238E27FC236}">
                <a16:creationId xmlns:a16="http://schemas.microsoft.com/office/drawing/2014/main" id="{6CA7686B-BABC-4A88-8421-274A59E7990A}"/>
              </a:ext>
            </a:extLst>
          </p:cNvPr>
          <p:cNvSpPr txBox="1">
            <a:spLocks/>
          </p:cNvSpPr>
          <p:nvPr/>
        </p:nvSpPr>
        <p:spPr bwMode="gray">
          <a:xfrm>
            <a:off x="1056001" y="3576891"/>
            <a:ext cx="1152000" cy="114811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sz="2000" b="1" dirty="0">
                <a:solidFill>
                  <a:schemeClr val="bg1"/>
                </a:solidFill>
              </a:rPr>
              <a:t>87</a:t>
            </a:r>
            <a:r>
              <a:rPr lang="de-DE" b="1" dirty="0">
                <a:solidFill>
                  <a:schemeClr val="bg1"/>
                </a:solidFill>
              </a:rPr>
              <a:t>%</a:t>
            </a:r>
          </a:p>
        </p:txBody>
      </p:sp>
      <p:sp>
        <p:nvSpPr>
          <p:cNvPr id="47" name="Content Placeholder 10">
            <a:extLst>
              <a:ext uri="{FF2B5EF4-FFF2-40B4-BE49-F238E27FC236}">
                <a16:creationId xmlns:a16="http://schemas.microsoft.com/office/drawing/2014/main" id="{C1AC77CB-8C4B-4B06-AF26-678283F036AF}"/>
              </a:ext>
            </a:extLst>
          </p:cNvPr>
          <p:cNvSpPr txBox="1">
            <a:spLocks/>
          </p:cNvSpPr>
          <p:nvPr/>
        </p:nvSpPr>
        <p:spPr bwMode="gray">
          <a:xfrm>
            <a:off x="3936000" y="3576891"/>
            <a:ext cx="1152000" cy="114811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sz="2000" b="1" dirty="0">
                <a:solidFill>
                  <a:schemeClr val="bg1"/>
                </a:solidFill>
              </a:rPr>
              <a:t>33</a:t>
            </a:r>
            <a:r>
              <a:rPr lang="de-DE" b="1" dirty="0">
                <a:solidFill>
                  <a:schemeClr val="bg1"/>
                </a:solidFill>
              </a:rPr>
              <a:t>%</a:t>
            </a:r>
          </a:p>
        </p:txBody>
      </p:sp>
      <p:sp>
        <p:nvSpPr>
          <p:cNvPr id="48" name="Content Placeholder 10">
            <a:extLst>
              <a:ext uri="{FF2B5EF4-FFF2-40B4-BE49-F238E27FC236}">
                <a16:creationId xmlns:a16="http://schemas.microsoft.com/office/drawing/2014/main" id="{6271A075-4F83-482D-B2A1-EDFBD304C466}"/>
              </a:ext>
            </a:extLst>
          </p:cNvPr>
          <p:cNvSpPr txBox="1">
            <a:spLocks/>
          </p:cNvSpPr>
          <p:nvPr/>
        </p:nvSpPr>
        <p:spPr bwMode="gray">
          <a:xfrm>
            <a:off x="6816000" y="3576891"/>
            <a:ext cx="1152000" cy="114811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sz="2000" b="1" dirty="0">
                <a:solidFill>
                  <a:schemeClr val="bg1"/>
                </a:solidFill>
              </a:rPr>
              <a:t>15</a:t>
            </a:r>
            <a:r>
              <a:rPr lang="de-DE" b="1" dirty="0">
                <a:solidFill>
                  <a:schemeClr val="bg1"/>
                </a:solidFill>
              </a:rPr>
              <a:t>%</a:t>
            </a:r>
          </a:p>
        </p:txBody>
      </p:sp>
      <p:sp>
        <p:nvSpPr>
          <p:cNvPr id="49" name="Content Placeholder 10">
            <a:extLst>
              <a:ext uri="{FF2B5EF4-FFF2-40B4-BE49-F238E27FC236}">
                <a16:creationId xmlns:a16="http://schemas.microsoft.com/office/drawing/2014/main" id="{63A53B5C-BF76-4597-AE5B-C7706CAE306C}"/>
              </a:ext>
            </a:extLst>
          </p:cNvPr>
          <p:cNvSpPr txBox="1">
            <a:spLocks/>
          </p:cNvSpPr>
          <p:nvPr/>
        </p:nvSpPr>
        <p:spPr bwMode="gray">
          <a:xfrm>
            <a:off x="9696000" y="3576891"/>
            <a:ext cx="1152000" cy="114811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sz="2000" b="1" dirty="0">
                <a:solidFill>
                  <a:schemeClr val="bg1"/>
                </a:solidFill>
              </a:rPr>
              <a:t>56</a:t>
            </a:r>
            <a:r>
              <a:rPr lang="de-DE" b="1" dirty="0">
                <a:solidFill>
                  <a:schemeClr val="bg1"/>
                </a:solidFill>
              </a:rPr>
              <a:t>%</a:t>
            </a:r>
          </a:p>
        </p:txBody>
      </p:sp>
      <p:sp>
        <p:nvSpPr>
          <p:cNvPr id="20" name="Rechteck 19">
            <a:extLst>
              <a:ext uri="{FF2B5EF4-FFF2-40B4-BE49-F238E27FC236}">
                <a16:creationId xmlns:a16="http://schemas.microsoft.com/office/drawing/2014/main" id="{F8D9F2D1-DC7C-4407-9D8E-23F63D3D2CBE}"/>
              </a:ext>
            </a:extLst>
          </p:cNvPr>
          <p:cNvSpPr/>
          <p:nvPr/>
        </p:nvSpPr>
        <p:spPr bwMode="gray">
          <a:xfrm>
            <a:off x="0" y="0"/>
            <a:ext cx="2352000" cy="29287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0" tIns="61200" rIns="72000" bIns="61200" rtlCol="0" anchor="ctr">
            <a:spAutoFit/>
          </a:bodyPr>
          <a:lstStyle/>
          <a:p>
            <a:r>
              <a:rPr lang="de-DE" sz="1100" dirty="0">
                <a:solidFill>
                  <a:schemeClr val="bg1"/>
                </a:solidFill>
              </a:rPr>
              <a:t>Excel-basiertes Diagramm</a:t>
            </a:r>
          </a:p>
        </p:txBody>
      </p:sp>
    </p:spTree>
    <p:extLst>
      <p:ext uri="{BB962C8B-B14F-4D97-AF65-F5344CB8AC3E}">
        <p14:creationId xmlns:p14="http://schemas.microsoft.com/office/powerpoint/2010/main" val="633984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bg>
      <p:bgPr>
        <a:solidFill>
          <a:schemeClr val="tx1">
            <a:lumMod val="60000"/>
            <a:lumOff val="40000"/>
          </a:schemeClr>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FE18CDC6-ECB3-4E0F-B20E-39F8BFBB7CAF}"/>
              </a:ext>
            </a:extLst>
          </p:cNvPr>
          <p:cNvGraphicFramePr>
            <a:graphicFrameLocks noChangeAspect="1"/>
          </p:cNvGraphicFramePr>
          <p:nvPr>
            <p:custDataLst>
              <p:tags r:id="rId1"/>
            </p:custDataLst>
            <p:extLst>
              <p:ext uri="{D42A27DB-BD31-4B8C-83A1-F6EECF244321}">
                <p14:modId xmlns:p14="http://schemas.microsoft.com/office/powerpoint/2010/main" val="3301891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59" imgH="358" progId="TCLayout.ActiveDocument.1">
                  <p:embed/>
                </p:oleObj>
              </mc:Choice>
              <mc:Fallback>
                <p:oleObj name="think-cell Folie" r:id="rId9" imgW="359" imgH="358" progId="TCLayout.ActiveDocument.1">
                  <p:embed/>
                  <p:pic>
                    <p:nvPicPr>
                      <p:cNvPr id="9" name="Objekt 8" hidden="1">
                        <a:extLst>
                          <a:ext uri="{FF2B5EF4-FFF2-40B4-BE49-F238E27FC236}">
                            <a16:creationId xmlns:a16="http://schemas.microsoft.com/office/drawing/2014/main" id="{FE18CDC6-ECB3-4E0F-B20E-39F8BFBB7CA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2"/>
            </p:custDataLst>
          </p:nvPr>
        </p:nvSpPr>
        <p:spPr bwMode="gray"/>
        <p:txBody>
          <a:bodyPr vert="horz"/>
          <a:lstStyle/>
          <a:p>
            <a:r>
              <a:rPr lang="de-DE" dirty="0"/>
              <a:t>Ring-Diagramme</a:t>
            </a:r>
          </a:p>
        </p:txBody>
      </p:sp>
      <p:sp>
        <p:nvSpPr>
          <p:cNvPr id="3" name="Datumsplatzhalter 2">
            <a:extLst>
              <a:ext uri="{FF2B5EF4-FFF2-40B4-BE49-F238E27FC236}">
                <a16:creationId xmlns:a16="http://schemas.microsoft.com/office/drawing/2014/main" id="{27B80B2D-3243-4F95-AA52-FF0223740546}"/>
              </a:ext>
            </a:extLst>
          </p:cNvPr>
          <p:cNvSpPr>
            <a:spLocks noGrp="1"/>
          </p:cNvSpPr>
          <p:nvPr>
            <p:ph type="dt" sz="half" idx="10"/>
          </p:nvPr>
        </p:nvSpPr>
        <p:spPr bwMode="gray"/>
        <p:txBody>
          <a:bodyPr/>
          <a:lstStyle/>
          <a:p>
            <a:fld id="{A84B303E-257C-4CEF-A19E-F5A61FF69A99}" type="datetime1">
              <a:rPr lang="de-DE" smtClean="0"/>
              <a:t>29.09.25</a:t>
            </a:fld>
            <a:endParaRPr lang="de-DE" dirty="0"/>
          </a:p>
        </p:txBody>
      </p:sp>
      <p:sp>
        <p:nvSpPr>
          <p:cNvPr id="4" name="Fußzeilenplatzhalter 3">
            <a:extLst>
              <a:ext uri="{FF2B5EF4-FFF2-40B4-BE49-F238E27FC236}">
                <a16:creationId xmlns:a16="http://schemas.microsoft.com/office/drawing/2014/main" id="{709158D2-7105-4CD4-858D-F32189A4FDE5}"/>
              </a:ext>
            </a:extLst>
          </p:cNvPr>
          <p:cNvSpPr>
            <a:spLocks noGrp="1"/>
          </p:cNvSpPr>
          <p:nvPr>
            <p:ph type="ftr" sz="quarter" idx="11"/>
          </p:nvPr>
        </p:nvSpPr>
        <p:spPr bwMode="gray"/>
        <p:txBody>
          <a:bodyPr/>
          <a:lstStyle/>
          <a:p>
            <a:r>
              <a:rPr lang="de-DE" dirty="0"/>
              <a:t>TITEL DER PRÄSENTATION | TITEL VORNAME NAME</a:t>
            </a:r>
          </a:p>
        </p:txBody>
      </p:sp>
      <p:sp>
        <p:nvSpPr>
          <p:cNvPr id="5" name="Foliennummernplatzhalter 4">
            <a:extLst>
              <a:ext uri="{FF2B5EF4-FFF2-40B4-BE49-F238E27FC236}">
                <a16:creationId xmlns:a16="http://schemas.microsoft.com/office/drawing/2014/main" id="{9BA4D519-7921-4D2B-A390-57766B9CD3F5}"/>
              </a:ext>
            </a:extLst>
          </p:cNvPr>
          <p:cNvSpPr>
            <a:spLocks noGrp="1"/>
          </p:cNvSpPr>
          <p:nvPr>
            <p:ph type="sldNum" sz="quarter" idx="12"/>
          </p:nvPr>
        </p:nvSpPr>
        <p:spPr bwMode="gray"/>
        <p:txBody>
          <a:bodyPr/>
          <a:lstStyle/>
          <a:p>
            <a:fld id="{09E9C37E-8A19-4E30-BE2B-5A966AD23C7A}" type="slidenum">
              <a:rPr lang="de-DE" smtClean="0"/>
              <a:pPr/>
              <a:t>82</a:t>
            </a:fld>
            <a:endParaRPr lang="de-DE" dirty="0"/>
          </a:p>
        </p:txBody>
      </p:sp>
      <p:sp>
        <p:nvSpPr>
          <p:cNvPr id="27" name="Content Placeholder 10">
            <a:extLst>
              <a:ext uri="{FF2B5EF4-FFF2-40B4-BE49-F238E27FC236}">
                <a16:creationId xmlns:a16="http://schemas.microsoft.com/office/drawing/2014/main" id="{FF0424E6-691F-41E0-A351-15DE435590BE}"/>
              </a:ext>
            </a:extLst>
          </p:cNvPr>
          <p:cNvSpPr txBox="1">
            <a:spLocks/>
          </p:cNvSpPr>
          <p:nvPr/>
        </p:nvSpPr>
        <p:spPr bwMode="gray">
          <a:xfrm>
            <a:off x="336001" y="1989075"/>
            <a:ext cx="2591350"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p>
          <a:p>
            <a:pPr lvl="1"/>
            <a:r>
              <a:rPr lang="de-DE" dirty="0">
                <a:solidFill>
                  <a:schemeClr val="bg1"/>
                </a:solidFill>
              </a:rPr>
              <a:t>Dolor sit amet, consec-tetuer adipiscing elit.</a:t>
            </a:r>
          </a:p>
        </p:txBody>
      </p:sp>
      <p:sp>
        <p:nvSpPr>
          <p:cNvPr id="28" name="Content Placeholder 10">
            <a:extLst>
              <a:ext uri="{FF2B5EF4-FFF2-40B4-BE49-F238E27FC236}">
                <a16:creationId xmlns:a16="http://schemas.microsoft.com/office/drawing/2014/main" id="{AE82E7F8-675D-474D-A618-1D0C47403A77}"/>
              </a:ext>
            </a:extLst>
          </p:cNvPr>
          <p:cNvSpPr txBox="1">
            <a:spLocks/>
          </p:cNvSpPr>
          <p:nvPr/>
        </p:nvSpPr>
        <p:spPr bwMode="gray">
          <a:xfrm>
            <a:off x="3216000" y="1989075"/>
            <a:ext cx="2591350"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p>
          <a:p>
            <a:pPr lvl="1"/>
            <a:r>
              <a:rPr lang="de-DE" dirty="0">
                <a:solidFill>
                  <a:schemeClr val="bg1"/>
                </a:solidFill>
              </a:rPr>
              <a:t>Dolor sit amet, consec-tetuer adipiscing elit.</a:t>
            </a:r>
          </a:p>
        </p:txBody>
      </p:sp>
      <p:sp>
        <p:nvSpPr>
          <p:cNvPr id="29" name="Content Placeholder 10">
            <a:extLst>
              <a:ext uri="{FF2B5EF4-FFF2-40B4-BE49-F238E27FC236}">
                <a16:creationId xmlns:a16="http://schemas.microsoft.com/office/drawing/2014/main" id="{2F4893D9-C89F-4FA8-B343-00DDC6A27C90}"/>
              </a:ext>
            </a:extLst>
          </p:cNvPr>
          <p:cNvSpPr txBox="1">
            <a:spLocks/>
          </p:cNvSpPr>
          <p:nvPr/>
        </p:nvSpPr>
        <p:spPr bwMode="gray">
          <a:xfrm>
            <a:off x="6096000" y="1989075"/>
            <a:ext cx="2591350"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p>
          <a:p>
            <a:pPr lvl="1"/>
            <a:r>
              <a:rPr lang="de-DE" dirty="0">
                <a:solidFill>
                  <a:schemeClr val="bg1"/>
                </a:solidFill>
              </a:rPr>
              <a:t>Dolor sit amet, consec-tetuer adipiscing elit.</a:t>
            </a:r>
          </a:p>
        </p:txBody>
      </p:sp>
      <p:sp>
        <p:nvSpPr>
          <p:cNvPr id="30" name="Content Placeholder 10">
            <a:extLst>
              <a:ext uri="{FF2B5EF4-FFF2-40B4-BE49-F238E27FC236}">
                <a16:creationId xmlns:a16="http://schemas.microsoft.com/office/drawing/2014/main" id="{AD509E6B-E4F0-4FA0-A426-149EB45FEE36}"/>
              </a:ext>
            </a:extLst>
          </p:cNvPr>
          <p:cNvSpPr txBox="1">
            <a:spLocks/>
          </p:cNvSpPr>
          <p:nvPr/>
        </p:nvSpPr>
        <p:spPr bwMode="gray">
          <a:xfrm>
            <a:off x="8976000" y="1989075"/>
            <a:ext cx="2591350" cy="1079925"/>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r>
              <a:rPr lang="de-DE" dirty="0">
                <a:solidFill>
                  <a:schemeClr val="bg1"/>
                </a:solidFill>
              </a:rPr>
              <a:t>Lorem ipsum</a:t>
            </a:r>
          </a:p>
          <a:p>
            <a:pPr lvl="1"/>
            <a:r>
              <a:rPr lang="de-DE" dirty="0">
                <a:solidFill>
                  <a:schemeClr val="bg1"/>
                </a:solidFill>
              </a:rPr>
              <a:t>Dolor sit amet, consec-tetuer adipiscing elit.</a:t>
            </a:r>
          </a:p>
        </p:txBody>
      </p:sp>
      <p:sp>
        <p:nvSpPr>
          <p:cNvPr id="31" name="Content Placeholder 10">
            <a:extLst>
              <a:ext uri="{FF2B5EF4-FFF2-40B4-BE49-F238E27FC236}">
                <a16:creationId xmlns:a16="http://schemas.microsoft.com/office/drawing/2014/main" id="{5673B926-BDE1-4616-945A-848E9D158A3D}"/>
              </a:ext>
            </a:extLst>
          </p:cNvPr>
          <p:cNvSpPr txBox="1">
            <a:spLocks/>
          </p:cNvSpPr>
          <p:nvPr/>
        </p:nvSpPr>
        <p:spPr bwMode="gray">
          <a:xfrm>
            <a:off x="336001" y="5228999"/>
            <a:ext cx="2591350" cy="503999"/>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solidFill>
                  <a:schemeClr val="bg1"/>
                </a:solidFill>
              </a:rPr>
              <a:t>Lorem ipsum</a:t>
            </a:r>
          </a:p>
        </p:txBody>
      </p:sp>
      <p:sp>
        <p:nvSpPr>
          <p:cNvPr id="32" name="Content Placeholder 10">
            <a:extLst>
              <a:ext uri="{FF2B5EF4-FFF2-40B4-BE49-F238E27FC236}">
                <a16:creationId xmlns:a16="http://schemas.microsoft.com/office/drawing/2014/main" id="{8176AB32-984F-450C-8469-0A3BDD39DBB8}"/>
              </a:ext>
            </a:extLst>
          </p:cNvPr>
          <p:cNvSpPr txBox="1">
            <a:spLocks/>
          </p:cNvSpPr>
          <p:nvPr/>
        </p:nvSpPr>
        <p:spPr bwMode="gray">
          <a:xfrm>
            <a:off x="3216000" y="5228999"/>
            <a:ext cx="2591350" cy="503999"/>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solidFill>
                  <a:schemeClr val="bg1"/>
                </a:solidFill>
              </a:rPr>
              <a:t>Lorem ipsum</a:t>
            </a:r>
          </a:p>
        </p:txBody>
      </p:sp>
      <p:sp>
        <p:nvSpPr>
          <p:cNvPr id="33" name="Content Placeholder 10">
            <a:extLst>
              <a:ext uri="{FF2B5EF4-FFF2-40B4-BE49-F238E27FC236}">
                <a16:creationId xmlns:a16="http://schemas.microsoft.com/office/drawing/2014/main" id="{909DFA30-8843-4A66-A645-29BEDC8B8B5F}"/>
              </a:ext>
            </a:extLst>
          </p:cNvPr>
          <p:cNvSpPr txBox="1">
            <a:spLocks/>
          </p:cNvSpPr>
          <p:nvPr/>
        </p:nvSpPr>
        <p:spPr bwMode="gray">
          <a:xfrm>
            <a:off x="6096000" y="5228999"/>
            <a:ext cx="2591350" cy="503999"/>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solidFill>
                  <a:schemeClr val="bg1"/>
                </a:solidFill>
              </a:rPr>
              <a:t>Lorem ipsum</a:t>
            </a:r>
          </a:p>
        </p:txBody>
      </p:sp>
      <p:sp>
        <p:nvSpPr>
          <p:cNvPr id="34" name="Content Placeholder 10">
            <a:extLst>
              <a:ext uri="{FF2B5EF4-FFF2-40B4-BE49-F238E27FC236}">
                <a16:creationId xmlns:a16="http://schemas.microsoft.com/office/drawing/2014/main" id="{9312EDDE-65E4-4436-9B58-A7A6491683F9}"/>
              </a:ext>
            </a:extLst>
          </p:cNvPr>
          <p:cNvSpPr txBox="1">
            <a:spLocks/>
          </p:cNvSpPr>
          <p:nvPr/>
        </p:nvSpPr>
        <p:spPr bwMode="gray">
          <a:xfrm>
            <a:off x="8976000" y="5228999"/>
            <a:ext cx="2591350" cy="503999"/>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r>
              <a:rPr lang="de-DE" dirty="0">
                <a:solidFill>
                  <a:schemeClr val="bg1"/>
                </a:solidFill>
              </a:rPr>
              <a:t>Lorem ipsum</a:t>
            </a:r>
          </a:p>
        </p:txBody>
      </p:sp>
      <p:graphicFrame>
        <p:nvGraphicFramePr>
          <p:cNvPr id="35" name="Dia Asia">
            <a:extLst>
              <a:ext uri="{FF2B5EF4-FFF2-40B4-BE49-F238E27FC236}">
                <a16:creationId xmlns:a16="http://schemas.microsoft.com/office/drawing/2014/main" id="{64D9D3A9-1F12-4629-8E78-121395EE3623}"/>
              </a:ext>
            </a:extLst>
          </p:cNvPr>
          <p:cNvGraphicFramePr/>
          <p:nvPr>
            <p:custDataLst>
              <p:tags r:id="rId3"/>
            </p:custDataLst>
            <p:extLst>
              <p:ext uri="{D42A27DB-BD31-4B8C-83A1-F6EECF244321}">
                <p14:modId xmlns:p14="http://schemas.microsoft.com/office/powerpoint/2010/main" val="1091994816"/>
              </p:ext>
            </p:extLst>
          </p:nvPr>
        </p:nvGraphicFramePr>
        <p:xfrm>
          <a:off x="336000" y="3213000"/>
          <a:ext cx="2591350" cy="18720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41" name="Dia Asia">
            <a:extLst>
              <a:ext uri="{FF2B5EF4-FFF2-40B4-BE49-F238E27FC236}">
                <a16:creationId xmlns:a16="http://schemas.microsoft.com/office/drawing/2014/main" id="{D6CBC0A9-104B-4748-9A22-E6BAAB23A52F}"/>
              </a:ext>
            </a:extLst>
          </p:cNvPr>
          <p:cNvGraphicFramePr/>
          <p:nvPr>
            <p:custDataLst>
              <p:tags r:id="rId4"/>
            </p:custDataLst>
            <p:extLst>
              <p:ext uri="{D42A27DB-BD31-4B8C-83A1-F6EECF244321}">
                <p14:modId xmlns:p14="http://schemas.microsoft.com/office/powerpoint/2010/main" val="3217785859"/>
              </p:ext>
            </p:extLst>
          </p:nvPr>
        </p:nvGraphicFramePr>
        <p:xfrm>
          <a:off x="3216276" y="3213000"/>
          <a:ext cx="2592388" cy="18720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43" name="Dia Asia">
            <a:extLst>
              <a:ext uri="{FF2B5EF4-FFF2-40B4-BE49-F238E27FC236}">
                <a16:creationId xmlns:a16="http://schemas.microsoft.com/office/drawing/2014/main" id="{0F82640F-C2A1-4282-AE3E-A705AD02B06C}"/>
              </a:ext>
            </a:extLst>
          </p:cNvPr>
          <p:cNvGraphicFramePr/>
          <p:nvPr>
            <p:custDataLst>
              <p:tags r:id="rId5"/>
            </p:custDataLst>
            <p:extLst>
              <p:ext uri="{D42A27DB-BD31-4B8C-83A1-F6EECF244321}">
                <p14:modId xmlns:p14="http://schemas.microsoft.com/office/powerpoint/2010/main" val="3436041116"/>
              </p:ext>
            </p:extLst>
          </p:nvPr>
        </p:nvGraphicFramePr>
        <p:xfrm>
          <a:off x="6096000" y="3213000"/>
          <a:ext cx="2592388" cy="18720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5" name="Dia Asia">
            <a:extLst>
              <a:ext uri="{FF2B5EF4-FFF2-40B4-BE49-F238E27FC236}">
                <a16:creationId xmlns:a16="http://schemas.microsoft.com/office/drawing/2014/main" id="{616E04BB-8984-4F10-B548-111471DC27A3}"/>
              </a:ext>
            </a:extLst>
          </p:cNvPr>
          <p:cNvGraphicFramePr/>
          <p:nvPr>
            <p:custDataLst>
              <p:tags r:id="rId6"/>
            </p:custDataLst>
            <p:extLst>
              <p:ext uri="{D42A27DB-BD31-4B8C-83A1-F6EECF244321}">
                <p14:modId xmlns:p14="http://schemas.microsoft.com/office/powerpoint/2010/main" val="3158984910"/>
              </p:ext>
            </p:extLst>
          </p:nvPr>
        </p:nvGraphicFramePr>
        <p:xfrm>
          <a:off x="8975725" y="3213000"/>
          <a:ext cx="2592388" cy="1872000"/>
        </p:xfrm>
        <a:graphic>
          <a:graphicData uri="http://schemas.openxmlformats.org/drawingml/2006/chart">
            <c:chart xmlns:c="http://schemas.openxmlformats.org/drawingml/2006/chart" xmlns:r="http://schemas.openxmlformats.org/officeDocument/2006/relationships" r:id="rId14"/>
          </a:graphicData>
        </a:graphic>
      </p:graphicFrame>
      <p:sp>
        <p:nvSpPr>
          <p:cNvPr id="46" name="Content Placeholder 10">
            <a:extLst>
              <a:ext uri="{FF2B5EF4-FFF2-40B4-BE49-F238E27FC236}">
                <a16:creationId xmlns:a16="http://schemas.microsoft.com/office/drawing/2014/main" id="{6CA7686B-BABC-4A88-8421-274A59E7990A}"/>
              </a:ext>
            </a:extLst>
          </p:cNvPr>
          <p:cNvSpPr txBox="1">
            <a:spLocks/>
          </p:cNvSpPr>
          <p:nvPr/>
        </p:nvSpPr>
        <p:spPr bwMode="gray">
          <a:xfrm>
            <a:off x="1056001" y="3576891"/>
            <a:ext cx="1152000" cy="114811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sz="2000" b="1" dirty="0">
                <a:solidFill>
                  <a:schemeClr val="bg1"/>
                </a:solidFill>
              </a:rPr>
              <a:t>87</a:t>
            </a:r>
            <a:r>
              <a:rPr lang="de-DE" b="1" dirty="0">
                <a:solidFill>
                  <a:schemeClr val="bg1"/>
                </a:solidFill>
              </a:rPr>
              <a:t>%</a:t>
            </a:r>
          </a:p>
        </p:txBody>
      </p:sp>
      <p:sp>
        <p:nvSpPr>
          <p:cNvPr id="47" name="Content Placeholder 10">
            <a:extLst>
              <a:ext uri="{FF2B5EF4-FFF2-40B4-BE49-F238E27FC236}">
                <a16:creationId xmlns:a16="http://schemas.microsoft.com/office/drawing/2014/main" id="{C1AC77CB-8C4B-4B06-AF26-678283F036AF}"/>
              </a:ext>
            </a:extLst>
          </p:cNvPr>
          <p:cNvSpPr txBox="1">
            <a:spLocks/>
          </p:cNvSpPr>
          <p:nvPr/>
        </p:nvSpPr>
        <p:spPr bwMode="gray">
          <a:xfrm>
            <a:off x="3936000" y="3576891"/>
            <a:ext cx="1152000" cy="114811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sz="2000" b="1" dirty="0">
                <a:solidFill>
                  <a:schemeClr val="bg1"/>
                </a:solidFill>
              </a:rPr>
              <a:t>33</a:t>
            </a:r>
            <a:r>
              <a:rPr lang="de-DE" b="1" dirty="0">
                <a:solidFill>
                  <a:schemeClr val="bg1"/>
                </a:solidFill>
              </a:rPr>
              <a:t>%</a:t>
            </a:r>
          </a:p>
        </p:txBody>
      </p:sp>
      <p:sp>
        <p:nvSpPr>
          <p:cNvPr id="48" name="Content Placeholder 10">
            <a:extLst>
              <a:ext uri="{FF2B5EF4-FFF2-40B4-BE49-F238E27FC236}">
                <a16:creationId xmlns:a16="http://schemas.microsoft.com/office/drawing/2014/main" id="{6271A075-4F83-482D-B2A1-EDFBD304C466}"/>
              </a:ext>
            </a:extLst>
          </p:cNvPr>
          <p:cNvSpPr txBox="1">
            <a:spLocks/>
          </p:cNvSpPr>
          <p:nvPr/>
        </p:nvSpPr>
        <p:spPr bwMode="gray">
          <a:xfrm>
            <a:off x="6816000" y="3576891"/>
            <a:ext cx="1152000" cy="114811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sz="2000" b="1" dirty="0">
                <a:solidFill>
                  <a:schemeClr val="bg1"/>
                </a:solidFill>
              </a:rPr>
              <a:t>15</a:t>
            </a:r>
            <a:r>
              <a:rPr lang="de-DE" b="1" dirty="0">
                <a:solidFill>
                  <a:schemeClr val="bg1"/>
                </a:solidFill>
              </a:rPr>
              <a:t>%</a:t>
            </a:r>
          </a:p>
        </p:txBody>
      </p:sp>
      <p:sp>
        <p:nvSpPr>
          <p:cNvPr id="49" name="Content Placeholder 10">
            <a:extLst>
              <a:ext uri="{FF2B5EF4-FFF2-40B4-BE49-F238E27FC236}">
                <a16:creationId xmlns:a16="http://schemas.microsoft.com/office/drawing/2014/main" id="{63A53B5C-BF76-4597-AE5B-C7706CAE306C}"/>
              </a:ext>
            </a:extLst>
          </p:cNvPr>
          <p:cNvSpPr txBox="1">
            <a:spLocks/>
          </p:cNvSpPr>
          <p:nvPr/>
        </p:nvSpPr>
        <p:spPr bwMode="gray">
          <a:xfrm>
            <a:off x="9696000" y="3576891"/>
            <a:ext cx="1152000" cy="1148110"/>
          </a:xfrm>
          <a:prstGeom prst="rect">
            <a:avLst/>
          </a:prstGeom>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sz="2000" b="1" dirty="0">
                <a:solidFill>
                  <a:schemeClr val="bg1"/>
                </a:solidFill>
              </a:rPr>
              <a:t>56</a:t>
            </a:r>
            <a:r>
              <a:rPr lang="de-DE" b="1" dirty="0">
                <a:solidFill>
                  <a:schemeClr val="bg1"/>
                </a:solidFill>
              </a:rPr>
              <a:t>%</a:t>
            </a:r>
          </a:p>
        </p:txBody>
      </p:sp>
      <p:sp>
        <p:nvSpPr>
          <p:cNvPr id="20" name="Rechteck 19">
            <a:extLst>
              <a:ext uri="{FF2B5EF4-FFF2-40B4-BE49-F238E27FC236}">
                <a16:creationId xmlns:a16="http://schemas.microsoft.com/office/drawing/2014/main" id="{9D61C762-8904-4203-B353-F719BF85641B}"/>
              </a:ext>
            </a:extLst>
          </p:cNvPr>
          <p:cNvSpPr/>
          <p:nvPr/>
        </p:nvSpPr>
        <p:spPr bwMode="gray">
          <a:xfrm>
            <a:off x="0" y="0"/>
            <a:ext cx="2352000" cy="29287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0" tIns="61200" rIns="72000" bIns="61200" rtlCol="0" anchor="ctr">
            <a:spAutoFit/>
          </a:bodyPr>
          <a:lstStyle/>
          <a:p>
            <a:r>
              <a:rPr lang="de-DE" sz="1100" dirty="0">
                <a:solidFill>
                  <a:schemeClr val="bg1"/>
                </a:solidFill>
              </a:rPr>
              <a:t>Excel-basiertes Diagramm</a:t>
            </a:r>
          </a:p>
        </p:txBody>
      </p:sp>
    </p:spTree>
    <p:extLst>
      <p:ext uri="{BB962C8B-B14F-4D97-AF65-F5344CB8AC3E}">
        <p14:creationId xmlns:p14="http://schemas.microsoft.com/office/powerpoint/2010/main" val="2804765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33315" name="Objekt 1933314" hidden="1">
            <a:extLst>
              <a:ext uri="{FF2B5EF4-FFF2-40B4-BE49-F238E27FC236}">
                <a16:creationId xmlns:a16="http://schemas.microsoft.com/office/drawing/2014/main" id="{750113A5-31E3-4B48-9BF8-DEF1D4C42ABA}"/>
              </a:ext>
            </a:extLst>
          </p:cNvPr>
          <p:cNvGraphicFramePr>
            <a:graphicFrameLocks noChangeAspect="1"/>
          </p:cNvGraphicFramePr>
          <p:nvPr>
            <p:custDataLst>
              <p:tags r:id="rId2"/>
            </p:custDataLst>
            <p:extLst>
              <p:ext uri="{D42A27DB-BD31-4B8C-83A1-F6EECF244321}">
                <p14:modId xmlns:p14="http://schemas.microsoft.com/office/powerpoint/2010/main" val="532282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933315" name="Objekt 1933314" hidden="1">
                        <a:extLst>
                          <a:ext uri="{FF2B5EF4-FFF2-40B4-BE49-F238E27FC236}">
                            <a16:creationId xmlns:a16="http://schemas.microsoft.com/office/drawing/2014/main" id="{750113A5-31E3-4B48-9BF8-DEF1D4C42AB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933313" name="Rechteck 1933312" hidden="1">
            <a:extLst>
              <a:ext uri="{FF2B5EF4-FFF2-40B4-BE49-F238E27FC236}">
                <a16:creationId xmlns:a16="http://schemas.microsoft.com/office/drawing/2014/main" id="{F004A4BD-5F01-464A-B1D5-76402C9D503F}"/>
              </a:ext>
            </a:extLst>
          </p:cNvPr>
          <p:cNvSpPr/>
          <p:nvPr>
            <p:custDataLst>
              <p:tags r:id="rId3"/>
            </p:custDataLst>
          </p:nvPr>
        </p:nvSpPr>
        <p:spPr bwMode="gray">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e-DE" sz="3000" dirty="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sym typeface="Open Sans Extrabold" panose="020B0906030804020204" pitchFamily="34" charset="0"/>
            </a:endParaRPr>
          </a:p>
        </p:txBody>
      </p:sp>
      <p:sp>
        <p:nvSpPr>
          <p:cNvPr id="4" name="Titel 3"/>
          <p:cNvSpPr>
            <a:spLocks noGrp="1"/>
          </p:cNvSpPr>
          <p:nvPr>
            <p:ph type="title"/>
            <p:custDataLst>
              <p:tags r:id="rId4"/>
            </p:custDataLst>
          </p:nvPr>
        </p:nvSpPr>
        <p:spPr bwMode="gray"/>
        <p:txBody>
          <a:bodyPr vert="horz"/>
          <a:lstStyle/>
          <a:p>
            <a:r>
              <a:rPr lang="de-DE" dirty="0"/>
              <a:t>Karte: Welt (flach mit Ländergrenzen)</a:t>
            </a:r>
          </a:p>
        </p:txBody>
      </p:sp>
      <p:sp>
        <p:nvSpPr>
          <p:cNvPr id="2" name="Datumsplatzhalter 1">
            <a:extLst>
              <a:ext uri="{FF2B5EF4-FFF2-40B4-BE49-F238E27FC236}">
                <a16:creationId xmlns:a16="http://schemas.microsoft.com/office/drawing/2014/main" id="{98C008E5-E152-43B9-8746-58B72D0E2DC8}"/>
              </a:ext>
            </a:extLst>
          </p:cNvPr>
          <p:cNvSpPr>
            <a:spLocks noGrp="1"/>
          </p:cNvSpPr>
          <p:nvPr>
            <p:ph type="dt" sz="half" idx="10"/>
          </p:nvPr>
        </p:nvSpPr>
        <p:spPr bwMode="gray"/>
        <p:txBody>
          <a:bodyPr/>
          <a:lstStyle/>
          <a:p>
            <a:fld id="{F8FFBCF6-1327-430A-AFBD-7F3ED4395AC9}" type="datetime1">
              <a:rPr lang="de-DE" smtClean="0"/>
              <a:t>29.09.25</a:t>
            </a:fld>
            <a:endParaRPr lang="de-DE" dirty="0"/>
          </a:p>
        </p:txBody>
      </p:sp>
      <p:sp>
        <p:nvSpPr>
          <p:cNvPr id="3" name="Fußzeilenplatzhalter 2">
            <a:extLst>
              <a:ext uri="{FF2B5EF4-FFF2-40B4-BE49-F238E27FC236}">
                <a16:creationId xmlns:a16="http://schemas.microsoft.com/office/drawing/2014/main" id="{C8365624-8806-4EEC-B732-1FB7690274C5}"/>
              </a:ext>
            </a:extLst>
          </p:cNvPr>
          <p:cNvSpPr>
            <a:spLocks noGrp="1"/>
          </p:cNvSpPr>
          <p:nvPr>
            <p:ph type="ftr" sz="quarter" idx="11"/>
          </p:nvPr>
        </p:nvSpPr>
        <p:spPr bwMode="gray"/>
        <p:txBody>
          <a:bodyPr/>
          <a:lstStyle/>
          <a:p>
            <a:r>
              <a:rPr lang="de-DE" dirty="0"/>
              <a:t>TITEL DER PRÄSENTATION | TITEL VORNAME NAME</a:t>
            </a:r>
          </a:p>
        </p:txBody>
      </p:sp>
      <p:sp>
        <p:nvSpPr>
          <p:cNvPr id="1933312" name="Foliennummernplatzhalter 1933311">
            <a:extLst>
              <a:ext uri="{FF2B5EF4-FFF2-40B4-BE49-F238E27FC236}">
                <a16:creationId xmlns:a16="http://schemas.microsoft.com/office/drawing/2014/main" id="{172CD221-04D3-4550-981D-4A694BBE2261}"/>
              </a:ext>
            </a:extLst>
          </p:cNvPr>
          <p:cNvSpPr>
            <a:spLocks noGrp="1"/>
          </p:cNvSpPr>
          <p:nvPr>
            <p:ph type="sldNum" sz="quarter" idx="12"/>
          </p:nvPr>
        </p:nvSpPr>
        <p:spPr bwMode="gray"/>
        <p:txBody>
          <a:bodyPr/>
          <a:lstStyle/>
          <a:p>
            <a:fld id="{09E9C37E-8A19-4E30-BE2B-5A966AD23C7A}" type="slidenum">
              <a:rPr lang="de-DE" smtClean="0"/>
              <a:pPr/>
              <a:t>83</a:t>
            </a:fld>
            <a:endParaRPr lang="de-DE" dirty="0"/>
          </a:p>
        </p:txBody>
      </p:sp>
      <p:grpSp>
        <p:nvGrpSpPr>
          <p:cNvPr id="5" name="Gruppieren 4">
            <a:extLst>
              <a:ext uri="{FF2B5EF4-FFF2-40B4-BE49-F238E27FC236}">
                <a16:creationId xmlns:a16="http://schemas.microsoft.com/office/drawing/2014/main" id="{6BC83991-A674-4290-9C02-5C96F47A5DB5}"/>
              </a:ext>
            </a:extLst>
          </p:cNvPr>
          <p:cNvGrpSpPr>
            <a:grpSpLocks noChangeAspect="1"/>
          </p:cNvGrpSpPr>
          <p:nvPr>
            <p:custDataLst>
              <p:tags r:id="rId5"/>
            </p:custDataLst>
          </p:nvPr>
        </p:nvGrpSpPr>
        <p:grpSpPr bwMode="gray">
          <a:xfrm>
            <a:off x="2223201" y="1989000"/>
            <a:ext cx="7745598" cy="3888000"/>
            <a:chOff x="9612700" y="1433192"/>
            <a:chExt cx="8496948" cy="4264675"/>
          </a:xfrm>
          <a:solidFill>
            <a:schemeClr val="bg2"/>
          </a:solidFill>
        </p:grpSpPr>
        <p:sp>
          <p:nvSpPr>
            <p:cNvPr id="6" name="Freeform 473">
              <a:extLst>
                <a:ext uri="{FF2B5EF4-FFF2-40B4-BE49-F238E27FC236}">
                  <a16:creationId xmlns:a16="http://schemas.microsoft.com/office/drawing/2014/main" id="{2B3C8FC1-1442-46C9-9AEF-8957B6D81FA0}"/>
                </a:ext>
              </a:extLst>
            </p:cNvPr>
            <p:cNvSpPr>
              <a:spLocks noEditPoints="1"/>
            </p:cNvSpPr>
            <p:nvPr/>
          </p:nvSpPr>
          <p:spPr bwMode="gray">
            <a:xfrm>
              <a:off x="13895049" y="2915518"/>
              <a:ext cx="273947" cy="294567"/>
            </a:xfrm>
            <a:custGeom>
              <a:avLst/>
              <a:gdLst>
                <a:gd name="T0" fmla="*/ 81 w 837"/>
                <a:gd name="T1" fmla="*/ 259 h 900"/>
                <a:gd name="T2" fmla="*/ 34 w 837"/>
                <a:gd name="T3" fmla="*/ 193 h 900"/>
                <a:gd name="T4" fmla="*/ 43 w 837"/>
                <a:gd name="T5" fmla="*/ 148 h 900"/>
                <a:gd name="T6" fmla="*/ 81 w 837"/>
                <a:gd name="T7" fmla="*/ 99 h 900"/>
                <a:gd name="T8" fmla="*/ 135 w 837"/>
                <a:gd name="T9" fmla="*/ 54 h 900"/>
                <a:gd name="T10" fmla="*/ 173 w 837"/>
                <a:gd name="T11" fmla="*/ 111 h 900"/>
                <a:gd name="T12" fmla="*/ 189 w 837"/>
                <a:gd name="T13" fmla="*/ 54 h 900"/>
                <a:gd name="T14" fmla="*/ 248 w 837"/>
                <a:gd name="T15" fmla="*/ 75 h 900"/>
                <a:gd name="T16" fmla="*/ 260 w 837"/>
                <a:gd name="T17" fmla="*/ 37 h 900"/>
                <a:gd name="T18" fmla="*/ 324 w 837"/>
                <a:gd name="T19" fmla="*/ 4 h 900"/>
                <a:gd name="T20" fmla="*/ 411 w 837"/>
                <a:gd name="T21" fmla="*/ 26 h 900"/>
                <a:gd name="T22" fmla="*/ 497 w 837"/>
                <a:gd name="T23" fmla="*/ 75 h 900"/>
                <a:gd name="T24" fmla="*/ 520 w 837"/>
                <a:gd name="T25" fmla="*/ 127 h 900"/>
                <a:gd name="T26" fmla="*/ 482 w 837"/>
                <a:gd name="T27" fmla="*/ 127 h 900"/>
                <a:gd name="T28" fmla="*/ 459 w 837"/>
                <a:gd name="T29" fmla="*/ 127 h 900"/>
                <a:gd name="T30" fmla="*/ 395 w 837"/>
                <a:gd name="T31" fmla="*/ 165 h 900"/>
                <a:gd name="T32" fmla="*/ 411 w 837"/>
                <a:gd name="T33" fmla="*/ 203 h 900"/>
                <a:gd name="T34" fmla="*/ 428 w 837"/>
                <a:gd name="T35" fmla="*/ 276 h 900"/>
                <a:gd name="T36" fmla="*/ 605 w 837"/>
                <a:gd name="T37" fmla="*/ 458 h 900"/>
                <a:gd name="T38" fmla="*/ 660 w 837"/>
                <a:gd name="T39" fmla="*/ 496 h 900"/>
                <a:gd name="T40" fmla="*/ 806 w 837"/>
                <a:gd name="T41" fmla="*/ 623 h 900"/>
                <a:gd name="T42" fmla="*/ 730 w 837"/>
                <a:gd name="T43" fmla="*/ 585 h 900"/>
                <a:gd name="T44" fmla="*/ 747 w 837"/>
                <a:gd name="T45" fmla="*/ 668 h 900"/>
                <a:gd name="T46" fmla="*/ 702 w 837"/>
                <a:gd name="T47" fmla="*/ 751 h 900"/>
                <a:gd name="T48" fmla="*/ 638 w 837"/>
                <a:gd name="T49" fmla="*/ 789 h 900"/>
                <a:gd name="T50" fmla="*/ 648 w 837"/>
                <a:gd name="T51" fmla="*/ 734 h 900"/>
                <a:gd name="T52" fmla="*/ 664 w 837"/>
                <a:gd name="T53" fmla="*/ 668 h 900"/>
                <a:gd name="T54" fmla="*/ 589 w 837"/>
                <a:gd name="T55" fmla="*/ 595 h 900"/>
                <a:gd name="T56" fmla="*/ 551 w 837"/>
                <a:gd name="T57" fmla="*/ 552 h 900"/>
                <a:gd name="T58" fmla="*/ 449 w 837"/>
                <a:gd name="T59" fmla="*/ 512 h 900"/>
                <a:gd name="T60" fmla="*/ 374 w 837"/>
                <a:gd name="T61" fmla="*/ 441 h 900"/>
                <a:gd name="T62" fmla="*/ 319 w 837"/>
                <a:gd name="T63" fmla="*/ 404 h 900"/>
                <a:gd name="T64" fmla="*/ 260 w 837"/>
                <a:gd name="T65" fmla="*/ 292 h 900"/>
                <a:gd name="T66" fmla="*/ 135 w 837"/>
                <a:gd name="T67" fmla="*/ 248 h 900"/>
                <a:gd name="T68" fmla="*/ 67 w 837"/>
                <a:gd name="T69" fmla="*/ 292 h 900"/>
                <a:gd name="T70" fmla="*/ 411 w 837"/>
                <a:gd name="T71" fmla="*/ 276 h 900"/>
                <a:gd name="T72" fmla="*/ 248 w 837"/>
                <a:gd name="T73" fmla="*/ 375 h 900"/>
                <a:gd name="T74" fmla="*/ 270 w 837"/>
                <a:gd name="T75" fmla="*/ 387 h 900"/>
                <a:gd name="T76" fmla="*/ 142 w 837"/>
                <a:gd name="T77" fmla="*/ 541 h 900"/>
                <a:gd name="T78" fmla="*/ 206 w 837"/>
                <a:gd name="T79" fmla="*/ 541 h 900"/>
                <a:gd name="T80" fmla="*/ 218 w 837"/>
                <a:gd name="T81" fmla="*/ 611 h 900"/>
                <a:gd name="T82" fmla="*/ 163 w 837"/>
                <a:gd name="T83" fmla="*/ 706 h 900"/>
                <a:gd name="T84" fmla="*/ 126 w 837"/>
                <a:gd name="T85" fmla="*/ 696 h 900"/>
                <a:gd name="T86" fmla="*/ 135 w 837"/>
                <a:gd name="T87" fmla="*/ 640 h 900"/>
                <a:gd name="T88" fmla="*/ 119 w 837"/>
                <a:gd name="T89" fmla="*/ 569 h 900"/>
                <a:gd name="T90" fmla="*/ 109 w 837"/>
                <a:gd name="T91" fmla="*/ 569 h 900"/>
                <a:gd name="T92" fmla="*/ 513 w 837"/>
                <a:gd name="T93" fmla="*/ 557 h 900"/>
                <a:gd name="T94" fmla="*/ 119 w 837"/>
                <a:gd name="T95" fmla="*/ 685 h 900"/>
                <a:gd name="T96" fmla="*/ 119 w 837"/>
                <a:gd name="T97" fmla="*/ 696 h 900"/>
                <a:gd name="T98" fmla="*/ 445 w 837"/>
                <a:gd name="T99" fmla="*/ 779 h 900"/>
                <a:gd name="T100" fmla="*/ 482 w 837"/>
                <a:gd name="T101" fmla="*/ 779 h 900"/>
                <a:gd name="T102" fmla="*/ 596 w 837"/>
                <a:gd name="T103" fmla="*/ 772 h 900"/>
                <a:gd name="T104" fmla="*/ 596 w 837"/>
                <a:gd name="T105" fmla="*/ 829 h 900"/>
                <a:gd name="T106" fmla="*/ 558 w 837"/>
                <a:gd name="T107" fmla="*/ 890 h 900"/>
                <a:gd name="T108" fmla="*/ 428 w 837"/>
                <a:gd name="T109" fmla="*/ 817 h 900"/>
                <a:gd name="T110" fmla="*/ 378 w 837"/>
                <a:gd name="T111" fmla="*/ 890 h 900"/>
                <a:gd name="T112" fmla="*/ 378 w 837"/>
                <a:gd name="T113" fmla="*/ 89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7" h="900">
                  <a:moveTo>
                    <a:pt x="67" y="292"/>
                  </a:moveTo>
                  <a:lnTo>
                    <a:pt x="67" y="281"/>
                  </a:lnTo>
                  <a:lnTo>
                    <a:pt x="81" y="264"/>
                  </a:lnTo>
                  <a:lnTo>
                    <a:pt x="81" y="259"/>
                  </a:lnTo>
                  <a:lnTo>
                    <a:pt x="55" y="259"/>
                  </a:lnTo>
                  <a:lnTo>
                    <a:pt x="29" y="248"/>
                  </a:lnTo>
                  <a:lnTo>
                    <a:pt x="17" y="226"/>
                  </a:lnTo>
                  <a:lnTo>
                    <a:pt x="34" y="193"/>
                  </a:lnTo>
                  <a:lnTo>
                    <a:pt x="12" y="193"/>
                  </a:lnTo>
                  <a:lnTo>
                    <a:pt x="0" y="170"/>
                  </a:lnTo>
                  <a:lnTo>
                    <a:pt x="43" y="165"/>
                  </a:lnTo>
                  <a:lnTo>
                    <a:pt x="43" y="148"/>
                  </a:lnTo>
                  <a:lnTo>
                    <a:pt x="17" y="115"/>
                  </a:lnTo>
                  <a:lnTo>
                    <a:pt x="34" y="99"/>
                  </a:lnTo>
                  <a:lnTo>
                    <a:pt x="43" y="111"/>
                  </a:lnTo>
                  <a:lnTo>
                    <a:pt x="81" y="99"/>
                  </a:lnTo>
                  <a:lnTo>
                    <a:pt x="88" y="99"/>
                  </a:lnTo>
                  <a:lnTo>
                    <a:pt x="109" y="82"/>
                  </a:lnTo>
                  <a:lnTo>
                    <a:pt x="119" y="54"/>
                  </a:lnTo>
                  <a:lnTo>
                    <a:pt x="135" y="54"/>
                  </a:lnTo>
                  <a:lnTo>
                    <a:pt x="135" y="75"/>
                  </a:lnTo>
                  <a:lnTo>
                    <a:pt x="156" y="82"/>
                  </a:lnTo>
                  <a:lnTo>
                    <a:pt x="156" y="92"/>
                  </a:lnTo>
                  <a:lnTo>
                    <a:pt x="173" y="111"/>
                  </a:lnTo>
                  <a:lnTo>
                    <a:pt x="180" y="99"/>
                  </a:lnTo>
                  <a:lnTo>
                    <a:pt x="173" y="99"/>
                  </a:lnTo>
                  <a:lnTo>
                    <a:pt x="189" y="70"/>
                  </a:lnTo>
                  <a:lnTo>
                    <a:pt x="189" y="54"/>
                  </a:lnTo>
                  <a:lnTo>
                    <a:pt x="206" y="54"/>
                  </a:lnTo>
                  <a:lnTo>
                    <a:pt x="211" y="70"/>
                  </a:lnTo>
                  <a:lnTo>
                    <a:pt x="232" y="59"/>
                  </a:lnTo>
                  <a:lnTo>
                    <a:pt x="248" y="75"/>
                  </a:lnTo>
                  <a:lnTo>
                    <a:pt x="248" y="59"/>
                  </a:lnTo>
                  <a:lnTo>
                    <a:pt x="244" y="54"/>
                  </a:lnTo>
                  <a:lnTo>
                    <a:pt x="244" y="42"/>
                  </a:lnTo>
                  <a:lnTo>
                    <a:pt x="260" y="37"/>
                  </a:lnTo>
                  <a:lnTo>
                    <a:pt x="270" y="42"/>
                  </a:lnTo>
                  <a:lnTo>
                    <a:pt x="270" y="16"/>
                  </a:lnTo>
                  <a:lnTo>
                    <a:pt x="315" y="26"/>
                  </a:lnTo>
                  <a:lnTo>
                    <a:pt x="324" y="4"/>
                  </a:lnTo>
                  <a:lnTo>
                    <a:pt x="369" y="4"/>
                  </a:lnTo>
                  <a:lnTo>
                    <a:pt x="395" y="0"/>
                  </a:lnTo>
                  <a:lnTo>
                    <a:pt x="395" y="16"/>
                  </a:lnTo>
                  <a:lnTo>
                    <a:pt x="411" y="26"/>
                  </a:lnTo>
                  <a:lnTo>
                    <a:pt x="504" y="42"/>
                  </a:lnTo>
                  <a:lnTo>
                    <a:pt x="482" y="70"/>
                  </a:lnTo>
                  <a:lnTo>
                    <a:pt x="482" y="75"/>
                  </a:lnTo>
                  <a:lnTo>
                    <a:pt x="497" y="75"/>
                  </a:lnTo>
                  <a:lnTo>
                    <a:pt x="487" y="92"/>
                  </a:lnTo>
                  <a:lnTo>
                    <a:pt x="497" y="92"/>
                  </a:lnTo>
                  <a:lnTo>
                    <a:pt x="497" y="111"/>
                  </a:lnTo>
                  <a:lnTo>
                    <a:pt x="520" y="127"/>
                  </a:lnTo>
                  <a:lnTo>
                    <a:pt x="504" y="132"/>
                  </a:lnTo>
                  <a:lnTo>
                    <a:pt x="504" y="132"/>
                  </a:lnTo>
                  <a:lnTo>
                    <a:pt x="497" y="115"/>
                  </a:lnTo>
                  <a:lnTo>
                    <a:pt x="482" y="127"/>
                  </a:lnTo>
                  <a:lnTo>
                    <a:pt x="482" y="115"/>
                  </a:lnTo>
                  <a:lnTo>
                    <a:pt x="466" y="115"/>
                  </a:lnTo>
                  <a:lnTo>
                    <a:pt x="459" y="127"/>
                  </a:lnTo>
                  <a:lnTo>
                    <a:pt x="459" y="127"/>
                  </a:lnTo>
                  <a:lnTo>
                    <a:pt x="411" y="148"/>
                  </a:lnTo>
                  <a:lnTo>
                    <a:pt x="421" y="132"/>
                  </a:lnTo>
                  <a:lnTo>
                    <a:pt x="407" y="137"/>
                  </a:lnTo>
                  <a:lnTo>
                    <a:pt x="395" y="165"/>
                  </a:lnTo>
                  <a:lnTo>
                    <a:pt x="421" y="186"/>
                  </a:lnTo>
                  <a:lnTo>
                    <a:pt x="411" y="203"/>
                  </a:lnTo>
                  <a:lnTo>
                    <a:pt x="411" y="193"/>
                  </a:lnTo>
                  <a:lnTo>
                    <a:pt x="411" y="203"/>
                  </a:lnTo>
                  <a:lnTo>
                    <a:pt x="407" y="193"/>
                  </a:lnTo>
                  <a:lnTo>
                    <a:pt x="395" y="210"/>
                  </a:lnTo>
                  <a:lnTo>
                    <a:pt x="407" y="248"/>
                  </a:lnTo>
                  <a:lnTo>
                    <a:pt x="428" y="276"/>
                  </a:lnTo>
                  <a:lnTo>
                    <a:pt x="497" y="314"/>
                  </a:lnTo>
                  <a:lnTo>
                    <a:pt x="520" y="392"/>
                  </a:lnTo>
                  <a:lnTo>
                    <a:pt x="572" y="441"/>
                  </a:lnTo>
                  <a:lnTo>
                    <a:pt x="605" y="458"/>
                  </a:lnTo>
                  <a:lnTo>
                    <a:pt x="676" y="458"/>
                  </a:lnTo>
                  <a:lnTo>
                    <a:pt x="676" y="463"/>
                  </a:lnTo>
                  <a:lnTo>
                    <a:pt x="660" y="479"/>
                  </a:lnTo>
                  <a:lnTo>
                    <a:pt x="660" y="496"/>
                  </a:lnTo>
                  <a:lnTo>
                    <a:pt x="806" y="569"/>
                  </a:lnTo>
                  <a:lnTo>
                    <a:pt x="837" y="607"/>
                  </a:lnTo>
                  <a:lnTo>
                    <a:pt x="827" y="640"/>
                  </a:lnTo>
                  <a:lnTo>
                    <a:pt x="806" y="623"/>
                  </a:lnTo>
                  <a:lnTo>
                    <a:pt x="789" y="590"/>
                  </a:lnTo>
                  <a:lnTo>
                    <a:pt x="747" y="585"/>
                  </a:lnTo>
                  <a:lnTo>
                    <a:pt x="752" y="574"/>
                  </a:lnTo>
                  <a:lnTo>
                    <a:pt x="730" y="585"/>
                  </a:lnTo>
                  <a:lnTo>
                    <a:pt x="702" y="611"/>
                  </a:lnTo>
                  <a:lnTo>
                    <a:pt x="697" y="640"/>
                  </a:lnTo>
                  <a:lnTo>
                    <a:pt x="697" y="647"/>
                  </a:lnTo>
                  <a:lnTo>
                    <a:pt x="747" y="668"/>
                  </a:lnTo>
                  <a:lnTo>
                    <a:pt x="747" y="701"/>
                  </a:lnTo>
                  <a:lnTo>
                    <a:pt x="702" y="718"/>
                  </a:lnTo>
                  <a:lnTo>
                    <a:pt x="697" y="722"/>
                  </a:lnTo>
                  <a:lnTo>
                    <a:pt x="702" y="751"/>
                  </a:lnTo>
                  <a:lnTo>
                    <a:pt x="676" y="772"/>
                  </a:lnTo>
                  <a:lnTo>
                    <a:pt x="664" y="789"/>
                  </a:lnTo>
                  <a:lnTo>
                    <a:pt x="643" y="796"/>
                  </a:lnTo>
                  <a:lnTo>
                    <a:pt x="638" y="789"/>
                  </a:lnTo>
                  <a:lnTo>
                    <a:pt x="638" y="763"/>
                  </a:lnTo>
                  <a:lnTo>
                    <a:pt x="648" y="763"/>
                  </a:lnTo>
                  <a:lnTo>
                    <a:pt x="660" y="739"/>
                  </a:lnTo>
                  <a:lnTo>
                    <a:pt x="648" y="734"/>
                  </a:lnTo>
                  <a:lnTo>
                    <a:pt x="676" y="722"/>
                  </a:lnTo>
                  <a:lnTo>
                    <a:pt x="676" y="706"/>
                  </a:lnTo>
                  <a:lnTo>
                    <a:pt x="664" y="701"/>
                  </a:lnTo>
                  <a:lnTo>
                    <a:pt x="664" y="668"/>
                  </a:lnTo>
                  <a:lnTo>
                    <a:pt x="638" y="611"/>
                  </a:lnTo>
                  <a:lnTo>
                    <a:pt x="626" y="611"/>
                  </a:lnTo>
                  <a:lnTo>
                    <a:pt x="622" y="611"/>
                  </a:lnTo>
                  <a:lnTo>
                    <a:pt x="589" y="595"/>
                  </a:lnTo>
                  <a:lnTo>
                    <a:pt x="589" y="585"/>
                  </a:lnTo>
                  <a:lnTo>
                    <a:pt x="572" y="557"/>
                  </a:lnTo>
                  <a:lnTo>
                    <a:pt x="541" y="569"/>
                  </a:lnTo>
                  <a:lnTo>
                    <a:pt x="551" y="552"/>
                  </a:lnTo>
                  <a:lnTo>
                    <a:pt x="541" y="541"/>
                  </a:lnTo>
                  <a:lnTo>
                    <a:pt x="530" y="552"/>
                  </a:lnTo>
                  <a:lnTo>
                    <a:pt x="504" y="512"/>
                  </a:lnTo>
                  <a:lnTo>
                    <a:pt x="449" y="512"/>
                  </a:lnTo>
                  <a:lnTo>
                    <a:pt x="445" y="496"/>
                  </a:lnTo>
                  <a:lnTo>
                    <a:pt x="421" y="486"/>
                  </a:lnTo>
                  <a:lnTo>
                    <a:pt x="390" y="458"/>
                  </a:lnTo>
                  <a:lnTo>
                    <a:pt x="374" y="441"/>
                  </a:lnTo>
                  <a:lnTo>
                    <a:pt x="357" y="425"/>
                  </a:lnTo>
                  <a:lnTo>
                    <a:pt x="336" y="408"/>
                  </a:lnTo>
                  <a:lnTo>
                    <a:pt x="319" y="413"/>
                  </a:lnTo>
                  <a:lnTo>
                    <a:pt x="319" y="404"/>
                  </a:lnTo>
                  <a:lnTo>
                    <a:pt x="282" y="352"/>
                  </a:lnTo>
                  <a:lnTo>
                    <a:pt x="282" y="335"/>
                  </a:lnTo>
                  <a:lnTo>
                    <a:pt x="265" y="318"/>
                  </a:lnTo>
                  <a:lnTo>
                    <a:pt x="260" y="292"/>
                  </a:lnTo>
                  <a:lnTo>
                    <a:pt x="248" y="276"/>
                  </a:lnTo>
                  <a:lnTo>
                    <a:pt x="189" y="243"/>
                  </a:lnTo>
                  <a:lnTo>
                    <a:pt x="156" y="236"/>
                  </a:lnTo>
                  <a:lnTo>
                    <a:pt x="135" y="248"/>
                  </a:lnTo>
                  <a:lnTo>
                    <a:pt x="104" y="281"/>
                  </a:lnTo>
                  <a:lnTo>
                    <a:pt x="67" y="292"/>
                  </a:lnTo>
                  <a:lnTo>
                    <a:pt x="67" y="292"/>
                  </a:lnTo>
                  <a:lnTo>
                    <a:pt x="67" y="292"/>
                  </a:lnTo>
                  <a:close/>
                  <a:moveTo>
                    <a:pt x="411" y="276"/>
                  </a:moveTo>
                  <a:lnTo>
                    <a:pt x="411" y="281"/>
                  </a:lnTo>
                  <a:lnTo>
                    <a:pt x="421" y="276"/>
                  </a:lnTo>
                  <a:lnTo>
                    <a:pt x="411" y="276"/>
                  </a:lnTo>
                  <a:lnTo>
                    <a:pt x="411" y="276"/>
                  </a:lnTo>
                  <a:lnTo>
                    <a:pt x="411" y="276"/>
                  </a:lnTo>
                  <a:close/>
                  <a:moveTo>
                    <a:pt x="270" y="387"/>
                  </a:moveTo>
                  <a:lnTo>
                    <a:pt x="248" y="375"/>
                  </a:lnTo>
                  <a:lnTo>
                    <a:pt x="270" y="370"/>
                  </a:lnTo>
                  <a:lnTo>
                    <a:pt x="270" y="387"/>
                  </a:lnTo>
                  <a:lnTo>
                    <a:pt x="270" y="387"/>
                  </a:lnTo>
                  <a:lnTo>
                    <a:pt x="270" y="387"/>
                  </a:lnTo>
                  <a:close/>
                  <a:moveTo>
                    <a:pt x="109" y="569"/>
                  </a:moveTo>
                  <a:lnTo>
                    <a:pt x="119" y="536"/>
                  </a:lnTo>
                  <a:lnTo>
                    <a:pt x="126" y="541"/>
                  </a:lnTo>
                  <a:lnTo>
                    <a:pt x="142" y="541"/>
                  </a:lnTo>
                  <a:lnTo>
                    <a:pt x="189" y="512"/>
                  </a:lnTo>
                  <a:lnTo>
                    <a:pt x="211" y="519"/>
                  </a:lnTo>
                  <a:lnTo>
                    <a:pt x="218" y="536"/>
                  </a:lnTo>
                  <a:lnTo>
                    <a:pt x="206" y="541"/>
                  </a:lnTo>
                  <a:lnTo>
                    <a:pt x="211" y="541"/>
                  </a:lnTo>
                  <a:lnTo>
                    <a:pt x="227" y="574"/>
                  </a:lnTo>
                  <a:lnTo>
                    <a:pt x="211" y="595"/>
                  </a:lnTo>
                  <a:lnTo>
                    <a:pt x="218" y="611"/>
                  </a:lnTo>
                  <a:lnTo>
                    <a:pt x="211" y="696"/>
                  </a:lnTo>
                  <a:lnTo>
                    <a:pt x="173" y="680"/>
                  </a:lnTo>
                  <a:lnTo>
                    <a:pt x="173" y="701"/>
                  </a:lnTo>
                  <a:lnTo>
                    <a:pt x="163" y="706"/>
                  </a:lnTo>
                  <a:lnTo>
                    <a:pt x="152" y="706"/>
                  </a:lnTo>
                  <a:lnTo>
                    <a:pt x="135" y="696"/>
                  </a:lnTo>
                  <a:lnTo>
                    <a:pt x="126" y="706"/>
                  </a:lnTo>
                  <a:lnTo>
                    <a:pt x="126" y="696"/>
                  </a:lnTo>
                  <a:lnTo>
                    <a:pt x="135" y="696"/>
                  </a:lnTo>
                  <a:lnTo>
                    <a:pt x="126" y="668"/>
                  </a:lnTo>
                  <a:lnTo>
                    <a:pt x="135" y="640"/>
                  </a:lnTo>
                  <a:lnTo>
                    <a:pt x="135" y="640"/>
                  </a:lnTo>
                  <a:lnTo>
                    <a:pt x="142" y="630"/>
                  </a:lnTo>
                  <a:lnTo>
                    <a:pt x="126" y="630"/>
                  </a:lnTo>
                  <a:lnTo>
                    <a:pt x="135" y="590"/>
                  </a:lnTo>
                  <a:lnTo>
                    <a:pt x="119" y="569"/>
                  </a:lnTo>
                  <a:lnTo>
                    <a:pt x="109" y="569"/>
                  </a:lnTo>
                  <a:lnTo>
                    <a:pt x="109" y="569"/>
                  </a:lnTo>
                  <a:lnTo>
                    <a:pt x="109" y="569"/>
                  </a:lnTo>
                  <a:lnTo>
                    <a:pt x="109" y="569"/>
                  </a:lnTo>
                  <a:close/>
                  <a:moveTo>
                    <a:pt x="513" y="557"/>
                  </a:moveTo>
                  <a:lnTo>
                    <a:pt x="513" y="552"/>
                  </a:lnTo>
                  <a:lnTo>
                    <a:pt x="520" y="557"/>
                  </a:lnTo>
                  <a:lnTo>
                    <a:pt x="513" y="557"/>
                  </a:lnTo>
                  <a:lnTo>
                    <a:pt x="513" y="557"/>
                  </a:lnTo>
                  <a:lnTo>
                    <a:pt x="513" y="557"/>
                  </a:lnTo>
                  <a:close/>
                  <a:moveTo>
                    <a:pt x="119" y="696"/>
                  </a:moveTo>
                  <a:lnTo>
                    <a:pt x="119" y="685"/>
                  </a:lnTo>
                  <a:lnTo>
                    <a:pt x="119" y="685"/>
                  </a:lnTo>
                  <a:lnTo>
                    <a:pt x="119" y="696"/>
                  </a:lnTo>
                  <a:lnTo>
                    <a:pt x="119" y="696"/>
                  </a:lnTo>
                  <a:lnTo>
                    <a:pt x="119" y="696"/>
                  </a:lnTo>
                  <a:close/>
                  <a:moveTo>
                    <a:pt x="411" y="805"/>
                  </a:moveTo>
                  <a:lnTo>
                    <a:pt x="421" y="789"/>
                  </a:lnTo>
                  <a:lnTo>
                    <a:pt x="433" y="772"/>
                  </a:lnTo>
                  <a:lnTo>
                    <a:pt x="445" y="779"/>
                  </a:lnTo>
                  <a:lnTo>
                    <a:pt x="459" y="779"/>
                  </a:lnTo>
                  <a:lnTo>
                    <a:pt x="459" y="772"/>
                  </a:lnTo>
                  <a:lnTo>
                    <a:pt x="475" y="763"/>
                  </a:lnTo>
                  <a:lnTo>
                    <a:pt x="482" y="779"/>
                  </a:lnTo>
                  <a:lnTo>
                    <a:pt x="504" y="789"/>
                  </a:lnTo>
                  <a:lnTo>
                    <a:pt x="558" y="779"/>
                  </a:lnTo>
                  <a:lnTo>
                    <a:pt x="584" y="772"/>
                  </a:lnTo>
                  <a:lnTo>
                    <a:pt x="596" y="772"/>
                  </a:lnTo>
                  <a:lnTo>
                    <a:pt x="626" y="763"/>
                  </a:lnTo>
                  <a:lnTo>
                    <a:pt x="638" y="763"/>
                  </a:lnTo>
                  <a:lnTo>
                    <a:pt x="605" y="805"/>
                  </a:lnTo>
                  <a:lnTo>
                    <a:pt x="596" y="829"/>
                  </a:lnTo>
                  <a:lnTo>
                    <a:pt x="610" y="866"/>
                  </a:lnTo>
                  <a:lnTo>
                    <a:pt x="605" y="871"/>
                  </a:lnTo>
                  <a:lnTo>
                    <a:pt x="596" y="900"/>
                  </a:lnTo>
                  <a:lnTo>
                    <a:pt x="558" y="890"/>
                  </a:lnTo>
                  <a:lnTo>
                    <a:pt x="534" y="866"/>
                  </a:lnTo>
                  <a:lnTo>
                    <a:pt x="513" y="862"/>
                  </a:lnTo>
                  <a:lnTo>
                    <a:pt x="466" y="829"/>
                  </a:lnTo>
                  <a:lnTo>
                    <a:pt x="428" y="817"/>
                  </a:lnTo>
                  <a:lnTo>
                    <a:pt x="411" y="805"/>
                  </a:lnTo>
                  <a:lnTo>
                    <a:pt x="411" y="805"/>
                  </a:lnTo>
                  <a:lnTo>
                    <a:pt x="411" y="805"/>
                  </a:lnTo>
                  <a:close/>
                  <a:moveTo>
                    <a:pt x="378" y="890"/>
                  </a:moveTo>
                  <a:lnTo>
                    <a:pt x="378" y="883"/>
                  </a:lnTo>
                  <a:lnTo>
                    <a:pt x="390" y="883"/>
                  </a:lnTo>
                  <a:lnTo>
                    <a:pt x="378" y="890"/>
                  </a:lnTo>
                  <a:lnTo>
                    <a:pt x="378" y="890"/>
                  </a:lnTo>
                  <a:lnTo>
                    <a:pt x="378" y="89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 name="Freeform 376">
              <a:extLst>
                <a:ext uri="{FF2B5EF4-FFF2-40B4-BE49-F238E27FC236}">
                  <a16:creationId xmlns:a16="http://schemas.microsoft.com/office/drawing/2014/main" id="{117D3146-2DA5-468C-9E73-99E9A3BAD52F}"/>
                </a:ext>
              </a:extLst>
            </p:cNvPr>
            <p:cNvSpPr>
              <a:spLocks/>
            </p:cNvSpPr>
            <p:nvPr/>
          </p:nvSpPr>
          <p:spPr bwMode="gray">
            <a:xfrm>
              <a:off x="17600702" y="4818094"/>
              <a:ext cx="982" cy="1637"/>
            </a:xfrm>
            <a:custGeom>
              <a:avLst/>
              <a:gdLst>
                <a:gd name="T0" fmla="*/ 0 w 3"/>
                <a:gd name="T1" fmla="*/ 0 h 5"/>
                <a:gd name="T2" fmla="*/ 3 w 3"/>
                <a:gd name="T3" fmla="*/ 0 h 5"/>
                <a:gd name="T4" fmla="*/ 3 w 3"/>
                <a:gd name="T5" fmla="*/ 5 h 5"/>
                <a:gd name="T6" fmla="*/ 0 w 3"/>
                <a:gd name="T7" fmla="*/ 5 h 5"/>
                <a:gd name="T8" fmla="*/ 0 w 3"/>
                <a:gd name="T9" fmla="*/ 0 h 5"/>
                <a:gd name="T10" fmla="*/ 0 w 3"/>
                <a:gd name="T11" fmla="*/ 0 h 5"/>
              </a:gdLst>
              <a:ahLst/>
              <a:cxnLst>
                <a:cxn ang="0">
                  <a:pos x="T0" y="T1"/>
                </a:cxn>
                <a:cxn ang="0">
                  <a:pos x="T2" y="T3"/>
                </a:cxn>
                <a:cxn ang="0">
                  <a:pos x="T4" y="T5"/>
                </a:cxn>
                <a:cxn ang="0">
                  <a:pos x="T6" y="T7"/>
                </a:cxn>
                <a:cxn ang="0">
                  <a:pos x="T8" y="T9"/>
                </a:cxn>
                <a:cxn ang="0">
                  <a:pos x="T10" y="T11"/>
                </a:cxn>
              </a:cxnLst>
              <a:rect l="0" t="0" r="r" b="b"/>
              <a:pathLst>
                <a:path w="3" h="5">
                  <a:moveTo>
                    <a:pt x="0" y="0"/>
                  </a:moveTo>
                  <a:lnTo>
                    <a:pt x="3" y="0"/>
                  </a:lnTo>
                  <a:lnTo>
                    <a:pt x="3" y="5"/>
                  </a:lnTo>
                  <a:lnTo>
                    <a:pt x="0" y="5"/>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 name="Freeform 377">
              <a:extLst>
                <a:ext uri="{FF2B5EF4-FFF2-40B4-BE49-F238E27FC236}">
                  <a16:creationId xmlns:a16="http://schemas.microsoft.com/office/drawing/2014/main" id="{F115FF59-DD18-4C7F-81F0-0B334BD097B2}"/>
                </a:ext>
              </a:extLst>
            </p:cNvPr>
            <p:cNvSpPr>
              <a:spLocks/>
            </p:cNvSpPr>
            <p:nvPr/>
          </p:nvSpPr>
          <p:spPr bwMode="gray">
            <a:xfrm>
              <a:off x="12133866" y="3815257"/>
              <a:ext cx="5564" cy="5564"/>
            </a:xfrm>
            <a:custGeom>
              <a:avLst/>
              <a:gdLst>
                <a:gd name="T0" fmla="*/ 17 w 17"/>
                <a:gd name="T1" fmla="*/ 17 h 17"/>
                <a:gd name="T2" fmla="*/ 0 w 17"/>
                <a:gd name="T3" fmla="*/ 7 h 17"/>
                <a:gd name="T4" fmla="*/ 0 w 17"/>
                <a:gd name="T5" fmla="*/ 0 h 17"/>
                <a:gd name="T6" fmla="*/ 17 w 17"/>
                <a:gd name="T7" fmla="*/ 17 h 17"/>
                <a:gd name="T8" fmla="*/ 17 w 17"/>
                <a:gd name="T9" fmla="*/ 17 h 17"/>
                <a:gd name="T10" fmla="*/ 17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17" y="17"/>
                  </a:moveTo>
                  <a:lnTo>
                    <a:pt x="0" y="7"/>
                  </a:lnTo>
                  <a:lnTo>
                    <a:pt x="0" y="0"/>
                  </a:lnTo>
                  <a:lnTo>
                    <a:pt x="17" y="17"/>
                  </a:lnTo>
                  <a:lnTo>
                    <a:pt x="17" y="17"/>
                  </a:lnTo>
                  <a:lnTo>
                    <a:pt x="17" y="1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 name="Freeform 378">
              <a:extLst>
                <a:ext uri="{FF2B5EF4-FFF2-40B4-BE49-F238E27FC236}">
                  <a16:creationId xmlns:a16="http://schemas.microsoft.com/office/drawing/2014/main" id="{D3B85AE9-2B73-41DF-BEE6-CE8965A39FFC}"/>
                </a:ext>
              </a:extLst>
            </p:cNvPr>
            <p:cNvSpPr>
              <a:spLocks noEditPoints="1"/>
            </p:cNvSpPr>
            <p:nvPr/>
          </p:nvSpPr>
          <p:spPr bwMode="gray">
            <a:xfrm>
              <a:off x="12322716" y="3693175"/>
              <a:ext cx="5237" cy="18656"/>
            </a:xfrm>
            <a:custGeom>
              <a:avLst/>
              <a:gdLst>
                <a:gd name="T0" fmla="*/ 16 w 16"/>
                <a:gd name="T1" fmla="*/ 12 h 57"/>
                <a:gd name="T2" fmla="*/ 9 w 16"/>
                <a:gd name="T3" fmla="*/ 5 h 57"/>
                <a:gd name="T4" fmla="*/ 9 w 16"/>
                <a:gd name="T5" fmla="*/ 0 h 57"/>
                <a:gd name="T6" fmla="*/ 16 w 16"/>
                <a:gd name="T7" fmla="*/ 5 h 57"/>
                <a:gd name="T8" fmla="*/ 16 w 16"/>
                <a:gd name="T9" fmla="*/ 12 h 57"/>
                <a:gd name="T10" fmla="*/ 16 w 16"/>
                <a:gd name="T11" fmla="*/ 12 h 57"/>
                <a:gd name="T12" fmla="*/ 16 w 16"/>
                <a:gd name="T13" fmla="*/ 12 h 57"/>
                <a:gd name="T14" fmla="*/ 16 w 16"/>
                <a:gd name="T15" fmla="*/ 57 h 57"/>
                <a:gd name="T16" fmla="*/ 0 w 16"/>
                <a:gd name="T17" fmla="*/ 45 h 57"/>
                <a:gd name="T18" fmla="*/ 9 w 16"/>
                <a:gd name="T19" fmla="*/ 40 h 57"/>
                <a:gd name="T20" fmla="*/ 16 w 16"/>
                <a:gd name="T21" fmla="*/ 45 h 57"/>
                <a:gd name="T22" fmla="*/ 16 w 16"/>
                <a:gd name="T23" fmla="*/ 57 h 57"/>
                <a:gd name="T24" fmla="*/ 16 w 16"/>
                <a:gd name="T25" fmla="*/ 57 h 57"/>
                <a:gd name="T26" fmla="*/ 16 w 16"/>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57">
                  <a:moveTo>
                    <a:pt x="16" y="12"/>
                  </a:moveTo>
                  <a:lnTo>
                    <a:pt x="9" y="5"/>
                  </a:lnTo>
                  <a:lnTo>
                    <a:pt x="9" y="0"/>
                  </a:lnTo>
                  <a:lnTo>
                    <a:pt x="16" y="5"/>
                  </a:lnTo>
                  <a:lnTo>
                    <a:pt x="16" y="12"/>
                  </a:lnTo>
                  <a:lnTo>
                    <a:pt x="16" y="12"/>
                  </a:lnTo>
                  <a:lnTo>
                    <a:pt x="16" y="12"/>
                  </a:lnTo>
                  <a:close/>
                  <a:moveTo>
                    <a:pt x="16" y="57"/>
                  </a:moveTo>
                  <a:lnTo>
                    <a:pt x="0" y="45"/>
                  </a:lnTo>
                  <a:lnTo>
                    <a:pt x="9" y="40"/>
                  </a:lnTo>
                  <a:lnTo>
                    <a:pt x="16" y="45"/>
                  </a:lnTo>
                  <a:lnTo>
                    <a:pt x="16" y="57"/>
                  </a:lnTo>
                  <a:lnTo>
                    <a:pt x="16" y="57"/>
                  </a:lnTo>
                  <a:lnTo>
                    <a:pt x="16" y="5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 name="Freeform 379">
              <a:extLst>
                <a:ext uri="{FF2B5EF4-FFF2-40B4-BE49-F238E27FC236}">
                  <a16:creationId xmlns:a16="http://schemas.microsoft.com/office/drawing/2014/main" id="{14CF8D5B-8710-4A05-A4E4-B1A566234784}"/>
                </a:ext>
              </a:extLst>
            </p:cNvPr>
            <p:cNvSpPr>
              <a:spLocks/>
            </p:cNvSpPr>
            <p:nvPr/>
          </p:nvSpPr>
          <p:spPr bwMode="gray">
            <a:xfrm>
              <a:off x="15133867" y="3161318"/>
              <a:ext cx="329915" cy="237945"/>
            </a:xfrm>
            <a:custGeom>
              <a:avLst/>
              <a:gdLst>
                <a:gd name="T0" fmla="*/ 75 w 1008"/>
                <a:gd name="T1" fmla="*/ 243 h 727"/>
                <a:gd name="T2" fmla="*/ 137 w 1008"/>
                <a:gd name="T3" fmla="*/ 260 h 727"/>
                <a:gd name="T4" fmla="*/ 184 w 1008"/>
                <a:gd name="T5" fmla="*/ 234 h 727"/>
                <a:gd name="T6" fmla="*/ 243 w 1008"/>
                <a:gd name="T7" fmla="*/ 193 h 727"/>
                <a:gd name="T8" fmla="*/ 297 w 1008"/>
                <a:gd name="T9" fmla="*/ 111 h 727"/>
                <a:gd name="T10" fmla="*/ 361 w 1008"/>
                <a:gd name="T11" fmla="*/ 78 h 727"/>
                <a:gd name="T12" fmla="*/ 453 w 1008"/>
                <a:gd name="T13" fmla="*/ 82 h 727"/>
                <a:gd name="T14" fmla="*/ 508 w 1008"/>
                <a:gd name="T15" fmla="*/ 99 h 727"/>
                <a:gd name="T16" fmla="*/ 583 w 1008"/>
                <a:gd name="T17" fmla="*/ 94 h 727"/>
                <a:gd name="T18" fmla="*/ 621 w 1008"/>
                <a:gd name="T19" fmla="*/ 82 h 727"/>
                <a:gd name="T20" fmla="*/ 675 w 1008"/>
                <a:gd name="T21" fmla="*/ 78 h 727"/>
                <a:gd name="T22" fmla="*/ 718 w 1008"/>
                <a:gd name="T23" fmla="*/ 0 h 727"/>
                <a:gd name="T24" fmla="*/ 756 w 1008"/>
                <a:gd name="T25" fmla="*/ 42 h 727"/>
                <a:gd name="T26" fmla="*/ 777 w 1008"/>
                <a:gd name="T27" fmla="*/ 139 h 727"/>
                <a:gd name="T28" fmla="*/ 826 w 1008"/>
                <a:gd name="T29" fmla="*/ 115 h 727"/>
                <a:gd name="T30" fmla="*/ 890 w 1008"/>
                <a:gd name="T31" fmla="*/ 78 h 727"/>
                <a:gd name="T32" fmla="*/ 919 w 1008"/>
                <a:gd name="T33" fmla="*/ 94 h 727"/>
                <a:gd name="T34" fmla="*/ 994 w 1008"/>
                <a:gd name="T35" fmla="*/ 82 h 727"/>
                <a:gd name="T36" fmla="*/ 999 w 1008"/>
                <a:gd name="T37" fmla="*/ 94 h 727"/>
                <a:gd name="T38" fmla="*/ 987 w 1008"/>
                <a:gd name="T39" fmla="*/ 120 h 727"/>
                <a:gd name="T40" fmla="*/ 923 w 1008"/>
                <a:gd name="T41" fmla="*/ 120 h 727"/>
                <a:gd name="T42" fmla="*/ 784 w 1008"/>
                <a:gd name="T43" fmla="*/ 165 h 727"/>
                <a:gd name="T44" fmla="*/ 756 w 1008"/>
                <a:gd name="T45" fmla="*/ 189 h 727"/>
                <a:gd name="T46" fmla="*/ 777 w 1008"/>
                <a:gd name="T47" fmla="*/ 250 h 727"/>
                <a:gd name="T48" fmla="*/ 772 w 1008"/>
                <a:gd name="T49" fmla="*/ 283 h 727"/>
                <a:gd name="T50" fmla="*/ 730 w 1008"/>
                <a:gd name="T51" fmla="*/ 321 h 727"/>
                <a:gd name="T52" fmla="*/ 701 w 1008"/>
                <a:gd name="T53" fmla="*/ 373 h 727"/>
                <a:gd name="T54" fmla="*/ 663 w 1008"/>
                <a:gd name="T55" fmla="*/ 390 h 727"/>
                <a:gd name="T56" fmla="*/ 685 w 1008"/>
                <a:gd name="T57" fmla="*/ 415 h 727"/>
                <a:gd name="T58" fmla="*/ 633 w 1008"/>
                <a:gd name="T59" fmla="*/ 456 h 727"/>
                <a:gd name="T60" fmla="*/ 616 w 1008"/>
                <a:gd name="T61" fmla="*/ 489 h 727"/>
                <a:gd name="T62" fmla="*/ 583 w 1008"/>
                <a:gd name="T63" fmla="*/ 562 h 727"/>
                <a:gd name="T64" fmla="*/ 562 w 1008"/>
                <a:gd name="T65" fmla="*/ 545 h 727"/>
                <a:gd name="T66" fmla="*/ 491 w 1008"/>
                <a:gd name="T67" fmla="*/ 562 h 727"/>
                <a:gd name="T68" fmla="*/ 453 w 1008"/>
                <a:gd name="T69" fmla="*/ 578 h 727"/>
                <a:gd name="T70" fmla="*/ 415 w 1008"/>
                <a:gd name="T71" fmla="*/ 612 h 727"/>
                <a:gd name="T72" fmla="*/ 399 w 1008"/>
                <a:gd name="T73" fmla="*/ 678 h 727"/>
                <a:gd name="T74" fmla="*/ 314 w 1008"/>
                <a:gd name="T75" fmla="*/ 723 h 727"/>
                <a:gd name="T76" fmla="*/ 217 w 1008"/>
                <a:gd name="T77" fmla="*/ 723 h 727"/>
                <a:gd name="T78" fmla="*/ 23 w 1008"/>
                <a:gd name="T79" fmla="*/ 694 h 727"/>
                <a:gd name="T80" fmla="*/ 82 w 1008"/>
                <a:gd name="T81" fmla="*/ 578 h 727"/>
                <a:gd name="T82" fmla="*/ 23 w 1008"/>
                <a:gd name="T83" fmla="*/ 505 h 727"/>
                <a:gd name="T84" fmla="*/ 0 w 1008"/>
                <a:gd name="T85" fmla="*/ 394 h 727"/>
                <a:gd name="T86" fmla="*/ 23 w 1008"/>
                <a:gd name="T87" fmla="*/ 338 h 727"/>
                <a:gd name="T88" fmla="*/ 37 w 1008"/>
                <a:gd name="T89" fmla="*/ 300 h 727"/>
                <a:gd name="T90" fmla="*/ 54 w 1008"/>
                <a:gd name="T91" fmla="*/ 23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08" h="727">
                  <a:moveTo>
                    <a:pt x="54" y="234"/>
                  </a:moveTo>
                  <a:lnTo>
                    <a:pt x="61" y="227"/>
                  </a:lnTo>
                  <a:lnTo>
                    <a:pt x="75" y="243"/>
                  </a:lnTo>
                  <a:lnTo>
                    <a:pt x="108" y="243"/>
                  </a:lnTo>
                  <a:lnTo>
                    <a:pt x="120" y="267"/>
                  </a:lnTo>
                  <a:lnTo>
                    <a:pt x="137" y="260"/>
                  </a:lnTo>
                  <a:lnTo>
                    <a:pt x="151" y="260"/>
                  </a:lnTo>
                  <a:lnTo>
                    <a:pt x="184" y="243"/>
                  </a:lnTo>
                  <a:lnTo>
                    <a:pt x="184" y="234"/>
                  </a:lnTo>
                  <a:lnTo>
                    <a:pt x="184" y="227"/>
                  </a:lnTo>
                  <a:lnTo>
                    <a:pt x="184" y="210"/>
                  </a:lnTo>
                  <a:lnTo>
                    <a:pt x="243" y="193"/>
                  </a:lnTo>
                  <a:lnTo>
                    <a:pt x="276" y="177"/>
                  </a:lnTo>
                  <a:lnTo>
                    <a:pt x="297" y="120"/>
                  </a:lnTo>
                  <a:lnTo>
                    <a:pt x="297" y="111"/>
                  </a:lnTo>
                  <a:lnTo>
                    <a:pt x="323" y="99"/>
                  </a:lnTo>
                  <a:lnTo>
                    <a:pt x="352" y="99"/>
                  </a:lnTo>
                  <a:lnTo>
                    <a:pt x="361" y="78"/>
                  </a:lnTo>
                  <a:lnTo>
                    <a:pt x="406" y="94"/>
                  </a:lnTo>
                  <a:lnTo>
                    <a:pt x="422" y="82"/>
                  </a:lnTo>
                  <a:lnTo>
                    <a:pt x="453" y="82"/>
                  </a:lnTo>
                  <a:lnTo>
                    <a:pt x="470" y="99"/>
                  </a:lnTo>
                  <a:lnTo>
                    <a:pt x="491" y="94"/>
                  </a:lnTo>
                  <a:lnTo>
                    <a:pt x="508" y="99"/>
                  </a:lnTo>
                  <a:lnTo>
                    <a:pt x="508" y="111"/>
                  </a:lnTo>
                  <a:lnTo>
                    <a:pt x="529" y="120"/>
                  </a:lnTo>
                  <a:lnTo>
                    <a:pt x="583" y="94"/>
                  </a:lnTo>
                  <a:lnTo>
                    <a:pt x="616" y="111"/>
                  </a:lnTo>
                  <a:lnTo>
                    <a:pt x="621" y="99"/>
                  </a:lnTo>
                  <a:lnTo>
                    <a:pt x="621" y="82"/>
                  </a:lnTo>
                  <a:lnTo>
                    <a:pt x="633" y="66"/>
                  </a:lnTo>
                  <a:lnTo>
                    <a:pt x="654" y="66"/>
                  </a:lnTo>
                  <a:lnTo>
                    <a:pt x="675" y="78"/>
                  </a:lnTo>
                  <a:lnTo>
                    <a:pt x="685" y="61"/>
                  </a:lnTo>
                  <a:lnTo>
                    <a:pt x="675" y="38"/>
                  </a:lnTo>
                  <a:lnTo>
                    <a:pt x="718" y="0"/>
                  </a:lnTo>
                  <a:lnTo>
                    <a:pt x="730" y="0"/>
                  </a:lnTo>
                  <a:lnTo>
                    <a:pt x="760" y="9"/>
                  </a:lnTo>
                  <a:lnTo>
                    <a:pt x="756" y="42"/>
                  </a:lnTo>
                  <a:lnTo>
                    <a:pt x="777" y="42"/>
                  </a:lnTo>
                  <a:lnTo>
                    <a:pt x="760" y="111"/>
                  </a:lnTo>
                  <a:lnTo>
                    <a:pt x="777" y="139"/>
                  </a:lnTo>
                  <a:lnTo>
                    <a:pt x="784" y="149"/>
                  </a:lnTo>
                  <a:lnTo>
                    <a:pt x="793" y="139"/>
                  </a:lnTo>
                  <a:lnTo>
                    <a:pt x="826" y="115"/>
                  </a:lnTo>
                  <a:lnTo>
                    <a:pt x="852" y="115"/>
                  </a:lnTo>
                  <a:lnTo>
                    <a:pt x="864" y="99"/>
                  </a:lnTo>
                  <a:lnTo>
                    <a:pt x="890" y="78"/>
                  </a:lnTo>
                  <a:lnTo>
                    <a:pt x="933" y="82"/>
                  </a:lnTo>
                  <a:lnTo>
                    <a:pt x="933" y="94"/>
                  </a:lnTo>
                  <a:lnTo>
                    <a:pt x="919" y="94"/>
                  </a:lnTo>
                  <a:lnTo>
                    <a:pt x="923" y="99"/>
                  </a:lnTo>
                  <a:lnTo>
                    <a:pt x="961" y="82"/>
                  </a:lnTo>
                  <a:lnTo>
                    <a:pt x="994" y="82"/>
                  </a:lnTo>
                  <a:lnTo>
                    <a:pt x="1008" y="99"/>
                  </a:lnTo>
                  <a:lnTo>
                    <a:pt x="999" y="99"/>
                  </a:lnTo>
                  <a:lnTo>
                    <a:pt x="999" y="94"/>
                  </a:lnTo>
                  <a:lnTo>
                    <a:pt x="971" y="99"/>
                  </a:lnTo>
                  <a:lnTo>
                    <a:pt x="987" y="115"/>
                  </a:lnTo>
                  <a:lnTo>
                    <a:pt x="987" y="120"/>
                  </a:lnTo>
                  <a:lnTo>
                    <a:pt x="978" y="115"/>
                  </a:lnTo>
                  <a:lnTo>
                    <a:pt x="945" y="132"/>
                  </a:lnTo>
                  <a:lnTo>
                    <a:pt x="923" y="120"/>
                  </a:lnTo>
                  <a:lnTo>
                    <a:pt x="848" y="132"/>
                  </a:lnTo>
                  <a:lnTo>
                    <a:pt x="815" y="139"/>
                  </a:lnTo>
                  <a:lnTo>
                    <a:pt x="784" y="165"/>
                  </a:lnTo>
                  <a:lnTo>
                    <a:pt x="777" y="165"/>
                  </a:lnTo>
                  <a:lnTo>
                    <a:pt x="777" y="172"/>
                  </a:lnTo>
                  <a:lnTo>
                    <a:pt x="756" y="189"/>
                  </a:lnTo>
                  <a:lnTo>
                    <a:pt x="746" y="193"/>
                  </a:lnTo>
                  <a:lnTo>
                    <a:pt x="772" y="210"/>
                  </a:lnTo>
                  <a:lnTo>
                    <a:pt x="777" y="250"/>
                  </a:lnTo>
                  <a:lnTo>
                    <a:pt x="772" y="260"/>
                  </a:lnTo>
                  <a:lnTo>
                    <a:pt x="777" y="267"/>
                  </a:lnTo>
                  <a:lnTo>
                    <a:pt x="772" y="283"/>
                  </a:lnTo>
                  <a:lnTo>
                    <a:pt x="739" y="304"/>
                  </a:lnTo>
                  <a:lnTo>
                    <a:pt x="739" y="316"/>
                  </a:lnTo>
                  <a:lnTo>
                    <a:pt x="730" y="321"/>
                  </a:lnTo>
                  <a:lnTo>
                    <a:pt x="746" y="338"/>
                  </a:lnTo>
                  <a:lnTo>
                    <a:pt x="739" y="361"/>
                  </a:lnTo>
                  <a:lnTo>
                    <a:pt x="701" y="373"/>
                  </a:lnTo>
                  <a:lnTo>
                    <a:pt x="654" y="361"/>
                  </a:lnTo>
                  <a:lnTo>
                    <a:pt x="663" y="378"/>
                  </a:lnTo>
                  <a:lnTo>
                    <a:pt x="663" y="390"/>
                  </a:lnTo>
                  <a:lnTo>
                    <a:pt x="675" y="390"/>
                  </a:lnTo>
                  <a:lnTo>
                    <a:pt x="675" y="399"/>
                  </a:lnTo>
                  <a:lnTo>
                    <a:pt x="685" y="415"/>
                  </a:lnTo>
                  <a:lnTo>
                    <a:pt x="671" y="434"/>
                  </a:lnTo>
                  <a:lnTo>
                    <a:pt x="633" y="444"/>
                  </a:lnTo>
                  <a:lnTo>
                    <a:pt x="633" y="456"/>
                  </a:lnTo>
                  <a:lnTo>
                    <a:pt x="621" y="467"/>
                  </a:lnTo>
                  <a:lnTo>
                    <a:pt x="621" y="472"/>
                  </a:lnTo>
                  <a:lnTo>
                    <a:pt x="616" y="489"/>
                  </a:lnTo>
                  <a:lnTo>
                    <a:pt x="616" y="529"/>
                  </a:lnTo>
                  <a:lnTo>
                    <a:pt x="600" y="555"/>
                  </a:lnTo>
                  <a:lnTo>
                    <a:pt x="583" y="562"/>
                  </a:lnTo>
                  <a:lnTo>
                    <a:pt x="562" y="538"/>
                  </a:lnTo>
                  <a:lnTo>
                    <a:pt x="557" y="545"/>
                  </a:lnTo>
                  <a:lnTo>
                    <a:pt x="562" y="545"/>
                  </a:lnTo>
                  <a:lnTo>
                    <a:pt x="541" y="538"/>
                  </a:lnTo>
                  <a:lnTo>
                    <a:pt x="524" y="555"/>
                  </a:lnTo>
                  <a:lnTo>
                    <a:pt x="491" y="562"/>
                  </a:lnTo>
                  <a:lnTo>
                    <a:pt x="508" y="578"/>
                  </a:lnTo>
                  <a:lnTo>
                    <a:pt x="474" y="583"/>
                  </a:lnTo>
                  <a:lnTo>
                    <a:pt x="453" y="578"/>
                  </a:lnTo>
                  <a:lnTo>
                    <a:pt x="437" y="583"/>
                  </a:lnTo>
                  <a:lnTo>
                    <a:pt x="422" y="612"/>
                  </a:lnTo>
                  <a:lnTo>
                    <a:pt x="415" y="612"/>
                  </a:lnTo>
                  <a:lnTo>
                    <a:pt x="406" y="640"/>
                  </a:lnTo>
                  <a:lnTo>
                    <a:pt x="406" y="668"/>
                  </a:lnTo>
                  <a:lnTo>
                    <a:pt x="399" y="678"/>
                  </a:lnTo>
                  <a:lnTo>
                    <a:pt x="406" y="689"/>
                  </a:lnTo>
                  <a:lnTo>
                    <a:pt x="399" y="694"/>
                  </a:lnTo>
                  <a:lnTo>
                    <a:pt x="314" y="723"/>
                  </a:lnTo>
                  <a:lnTo>
                    <a:pt x="271" y="723"/>
                  </a:lnTo>
                  <a:lnTo>
                    <a:pt x="243" y="727"/>
                  </a:lnTo>
                  <a:lnTo>
                    <a:pt x="217" y="723"/>
                  </a:lnTo>
                  <a:lnTo>
                    <a:pt x="189" y="727"/>
                  </a:lnTo>
                  <a:lnTo>
                    <a:pt x="137" y="727"/>
                  </a:lnTo>
                  <a:lnTo>
                    <a:pt x="23" y="694"/>
                  </a:lnTo>
                  <a:lnTo>
                    <a:pt x="82" y="623"/>
                  </a:lnTo>
                  <a:lnTo>
                    <a:pt x="92" y="600"/>
                  </a:lnTo>
                  <a:lnTo>
                    <a:pt x="82" y="578"/>
                  </a:lnTo>
                  <a:lnTo>
                    <a:pt x="23" y="567"/>
                  </a:lnTo>
                  <a:lnTo>
                    <a:pt x="23" y="529"/>
                  </a:lnTo>
                  <a:lnTo>
                    <a:pt x="23" y="505"/>
                  </a:lnTo>
                  <a:lnTo>
                    <a:pt x="7" y="434"/>
                  </a:lnTo>
                  <a:lnTo>
                    <a:pt x="28" y="399"/>
                  </a:lnTo>
                  <a:lnTo>
                    <a:pt x="0" y="394"/>
                  </a:lnTo>
                  <a:lnTo>
                    <a:pt x="0" y="354"/>
                  </a:lnTo>
                  <a:lnTo>
                    <a:pt x="7" y="338"/>
                  </a:lnTo>
                  <a:lnTo>
                    <a:pt x="23" y="338"/>
                  </a:lnTo>
                  <a:lnTo>
                    <a:pt x="11" y="321"/>
                  </a:lnTo>
                  <a:lnTo>
                    <a:pt x="28" y="316"/>
                  </a:lnTo>
                  <a:lnTo>
                    <a:pt x="37" y="300"/>
                  </a:lnTo>
                  <a:lnTo>
                    <a:pt x="37" y="260"/>
                  </a:lnTo>
                  <a:lnTo>
                    <a:pt x="54" y="234"/>
                  </a:lnTo>
                  <a:lnTo>
                    <a:pt x="54" y="234"/>
                  </a:lnTo>
                  <a:lnTo>
                    <a:pt x="54" y="23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 name="Freeform 380">
              <a:extLst>
                <a:ext uri="{FF2B5EF4-FFF2-40B4-BE49-F238E27FC236}">
                  <a16:creationId xmlns:a16="http://schemas.microsoft.com/office/drawing/2014/main" id="{EBA93BB4-D7BB-49BA-8EF1-EF6FD7C2D077}"/>
                </a:ext>
              </a:extLst>
            </p:cNvPr>
            <p:cNvSpPr>
              <a:spLocks/>
            </p:cNvSpPr>
            <p:nvPr/>
          </p:nvSpPr>
          <p:spPr bwMode="gray">
            <a:xfrm>
              <a:off x="13545824" y="3197648"/>
              <a:ext cx="472944" cy="463125"/>
            </a:xfrm>
            <a:custGeom>
              <a:avLst/>
              <a:gdLst>
                <a:gd name="T0" fmla="*/ 399 w 1445"/>
                <a:gd name="T1" fmla="*/ 427 h 1415"/>
                <a:gd name="T2" fmla="*/ 446 w 1445"/>
                <a:gd name="T3" fmla="*/ 399 h 1415"/>
                <a:gd name="T4" fmla="*/ 522 w 1445"/>
                <a:gd name="T5" fmla="*/ 399 h 1415"/>
                <a:gd name="T6" fmla="*/ 522 w 1445"/>
                <a:gd name="T7" fmla="*/ 387 h 1415"/>
                <a:gd name="T8" fmla="*/ 508 w 1445"/>
                <a:gd name="T9" fmla="*/ 354 h 1415"/>
                <a:gd name="T10" fmla="*/ 508 w 1445"/>
                <a:gd name="T11" fmla="*/ 333 h 1415"/>
                <a:gd name="T12" fmla="*/ 491 w 1445"/>
                <a:gd name="T13" fmla="*/ 283 h 1415"/>
                <a:gd name="T14" fmla="*/ 491 w 1445"/>
                <a:gd name="T15" fmla="*/ 243 h 1415"/>
                <a:gd name="T16" fmla="*/ 491 w 1445"/>
                <a:gd name="T17" fmla="*/ 210 h 1415"/>
                <a:gd name="T18" fmla="*/ 484 w 1445"/>
                <a:gd name="T19" fmla="*/ 193 h 1415"/>
                <a:gd name="T20" fmla="*/ 484 w 1445"/>
                <a:gd name="T21" fmla="*/ 165 h 1415"/>
                <a:gd name="T22" fmla="*/ 538 w 1445"/>
                <a:gd name="T23" fmla="*/ 116 h 1415"/>
                <a:gd name="T24" fmla="*/ 560 w 1445"/>
                <a:gd name="T25" fmla="*/ 116 h 1415"/>
                <a:gd name="T26" fmla="*/ 597 w 1445"/>
                <a:gd name="T27" fmla="*/ 111 h 1415"/>
                <a:gd name="T28" fmla="*/ 690 w 1445"/>
                <a:gd name="T29" fmla="*/ 45 h 1415"/>
                <a:gd name="T30" fmla="*/ 786 w 1445"/>
                <a:gd name="T31" fmla="*/ 45 h 1415"/>
                <a:gd name="T32" fmla="*/ 853 w 1445"/>
                <a:gd name="T33" fmla="*/ 28 h 1415"/>
                <a:gd name="T34" fmla="*/ 938 w 1445"/>
                <a:gd name="T35" fmla="*/ 12 h 1415"/>
                <a:gd name="T36" fmla="*/ 1008 w 1445"/>
                <a:gd name="T37" fmla="*/ 21 h 1415"/>
                <a:gd name="T38" fmla="*/ 1046 w 1445"/>
                <a:gd name="T39" fmla="*/ 4 h 1415"/>
                <a:gd name="T40" fmla="*/ 1067 w 1445"/>
                <a:gd name="T41" fmla="*/ 12 h 1415"/>
                <a:gd name="T42" fmla="*/ 1110 w 1445"/>
                <a:gd name="T43" fmla="*/ 12 h 1415"/>
                <a:gd name="T44" fmla="*/ 1117 w 1445"/>
                <a:gd name="T45" fmla="*/ 0 h 1415"/>
                <a:gd name="T46" fmla="*/ 1164 w 1445"/>
                <a:gd name="T47" fmla="*/ 21 h 1415"/>
                <a:gd name="T48" fmla="*/ 1209 w 1445"/>
                <a:gd name="T49" fmla="*/ 12 h 1415"/>
                <a:gd name="T50" fmla="*/ 1176 w 1445"/>
                <a:gd name="T51" fmla="*/ 45 h 1415"/>
                <a:gd name="T52" fmla="*/ 1186 w 1445"/>
                <a:gd name="T53" fmla="*/ 99 h 1415"/>
                <a:gd name="T54" fmla="*/ 1193 w 1445"/>
                <a:gd name="T55" fmla="*/ 139 h 1415"/>
                <a:gd name="T56" fmla="*/ 1186 w 1445"/>
                <a:gd name="T57" fmla="*/ 205 h 1415"/>
                <a:gd name="T58" fmla="*/ 1155 w 1445"/>
                <a:gd name="T59" fmla="*/ 234 h 1415"/>
                <a:gd name="T60" fmla="*/ 1134 w 1445"/>
                <a:gd name="T61" fmla="*/ 260 h 1415"/>
                <a:gd name="T62" fmla="*/ 1176 w 1445"/>
                <a:gd name="T63" fmla="*/ 321 h 1415"/>
                <a:gd name="T64" fmla="*/ 1193 w 1445"/>
                <a:gd name="T65" fmla="*/ 371 h 1415"/>
                <a:gd name="T66" fmla="*/ 1278 w 1445"/>
                <a:gd name="T67" fmla="*/ 555 h 1415"/>
                <a:gd name="T68" fmla="*/ 1285 w 1445"/>
                <a:gd name="T69" fmla="*/ 600 h 1415"/>
                <a:gd name="T70" fmla="*/ 1294 w 1445"/>
                <a:gd name="T71" fmla="*/ 711 h 1415"/>
                <a:gd name="T72" fmla="*/ 1285 w 1445"/>
                <a:gd name="T73" fmla="*/ 782 h 1415"/>
                <a:gd name="T74" fmla="*/ 1299 w 1445"/>
                <a:gd name="T75" fmla="*/ 822 h 1415"/>
                <a:gd name="T76" fmla="*/ 1273 w 1445"/>
                <a:gd name="T77" fmla="*/ 855 h 1415"/>
                <a:gd name="T78" fmla="*/ 1311 w 1445"/>
                <a:gd name="T79" fmla="*/ 933 h 1415"/>
                <a:gd name="T80" fmla="*/ 1327 w 1445"/>
                <a:gd name="T81" fmla="*/ 982 h 1415"/>
                <a:gd name="T82" fmla="*/ 1337 w 1445"/>
                <a:gd name="T83" fmla="*/ 1004 h 1415"/>
                <a:gd name="T84" fmla="*/ 1419 w 1445"/>
                <a:gd name="T85" fmla="*/ 1011 h 1415"/>
                <a:gd name="T86" fmla="*/ 1134 w 1445"/>
                <a:gd name="T87" fmla="*/ 1278 h 1415"/>
                <a:gd name="T88" fmla="*/ 907 w 1445"/>
                <a:gd name="T89" fmla="*/ 1405 h 1415"/>
                <a:gd name="T90" fmla="*/ 824 w 1445"/>
                <a:gd name="T91" fmla="*/ 1405 h 1415"/>
                <a:gd name="T92" fmla="*/ 831 w 1445"/>
                <a:gd name="T93" fmla="*/ 1353 h 1415"/>
                <a:gd name="T94" fmla="*/ 760 w 1445"/>
                <a:gd name="T95" fmla="*/ 1320 h 1415"/>
                <a:gd name="T96" fmla="*/ 734 w 1445"/>
                <a:gd name="T97" fmla="*/ 1315 h 1415"/>
                <a:gd name="T98" fmla="*/ 690 w 1445"/>
                <a:gd name="T99" fmla="*/ 1282 h 1415"/>
                <a:gd name="T100" fmla="*/ 269 w 1445"/>
                <a:gd name="T101" fmla="*/ 966 h 1415"/>
                <a:gd name="T102" fmla="*/ 0 w 1445"/>
                <a:gd name="T103" fmla="*/ 760 h 1415"/>
                <a:gd name="T104" fmla="*/ 108 w 1445"/>
                <a:gd name="T105" fmla="*/ 600 h 1415"/>
                <a:gd name="T106" fmla="*/ 160 w 1445"/>
                <a:gd name="T107" fmla="*/ 593 h 1415"/>
                <a:gd name="T108" fmla="*/ 236 w 1445"/>
                <a:gd name="T109" fmla="*/ 567 h 1415"/>
                <a:gd name="T110" fmla="*/ 302 w 1445"/>
                <a:gd name="T111" fmla="*/ 522 h 1415"/>
                <a:gd name="T112" fmla="*/ 356 w 1445"/>
                <a:gd name="T113" fmla="*/ 498 h 1415"/>
                <a:gd name="T114" fmla="*/ 340 w 1445"/>
                <a:gd name="T115" fmla="*/ 482 h 1415"/>
                <a:gd name="T116" fmla="*/ 366 w 1445"/>
                <a:gd name="T117" fmla="*/ 432 h 1415"/>
                <a:gd name="T118" fmla="*/ 366 w 1445"/>
                <a:gd name="T119" fmla="*/ 432 h 1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5" h="1415">
                  <a:moveTo>
                    <a:pt x="366" y="432"/>
                  </a:moveTo>
                  <a:lnTo>
                    <a:pt x="399" y="427"/>
                  </a:lnTo>
                  <a:lnTo>
                    <a:pt x="408" y="411"/>
                  </a:lnTo>
                  <a:lnTo>
                    <a:pt x="446" y="399"/>
                  </a:lnTo>
                  <a:lnTo>
                    <a:pt x="522" y="411"/>
                  </a:lnTo>
                  <a:lnTo>
                    <a:pt x="522" y="399"/>
                  </a:lnTo>
                  <a:lnTo>
                    <a:pt x="517" y="399"/>
                  </a:lnTo>
                  <a:lnTo>
                    <a:pt x="522" y="387"/>
                  </a:lnTo>
                  <a:lnTo>
                    <a:pt x="538" y="371"/>
                  </a:lnTo>
                  <a:lnTo>
                    <a:pt x="508" y="354"/>
                  </a:lnTo>
                  <a:lnTo>
                    <a:pt x="501" y="338"/>
                  </a:lnTo>
                  <a:lnTo>
                    <a:pt x="508" y="333"/>
                  </a:lnTo>
                  <a:lnTo>
                    <a:pt x="491" y="316"/>
                  </a:lnTo>
                  <a:lnTo>
                    <a:pt x="491" y="283"/>
                  </a:lnTo>
                  <a:lnTo>
                    <a:pt x="484" y="276"/>
                  </a:lnTo>
                  <a:lnTo>
                    <a:pt x="491" y="243"/>
                  </a:lnTo>
                  <a:lnTo>
                    <a:pt x="484" y="222"/>
                  </a:lnTo>
                  <a:lnTo>
                    <a:pt x="491" y="210"/>
                  </a:lnTo>
                  <a:lnTo>
                    <a:pt x="475" y="205"/>
                  </a:lnTo>
                  <a:lnTo>
                    <a:pt x="484" y="193"/>
                  </a:lnTo>
                  <a:lnTo>
                    <a:pt x="453" y="165"/>
                  </a:lnTo>
                  <a:lnTo>
                    <a:pt x="484" y="165"/>
                  </a:lnTo>
                  <a:lnTo>
                    <a:pt x="517" y="139"/>
                  </a:lnTo>
                  <a:lnTo>
                    <a:pt x="538" y="116"/>
                  </a:lnTo>
                  <a:lnTo>
                    <a:pt x="555" y="111"/>
                  </a:lnTo>
                  <a:lnTo>
                    <a:pt x="560" y="116"/>
                  </a:lnTo>
                  <a:lnTo>
                    <a:pt x="583" y="99"/>
                  </a:lnTo>
                  <a:lnTo>
                    <a:pt x="597" y="111"/>
                  </a:lnTo>
                  <a:lnTo>
                    <a:pt x="626" y="82"/>
                  </a:lnTo>
                  <a:lnTo>
                    <a:pt x="690" y="45"/>
                  </a:lnTo>
                  <a:lnTo>
                    <a:pt x="772" y="38"/>
                  </a:lnTo>
                  <a:lnTo>
                    <a:pt x="786" y="45"/>
                  </a:lnTo>
                  <a:lnTo>
                    <a:pt x="810" y="21"/>
                  </a:lnTo>
                  <a:lnTo>
                    <a:pt x="853" y="28"/>
                  </a:lnTo>
                  <a:lnTo>
                    <a:pt x="878" y="12"/>
                  </a:lnTo>
                  <a:lnTo>
                    <a:pt x="938" y="12"/>
                  </a:lnTo>
                  <a:lnTo>
                    <a:pt x="975" y="38"/>
                  </a:lnTo>
                  <a:lnTo>
                    <a:pt x="1008" y="21"/>
                  </a:lnTo>
                  <a:lnTo>
                    <a:pt x="1046" y="12"/>
                  </a:lnTo>
                  <a:lnTo>
                    <a:pt x="1046" y="4"/>
                  </a:lnTo>
                  <a:lnTo>
                    <a:pt x="1063" y="0"/>
                  </a:lnTo>
                  <a:lnTo>
                    <a:pt x="1067" y="12"/>
                  </a:lnTo>
                  <a:lnTo>
                    <a:pt x="1096" y="12"/>
                  </a:lnTo>
                  <a:lnTo>
                    <a:pt x="1110" y="12"/>
                  </a:lnTo>
                  <a:lnTo>
                    <a:pt x="1117" y="4"/>
                  </a:lnTo>
                  <a:lnTo>
                    <a:pt x="1117" y="0"/>
                  </a:lnTo>
                  <a:lnTo>
                    <a:pt x="1155" y="12"/>
                  </a:lnTo>
                  <a:lnTo>
                    <a:pt x="1164" y="21"/>
                  </a:lnTo>
                  <a:lnTo>
                    <a:pt x="1186" y="12"/>
                  </a:lnTo>
                  <a:lnTo>
                    <a:pt x="1209" y="12"/>
                  </a:lnTo>
                  <a:lnTo>
                    <a:pt x="1219" y="21"/>
                  </a:lnTo>
                  <a:lnTo>
                    <a:pt x="1176" y="45"/>
                  </a:lnTo>
                  <a:lnTo>
                    <a:pt x="1193" y="54"/>
                  </a:lnTo>
                  <a:lnTo>
                    <a:pt x="1186" y="99"/>
                  </a:lnTo>
                  <a:lnTo>
                    <a:pt x="1193" y="116"/>
                  </a:lnTo>
                  <a:lnTo>
                    <a:pt x="1193" y="139"/>
                  </a:lnTo>
                  <a:lnTo>
                    <a:pt x="1193" y="156"/>
                  </a:lnTo>
                  <a:lnTo>
                    <a:pt x="1186" y="205"/>
                  </a:lnTo>
                  <a:lnTo>
                    <a:pt x="1155" y="222"/>
                  </a:lnTo>
                  <a:lnTo>
                    <a:pt x="1155" y="234"/>
                  </a:lnTo>
                  <a:lnTo>
                    <a:pt x="1134" y="243"/>
                  </a:lnTo>
                  <a:lnTo>
                    <a:pt x="1134" y="260"/>
                  </a:lnTo>
                  <a:lnTo>
                    <a:pt x="1148" y="316"/>
                  </a:lnTo>
                  <a:lnTo>
                    <a:pt x="1176" y="321"/>
                  </a:lnTo>
                  <a:lnTo>
                    <a:pt x="1193" y="345"/>
                  </a:lnTo>
                  <a:lnTo>
                    <a:pt x="1193" y="371"/>
                  </a:lnTo>
                  <a:lnTo>
                    <a:pt x="1240" y="411"/>
                  </a:lnTo>
                  <a:lnTo>
                    <a:pt x="1278" y="555"/>
                  </a:lnTo>
                  <a:lnTo>
                    <a:pt x="1261" y="560"/>
                  </a:lnTo>
                  <a:lnTo>
                    <a:pt x="1285" y="600"/>
                  </a:lnTo>
                  <a:lnTo>
                    <a:pt x="1294" y="638"/>
                  </a:lnTo>
                  <a:lnTo>
                    <a:pt x="1294" y="711"/>
                  </a:lnTo>
                  <a:lnTo>
                    <a:pt x="1311" y="744"/>
                  </a:lnTo>
                  <a:lnTo>
                    <a:pt x="1285" y="782"/>
                  </a:lnTo>
                  <a:lnTo>
                    <a:pt x="1299" y="815"/>
                  </a:lnTo>
                  <a:lnTo>
                    <a:pt x="1299" y="822"/>
                  </a:lnTo>
                  <a:lnTo>
                    <a:pt x="1299" y="843"/>
                  </a:lnTo>
                  <a:lnTo>
                    <a:pt x="1273" y="855"/>
                  </a:lnTo>
                  <a:lnTo>
                    <a:pt x="1261" y="871"/>
                  </a:lnTo>
                  <a:lnTo>
                    <a:pt x="1311" y="933"/>
                  </a:lnTo>
                  <a:lnTo>
                    <a:pt x="1311" y="971"/>
                  </a:lnTo>
                  <a:lnTo>
                    <a:pt x="1327" y="982"/>
                  </a:lnTo>
                  <a:lnTo>
                    <a:pt x="1327" y="987"/>
                  </a:lnTo>
                  <a:lnTo>
                    <a:pt x="1337" y="1004"/>
                  </a:lnTo>
                  <a:lnTo>
                    <a:pt x="1353" y="999"/>
                  </a:lnTo>
                  <a:lnTo>
                    <a:pt x="1419" y="1011"/>
                  </a:lnTo>
                  <a:lnTo>
                    <a:pt x="1445" y="1077"/>
                  </a:lnTo>
                  <a:lnTo>
                    <a:pt x="1134" y="1278"/>
                  </a:lnTo>
                  <a:lnTo>
                    <a:pt x="1013" y="1389"/>
                  </a:lnTo>
                  <a:lnTo>
                    <a:pt x="907" y="1405"/>
                  </a:lnTo>
                  <a:lnTo>
                    <a:pt x="841" y="1415"/>
                  </a:lnTo>
                  <a:lnTo>
                    <a:pt x="824" y="1405"/>
                  </a:lnTo>
                  <a:lnTo>
                    <a:pt x="841" y="1389"/>
                  </a:lnTo>
                  <a:lnTo>
                    <a:pt x="831" y="1353"/>
                  </a:lnTo>
                  <a:lnTo>
                    <a:pt x="777" y="1337"/>
                  </a:lnTo>
                  <a:lnTo>
                    <a:pt x="760" y="1320"/>
                  </a:lnTo>
                  <a:lnTo>
                    <a:pt x="756" y="1320"/>
                  </a:lnTo>
                  <a:lnTo>
                    <a:pt x="734" y="1315"/>
                  </a:lnTo>
                  <a:lnTo>
                    <a:pt x="723" y="1299"/>
                  </a:lnTo>
                  <a:lnTo>
                    <a:pt x="690" y="1282"/>
                  </a:lnTo>
                  <a:lnTo>
                    <a:pt x="690" y="1261"/>
                  </a:lnTo>
                  <a:lnTo>
                    <a:pt x="269" y="966"/>
                  </a:lnTo>
                  <a:lnTo>
                    <a:pt x="0" y="782"/>
                  </a:lnTo>
                  <a:lnTo>
                    <a:pt x="0" y="760"/>
                  </a:lnTo>
                  <a:lnTo>
                    <a:pt x="0" y="671"/>
                  </a:lnTo>
                  <a:lnTo>
                    <a:pt x="108" y="600"/>
                  </a:lnTo>
                  <a:lnTo>
                    <a:pt x="146" y="609"/>
                  </a:lnTo>
                  <a:lnTo>
                    <a:pt x="160" y="593"/>
                  </a:lnTo>
                  <a:lnTo>
                    <a:pt x="222" y="583"/>
                  </a:lnTo>
                  <a:lnTo>
                    <a:pt x="236" y="567"/>
                  </a:lnTo>
                  <a:lnTo>
                    <a:pt x="260" y="538"/>
                  </a:lnTo>
                  <a:lnTo>
                    <a:pt x="302" y="522"/>
                  </a:lnTo>
                  <a:lnTo>
                    <a:pt x="323" y="498"/>
                  </a:lnTo>
                  <a:lnTo>
                    <a:pt x="356" y="498"/>
                  </a:lnTo>
                  <a:lnTo>
                    <a:pt x="356" y="489"/>
                  </a:lnTo>
                  <a:lnTo>
                    <a:pt x="340" y="482"/>
                  </a:lnTo>
                  <a:lnTo>
                    <a:pt x="340" y="444"/>
                  </a:lnTo>
                  <a:lnTo>
                    <a:pt x="366" y="432"/>
                  </a:lnTo>
                  <a:lnTo>
                    <a:pt x="366" y="432"/>
                  </a:lnTo>
                  <a:lnTo>
                    <a:pt x="366" y="43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 name="Freeform 381">
              <a:extLst>
                <a:ext uri="{FF2B5EF4-FFF2-40B4-BE49-F238E27FC236}">
                  <a16:creationId xmlns:a16="http://schemas.microsoft.com/office/drawing/2014/main" id="{4870B9E5-9150-4C8D-A3CC-C0801BF18F5D}"/>
                </a:ext>
              </a:extLst>
            </p:cNvPr>
            <p:cNvSpPr>
              <a:spLocks noEditPoints="1"/>
            </p:cNvSpPr>
            <p:nvPr/>
          </p:nvSpPr>
          <p:spPr bwMode="gray">
            <a:xfrm>
              <a:off x="14771877" y="3065420"/>
              <a:ext cx="129282" cy="98189"/>
            </a:xfrm>
            <a:custGeom>
              <a:avLst/>
              <a:gdLst>
                <a:gd name="T0" fmla="*/ 118 w 395"/>
                <a:gd name="T1" fmla="*/ 229 h 300"/>
                <a:gd name="T2" fmla="*/ 118 w 395"/>
                <a:gd name="T3" fmla="*/ 212 h 300"/>
                <a:gd name="T4" fmla="*/ 102 w 395"/>
                <a:gd name="T5" fmla="*/ 196 h 300"/>
                <a:gd name="T6" fmla="*/ 64 w 395"/>
                <a:gd name="T7" fmla="*/ 168 h 300"/>
                <a:gd name="T8" fmla="*/ 85 w 395"/>
                <a:gd name="T9" fmla="*/ 139 h 300"/>
                <a:gd name="T10" fmla="*/ 47 w 395"/>
                <a:gd name="T11" fmla="*/ 99 h 300"/>
                <a:gd name="T12" fmla="*/ 26 w 395"/>
                <a:gd name="T13" fmla="*/ 73 h 300"/>
                <a:gd name="T14" fmla="*/ 17 w 395"/>
                <a:gd name="T15" fmla="*/ 45 h 300"/>
                <a:gd name="T16" fmla="*/ 71 w 395"/>
                <a:gd name="T17" fmla="*/ 45 h 300"/>
                <a:gd name="T18" fmla="*/ 102 w 395"/>
                <a:gd name="T19" fmla="*/ 57 h 300"/>
                <a:gd name="T20" fmla="*/ 135 w 395"/>
                <a:gd name="T21" fmla="*/ 61 h 300"/>
                <a:gd name="T22" fmla="*/ 109 w 395"/>
                <a:gd name="T23" fmla="*/ 28 h 300"/>
                <a:gd name="T24" fmla="*/ 118 w 395"/>
                <a:gd name="T25" fmla="*/ 0 h 300"/>
                <a:gd name="T26" fmla="*/ 140 w 395"/>
                <a:gd name="T27" fmla="*/ 0 h 300"/>
                <a:gd name="T28" fmla="*/ 177 w 395"/>
                <a:gd name="T29" fmla="*/ 45 h 300"/>
                <a:gd name="T30" fmla="*/ 227 w 395"/>
                <a:gd name="T31" fmla="*/ 57 h 300"/>
                <a:gd name="T32" fmla="*/ 253 w 395"/>
                <a:gd name="T33" fmla="*/ 23 h 300"/>
                <a:gd name="T34" fmla="*/ 303 w 395"/>
                <a:gd name="T35" fmla="*/ 40 h 300"/>
                <a:gd name="T36" fmla="*/ 336 w 395"/>
                <a:gd name="T37" fmla="*/ 94 h 300"/>
                <a:gd name="T38" fmla="*/ 390 w 395"/>
                <a:gd name="T39" fmla="*/ 118 h 300"/>
                <a:gd name="T40" fmla="*/ 362 w 395"/>
                <a:gd name="T41" fmla="*/ 134 h 300"/>
                <a:gd name="T42" fmla="*/ 319 w 395"/>
                <a:gd name="T43" fmla="*/ 205 h 300"/>
                <a:gd name="T44" fmla="*/ 319 w 395"/>
                <a:gd name="T45" fmla="*/ 222 h 300"/>
                <a:gd name="T46" fmla="*/ 303 w 395"/>
                <a:gd name="T47" fmla="*/ 246 h 300"/>
                <a:gd name="T48" fmla="*/ 298 w 395"/>
                <a:gd name="T49" fmla="*/ 229 h 300"/>
                <a:gd name="T50" fmla="*/ 269 w 395"/>
                <a:gd name="T51" fmla="*/ 300 h 300"/>
                <a:gd name="T52" fmla="*/ 248 w 395"/>
                <a:gd name="T53" fmla="*/ 279 h 300"/>
                <a:gd name="T54" fmla="*/ 232 w 395"/>
                <a:gd name="T55" fmla="*/ 250 h 300"/>
                <a:gd name="T56" fmla="*/ 232 w 395"/>
                <a:gd name="T57" fmla="*/ 222 h 300"/>
                <a:gd name="T58" fmla="*/ 227 w 395"/>
                <a:gd name="T59" fmla="*/ 184 h 300"/>
                <a:gd name="T60" fmla="*/ 123 w 395"/>
                <a:gd name="T61" fmla="*/ 250 h 300"/>
                <a:gd name="T62" fmla="*/ 123 w 395"/>
                <a:gd name="T63" fmla="*/ 250 h 300"/>
                <a:gd name="T64" fmla="*/ 55 w 395"/>
                <a:gd name="T65" fmla="*/ 99 h 300"/>
                <a:gd name="T66" fmla="*/ 55 w 395"/>
                <a:gd name="T67" fmla="*/ 111 h 300"/>
                <a:gd name="T68" fmla="*/ 55 w 395"/>
                <a:gd name="T69" fmla="*/ 111 h 300"/>
                <a:gd name="T70" fmla="*/ 0 w 395"/>
                <a:gd name="T71" fmla="*/ 189 h 300"/>
                <a:gd name="T72" fmla="*/ 47 w 395"/>
                <a:gd name="T73" fmla="*/ 205 h 300"/>
                <a:gd name="T74" fmla="*/ 80 w 395"/>
                <a:gd name="T75" fmla="*/ 212 h 300"/>
                <a:gd name="T76" fmla="*/ 85 w 395"/>
                <a:gd name="T77" fmla="*/ 229 h 300"/>
                <a:gd name="T78" fmla="*/ 47 w 395"/>
                <a:gd name="T79" fmla="*/ 246 h 300"/>
                <a:gd name="T80" fmla="*/ 26 w 395"/>
                <a:gd name="T81" fmla="*/ 229 h 300"/>
                <a:gd name="T82" fmla="*/ 0 w 395"/>
                <a:gd name="T83" fmla="*/ 18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5" h="300">
                  <a:moveTo>
                    <a:pt x="123" y="250"/>
                  </a:moveTo>
                  <a:lnTo>
                    <a:pt x="118" y="229"/>
                  </a:lnTo>
                  <a:lnTo>
                    <a:pt x="135" y="229"/>
                  </a:lnTo>
                  <a:lnTo>
                    <a:pt x="118" y="212"/>
                  </a:lnTo>
                  <a:lnTo>
                    <a:pt x="123" y="196"/>
                  </a:lnTo>
                  <a:lnTo>
                    <a:pt x="102" y="196"/>
                  </a:lnTo>
                  <a:lnTo>
                    <a:pt x="71" y="168"/>
                  </a:lnTo>
                  <a:lnTo>
                    <a:pt x="64" y="168"/>
                  </a:lnTo>
                  <a:lnTo>
                    <a:pt x="80" y="156"/>
                  </a:lnTo>
                  <a:lnTo>
                    <a:pt x="85" y="139"/>
                  </a:lnTo>
                  <a:lnTo>
                    <a:pt x="55" y="127"/>
                  </a:lnTo>
                  <a:lnTo>
                    <a:pt x="47" y="99"/>
                  </a:lnTo>
                  <a:lnTo>
                    <a:pt x="64" y="83"/>
                  </a:lnTo>
                  <a:lnTo>
                    <a:pt x="26" y="73"/>
                  </a:lnTo>
                  <a:lnTo>
                    <a:pt x="33" y="61"/>
                  </a:lnTo>
                  <a:lnTo>
                    <a:pt x="17" y="45"/>
                  </a:lnTo>
                  <a:lnTo>
                    <a:pt x="38" y="40"/>
                  </a:lnTo>
                  <a:lnTo>
                    <a:pt x="71" y="45"/>
                  </a:lnTo>
                  <a:lnTo>
                    <a:pt x="80" y="57"/>
                  </a:lnTo>
                  <a:lnTo>
                    <a:pt x="102" y="57"/>
                  </a:lnTo>
                  <a:lnTo>
                    <a:pt x="123" y="73"/>
                  </a:lnTo>
                  <a:lnTo>
                    <a:pt x="135" y="61"/>
                  </a:lnTo>
                  <a:lnTo>
                    <a:pt x="135" y="45"/>
                  </a:lnTo>
                  <a:lnTo>
                    <a:pt x="109" y="28"/>
                  </a:lnTo>
                  <a:lnTo>
                    <a:pt x="102" y="16"/>
                  </a:lnTo>
                  <a:lnTo>
                    <a:pt x="118" y="0"/>
                  </a:lnTo>
                  <a:lnTo>
                    <a:pt x="135" y="5"/>
                  </a:lnTo>
                  <a:lnTo>
                    <a:pt x="140" y="0"/>
                  </a:lnTo>
                  <a:lnTo>
                    <a:pt x="173" y="28"/>
                  </a:lnTo>
                  <a:lnTo>
                    <a:pt x="177" y="45"/>
                  </a:lnTo>
                  <a:lnTo>
                    <a:pt x="210" y="61"/>
                  </a:lnTo>
                  <a:lnTo>
                    <a:pt x="227" y="57"/>
                  </a:lnTo>
                  <a:lnTo>
                    <a:pt x="232" y="40"/>
                  </a:lnTo>
                  <a:lnTo>
                    <a:pt x="253" y="23"/>
                  </a:lnTo>
                  <a:lnTo>
                    <a:pt x="269" y="5"/>
                  </a:lnTo>
                  <a:lnTo>
                    <a:pt x="303" y="40"/>
                  </a:lnTo>
                  <a:lnTo>
                    <a:pt x="307" y="73"/>
                  </a:lnTo>
                  <a:lnTo>
                    <a:pt x="336" y="94"/>
                  </a:lnTo>
                  <a:lnTo>
                    <a:pt x="336" y="99"/>
                  </a:lnTo>
                  <a:lnTo>
                    <a:pt x="390" y="118"/>
                  </a:lnTo>
                  <a:lnTo>
                    <a:pt x="395" y="139"/>
                  </a:lnTo>
                  <a:lnTo>
                    <a:pt x="362" y="134"/>
                  </a:lnTo>
                  <a:lnTo>
                    <a:pt x="336" y="151"/>
                  </a:lnTo>
                  <a:lnTo>
                    <a:pt x="319" y="205"/>
                  </a:lnTo>
                  <a:lnTo>
                    <a:pt x="324" y="212"/>
                  </a:lnTo>
                  <a:lnTo>
                    <a:pt x="319" y="222"/>
                  </a:lnTo>
                  <a:lnTo>
                    <a:pt x="307" y="246"/>
                  </a:lnTo>
                  <a:lnTo>
                    <a:pt x="303" y="246"/>
                  </a:lnTo>
                  <a:lnTo>
                    <a:pt x="307" y="238"/>
                  </a:lnTo>
                  <a:lnTo>
                    <a:pt x="298" y="229"/>
                  </a:lnTo>
                  <a:lnTo>
                    <a:pt x="286" y="295"/>
                  </a:lnTo>
                  <a:lnTo>
                    <a:pt x="269" y="300"/>
                  </a:lnTo>
                  <a:lnTo>
                    <a:pt x="253" y="279"/>
                  </a:lnTo>
                  <a:lnTo>
                    <a:pt x="248" y="279"/>
                  </a:lnTo>
                  <a:lnTo>
                    <a:pt x="232" y="262"/>
                  </a:lnTo>
                  <a:lnTo>
                    <a:pt x="232" y="250"/>
                  </a:lnTo>
                  <a:lnTo>
                    <a:pt x="248" y="246"/>
                  </a:lnTo>
                  <a:lnTo>
                    <a:pt x="232" y="222"/>
                  </a:lnTo>
                  <a:lnTo>
                    <a:pt x="253" y="212"/>
                  </a:lnTo>
                  <a:lnTo>
                    <a:pt x="227" y="184"/>
                  </a:lnTo>
                  <a:lnTo>
                    <a:pt x="147" y="229"/>
                  </a:lnTo>
                  <a:lnTo>
                    <a:pt x="123" y="250"/>
                  </a:lnTo>
                  <a:lnTo>
                    <a:pt x="123" y="250"/>
                  </a:lnTo>
                  <a:lnTo>
                    <a:pt x="123" y="250"/>
                  </a:lnTo>
                  <a:close/>
                  <a:moveTo>
                    <a:pt x="55" y="111"/>
                  </a:moveTo>
                  <a:lnTo>
                    <a:pt x="55" y="99"/>
                  </a:lnTo>
                  <a:lnTo>
                    <a:pt x="55" y="99"/>
                  </a:lnTo>
                  <a:lnTo>
                    <a:pt x="55" y="111"/>
                  </a:lnTo>
                  <a:lnTo>
                    <a:pt x="55" y="111"/>
                  </a:lnTo>
                  <a:lnTo>
                    <a:pt x="55" y="111"/>
                  </a:lnTo>
                  <a:close/>
                  <a:moveTo>
                    <a:pt x="0" y="189"/>
                  </a:moveTo>
                  <a:lnTo>
                    <a:pt x="0" y="189"/>
                  </a:lnTo>
                  <a:lnTo>
                    <a:pt x="26" y="184"/>
                  </a:lnTo>
                  <a:lnTo>
                    <a:pt x="47" y="205"/>
                  </a:lnTo>
                  <a:lnTo>
                    <a:pt x="71" y="196"/>
                  </a:lnTo>
                  <a:lnTo>
                    <a:pt x="80" y="212"/>
                  </a:lnTo>
                  <a:lnTo>
                    <a:pt x="85" y="222"/>
                  </a:lnTo>
                  <a:lnTo>
                    <a:pt x="85" y="229"/>
                  </a:lnTo>
                  <a:lnTo>
                    <a:pt x="102" y="262"/>
                  </a:lnTo>
                  <a:lnTo>
                    <a:pt x="47" y="246"/>
                  </a:lnTo>
                  <a:lnTo>
                    <a:pt x="38" y="229"/>
                  </a:lnTo>
                  <a:lnTo>
                    <a:pt x="26" y="229"/>
                  </a:lnTo>
                  <a:lnTo>
                    <a:pt x="0" y="189"/>
                  </a:lnTo>
                  <a:lnTo>
                    <a:pt x="0" y="189"/>
                  </a:lnTo>
                  <a:lnTo>
                    <a:pt x="0" y="18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 name="Freeform 382">
              <a:extLst>
                <a:ext uri="{FF2B5EF4-FFF2-40B4-BE49-F238E27FC236}">
                  <a16:creationId xmlns:a16="http://schemas.microsoft.com/office/drawing/2014/main" id="{1B9B0C11-B933-462B-B415-23EAA695DCD8}"/>
                </a:ext>
              </a:extLst>
            </p:cNvPr>
            <p:cNvSpPr>
              <a:spLocks/>
            </p:cNvSpPr>
            <p:nvPr/>
          </p:nvSpPr>
          <p:spPr bwMode="gray">
            <a:xfrm>
              <a:off x="14186016" y="3042837"/>
              <a:ext cx="40912" cy="84443"/>
            </a:xfrm>
            <a:custGeom>
              <a:avLst/>
              <a:gdLst>
                <a:gd name="T0" fmla="*/ 7 w 125"/>
                <a:gd name="T1" fmla="*/ 66 h 258"/>
                <a:gd name="T2" fmla="*/ 7 w 125"/>
                <a:gd name="T3" fmla="*/ 50 h 258"/>
                <a:gd name="T4" fmla="*/ 0 w 125"/>
                <a:gd name="T5" fmla="*/ 40 h 258"/>
                <a:gd name="T6" fmla="*/ 33 w 125"/>
                <a:gd name="T7" fmla="*/ 0 h 258"/>
                <a:gd name="T8" fmla="*/ 37 w 125"/>
                <a:gd name="T9" fmla="*/ 0 h 258"/>
                <a:gd name="T10" fmla="*/ 37 w 125"/>
                <a:gd name="T11" fmla="*/ 17 h 258"/>
                <a:gd name="T12" fmla="*/ 54 w 125"/>
                <a:gd name="T13" fmla="*/ 12 h 258"/>
                <a:gd name="T14" fmla="*/ 71 w 125"/>
                <a:gd name="T15" fmla="*/ 22 h 258"/>
                <a:gd name="T16" fmla="*/ 92 w 125"/>
                <a:gd name="T17" fmla="*/ 33 h 258"/>
                <a:gd name="T18" fmla="*/ 92 w 125"/>
                <a:gd name="T19" fmla="*/ 66 h 258"/>
                <a:gd name="T20" fmla="*/ 87 w 125"/>
                <a:gd name="T21" fmla="*/ 95 h 258"/>
                <a:gd name="T22" fmla="*/ 92 w 125"/>
                <a:gd name="T23" fmla="*/ 107 h 258"/>
                <a:gd name="T24" fmla="*/ 87 w 125"/>
                <a:gd name="T25" fmla="*/ 111 h 258"/>
                <a:gd name="T26" fmla="*/ 96 w 125"/>
                <a:gd name="T27" fmla="*/ 152 h 258"/>
                <a:gd name="T28" fmla="*/ 108 w 125"/>
                <a:gd name="T29" fmla="*/ 152 h 258"/>
                <a:gd name="T30" fmla="*/ 125 w 125"/>
                <a:gd name="T31" fmla="*/ 152 h 258"/>
                <a:gd name="T32" fmla="*/ 125 w 125"/>
                <a:gd name="T33" fmla="*/ 180 h 258"/>
                <a:gd name="T34" fmla="*/ 108 w 125"/>
                <a:gd name="T35" fmla="*/ 196 h 258"/>
                <a:gd name="T36" fmla="*/ 96 w 125"/>
                <a:gd name="T37" fmla="*/ 218 h 258"/>
                <a:gd name="T38" fmla="*/ 75 w 125"/>
                <a:gd name="T39" fmla="*/ 237 h 258"/>
                <a:gd name="T40" fmla="*/ 87 w 125"/>
                <a:gd name="T41" fmla="*/ 241 h 258"/>
                <a:gd name="T42" fmla="*/ 71 w 125"/>
                <a:gd name="T43" fmla="*/ 253 h 258"/>
                <a:gd name="T44" fmla="*/ 75 w 125"/>
                <a:gd name="T45" fmla="*/ 253 h 258"/>
                <a:gd name="T46" fmla="*/ 71 w 125"/>
                <a:gd name="T47" fmla="*/ 258 h 258"/>
                <a:gd name="T48" fmla="*/ 54 w 125"/>
                <a:gd name="T49" fmla="*/ 258 h 258"/>
                <a:gd name="T50" fmla="*/ 45 w 125"/>
                <a:gd name="T51" fmla="*/ 225 h 258"/>
                <a:gd name="T52" fmla="*/ 16 w 125"/>
                <a:gd name="T53" fmla="*/ 208 h 258"/>
                <a:gd name="T54" fmla="*/ 0 w 125"/>
                <a:gd name="T55" fmla="*/ 196 h 258"/>
                <a:gd name="T56" fmla="*/ 16 w 125"/>
                <a:gd name="T57" fmla="*/ 201 h 258"/>
                <a:gd name="T58" fmla="*/ 16 w 125"/>
                <a:gd name="T59" fmla="*/ 180 h 258"/>
                <a:gd name="T60" fmla="*/ 7 w 125"/>
                <a:gd name="T61" fmla="*/ 180 h 258"/>
                <a:gd name="T62" fmla="*/ 7 w 125"/>
                <a:gd name="T63" fmla="*/ 152 h 258"/>
                <a:gd name="T64" fmla="*/ 16 w 125"/>
                <a:gd name="T65" fmla="*/ 152 h 258"/>
                <a:gd name="T66" fmla="*/ 16 w 125"/>
                <a:gd name="T67" fmla="*/ 140 h 258"/>
                <a:gd name="T68" fmla="*/ 16 w 125"/>
                <a:gd name="T69" fmla="*/ 123 h 258"/>
                <a:gd name="T70" fmla="*/ 16 w 125"/>
                <a:gd name="T71" fmla="*/ 107 h 258"/>
                <a:gd name="T72" fmla="*/ 21 w 125"/>
                <a:gd name="T73" fmla="*/ 90 h 258"/>
                <a:gd name="T74" fmla="*/ 21 w 125"/>
                <a:gd name="T75" fmla="*/ 74 h 258"/>
                <a:gd name="T76" fmla="*/ 7 w 125"/>
                <a:gd name="T77" fmla="*/ 66 h 258"/>
                <a:gd name="T78" fmla="*/ 7 w 125"/>
                <a:gd name="T79" fmla="*/ 66 h 258"/>
                <a:gd name="T80" fmla="*/ 7 w 125"/>
                <a:gd name="T81" fmla="*/ 6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5" h="258">
                  <a:moveTo>
                    <a:pt x="7" y="66"/>
                  </a:moveTo>
                  <a:lnTo>
                    <a:pt x="7" y="50"/>
                  </a:lnTo>
                  <a:lnTo>
                    <a:pt x="0" y="40"/>
                  </a:lnTo>
                  <a:lnTo>
                    <a:pt x="33" y="0"/>
                  </a:lnTo>
                  <a:lnTo>
                    <a:pt x="37" y="0"/>
                  </a:lnTo>
                  <a:lnTo>
                    <a:pt x="37" y="17"/>
                  </a:lnTo>
                  <a:lnTo>
                    <a:pt x="54" y="12"/>
                  </a:lnTo>
                  <a:lnTo>
                    <a:pt x="71" y="22"/>
                  </a:lnTo>
                  <a:lnTo>
                    <a:pt x="92" y="33"/>
                  </a:lnTo>
                  <a:lnTo>
                    <a:pt x="92" y="66"/>
                  </a:lnTo>
                  <a:lnTo>
                    <a:pt x="87" y="95"/>
                  </a:lnTo>
                  <a:lnTo>
                    <a:pt x="92" y="107"/>
                  </a:lnTo>
                  <a:lnTo>
                    <a:pt x="87" y="111"/>
                  </a:lnTo>
                  <a:lnTo>
                    <a:pt x="96" y="152"/>
                  </a:lnTo>
                  <a:lnTo>
                    <a:pt x="108" y="152"/>
                  </a:lnTo>
                  <a:lnTo>
                    <a:pt x="125" y="152"/>
                  </a:lnTo>
                  <a:lnTo>
                    <a:pt x="125" y="180"/>
                  </a:lnTo>
                  <a:lnTo>
                    <a:pt x="108" y="196"/>
                  </a:lnTo>
                  <a:lnTo>
                    <a:pt x="96" y="218"/>
                  </a:lnTo>
                  <a:lnTo>
                    <a:pt x="75" y="237"/>
                  </a:lnTo>
                  <a:lnTo>
                    <a:pt x="87" y="241"/>
                  </a:lnTo>
                  <a:lnTo>
                    <a:pt x="71" y="253"/>
                  </a:lnTo>
                  <a:lnTo>
                    <a:pt x="75" y="253"/>
                  </a:lnTo>
                  <a:lnTo>
                    <a:pt x="71" y="258"/>
                  </a:lnTo>
                  <a:lnTo>
                    <a:pt x="54" y="258"/>
                  </a:lnTo>
                  <a:lnTo>
                    <a:pt x="45" y="225"/>
                  </a:lnTo>
                  <a:lnTo>
                    <a:pt x="16" y="208"/>
                  </a:lnTo>
                  <a:lnTo>
                    <a:pt x="0" y="196"/>
                  </a:lnTo>
                  <a:lnTo>
                    <a:pt x="16" y="201"/>
                  </a:lnTo>
                  <a:lnTo>
                    <a:pt x="16" y="180"/>
                  </a:lnTo>
                  <a:lnTo>
                    <a:pt x="7" y="180"/>
                  </a:lnTo>
                  <a:lnTo>
                    <a:pt x="7" y="152"/>
                  </a:lnTo>
                  <a:lnTo>
                    <a:pt x="16" y="152"/>
                  </a:lnTo>
                  <a:lnTo>
                    <a:pt x="16" y="140"/>
                  </a:lnTo>
                  <a:lnTo>
                    <a:pt x="16" y="123"/>
                  </a:lnTo>
                  <a:lnTo>
                    <a:pt x="16" y="107"/>
                  </a:lnTo>
                  <a:lnTo>
                    <a:pt x="21" y="90"/>
                  </a:lnTo>
                  <a:lnTo>
                    <a:pt x="21" y="74"/>
                  </a:lnTo>
                  <a:lnTo>
                    <a:pt x="7" y="66"/>
                  </a:lnTo>
                  <a:lnTo>
                    <a:pt x="7" y="66"/>
                  </a:lnTo>
                  <a:lnTo>
                    <a:pt x="7" y="6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 name="Freeform 383">
              <a:extLst>
                <a:ext uri="{FF2B5EF4-FFF2-40B4-BE49-F238E27FC236}">
                  <a16:creationId xmlns:a16="http://schemas.microsoft.com/office/drawing/2014/main" id="{35DADD49-53FF-4EDE-82D0-60E03544E387}"/>
                </a:ext>
              </a:extLst>
            </p:cNvPr>
            <p:cNvSpPr>
              <a:spLocks noEditPoints="1"/>
            </p:cNvSpPr>
            <p:nvPr/>
          </p:nvSpPr>
          <p:spPr bwMode="gray">
            <a:xfrm>
              <a:off x="14741111" y="3079167"/>
              <a:ext cx="73969" cy="72005"/>
            </a:xfrm>
            <a:custGeom>
              <a:avLst/>
              <a:gdLst>
                <a:gd name="T0" fmla="*/ 217 w 226"/>
                <a:gd name="T1" fmla="*/ 208 h 220"/>
                <a:gd name="T2" fmla="*/ 193 w 226"/>
                <a:gd name="T3" fmla="*/ 220 h 220"/>
                <a:gd name="T4" fmla="*/ 177 w 226"/>
                <a:gd name="T5" fmla="*/ 187 h 220"/>
                <a:gd name="T6" fmla="*/ 177 w 226"/>
                <a:gd name="T7" fmla="*/ 180 h 220"/>
                <a:gd name="T8" fmla="*/ 172 w 226"/>
                <a:gd name="T9" fmla="*/ 170 h 220"/>
                <a:gd name="T10" fmla="*/ 163 w 226"/>
                <a:gd name="T11" fmla="*/ 152 h 220"/>
                <a:gd name="T12" fmla="*/ 139 w 226"/>
                <a:gd name="T13" fmla="*/ 163 h 220"/>
                <a:gd name="T14" fmla="*/ 118 w 226"/>
                <a:gd name="T15" fmla="*/ 142 h 220"/>
                <a:gd name="T16" fmla="*/ 92 w 226"/>
                <a:gd name="T17" fmla="*/ 147 h 220"/>
                <a:gd name="T18" fmla="*/ 63 w 226"/>
                <a:gd name="T19" fmla="*/ 114 h 220"/>
                <a:gd name="T20" fmla="*/ 33 w 226"/>
                <a:gd name="T21" fmla="*/ 114 h 220"/>
                <a:gd name="T22" fmla="*/ 16 w 226"/>
                <a:gd name="T23" fmla="*/ 107 h 220"/>
                <a:gd name="T24" fmla="*/ 16 w 226"/>
                <a:gd name="T25" fmla="*/ 107 h 220"/>
                <a:gd name="T26" fmla="*/ 9 w 226"/>
                <a:gd name="T27" fmla="*/ 85 h 220"/>
                <a:gd name="T28" fmla="*/ 21 w 226"/>
                <a:gd name="T29" fmla="*/ 52 h 220"/>
                <a:gd name="T30" fmla="*/ 0 w 226"/>
                <a:gd name="T31" fmla="*/ 17 h 220"/>
                <a:gd name="T32" fmla="*/ 101 w 226"/>
                <a:gd name="T33" fmla="*/ 12 h 220"/>
                <a:gd name="T34" fmla="*/ 108 w 226"/>
                <a:gd name="T35" fmla="*/ 0 h 220"/>
                <a:gd name="T36" fmla="*/ 125 w 226"/>
                <a:gd name="T37" fmla="*/ 17 h 220"/>
                <a:gd name="T38" fmla="*/ 118 w 226"/>
                <a:gd name="T39" fmla="*/ 29 h 220"/>
                <a:gd name="T40" fmla="*/ 156 w 226"/>
                <a:gd name="T41" fmla="*/ 41 h 220"/>
                <a:gd name="T42" fmla="*/ 139 w 226"/>
                <a:gd name="T43" fmla="*/ 57 h 220"/>
                <a:gd name="T44" fmla="*/ 146 w 226"/>
                <a:gd name="T45" fmla="*/ 85 h 220"/>
                <a:gd name="T46" fmla="*/ 177 w 226"/>
                <a:gd name="T47" fmla="*/ 97 h 220"/>
                <a:gd name="T48" fmla="*/ 172 w 226"/>
                <a:gd name="T49" fmla="*/ 114 h 220"/>
                <a:gd name="T50" fmla="*/ 156 w 226"/>
                <a:gd name="T51" fmla="*/ 126 h 220"/>
                <a:gd name="T52" fmla="*/ 163 w 226"/>
                <a:gd name="T53" fmla="*/ 126 h 220"/>
                <a:gd name="T54" fmla="*/ 193 w 226"/>
                <a:gd name="T55" fmla="*/ 152 h 220"/>
                <a:gd name="T56" fmla="*/ 217 w 226"/>
                <a:gd name="T57" fmla="*/ 152 h 220"/>
                <a:gd name="T58" fmla="*/ 210 w 226"/>
                <a:gd name="T59" fmla="*/ 170 h 220"/>
                <a:gd name="T60" fmla="*/ 226 w 226"/>
                <a:gd name="T61" fmla="*/ 187 h 220"/>
                <a:gd name="T62" fmla="*/ 210 w 226"/>
                <a:gd name="T63" fmla="*/ 187 h 220"/>
                <a:gd name="T64" fmla="*/ 217 w 226"/>
                <a:gd name="T65" fmla="*/ 208 h 220"/>
                <a:gd name="T66" fmla="*/ 217 w 226"/>
                <a:gd name="T67" fmla="*/ 208 h 220"/>
                <a:gd name="T68" fmla="*/ 217 w 226"/>
                <a:gd name="T69" fmla="*/ 208 h 220"/>
                <a:gd name="T70" fmla="*/ 146 w 226"/>
                <a:gd name="T71" fmla="*/ 69 h 220"/>
                <a:gd name="T72" fmla="*/ 146 w 226"/>
                <a:gd name="T73" fmla="*/ 57 h 220"/>
                <a:gd name="T74" fmla="*/ 146 w 226"/>
                <a:gd name="T75" fmla="*/ 57 h 220"/>
                <a:gd name="T76" fmla="*/ 146 w 226"/>
                <a:gd name="T77" fmla="*/ 69 h 220"/>
                <a:gd name="T78" fmla="*/ 146 w 226"/>
                <a:gd name="T79" fmla="*/ 69 h 220"/>
                <a:gd name="T80" fmla="*/ 146 w 226"/>
                <a:gd name="T81" fmla="*/ 6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6" h="220">
                  <a:moveTo>
                    <a:pt x="217" y="208"/>
                  </a:moveTo>
                  <a:lnTo>
                    <a:pt x="193" y="220"/>
                  </a:lnTo>
                  <a:lnTo>
                    <a:pt x="177" y="187"/>
                  </a:lnTo>
                  <a:lnTo>
                    <a:pt x="177" y="180"/>
                  </a:lnTo>
                  <a:lnTo>
                    <a:pt x="172" y="170"/>
                  </a:lnTo>
                  <a:lnTo>
                    <a:pt x="163" y="152"/>
                  </a:lnTo>
                  <a:lnTo>
                    <a:pt x="139" y="163"/>
                  </a:lnTo>
                  <a:lnTo>
                    <a:pt x="118" y="142"/>
                  </a:lnTo>
                  <a:lnTo>
                    <a:pt x="92" y="147"/>
                  </a:lnTo>
                  <a:lnTo>
                    <a:pt x="63" y="114"/>
                  </a:lnTo>
                  <a:lnTo>
                    <a:pt x="33" y="114"/>
                  </a:lnTo>
                  <a:lnTo>
                    <a:pt x="16" y="107"/>
                  </a:lnTo>
                  <a:lnTo>
                    <a:pt x="16" y="107"/>
                  </a:lnTo>
                  <a:lnTo>
                    <a:pt x="9" y="85"/>
                  </a:lnTo>
                  <a:lnTo>
                    <a:pt x="21" y="52"/>
                  </a:lnTo>
                  <a:lnTo>
                    <a:pt x="0" y="17"/>
                  </a:lnTo>
                  <a:lnTo>
                    <a:pt x="101" y="12"/>
                  </a:lnTo>
                  <a:lnTo>
                    <a:pt x="108" y="0"/>
                  </a:lnTo>
                  <a:lnTo>
                    <a:pt x="125" y="17"/>
                  </a:lnTo>
                  <a:lnTo>
                    <a:pt x="118" y="29"/>
                  </a:lnTo>
                  <a:lnTo>
                    <a:pt x="156" y="41"/>
                  </a:lnTo>
                  <a:lnTo>
                    <a:pt x="139" y="57"/>
                  </a:lnTo>
                  <a:lnTo>
                    <a:pt x="146" y="85"/>
                  </a:lnTo>
                  <a:lnTo>
                    <a:pt x="177" y="97"/>
                  </a:lnTo>
                  <a:lnTo>
                    <a:pt x="172" y="114"/>
                  </a:lnTo>
                  <a:lnTo>
                    <a:pt x="156" y="126"/>
                  </a:lnTo>
                  <a:lnTo>
                    <a:pt x="163" y="126"/>
                  </a:lnTo>
                  <a:lnTo>
                    <a:pt x="193" y="152"/>
                  </a:lnTo>
                  <a:lnTo>
                    <a:pt x="217" y="152"/>
                  </a:lnTo>
                  <a:lnTo>
                    <a:pt x="210" y="170"/>
                  </a:lnTo>
                  <a:lnTo>
                    <a:pt x="226" y="187"/>
                  </a:lnTo>
                  <a:lnTo>
                    <a:pt x="210" y="187"/>
                  </a:lnTo>
                  <a:lnTo>
                    <a:pt x="217" y="208"/>
                  </a:lnTo>
                  <a:lnTo>
                    <a:pt x="217" y="208"/>
                  </a:lnTo>
                  <a:lnTo>
                    <a:pt x="217" y="208"/>
                  </a:lnTo>
                  <a:close/>
                  <a:moveTo>
                    <a:pt x="146" y="69"/>
                  </a:moveTo>
                  <a:lnTo>
                    <a:pt x="146" y="57"/>
                  </a:lnTo>
                  <a:lnTo>
                    <a:pt x="146" y="57"/>
                  </a:lnTo>
                  <a:lnTo>
                    <a:pt x="146" y="69"/>
                  </a:lnTo>
                  <a:lnTo>
                    <a:pt x="146" y="69"/>
                  </a:lnTo>
                  <a:lnTo>
                    <a:pt x="146" y="6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 name="Freeform 384">
              <a:extLst>
                <a:ext uri="{FF2B5EF4-FFF2-40B4-BE49-F238E27FC236}">
                  <a16:creationId xmlns:a16="http://schemas.microsoft.com/office/drawing/2014/main" id="{FB23D426-827C-4D59-9A6C-1B3343386922}"/>
                </a:ext>
              </a:extLst>
            </p:cNvPr>
            <p:cNvSpPr>
              <a:spLocks/>
            </p:cNvSpPr>
            <p:nvPr/>
          </p:nvSpPr>
          <p:spPr bwMode="gray">
            <a:xfrm>
              <a:off x="13776240" y="3042837"/>
              <a:ext cx="9819" cy="5564"/>
            </a:xfrm>
            <a:custGeom>
              <a:avLst/>
              <a:gdLst>
                <a:gd name="T0" fmla="*/ 0 w 30"/>
                <a:gd name="T1" fmla="*/ 0 h 17"/>
                <a:gd name="T2" fmla="*/ 30 w 30"/>
                <a:gd name="T3" fmla="*/ 0 h 17"/>
                <a:gd name="T4" fmla="*/ 30 w 30"/>
                <a:gd name="T5" fmla="*/ 12 h 17"/>
                <a:gd name="T6" fmla="*/ 0 w 30"/>
                <a:gd name="T7" fmla="*/ 17 h 17"/>
                <a:gd name="T8" fmla="*/ 0 w 30"/>
                <a:gd name="T9" fmla="*/ 0 h 17"/>
                <a:gd name="T10" fmla="*/ 0 w 30"/>
                <a:gd name="T11" fmla="*/ 0 h 17"/>
                <a:gd name="T12" fmla="*/ 0 w 3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30" h="17">
                  <a:moveTo>
                    <a:pt x="0" y="0"/>
                  </a:moveTo>
                  <a:lnTo>
                    <a:pt x="30" y="0"/>
                  </a:lnTo>
                  <a:lnTo>
                    <a:pt x="30" y="12"/>
                  </a:lnTo>
                  <a:lnTo>
                    <a:pt x="0" y="17"/>
                  </a:lnTo>
                  <a:lnTo>
                    <a:pt x="0" y="0"/>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 name="Freeform 385">
              <a:extLst>
                <a:ext uri="{FF2B5EF4-FFF2-40B4-BE49-F238E27FC236}">
                  <a16:creationId xmlns:a16="http://schemas.microsoft.com/office/drawing/2014/main" id="{A664BA42-5367-4639-86C9-10A391B5D44E}"/>
                </a:ext>
              </a:extLst>
            </p:cNvPr>
            <p:cNvSpPr>
              <a:spLocks noEditPoints="1"/>
            </p:cNvSpPr>
            <p:nvPr/>
          </p:nvSpPr>
          <p:spPr bwMode="gray">
            <a:xfrm>
              <a:off x="14015167" y="4219795"/>
              <a:ext cx="283766" cy="323042"/>
            </a:xfrm>
            <a:custGeom>
              <a:avLst/>
              <a:gdLst>
                <a:gd name="T0" fmla="*/ 75 w 867"/>
                <a:gd name="T1" fmla="*/ 23 h 987"/>
                <a:gd name="T2" fmla="*/ 54 w 867"/>
                <a:gd name="T3" fmla="*/ 94 h 987"/>
                <a:gd name="T4" fmla="*/ 21 w 867"/>
                <a:gd name="T5" fmla="*/ 85 h 987"/>
                <a:gd name="T6" fmla="*/ 9 w 867"/>
                <a:gd name="T7" fmla="*/ 40 h 987"/>
                <a:gd name="T8" fmla="*/ 37 w 867"/>
                <a:gd name="T9" fmla="*/ 23 h 987"/>
                <a:gd name="T10" fmla="*/ 59 w 867"/>
                <a:gd name="T11" fmla="*/ 7 h 987"/>
                <a:gd name="T12" fmla="*/ 75 w 867"/>
                <a:gd name="T13" fmla="*/ 0 h 987"/>
                <a:gd name="T14" fmla="*/ 92 w 867"/>
                <a:gd name="T15" fmla="*/ 16 h 987"/>
                <a:gd name="T16" fmla="*/ 817 w 867"/>
                <a:gd name="T17" fmla="*/ 966 h 987"/>
                <a:gd name="T18" fmla="*/ 654 w 867"/>
                <a:gd name="T19" fmla="*/ 982 h 987"/>
                <a:gd name="T20" fmla="*/ 616 w 867"/>
                <a:gd name="T21" fmla="*/ 987 h 987"/>
                <a:gd name="T22" fmla="*/ 498 w 867"/>
                <a:gd name="T23" fmla="*/ 970 h 987"/>
                <a:gd name="T24" fmla="*/ 470 w 867"/>
                <a:gd name="T25" fmla="*/ 942 h 987"/>
                <a:gd name="T26" fmla="*/ 118 w 867"/>
                <a:gd name="T27" fmla="*/ 916 h 987"/>
                <a:gd name="T28" fmla="*/ 54 w 867"/>
                <a:gd name="T29" fmla="*/ 933 h 987"/>
                <a:gd name="T30" fmla="*/ 0 w 867"/>
                <a:gd name="T31" fmla="*/ 933 h 987"/>
                <a:gd name="T32" fmla="*/ 0 w 867"/>
                <a:gd name="T33" fmla="*/ 838 h 987"/>
                <a:gd name="T34" fmla="*/ 9 w 867"/>
                <a:gd name="T35" fmla="*/ 814 h 987"/>
                <a:gd name="T36" fmla="*/ 37 w 867"/>
                <a:gd name="T37" fmla="*/ 748 h 987"/>
                <a:gd name="T38" fmla="*/ 54 w 867"/>
                <a:gd name="T39" fmla="*/ 682 h 987"/>
                <a:gd name="T40" fmla="*/ 80 w 867"/>
                <a:gd name="T41" fmla="*/ 616 h 987"/>
                <a:gd name="T42" fmla="*/ 113 w 867"/>
                <a:gd name="T43" fmla="*/ 583 h 987"/>
                <a:gd name="T44" fmla="*/ 146 w 867"/>
                <a:gd name="T45" fmla="*/ 472 h 987"/>
                <a:gd name="T46" fmla="*/ 134 w 867"/>
                <a:gd name="T47" fmla="*/ 451 h 987"/>
                <a:gd name="T48" fmla="*/ 80 w 867"/>
                <a:gd name="T49" fmla="*/ 333 h 987"/>
                <a:gd name="T50" fmla="*/ 80 w 867"/>
                <a:gd name="T51" fmla="*/ 333 h 987"/>
                <a:gd name="T52" fmla="*/ 113 w 867"/>
                <a:gd name="T53" fmla="*/ 283 h 987"/>
                <a:gd name="T54" fmla="*/ 75 w 867"/>
                <a:gd name="T55" fmla="*/ 184 h 987"/>
                <a:gd name="T56" fmla="*/ 26 w 867"/>
                <a:gd name="T57" fmla="*/ 118 h 987"/>
                <a:gd name="T58" fmla="*/ 96 w 867"/>
                <a:gd name="T59" fmla="*/ 101 h 987"/>
                <a:gd name="T60" fmla="*/ 335 w 867"/>
                <a:gd name="T61" fmla="*/ 111 h 987"/>
                <a:gd name="T62" fmla="*/ 344 w 867"/>
                <a:gd name="T63" fmla="*/ 139 h 987"/>
                <a:gd name="T64" fmla="*/ 361 w 867"/>
                <a:gd name="T65" fmla="*/ 196 h 987"/>
                <a:gd name="T66" fmla="*/ 432 w 867"/>
                <a:gd name="T67" fmla="*/ 262 h 987"/>
                <a:gd name="T68" fmla="*/ 444 w 867"/>
                <a:gd name="T69" fmla="*/ 262 h 987"/>
                <a:gd name="T70" fmla="*/ 470 w 867"/>
                <a:gd name="T71" fmla="*/ 250 h 987"/>
                <a:gd name="T72" fmla="*/ 529 w 867"/>
                <a:gd name="T73" fmla="*/ 229 h 987"/>
                <a:gd name="T74" fmla="*/ 545 w 867"/>
                <a:gd name="T75" fmla="*/ 184 h 987"/>
                <a:gd name="T76" fmla="*/ 600 w 867"/>
                <a:gd name="T77" fmla="*/ 184 h 987"/>
                <a:gd name="T78" fmla="*/ 616 w 867"/>
                <a:gd name="T79" fmla="*/ 205 h 987"/>
                <a:gd name="T80" fmla="*/ 708 w 867"/>
                <a:gd name="T81" fmla="*/ 222 h 987"/>
                <a:gd name="T82" fmla="*/ 708 w 867"/>
                <a:gd name="T83" fmla="*/ 295 h 987"/>
                <a:gd name="T84" fmla="*/ 708 w 867"/>
                <a:gd name="T85" fmla="*/ 377 h 987"/>
                <a:gd name="T86" fmla="*/ 741 w 867"/>
                <a:gd name="T87" fmla="*/ 427 h 987"/>
                <a:gd name="T88" fmla="*/ 730 w 867"/>
                <a:gd name="T89" fmla="*/ 467 h 987"/>
                <a:gd name="T90" fmla="*/ 758 w 867"/>
                <a:gd name="T91" fmla="*/ 472 h 987"/>
                <a:gd name="T92" fmla="*/ 817 w 867"/>
                <a:gd name="T93" fmla="*/ 472 h 987"/>
                <a:gd name="T94" fmla="*/ 855 w 867"/>
                <a:gd name="T95" fmla="*/ 467 h 987"/>
                <a:gd name="T96" fmla="*/ 855 w 867"/>
                <a:gd name="T97" fmla="*/ 522 h 987"/>
                <a:gd name="T98" fmla="*/ 867 w 867"/>
                <a:gd name="T99" fmla="*/ 578 h 987"/>
                <a:gd name="T100" fmla="*/ 855 w 867"/>
                <a:gd name="T101" fmla="*/ 628 h 987"/>
                <a:gd name="T102" fmla="*/ 720 w 867"/>
                <a:gd name="T103" fmla="*/ 855 h 987"/>
                <a:gd name="T104" fmla="*/ 800 w 867"/>
                <a:gd name="T105" fmla="*/ 949 h 987"/>
                <a:gd name="T106" fmla="*/ 817 w 867"/>
                <a:gd name="T107" fmla="*/ 966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7" h="987">
                  <a:moveTo>
                    <a:pt x="92" y="16"/>
                  </a:moveTo>
                  <a:lnTo>
                    <a:pt x="75" y="23"/>
                  </a:lnTo>
                  <a:lnTo>
                    <a:pt x="54" y="40"/>
                  </a:lnTo>
                  <a:lnTo>
                    <a:pt x="54" y="94"/>
                  </a:lnTo>
                  <a:lnTo>
                    <a:pt x="26" y="94"/>
                  </a:lnTo>
                  <a:lnTo>
                    <a:pt x="21" y="85"/>
                  </a:lnTo>
                  <a:lnTo>
                    <a:pt x="26" y="73"/>
                  </a:lnTo>
                  <a:lnTo>
                    <a:pt x="9" y="40"/>
                  </a:lnTo>
                  <a:lnTo>
                    <a:pt x="26" y="23"/>
                  </a:lnTo>
                  <a:lnTo>
                    <a:pt x="37" y="23"/>
                  </a:lnTo>
                  <a:lnTo>
                    <a:pt x="42" y="16"/>
                  </a:lnTo>
                  <a:lnTo>
                    <a:pt x="59" y="7"/>
                  </a:lnTo>
                  <a:lnTo>
                    <a:pt x="63" y="0"/>
                  </a:lnTo>
                  <a:lnTo>
                    <a:pt x="75" y="0"/>
                  </a:lnTo>
                  <a:lnTo>
                    <a:pt x="92" y="16"/>
                  </a:lnTo>
                  <a:lnTo>
                    <a:pt x="92" y="16"/>
                  </a:lnTo>
                  <a:lnTo>
                    <a:pt x="92" y="16"/>
                  </a:lnTo>
                  <a:close/>
                  <a:moveTo>
                    <a:pt x="817" y="966"/>
                  </a:moveTo>
                  <a:lnTo>
                    <a:pt x="670" y="987"/>
                  </a:lnTo>
                  <a:lnTo>
                    <a:pt x="654" y="982"/>
                  </a:lnTo>
                  <a:lnTo>
                    <a:pt x="637" y="987"/>
                  </a:lnTo>
                  <a:lnTo>
                    <a:pt x="616" y="987"/>
                  </a:lnTo>
                  <a:lnTo>
                    <a:pt x="600" y="982"/>
                  </a:lnTo>
                  <a:lnTo>
                    <a:pt x="498" y="970"/>
                  </a:lnTo>
                  <a:lnTo>
                    <a:pt x="474" y="966"/>
                  </a:lnTo>
                  <a:lnTo>
                    <a:pt x="470" y="942"/>
                  </a:lnTo>
                  <a:lnTo>
                    <a:pt x="151" y="949"/>
                  </a:lnTo>
                  <a:lnTo>
                    <a:pt x="118" y="916"/>
                  </a:lnTo>
                  <a:lnTo>
                    <a:pt x="96" y="909"/>
                  </a:lnTo>
                  <a:lnTo>
                    <a:pt x="54" y="933"/>
                  </a:lnTo>
                  <a:lnTo>
                    <a:pt x="21" y="925"/>
                  </a:lnTo>
                  <a:lnTo>
                    <a:pt x="0" y="933"/>
                  </a:lnTo>
                  <a:lnTo>
                    <a:pt x="0" y="876"/>
                  </a:lnTo>
                  <a:lnTo>
                    <a:pt x="0" y="838"/>
                  </a:lnTo>
                  <a:lnTo>
                    <a:pt x="0" y="831"/>
                  </a:lnTo>
                  <a:lnTo>
                    <a:pt x="9" y="814"/>
                  </a:lnTo>
                  <a:lnTo>
                    <a:pt x="21" y="781"/>
                  </a:lnTo>
                  <a:lnTo>
                    <a:pt x="37" y="748"/>
                  </a:lnTo>
                  <a:lnTo>
                    <a:pt x="37" y="703"/>
                  </a:lnTo>
                  <a:lnTo>
                    <a:pt x="54" y="682"/>
                  </a:lnTo>
                  <a:lnTo>
                    <a:pt x="54" y="649"/>
                  </a:lnTo>
                  <a:lnTo>
                    <a:pt x="80" y="616"/>
                  </a:lnTo>
                  <a:lnTo>
                    <a:pt x="80" y="600"/>
                  </a:lnTo>
                  <a:lnTo>
                    <a:pt x="113" y="583"/>
                  </a:lnTo>
                  <a:lnTo>
                    <a:pt x="134" y="526"/>
                  </a:lnTo>
                  <a:lnTo>
                    <a:pt x="146" y="472"/>
                  </a:lnTo>
                  <a:lnTo>
                    <a:pt x="134" y="460"/>
                  </a:lnTo>
                  <a:lnTo>
                    <a:pt x="134" y="451"/>
                  </a:lnTo>
                  <a:lnTo>
                    <a:pt x="118" y="432"/>
                  </a:lnTo>
                  <a:lnTo>
                    <a:pt x="80" y="333"/>
                  </a:lnTo>
                  <a:lnTo>
                    <a:pt x="92" y="316"/>
                  </a:lnTo>
                  <a:lnTo>
                    <a:pt x="80" y="333"/>
                  </a:lnTo>
                  <a:lnTo>
                    <a:pt x="113" y="304"/>
                  </a:lnTo>
                  <a:lnTo>
                    <a:pt x="113" y="283"/>
                  </a:lnTo>
                  <a:lnTo>
                    <a:pt x="75" y="205"/>
                  </a:lnTo>
                  <a:lnTo>
                    <a:pt x="75" y="184"/>
                  </a:lnTo>
                  <a:lnTo>
                    <a:pt x="54" y="155"/>
                  </a:lnTo>
                  <a:lnTo>
                    <a:pt x="26" y="118"/>
                  </a:lnTo>
                  <a:lnTo>
                    <a:pt x="63" y="111"/>
                  </a:lnTo>
                  <a:lnTo>
                    <a:pt x="96" y="101"/>
                  </a:lnTo>
                  <a:lnTo>
                    <a:pt x="297" y="101"/>
                  </a:lnTo>
                  <a:lnTo>
                    <a:pt x="335" y="111"/>
                  </a:lnTo>
                  <a:lnTo>
                    <a:pt x="344" y="127"/>
                  </a:lnTo>
                  <a:lnTo>
                    <a:pt x="344" y="139"/>
                  </a:lnTo>
                  <a:lnTo>
                    <a:pt x="361" y="184"/>
                  </a:lnTo>
                  <a:lnTo>
                    <a:pt x="361" y="196"/>
                  </a:lnTo>
                  <a:lnTo>
                    <a:pt x="406" y="262"/>
                  </a:lnTo>
                  <a:lnTo>
                    <a:pt x="432" y="262"/>
                  </a:lnTo>
                  <a:lnTo>
                    <a:pt x="444" y="262"/>
                  </a:lnTo>
                  <a:lnTo>
                    <a:pt x="444" y="262"/>
                  </a:lnTo>
                  <a:lnTo>
                    <a:pt x="470" y="250"/>
                  </a:lnTo>
                  <a:lnTo>
                    <a:pt x="470" y="250"/>
                  </a:lnTo>
                  <a:lnTo>
                    <a:pt x="529" y="250"/>
                  </a:lnTo>
                  <a:lnTo>
                    <a:pt x="529" y="229"/>
                  </a:lnTo>
                  <a:lnTo>
                    <a:pt x="545" y="222"/>
                  </a:lnTo>
                  <a:lnTo>
                    <a:pt x="545" y="184"/>
                  </a:lnTo>
                  <a:lnTo>
                    <a:pt x="600" y="184"/>
                  </a:lnTo>
                  <a:lnTo>
                    <a:pt x="600" y="184"/>
                  </a:lnTo>
                  <a:lnTo>
                    <a:pt x="621" y="184"/>
                  </a:lnTo>
                  <a:lnTo>
                    <a:pt x="616" y="205"/>
                  </a:lnTo>
                  <a:lnTo>
                    <a:pt x="704" y="205"/>
                  </a:lnTo>
                  <a:lnTo>
                    <a:pt x="708" y="222"/>
                  </a:lnTo>
                  <a:lnTo>
                    <a:pt x="704" y="250"/>
                  </a:lnTo>
                  <a:lnTo>
                    <a:pt x="708" y="295"/>
                  </a:lnTo>
                  <a:lnTo>
                    <a:pt x="704" y="356"/>
                  </a:lnTo>
                  <a:lnTo>
                    <a:pt x="708" y="377"/>
                  </a:lnTo>
                  <a:lnTo>
                    <a:pt x="725" y="394"/>
                  </a:lnTo>
                  <a:lnTo>
                    <a:pt x="741" y="427"/>
                  </a:lnTo>
                  <a:lnTo>
                    <a:pt x="741" y="460"/>
                  </a:lnTo>
                  <a:lnTo>
                    <a:pt x="730" y="467"/>
                  </a:lnTo>
                  <a:lnTo>
                    <a:pt x="730" y="488"/>
                  </a:lnTo>
                  <a:lnTo>
                    <a:pt x="758" y="472"/>
                  </a:lnTo>
                  <a:lnTo>
                    <a:pt x="796" y="484"/>
                  </a:lnTo>
                  <a:lnTo>
                    <a:pt x="817" y="472"/>
                  </a:lnTo>
                  <a:lnTo>
                    <a:pt x="850" y="472"/>
                  </a:lnTo>
                  <a:lnTo>
                    <a:pt x="855" y="467"/>
                  </a:lnTo>
                  <a:lnTo>
                    <a:pt x="867" y="505"/>
                  </a:lnTo>
                  <a:lnTo>
                    <a:pt x="855" y="522"/>
                  </a:lnTo>
                  <a:lnTo>
                    <a:pt x="855" y="559"/>
                  </a:lnTo>
                  <a:lnTo>
                    <a:pt x="867" y="578"/>
                  </a:lnTo>
                  <a:lnTo>
                    <a:pt x="850" y="600"/>
                  </a:lnTo>
                  <a:lnTo>
                    <a:pt x="855" y="628"/>
                  </a:lnTo>
                  <a:lnTo>
                    <a:pt x="720" y="616"/>
                  </a:lnTo>
                  <a:lnTo>
                    <a:pt x="720" y="855"/>
                  </a:lnTo>
                  <a:lnTo>
                    <a:pt x="725" y="876"/>
                  </a:lnTo>
                  <a:lnTo>
                    <a:pt x="800" y="949"/>
                  </a:lnTo>
                  <a:lnTo>
                    <a:pt x="817" y="966"/>
                  </a:lnTo>
                  <a:lnTo>
                    <a:pt x="817" y="966"/>
                  </a:lnTo>
                  <a:lnTo>
                    <a:pt x="817" y="96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 name="Freeform 386">
              <a:extLst>
                <a:ext uri="{FF2B5EF4-FFF2-40B4-BE49-F238E27FC236}">
                  <a16:creationId xmlns:a16="http://schemas.microsoft.com/office/drawing/2014/main" id="{348AB842-4A14-41D6-A18C-D02C55011130}"/>
                </a:ext>
              </a:extLst>
            </p:cNvPr>
            <p:cNvSpPr>
              <a:spLocks/>
            </p:cNvSpPr>
            <p:nvPr/>
          </p:nvSpPr>
          <p:spPr bwMode="gray">
            <a:xfrm>
              <a:off x="9823806" y="4451521"/>
              <a:ext cx="2291" cy="4582"/>
            </a:xfrm>
            <a:custGeom>
              <a:avLst/>
              <a:gdLst>
                <a:gd name="T0" fmla="*/ 5 w 7"/>
                <a:gd name="T1" fmla="*/ 14 h 14"/>
                <a:gd name="T2" fmla="*/ 0 w 7"/>
                <a:gd name="T3" fmla="*/ 14 h 14"/>
                <a:gd name="T4" fmla="*/ 7 w 7"/>
                <a:gd name="T5" fmla="*/ 0 h 14"/>
                <a:gd name="T6" fmla="*/ 5 w 7"/>
                <a:gd name="T7" fmla="*/ 14 h 14"/>
                <a:gd name="T8" fmla="*/ 5 w 7"/>
                <a:gd name="T9" fmla="*/ 14 h 14"/>
                <a:gd name="T10" fmla="*/ 5 w 7"/>
                <a:gd name="T11" fmla="*/ 14 h 14"/>
              </a:gdLst>
              <a:ahLst/>
              <a:cxnLst>
                <a:cxn ang="0">
                  <a:pos x="T0" y="T1"/>
                </a:cxn>
                <a:cxn ang="0">
                  <a:pos x="T2" y="T3"/>
                </a:cxn>
                <a:cxn ang="0">
                  <a:pos x="T4" y="T5"/>
                </a:cxn>
                <a:cxn ang="0">
                  <a:pos x="T6" y="T7"/>
                </a:cxn>
                <a:cxn ang="0">
                  <a:pos x="T8" y="T9"/>
                </a:cxn>
                <a:cxn ang="0">
                  <a:pos x="T10" y="T11"/>
                </a:cxn>
              </a:cxnLst>
              <a:rect l="0" t="0" r="r" b="b"/>
              <a:pathLst>
                <a:path w="7" h="14">
                  <a:moveTo>
                    <a:pt x="5" y="14"/>
                  </a:moveTo>
                  <a:lnTo>
                    <a:pt x="0" y="14"/>
                  </a:lnTo>
                  <a:lnTo>
                    <a:pt x="7" y="0"/>
                  </a:lnTo>
                  <a:lnTo>
                    <a:pt x="5" y="14"/>
                  </a:lnTo>
                  <a:lnTo>
                    <a:pt x="5" y="14"/>
                  </a:lnTo>
                  <a:lnTo>
                    <a:pt x="5" y="1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 name="Freeform 387">
              <a:extLst>
                <a:ext uri="{FF2B5EF4-FFF2-40B4-BE49-F238E27FC236}">
                  <a16:creationId xmlns:a16="http://schemas.microsoft.com/office/drawing/2014/main" id="{7C054D12-EA83-4F94-A38A-51179455024A}"/>
                </a:ext>
              </a:extLst>
            </p:cNvPr>
            <p:cNvSpPr>
              <a:spLocks noEditPoints="1"/>
            </p:cNvSpPr>
            <p:nvPr/>
          </p:nvSpPr>
          <p:spPr bwMode="gray">
            <a:xfrm>
              <a:off x="12054988" y="4637099"/>
              <a:ext cx="455597" cy="925595"/>
            </a:xfrm>
            <a:custGeom>
              <a:avLst/>
              <a:gdLst>
                <a:gd name="T0" fmla="*/ 508 w 1392"/>
                <a:gd name="T1" fmla="*/ 21 h 2828"/>
                <a:gd name="T2" fmla="*/ 652 w 1392"/>
                <a:gd name="T3" fmla="*/ 54 h 2828"/>
                <a:gd name="T4" fmla="*/ 870 w 1392"/>
                <a:gd name="T5" fmla="*/ 132 h 2828"/>
                <a:gd name="T6" fmla="*/ 1118 w 1392"/>
                <a:gd name="T7" fmla="*/ 267 h 2828"/>
                <a:gd name="T8" fmla="*/ 1080 w 1392"/>
                <a:gd name="T9" fmla="*/ 333 h 2828"/>
                <a:gd name="T10" fmla="*/ 1170 w 1392"/>
                <a:gd name="T11" fmla="*/ 428 h 2828"/>
                <a:gd name="T12" fmla="*/ 1245 w 1392"/>
                <a:gd name="T13" fmla="*/ 428 h 2828"/>
                <a:gd name="T14" fmla="*/ 1333 w 1392"/>
                <a:gd name="T15" fmla="*/ 284 h 2828"/>
                <a:gd name="T16" fmla="*/ 1392 w 1392"/>
                <a:gd name="T17" fmla="*/ 350 h 2828"/>
                <a:gd name="T18" fmla="*/ 1278 w 1392"/>
                <a:gd name="T19" fmla="*/ 465 h 2828"/>
                <a:gd name="T20" fmla="*/ 1208 w 1392"/>
                <a:gd name="T21" fmla="*/ 539 h 2828"/>
                <a:gd name="T22" fmla="*/ 1118 w 1392"/>
                <a:gd name="T23" fmla="*/ 650 h 2828"/>
                <a:gd name="T24" fmla="*/ 1094 w 1392"/>
                <a:gd name="T25" fmla="*/ 754 h 2828"/>
                <a:gd name="T26" fmla="*/ 1063 w 1392"/>
                <a:gd name="T27" fmla="*/ 876 h 2828"/>
                <a:gd name="T28" fmla="*/ 1059 w 1392"/>
                <a:gd name="T29" fmla="*/ 997 h 2828"/>
                <a:gd name="T30" fmla="*/ 1156 w 1392"/>
                <a:gd name="T31" fmla="*/ 1141 h 2828"/>
                <a:gd name="T32" fmla="*/ 1068 w 1392"/>
                <a:gd name="T33" fmla="*/ 1321 h 2828"/>
                <a:gd name="T34" fmla="*/ 787 w 1392"/>
                <a:gd name="T35" fmla="*/ 1387 h 2828"/>
                <a:gd name="T36" fmla="*/ 787 w 1392"/>
                <a:gd name="T37" fmla="*/ 1465 h 2828"/>
                <a:gd name="T38" fmla="*/ 740 w 1392"/>
                <a:gd name="T39" fmla="*/ 1547 h 2828"/>
                <a:gd name="T40" fmla="*/ 593 w 1392"/>
                <a:gd name="T41" fmla="*/ 1547 h 2828"/>
                <a:gd name="T42" fmla="*/ 638 w 1392"/>
                <a:gd name="T43" fmla="*/ 1658 h 2828"/>
                <a:gd name="T44" fmla="*/ 702 w 1392"/>
                <a:gd name="T45" fmla="*/ 1668 h 2828"/>
                <a:gd name="T46" fmla="*/ 600 w 1392"/>
                <a:gd name="T47" fmla="*/ 1680 h 2828"/>
                <a:gd name="T48" fmla="*/ 584 w 1392"/>
                <a:gd name="T49" fmla="*/ 1791 h 2828"/>
                <a:gd name="T50" fmla="*/ 563 w 1392"/>
                <a:gd name="T51" fmla="*/ 1869 h 2828"/>
                <a:gd name="T52" fmla="*/ 421 w 1392"/>
                <a:gd name="T53" fmla="*/ 2013 h 2828"/>
                <a:gd name="T54" fmla="*/ 518 w 1392"/>
                <a:gd name="T55" fmla="*/ 2140 h 2828"/>
                <a:gd name="T56" fmla="*/ 421 w 1392"/>
                <a:gd name="T57" fmla="*/ 2251 h 2828"/>
                <a:gd name="T58" fmla="*/ 369 w 1392"/>
                <a:gd name="T59" fmla="*/ 2350 h 2828"/>
                <a:gd name="T60" fmla="*/ 315 w 1392"/>
                <a:gd name="T61" fmla="*/ 2391 h 2828"/>
                <a:gd name="T62" fmla="*/ 324 w 1392"/>
                <a:gd name="T63" fmla="*/ 2495 h 2828"/>
                <a:gd name="T64" fmla="*/ 93 w 1392"/>
                <a:gd name="T65" fmla="*/ 2502 h 2828"/>
                <a:gd name="T66" fmla="*/ 60 w 1392"/>
                <a:gd name="T67" fmla="*/ 2400 h 2828"/>
                <a:gd name="T68" fmla="*/ 8 w 1392"/>
                <a:gd name="T69" fmla="*/ 2322 h 2828"/>
                <a:gd name="T70" fmla="*/ 38 w 1392"/>
                <a:gd name="T71" fmla="*/ 2239 h 2828"/>
                <a:gd name="T72" fmla="*/ 83 w 1392"/>
                <a:gd name="T73" fmla="*/ 2112 h 2828"/>
                <a:gd name="T74" fmla="*/ 130 w 1392"/>
                <a:gd name="T75" fmla="*/ 1996 h 2828"/>
                <a:gd name="T76" fmla="*/ 147 w 1392"/>
                <a:gd name="T77" fmla="*/ 1923 h 2828"/>
                <a:gd name="T78" fmla="*/ 180 w 1392"/>
                <a:gd name="T79" fmla="*/ 1835 h 2828"/>
                <a:gd name="T80" fmla="*/ 130 w 1392"/>
                <a:gd name="T81" fmla="*/ 1769 h 2828"/>
                <a:gd name="T82" fmla="*/ 97 w 1392"/>
                <a:gd name="T83" fmla="*/ 1713 h 2828"/>
                <a:gd name="T84" fmla="*/ 130 w 1392"/>
                <a:gd name="T85" fmla="*/ 1625 h 2828"/>
                <a:gd name="T86" fmla="*/ 130 w 1392"/>
                <a:gd name="T87" fmla="*/ 1474 h 2828"/>
                <a:gd name="T88" fmla="*/ 152 w 1392"/>
                <a:gd name="T89" fmla="*/ 1354 h 2828"/>
                <a:gd name="T90" fmla="*/ 180 w 1392"/>
                <a:gd name="T91" fmla="*/ 1235 h 2828"/>
                <a:gd name="T92" fmla="*/ 201 w 1392"/>
                <a:gd name="T93" fmla="*/ 1132 h 2828"/>
                <a:gd name="T94" fmla="*/ 244 w 1392"/>
                <a:gd name="T95" fmla="*/ 976 h 2828"/>
                <a:gd name="T96" fmla="*/ 244 w 1392"/>
                <a:gd name="T97" fmla="*/ 888 h 2828"/>
                <a:gd name="T98" fmla="*/ 239 w 1392"/>
                <a:gd name="T99" fmla="*/ 782 h 2828"/>
                <a:gd name="T100" fmla="*/ 239 w 1392"/>
                <a:gd name="T101" fmla="*/ 666 h 2828"/>
                <a:gd name="T102" fmla="*/ 308 w 1392"/>
                <a:gd name="T103" fmla="*/ 477 h 2828"/>
                <a:gd name="T104" fmla="*/ 362 w 1392"/>
                <a:gd name="T105" fmla="*/ 333 h 2828"/>
                <a:gd name="T106" fmla="*/ 438 w 1392"/>
                <a:gd name="T107" fmla="*/ 165 h 2828"/>
                <a:gd name="T108" fmla="*/ 799 w 1392"/>
                <a:gd name="T109" fmla="*/ 1370 h 2828"/>
                <a:gd name="T110" fmla="*/ 345 w 1392"/>
                <a:gd name="T111" fmla="*/ 2589 h 2828"/>
                <a:gd name="T112" fmla="*/ 378 w 1392"/>
                <a:gd name="T113" fmla="*/ 2655 h 2828"/>
                <a:gd name="T114" fmla="*/ 593 w 1392"/>
                <a:gd name="T115" fmla="*/ 2790 h 2828"/>
                <a:gd name="T116" fmla="*/ 345 w 1392"/>
                <a:gd name="T117" fmla="*/ 2806 h 2828"/>
                <a:gd name="T118" fmla="*/ 686 w 1392"/>
                <a:gd name="T119" fmla="*/ 2794 h 2828"/>
                <a:gd name="T120" fmla="*/ 345 w 1392"/>
                <a:gd name="T121" fmla="*/ 2811 h 2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2" h="2828">
                  <a:moveTo>
                    <a:pt x="449" y="78"/>
                  </a:moveTo>
                  <a:lnTo>
                    <a:pt x="466" y="61"/>
                  </a:lnTo>
                  <a:lnTo>
                    <a:pt x="466" y="54"/>
                  </a:lnTo>
                  <a:lnTo>
                    <a:pt x="475" y="45"/>
                  </a:lnTo>
                  <a:lnTo>
                    <a:pt x="475" y="33"/>
                  </a:lnTo>
                  <a:lnTo>
                    <a:pt x="508" y="21"/>
                  </a:lnTo>
                  <a:lnTo>
                    <a:pt x="518" y="0"/>
                  </a:lnTo>
                  <a:lnTo>
                    <a:pt x="546" y="21"/>
                  </a:lnTo>
                  <a:lnTo>
                    <a:pt x="600" y="21"/>
                  </a:lnTo>
                  <a:lnTo>
                    <a:pt x="631" y="33"/>
                  </a:lnTo>
                  <a:lnTo>
                    <a:pt x="648" y="78"/>
                  </a:lnTo>
                  <a:lnTo>
                    <a:pt x="652" y="54"/>
                  </a:lnTo>
                  <a:lnTo>
                    <a:pt x="681" y="17"/>
                  </a:lnTo>
                  <a:lnTo>
                    <a:pt x="756" y="17"/>
                  </a:lnTo>
                  <a:lnTo>
                    <a:pt x="761" y="33"/>
                  </a:lnTo>
                  <a:lnTo>
                    <a:pt x="794" y="54"/>
                  </a:lnTo>
                  <a:lnTo>
                    <a:pt x="811" y="95"/>
                  </a:lnTo>
                  <a:lnTo>
                    <a:pt x="870" y="132"/>
                  </a:lnTo>
                  <a:lnTo>
                    <a:pt x="879" y="149"/>
                  </a:lnTo>
                  <a:lnTo>
                    <a:pt x="934" y="165"/>
                  </a:lnTo>
                  <a:lnTo>
                    <a:pt x="950" y="165"/>
                  </a:lnTo>
                  <a:lnTo>
                    <a:pt x="1030" y="227"/>
                  </a:lnTo>
                  <a:lnTo>
                    <a:pt x="1101" y="255"/>
                  </a:lnTo>
                  <a:lnTo>
                    <a:pt x="1118" y="267"/>
                  </a:lnTo>
                  <a:lnTo>
                    <a:pt x="1123" y="276"/>
                  </a:lnTo>
                  <a:lnTo>
                    <a:pt x="1123" y="284"/>
                  </a:lnTo>
                  <a:lnTo>
                    <a:pt x="1101" y="300"/>
                  </a:lnTo>
                  <a:lnTo>
                    <a:pt x="1101" y="317"/>
                  </a:lnTo>
                  <a:lnTo>
                    <a:pt x="1101" y="317"/>
                  </a:lnTo>
                  <a:lnTo>
                    <a:pt x="1080" y="333"/>
                  </a:lnTo>
                  <a:lnTo>
                    <a:pt x="1080" y="371"/>
                  </a:lnTo>
                  <a:lnTo>
                    <a:pt x="1047" y="411"/>
                  </a:lnTo>
                  <a:lnTo>
                    <a:pt x="1047" y="421"/>
                  </a:lnTo>
                  <a:lnTo>
                    <a:pt x="1111" y="421"/>
                  </a:lnTo>
                  <a:lnTo>
                    <a:pt x="1156" y="432"/>
                  </a:lnTo>
                  <a:lnTo>
                    <a:pt x="1170" y="428"/>
                  </a:lnTo>
                  <a:lnTo>
                    <a:pt x="1177" y="432"/>
                  </a:lnTo>
                  <a:lnTo>
                    <a:pt x="1193" y="432"/>
                  </a:lnTo>
                  <a:lnTo>
                    <a:pt x="1203" y="444"/>
                  </a:lnTo>
                  <a:lnTo>
                    <a:pt x="1224" y="421"/>
                  </a:lnTo>
                  <a:lnTo>
                    <a:pt x="1241" y="421"/>
                  </a:lnTo>
                  <a:lnTo>
                    <a:pt x="1245" y="428"/>
                  </a:lnTo>
                  <a:lnTo>
                    <a:pt x="1262" y="421"/>
                  </a:lnTo>
                  <a:lnTo>
                    <a:pt x="1262" y="404"/>
                  </a:lnTo>
                  <a:lnTo>
                    <a:pt x="1274" y="395"/>
                  </a:lnTo>
                  <a:lnTo>
                    <a:pt x="1300" y="378"/>
                  </a:lnTo>
                  <a:lnTo>
                    <a:pt x="1328" y="354"/>
                  </a:lnTo>
                  <a:lnTo>
                    <a:pt x="1333" y="284"/>
                  </a:lnTo>
                  <a:lnTo>
                    <a:pt x="1337" y="293"/>
                  </a:lnTo>
                  <a:lnTo>
                    <a:pt x="1366" y="276"/>
                  </a:lnTo>
                  <a:lnTo>
                    <a:pt x="1380" y="293"/>
                  </a:lnTo>
                  <a:lnTo>
                    <a:pt x="1387" y="317"/>
                  </a:lnTo>
                  <a:lnTo>
                    <a:pt x="1392" y="338"/>
                  </a:lnTo>
                  <a:lnTo>
                    <a:pt x="1392" y="350"/>
                  </a:lnTo>
                  <a:lnTo>
                    <a:pt x="1392" y="387"/>
                  </a:lnTo>
                  <a:lnTo>
                    <a:pt x="1387" y="404"/>
                  </a:lnTo>
                  <a:lnTo>
                    <a:pt x="1349" y="428"/>
                  </a:lnTo>
                  <a:lnTo>
                    <a:pt x="1316" y="432"/>
                  </a:lnTo>
                  <a:lnTo>
                    <a:pt x="1300" y="461"/>
                  </a:lnTo>
                  <a:lnTo>
                    <a:pt x="1278" y="465"/>
                  </a:lnTo>
                  <a:lnTo>
                    <a:pt x="1274" y="482"/>
                  </a:lnTo>
                  <a:lnTo>
                    <a:pt x="1245" y="489"/>
                  </a:lnTo>
                  <a:lnTo>
                    <a:pt x="1257" y="498"/>
                  </a:lnTo>
                  <a:lnTo>
                    <a:pt x="1257" y="506"/>
                  </a:lnTo>
                  <a:lnTo>
                    <a:pt x="1241" y="506"/>
                  </a:lnTo>
                  <a:lnTo>
                    <a:pt x="1208" y="539"/>
                  </a:lnTo>
                  <a:lnTo>
                    <a:pt x="1203" y="560"/>
                  </a:lnTo>
                  <a:lnTo>
                    <a:pt x="1186" y="560"/>
                  </a:lnTo>
                  <a:lnTo>
                    <a:pt x="1156" y="610"/>
                  </a:lnTo>
                  <a:lnTo>
                    <a:pt x="1139" y="614"/>
                  </a:lnTo>
                  <a:lnTo>
                    <a:pt x="1139" y="633"/>
                  </a:lnTo>
                  <a:lnTo>
                    <a:pt x="1118" y="650"/>
                  </a:lnTo>
                  <a:lnTo>
                    <a:pt x="1118" y="654"/>
                  </a:lnTo>
                  <a:lnTo>
                    <a:pt x="1101" y="671"/>
                  </a:lnTo>
                  <a:lnTo>
                    <a:pt x="1111" y="699"/>
                  </a:lnTo>
                  <a:lnTo>
                    <a:pt x="1094" y="725"/>
                  </a:lnTo>
                  <a:lnTo>
                    <a:pt x="1085" y="742"/>
                  </a:lnTo>
                  <a:lnTo>
                    <a:pt x="1094" y="754"/>
                  </a:lnTo>
                  <a:lnTo>
                    <a:pt x="1085" y="765"/>
                  </a:lnTo>
                  <a:lnTo>
                    <a:pt x="1080" y="782"/>
                  </a:lnTo>
                  <a:lnTo>
                    <a:pt x="1085" y="815"/>
                  </a:lnTo>
                  <a:lnTo>
                    <a:pt x="1080" y="820"/>
                  </a:lnTo>
                  <a:lnTo>
                    <a:pt x="1080" y="869"/>
                  </a:lnTo>
                  <a:lnTo>
                    <a:pt x="1063" y="876"/>
                  </a:lnTo>
                  <a:lnTo>
                    <a:pt x="1059" y="910"/>
                  </a:lnTo>
                  <a:lnTo>
                    <a:pt x="1059" y="926"/>
                  </a:lnTo>
                  <a:lnTo>
                    <a:pt x="1063" y="959"/>
                  </a:lnTo>
                  <a:lnTo>
                    <a:pt x="1063" y="964"/>
                  </a:lnTo>
                  <a:lnTo>
                    <a:pt x="1059" y="976"/>
                  </a:lnTo>
                  <a:lnTo>
                    <a:pt x="1059" y="997"/>
                  </a:lnTo>
                  <a:lnTo>
                    <a:pt x="1123" y="1037"/>
                  </a:lnTo>
                  <a:lnTo>
                    <a:pt x="1149" y="1058"/>
                  </a:lnTo>
                  <a:lnTo>
                    <a:pt x="1156" y="1070"/>
                  </a:lnTo>
                  <a:lnTo>
                    <a:pt x="1132" y="1091"/>
                  </a:lnTo>
                  <a:lnTo>
                    <a:pt x="1132" y="1108"/>
                  </a:lnTo>
                  <a:lnTo>
                    <a:pt x="1156" y="1141"/>
                  </a:lnTo>
                  <a:lnTo>
                    <a:pt x="1165" y="1141"/>
                  </a:lnTo>
                  <a:lnTo>
                    <a:pt x="1177" y="1141"/>
                  </a:lnTo>
                  <a:lnTo>
                    <a:pt x="1186" y="1186"/>
                  </a:lnTo>
                  <a:lnTo>
                    <a:pt x="1123" y="1264"/>
                  </a:lnTo>
                  <a:lnTo>
                    <a:pt x="1123" y="1292"/>
                  </a:lnTo>
                  <a:lnTo>
                    <a:pt x="1068" y="1321"/>
                  </a:lnTo>
                  <a:lnTo>
                    <a:pt x="960" y="1347"/>
                  </a:lnTo>
                  <a:lnTo>
                    <a:pt x="879" y="1363"/>
                  </a:lnTo>
                  <a:lnTo>
                    <a:pt x="825" y="1363"/>
                  </a:lnTo>
                  <a:lnTo>
                    <a:pt x="787" y="1347"/>
                  </a:lnTo>
                  <a:lnTo>
                    <a:pt x="794" y="1363"/>
                  </a:lnTo>
                  <a:lnTo>
                    <a:pt x="787" y="1387"/>
                  </a:lnTo>
                  <a:lnTo>
                    <a:pt x="811" y="1391"/>
                  </a:lnTo>
                  <a:lnTo>
                    <a:pt x="794" y="1391"/>
                  </a:lnTo>
                  <a:lnTo>
                    <a:pt x="811" y="1408"/>
                  </a:lnTo>
                  <a:lnTo>
                    <a:pt x="799" y="1432"/>
                  </a:lnTo>
                  <a:lnTo>
                    <a:pt x="794" y="1432"/>
                  </a:lnTo>
                  <a:lnTo>
                    <a:pt x="787" y="1465"/>
                  </a:lnTo>
                  <a:lnTo>
                    <a:pt x="778" y="1474"/>
                  </a:lnTo>
                  <a:lnTo>
                    <a:pt x="794" y="1498"/>
                  </a:lnTo>
                  <a:lnTo>
                    <a:pt x="787" y="1502"/>
                  </a:lnTo>
                  <a:lnTo>
                    <a:pt x="799" y="1502"/>
                  </a:lnTo>
                  <a:lnTo>
                    <a:pt x="787" y="1531"/>
                  </a:lnTo>
                  <a:lnTo>
                    <a:pt x="740" y="1547"/>
                  </a:lnTo>
                  <a:lnTo>
                    <a:pt x="686" y="1547"/>
                  </a:lnTo>
                  <a:lnTo>
                    <a:pt x="626" y="1519"/>
                  </a:lnTo>
                  <a:lnTo>
                    <a:pt x="615" y="1514"/>
                  </a:lnTo>
                  <a:lnTo>
                    <a:pt x="600" y="1514"/>
                  </a:lnTo>
                  <a:lnTo>
                    <a:pt x="593" y="1519"/>
                  </a:lnTo>
                  <a:lnTo>
                    <a:pt x="593" y="1547"/>
                  </a:lnTo>
                  <a:lnTo>
                    <a:pt x="600" y="1576"/>
                  </a:lnTo>
                  <a:lnTo>
                    <a:pt x="593" y="1613"/>
                  </a:lnTo>
                  <a:lnTo>
                    <a:pt x="600" y="1625"/>
                  </a:lnTo>
                  <a:lnTo>
                    <a:pt x="638" y="1642"/>
                  </a:lnTo>
                  <a:lnTo>
                    <a:pt x="631" y="1658"/>
                  </a:lnTo>
                  <a:lnTo>
                    <a:pt x="638" y="1658"/>
                  </a:lnTo>
                  <a:lnTo>
                    <a:pt x="664" y="1658"/>
                  </a:lnTo>
                  <a:lnTo>
                    <a:pt x="669" y="1642"/>
                  </a:lnTo>
                  <a:lnTo>
                    <a:pt x="648" y="1642"/>
                  </a:lnTo>
                  <a:lnTo>
                    <a:pt x="686" y="1625"/>
                  </a:lnTo>
                  <a:lnTo>
                    <a:pt x="702" y="1646"/>
                  </a:lnTo>
                  <a:lnTo>
                    <a:pt x="702" y="1668"/>
                  </a:lnTo>
                  <a:lnTo>
                    <a:pt x="690" y="1687"/>
                  </a:lnTo>
                  <a:lnTo>
                    <a:pt x="664" y="1696"/>
                  </a:lnTo>
                  <a:lnTo>
                    <a:pt x="652" y="1687"/>
                  </a:lnTo>
                  <a:lnTo>
                    <a:pt x="652" y="1668"/>
                  </a:lnTo>
                  <a:lnTo>
                    <a:pt x="648" y="1663"/>
                  </a:lnTo>
                  <a:lnTo>
                    <a:pt x="600" y="1680"/>
                  </a:lnTo>
                  <a:lnTo>
                    <a:pt x="600" y="1687"/>
                  </a:lnTo>
                  <a:lnTo>
                    <a:pt x="652" y="1703"/>
                  </a:lnTo>
                  <a:lnTo>
                    <a:pt x="610" y="1724"/>
                  </a:lnTo>
                  <a:lnTo>
                    <a:pt x="577" y="1769"/>
                  </a:lnTo>
                  <a:lnTo>
                    <a:pt x="577" y="1774"/>
                  </a:lnTo>
                  <a:lnTo>
                    <a:pt x="584" y="1791"/>
                  </a:lnTo>
                  <a:lnTo>
                    <a:pt x="577" y="1814"/>
                  </a:lnTo>
                  <a:lnTo>
                    <a:pt x="584" y="1824"/>
                  </a:lnTo>
                  <a:lnTo>
                    <a:pt x="577" y="1835"/>
                  </a:lnTo>
                  <a:lnTo>
                    <a:pt x="556" y="1852"/>
                  </a:lnTo>
                  <a:lnTo>
                    <a:pt x="556" y="1869"/>
                  </a:lnTo>
                  <a:lnTo>
                    <a:pt x="563" y="1869"/>
                  </a:lnTo>
                  <a:lnTo>
                    <a:pt x="563" y="1885"/>
                  </a:lnTo>
                  <a:lnTo>
                    <a:pt x="518" y="1880"/>
                  </a:lnTo>
                  <a:lnTo>
                    <a:pt x="466" y="1902"/>
                  </a:lnTo>
                  <a:lnTo>
                    <a:pt x="421" y="1975"/>
                  </a:lnTo>
                  <a:lnTo>
                    <a:pt x="416" y="1991"/>
                  </a:lnTo>
                  <a:lnTo>
                    <a:pt x="421" y="2013"/>
                  </a:lnTo>
                  <a:lnTo>
                    <a:pt x="475" y="2058"/>
                  </a:lnTo>
                  <a:lnTo>
                    <a:pt x="530" y="2069"/>
                  </a:lnTo>
                  <a:lnTo>
                    <a:pt x="546" y="2074"/>
                  </a:lnTo>
                  <a:lnTo>
                    <a:pt x="546" y="2107"/>
                  </a:lnTo>
                  <a:lnTo>
                    <a:pt x="541" y="2128"/>
                  </a:lnTo>
                  <a:lnTo>
                    <a:pt x="518" y="2140"/>
                  </a:lnTo>
                  <a:lnTo>
                    <a:pt x="530" y="2128"/>
                  </a:lnTo>
                  <a:lnTo>
                    <a:pt x="546" y="2145"/>
                  </a:lnTo>
                  <a:lnTo>
                    <a:pt x="530" y="2145"/>
                  </a:lnTo>
                  <a:lnTo>
                    <a:pt x="530" y="2161"/>
                  </a:lnTo>
                  <a:lnTo>
                    <a:pt x="454" y="2213"/>
                  </a:lnTo>
                  <a:lnTo>
                    <a:pt x="421" y="2251"/>
                  </a:lnTo>
                  <a:lnTo>
                    <a:pt x="416" y="2268"/>
                  </a:lnTo>
                  <a:lnTo>
                    <a:pt x="400" y="2280"/>
                  </a:lnTo>
                  <a:lnTo>
                    <a:pt x="416" y="2272"/>
                  </a:lnTo>
                  <a:lnTo>
                    <a:pt x="412" y="2329"/>
                  </a:lnTo>
                  <a:lnTo>
                    <a:pt x="400" y="2334"/>
                  </a:lnTo>
                  <a:lnTo>
                    <a:pt x="369" y="2350"/>
                  </a:lnTo>
                  <a:lnTo>
                    <a:pt x="345" y="2329"/>
                  </a:lnTo>
                  <a:lnTo>
                    <a:pt x="324" y="2334"/>
                  </a:lnTo>
                  <a:lnTo>
                    <a:pt x="345" y="2334"/>
                  </a:lnTo>
                  <a:lnTo>
                    <a:pt x="362" y="2350"/>
                  </a:lnTo>
                  <a:lnTo>
                    <a:pt x="324" y="2379"/>
                  </a:lnTo>
                  <a:lnTo>
                    <a:pt x="315" y="2391"/>
                  </a:lnTo>
                  <a:lnTo>
                    <a:pt x="308" y="2424"/>
                  </a:lnTo>
                  <a:lnTo>
                    <a:pt x="293" y="2440"/>
                  </a:lnTo>
                  <a:lnTo>
                    <a:pt x="308" y="2433"/>
                  </a:lnTo>
                  <a:lnTo>
                    <a:pt x="324" y="2490"/>
                  </a:lnTo>
                  <a:lnTo>
                    <a:pt x="277" y="2495"/>
                  </a:lnTo>
                  <a:lnTo>
                    <a:pt x="324" y="2495"/>
                  </a:lnTo>
                  <a:lnTo>
                    <a:pt x="362" y="2556"/>
                  </a:lnTo>
                  <a:lnTo>
                    <a:pt x="362" y="2568"/>
                  </a:lnTo>
                  <a:lnTo>
                    <a:pt x="256" y="2528"/>
                  </a:lnTo>
                  <a:lnTo>
                    <a:pt x="114" y="2528"/>
                  </a:lnTo>
                  <a:lnTo>
                    <a:pt x="114" y="2518"/>
                  </a:lnTo>
                  <a:lnTo>
                    <a:pt x="93" y="2502"/>
                  </a:lnTo>
                  <a:lnTo>
                    <a:pt x="83" y="2478"/>
                  </a:lnTo>
                  <a:lnTo>
                    <a:pt x="93" y="2457"/>
                  </a:lnTo>
                  <a:lnTo>
                    <a:pt x="83" y="2445"/>
                  </a:lnTo>
                  <a:lnTo>
                    <a:pt x="93" y="2433"/>
                  </a:lnTo>
                  <a:lnTo>
                    <a:pt x="93" y="2400"/>
                  </a:lnTo>
                  <a:lnTo>
                    <a:pt x="60" y="2400"/>
                  </a:lnTo>
                  <a:lnTo>
                    <a:pt x="29" y="2407"/>
                  </a:lnTo>
                  <a:lnTo>
                    <a:pt x="22" y="2367"/>
                  </a:lnTo>
                  <a:lnTo>
                    <a:pt x="8" y="2350"/>
                  </a:lnTo>
                  <a:lnTo>
                    <a:pt x="8" y="2334"/>
                  </a:lnTo>
                  <a:lnTo>
                    <a:pt x="0" y="2329"/>
                  </a:lnTo>
                  <a:lnTo>
                    <a:pt x="8" y="2322"/>
                  </a:lnTo>
                  <a:lnTo>
                    <a:pt x="0" y="2296"/>
                  </a:lnTo>
                  <a:lnTo>
                    <a:pt x="8" y="2272"/>
                  </a:lnTo>
                  <a:lnTo>
                    <a:pt x="29" y="2272"/>
                  </a:lnTo>
                  <a:lnTo>
                    <a:pt x="38" y="2272"/>
                  </a:lnTo>
                  <a:lnTo>
                    <a:pt x="29" y="2268"/>
                  </a:lnTo>
                  <a:lnTo>
                    <a:pt x="38" y="2239"/>
                  </a:lnTo>
                  <a:lnTo>
                    <a:pt x="71" y="2223"/>
                  </a:lnTo>
                  <a:lnTo>
                    <a:pt x="71" y="2197"/>
                  </a:lnTo>
                  <a:lnTo>
                    <a:pt x="93" y="2185"/>
                  </a:lnTo>
                  <a:lnTo>
                    <a:pt x="83" y="2161"/>
                  </a:lnTo>
                  <a:lnTo>
                    <a:pt x="76" y="2145"/>
                  </a:lnTo>
                  <a:lnTo>
                    <a:pt x="83" y="2112"/>
                  </a:lnTo>
                  <a:lnTo>
                    <a:pt x="83" y="2107"/>
                  </a:lnTo>
                  <a:lnTo>
                    <a:pt x="126" y="2086"/>
                  </a:lnTo>
                  <a:lnTo>
                    <a:pt x="114" y="2069"/>
                  </a:lnTo>
                  <a:lnTo>
                    <a:pt x="114" y="2046"/>
                  </a:lnTo>
                  <a:lnTo>
                    <a:pt x="130" y="2034"/>
                  </a:lnTo>
                  <a:lnTo>
                    <a:pt x="130" y="1996"/>
                  </a:lnTo>
                  <a:lnTo>
                    <a:pt x="114" y="1991"/>
                  </a:lnTo>
                  <a:lnTo>
                    <a:pt x="135" y="1975"/>
                  </a:lnTo>
                  <a:lnTo>
                    <a:pt x="130" y="1958"/>
                  </a:lnTo>
                  <a:lnTo>
                    <a:pt x="126" y="1942"/>
                  </a:lnTo>
                  <a:lnTo>
                    <a:pt x="130" y="1935"/>
                  </a:lnTo>
                  <a:lnTo>
                    <a:pt x="147" y="1923"/>
                  </a:lnTo>
                  <a:lnTo>
                    <a:pt x="163" y="1906"/>
                  </a:lnTo>
                  <a:lnTo>
                    <a:pt x="135" y="1880"/>
                  </a:lnTo>
                  <a:lnTo>
                    <a:pt x="109" y="1880"/>
                  </a:lnTo>
                  <a:lnTo>
                    <a:pt x="109" y="1864"/>
                  </a:lnTo>
                  <a:lnTo>
                    <a:pt x="163" y="1864"/>
                  </a:lnTo>
                  <a:lnTo>
                    <a:pt x="180" y="1835"/>
                  </a:lnTo>
                  <a:lnTo>
                    <a:pt x="168" y="1831"/>
                  </a:lnTo>
                  <a:lnTo>
                    <a:pt x="126" y="1831"/>
                  </a:lnTo>
                  <a:lnTo>
                    <a:pt x="126" y="1807"/>
                  </a:lnTo>
                  <a:lnTo>
                    <a:pt x="135" y="1791"/>
                  </a:lnTo>
                  <a:lnTo>
                    <a:pt x="126" y="1774"/>
                  </a:lnTo>
                  <a:lnTo>
                    <a:pt x="130" y="1769"/>
                  </a:lnTo>
                  <a:lnTo>
                    <a:pt x="130" y="1758"/>
                  </a:lnTo>
                  <a:lnTo>
                    <a:pt x="114" y="1741"/>
                  </a:lnTo>
                  <a:lnTo>
                    <a:pt x="114" y="1736"/>
                  </a:lnTo>
                  <a:lnTo>
                    <a:pt x="130" y="1736"/>
                  </a:lnTo>
                  <a:lnTo>
                    <a:pt x="130" y="1720"/>
                  </a:lnTo>
                  <a:lnTo>
                    <a:pt x="97" y="1713"/>
                  </a:lnTo>
                  <a:lnTo>
                    <a:pt x="97" y="1668"/>
                  </a:lnTo>
                  <a:lnTo>
                    <a:pt x="109" y="1646"/>
                  </a:lnTo>
                  <a:lnTo>
                    <a:pt x="97" y="1646"/>
                  </a:lnTo>
                  <a:lnTo>
                    <a:pt x="109" y="1630"/>
                  </a:lnTo>
                  <a:lnTo>
                    <a:pt x="114" y="1630"/>
                  </a:lnTo>
                  <a:lnTo>
                    <a:pt x="130" y="1625"/>
                  </a:lnTo>
                  <a:lnTo>
                    <a:pt x="114" y="1592"/>
                  </a:lnTo>
                  <a:lnTo>
                    <a:pt x="126" y="1585"/>
                  </a:lnTo>
                  <a:lnTo>
                    <a:pt x="126" y="1531"/>
                  </a:lnTo>
                  <a:lnTo>
                    <a:pt x="114" y="1514"/>
                  </a:lnTo>
                  <a:lnTo>
                    <a:pt x="126" y="1481"/>
                  </a:lnTo>
                  <a:lnTo>
                    <a:pt x="130" y="1474"/>
                  </a:lnTo>
                  <a:lnTo>
                    <a:pt x="126" y="1465"/>
                  </a:lnTo>
                  <a:lnTo>
                    <a:pt x="135" y="1441"/>
                  </a:lnTo>
                  <a:lnTo>
                    <a:pt x="130" y="1408"/>
                  </a:lnTo>
                  <a:lnTo>
                    <a:pt x="147" y="1420"/>
                  </a:lnTo>
                  <a:lnTo>
                    <a:pt x="152" y="1387"/>
                  </a:lnTo>
                  <a:lnTo>
                    <a:pt x="152" y="1354"/>
                  </a:lnTo>
                  <a:lnTo>
                    <a:pt x="185" y="1337"/>
                  </a:lnTo>
                  <a:lnTo>
                    <a:pt x="189" y="1330"/>
                  </a:lnTo>
                  <a:lnTo>
                    <a:pt x="185" y="1313"/>
                  </a:lnTo>
                  <a:lnTo>
                    <a:pt x="185" y="1280"/>
                  </a:lnTo>
                  <a:lnTo>
                    <a:pt x="168" y="1252"/>
                  </a:lnTo>
                  <a:lnTo>
                    <a:pt x="180" y="1235"/>
                  </a:lnTo>
                  <a:lnTo>
                    <a:pt x="168" y="1219"/>
                  </a:lnTo>
                  <a:lnTo>
                    <a:pt x="180" y="1202"/>
                  </a:lnTo>
                  <a:lnTo>
                    <a:pt x="168" y="1181"/>
                  </a:lnTo>
                  <a:lnTo>
                    <a:pt x="180" y="1153"/>
                  </a:lnTo>
                  <a:lnTo>
                    <a:pt x="201" y="1148"/>
                  </a:lnTo>
                  <a:lnTo>
                    <a:pt x="201" y="1132"/>
                  </a:lnTo>
                  <a:lnTo>
                    <a:pt x="223" y="1124"/>
                  </a:lnTo>
                  <a:lnTo>
                    <a:pt x="232" y="1098"/>
                  </a:lnTo>
                  <a:lnTo>
                    <a:pt x="223" y="1058"/>
                  </a:lnTo>
                  <a:lnTo>
                    <a:pt x="206" y="1054"/>
                  </a:lnTo>
                  <a:lnTo>
                    <a:pt x="223" y="1042"/>
                  </a:lnTo>
                  <a:lnTo>
                    <a:pt x="244" y="976"/>
                  </a:lnTo>
                  <a:lnTo>
                    <a:pt x="260" y="964"/>
                  </a:lnTo>
                  <a:lnTo>
                    <a:pt x="256" y="931"/>
                  </a:lnTo>
                  <a:lnTo>
                    <a:pt x="270" y="905"/>
                  </a:lnTo>
                  <a:lnTo>
                    <a:pt x="260" y="893"/>
                  </a:lnTo>
                  <a:lnTo>
                    <a:pt x="256" y="893"/>
                  </a:lnTo>
                  <a:lnTo>
                    <a:pt x="244" y="888"/>
                  </a:lnTo>
                  <a:lnTo>
                    <a:pt x="256" y="865"/>
                  </a:lnTo>
                  <a:lnTo>
                    <a:pt x="239" y="848"/>
                  </a:lnTo>
                  <a:lnTo>
                    <a:pt x="239" y="832"/>
                  </a:lnTo>
                  <a:lnTo>
                    <a:pt x="232" y="810"/>
                  </a:lnTo>
                  <a:lnTo>
                    <a:pt x="223" y="798"/>
                  </a:lnTo>
                  <a:lnTo>
                    <a:pt x="239" y="782"/>
                  </a:lnTo>
                  <a:lnTo>
                    <a:pt x="223" y="777"/>
                  </a:lnTo>
                  <a:lnTo>
                    <a:pt x="206" y="754"/>
                  </a:lnTo>
                  <a:lnTo>
                    <a:pt x="218" y="725"/>
                  </a:lnTo>
                  <a:lnTo>
                    <a:pt x="232" y="709"/>
                  </a:lnTo>
                  <a:lnTo>
                    <a:pt x="232" y="699"/>
                  </a:lnTo>
                  <a:lnTo>
                    <a:pt x="239" y="666"/>
                  </a:lnTo>
                  <a:lnTo>
                    <a:pt x="256" y="654"/>
                  </a:lnTo>
                  <a:lnTo>
                    <a:pt x="260" y="650"/>
                  </a:lnTo>
                  <a:lnTo>
                    <a:pt x="244" y="576"/>
                  </a:lnTo>
                  <a:lnTo>
                    <a:pt x="270" y="560"/>
                  </a:lnTo>
                  <a:lnTo>
                    <a:pt x="277" y="506"/>
                  </a:lnTo>
                  <a:lnTo>
                    <a:pt x="308" y="477"/>
                  </a:lnTo>
                  <a:lnTo>
                    <a:pt x="331" y="404"/>
                  </a:lnTo>
                  <a:lnTo>
                    <a:pt x="362" y="404"/>
                  </a:lnTo>
                  <a:lnTo>
                    <a:pt x="369" y="387"/>
                  </a:lnTo>
                  <a:lnTo>
                    <a:pt x="345" y="354"/>
                  </a:lnTo>
                  <a:lnTo>
                    <a:pt x="352" y="338"/>
                  </a:lnTo>
                  <a:lnTo>
                    <a:pt x="362" y="333"/>
                  </a:lnTo>
                  <a:lnTo>
                    <a:pt x="345" y="276"/>
                  </a:lnTo>
                  <a:lnTo>
                    <a:pt x="352" y="255"/>
                  </a:lnTo>
                  <a:lnTo>
                    <a:pt x="369" y="255"/>
                  </a:lnTo>
                  <a:lnTo>
                    <a:pt x="352" y="222"/>
                  </a:lnTo>
                  <a:lnTo>
                    <a:pt x="369" y="199"/>
                  </a:lnTo>
                  <a:lnTo>
                    <a:pt x="438" y="165"/>
                  </a:lnTo>
                  <a:lnTo>
                    <a:pt x="466" y="87"/>
                  </a:lnTo>
                  <a:lnTo>
                    <a:pt x="449" y="78"/>
                  </a:lnTo>
                  <a:lnTo>
                    <a:pt x="449" y="78"/>
                  </a:lnTo>
                  <a:lnTo>
                    <a:pt x="449" y="78"/>
                  </a:lnTo>
                  <a:close/>
                  <a:moveTo>
                    <a:pt x="815" y="1387"/>
                  </a:moveTo>
                  <a:lnTo>
                    <a:pt x="799" y="1370"/>
                  </a:lnTo>
                  <a:lnTo>
                    <a:pt x="815" y="1375"/>
                  </a:lnTo>
                  <a:lnTo>
                    <a:pt x="815" y="1387"/>
                  </a:lnTo>
                  <a:lnTo>
                    <a:pt x="815" y="1387"/>
                  </a:lnTo>
                  <a:lnTo>
                    <a:pt x="815" y="1387"/>
                  </a:lnTo>
                  <a:close/>
                  <a:moveTo>
                    <a:pt x="345" y="2806"/>
                  </a:moveTo>
                  <a:lnTo>
                    <a:pt x="345" y="2589"/>
                  </a:lnTo>
                  <a:lnTo>
                    <a:pt x="369" y="2622"/>
                  </a:lnTo>
                  <a:lnTo>
                    <a:pt x="378" y="2639"/>
                  </a:lnTo>
                  <a:lnTo>
                    <a:pt x="362" y="2629"/>
                  </a:lnTo>
                  <a:lnTo>
                    <a:pt x="352" y="2639"/>
                  </a:lnTo>
                  <a:lnTo>
                    <a:pt x="352" y="2646"/>
                  </a:lnTo>
                  <a:lnTo>
                    <a:pt x="378" y="2655"/>
                  </a:lnTo>
                  <a:lnTo>
                    <a:pt x="395" y="2683"/>
                  </a:lnTo>
                  <a:lnTo>
                    <a:pt x="421" y="2712"/>
                  </a:lnTo>
                  <a:lnTo>
                    <a:pt x="421" y="2717"/>
                  </a:lnTo>
                  <a:lnTo>
                    <a:pt x="518" y="2778"/>
                  </a:lnTo>
                  <a:lnTo>
                    <a:pt x="556" y="2790"/>
                  </a:lnTo>
                  <a:lnTo>
                    <a:pt x="593" y="2790"/>
                  </a:lnTo>
                  <a:lnTo>
                    <a:pt x="577" y="2823"/>
                  </a:lnTo>
                  <a:lnTo>
                    <a:pt x="541" y="2811"/>
                  </a:lnTo>
                  <a:lnTo>
                    <a:pt x="504" y="2828"/>
                  </a:lnTo>
                  <a:lnTo>
                    <a:pt x="466" y="2811"/>
                  </a:lnTo>
                  <a:lnTo>
                    <a:pt x="352" y="2811"/>
                  </a:lnTo>
                  <a:lnTo>
                    <a:pt x="345" y="2806"/>
                  </a:lnTo>
                  <a:lnTo>
                    <a:pt x="345" y="2806"/>
                  </a:lnTo>
                  <a:lnTo>
                    <a:pt x="345" y="2806"/>
                  </a:lnTo>
                  <a:close/>
                  <a:moveTo>
                    <a:pt x="626" y="2811"/>
                  </a:moveTo>
                  <a:lnTo>
                    <a:pt x="615" y="2806"/>
                  </a:lnTo>
                  <a:lnTo>
                    <a:pt x="626" y="2806"/>
                  </a:lnTo>
                  <a:lnTo>
                    <a:pt x="686" y="2794"/>
                  </a:lnTo>
                  <a:lnTo>
                    <a:pt x="681" y="2806"/>
                  </a:lnTo>
                  <a:lnTo>
                    <a:pt x="648" y="2806"/>
                  </a:lnTo>
                  <a:lnTo>
                    <a:pt x="626" y="2811"/>
                  </a:lnTo>
                  <a:lnTo>
                    <a:pt x="626" y="2811"/>
                  </a:lnTo>
                  <a:lnTo>
                    <a:pt x="626" y="2811"/>
                  </a:lnTo>
                  <a:close/>
                  <a:moveTo>
                    <a:pt x="345" y="2811"/>
                  </a:moveTo>
                  <a:lnTo>
                    <a:pt x="345" y="2806"/>
                  </a:lnTo>
                  <a:lnTo>
                    <a:pt x="352" y="2811"/>
                  </a:lnTo>
                  <a:lnTo>
                    <a:pt x="345" y="2811"/>
                  </a:lnTo>
                  <a:lnTo>
                    <a:pt x="345" y="2811"/>
                  </a:lnTo>
                  <a:lnTo>
                    <a:pt x="345" y="281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 name="Freeform 388">
              <a:extLst>
                <a:ext uri="{FF2B5EF4-FFF2-40B4-BE49-F238E27FC236}">
                  <a16:creationId xmlns:a16="http://schemas.microsoft.com/office/drawing/2014/main" id="{ED420D2D-A1CC-47E7-A030-0FAFB89904CF}"/>
                </a:ext>
              </a:extLst>
            </p:cNvPr>
            <p:cNvSpPr>
              <a:spLocks noEditPoints="1"/>
            </p:cNvSpPr>
            <p:nvPr/>
          </p:nvSpPr>
          <p:spPr bwMode="gray">
            <a:xfrm>
              <a:off x="16337664" y="4351696"/>
              <a:ext cx="1056841" cy="1199869"/>
            </a:xfrm>
            <a:custGeom>
              <a:avLst/>
              <a:gdLst>
                <a:gd name="T0" fmla="*/ 2050 w 3229"/>
                <a:gd name="T1" fmla="*/ 41 h 3666"/>
                <a:gd name="T2" fmla="*/ 2239 w 3229"/>
                <a:gd name="T3" fmla="*/ 2190 h 3666"/>
                <a:gd name="T4" fmla="*/ 1939 w 3229"/>
                <a:gd name="T5" fmla="*/ 2152 h 3666"/>
                <a:gd name="T6" fmla="*/ 1835 w 3229"/>
                <a:gd name="T7" fmla="*/ 1930 h 3666"/>
                <a:gd name="T8" fmla="*/ 1712 w 3229"/>
                <a:gd name="T9" fmla="*/ 1902 h 3666"/>
                <a:gd name="T10" fmla="*/ 1603 w 3229"/>
                <a:gd name="T11" fmla="*/ 1885 h 3666"/>
                <a:gd name="T12" fmla="*/ 1495 w 3229"/>
                <a:gd name="T13" fmla="*/ 1746 h 3666"/>
                <a:gd name="T14" fmla="*/ 1204 w 3229"/>
                <a:gd name="T15" fmla="*/ 1630 h 3666"/>
                <a:gd name="T16" fmla="*/ 621 w 3229"/>
                <a:gd name="T17" fmla="*/ 1815 h 3666"/>
                <a:gd name="T18" fmla="*/ 309 w 3229"/>
                <a:gd name="T19" fmla="*/ 1902 h 3666"/>
                <a:gd name="T20" fmla="*/ 196 w 3229"/>
                <a:gd name="T21" fmla="*/ 1647 h 3666"/>
                <a:gd name="T22" fmla="*/ 49 w 3229"/>
                <a:gd name="T23" fmla="*/ 1243 h 3666"/>
                <a:gd name="T24" fmla="*/ 33 w 3229"/>
                <a:gd name="T25" fmla="*/ 1071 h 3666"/>
                <a:gd name="T26" fmla="*/ 285 w 3229"/>
                <a:gd name="T27" fmla="*/ 782 h 3666"/>
                <a:gd name="T28" fmla="*/ 649 w 3229"/>
                <a:gd name="T29" fmla="*/ 527 h 3666"/>
                <a:gd name="T30" fmla="*/ 751 w 3229"/>
                <a:gd name="T31" fmla="*/ 482 h 3666"/>
                <a:gd name="T32" fmla="*/ 836 w 3229"/>
                <a:gd name="T33" fmla="*/ 466 h 3666"/>
                <a:gd name="T34" fmla="*/ 848 w 3229"/>
                <a:gd name="T35" fmla="*/ 388 h 3666"/>
                <a:gd name="T36" fmla="*/ 890 w 3229"/>
                <a:gd name="T37" fmla="*/ 305 h 3666"/>
                <a:gd name="T38" fmla="*/ 956 w 3229"/>
                <a:gd name="T39" fmla="*/ 305 h 3666"/>
                <a:gd name="T40" fmla="*/ 1091 w 3229"/>
                <a:gd name="T41" fmla="*/ 362 h 3666"/>
                <a:gd name="T42" fmla="*/ 1171 w 3229"/>
                <a:gd name="T43" fmla="*/ 345 h 3666"/>
                <a:gd name="T44" fmla="*/ 1226 w 3229"/>
                <a:gd name="T45" fmla="*/ 189 h 3666"/>
                <a:gd name="T46" fmla="*/ 1365 w 3229"/>
                <a:gd name="T47" fmla="*/ 156 h 3666"/>
                <a:gd name="T48" fmla="*/ 1419 w 3229"/>
                <a:gd name="T49" fmla="*/ 123 h 3666"/>
                <a:gd name="T50" fmla="*/ 1613 w 3229"/>
                <a:gd name="T51" fmla="*/ 123 h 3666"/>
                <a:gd name="T52" fmla="*/ 1674 w 3229"/>
                <a:gd name="T53" fmla="*/ 156 h 3666"/>
                <a:gd name="T54" fmla="*/ 1603 w 3229"/>
                <a:gd name="T55" fmla="*/ 305 h 3666"/>
                <a:gd name="T56" fmla="*/ 1953 w 3229"/>
                <a:gd name="T57" fmla="*/ 544 h 3666"/>
                <a:gd name="T58" fmla="*/ 2012 w 3229"/>
                <a:gd name="T59" fmla="*/ 178 h 3666"/>
                <a:gd name="T60" fmla="*/ 2121 w 3229"/>
                <a:gd name="T61" fmla="*/ 140 h 3666"/>
                <a:gd name="T62" fmla="*/ 2267 w 3229"/>
                <a:gd name="T63" fmla="*/ 355 h 3666"/>
                <a:gd name="T64" fmla="*/ 2414 w 3229"/>
                <a:gd name="T65" fmla="*/ 676 h 3666"/>
                <a:gd name="T66" fmla="*/ 2548 w 3229"/>
                <a:gd name="T67" fmla="*/ 832 h 3666"/>
                <a:gd name="T68" fmla="*/ 2671 w 3229"/>
                <a:gd name="T69" fmla="*/ 1004 h 3666"/>
                <a:gd name="T70" fmla="*/ 2822 w 3229"/>
                <a:gd name="T71" fmla="*/ 1304 h 3666"/>
                <a:gd name="T72" fmla="*/ 2700 w 3229"/>
                <a:gd name="T73" fmla="*/ 1774 h 3666"/>
                <a:gd name="T74" fmla="*/ 2603 w 3229"/>
                <a:gd name="T75" fmla="*/ 2079 h 3666"/>
                <a:gd name="T76" fmla="*/ 1667 w 3229"/>
                <a:gd name="T77" fmla="*/ 67 h 3666"/>
                <a:gd name="T78" fmla="*/ 1280 w 3229"/>
                <a:gd name="T79" fmla="*/ 100 h 3666"/>
                <a:gd name="T80" fmla="*/ 1226 w 3229"/>
                <a:gd name="T81" fmla="*/ 133 h 3666"/>
                <a:gd name="T82" fmla="*/ 1684 w 3229"/>
                <a:gd name="T83" fmla="*/ 300 h 3666"/>
                <a:gd name="T84" fmla="*/ 1629 w 3229"/>
                <a:gd name="T85" fmla="*/ 279 h 3666"/>
                <a:gd name="T86" fmla="*/ 810 w 3229"/>
                <a:gd name="T87" fmla="*/ 378 h 3666"/>
                <a:gd name="T88" fmla="*/ 1689 w 3229"/>
                <a:gd name="T89" fmla="*/ 428 h 3666"/>
                <a:gd name="T90" fmla="*/ 1835 w 3229"/>
                <a:gd name="T91" fmla="*/ 489 h 3666"/>
                <a:gd name="T92" fmla="*/ 2338 w 3229"/>
                <a:gd name="T93" fmla="*/ 622 h 3666"/>
                <a:gd name="T94" fmla="*/ 2520 w 3229"/>
                <a:gd name="T95" fmla="*/ 745 h 3666"/>
                <a:gd name="T96" fmla="*/ 2629 w 3229"/>
                <a:gd name="T97" fmla="*/ 910 h 3666"/>
                <a:gd name="T98" fmla="*/ 2834 w 3229"/>
                <a:gd name="T99" fmla="*/ 1115 h 3666"/>
                <a:gd name="T100" fmla="*/ 2839 w 3229"/>
                <a:gd name="T101" fmla="*/ 1297 h 3666"/>
                <a:gd name="T102" fmla="*/ 1651 w 3229"/>
                <a:gd name="T103" fmla="*/ 1980 h 3666"/>
                <a:gd name="T104" fmla="*/ 2267 w 3229"/>
                <a:gd name="T105" fmla="*/ 2202 h 3666"/>
                <a:gd name="T106" fmla="*/ 2187 w 3229"/>
                <a:gd name="T107" fmla="*/ 2313 h 3666"/>
                <a:gd name="T108" fmla="*/ 2461 w 3229"/>
                <a:gd name="T109" fmla="*/ 2363 h 3666"/>
                <a:gd name="T110" fmla="*/ 2466 w 3229"/>
                <a:gd name="T111" fmla="*/ 2363 h 3666"/>
                <a:gd name="T112" fmla="*/ 2305 w 3229"/>
                <a:gd name="T113" fmla="*/ 2606 h 3666"/>
                <a:gd name="T114" fmla="*/ 2385 w 3229"/>
                <a:gd name="T115" fmla="*/ 2417 h 3666"/>
                <a:gd name="T116" fmla="*/ 2456 w 3229"/>
                <a:gd name="T117" fmla="*/ 2596 h 3666"/>
                <a:gd name="T118" fmla="*/ 2390 w 3229"/>
                <a:gd name="T119" fmla="*/ 2606 h 3666"/>
                <a:gd name="T120" fmla="*/ 2414 w 3229"/>
                <a:gd name="T121" fmla="*/ 2596 h 3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29" h="3666">
                  <a:moveTo>
                    <a:pt x="2045" y="12"/>
                  </a:moveTo>
                  <a:lnTo>
                    <a:pt x="2045" y="5"/>
                  </a:lnTo>
                  <a:lnTo>
                    <a:pt x="2045" y="0"/>
                  </a:lnTo>
                  <a:lnTo>
                    <a:pt x="2045" y="12"/>
                  </a:lnTo>
                  <a:lnTo>
                    <a:pt x="2045" y="12"/>
                  </a:lnTo>
                  <a:lnTo>
                    <a:pt x="2045" y="12"/>
                  </a:lnTo>
                  <a:close/>
                  <a:moveTo>
                    <a:pt x="2050" y="12"/>
                  </a:moveTo>
                  <a:lnTo>
                    <a:pt x="2050" y="5"/>
                  </a:lnTo>
                  <a:lnTo>
                    <a:pt x="2062" y="12"/>
                  </a:lnTo>
                  <a:lnTo>
                    <a:pt x="2050" y="12"/>
                  </a:lnTo>
                  <a:lnTo>
                    <a:pt x="2050" y="12"/>
                  </a:lnTo>
                  <a:lnTo>
                    <a:pt x="2050" y="12"/>
                  </a:lnTo>
                  <a:close/>
                  <a:moveTo>
                    <a:pt x="2050" y="57"/>
                  </a:moveTo>
                  <a:lnTo>
                    <a:pt x="2045" y="45"/>
                  </a:lnTo>
                  <a:lnTo>
                    <a:pt x="2050" y="41"/>
                  </a:lnTo>
                  <a:lnTo>
                    <a:pt x="2050" y="45"/>
                  </a:lnTo>
                  <a:lnTo>
                    <a:pt x="2050" y="57"/>
                  </a:lnTo>
                  <a:lnTo>
                    <a:pt x="2050" y="57"/>
                  </a:lnTo>
                  <a:lnTo>
                    <a:pt x="2050" y="57"/>
                  </a:lnTo>
                  <a:close/>
                  <a:moveTo>
                    <a:pt x="2348" y="2247"/>
                  </a:moveTo>
                  <a:lnTo>
                    <a:pt x="2331" y="2219"/>
                  </a:lnTo>
                  <a:lnTo>
                    <a:pt x="2305" y="2223"/>
                  </a:lnTo>
                  <a:lnTo>
                    <a:pt x="2305" y="2202"/>
                  </a:lnTo>
                  <a:lnTo>
                    <a:pt x="2293" y="2207"/>
                  </a:lnTo>
                  <a:lnTo>
                    <a:pt x="2277" y="2190"/>
                  </a:lnTo>
                  <a:lnTo>
                    <a:pt x="2284" y="2181"/>
                  </a:lnTo>
                  <a:lnTo>
                    <a:pt x="2277" y="2169"/>
                  </a:lnTo>
                  <a:lnTo>
                    <a:pt x="2267" y="2169"/>
                  </a:lnTo>
                  <a:lnTo>
                    <a:pt x="2251" y="2190"/>
                  </a:lnTo>
                  <a:lnTo>
                    <a:pt x="2239" y="2190"/>
                  </a:lnTo>
                  <a:lnTo>
                    <a:pt x="2229" y="2181"/>
                  </a:lnTo>
                  <a:lnTo>
                    <a:pt x="2246" y="2181"/>
                  </a:lnTo>
                  <a:lnTo>
                    <a:pt x="2251" y="2164"/>
                  </a:lnTo>
                  <a:lnTo>
                    <a:pt x="2246" y="2136"/>
                  </a:lnTo>
                  <a:lnTo>
                    <a:pt x="2196" y="2164"/>
                  </a:lnTo>
                  <a:lnTo>
                    <a:pt x="2225" y="2164"/>
                  </a:lnTo>
                  <a:lnTo>
                    <a:pt x="2225" y="2181"/>
                  </a:lnTo>
                  <a:lnTo>
                    <a:pt x="2196" y="2181"/>
                  </a:lnTo>
                  <a:lnTo>
                    <a:pt x="2142" y="2223"/>
                  </a:lnTo>
                  <a:lnTo>
                    <a:pt x="2062" y="2181"/>
                  </a:lnTo>
                  <a:lnTo>
                    <a:pt x="2045" y="2185"/>
                  </a:lnTo>
                  <a:lnTo>
                    <a:pt x="2024" y="2169"/>
                  </a:lnTo>
                  <a:lnTo>
                    <a:pt x="2007" y="2185"/>
                  </a:lnTo>
                  <a:lnTo>
                    <a:pt x="1977" y="2164"/>
                  </a:lnTo>
                  <a:lnTo>
                    <a:pt x="1939" y="2152"/>
                  </a:lnTo>
                  <a:lnTo>
                    <a:pt x="1873" y="2079"/>
                  </a:lnTo>
                  <a:lnTo>
                    <a:pt x="1873" y="2058"/>
                  </a:lnTo>
                  <a:lnTo>
                    <a:pt x="1885" y="2053"/>
                  </a:lnTo>
                  <a:lnTo>
                    <a:pt x="1885" y="2025"/>
                  </a:lnTo>
                  <a:lnTo>
                    <a:pt x="1873" y="2001"/>
                  </a:lnTo>
                  <a:lnTo>
                    <a:pt x="1830" y="1959"/>
                  </a:lnTo>
                  <a:lnTo>
                    <a:pt x="1852" y="1968"/>
                  </a:lnTo>
                  <a:lnTo>
                    <a:pt x="1873" y="2001"/>
                  </a:lnTo>
                  <a:lnTo>
                    <a:pt x="1868" y="1985"/>
                  </a:lnTo>
                  <a:lnTo>
                    <a:pt x="1835" y="1959"/>
                  </a:lnTo>
                  <a:lnTo>
                    <a:pt x="1835" y="1942"/>
                  </a:lnTo>
                  <a:lnTo>
                    <a:pt x="1847" y="1959"/>
                  </a:lnTo>
                  <a:lnTo>
                    <a:pt x="1852" y="1959"/>
                  </a:lnTo>
                  <a:lnTo>
                    <a:pt x="1852" y="1930"/>
                  </a:lnTo>
                  <a:lnTo>
                    <a:pt x="1835" y="1930"/>
                  </a:lnTo>
                  <a:lnTo>
                    <a:pt x="1818" y="1942"/>
                  </a:lnTo>
                  <a:lnTo>
                    <a:pt x="1830" y="1947"/>
                  </a:lnTo>
                  <a:lnTo>
                    <a:pt x="1809" y="1947"/>
                  </a:lnTo>
                  <a:lnTo>
                    <a:pt x="1792" y="1959"/>
                  </a:lnTo>
                  <a:lnTo>
                    <a:pt x="1759" y="1959"/>
                  </a:lnTo>
                  <a:lnTo>
                    <a:pt x="1792" y="1930"/>
                  </a:lnTo>
                  <a:lnTo>
                    <a:pt x="1792" y="1909"/>
                  </a:lnTo>
                  <a:lnTo>
                    <a:pt x="1792" y="1874"/>
                  </a:lnTo>
                  <a:lnTo>
                    <a:pt x="1759" y="1831"/>
                  </a:lnTo>
                  <a:lnTo>
                    <a:pt x="1755" y="1857"/>
                  </a:lnTo>
                  <a:lnTo>
                    <a:pt x="1738" y="1914"/>
                  </a:lnTo>
                  <a:lnTo>
                    <a:pt x="1722" y="1909"/>
                  </a:lnTo>
                  <a:lnTo>
                    <a:pt x="1674" y="1926"/>
                  </a:lnTo>
                  <a:lnTo>
                    <a:pt x="1689" y="1893"/>
                  </a:lnTo>
                  <a:lnTo>
                    <a:pt x="1712" y="1902"/>
                  </a:lnTo>
                  <a:lnTo>
                    <a:pt x="1722" y="1874"/>
                  </a:lnTo>
                  <a:lnTo>
                    <a:pt x="1722" y="1836"/>
                  </a:lnTo>
                  <a:lnTo>
                    <a:pt x="1726" y="1815"/>
                  </a:lnTo>
                  <a:lnTo>
                    <a:pt x="1755" y="1791"/>
                  </a:lnTo>
                  <a:lnTo>
                    <a:pt x="1743" y="1765"/>
                  </a:lnTo>
                  <a:lnTo>
                    <a:pt x="1759" y="1746"/>
                  </a:lnTo>
                  <a:lnTo>
                    <a:pt x="1738" y="1704"/>
                  </a:lnTo>
                  <a:lnTo>
                    <a:pt x="1743" y="1741"/>
                  </a:lnTo>
                  <a:lnTo>
                    <a:pt x="1722" y="1746"/>
                  </a:lnTo>
                  <a:lnTo>
                    <a:pt x="1700" y="1798"/>
                  </a:lnTo>
                  <a:lnTo>
                    <a:pt x="1684" y="1798"/>
                  </a:lnTo>
                  <a:lnTo>
                    <a:pt x="1674" y="1803"/>
                  </a:lnTo>
                  <a:lnTo>
                    <a:pt x="1646" y="1819"/>
                  </a:lnTo>
                  <a:lnTo>
                    <a:pt x="1613" y="1869"/>
                  </a:lnTo>
                  <a:lnTo>
                    <a:pt x="1603" y="1885"/>
                  </a:lnTo>
                  <a:lnTo>
                    <a:pt x="1613" y="1885"/>
                  </a:lnTo>
                  <a:lnTo>
                    <a:pt x="1613" y="1902"/>
                  </a:lnTo>
                  <a:lnTo>
                    <a:pt x="1599" y="1893"/>
                  </a:lnTo>
                  <a:lnTo>
                    <a:pt x="1592" y="1902"/>
                  </a:lnTo>
                  <a:lnTo>
                    <a:pt x="1566" y="1869"/>
                  </a:lnTo>
                  <a:lnTo>
                    <a:pt x="1549" y="1869"/>
                  </a:lnTo>
                  <a:lnTo>
                    <a:pt x="1561" y="1852"/>
                  </a:lnTo>
                  <a:lnTo>
                    <a:pt x="1575" y="1874"/>
                  </a:lnTo>
                  <a:lnTo>
                    <a:pt x="1582" y="1869"/>
                  </a:lnTo>
                  <a:lnTo>
                    <a:pt x="1575" y="1869"/>
                  </a:lnTo>
                  <a:lnTo>
                    <a:pt x="1566" y="1819"/>
                  </a:lnTo>
                  <a:lnTo>
                    <a:pt x="1537" y="1791"/>
                  </a:lnTo>
                  <a:lnTo>
                    <a:pt x="1537" y="1782"/>
                  </a:lnTo>
                  <a:lnTo>
                    <a:pt x="1528" y="1758"/>
                  </a:lnTo>
                  <a:lnTo>
                    <a:pt x="1495" y="1746"/>
                  </a:lnTo>
                  <a:lnTo>
                    <a:pt x="1485" y="1720"/>
                  </a:lnTo>
                  <a:lnTo>
                    <a:pt x="1490" y="1725"/>
                  </a:lnTo>
                  <a:lnTo>
                    <a:pt x="1495" y="1720"/>
                  </a:lnTo>
                  <a:lnTo>
                    <a:pt x="1490" y="1704"/>
                  </a:lnTo>
                  <a:lnTo>
                    <a:pt x="1469" y="1704"/>
                  </a:lnTo>
                  <a:lnTo>
                    <a:pt x="1474" y="1692"/>
                  </a:lnTo>
                  <a:lnTo>
                    <a:pt x="1452" y="1670"/>
                  </a:lnTo>
                  <a:lnTo>
                    <a:pt x="1436" y="1680"/>
                  </a:lnTo>
                  <a:lnTo>
                    <a:pt x="1415" y="1680"/>
                  </a:lnTo>
                  <a:lnTo>
                    <a:pt x="1386" y="1654"/>
                  </a:lnTo>
                  <a:lnTo>
                    <a:pt x="1351" y="1663"/>
                  </a:lnTo>
                  <a:lnTo>
                    <a:pt x="1322" y="1637"/>
                  </a:lnTo>
                  <a:lnTo>
                    <a:pt x="1275" y="1614"/>
                  </a:lnTo>
                  <a:lnTo>
                    <a:pt x="1252" y="1630"/>
                  </a:lnTo>
                  <a:lnTo>
                    <a:pt x="1204" y="1630"/>
                  </a:lnTo>
                  <a:lnTo>
                    <a:pt x="1129" y="1637"/>
                  </a:lnTo>
                  <a:lnTo>
                    <a:pt x="1058" y="1670"/>
                  </a:lnTo>
                  <a:lnTo>
                    <a:pt x="1003" y="1687"/>
                  </a:lnTo>
                  <a:lnTo>
                    <a:pt x="911" y="1680"/>
                  </a:lnTo>
                  <a:lnTo>
                    <a:pt x="826" y="1737"/>
                  </a:lnTo>
                  <a:lnTo>
                    <a:pt x="793" y="1741"/>
                  </a:lnTo>
                  <a:lnTo>
                    <a:pt x="784" y="1746"/>
                  </a:lnTo>
                  <a:lnTo>
                    <a:pt x="772" y="1791"/>
                  </a:lnTo>
                  <a:lnTo>
                    <a:pt x="755" y="1803"/>
                  </a:lnTo>
                  <a:lnTo>
                    <a:pt x="718" y="1819"/>
                  </a:lnTo>
                  <a:lnTo>
                    <a:pt x="701" y="1815"/>
                  </a:lnTo>
                  <a:lnTo>
                    <a:pt x="659" y="1815"/>
                  </a:lnTo>
                  <a:lnTo>
                    <a:pt x="642" y="1819"/>
                  </a:lnTo>
                  <a:lnTo>
                    <a:pt x="633" y="1803"/>
                  </a:lnTo>
                  <a:lnTo>
                    <a:pt x="621" y="1815"/>
                  </a:lnTo>
                  <a:lnTo>
                    <a:pt x="595" y="1803"/>
                  </a:lnTo>
                  <a:lnTo>
                    <a:pt x="557" y="1815"/>
                  </a:lnTo>
                  <a:lnTo>
                    <a:pt x="524" y="1819"/>
                  </a:lnTo>
                  <a:lnTo>
                    <a:pt x="498" y="1815"/>
                  </a:lnTo>
                  <a:lnTo>
                    <a:pt x="465" y="1831"/>
                  </a:lnTo>
                  <a:lnTo>
                    <a:pt x="448" y="1857"/>
                  </a:lnTo>
                  <a:lnTo>
                    <a:pt x="444" y="1857"/>
                  </a:lnTo>
                  <a:lnTo>
                    <a:pt x="415" y="1857"/>
                  </a:lnTo>
                  <a:lnTo>
                    <a:pt x="373" y="1893"/>
                  </a:lnTo>
                  <a:lnTo>
                    <a:pt x="340" y="1909"/>
                  </a:lnTo>
                  <a:lnTo>
                    <a:pt x="356" y="1909"/>
                  </a:lnTo>
                  <a:lnTo>
                    <a:pt x="352" y="1914"/>
                  </a:lnTo>
                  <a:lnTo>
                    <a:pt x="335" y="1909"/>
                  </a:lnTo>
                  <a:lnTo>
                    <a:pt x="323" y="1914"/>
                  </a:lnTo>
                  <a:lnTo>
                    <a:pt x="309" y="1902"/>
                  </a:lnTo>
                  <a:lnTo>
                    <a:pt x="255" y="1909"/>
                  </a:lnTo>
                  <a:lnTo>
                    <a:pt x="210" y="1885"/>
                  </a:lnTo>
                  <a:lnTo>
                    <a:pt x="189" y="1857"/>
                  </a:lnTo>
                  <a:lnTo>
                    <a:pt x="163" y="1848"/>
                  </a:lnTo>
                  <a:lnTo>
                    <a:pt x="158" y="1852"/>
                  </a:lnTo>
                  <a:lnTo>
                    <a:pt x="146" y="1848"/>
                  </a:lnTo>
                  <a:lnTo>
                    <a:pt x="141" y="1782"/>
                  </a:lnTo>
                  <a:lnTo>
                    <a:pt x="158" y="1791"/>
                  </a:lnTo>
                  <a:lnTo>
                    <a:pt x="172" y="1791"/>
                  </a:lnTo>
                  <a:lnTo>
                    <a:pt x="196" y="1765"/>
                  </a:lnTo>
                  <a:lnTo>
                    <a:pt x="189" y="1720"/>
                  </a:lnTo>
                  <a:lnTo>
                    <a:pt x="196" y="1704"/>
                  </a:lnTo>
                  <a:lnTo>
                    <a:pt x="189" y="1708"/>
                  </a:lnTo>
                  <a:lnTo>
                    <a:pt x="196" y="1725"/>
                  </a:lnTo>
                  <a:lnTo>
                    <a:pt x="196" y="1647"/>
                  </a:lnTo>
                  <a:lnTo>
                    <a:pt x="146" y="1543"/>
                  </a:lnTo>
                  <a:lnTo>
                    <a:pt x="141" y="1503"/>
                  </a:lnTo>
                  <a:lnTo>
                    <a:pt x="141" y="1465"/>
                  </a:lnTo>
                  <a:lnTo>
                    <a:pt x="134" y="1441"/>
                  </a:lnTo>
                  <a:lnTo>
                    <a:pt x="120" y="1408"/>
                  </a:lnTo>
                  <a:lnTo>
                    <a:pt x="108" y="1387"/>
                  </a:lnTo>
                  <a:lnTo>
                    <a:pt x="87" y="1354"/>
                  </a:lnTo>
                  <a:lnTo>
                    <a:pt x="87" y="1314"/>
                  </a:lnTo>
                  <a:lnTo>
                    <a:pt x="70" y="1281"/>
                  </a:lnTo>
                  <a:lnTo>
                    <a:pt x="16" y="1210"/>
                  </a:lnTo>
                  <a:lnTo>
                    <a:pt x="28" y="1193"/>
                  </a:lnTo>
                  <a:lnTo>
                    <a:pt x="28" y="1210"/>
                  </a:lnTo>
                  <a:lnTo>
                    <a:pt x="33" y="1203"/>
                  </a:lnTo>
                  <a:lnTo>
                    <a:pt x="37" y="1210"/>
                  </a:lnTo>
                  <a:lnTo>
                    <a:pt x="49" y="1243"/>
                  </a:lnTo>
                  <a:lnTo>
                    <a:pt x="66" y="1226"/>
                  </a:lnTo>
                  <a:lnTo>
                    <a:pt x="66" y="1210"/>
                  </a:lnTo>
                  <a:lnTo>
                    <a:pt x="37" y="1193"/>
                  </a:lnTo>
                  <a:lnTo>
                    <a:pt x="33" y="1170"/>
                  </a:lnTo>
                  <a:lnTo>
                    <a:pt x="37" y="1153"/>
                  </a:lnTo>
                  <a:lnTo>
                    <a:pt x="54" y="1182"/>
                  </a:lnTo>
                  <a:lnTo>
                    <a:pt x="54" y="1203"/>
                  </a:lnTo>
                  <a:lnTo>
                    <a:pt x="66" y="1193"/>
                  </a:lnTo>
                  <a:lnTo>
                    <a:pt x="82" y="1226"/>
                  </a:lnTo>
                  <a:lnTo>
                    <a:pt x="87" y="1210"/>
                  </a:lnTo>
                  <a:lnTo>
                    <a:pt x="87" y="1203"/>
                  </a:lnTo>
                  <a:lnTo>
                    <a:pt x="92" y="1182"/>
                  </a:lnTo>
                  <a:lnTo>
                    <a:pt x="54" y="1127"/>
                  </a:lnTo>
                  <a:lnTo>
                    <a:pt x="49" y="1094"/>
                  </a:lnTo>
                  <a:lnTo>
                    <a:pt x="33" y="1071"/>
                  </a:lnTo>
                  <a:lnTo>
                    <a:pt x="37" y="1021"/>
                  </a:lnTo>
                  <a:lnTo>
                    <a:pt x="54" y="1000"/>
                  </a:lnTo>
                  <a:lnTo>
                    <a:pt x="66" y="959"/>
                  </a:lnTo>
                  <a:lnTo>
                    <a:pt x="49" y="931"/>
                  </a:lnTo>
                  <a:lnTo>
                    <a:pt x="70" y="889"/>
                  </a:lnTo>
                  <a:lnTo>
                    <a:pt x="87" y="872"/>
                  </a:lnTo>
                  <a:lnTo>
                    <a:pt x="82" y="893"/>
                  </a:lnTo>
                  <a:lnTo>
                    <a:pt x="87" y="926"/>
                  </a:lnTo>
                  <a:lnTo>
                    <a:pt x="104" y="915"/>
                  </a:lnTo>
                  <a:lnTo>
                    <a:pt x="120" y="872"/>
                  </a:lnTo>
                  <a:lnTo>
                    <a:pt x="179" y="848"/>
                  </a:lnTo>
                  <a:lnTo>
                    <a:pt x="210" y="815"/>
                  </a:lnTo>
                  <a:lnTo>
                    <a:pt x="264" y="782"/>
                  </a:lnTo>
                  <a:lnTo>
                    <a:pt x="271" y="794"/>
                  </a:lnTo>
                  <a:lnTo>
                    <a:pt x="285" y="782"/>
                  </a:lnTo>
                  <a:lnTo>
                    <a:pt x="309" y="794"/>
                  </a:lnTo>
                  <a:lnTo>
                    <a:pt x="335" y="782"/>
                  </a:lnTo>
                  <a:lnTo>
                    <a:pt x="361" y="761"/>
                  </a:lnTo>
                  <a:lnTo>
                    <a:pt x="411" y="761"/>
                  </a:lnTo>
                  <a:lnTo>
                    <a:pt x="432" y="733"/>
                  </a:lnTo>
                  <a:lnTo>
                    <a:pt x="465" y="745"/>
                  </a:lnTo>
                  <a:lnTo>
                    <a:pt x="519" y="728"/>
                  </a:lnTo>
                  <a:lnTo>
                    <a:pt x="566" y="704"/>
                  </a:lnTo>
                  <a:lnTo>
                    <a:pt x="595" y="671"/>
                  </a:lnTo>
                  <a:lnTo>
                    <a:pt x="621" y="617"/>
                  </a:lnTo>
                  <a:lnTo>
                    <a:pt x="633" y="617"/>
                  </a:lnTo>
                  <a:lnTo>
                    <a:pt x="659" y="593"/>
                  </a:lnTo>
                  <a:lnTo>
                    <a:pt x="659" y="584"/>
                  </a:lnTo>
                  <a:lnTo>
                    <a:pt x="649" y="577"/>
                  </a:lnTo>
                  <a:lnTo>
                    <a:pt x="649" y="527"/>
                  </a:lnTo>
                  <a:lnTo>
                    <a:pt x="663" y="511"/>
                  </a:lnTo>
                  <a:lnTo>
                    <a:pt x="675" y="506"/>
                  </a:lnTo>
                  <a:lnTo>
                    <a:pt x="675" y="499"/>
                  </a:lnTo>
                  <a:lnTo>
                    <a:pt x="687" y="489"/>
                  </a:lnTo>
                  <a:lnTo>
                    <a:pt x="687" y="482"/>
                  </a:lnTo>
                  <a:lnTo>
                    <a:pt x="696" y="466"/>
                  </a:lnTo>
                  <a:lnTo>
                    <a:pt x="713" y="466"/>
                  </a:lnTo>
                  <a:lnTo>
                    <a:pt x="701" y="482"/>
                  </a:lnTo>
                  <a:lnTo>
                    <a:pt x="739" y="556"/>
                  </a:lnTo>
                  <a:lnTo>
                    <a:pt x="751" y="511"/>
                  </a:lnTo>
                  <a:lnTo>
                    <a:pt x="772" y="527"/>
                  </a:lnTo>
                  <a:lnTo>
                    <a:pt x="755" y="511"/>
                  </a:lnTo>
                  <a:lnTo>
                    <a:pt x="767" y="506"/>
                  </a:lnTo>
                  <a:lnTo>
                    <a:pt x="755" y="506"/>
                  </a:lnTo>
                  <a:lnTo>
                    <a:pt x="751" y="482"/>
                  </a:lnTo>
                  <a:lnTo>
                    <a:pt x="734" y="473"/>
                  </a:lnTo>
                  <a:lnTo>
                    <a:pt x="751" y="473"/>
                  </a:lnTo>
                  <a:lnTo>
                    <a:pt x="755" y="466"/>
                  </a:lnTo>
                  <a:lnTo>
                    <a:pt x="755" y="456"/>
                  </a:lnTo>
                  <a:lnTo>
                    <a:pt x="739" y="456"/>
                  </a:lnTo>
                  <a:lnTo>
                    <a:pt x="739" y="449"/>
                  </a:lnTo>
                  <a:lnTo>
                    <a:pt x="755" y="449"/>
                  </a:lnTo>
                  <a:lnTo>
                    <a:pt x="767" y="449"/>
                  </a:lnTo>
                  <a:lnTo>
                    <a:pt x="755" y="456"/>
                  </a:lnTo>
                  <a:lnTo>
                    <a:pt x="767" y="466"/>
                  </a:lnTo>
                  <a:lnTo>
                    <a:pt x="772" y="456"/>
                  </a:lnTo>
                  <a:lnTo>
                    <a:pt x="789" y="456"/>
                  </a:lnTo>
                  <a:lnTo>
                    <a:pt x="789" y="466"/>
                  </a:lnTo>
                  <a:lnTo>
                    <a:pt x="805" y="466"/>
                  </a:lnTo>
                  <a:lnTo>
                    <a:pt x="836" y="466"/>
                  </a:lnTo>
                  <a:lnTo>
                    <a:pt x="805" y="456"/>
                  </a:lnTo>
                  <a:lnTo>
                    <a:pt x="805" y="445"/>
                  </a:lnTo>
                  <a:lnTo>
                    <a:pt x="810" y="449"/>
                  </a:lnTo>
                  <a:lnTo>
                    <a:pt x="822" y="445"/>
                  </a:lnTo>
                  <a:lnTo>
                    <a:pt x="822" y="433"/>
                  </a:lnTo>
                  <a:lnTo>
                    <a:pt x="826" y="428"/>
                  </a:lnTo>
                  <a:lnTo>
                    <a:pt x="822" y="416"/>
                  </a:lnTo>
                  <a:lnTo>
                    <a:pt x="810" y="433"/>
                  </a:lnTo>
                  <a:lnTo>
                    <a:pt x="805" y="428"/>
                  </a:lnTo>
                  <a:lnTo>
                    <a:pt x="805" y="400"/>
                  </a:lnTo>
                  <a:lnTo>
                    <a:pt x="822" y="395"/>
                  </a:lnTo>
                  <a:lnTo>
                    <a:pt x="826" y="378"/>
                  </a:lnTo>
                  <a:lnTo>
                    <a:pt x="859" y="400"/>
                  </a:lnTo>
                  <a:lnTo>
                    <a:pt x="848" y="395"/>
                  </a:lnTo>
                  <a:lnTo>
                    <a:pt x="848" y="388"/>
                  </a:lnTo>
                  <a:lnTo>
                    <a:pt x="836" y="388"/>
                  </a:lnTo>
                  <a:lnTo>
                    <a:pt x="848" y="371"/>
                  </a:lnTo>
                  <a:lnTo>
                    <a:pt x="836" y="378"/>
                  </a:lnTo>
                  <a:lnTo>
                    <a:pt x="836" y="371"/>
                  </a:lnTo>
                  <a:lnTo>
                    <a:pt x="848" y="362"/>
                  </a:lnTo>
                  <a:lnTo>
                    <a:pt x="859" y="378"/>
                  </a:lnTo>
                  <a:lnTo>
                    <a:pt x="859" y="362"/>
                  </a:lnTo>
                  <a:lnTo>
                    <a:pt x="864" y="371"/>
                  </a:lnTo>
                  <a:lnTo>
                    <a:pt x="874" y="371"/>
                  </a:lnTo>
                  <a:lnTo>
                    <a:pt x="859" y="362"/>
                  </a:lnTo>
                  <a:lnTo>
                    <a:pt x="864" y="355"/>
                  </a:lnTo>
                  <a:lnTo>
                    <a:pt x="859" y="345"/>
                  </a:lnTo>
                  <a:lnTo>
                    <a:pt x="864" y="334"/>
                  </a:lnTo>
                  <a:lnTo>
                    <a:pt x="890" y="334"/>
                  </a:lnTo>
                  <a:lnTo>
                    <a:pt x="890" y="305"/>
                  </a:lnTo>
                  <a:lnTo>
                    <a:pt x="897" y="305"/>
                  </a:lnTo>
                  <a:lnTo>
                    <a:pt x="890" y="338"/>
                  </a:lnTo>
                  <a:lnTo>
                    <a:pt x="897" y="317"/>
                  </a:lnTo>
                  <a:lnTo>
                    <a:pt x="902" y="322"/>
                  </a:lnTo>
                  <a:lnTo>
                    <a:pt x="911" y="338"/>
                  </a:lnTo>
                  <a:lnTo>
                    <a:pt x="918" y="334"/>
                  </a:lnTo>
                  <a:lnTo>
                    <a:pt x="928" y="300"/>
                  </a:lnTo>
                  <a:lnTo>
                    <a:pt x="918" y="284"/>
                  </a:lnTo>
                  <a:lnTo>
                    <a:pt x="928" y="284"/>
                  </a:lnTo>
                  <a:lnTo>
                    <a:pt x="928" y="289"/>
                  </a:lnTo>
                  <a:lnTo>
                    <a:pt x="935" y="305"/>
                  </a:lnTo>
                  <a:lnTo>
                    <a:pt x="944" y="289"/>
                  </a:lnTo>
                  <a:lnTo>
                    <a:pt x="949" y="284"/>
                  </a:lnTo>
                  <a:lnTo>
                    <a:pt x="949" y="289"/>
                  </a:lnTo>
                  <a:lnTo>
                    <a:pt x="956" y="305"/>
                  </a:lnTo>
                  <a:lnTo>
                    <a:pt x="973" y="284"/>
                  </a:lnTo>
                  <a:lnTo>
                    <a:pt x="966" y="279"/>
                  </a:lnTo>
                  <a:lnTo>
                    <a:pt x="973" y="267"/>
                  </a:lnTo>
                  <a:lnTo>
                    <a:pt x="987" y="279"/>
                  </a:lnTo>
                  <a:lnTo>
                    <a:pt x="999" y="284"/>
                  </a:lnTo>
                  <a:lnTo>
                    <a:pt x="1011" y="284"/>
                  </a:lnTo>
                  <a:lnTo>
                    <a:pt x="1053" y="334"/>
                  </a:lnTo>
                  <a:lnTo>
                    <a:pt x="1063" y="338"/>
                  </a:lnTo>
                  <a:lnTo>
                    <a:pt x="1058" y="400"/>
                  </a:lnTo>
                  <a:lnTo>
                    <a:pt x="1063" y="378"/>
                  </a:lnTo>
                  <a:lnTo>
                    <a:pt x="1074" y="395"/>
                  </a:lnTo>
                  <a:lnTo>
                    <a:pt x="1063" y="371"/>
                  </a:lnTo>
                  <a:lnTo>
                    <a:pt x="1079" y="355"/>
                  </a:lnTo>
                  <a:lnTo>
                    <a:pt x="1079" y="362"/>
                  </a:lnTo>
                  <a:lnTo>
                    <a:pt x="1091" y="362"/>
                  </a:lnTo>
                  <a:lnTo>
                    <a:pt x="1079" y="345"/>
                  </a:lnTo>
                  <a:lnTo>
                    <a:pt x="1096" y="345"/>
                  </a:lnTo>
                  <a:lnTo>
                    <a:pt x="1133" y="355"/>
                  </a:lnTo>
                  <a:lnTo>
                    <a:pt x="1133" y="362"/>
                  </a:lnTo>
                  <a:lnTo>
                    <a:pt x="1133" y="378"/>
                  </a:lnTo>
                  <a:lnTo>
                    <a:pt x="1145" y="371"/>
                  </a:lnTo>
                  <a:lnTo>
                    <a:pt x="1145" y="355"/>
                  </a:lnTo>
                  <a:lnTo>
                    <a:pt x="1150" y="355"/>
                  </a:lnTo>
                  <a:lnTo>
                    <a:pt x="1171" y="378"/>
                  </a:lnTo>
                  <a:lnTo>
                    <a:pt x="1166" y="362"/>
                  </a:lnTo>
                  <a:lnTo>
                    <a:pt x="1171" y="345"/>
                  </a:lnTo>
                  <a:lnTo>
                    <a:pt x="1183" y="355"/>
                  </a:lnTo>
                  <a:lnTo>
                    <a:pt x="1188" y="345"/>
                  </a:lnTo>
                  <a:lnTo>
                    <a:pt x="1183" y="345"/>
                  </a:lnTo>
                  <a:lnTo>
                    <a:pt x="1171" y="345"/>
                  </a:lnTo>
                  <a:lnTo>
                    <a:pt x="1166" y="334"/>
                  </a:lnTo>
                  <a:lnTo>
                    <a:pt x="1183" y="334"/>
                  </a:lnTo>
                  <a:lnTo>
                    <a:pt x="1166" y="334"/>
                  </a:lnTo>
                  <a:lnTo>
                    <a:pt x="1150" y="322"/>
                  </a:lnTo>
                  <a:lnTo>
                    <a:pt x="1150" y="317"/>
                  </a:lnTo>
                  <a:lnTo>
                    <a:pt x="1162" y="300"/>
                  </a:lnTo>
                  <a:lnTo>
                    <a:pt x="1171" y="289"/>
                  </a:lnTo>
                  <a:lnTo>
                    <a:pt x="1188" y="251"/>
                  </a:lnTo>
                  <a:lnTo>
                    <a:pt x="1200" y="251"/>
                  </a:lnTo>
                  <a:lnTo>
                    <a:pt x="1214" y="234"/>
                  </a:lnTo>
                  <a:lnTo>
                    <a:pt x="1204" y="227"/>
                  </a:lnTo>
                  <a:lnTo>
                    <a:pt x="1204" y="211"/>
                  </a:lnTo>
                  <a:lnTo>
                    <a:pt x="1221" y="211"/>
                  </a:lnTo>
                  <a:lnTo>
                    <a:pt x="1221" y="189"/>
                  </a:lnTo>
                  <a:lnTo>
                    <a:pt x="1226" y="189"/>
                  </a:lnTo>
                  <a:lnTo>
                    <a:pt x="1242" y="194"/>
                  </a:lnTo>
                  <a:lnTo>
                    <a:pt x="1237" y="189"/>
                  </a:lnTo>
                  <a:lnTo>
                    <a:pt x="1237" y="173"/>
                  </a:lnTo>
                  <a:lnTo>
                    <a:pt x="1252" y="173"/>
                  </a:lnTo>
                  <a:lnTo>
                    <a:pt x="1259" y="189"/>
                  </a:lnTo>
                  <a:lnTo>
                    <a:pt x="1268" y="178"/>
                  </a:lnTo>
                  <a:lnTo>
                    <a:pt x="1252" y="173"/>
                  </a:lnTo>
                  <a:lnTo>
                    <a:pt x="1259" y="168"/>
                  </a:lnTo>
                  <a:lnTo>
                    <a:pt x="1268" y="173"/>
                  </a:lnTo>
                  <a:lnTo>
                    <a:pt x="1268" y="156"/>
                  </a:lnTo>
                  <a:lnTo>
                    <a:pt x="1296" y="168"/>
                  </a:lnTo>
                  <a:lnTo>
                    <a:pt x="1344" y="168"/>
                  </a:lnTo>
                  <a:lnTo>
                    <a:pt x="1360" y="156"/>
                  </a:lnTo>
                  <a:lnTo>
                    <a:pt x="1365" y="173"/>
                  </a:lnTo>
                  <a:lnTo>
                    <a:pt x="1365" y="156"/>
                  </a:lnTo>
                  <a:lnTo>
                    <a:pt x="1386" y="152"/>
                  </a:lnTo>
                  <a:lnTo>
                    <a:pt x="1381" y="152"/>
                  </a:lnTo>
                  <a:lnTo>
                    <a:pt x="1381" y="116"/>
                  </a:lnTo>
                  <a:lnTo>
                    <a:pt x="1365" y="100"/>
                  </a:lnTo>
                  <a:lnTo>
                    <a:pt x="1344" y="111"/>
                  </a:lnTo>
                  <a:lnTo>
                    <a:pt x="1334" y="95"/>
                  </a:lnTo>
                  <a:lnTo>
                    <a:pt x="1322" y="95"/>
                  </a:lnTo>
                  <a:lnTo>
                    <a:pt x="1334" y="78"/>
                  </a:lnTo>
                  <a:lnTo>
                    <a:pt x="1351" y="100"/>
                  </a:lnTo>
                  <a:lnTo>
                    <a:pt x="1351" y="95"/>
                  </a:lnTo>
                  <a:lnTo>
                    <a:pt x="1344" y="78"/>
                  </a:lnTo>
                  <a:lnTo>
                    <a:pt x="1360" y="78"/>
                  </a:lnTo>
                  <a:lnTo>
                    <a:pt x="1381" y="111"/>
                  </a:lnTo>
                  <a:lnTo>
                    <a:pt x="1398" y="95"/>
                  </a:lnTo>
                  <a:lnTo>
                    <a:pt x="1419" y="123"/>
                  </a:lnTo>
                  <a:lnTo>
                    <a:pt x="1431" y="116"/>
                  </a:lnTo>
                  <a:lnTo>
                    <a:pt x="1452" y="133"/>
                  </a:lnTo>
                  <a:lnTo>
                    <a:pt x="1469" y="123"/>
                  </a:lnTo>
                  <a:lnTo>
                    <a:pt x="1469" y="133"/>
                  </a:lnTo>
                  <a:lnTo>
                    <a:pt x="1474" y="133"/>
                  </a:lnTo>
                  <a:lnTo>
                    <a:pt x="1485" y="133"/>
                  </a:lnTo>
                  <a:lnTo>
                    <a:pt x="1490" y="152"/>
                  </a:lnTo>
                  <a:lnTo>
                    <a:pt x="1528" y="140"/>
                  </a:lnTo>
                  <a:lnTo>
                    <a:pt x="1537" y="152"/>
                  </a:lnTo>
                  <a:lnTo>
                    <a:pt x="1561" y="168"/>
                  </a:lnTo>
                  <a:lnTo>
                    <a:pt x="1566" y="152"/>
                  </a:lnTo>
                  <a:lnTo>
                    <a:pt x="1592" y="152"/>
                  </a:lnTo>
                  <a:lnTo>
                    <a:pt x="1592" y="140"/>
                  </a:lnTo>
                  <a:lnTo>
                    <a:pt x="1599" y="140"/>
                  </a:lnTo>
                  <a:lnTo>
                    <a:pt x="1613" y="123"/>
                  </a:lnTo>
                  <a:lnTo>
                    <a:pt x="1599" y="140"/>
                  </a:lnTo>
                  <a:lnTo>
                    <a:pt x="1599" y="152"/>
                  </a:lnTo>
                  <a:lnTo>
                    <a:pt x="1592" y="156"/>
                  </a:lnTo>
                  <a:lnTo>
                    <a:pt x="1599" y="168"/>
                  </a:lnTo>
                  <a:lnTo>
                    <a:pt x="1620" y="152"/>
                  </a:lnTo>
                  <a:lnTo>
                    <a:pt x="1613" y="156"/>
                  </a:lnTo>
                  <a:lnTo>
                    <a:pt x="1620" y="156"/>
                  </a:lnTo>
                  <a:lnTo>
                    <a:pt x="1613" y="173"/>
                  </a:lnTo>
                  <a:lnTo>
                    <a:pt x="1620" y="178"/>
                  </a:lnTo>
                  <a:lnTo>
                    <a:pt x="1637" y="173"/>
                  </a:lnTo>
                  <a:lnTo>
                    <a:pt x="1646" y="156"/>
                  </a:lnTo>
                  <a:lnTo>
                    <a:pt x="1629" y="156"/>
                  </a:lnTo>
                  <a:lnTo>
                    <a:pt x="1658" y="140"/>
                  </a:lnTo>
                  <a:lnTo>
                    <a:pt x="1658" y="168"/>
                  </a:lnTo>
                  <a:lnTo>
                    <a:pt x="1674" y="156"/>
                  </a:lnTo>
                  <a:lnTo>
                    <a:pt x="1684" y="173"/>
                  </a:lnTo>
                  <a:lnTo>
                    <a:pt x="1667" y="178"/>
                  </a:lnTo>
                  <a:lnTo>
                    <a:pt x="1658" y="206"/>
                  </a:lnTo>
                  <a:lnTo>
                    <a:pt x="1651" y="194"/>
                  </a:lnTo>
                  <a:lnTo>
                    <a:pt x="1651" y="222"/>
                  </a:lnTo>
                  <a:lnTo>
                    <a:pt x="1651" y="234"/>
                  </a:lnTo>
                  <a:lnTo>
                    <a:pt x="1646" y="234"/>
                  </a:lnTo>
                  <a:lnTo>
                    <a:pt x="1646" y="222"/>
                  </a:lnTo>
                  <a:lnTo>
                    <a:pt x="1629" y="234"/>
                  </a:lnTo>
                  <a:lnTo>
                    <a:pt x="1620" y="227"/>
                  </a:lnTo>
                  <a:lnTo>
                    <a:pt x="1613" y="234"/>
                  </a:lnTo>
                  <a:lnTo>
                    <a:pt x="1603" y="260"/>
                  </a:lnTo>
                  <a:lnTo>
                    <a:pt x="1603" y="267"/>
                  </a:lnTo>
                  <a:lnTo>
                    <a:pt x="1620" y="267"/>
                  </a:lnTo>
                  <a:lnTo>
                    <a:pt x="1603" y="305"/>
                  </a:lnTo>
                  <a:lnTo>
                    <a:pt x="1592" y="322"/>
                  </a:lnTo>
                  <a:lnTo>
                    <a:pt x="1582" y="338"/>
                  </a:lnTo>
                  <a:lnTo>
                    <a:pt x="1575" y="338"/>
                  </a:lnTo>
                  <a:lnTo>
                    <a:pt x="1575" y="355"/>
                  </a:lnTo>
                  <a:lnTo>
                    <a:pt x="1629" y="395"/>
                  </a:lnTo>
                  <a:lnTo>
                    <a:pt x="1637" y="400"/>
                  </a:lnTo>
                  <a:lnTo>
                    <a:pt x="1667" y="428"/>
                  </a:lnTo>
                  <a:lnTo>
                    <a:pt x="1689" y="428"/>
                  </a:lnTo>
                  <a:lnTo>
                    <a:pt x="1738" y="456"/>
                  </a:lnTo>
                  <a:lnTo>
                    <a:pt x="1764" y="489"/>
                  </a:lnTo>
                  <a:lnTo>
                    <a:pt x="1830" y="506"/>
                  </a:lnTo>
                  <a:lnTo>
                    <a:pt x="1847" y="539"/>
                  </a:lnTo>
                  <a:lnTo>
                    <a:pt x="1901" y="560"/>
                  </a:lnTo>
                  <a:lnTo>
                    <a:pt x="1927" y="560"/>
                  </a:lnTo>
                  <a:lnTo>
                    <a:pt x="1953" y="544"/>
                  </a:lnTo>
                  <a:lnTo>
                    <a:pt x="1960" y="511"/>
                  </a:lnTo>
                  <a:lnTo>
                    <a:pt x="1981" y="482"/>
                  </a:lnTo>
                  <a:lnTo>
                    <a:pt x="1998" y="445"/>
                  </a:lnTo>
                  <a:lnTo>
                    <a:pt x="1998" y="400"/>
                  </a:lnTo>
                  <a:lnTo>
                    <a:pt x="2012" y="362"/>
                  </a:lnTo>
                  <a:lnTo>
                    <a:pt x="2007" y="322"/>
                  </a:lnTo>
                  <a:lnTo>
                    <a:pt x="2007" y="300"/>
                  </a:lnTo>
                  <a:lnTo>
                    <a:pt x="1998" y="279"/>
                  </a:lnTo>
                  <a:lnTo>
                    <a:pt x="2012" y="234"/>
                  </a:lnTo>
                  <a:lnTo>
                    <a:pt x="2007" y="211"/>
                  </a:lnTo>
                  <a:lnTo>
                    <a:pt x="2024" y="194"/>
                  </a:lnTo>
                  <a:lnTo>
                    <a:pt x="2029" y="206"/>
                  </a:lnTo>
                  <a:lnTo>
                    <a:pt x="2024" y="178"/>
                  </a:lnTo>
                  <a:lnTo>
                    <a:pt x="2012" y="173"/>
                  </a:lnTo>
                  <a:lnTo>
                    <a:pt x="2012" y="178"/>
                  </a:lnTo>
                  <a:lnTo>
                    <a:pt x="2007" y="178"/>
                  </a:lnTo>
                  <a:lnTo>
                    <a:pt x="2029" y="140"/>
                  </a:lnTo>
                  <a:lnTo>
                    <a:pt x="2029" y="152"/>
                  </a:lnTo>
                  <a:lnTo>
                    <a:pt x="2036" y="152"/>
                  </a:lnTo>
                  <a:lnTo>
                    <a:pt x="2029" y="140"/>
                  </a:lnTo>
                  <a:lnTo>
                    <a:pt x="2045" y="95"/>
                  </a:lnTo>
                  <a:lnTo>
                    <a:pt x="2045" y="67"/>
                  </a:lnTo>
                  <a:lnTo>
                    <a:pt x="2062" y="62"/>
                  </a:lnTo>
                  <a:lnTo>
                    <a:pt x="2066" y="45"/>
                  </a:lnTo>
                  <a:lnTo>
                    <a:pt x="2078" y="57"/>
                  </a:lnTo>
                  <a:lnTo>
                    <a:pt x="2066" y="67"/>
                  </a:lnTo>
                  <a:lnTo>
                    <a:pt x="2078" y="62"/>
                  </a:lnTo>
                  <a:lnTo>
                    <a:pt x="2088" y="78"/>
                  </a:lnTo>
                  <a:lnTo>
                    <a:pt x="2100" y="133"/>
                  </a:lnTo>
                  <a:lnTo>
                    <a:pt x="2121" y="140"/>
                  </a:lnTo>
                  <a:lnTo>
                    <a:pt x="2116" y="168"/>
                  </a:lnTo>
                  <a:lnTo>
                    <a:pt x="2133" y="173"/>
                  </a:lnTo>
                  <a:lnTo>
                    <a:pt x="2133" y="178"/>
                  </a:lnTo>
                  <a:lnTo>
                    <a:pt x="2137" y="189"/>
                  </a:lnTo>
                  <a:lnTo>
                    <a:pt x="2133" y="206"/>
                  </a:lnTo>
                  <a:lnTo>
                    <a:pt x="2142" y="206"/>
                  </a:lnTo>
                  <a:lnTo>
                    <a:pt x="2142" y="251"/>
                  </a:lnTo>
                  <a:lnTo>
                    <a:pt x="2142" y="267"/>
                  </a:lnTo>
                  <a:lnTo>
                    <a:pt x="2159" y="322"/>
                  </a:lnTo>
                  <a:lnTo>
                    <a:pt x="2175" y="322"/>
                  </a:lnTo>
                  <a:lnTo>
                    <a:pt x="2213" y="300"/>
                  </a:lnTo>
                  <a:lnTo>
                    <a:pt x="2225" y="334"/>
                  </a:lnTo>
                  <a:lnTo>
                    <a:pt x="2239" y="334"/>
                  </a:lnTo>
                  <a:lnTo>
                    <a:pt x="2246" y="345"/>
                  </a:lnTo>
                  <a:lnTo>
                    <a:pt x="2267" y="355"/>
                  </a:lnTo>
                  <a:lnTo>
                    <a:pt x="2263" y="371"/>
                  </a:lnTo>
                  <a:lnTo>
                    <a:pt x="2263" y="395"/>
                  </a:lnTo>
                  <a:lnTo>
                    <a:pt x="2277" y="445"/>
                  </a:lnTo>
                  <a:lnTo>
                    <a:pt x="2277" y="473"/>
                  </a:lnTo>
                  <a:lnTo>
                    <a:pt x="2305" y="506"/>
                  </a:lnTo>
                  <a:lnTo>
                    <a:pt x="2315" y="506"/>
                  </a:lnTo>
                  <a:lnTo>
                    <a:pt x="2305" y="511"/>
                  </a:lnTo>
                  <a:lnTo>
                    <a:pt x="2322" y="560"/>
                  </a:lnTo>
                  <a:lnTo>
                    <a:pt x="2315" y="600"/>
                  </a:lnTo>
                  <a:lnTo>
                    <a:pt x="2338" y="622"/>
                  </a:lnTo>
                  <a:lnTo>
                    <a:pt x="2338" y="650"/>
                  </a:lnTo>
                  <a:lnTo>
                    <a:pt x="2352" y="671"/>
                  </a:lnTo>
                  <a:lnTo>
                    <a:pt x="2402" y="688"/>
                  </a:lnTo>
                  <a:lnTo>
                    <a:pt x="2414" y="688"/>
                  </a:lnTo>
                  <a:lnTo>
                    <a:pt x="2414" y="676"/>
                  </a:lnTo>
                  <a:lnTo>
                    <a:pt x="2428" y="721"/>
                  </a:lnTo>
                  <a:lnTo>
                    <a:pt x="2440" y="721"/>
                  </a:lnTo>
                  <a:lnTo>
                    <a:pt x="2440" y="711"/>
                  </a:lnTo>
                  <a:lnTo>
                    <a:pt x="2444" y="711"/>
                  </a:lnTo>
                  <a:lnTo>
                    <a:pt x="2444" y="728"/>
                  </a:lnTo>
                  <a:lnTo>
                    <a:pt x="2466" y="728"/>
                  </a:lnTo>
                  <a:lnTo>
                    <a:pt x="2482" y="749"/>
                  </a:lnTo>
                  <a:lnTo>
                    <a:pt x="2494" y="733"/>
                  </a:lnTo>
                  <a:lnTo>
                    <a:pt x="2515" y="749"/>
                  </a:lnTo>
                  <a:lnTo>
                    <a:pt x="2520" y="778"/>
                  </a:lnTo>
                  <a:lnTo>
                    <a:pt x="2515" y="766"/>
                  </a:lnTo>
                  <a:lnTo>
                    <a:pt x="2511" y="782"/>
                  </a:lnTo>
                  <a:lnTo>
                    <a:pt x="2515" y="799"/>
                  </a:lnTo>
                  <a:lnTo>
                    <a:pt x="2548" y="815"/>
                  </a:lnTo>
                  <a:lnTo>
                    <a:pt x="2548" y="832"/>
                  </a:lnTo>
                  <a:lnTo>
                    <a:pt x="2565" y="856"/>
                  </a:lnTo>
                  <a:lnTo>
                    <a:pt x="2565" y="893"/>
                  </a:lnTo>
                  <a:lnTo>
                    <a:pt x="2574" y="910"/>
                  </a:lnTo>
                  <a:lnTo>
                    <a:pt x="2574" y="926"/>
                  </a:lnTo>
                  <a:lnTo>
                    <a:pt x="2586" y="910"/>
                  </a:lnTo>
                  <a:lnTo>
                    <a:pt x="2603" y="931"/>
                  </a:lnTo>
                  <a:lnTo>
                    <a:pt x="2591" y="910"/>
                  </a:lnTo>
                  <a:lnTo>
                    <a:pt x="2603" y="893"/>
                  </a:lnTo>
                  <a:lnTo>
                    <a:pt x="2607" y="915"/>
                  </a:lnTo>
                  <a:lnTo>
                    <a:pt x="2638" y="926"/>
                  </a:lnTo>
                  <a:lnTo>
                    <a:pt x="2638" y="910"/>
                  </a:lnTo>
                  <a:lnTo>
                    <a:pt x="2655" y="943"/>
                  </a:lnTo>
                  <a:lnTo>
                    <a:pt x="2655" y="971"/>
                  </a:lnTo>
                  <a:lnTo>
                    <a:pt x="2662" y="1000"/>
                  </a:lnTo>
                  <a:lnTo>
                    <a:pt x="2671" y="1004"/>
                  </a:lnTo>
                  <a:lnTo>
                    <a:pt x="2676" y="1021"/>
                  </a:lnTo>
                  <a:lnTo>
                    <a:pt x="2709" y="1042"/>
                  </a:lnTo>
                  <a:lnTo>
                    <a:pt x="2714" y="1037"/>
                  </a:lnTo>
                  <a:lnTo>
                    <a:pt x="2730" y="1054"/>
                  </a:lnTo>
                  <a:lnTo>
                    <a:pt x="2747" y="1082"/>
                  </a:lnTo>
                  <a:lnTo>
                    <a:pt x="2768" y="1099"/>
                  </a:lnTo>
                  <a:lnTo>
                    <a:pt x="2785" y="1132"/>
                  </a:lnTo>
                  <a:lnTo>
                    <a:pt x="2801" y="1137"/>
                  </a:lnTo>
                  <a:lnTo>
                    <a:pt x="2801" y="1170"/>
                  </a:lnTo>
                  <a:lnTo>
                    <a:pt x="2822" y="1186"/>
                  </a:lnTo>
                  <a:lnTo>
                    <a:pt x="2818" y="1210"/>
                  </a:lnTo>
                  <a:lnTo>
                    <a:pt x="2818" y="1276"/>
                  </a:lnTo>
                  <a:lnTo>
                    <a:pt x="2806" y="1281"/>
                  </a:lnTo>
                  <a:lnTo>
                    <a:pt x="2806" y="1293"/>
                  </a:lnTo>
                  <a:lnTo>
                    <a:pt x="2822" y="1304"/>
                  </a:lnTo>
                  <a:lnTo>
                    <a:pt x="2851" y="1370"/>
                  </a:lnTo>
                  <a:lnTo>
                    <a:pt x="2851" y="1408"/>
                  </a:lnTo>
                  <a:lnTo>
                    <a:pt x="2834" y="1448"/>
                  </a:lnTo>
                  <a:lnTo>
                    <a:pt x="2822" y="1498"/>
                  </a:lnTo>
                  <a:lnTo>
                    <a:pt x="2806" y="1543"/>
                  </a:lnTo>
                  <a:lnTo>
                    <a:pt x="2818" y="1576"/>
                  </a:lnTo>
                  <a:lnTo>
                    <a:pt x="2801" y="1630"/>
                  </a:lnTo>
                  <a:lnTo>
                    <a:pt x="2780" y="1670"/>
                  </a:lnTo>
                  <a:lnTo>
                    <a:pt x="2780" y="1692"/>
                  </a:lnTo>
                  <a:lnTo>
                    <a:pt x="2747" y="1720"/>
                  </a:lnTo>
                  <a:lnTo>
                    <a:pt x="2747" y="1725"/>
                  </a:lnTo>
                  <a:lnTo>
                    <a:pt x="2726" y="1737"/>
                  </a:lnTo>
                  <a:lnTo>
                    <a:pt x="2709" y="1765"/>
                  </a:lnTo>
                  <a:lnTo>
                    <a:pt x="2700" y="1765"/>
                  </a:lnTo>
                  <a:lnTo>
                    <a:pt x="2700" y="1774"/>
                  </a:lnTo>
                  <a:lnTo>
                    <a:pt x="2692" y="1791"/>
                  </a:lnTo>
                  <a:lnTo>
                    <a:pt x="2688" y="1819"/>
                  </a:lnTo>
                  <a:lnTo>
                    <a:pt x="2676" y="1819"/>
                  </a:lnTo>
                  <a:lnTo>
                    <a:pt x="2688" y="1831"/>
                  </a:lnTo>
                  <a:lnTo>
                    <a:pt x="2662" y="1848"/>
                  </a:lnTo>
                  <a:lnTo>
                    <a:pt x="2655" y="1885"/>
                  </a:lnTo>
                  <a:lnTo>
                    <a:pt x="2645" y="1893"/>
                  </a:lnTo>
                  <a:lnTo>
                    <a:pt x="2655" y="1909"/>
                  </a:lnTo>
                  <a:lnTo>
                    <a:pt x="2645" y="1909"/>
                  </a:lnTo>
                  <a:lnTo>
                    <a:pt x="2645" y="1914"/>
                  </a:lnTo>
                  <a:lnTo>
                    <a:pt x="2638" y="1926"/>
                  </a:lnTo>
                  <a:lnTo>
                    <a:pt x="2607" y="1980"/>
                  </a:lnTo>
                  <a:lnTo>
                    <a:pt x="2607" y="2013"/>
                  </a:lnTo>
                  <a:lnTo>
                    <a:pt x="2591" y="2058"/>
                  </a:lnTo>
                  <a:lnTo>
                    <a:pt x="2603" y="2079"/>
                  </a:lnTo>
                  <a:lnTo>
                    <a:pt x="2591" y="2091"/>
                  </a:lnTo>
                  <a:lnTo>
                    <a:pt x="2591" y="2107"/>
                  </a:lnTo>
                  <a:lnTo>
                    <a:pt x="2565" y="2129"/>
                  </a:lnTo>
                  <a:lnTo>
                    <a:pt x="2477" y="2136"/>
                  </a:lnTo>
                  <a:lnTo>
                    <a:pt x="2440" y="2145"/>
                  </a:lnTo>
                  <a:lnTo>
                    <a:pt x="2376" y="2202"/>
                  </a:lnTo>
                  <a:lnTo>
                    <a:pt x="2331" y="2207"/>
                  </a:lnTo>
                  <a:lnTo>
                    <a:pt x="2338" y="2223"/>
                  </a:lnTo>
                  <a:lnTo>
                    <a:pt x="2352" y="2219"/>
                  </a:lnTo>
                  <a:lnTo>
                    <a:pt x="2352" y="2240"/>
                  </a:lnTo>
                  <a:lnTo>
                    <a:pt x="2348" y="2247"/>
                  </a:lnTo>
                  <a:lnTo>
                    <a:pt x="2348" y="2247"/>
                  </a:lnTo>
                  <a:lnTo>
                    <a:pt x="2348" y="2247"/>
                  </a:lnTo>
                  <a:close/>
                  <a:moveTo>
                    <a:pt x="1651" y="100"/>
                  </a:moveTo>
                  <a:lnTo>
                    <a:pt x="1667" y="67"/>
                  </a:lnTo>
                  <a:lnTo>
                    <a:pt x="1667" y="83"/>
                  </a:lnTo>
                  <a:lnTo>
                    <a:pt x="1651" y="100"/>
                  </a:lnTo>
                  <a:lnTo>
                    <a:pt x="1651" y="100"/>
                  </a:lnTo>
                  <a:lnTo>
                    <a:pt x="1651" y="100"/>
                  </a:lnTo>
                  <a:close/>
                  <a:moveTo>
                    <a:pt x="1377" y="95"/>
                  </a:moveTo>
                  <a:lnTo>
                    <a:pt x="1377" y="67"/>
                  </a:lnTo>
                  <a:lnTo>
                    <a:pt x="1377" y="95"/>
                  </a:lnTo>
                  <a:lnTo>
                    <a:pt x="1377" y="95"/>
                  </a:lnTo>
                  <a:lnTo>
                    <a:pt x="1377" y="95"/>
                  </a:lnTo>
                  <a:close/>
                  <a:moveTo>
                    <a:pt x="1268" y="140"/>
                  </a:moveTo>
                  <a:lnTo>
                    <a:pt x="1226" y="116"/>
                  </a:lnTo>
                  <a:lnTo>
                    <a:pt x="1221" y="83"/>
                  </a:lnTo>
                  <a:lnTo>
                    <a:pt x="1242" y="100"/>
                  </a:lnTo>
                  <a:lnTo>
                    <a:pt x="1275" y="83"/>
                  </a:lnTo>
                  <a:lnTo>
                    <a:pt x="1280" y="100"/>
                  </a:lnTo>
                  <a:lnTo>
                    <a:pt x="1280" y="83"/>
                  </a:lnTo>
                  <a:lnTo>
                    <a:pt x="1306" y="100"/>
                  </a:lnTo>
                  <a:lnTo>
                    <a:pt x="1289" y="123"/>
                  </a:lnTo>
                  <a:lnTo>
                    <a:pt x="1268" y="140"/>
                  </a:lnTo>
                  <a:lnTo>
                    <a:pt x="1268" y="140"/>
                  </a:lnTo>
                  <a:lnTo>
                    <a:pt x="1268" y="140"/>
                  </a:lnTo>
                  <a:close/>
                  <a:moveTo>
                    <a:pt x="1226" y="133"/>
                  </a:moveTo>
                  <a:lnTo>
                    <a:pt x="1200" y="123"/>
                  </a:lnTo>
                  <a:lnTo>
                    <a:pt x="1204" y="116"/>
                  </a:lnTo>
                  <a:lnTo>
                    <a:pt x="1214" y="116"/>
                  </a:lnTo>
                  <a:lnTo>
                    <a:pt x="1214" y="95"/>
                  </a:lnTo>
                  <a:lnTo>
                    <a:pt x="1221" y="95"/>
                  </a:lnTo>
                  <a:lnTo>
                    <a:pt x="1226" y="116"/>
                  </a:lnTo>
                  <a:lnTo>
                    <a:pt x="1242" y="123"/>
                  </a:lnTo>
                  <a:lnTo>
                    <a:pt x="1226" y="133"/>
                  </a:lnTo>
                  <a:lnTo>
                    <a:pt x="1226" y="133"/>
                  </a:lnTo>
                  <a:lnTo>
                    <a:pt x="1226" y="133"/>
                  </a:lnTo>
                  <a:close/>
                  <a:moveTo>
                    <a:pt x="1377" y="123"/>
                  </a:moveTo>
                  <a:lnTo>
                    <a:pt x="1377" y="116"/>
                  </a:lnTo>
                  <a:lnTo>
                    <a:pt x="1381" y="116"/>
                  </a:lnTo>
                  <a:lnTo>
                    <a:pt x="1377" y="123"/>
                  </a:lnTo>
                  <a:lnTo>
                    <a:pt x="1377" y="123"/>
                  </a:lnTo>
                  <a:lnTo>
                    <a:pt x="1377" y="123"/>
                  </a:lnTo>
                  <a:close/>
                  <a:moveTo>
                    <a:pt x="1613" y="123"/>
                  </a:moveTo>
                  <a:lnTo>
                    <a:pt x="1613" y="116"/>
                  </a:lnTo>
                  <a:lnTo>
                    <a:pt x="1620" y="116"/>
                  </a:lnTo>
                  <a:lnTo>
                    <a:pt x="1613" y="123"/>
                  </a:lnTo>
                  <a:lnTo>
                    <a:pt x="1613" y="123"/>
                  </a:lnTo>
                  <a:lnTo>
                    <a:pt x="1613" y="123"/>
                  </a:lnTo>
                  <a:close/>
                  <a:moveTo>
                    <a:pt x="1684" y="300"/>
                  </a:moveTo>
                  <a:lnTo>
                    <a:pt x="1674" y="305"/>
                  </a:lnTo>
                  <a:lnTo>
                    <a:pt x="1646" y="305"/>
                  </a:lnTo>
                  <a:lnTo>
                    <a:pt x="1651" y="279"/>
                  </a:lnTo>
                  <a:lnTo>
                    <a:pt x="1658" y="279"/>
                  </a:lnTo>
                  <a:lnTo>
                    <a:pt x="1667" y="267"/>
                  </a:lnTo>
                  <a:lnTo>
                    <a:pt x="1667" y="279"/>
                  </a:lnTo>
                  <a:lnTo>
                    <a:pt x="1674" y="279"/>
                  </a:lnTo>
                  <a:lnTo>
                    <a:pt x="1674" y="267"/>
                  </a:lnTo>
                  <a:lnTo>
                    <a:pt x="1684" y="279"/>
                  </a:lnTo>
                  <a:lnTo>
                    <a:pt x="1667" y="284"/>
                  </a:lnTo>
                  <a:lnTo>
                    <a:pt x="1667" y="300"/>
                  </a:lnTo>
                  <a:lnTo>
                    <a:pt x="1684" y="300"/>
                  </a:lnTo>
                  <a:lnTo>
                    <a:pt x="1684" y="300"/>
                  </a:lnTo>
                  <a:lnTo>
                    <a:pt x="1684" y="300"/>
                  </a:lnTo>
                  <a:close/>
                  <a:moveTo>
                    <a:pt x="1629" y="279"/>
                  </a:moveTo>
                  <a:lnTo>
                    <a:pt x="1620" y="279"/>
                  </a:lnTo>
                  <a:lnTo>
                    <a:pt x="1629" y="267"/>
                  </a:lnTo>
                  <a:lnTo>
                    <a:pt x="1637" y="267"/>
                  </a:lnTo>
                  <a:lnTo>
                    <a:pt x="1629" y="279"/>
                  </a:lnTo>
                  <a:lnTo>
                    <a:pt x="1629" y="279"/>
                  </a:lnTo>
                  <a:lnTo>
                    <a:pt x="1629" y="279"/>
                  </a:lnTo>
                  <a:close/>
                  <a:moveTo>
                    <a:pt x="859" y="338"/>
                  </a:moveTo>
                  <a:lnTo>
                    <a:pt x="848" y="334"/>
                  </a:lnTo>
                  <a:lnTo>
                    <a:pt x="859" y="322"/>
                  </a:lnTo>
                  <a:lnTo>
                    <a:pt x="859" y="338"/>
                  </a:lnTo>
                  <a:lnTo>
                    <a:pt x="859" y="338"/>
                  </a:lnTo>
                  <a:lnTo>
                    <a:pt x="859" y="338"/>
                  </a:lnTo>
                  <a:close/>
                  <a:moveTo>
                    <a:pt x="810" y="395"/>
                  </a:moveTo>
                  <a:lnTo>
                    <a:pt x="805" y="388"/>
                  </a:lnTo>
                  <a:lnTo>
                    <a:pt x="810" y="378"/>
                  </a:lnTo>
                  <a:lnTo>
                    <a:pt x="822" y="395"/>
                  </a:lnTo>
                  <a:lnTo>
                    <a:pt x="810" y="395"/>
                  </a:lnTo>
                  <a:lnTo>
                    <a:pt x="810" y="395"/>
                  </a:lnTo>
                  <a:lnTo>
                    <a:pt x="810" y="395"/>
                  </a:lnTo>
                  <a:close/>
                  <a:moveTo>
                    <a:pt x="1651" y="411"/>
                  </a:moveTo>
                  <a:lnTo>
                    <a:pt x="1651" y="400"/>
                  </a:lnTo>
                  <a:lnTo>
                    <a:pt x="1658" y="400"/>
                  </a:lnTo>
                  <a:lnTo>
                    <a:pt x="1651" y="411"/>
                  </a:lnTo>
                  <a:lnTo>
                    <a:pt x="1651" y="411"/>
                  </a:lnTo>
                  <a:lnTo>
                    <a:pt x="1651" y="411"/>
                  </a:lnTo>
                  <a:close/>
                  <a:moveTo>
                    <a:pt x="1689" y="428"/>
                  </a:moveTo>
                  <a:lnTo>
                    <a:pt x="1684" y="411"/>
                  </a:lnTo>
                  <a:lnTo>
                    <a:pt x="1689" y="400"/>
                  </a:lnTo>
                  <a:lnTo>
                    <a:pt x="1689" y="428"/>
                  </a:lnTo>
                  <a:lnTo>
                    <a:pt x="1689" y="428"/>
                  </a:lnTo>
                  <a:lnTo>
                    <a:pt x="1689" y="428"/>
                  </a:lnTo>
                  <a:close/>
                  <a:moveTo>
                    <a:pt x="1667" y="416"/>
                  </a:moveTo>
                  <a:lnTo>
                    <a:pt x="1667" y="411"/>
                  </a:lnTo>
                  <a:lnTo>
                    <a:pt x="1674" y="411"/>
                  </a:lnTo>
                  <a:lnTo>
                    <a:pt x="1667" y="416"/>
                  </a:lnTo>
                  <a:lnTo>
                    <a:pt x="1667" y="416"/>
                  </a:lnTo>
                  <a:lnTo>
                    <a:pt x="1667" y="416"/>
                  </a:lnTo>
                  <a:close/>
                  <a:moveTo>
                    <a:pt x="1835" y="489"/>
                  </a:moveTo>
                  <a:lnTo>
                    <a:pt x="1835" y="482"/>
                  </a:lnTo>
                  <a:lnTo>
                    <a:pt x="1847" y="473"/>
                  </a:lnTo>
                  <a:lnTo>
                    <a:pt x="1873" y="466"/>
                  </a:lnTo>
                  <a:lnTo>
                    <a:pt x="1873" y="473"/>
                  </a:lnTo>
                  <a:lnTo>
                    <a:pt x="1863" y="473"/>
                  </a:lnTo>
                  <a:lnTo>
                    <a:pt x="1863" y="489"/>
                  </a:lnTo>
                  <a:lnTo>
                    <a:pt x="1835" y="489"/>
                  </a:lnTo>
                  <a:lnTo>
                    <a:pt x="1835" y="489"/>
                  </a:lnTo>
                  <a:lnTo>
                    <a:pt x="1835" y="489"/>
                  </a:lnTo>
                  <a:close/>
                  <a:moveTo>
                    <a:pt x="1863" y="522"/>
                  </a:moveTo>
                  <a:lnTo>
                    <a:pt x="1852" y="511"/>
                  </a:lnTo>
                  <a:lnTo>
                    <a:pt x="1868" y="511"/>
                  </a:lnTo>
                  <a:lnTo>
                    <a:pt x="1868" y="522"/>
                  </a:lnTo>
                  <a:lnTo>
                    <a:pt x="1863" y="522"/>
                  </a:lnTo>
                  <a:lnTo>
                    <a:pt x="1863" y="522"/>
                  </a:lnTo>
                  <a:lnTo>
                    <a:pt x="1863" y="522"/>
                  </a:lnTo>
                  <a:close/>
                  <a:moveTo>
                    <a:pt x="2338" y="622"/>
                  </a:moveTo>
                  <a:lnTo>
                    <a:pt x="2322" y="600"/>
                  </a:lnTo>
                  <a:lnTo>
                    <a:pt x="2338" y="610"/>
                  </a:lnTo>
                  <a:lnTo>
                    <a:pt x="2348" y="617"/>
                  </a:lnTo>
                  <a:lnTo>
                    <a:pt x="2338" y="622"/>
                  </a:lnTo>
                  <a:lnTo>
                    <a:pt x="2338" y="622"/>
                  </a:lnTo>
                  <a:lnTo>
                    <a:pt x="2338" y="622"/>
                  </a:lnTo>
                  <a:close/>
                  <a:moveTo>
                    <a:pt x="2376" y="671"/>
                  </a:moveTo>
                  <a:lnTo>
                    <a:pt x="2369" y="671"/>
                  </a:lnTo>
                  <a:lnTo>
                    <a:pt x="2376" y="667"/>
                  </a:lnTo>
                  <a:lnTo>
                    <a:pt x="2376" y="671"/>
                  </a:lnTo>
                  <a:lnTo>
                    <a:pt x="2376" y="671"/>
                  </a:lnTo>
                  <a:lnTo>
                    <a:pt x="2376" y="671"/>
                  </a:lnTo>
                  <a:close/>
                  <a:moveTo>
                    <a:pt x="2520" y="749"/>
                  </a:moveTo>
                  <a:lnTo>
                    <a:pt x="2515" y="745"/>
                  </a:lnTo>
                  <a:lnTo>
                    <a:pt x="2520" y="733"/>
                  </a:lnTo>
                  <a:lnTo>
                    <a:pt x="2520" y="749"/>
                  </a:lnTo>
                  <a:lnTo>
                    <a:pt x="2520" y="749"/>
                  </a:lnTo>
                  <a:lnTo>
                    <a:pt x="2520" y="749"/>
                  </a:lnTo>
                  <a:close/>
                  <a:moveTo>
                    <a:pt x="2520" y="761"/>
                  </a:moveTo>
                  <a:lnTo>
                    <a:pt x="2520" y="745"/>
                  </a:lnTo>
                  <a:lnTo>
                    <a:pt x="2532" y="749"/>
                  </a:lnTo>
                  <a:lnTo>
                    <a:pt x="2520" y="761"/>
                  </a:lnTo>
                  <a:lnTo>
                    <a:pt x="2520" y="761"/>
                  </a:lnTo>
                  <a:lnTo>
                    <a:pt x="2520" y="761"/>
                  </a:lnTo>
                  <a:close/>
                  <a:moveTo>
                    <a:pt x="172" y="799"/>
                  </a:moveTo>
                  <a:lnTo>
                    <a:pt x="163" y="799"/>
                  </a:lnTo>
                  <a:lnTo>
                    <a:pt x="179" y="782"/>
                  </a:lnTo>
                  <a:lnTo>
                    <a:pt x="172" y="799"/>
                  </a:lnTo>
                  <a:lnTo>
                    <a:pt x="172" y="799"/>
                  </a:lnTo>
                  <a:lnTo>
                    <a:pt x="172" y="799"/>
                  </a:lnTo>
                  <a:close/>
                  <a:moveTo>
                    <a:pt x="2629" y="910"/>
                  </a:moveTo>
                  <a:lnTo>
                    <a:pt x="2629" y="905"/>
                  </a:lnTo>
                  <a:lnTo>
                    <a:pt x="2638" y="910"/>
                  </a:lnTo>
                  <a:lnTo>
                    <a:pt x="2629" y="910"/>
                  </a:lnTo>
                  <a:lnTo>
                    <a:pt x="2629" y="910"/>
                  </a:lnTo>
                  <a:lnTo>
                    <a:pt x="2629" y="910"/>
                  </a:lnTo>
                  <a:close/>
                  <a:moveTo>
                    <a:pt x="2688" y="1021"/>
                  </a:moveTo>
                  <a:lnTo>
                    <a:pt x="2671" y="1000"/>
                  </a:lnTo>
                  <a:lnTo>
                    <a:pt x="2688" y="1004"/>
                  </a:lnTo>
                  <a:lnTo>
                    <a:pt x="2692" y="1021"/>
                  </a:lnTo>
                  <a:lnTo>
                    <a:pt x="2688" y="1021"/>
                  </a:lnTo>
                  <a:lnTo>
                    <a:pt x="2688" y="1021"/>
                  </a:lnTo>
                  <a:lnTo>
                    <a:pt x="2688" y="1021"/>
                  </a:lnTo>
                  <a:close/>
                  <a:moveTo>
                    <a:pt x="2818" y="1170"/>
                  </a:moveTo>
                  <a:lnTo>
                    <a:pt x="2801" y="1153"/>
                  </a:lnTo>
                  <a:lnTo>
                    <a:pt x="2806" y="1132"/>
                  </a:lnTo>
                  <a:lnTo>
                    <a:pt x="2822" y="1115"/>
                  </a:lnTo>
                  <a:lnTo>
                    <a:pt x="2818" y="1099"/>
                  </a:lnTo>
                  <a:lnTo>
                    <a:pt x="2822" y="1094"/>
                  </a:lnTo>
                  <a:lnTo>
                    <a:pt x="2834" y="1115"/>
                  </a:lnTo>
                  <a:lnTo>
                    <a:pt x="2818" y="1170"/>
                  </a:lnTo>
                  <a:lnTo>
                    <a:pt x="2818" y="1170"/>
                  </a:lnTo>
                  <a:lnTo>
                    <a:pt x="2818" y="1170"/>
                  </a:lnTo>
                  <a:close/>
                  <a:moveTo>
                    <a:pt x="16" y="1203"/>
                  </a:moveTo>
                  <a:lnTo>
                    <a:pt x="0" y="1170"/>
                  </a:lnTo>
                  <a:lnTo>
                    <a:pt x="0" y="1148"/>
                  </a:lnTo>
                  <a:lnTo>
                    <a:pt x="16" y="1203"/>
                  </a:lnTo>
                  <a:lnTo>
                    <a:pt x="16" y="1203"/>
                  </a:lnTo>
                  <a:lnTo>
                    <a:pt x="16" y="1203"/>
                  </a:lnTo>
                  <a:close/>
                  <a:moveTo>
                    <a:pt x="2839" y="1297"/>
                  </a:moveTo>
                  <a:lnTo>
                    <a:pt x="2834" y="1276"/>
                  </a:lnTo>
                  <a:lnTo>
                    <a:pt x="2839" y="1264"/>
                  </a:lnTo>
                  <a:lnTo>
                    <a:pt x="2839" y="1297"/>
                  </a:lnTo>
                  <a:lnTo>
                    <a:pt x="2839" y="1297"/>
                  </a:lnTo>
                  <a:lnTo>
                    <a:pt x="2839" y="1297"/>
                  </a:lnTo>
                  <a:close/>
                  <a:moveTo>
                    <a:pt x="2839" y="1321"/>
                  </a:moveTo>
                  <a:lnTo>
                    <a:pt x="2839" y="1297"/>
                  </a:lnTo>
                  <a:lnTo>
                    <a:pt x="2851" y="1297"/>
                  </a:lnTo>
                  <a:lnTo>
                    <a:pt x="2839" y="1321"/>
                  </a:lnTo>
                  <a:lnTo>
                    <a:pt x="2839" y="1321"/>
                  </a:lnTo>
                  <a:lnTo>
                    <a:pt x="2839" y="1321"/>
                  </a:lnTo>
                  <a:close/>
                  <a:moveTo>
                    <a:pt x="1755" y="1963"/>
                  </a:moveTo>
                  <a:lnTo>
                    <a:pt x="1759" y="1963"/>
                  </a:lnTo>
                  <a:lnTo>
                    <a:pt x="1764" y="1968"/>
                  </a:lnTo>
                  <a:lnTo>
                    <a:pt x="1759" y="1980"/>
                  </a:lnTo>
                  <a:lnTo>
                    <a:pt x="1738" y="1968"/>
                  </a:lnTo>
                  <a:lnTo>
                    <a:pt x="1722" y="1996"/>
                  </a:lnTo>
                  <a:lnTo>
                    <a:pt x="1705" y="1980"/>
                  </a:lnTo>
                  <a:lnTo>
                    <a:pt x="1667" y="1985"/>
                  </a:lnTo>
                  <a:lnTo>
                    <a:pt x="1651" y="1980"/>
                  </a:lnTo>
                  <a:lnTo>
                    <a:pt x="1658" y="1963"/>
                  </a:lnTo>
                  <a:lnTo>
                    <a:pt x="1705" y="1947"/>
                  </a:lnTo>
                  <a:lnTo>
                    <a:pt x="1722" y="1959"/>
                  </a:lnTo>
                  <a:lnTo>
                    <a:pt x="1726" y="1963"/>
                  </a:lnTo>
                  <a:lnTo>
                    <a:pt x="1743" y="1968"/>
                  </a:lnTo>
                  <a:lnTo>
                    <a:pt x="1755" y="1963"/>
                  </a:lnTo>
                  <a:lnTo>
                    <a:pt x="1755" y="1963"/>
                  </a:lnTo>
                  <a:lnTo>
                    <a:pt x="1755" y="1963"/>
                  </a:lnTo>
                  <a:close/>
                  <a:moveTo>
                    <a:pt x="2267" y="2185"/>
                  </a:moveTo>
                  <a:lnTo>
                    <a:pt x="2267" y="2181"/>
                  </a:lnTo>
                  <a:lnTo>
                    <a:pt x="2284" y="2181"/>
                  </a:lnTo>
                  <a:lnTo>
                    <a:pt x="2267" y="2185"/>
                  </a:lnTo>
                  <a:lnTo>
                    <a:pt x="2267" y="2185"/>
                  </a:lnTo>
                  <a:lnTo>
                    <a:pt x="2267" y="2185"/>
                  </a:lnTo>
                  <a:close/>
                  <a:moveTo>
                    <a:pt x="2267" y="2202"/>
                  </a:moveTo>
                  <a:lnTo>
                    <a:pt x="2251" y="2190"/>
                  </a:lnTo>
                  <a:lnTo>
                    <a:pt x="2267" y="2185"/>
                  </a:lnTo>
                  <a:lnTo>
                    <a:pt x="2267" y="2202"/>
                  </a:lnTo>
                  <a:lnTo>
                    <a:pt x="2267" y="2202"/>
                  </a:lnTo>
                  <a:lnTo>
                    <a:pt x="2267" y="2202"/>
                  </a:lnTo>
                  <a:close/>
                  <a:moveTo>
                    <a:pt x="2352" y="2219"/>
                  </a:moveTo>
                  <a:lnTo>
                    <a:pt x="2359" y="2219"/>
                  </a:lnTo>
                  <a:lnTo>
                    <a:pt x="2352" y="2219"/>
                  </a:lnTo>
                  <a:lnTo>
                    <a:pt x="2352" y="2219"/>
                  </a:lnTo>
                  <a:lnTo>
                    <a:pt x="2352" y="2219"/>
                  </a:lnTo>
                  <a:close/>
                  <a:moveTo>
                    <a:pt x="2170" y="2330"/>
                  </a:moveTo>
                  <a:lnTo>
                    <a:pt x="2170" y="2301"/>
                  </a:lnTo>
                  <a:lnTo>
                    <a:pt x="2175" y="2280"/>
                  </a:lnTo>
                  <a:lnTo>
                    <a:pt x="2187" y="2289"/>
                  </a:lnTo>
                  <a:lnTo>
                    <a:pt x="2187" y="2313"/>
                  </a:lnTo>
                  <a:lnTo>
                    <a:pt x="2170" y="2330"/>
                  </a:lnTo>
                  <a:lnTo>
                    <a:pt x="2170" y="2330"/>
                  </a:lnTo>
                  <a:lnTo>
                    <a:pt x="2170" y="2330"/>
                  </a:lnTo>
                  <a:close/>
                  <a:moveTo>
                    <a:pt x="2466" y="2346"/>
                  </a:moveTo>
                  <a:lnTo>
                    <a:pt x="2440" y="2313"/>
                  </a:lnTo>
                  <a:lnTo>
                    <a:pt x="2444" y="2296"/>
                  </a:lnTo>
                  <a:lnTo>
                    <a:pt x="2456" y="2296"/>
                  </a:lnTo>
                  <a:lnTo>
                    <a:pt x="2477" y="2313"/>
                  </a:lnTo>
                  <a:lnTo>
                    <a:pt x="2477" y="2334"/>
                  </a:lnTo>
                  <a:lnTo>
                    <a:pt x="2466" y="2346"/>
                  </a:lnTo>
                  <a:lnTo>
                    <a:pt x="2466" y="2346"/>
                  </a:lnTo>
                  <a:lnTo>
                    <a:pt x="2466" y="2346"/>
                  </a:lnTo>
                  <a:close/>
                  <a:moveTo>
                    <a:pt x="2482" y="2363"/>
                  </a:moveTo>
                  <a:lnTo>
                    <a:pt x="2477" y="2351"/>
                  </a:lnTo>
                  <a:lnTo>
                    <a:pt x="2461" y="2363"/>
                  </a:lnTo>
                  <a:lnTo>
                    <a:pt x="2456" y="2351"/>
                  </a:lnTo>
                  <a:lnTo>
                    <a:pt x="2482" y="2346"/>
                  </a:lnTo>
                  <a:lnTo>
                    <a:pt x="2494" y="2351"/>
                  </a:lnTo>
                  <a:lnTo>
                    <a:pt x="2482" y="2363"/>
                  </a:lnTo>
                  <a:lnTo>
                    <a:pt x="2482" y="2363"/>
                  </a:lnTo>
                  <a:lnTo>
                    <a:pt x="2482" y="2363"/>
                  </a:lnTo>
                  <a:close/>
                  <a:moveTo>
                    <a:pt x="2239" y="2363"/>
                  </a:moveTo>
                  <a:lnTo>
                    <a:pt x="2239" y="2351"/>
                  </a:lnTo>
                  <a:lnTo>
                    <a:pt x="2246" y="2351"/>
                  </a:lnTo>
                  <a:lnTo>
                    <a:pt x="2239" y="2363"/>
                  </a:lnTo>
                  <a:lnTo>
                    <a:pt x="2239" y="2363"/>
                  </a:lnTo>
                  <a:lnTo>
                    <a:pt x="2239" y="2363"/>
                  </a:lnTo>
                  <a:close/>
                  <a:moveTo>
                    <a:pt x="2466" y="2367"/>
                  </a:moveTo>
                  <a:lnTo>
                    <a:pt x="2461" y="2367"/>
                  </a:lnTo>
                  <a:lnTo>
                    <a:pt x="2466" y="2363"/>
                  </a:lnTo>
                  <a:lnTo>
                    <a:pt x="2466" y="2367"/>
                  </a:lnTo>
                  <a:lnTo>
                    <a:pt x="2466" y="2367"/>
                  </a:lnTo>
                  <a:lnTo>
                    <a:pt x="2466" y="2367"/>
                  </a:lnTo>
                  <a:close/>
                  <a:moveTo>
                    <a:pt x="2239" y="2384"/>
                  </a:moveTo>
                  <a:lnTo>
                    <a:pt x="2246" y="2367"/>
                  </a:lnTo>
                  <a:lnTo>
                    <a:pt x="2246" y="2374"/>
                  </a:lnTo>
                  <a:lnTo>
                    <a:pt x="2239" y="2384"/>
                  </a:lnTo>
                  <a:lnTo>
                    <a:pt x="2239" y="2384"/>
                  </a:lnTo>
                  <a:lnTo>
                    <a:pt x="2239" y="2384"/>
                  </a:lnTo>
                  <a:close/>
                  <a:moveTo>
                    <a:pt x="2385" y="2630"/>
                  </a:moveTo>
                  <a:lnTo>
                    <a:pt x="2322" y="2622"/>
                  </a:lnTo>
                  <a:lnTo>
                    <a:pt x="2315" y="2613"/>
                  </a:lnTo>
                  <a:lnTo>
                    <a:pt x="2331" y="2613"/>
                  </a:lnTo>
                  <a:lnTo>
                    <a:pt x="2331" y="2606"/>
                  </a:lnTo>
                  <a:lnTo>
                    <a:pt x="2305" y="2606"/>
                  </a:lnTo>
                  <a:lnTo>
                    <a:pt x="2284" y="2573"/>
                  </a:lnTo>
                  <a:lnTo>
                    <a:pt x="2267" y="2540"/>
                  </a:lnTo>
                  <a:lnTo>
                    <a:pt x="2263" y="2511"/>
                  </a:lnTo>
                  <a:lnTo>
                    <a:pt x="2277" y="2528"/>
                  </a:lnTo>
                  <a:lnTo>
                    <a:pt x="2277" y="2535"/>
                  </a:lnTo>
                  <a:lnTo>
                    <a:pt x="2284" y="2518"/>
                  </a:lnTo>
                  <a:lnTo>
                    <a:pt x="2267" y="2502"/>
                  </a:lnTo>
                  <a:lnTo>
                    <a:pt x="2225" y="2424"/>
                  </a:lnTo>
                  <a:lnTo>
                    <a:pt x="2225" y="2400"/>
                  </a:lnTo>
                  <a:lnTo>
                    <a:pt x="2225" y="2384"/>
                  </a:lnTo>
                  <a:lnTo>
                    <a:pt x="2267" y="2384"/>
                  </a:lnTo>
                  <a:lnTo>
                    <a:pt x="2331" y="2417"/>
                  </a:lnTo>
                  <a:lnTo>
                    <a:pt x="2359" y="2424"/>
                  </a:lnTo>
                  <a:lnTo>
                    <a:pt x="2369" y="2407"/>
                  </a:lnTo>
                  <a:lnTo>
                    <a:pt x="2385" y="2417"/>
                  </a:lnTo>
                  <a:lnTo>
                    <a:pt x="2376" y="2407"/>
                  </a:lnTo>
                  <a:lnTo>
                    <a:pt x="2385" y="2400"/>
                  </a:lnTo>
                  <a:lnTo>
                    <a:pt x="2414" y="2407"/>
                  </a:lnTo>
                  <a:lnTo>
                    <a:pt x="2428" y="2391"/>
                  </a:lnTo>
                  <a:lnTo>
                    <a:pt x="2444" y="2391"/>
                  </a:lnTo>
                  <a:lnTo>
                    <a:pt x="2456" y="2384"/>
                  </a:lnTo>
                  <a:lnTo>
                    <a:pt x="2477" y="2400"/>
                  </a:lnTo>
                  <a:lnTo>
                    <a:pt x="2477" y="2474"/>
                  </a:lnTo>
                  <a:lnTo>
                    <a:pt x="2482" y="2511"/>
                  </a:lnTo>
                  <a:lnTo>
                    <a:pt x="2477" y="2511"/>
                  </a:lnTo>
                  <a:lnTo>
                    <a:pt x="2477" y="2502"/>
                  </a:lnTo>
                  <a:lnTo>
                    <a:pt x="2466" y="2485"/>
                  </a:lnTo>
                  <a:lnTo>
                    <a:pt x="2444" y="2568"/>
                  </a:lnTo>
                  <a:lnTo>
                    <a:pt x="2456" y="2568"/>
                  </a:lnTo>
                  <a:lnTo>
                    <a:pt x="2456" y="2596"/>
                  </a:lnTo>
                  <a:lnTo>
                    <a:pt x="2444" y="2589"/>
                  </a:lnTo>
                  <a:lnTo>
                    <a:pt x="2444" y="2596"/>
                  </a:lnTo>
                  <a:lnTo>
                    <a:pt x="2428" y="2585"/>
                  </a:lnTo>
                  <a:lnTo>
                    <a:pt x="2440" y="2573"/>
                  </a:lnTo>
                  <a:lnTo>
                    <a:pt x="2440" y="2585"/>
                  </a:lnTo>
                  <a:lnTo>
                    <a:pt x="2456" y="2585"/>
                  </a:lnTo>
                  <a:lnTo>
                    <a:pt x="2444" y="2573"/>
                  </a:lnTo>
                  <a:lnTo>
                    <a:pt x="2423" y="2568"/>
                  </a:lnTo>
                  <a:lnTo>
                    <a:pt x="2423" y="2573"/>
                  </a:lnTo>
                  <a:lnTo>
                    <a:pt x="2414" y="2585"/>
                  </a:lnTo>
                  <a:lnTo>
                    <a:pt x="2414" y="2568"/>
                  </a:lnTo>
                  <a:lnTo>
                    <a:pt x="2407" y="2568"/>
                  </a:lnTo>
                  <a:lnTo>
                    <a:pt x="2407" y="2596"/>
                  </a:lnTo>
                  <a:lnTo>
                    <a:pt x="2385" y="2589"/>
                  </a:lnTo>
                  <a:lnTo>
                    <a:pt x="2390" y="2606"/>
                  </a:lnTo>
                  <a:lnTo>
                    <a:pt x="2385" y="2630"/>
                  </a:lnTo>
                  <a:lnTo>
                    <a:pt x="2385" y="2630"/>
                  </a:lnTo>
                  <a:lnTo>
                    <a:pt x="2385" y="2630"/>
                  </a:lnTo>
                  <a:close/>
                  <a:moveTo>
                    <a:pt x="2461" y="2556"/>
                  </a:moveTo>
                  <a:lnTo>
                    <a:pt x="2461" y="2540"/>
                  </a:lnTo>
                  <a:lnTo>
                    <a:pt x="2466" y="2540"/>
                  </a:lnTo>
                  <a:lnTo>
                    <a:pt x="2466" y="2552"/>
                  </a:lnTo>
                  <a:lnTo>
                    <a:pt x="2461" y="2556"/>
                  </a:lnTo>
                  <a:lnTo>
                    <a:pt x="2461" y="2556"/>
                  </a:lnTo>
                  <a:lnTo>
                    <a:pt x="2461" y="2556"/>
                  </a:lnTo>
                  <a:close/>
                  <a:moveTo>
                    <a:pt x="2414" y="2596"/>
                  </a:moveTo>
                  <a:lnTo>
                    <a:pt x="2407" y="2589"/>
                  </a:lnTo>
                  <a:lnTo>
                    <a:pt x="2414" y="2585"/>
                  </a:lnTo>
                  <a:lnTo>
                    <a:pt x="2414" y="2596"/>
                  </a:lnTo>
                  <a:lnTo>
                    <a:pt x="2414" y="2596"/>
                  </a:lnTo>
                  <a:lnTo>
                    <a:pt x="2414" y="2596"/>
                  </a:lnTo>
                  <a:close/>
                  <a:moveTo>
                    <a:pt x="2407" y="2622"/>
                  </a:moveTo>
                  <a:lnTo>
                    <a:pt x="2390" y="2613"/>
                  </a:lnTo>
                  <a:lnTo>
                    <a:pt x="2407" y="2596"/>
                  </a:lnTo>
                  <a:lnTo>
                    <a:pt x="2414" y="2613"/>
                  </a:lnTo>
                  <a:lnTo>
                    <a:pt x="2407" y="2622"/>
                  </a:lnTo>
                  <a:lnTo>
                    <a:pt x="2407" y="2622"/>
                  </a:lnTo>
                  <a:lnTo>
                    <a:pt x="2407" y="2622"/>
                  </a:lnTo>
                  <a:close/>
                  <a:moveTo>
                    <a:pt x="3217" y="3666"/>
                  </a:moveTo>
                  <a:lnTo>
                    <a:pt x="3217" y="3659"/>
                  </a:lnTo>
                  <a:lnTo>
                    <a:pt x="3229" y="3643"/>
                  </a:lnTo>
                  <a:lnTo>
                    <a:pt x="3217" y="3666"/>
                  </a:lnTo>
                  <a:lnTo>
                    <a:pt x="3217" y="3666"/>
                  </a:lnTo>
                  <a:lnTo>
                    <a:pt x="3217" y="366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 name="Freeform 389">
              <a:extLst>
                <a:ext uri="{FF2B5EF4-FFF2-40B4-BE49-F238E27FC236}">
                  <a16:creationId xmlns:a16="http://schemas.microsoft.com/office/drawing/2014/main" id="{D3570BD5-8ABA-4241-8B6E-DF4E66296C6B}"/>
                </a:ext>
              </a:extLst>
            </p:cNvPr>
            <p:cNvSpPr>
              <a:spLocks/>
            </p:cNvSpPr>
            <p:nvPr/>
          </p:nvSpPr>
          <p:spPr bwMode="gray">
            <a:xfrm>
              <a:off x="13964109" y="2854969"/>
              <a:ext cx="173794" cy="79860"/>
            </a:xfrm>
            <a:custGeom>
              <a:avLst/>
              <a:gdLst>
                <a:gd name="T0" fmla="*/ 54 w 531"/>
                <a:gd name="T1" fmla="*/ 189 h 244"/>
                <a:gd name="T2" fmla="*/ 21 w 531"/>
                <a:gd name="T3" fmla="*/ 199 h 244"/>
                <a:gd name="T4" fmla="*/ 0 w 531"/>
                <a:gd name="T5" fmla="*/ 182 h 244"/>
                <a:gd name="T6" fmla="*/ 4 w 531"/>
                <a:gd name="T7" fmla="*/ 149 h 244"/>
                <a:gd name="T8" fmla="*/ 16 w 531"/>
                <a:gd name="T9" fmla="*/ 133 h 244"/>
                <a:gd name="T10" fmla="*/ 49 w 531"/>
                <a:gd name="T11" fmla="*/ 154 h 244"/>
                <a:gd name="T12" fmla="*/ 59 w 531"/>
                <a:gd name="T13" fmla="*/ 149 h 244"/>
                <a:gd name="T14" fmla="*/ 92 w 531"/>
                <a:gd name="T15" fmla="*/ 144 h 244"/>
                <a:gd name="T16" fmla="*/ 108 w 531"/>
                <a:gd name="T17" fmla="*/ 149 h 244"/>
                <a:gd name="T18" fmla="*/ 222 w 531"/>
                <a:gd name="T19" fmla="*/ 128 h 244"/>
                <a:gd name="T20" fmla="*/ 236 w 531"/>
                <a:gd name="T21" fmla="*/ 144 h 244"/>
                <a:gd name="T22" fmla="*/ 231 w 531"/>
                <a:gd name="T23" fmla="*/ 128 h 244"/>
                <a:gd name="T24" fmla="*/ 222 w 531"/>
                <a:gd name="T25" fmla="*/ 88 h 244"/>
                <a:gd name="T26" fmla="*/ 269 w 531"/>
                <a:gd name="T27" fmla="*/ 43 h 244"/>
                <a:gd name="T28" fmla="*/ 302 w 531"/>
                <a:gd name="T29" fmla="*/ 22 h 244"/>
                <a:gd name="T30" fmla="*/ 361 w 531"/>
                <a:gd name="T31" fmla="*/ 43 h 244"/>
                <a:gd name="T32" fmla="*/ 375 w 531"/>
                <a:gd name="T33" fmla="*/ 22 h 244"/>
                <a:gd name="T34" fmla="*/ 451 w 531"/>
                <a:gd name="T35" fmla="*/ 33 h 244"/>
                <a:gd name="T36" fmla="*/ 517 w 531"/>
                <a:gd name="T37" fmla="*/ 33 h 244"/>
                <a:gd name="T38" fmla="*/ 505 w 531"/>
                <a:gd name="T39" fmla="*/ 59 h 244"/>
                <a:gd name="T40" fmla="*/ 522 w 531"/>
                <a:gd name="T41" fmla="*/ 128 h 244"/>
                <a:gd name="T42" fmla="*/ 489 w 531"/>
                <a:gd name="T43" fmla="*/ 116 h 244"/>
                <a:gd name="T44" fmla="*/ 500 w 531"/>
                <a:gd name="T45" fmla="*/ 144 h 244"/>
                <a:gd name="T46" fmla="*/ 484 w 531"/>
                <a:gd name="T47" fmla="*/ 166 h 244"/>
                <a:gd name="T48" fmla="*/ 484 w 531"/>
                <a:gd name="T49" fmla="*/ 189 h 244"/>
                <a:gd name="T50" fmla="*/ 451 w 531"/>
                <a:gd name="T51" fmla="*/ 199 h 244"/>
                <a:gd name="T52" fmla="*/ 371 w 531"/>
                <a:gd name="T53" fmla="*/ 222 h 244"/>
                <a:gd name="T54" fmla="*/ 345 w 531"/>
                <a:gd name="T55" fmla="*/ 244 h 244"/>
                <a:gd name="T56" fmla="*/ 198 w 531"/>
                <a:gd name="T57" fmla="*/ 211 h 244"/>
                <a:gd name="T58" fmla="*/ 184 w 531"/>
                <a:gd name="T59" fmla="*/ 182 h 244"/>
                <a:gd name="T60" fmla="*/ 113 w 531"/>
                <a:gd name="T61" fmla="*/ 189 h 244"/>
                <a:gd name="T62" fmla="*/ 59 w 531"/>
                <a:gd name="T63" fmla="*/ 199 h 244"/>
                <a:gd name="T64" fmla="*/ 59 w 531"/>
                <a:gd name="T65" fmla="*/ 19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1" h="244">
                  <a:moveTo>
                    <a:pt x="59" y="199"/>
                  </a:moveTo>
                  <a:lnTo>
                    <a:pt x="54" y="189"/>
                  </a:lnTo>
                  <a:lnTo>
                    <a:pt x="37" y="206"/>
                  </a:lnTo>
                  <a:lnTo>
                    <a:pt x="21" y="199"/>
                  </a:lnTo>
                  <a:lnTo>
                    <a:pt x="21" y="189"/>
                  </a:lnTo>
                  <a:lnTo>
                    <a:pt x="0" y="182"/>
                  </a:lnTo>
                  <a:lnTo>
                    <a:pt x="0" y="166"/>
                  </a:lnTo>
                  <a:lnTo>
                    <a:pt x="4" y="149"/>
                  </a:lnTo>
                  <a:lnTo>
                    <a:pt x="0" y="144"/>
                  </a:lnTo>
                  <a:lnTo>
                    <a:pt x="16" y="133"/>
                  </a:lnTo>
                  <a:lnTo>
                    <a:pt x="21" y="144"/>
                  </a:lnTo>
                  <a:lnTo>
                    <a:pt x="49" y="154"/>
                  </a:lnTo>
                  <a:lnTo>
                    <a:pt x="37" y="166"/>
                  </a:lnTo>
                  <a:lnTo>
                    <a:pt x="59" y="149"/>
                  </a:lnTo>
                  <a:lnTo>
                    <a:pt x="59" y="133"/>
                  </a:lnTo>
                  <a:lnTo>
                    <a:pt x="92" y="144"/>
                  </a:lnTo>
                  <a:lnTo>
                    <a:pt x="101" y="149"/>
                  </a:lnTo>
                  <a:lnTo>
                    <a:pt x="108" y="149"/>
                  </a:lnTo>
                  <a:lnTo>
                    <a:pt x="146" y="133"/>
                  </a:lnTo>
                  <a:lnTo>
                    <a:pt x="222" y="128"/>
                  </a:lnTo>
                  <a:lnTo>
                    <a:pt x="222" y="144"/>
                  </a:lnTo>
                  <a:lnTo>
                    <a:pt x="236" y="144"/>
                  </a:lnTo>
                  <a:lnTo>
                    <a:pt x="248" y="128"/>
                  </a:lnTo>
                  <a:lnTo>
                    <a:pt x="231" y="128"/>
                  </a:lnTo>
                  <a:lnTo>
                    <a:pt x="236" y="111"/>
                  </a:lnTo>
                  <a:lnTo>
                    <a:pt x="222" y="88"/>
                  </a:lnTo>
                  <a:lnTo>
                    <a:pt x="269" y="59"/>
                  </a:lnTo>
                  <a:lnTo>
                    <a:pt x="269" y="43"/>
                  </a:lnTo>
                  <a:lnTo>
                    <a:pt x="290" y="43"/>
                  </a:lnTo>
                  <a:lnTo>
                    <a:pt x="302" y="22"/>
                  </a:lnTo>
                  <a:lnTo>
                    <a:pt x="323" y="38"/>
                  </a:lnTo>
                  <a:lnTo>
                    <a:pt x="361" y="43"/>
                  </a:lnTo>
                  <a:lnTo>
                    <a:pt x="371" y="22"/>
                  </a:lnTo>
                  <a:lnTo>
                    <a:pt x="375" y="22"/>
                  </a:lnTo>
                  <a:lnTo>
                    <a:pt x="382" y="0"/>
                  </a:lnTo>
                  <a:lnTo>
                    <a:pt x="451" y="33"/>
                  </a:lnTo>
                  <a:lnTo>
                    <a:pt x="484" y="22"/>
                  </a:lnTo>
                  <a:lnTo>
                    <a:pt x="517" y="33"/>
                  </a:lnTo>
                  <a:lnTo>
                    <a:pt x="517" y="38"/>
                  </a:lnTo>
                  <a:lnTo>
                    <a:pt x="505" y="59"/>
                  </a:lnTo>
                  <a:lnTo>
                    <a:pt x="531" y="95"/>
                  </a:lnTo>
                  <a:lnTo>
                    <a:pt x="522" y="128"/>
                  </a:lnTo>
                  <a:lnTo>
                    <a:pt x="500" y="128"/>
                  </a:lnTo>
                  <a:lnTo>
                    <a:pt x="489" y="116"/>
                  </a:lnTo>
                  <a:lnTo>
                    <a:pt x="484" y="128"/>
                  </a:lnTo>
                  <a:lnTo>
                    <a:pt x="500" y="144"/>
                  </a:lnTo>
                  <a:lnTo>
                    <a:pt x="484" y="149"/>
                  </a:lnTo>
                  <a:lnTo>
                    <a:pt x="484" y="166"/>
                  </a:lnTo>
                  <a:lnTo>
                    <a:pt x="479" y="166"/>
                  </a:lnTo>
                  <a:lnTo>
                    <a:pt x="484" y="189"/>
                  </a:lnTo>
                  <a:lnTo>
                    <a:pt x="467" y="189"/>
                  </a:lnTo>
                  <a:lnTo>
                    <a:pt x="451" y="199"/>
                  </a:lnTo>
                  <a:lnTo>
                    <a:pt x="437" y="211"/>
                  </a:lnTo>
                  <a:lnTo>
                    <a:pt x="371" y="222"/>
                  </a:lnTo>
                  <a:lnTo>
                    <a:pt x="371" y="239"/>
                  </a:lnTo>
                  <a:lnTo>
                    <a:pt x="345" y="244"/>
                  </a:lnTo>
                  <a:lnTo>
                    <a:pt x="290" y="227"/>
                  </a:lnTo>
                  <a:lnTo>
                    <a:pt x="198" y="211"/>
                  </a:lnTo>
                  <a:lnTo>
                    <a:pt x="184" y="199"/>
                  </a:lnTo>
                  <a:lnTo>
                    <a:pt x="184" y="182"/>
                  </a:lnTo>
                  <a:lnTo>
                    <a:pt x="156" y="189"/>
                  </a:lnTo>
                  <a:lnTo>
                    <a:pt x="113" y="189"/>
                  </a:lnTo>
                  <a:lnTo>
                    <a:pt x="101" y="211"/>
                  </a:lnTo>
                  <a:lnTo>
                    <a:pt x="59" y="199"/>
                  </a:lnTo>
                  <a:lnTo>
                    <a:pt x="59" y="199"/>
                  </a:lnTo>
                  <a:lnTo>
                    <a:pt x="59" y="19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 name="Freeform 390">
              <a:extLst>
                <a:ext uri="{FF2B5EF4-FFF2-40B4-BE49-F238E27FC236}">
                  <a16:creationId xmlns:a16="http://schemas.microsoft.com/office/drawing/2014/main" id="{6D9F7E0A-34F4-43D8-9F8D-4EC9DCACE317}"/>
                </a:ext>
              </a:extLst>
            </p:cNvPr>
            <p:cNvSpPr>
              <a:spLocks/>
            </p:cNvSpPr>
            <p:nvPr/>
          </p:nvSpPr>
          <p:spPr bwMode="gray">
            <a:xfrm>
              <a:off x="14904105" y="3482723"/>
              <a:ext cx="655" cy="9492"/>
            </a:xfrm>
            <a:custGeom>
              <a:avLst/>
              <a:gdLst>
                <a:gd name="T0" fmla="*/ 2 w 2"/>
                <a:gd name="T1" fmla="*/ 0 h 29"/>
                <a:gd name="T2" fmla="*/ 2 w 2"/>
                <a:gd name="T3" fmla="*/ 29 h 29"/>
                <a:gd name="T4" fmla="*/ 0 w 2"/>
                <a:gd name="T5" fmla="*/ 17 h 29"/>
                <a:gd name="T6" fmla="*/ 0 w 2"/>
                <a:gd name="T7" fmla="*/ 0 h 29"/>
                <a:gd name="T8" fmla="*/ 2 w 2"/>
                <a:gd name="T9" fmla="*/ 0 h 29"/>
                <a:gd name="T10" fmla="*/ 2 w 2"/>
                <a:gd name="T11" fmla="*/ 0 h 29"/>
                <a:gd name="T12" fmla="*/ 2 w 2"/>
                <a:gd name="T13" fmla="*/ 0 h 29"/>
                <a:gd name="T14" fmla="*/ 2 w 2"/>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9">
                  <a:moveTo>
                    <a:pt x="2" y="0"/>
                  </a:moveTo>
                  <a:lnTo>
                    <a:pt x="2" y="29"/>
                  </a:lnTo>
                  <a:lnTo>
                    <a:pt x="0" y="17"/>
                  </a:lnTo>
                  <a:lnTo>
                    <a:pt x="0" y="0"/>
                  </a:lnTo>
                  <a:lnTo>
                    <a:pt x="2" y="0"/>
                  </a:lnTo>
                  <a:lnTo>
                    <a:pt x="2" y="0"/>
                  </a:lnTo>
                  <a:lnTo>
                    <a:pt x="2" y="0"/>
                  </a:lnTo>
                  <a:lnTo>
                    <a:pt x="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 name="Freeform 391">
              <a:extLst>
                <a:ext uri="{FF2B5EF4-FFF2-40B4-BE49-F238E27FC236}">
                  <a16:creationId xmlns:a16="http://schemas.microsoft.com/office/drawing/2014/main" id="{18C4A80B-C99B-4EB6-9178-61C8132EEE04}"/>
                </a:ext>
              </a:extLst>
            </p:cNvPr>
            <p:cNvSpPr>
              <a:spLocks/>
            </p:cNvSpPr>
            <p:nvPr/>
          </p:nvSpPr>
          <p:spPr bwMode="gray">
            <a:xfrm>
              <a:off x="12376065" y="3798237"/>
              <a:ext cx="3928" cy="6219"/>
            </a:xfrm>
            <a:custGeom>
              <a:avLst/>
              <a:gdLst>
                <a:gd name="T0" fmla="*/ 7 w 12"/>
                <a:gd name="T1" fmla="*/ 19 h 19"/>
                <a:gd name="T2" fmla="*/ 0 w 12"/>
                <a:gd name="T3" fmla="*/ 19 h 19"/>
                <a:gd name="T4" fmla="*/ 0 w 12"/>
                <a:gd name="T5" fmla="*/ 0 h 19"/>
                <a:gd name="T6" fmla="*/ 12 w 12"/>
                <a:gd name="T7" fmla="*/ 12 h 19"/>
                <a:gd name="T8" fmla="*/ 7 w 12"/>
                <a:gd name="T9" fmla="*/ 19 h 19"/>
                <a:gd name="T10" fmla="*/ 7 w 12"/>
                <a:gd name="T11" fmla="*/ 19 h 19"/>
                <a:gd name="T12" fmla="*/ 7 w 1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2" h="19">
                  <a:moveTo>
                    <a:pt x="7" y="19"/>
                  </a:moveTo>
                  <a:lnTo>
                    <a:pt x="0" y="19"/>
                  </a:lnTo>
                  <a:lnTo>
                    <a:pt x="0" y="0"/>
                  </a:lnTo>
                  <a:lnTo>
                    <a:pt x="12" y="12"/>
                  </a:lnTo>
                  <a:lnTo>
                    <a:pt x="7" y="19"/>
                  </a:lnTo>
                  <a:lnTo>
                    <a:pt x="7" y="19"/>
                  </a:lnTo>
                  <a:lnTo>
                    <a:pt x="7" y="1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3" name="Freeform 392">
              <a:extLst>
                <a:ext uri="{FF2B5EF4-FFF2-40B4-BE49-F238E27FC236}">
                  <a16:creationId xmlns:a16="http://schemas.microsoft.com/office/drawing/2014/main" id="{AC5DC1DD-A2AA-408B-9865-D267EEC2F6A5}"/>
                </a:ext>
              </a:extLst>
            </p:cNvPr>
            <p:cNvSpPr>
              <a:spLocks/>
            </p:cNvSpPr>
            <p:nvPr/>
          </p:nvSpPr>
          <p:spPr bwMode="gray">
            <a:xfrm>
              <a:off x="14204344" y="4537273"/>
              <a:ext cx="213397" cy="225835"/>
            </a:xfrm>
            <a:custGeom>
              <a:avLst/>
              <a:gdLst>
                <a:gd name="T0" fmla="*/ 0 w 652"/>
                <a:gd name="T1" fmla="*/ 525 h 690"/>
                <a:gd name="T2" fmla="*/ 0 w 652"/>
                <a:gd name="T3" fmla="*/ 322 h 690"/>
                <a:gd name="T4" fmla="*/ 71 w 652"/>
                <a:gd name="T5" fmla="*/ 322 h 690"/>
                <a:gd name="T6" fmla="*/ 71 w 652"/>
                <a:gd name="T7" fmla="*/ 45 h 690"/>
                <a:gd name="T8" fmla="*/ 232 w 652"/>
                <a:gd name="T9" fmla="*/ 17 h 690"/>
                <a:gd name="T10" fmla="*/ 253 w 652"/>
                <a:gd name="T11" fmla="*/ 55 h 690"/>
                <a:gd name="T12" fmla="*/ 303 w 652"/>
                <a:gd name="T13" fmla="*/ 17 h 690"/>
                <a:gd name="T14" fmla="*/ 312 w 652"/>
                <a:gd name="T15" fmla="*/ 29 h 690"/>
                <a:gd name="T16" fmla="*/ 340 w 652"/>
                <a:gd name="T17" fmla="*/ 0 h 690"/>
                <a:gd name="T18" fmla="*/ 366 w 652"/>
                <a:gd name="T19" fmla="*/ 0 h 690"/>
                <a:gd name="T20" fmla="*/ 366 w 652"/>
                <a:gd name="T21" fmla="*/ 29 h 690"/>
                <a:gd name="T22" fmla="*/ 416 w 652"/>
                <a:gd name="T23" fmla="*/ 88 h 690"/>
                <a:gd name="T24" fmla="*/ 416 w 652"/>
                <a:gd name="T25" fmla="*/ 100 h 690"/>
                <a:gd name="T26" fmla="*/ 430 w 652"/>
                <a:gd name="T27" fmla="*/ 128 h 690"/>
                <a:gd name="T28" fmla="*/ 468 w 652"/>
                <a:gd name="T29" fmla="*/ 161 h 690"/>
                <a:gd name="T30" fmla="*/ 501 w 652"/>
                <a:gd name="T31" fmla="*/ 178 h 690"/>
                <a:gd name="T32" fmla="*/ 506 w 652"/>
                <a:gd name="T33" fmla="*/ 211 h 690"/>
                <a:gd name="T34" fmla="*/ 539 w 652"/>
                <a:gd name="T35" fmla="*/ 211 h 690"/>
                <a:gd name="T36" fmla="*/ 539 w 652"/>
                <a:gd name="T37" fmla="*/ 248 h 690"/>
                <a:gd name="T38" fmla="*/ 560 w 652"/>
                <a:gd name="T39" fmla="*/ 289 h 690"/>
                <a:gd name="T40" fmla="*/ 598 w 652"/>
                <a:gd name="T41" fmla="*/ 289 h 690"/>
                <a:gd name="T42" fmla="*/ 631 w 652"/>
                <a:gd name="T43" fmla="*/ 305 h 690"/>
                <a:gd name="T44" fmla="*/ 631 w 652"/>
                <a:gd name="T45" fmla="*/ 322 h 690"/>
                <a:gd name="T46" fmla="*/ 648 w 652"/>
                <a:gd name="T47" fmla="*/ 322 h 690"/>
                <a:gd name="T48" fmla="*/ 652 w 652"/>
                <a:gd name="T49" fmla="*/ 338 h 690"/>
                <a:gd name="T50" fmla="*/ 631 w 652"/>
                <a:gd name="T51" fmla="*/ 338 h 690"/>
                <a:gd name="T52" fmla="*/ 626 w 652"/>
                <a:gd name="T53" fmla="*/ 348 h 690"/>
                <a:gd name="T54" fmla="*/ 577 w 652"/>
                <a:gd name="T55" fmla="*/ 364 h 690"/>
                <a:gd name="T56" fmla="*/ 555 w 652"/>
                <a:gd name="T57" fmla="*/ 397 h 690"/>
                <a:gd name="T58" fmla="*/ 529 w 652"/>
                <a:gd name="T59" fmla="*/ 414 h 690"/>
                <a:gd name="T60" fmla="*/ 522 w 652"/>
                <a:gd name="T61" fmla="*/ 421 h 690"/>
                <a:gd name="T62" fmla="*/ 518 w 652"/>
                <a:gd name="T63" fmla="*/ 421 h 690"/>
                <a:gd name="T64" fmla="*/ 485 w 652"/>
                <a:gd name="T65" fmla="*/ 447 h 690"/>
                <a:gd name="T66" fmla="*/ 475 w 652"/>
                <a:gd name="T67" fmla="*/ 492 h 690"/>
                <a:gd name="T68" fmla="*/ 447 w 652"/>
                <a:gd name="T69" fmla="*/ 515 h 690"/>
                <a:gd name="T70" fmla="*/ 409 w 652"/>
                <a:gd name="T71" fmla="*/ 525 h 690"/>
                <a:gd name="T72" fmla="*/ 392 w 652"/>
                <a:gd name="T73" fmla="*/ 581 h 690"/>
                <a:gd name="T74" fmla="*/ 383 w 652"/>
                <a:gd name="T75" fmla="*/ 598 h 690"/>
                <a:gd name="T76" fmla="*/ 324 w 652"/>
                <a:gd name="T77" fmla="*/ 615 h 690"/>
                <a:gd name="T78" fmla="*/ 303 w 652"/>
                <a:gd name="T79" fmla="*/ 603 h 690"/>
                <a:gd name="T80" fmla="*/ 291 w 652"/>
                <a:gd name="T81" fmla="*/ 598 h 690"/>
                <a:gd name="T82" fmla="*/ 270 w 652"/>
                <a:gd name="T83" fmla="*/ 598 h 690"/>
                <a:gd name="T84" fmla="*/ 237 w 652"/>
                <a:gd name="T85" fmla="*/ 565 h 690"/>
                <a:gd name="T86" fmla="*/ 206 w 652"/>
                <a:gd name="T87" fmla="*/ 570 h 690"/>
                <a:gd name="T88" fmla="*/ 194 w 652"/>
                <a:gd name="T89" fmla="*/ 586 h 690"/>
                <a:gd name="T90" fmla="*/ 182 w 652"/>
                <a:gd name="T91" fmla="*/ 624 h 690"/>
                <a:gd name="T92" fmla="*/ 152 w 652"/>
                <a:gd name="T93" fmla="*/ 652 h 690"/>
                <a:gd name="T94" fmla="*/ 140 w 652"/>
                <a:gd name="T95" fmla="*/ 674 h 690"/>
                <a:gd name="T96" fmla="*/ 123 w 652"/>
                <a:gd name="T97" fmla="*/ 674 h 690"/>
                <a:gd name="T98" fmla="*/ 114 w 652"/>
                <a:gd name="T99" fmla="*/ 690 h 690"/>
                <a:gd name="T100" fmla="*/ 43 w 652"/>
                <a:gd name="T101" fmla="*/ 681 h 690"/>
                <a:gd name="T102" fmla="*/ 38 w 652"/>
                <a:gd name="T103" fmla="*/ 657 h 690"/>
                <a:gd name="T104" fmla="*/ 59 w 652"/>
                <a:gd name="T105" fmla="*/ 636 h 690"/>
                <a:gd name="T106" fmla="*/ 55 w 652"/>
                <a:gd name="T107" fmla="*/ 615 h 690"/>
                <a:gd name="T108" fmla="*/ 22 w 652"/>
                <a:gd name="T109" fmla="*/ 548 h 690"/>
                <a:gd name="T110" fmla="*/ 0 w 652"/>
                <a:gd name="T111" fmla="*/ 525 h 690"/>
                <a:gd name="T112" fmla="*/ 0 w 652"/>
                <a:gd name="T113" fmla="*/ 525 h 690"/>
                <a:gd name="T114" fmla="*/ 0 w 652"/>
                <a:gd name="T115" fmla="*/ 52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2" h="690">
                  <a:moveTo>
                    <a:pt x="0" y="525"/>
                  </a:moveTo>
                  <a:lnTo>
                    <a:pt x="0" y="322"/>
                  </a:lnTo>
                  <a:lnTo>
                    <a:pt x="71" y="322"/>
                  </a:lnTo>
                  <a:lnTo>
                    <a:pt x="71" y="45"/>
                  </a:lnTo>
                  <a:lnTo>
                    <a:pt x="232" y="17"/>
                  </a:lnTo>
                  <a:lnTo>
                    <a:pt x="253" y="55"/>
                  </a:lnTo>
                  <a:lnTo>
                    <a:pt x="303" y="17"/>
                  </a:lnTo>
                  <a:lnTo>
                    <a:pt x="312" y="29"/>
                  </a:lnTo>
                  <a:lnTo>
                    <a:pt x="340" y="0"/>
                  </a:lnTo>
                  <a:lnTo>
                    <a:pt x="366" y="0"/>
                  </a:lnTo>
                  <a:lnTo>
                    <a:pt x="366" y="29"/>
                  </a:lnTo>
                  <a:lnTo>
                    <a:pt x="416" y="88"/>
                  </a:lnTo>
                  <a:lnTo>
                    <a:pt x="416" y="100"/>
                  </a:lnTo>
                  <a:lnTo>
                    <a:pt x="430" y="128"/>
                  </a:lnTo>
                  <a:lnTo>
                    <a:pt x="468" y="161"/>
                  </a:lnTo>
                  <a:lnTo>
                    <a:pt x="501" y="178"/>
                  </a:lnTo>
                  <a:lnTo>
                    <a:pt x="506" y="211"/>
                  </a:lnTo>
                  <a:lnTo>
                    <a:pt x="539" y="211"/>
                  </a:lnTo>
                  <a:lnTo>
                    <a:pt x="539" y="248"/>
                  </a:lnTo>
                  <a:lnTo>
                    <a:pt x="560" y="289"/>
                  </a:lnTo>
                  <a:lnTo>
                    <a:pt x="598" y="289"/>
                  </a:lnTo>
                  <a:lnTo>
                    <a:pt x="631" y="305"/>
                  </a:lnTo>
                  <a:lnTo>
                    <a:pt x="631" y="322"/>
                  </a:lnTo>
                  <a:lnTo>
                    <a:pt x="648" y="322"/>
                  </a:lnTo>
                  <a:lnTo>
                    <a:pt x="652" y="338"/>
                  </a:lnTo>
                  <a:lnTo>
                    <a:pt x="631" y="338"/>
                  </a:lnTo>
                  <a:lnTo>
                    <a:pt x="626" y="348"/>
                  </a:lnTo>
                  <a:lnTo>
                    <a:pt x="577" y="364"/>
                  </a:lnTo>
                  <a:lnTo>
                    <a:pt x="555" y="397"/>
                  </a:lnTo>
                  <a:lnTo>
                    <a:pt x="529" y="414"/>
                  </a:lnTo>
                  <a:lnTo>
                    <a:pt x="522" y="421"/>
                  </a:lnTo>
                  <a:lnTo>
                    <a:pt x="518" y="421"/>
                  </a:lnTo>
                  <a:lnTo>
                    <a:pt x="485" y="447"/>
                  </a:lnTo>
                  <a:lnTo>
                    <a:pt x="475" y="492"/>
                  </a:lnTo>
                  <a:lnTo>
                    <a:pt x="447" y="515"/>
                  </a:lnTo>
                  <a:lnTo>
                    <a:pt x="409" y="525"/>
                  </a:lnTo>
                  <a:lnTo>
                    <a:pt x="392" y="581"/>
                  </a:lnTo>
                  <a:lnTo>
                    <a:pt x="383" y="598"/>
                  </a:lnTo>
                  <a:lnTo>
                    <a:pt x="324" y="615"/>
                  </a:lnTo>
                  <a:lnTo>
                    <a:pt x="303" y="603"/>
                  </a:lnTo>
                  <a:lnTo>
                    <a:pt x="291" y="598"/>
                  </a:lnTo>
                  <a:lnTo>
                    <a:pt x="270" y="598"/>
                  </a:lnTo>
                  <a:lnTo>
                    <a:pt x="237" y="565"/>
                  </a:lnTo>
                  <a:lnTo>
                    <a:pt x="206" y="570"/>
                  </a:lnTo>
                  <a:lnTo>
                    <a:pt x="194" y="586"/>
                  </a:lnTo>
                  <a:lnTo>
                    <a:pt x="182" y="624"/>
                  </a:lnTo>
                  <a:lnTo>
                    <a:pt x="152" y="652"/>
                  </a:lnTo>
                  <a:lnTo>
                    <a:pt x="140" y="674"/>
                  </a:lnTo>
                  <a:lnTo>
                    <a:pt x="123" y="674"/>
                  </a:lnTo>
                  <a:lnTo>
                    <a:pt x="114" y="690"/>
                  </a:lnTo>
                  <a:lnTo>
                    <a:pt x="43" y="681"/>
                  </a:lnTo>
                  <a:lnTo>
                    <a:pt x="38" y="657"/>
                  </a:lnTo>
                  <a:lnTo>
                    <a:pt x="59" y="636"/>
                  </a:lnTo>
                  <a:lnTo>
                    <a:pt x="55" y="615"/>
                  </a:lnTo>
                  <a:lnTo>
                    <a:pt x="22" y="548"/>
                  </a:lnTo>
                  <a:lnTo>
                    <a:pt x="0" y="525"/>
                  </a:lnTo>
                  <a:lnTo>
                    <a:pt x="0" y="525"/>
                  </a:lnTo>
                  <a:lnTo>
                    <a:pt x="0" y="52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4" name="Freeform 393">
              <a:extLst>
                <a:ext uri="{FF2B5EF4-FFF2-40B4-BE49-F238E27FC236}">
                  <a16:creationId xmlns:a16="http://schemas.microsoft.com/office/drawing/2014/main" id="{8CD02BA0-9650-49CB-BDC4-A3D2BA0152F7}"/>
                </a:ext>
              </a:extLst>
            </p:cNvPr>
            <p:cNvSpPr>
              <a:spLocks/>
            </p:cNvSpPr>
            <p:nvPr/>
          </p:nvSpPr>
          <p:spPr bwMode="gray">
            <a:xfrm>
              <a:off x="13802424" y="2778381"/>
              <a:ext cx="89025" cy="63496"/>
            </a:xfrm>
            <a:custGeom>
              <a:avLst/>
              <a:gdLst>
                <a:gd name="T0" fmla="*/ 255 w 272"/>
                <a:gd name="T1" fmla="*/ 128 h 194"/>
                <a:gd name="T2" fmla="*/ 239 w 272"/>
                <a:gd name="T3" fmla="*/ 128 h 194"/>
                <a:gd name="T4" fmla="*/ 222 w 272"/>
                <a:gd name="T5" fmla="*/ 145 h 194"/>
                <a:gd name="T6" fmla="*/ 222 w 272"/>
                <a:gd name="T7" fmla="*/ 161 h 194"/>
                <a:gd name="T8" fmla="*/ 239 w 272"/>
                <a:gd name="T9" fmla="*/ 178 h 194"/>
                <a:gd name="T10" fmla="*/ 227 w 272"/>
                <a:gd name="T11" fmla="*/ 185 h 194"/>
                <a:gd name="T12" fmla="*/ 206 w 272"/>
                <a:gd name="T13" fmla="*/ 194 h 194"/>
                <a:gd name="T14" fmla="*/ 189 w 272"/>
                <a:gd name="T15" fmla="*/ 178 h 194"/>
                <a:gd name="T16" fmla="*/ 163 w 272"/>
                <a:gd name="T17" fmla="*/ 161 h 194"/>
                <a:gd name="T18" fmla="*/ 163 w 272"/>
                <a:gd name="T19" fmla="*/ 145 h 194"/>
                <a:gd name="T20" fmla="*/ 163 w 272"/>
                <a:gd name="T21" fmla="*/ 128 h 194"/>
                <a:gd name="T22" fmla="*/ 163 w 272"/>
                <a:gd name="T23" fmla="*/ 128 h 194"/>
                <a:gd name="T24" fmla="*/ 137 w 272"/>
                <a:gd name="T25" fmla="*/ 156 h 194"/>
                <a:gd name="T26" fmla="*/ 113 w 272"/>
                <a:gd name="T27" fmla="*/ 145 h 194"/>
                <a:gd name="T28" fmla="*/ 113 w 272"/>
                <a:gd name="T29" fmla="*/ 123 h 194"/>
                <a:gd name="T30" fmla="*/ 83 w 272"/>
                <a:gd name="T31" fmla="*/ 112 h 194"/>
                <a:gd name="T32" fmla="*/ 76 w 272"/>
                <a:gd name="T33" fmla="*/ 102 h 194"/>
                <a:gd name="T34" fmla="*/ 54 w 272"/>
                <a:gd name="T35" fmla="*/ 102 h 194"/>
                <a:gd name="T36" fmla="*/ 45 w 272"/>
                <a:gd name="T37" fmla="*/ 69 h 194"/>
                <a:gd name="T38" fmla="*/ 21 w 272"/>
                <a:gd name="T39" fmla="*/ 74 h 194"/>
                <a:gd name="T40" fmla="*/ 7 w 272"/>
                <a:gd name="T41" fmla="*/ 69 h 194"/>
                <a:gd name="T42" fmla="*/ 0 w 272"/>
                <a:gd name="T43" fmla="*/ 45 h 194"/>
                <a:gd name="T44" fmla="*/ 59 w 272"/>
                <a:gd name="T45" fmla="*/ 12 h 194"/>
                <a:gd name="T46" fmla="*/ 59 w 272"/>
                <a:gd name="T47" fmla="*/ 29 h 194"/>
                <a:gd name="T48" fmla="*/ 76 w 272"/>
                <a:gd name="T49" fmla="*/ 17 h 194"/>
                <a:gd name="T50" fmla="*/ 92 w 272"/>
                <a:gd name="T51" fmla="*/ 29 h 194"/>
                <a:gd name="T52" fmla="*/ 120 w 272"/>
                <a:gd name="T53" fmla="*/ 17 h 194"/>
                <a:gd name="T54" fmla="*/ 120 w 272"/>
                <a:gd name="T55" fmla="*/ 29 h 194"/>
                <a:gd name="T56" fmla="*/ 120 w 272"/>
                <a:gd name="T57" fmla="*/ 12 h 194"/>
                <a:gd name="T58" fmla="*/ 130 w 272"/>
                <a:gd name="T59" fmla="*/ 17 h 194"/>
                <a:gd name="T60" fmla="*/ 130 w 272"/>
                <a:gd name="T61" fmla="*/ 12 h 194"/>
                <a:gd name="T62" fmla="*/ 137 w 272"/>
                <a:gd name="T63" fmla="*/ 0 h 194"/>
                <a:gd name="T64" fmla="*/ 146 w 272"/>
                <a:gd name="T65" fmla="*/ 12 h 194"/>
                <a:gd name="T66" fmla="*/ 163 w 272"/>
                <a:gd name="T67" fmla="*/ 0 h 194"/>
                <a:gd name="T68" fmla="*/ 168 w 272"/>
                <a:gd name="T69" fmla="*/ 12 h 194"/>
                <a:gd name="T70" fmla="*/ 175 w 272"/>
                <a:gd name="T71" fmla="*/ 0 h 194"/>
                <a:gd name="T72" fmla="*/ 189 w 272"/>
                <a:gd name="T73" fmla="*/ 29 h 194"/>
                <a:gd name="T74" fmla="*/ 206 w 272"/>
                <a:gd name="T75" fmla="*/ 17 h 194"/>
                <a:gd name="T76" fmla="*/ 227 w 272"/>
                <a:gd name="T77" fmla="*/ 34 h 194"/>
                <a:gd name="T78" fmla="*/ 217 w 272"/>
                <a:gd name="T79" fmla="*/ 69 h 194"/>
                <a:gd name="T80" fmla="*/ 222 w 272"/>
                <a:gd name="T81" fmla="*/ 74 h 194"/>
                <a:gd name="T82" fmla="*/ 243 w 272"/>
                <a:gd name="T83" fmla="*/ 74 h 194"/>
                <a:gd name="T84" fmla="*/ 260 w 272"/>
                <a:gd name="T85" fmla="*/ 86 h 194"/>
                <a:gd name="T86" fmla="*/ 272 w 272"/>
                <a:gd name="T87" fmla="*/ 112 h 194"/>
                <a:gd name="T88" fmla="*/ 255 w 272"/>
                <a:gd name="T89" fmla="*/ 123 h 194"/>
                <a:gd name="T90" fmla="*/ 255 w 272"/>
                <a:gd name="T91" fmla="*/ 128 h 194"/>
                <a:gd name="T92" fmla="*/ 255 w 272"/>
                <a:gd name="T93" fmla="*/ 128 h 194"/>
                <a:gd name="T94" fmla="*/ 255 w 272"/>
                <a:gd name="T95" fmla="*/ 12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194">
                  <a:moveTo>
                    <a:pt x="255" y="128"/>
                  </a:moveTo>
                  <a:lnTo>
                    <a:pt x="239" y="128"/>
                  </a:lnTo>
                  <a:lnTo>
                    <a:pt x="222" y="145"/>
                  </a:lnTo>
                  <a:lnTo>
                    <a:pt x="222" y="161"/>
                  </a:lnTo>
                  <a:lnTo>
                    <a:pt x="239" y="178"/>
                  </a:lnTo>
                  <a:lnTo>
                    <a:pt x="227" y="185"/>
                  </a:lnTo>
                  <a:lnTo>
                    <a:pt x="206" y="194"/>
                  </a:lnTo>
                  <a:lnTo>
                    <a:pt x="189" y="178"/>
                  </a:lnTo>
                  <a:lnTo>
                    <a:pt x="163" y="161"/>
                  </a:lnTo>
                  <a:lnTo>
                    <a:pt x="163" y="145"/>
                  </a:lnTo>
                  <a:lnTo>
                    <a:pt x="163" y="128"/>
                  </a:lnTo>
                  <a:lnTo>
                    <a:pt x="163" y="128"/>
                  </a:lnTo>
                  <a:lnTo>
                    <a:pt x="137" y="156"/>
                  </a:lnTo>
                  <a:lnTo>
                    <a:pt x="113" y="145"/>
                  </a:lnTo>
                  <a:lnTo>
                    <a:pt x="113" y="123"/>
                  </a:lnTo>
                  <a:lnTo>
                    <a:pt x="83" y="112"/>
                  </a:lnTo>
                  <a:lnTo>
                    <a:pt x="76" y="102"/>
                  </a:lnTo>
                  <a:lnTo>
                    <a:pt x="54" y="102"/>
                  </a:lnTo>
                  <a:lnTo>
                    <a:pt x="45" y="69"/>
                  </a:lnTo>
                  <a:lnTo>
                    <a:pt x="21" y="74"/>
                  </a:lnTo>
                  <a:lnTo>
                    <a:pt x="7" y="69"/>
                  </a:lnTo>
                  <a:lnTo>
                    <a:pt x="0" y="45"/>
                  </a:lnTo>
                  <a:lnTo>
                    <a:pt x="59" y="12"/>
                  </a:lnTo>
                  <a:lnTo>
                    <a:pt x="59" y="29"/>
                  </a:lnTo>
                  <a:lnTo>
                    <a:pt x="76" y="17"/>
                  </a:lnTo>
                  <a:lnTo>
                    <a:pt x="92" y="29"/>
                  </a:lnTo>
                  <a:lnTo>
                    <a:pt x="120" y="17"/>
                  </a:lnTo>
                  <a:lnTo>
                    <a:pt x="120" y="29"/>
                  </a:lnTo>
                  <a:lnTo>
                    <a:pt x="120" y="12"/>
                  </a:lnTo>
                  <a:lnTo>
                    <a:pt x="130" y="17"/>
                  </a:lnTo>
                  <a:lnTo>
                    <a:pt x="130" y="12"/>
                  </a:lnTo>
                  <a:lnTo>
                    <a:pt x="137" y="0"/>
                  </a:lnTo>
                  <a:lnTo>
                    <a:pt x="146" y="12"/>
                  </a:lnTo>
                  <a:lnTo>
                    <a:pt x="163" y="0"/>
                  </a:lnTo>
                  <a:lnTo>
                    <a:pt x="168" y="12"/>
                  </a:lnTo>
                  <a:lnTo>
                    <a:pt x="175" y="0"/>
                  </a:lnTo>
                  <a:lnTo>
                    <a:pt x="189" y="29"/>
                  </a:lnTo>
                  <a:lnTo>
                    <a:pt x="206" y="17"/>
                  </a:lnTo>
                  <a:lnTo>
                    <a:pt x="227" y="34"/>
                  </a:lnTo>
                  <a:lnTo>
                    <a:pt x="217" y="69"/>
                  </a:lnTo>
                  <a:lnTo>
                    <a:pt x="222" y="74"/>
                  </a:lnTo>
                  <a:lnTo>
                    <a:pt x="243" y="74"/>
                  </a:lnTo>
                  <a:lnTo>
                    <a:pt x="260" y="86"/>
                  </a:lnTo>
                  <a:lnTo>
                    <a:pt x="272" y="112"/>
                  </a:lnTo>
                  <a:lnTo>
                    <a:pt x="255" y="123"/>
                  </a:lnTo>
                  <a:lnTo>
                    <a:pt x="255" y="128"/>
                  </a:lnTo>
                  <a:lnTo>
                    <a:pt x="255" y="128"/>
                  </a:lnTo>
                  <a:lnTo>
                    <a:pt x="255"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5" name="Freeform 394">
              <a:extLst>
                <a:ext uri="{FF2B5EF4-FFF2-40B4-BE49-F238E27FC236}">
                  <a16:creationId xmlns:a16="http://schemas.microsoft.com/office/drawing/2014/main" id="{A68CD60C-0F0E-473D-B20C-99A3AEA70978}"/>
                </a:ext>
              </a:extLst>
            </p:cNvPr>
            <p:cNvSpPr>
              <a:spLocks noEditPoints="1"/>
            </p:cNvSpPr>
            <p:nvPr/>
          </p:nvSpPr>
          <p:spPr bwMode="gray">
            <a:xfrm>
              <a:off x="11932251" y="3464395"/>
              <a:ext cx="139756" cy="151538"/>
            </a:xfrm>
            <a:custGeom>
              <a:avLst/>
              <a:gdLst>
                <a:gd name="T0" fmla="*/ 111 w 427"/>
                <a:gd name="T1" fmla="*/ 21 h 463"/>
                <a:gd name="T2" fmla="*/ 123 w 427"/>
                <a:gd name="T3" fmla="*/ 56 h 463"/>
                <a:gd name="T4" fmla="*/ 123 w 427"/>
                <a:gd name="T5" fmla="*/ 56 h 463"/>
                <a:gd name="T6" fmla="*/ 111 w 427"/>
                <a:gd name="T7" fmla="*/ 21 h 463"/>
                <a:gd name="T8" fmla="*/ 68 w 427"/>
                <a:gd name="T9" fmla="*/ 0 h 463"/>
                <a:gd name="T10" fmla="*/ 0 w 427"/>
                <a:gd name="T11" fmla="*/ 16 h 463"/>
                <a:gd name="T12" fmla="*/ 73 w 427"/>
                <a:gd name="T13" fmla="*/ 16 h 463"/>
                <a:gd name="T14" fmla="*/ 14 w 427"/>
                <a:gd name="T15" fmla="*/ 28 h 463"/>
                <a:gd name="T16" fmla="*/ 198 w 427"/>
                <a:gd name="T17" fmla="*/ 134 h 463"/>
                <a:gd name="T18" fmla="*/ 187 w 427"/>
                <a:gd name="T19" fmla="*/ 156 h 463"/>
                <a:gd name="T20" fmla="*/ 161 w 427"/>
                <a:gd name="T21" fmla="*/ 111 h 463"/>
                <a:gd name="T22" fmla="*/ 149 w 427"/>
                <a:gd name="T23" fmla="*/ 101 h 463"/>
                <a:gd name="T24" fmla="*/ 80 w 427"/>
                <a:gd name="T25" fmla="*/ 184 h 463"/>
                <a:gd name="T26" fmla="*/ 42 w 427"/>
                <a:gd name="T27" fmla="*/ 167 h 463"/>
                <a:gd name="T28" fmla="*/ 42 w 427"/>
                <a:gd name="T29" fmla="*/ 167 h 463"/>
                <a:gd name="T30" fmla="*/ 52 w 427"/>
                <a:gd name="T31" fmla="*/ 134 h 463"/>
                <a:gd name="T32" fmla="*/ 94 w 427"/>
                <a:gd name="T33" fmla="*/ 139 h 463"/>
                <a:gd name="T34" fmla="*/ 106 w 427"/>
                <a:gd name="T35" fmla="*/ 151 h 463"/>
                <a:gd name="T36" fmla="*/ 234 w 427"/>
                <a:gd name="T37" fmla="*/ 212 h 463"/>
                <a:gd name="T38" fmla="*/ 257 w 427"/>
                <a:gd name="T39" fmla="*/ 212 h 463"/>
                <a:gd name="T40" fmla="*/ 241 w 427"/>
                <a:gd name="T41" fmla="*/ 212 h 463"/>
                <a:gd name="T42" fmla="*/ 80 w 427"/>
                <a:gd name="T43" fmla="*/ 212 h 463"/>
                <a:gd name="T44" fmla="*/ 94 w 427"/>
                <a:gd name="T45" fmla="*/ 212 h 463"/>
                <a:gd name="T46" fmla="*/ 80 w 427"/>
                <a:gd name="T47" fmla="*/ 245 h 463"/>
                <a:gd name="T48" fmla="*/ 73 w 427"/>
                <a:gd name="T49" fmla="*/ 224 h 463"/>
                <a:gd name="T50" fmla="*/ 90 w 427"/>
                <a:gd name="T51" fmla="*/ 196 h 463"/>
                <a:gd name="T52" fmla="*/ 73 w 427"/>
                <a:gd name="T53" fmla="*/ 205 h 463"/>
                <a:gd name="T54" fmla="*/ 68 w 427"/>
                <a:gd name="T55" fmla="*/ 205 h 463"/>
                <a:gd name="T56" fmla="*/ 309 w 427"/>
                <a:gd name="T57" fmla="*/ 212 h 463"/>
                <a:gd name="T58" fmla="*/ 305 w 427"/>
                <a:gd name="T59" fmla="*/ 212 h 463"/>
                <a:gd name="T60" fmla="*/ 283 w 427"/>
                <a:gd name="T61" fmla="*/ 245 h 463"/>
                <a:gd name="T62" fmla="*/ 288 w 427"/>
                <a:gd name="T63" fmla="*/ 250 h 463"/>
                <a:gd name="T64" fmla="*/ 272 w 427"/>
                <a:gd name="T65" fmla="*/ 286 h 463"/>
                <a:gd name="T66" fmla="*/ 272 w 427"/>
                <a:gd name="T67" fmla="*/ 295 h 463"/>
                <a:gd name="T68" fmla="*/ 250 w 427"/>
                <a:gd name="T69" fmla="*/ 245 h 463"/>
                <a:gd name="T70" fmla="*/ 338 w 427"/>
                <a:gd name="T71" fmla="*/ 323 h 463"/>
                <a:gd name="T72" fmla="*/ 342 w 427"/>
                <a:gd name="T73" fmla="*/ 323 h 463"/>
                <a:gd name="T74" fmla="*/ 338 w 427"/>
                <a:gd name="T75" fmla="*/ 323 h 463"/>
                <a:gd name="T76" fmla="*/ 342 w 427"/>
                <a:gd name="T77" fmla="*/ 323 h 463"/>
                <a:gd name="T78" fmla="*/ 326 w 427"/>
                <a:gd name="T79" fmla="*/ 368 h 463"/>
                <a:gd name="T80" fmla="*/ 427 w 427"/>
                <a:gd name="T81" fmla="*/ 356 h 463"/>
                <a:gd name="T82" fmla="*/ 427 w 427"/>
                <a:gd name="T83" fmla="*/ 352 h 463"/>
                <a:gd name="T84" fmla="*/ 427 w 427"/>
                <a:gd name="T85" fmla="*/ 356 h 463"/>
                <a:gd name="T86" fmla="*/ 418 w 427"/>
                <a:gd name="T87" fmla="*/ 413 h 463"/>
                <a:gd name="T88" fmla="*/ 411 w 427"/>
                <a:gd name="T89" fmla="*/ 425 h 463"/>
                <a:gd name="T90" fmla="*/ 380 w 427"/>
                <a:gd name="T91" fmla="*/ 434 h 463"/>
                <a:gd name="T92" fmla="*/ 401 w 427"/>
                <a:gd name="T93" fmla="*/ 451 h 463"/>
                <a:gd name="T94" fmla="*/ 364 w 427"/>
                <a:gd name="T95" fmla="*/ 46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7" h="463">
                  <a:moveTo>
                    <a:pt x="68" y="0"/>
                  </a:moveTo>
                  <a:lnTo>
                    <a:pt x="94" y="0"/>
                  </a:lnTo>
                  <a:lnTo>
                    <a:pt x="111" y="21"/>
                  </a:lnTo>
                  <a:lnTo>
                    <a:pt x="132" y="28"/>
                  </a:lnTo>
                  <a:lnTo>
                    <a:pt x="132" y="40"/>
                  </a:lnTo>
                  <a:lnTo>
                    <a:pt x="123" y="56"/>
                  </a:lnTo>
                  <a:lnTo>
                    <a:pt x="123" y="78"/>
                  </a:lnTo>
                  <a:lnTo>
                    <a:pt x="106" y="73"/>
                  </a:lnTo>
                  <a:lnTo>
                    <a:pt x="123" y="56"/>
                  </a:lnTo>
                  <a:lnTo>
                    <a:pt x="123" y="40"/>
                  </a:lnTo>
                  <a:lnTo>
                    <a:pt x="127" y="21"/>
                  </a:lnTo>
                  <a:lnTo>
                    <a:pt x="111" y="21"/>
                  </a:lnTo>
                  <a:lnTo>
                    <a:pt x="94" y="0"/>
                  </a:lnTo>
                  <a:lnTo>
                    <a:pt x="68" y="0"/>
                  </a:lnTo>
                  <a:lnTo>
                    <a:pt x="68" y="0"/>
                  </a:lnTo>
                  <a:lnTo>
                    <a:pt x="68" y="0"/>
                  </a:lnTo>
                  <a:close/>
                  <a:moveTo>
                    <a:pt x="14" y="28"/>
                  </a:moveTo>
                  <a:lnTo>
                    <a:pt x="0" y="16"/>
                  </a:lnTo>
                  <a:lnTo>
                    <a:pt x="21" y="21"/>
                  </a:lnTo>
                  <a:lnTo>
                    <a:pt x="26" y="16"/>
                  </a:lnTo>
                  <a:lnTo>
                    <a:pt x="73" y="16"/>
                  </a:lnTo>
                  <a:lnTo>
                    <a:pt x="68" y="21"/>
                  </a:lnTo>
                  <a:lnTo>
                    <a:pt x="14" y="28"/>
                  </a:lnTo>
                  <a:lnTo>
                    <a:pt x="14" y="28"/>
                  </a:lnTo>
                  <a:lnTo>
                    <a:pt x="14" y="28"/>
                  </a:lnTo>
                  <a:close/>
                  <a:moveTo>
                    <a:pt x="149" y="101"/>
                  </a:moveTo>
                  <a:lnTo>
                    <a:pt x="198" y="134"/>
                  </a:lnTo>
                  <a:lnTo>
                    <a:pt x="198" y="172"/>
                  </a:lnTo>
                  <a:lnTo>
                    <a:pt x="182" y="156"/>
                  </a:lnTo>
                  <a:lnTo>
                    <a:pt x="187" y="156"/>
                  </a:lnTo>
                  <a:lnTo>
                    <a:pt x="198" y="134"/>
                  </a:lnTo>
                  <a:lnTo>
                    <a:pt x="182" y="118"/>
                  </a:lnTo>
                  <a:lnTo>
                    <a:pt x="161" y="111"/>
                  </a:lnTo>
                  <a:lnTo>
                    <a:pt x="149" y="101"/>
                  </a:lnTo>
                  <a:lnTo>
                    <a:pt x="149" y="101"/>
                  </a:lnTo>
                  <a:lnTo>
                    <a:pt x="149" y="101"/>
                  </a:lnTo>
                  <a:close/>
                  <a:moveTo>
                    <a:pt x="52" y="134"/>
                  </a:moveTo>
                  <a:lnTo>
                    <a:pt x="68" y="134"/>
                  </a:lnTo>
                  <a:lnTo>
                    <a:pt x="80" y="184"/>
                  </a:lnTo>
                  <a:lnTo>
                    <a:pt x="68" y="205"/>
                  </a:lnTo>
                  <a:lnTo>
                    <a:pt x="35" y="172"/>
                  </a:lnTo>
                  <a:lnTo>
                    <a:pt x="42" y="167"/>
                  </a:lnTo>
                  <a:lnTo>
                    <a:pt x="42" y="184"/>
                  </a:lnTo>
                  <a:lnTo>
                    <a:pt x="52" y="172"/>
                  </a:lnTo>
                  <a:lnTo>
                    <a:pt x="42" y="167"/>
                  </a:lnTo>
                  <a:lnTo>
                    <a:pt x="52" y="151"/>
                  </a:lnTo>
                  <a:lnTo>
                    <a:pt x="52" y="134"/>
                  </a:lnTo>
                  <a:lnTo>
                    <a:pt x="52" y="134"/>
                  </a:lnTo>
                  <a:lnTo>
                    <a:pt x="52" y="134"/>
                  </a:lnTo>
                  <a:close/>
                  <a:moveTo>
                    <a:pt x="106" y="151"/>
                  </a:moveTo>
                  <a:lnTo>
                    <a:pt x="94" y="139"/>
                  </a:lnTo>
                  <a:lnTo>
                    <a:pt x="123" y="139"/>
                  </a:lnTo>
                  <a:lnTo>
                    <a:pt x="106" y="151"/>
                  </a:lnTo>
                  <a:lnTo>
                    <a:pt x="106" y="151"/>
                  </a:lnTo>
                  <a:lnTo>
                    <a:pt x="106" y="151"/>
                  </a:lnTo>
                  <a:close/>
                  <a:moveTo>
                    <a:pt x="241" y="212"/>
                  </a:moveTo>
                  <a:lnTo>
                    <a:pt x="234" y="212"/>
                  </a:lnTo>
                  <a:lnTo>
                    <a:pt x="241" y="196"/>
                  </a:lnTo>
                  <a:lnTo>
                    <a:pt x="220" y="167"/>
                  </a:lnTo>
                  <a:lnTo>
                    <a:pt x="257" y="212"/>
                  </a:lnTo>
                  <a:lnTo>
                    <a:pt x="241" y="212"/>
                  </a:lnTo>
                  <a:lnTo>
                    <a:pt x="241" y="212"/>
                  </a:lnTo>
                  <a:lnTo>
                    <a:pt x="241" y="212"/>
                  </a:lnTo>
                  <a:close/>
                  <a:moveTo>
                    <a:pt x="90" y="196"/>
                  </a:moveTo>
                  <a:lnTo>
                    <a:pt x="90" y="205"/>
                  </a:lnTo>
                  <a:lnTo>
                    <a:pt x="80" y="212"/>
                  </a:lnTo>
                  <a:lnTo>
                    <a:pt x="80" y="224"/>
                  </a:lnTo>
                  <a:lnTo>
                    <a:pt x="90" y="205"/>
                  </a:lnTo>
                  <a:lnTo>
                    <a:pt x="94" y="212"/>
                  </a:lnTo>
                  <a:lnTo>
                    <a:pt x="94" y="241"/>
                  </a:lnTo>
                  <a:lnTo>
                    <a:pt x="90" y="245"/>
                  </a:lnTo>
                  <a:lnTo>
                    <a:pt x="80" y="245"/>
                  </a:lnTo>
                  <a:lnTo>
                    <a:pt x="94" y="241"/>
                  </a:lnTo>
                  <a:lnTo>
                    <a:pt x="80" y="241"/>
                  </a:lnTo>
                  <a:lnTo>
                    <a:pt x="73" y="224"/>
                  </a:lnTo>
                  <a:lnTo>
                    <a:pt x="90" y="196"/>
                  </a:lnTo>
                  <a:lnTo>
                    <a:pt x="90" y="196"/>
                  </a:lnTo>
                  <a:lnTo>
                    <a:pt x="90" y="196"/>
                  </a:lnTo>
                  <a:close/>
                  <a:moveTo>
                    <a:pt x="68" y="205"/>
                  </a:moveTo>
                  <a:lnTo>
                    <a:pt x="68" y="205"/>
                  </a:lnTo>
                  <a:lnTo>
                    <a:pt x="73" y="205"/>
                  </a:lnTo>
                  <a:lnTo>
                    <a:pt x="68" y="205"/>
                  </a:lnTo>
                  <a:lnTo>
                    <a:pt x="68" y="205"/>
                  </a:lnTo>
                  <a:lnTo>
                    <a:pt x="68" y="205"/>
                  </a:lnTo>
                  <a:close/>
                  <a:moveTo>
                    <a:pt x="305" y="212"/>
                  </a:moveTo>
                  <a:lnTo>
                    <a:pt x="309" y="212"/>
                  </a:lnTo>
                  <a:lnTo>
                    <a:pt x="309" y="212"/>
                  </a:lnTo>
                  <a:lnTo>
                    <a:pt x="309" y="229"/>
                  </a:lnTo>
                  <a:lnTo>
                    <a:pt x="305" y="212"/>
                  </a:lnTo>
                  <a:lnTo>
                    <a:pt x="305" y="212"/>
                  </a:lnTo>
                  <a:lnTo>
                    <a:pt x="305" y="212"/>
                  </a:lnTo>
                  <a:close/>
                  <a:moveTo>
                    <a:pt x="288" y="250"/>
                  </a:moveTo>
                  <a:lnTo>
                    <a:pt x="283" y="245"/>
                  </a:lnTo>
                  <a:lnTo>
                    <a:pt x="288" y="245"/>
                  </a:lnTo>
                  <a:lnTo>
                    <a:pt x="288" y="250"/>
                  </a:lnTo>
                  <a:lnTo>
                    <a:pt x="288" y="250"/>
                  </a:lnTo>
                  <a:lnTo>
                    <a:pt x="288" y="250"/>
                  </a:lnTo>
                  <a:close/>
                  <a:moveTo>
                    <a:pt x="250" y="245"/>
                  </a:moveTo>
                  <a:lnTo>
                    <a:pt x="272" y="286"/>
                  </a:lnTo>
                  <a:lnTo>
                    <a:pt x="288" y="302"/>
                  </a:lnTo>
                  <a:lnTo>
                    <a:pt x="288" y="307"/>
                  </a:lnTo>
                  <a:lnTo>
                    <a:pt x="272" y="295"/>
                  </a:lnTo>
                  <a:lnTo>
                    <a:pt x="267" y="286"/>
                  </a:lnTo>
                  <a:lnTo>
                    <a:pt x="272" y="295"/>
                  </a:lnTo>
                  <a:lnTo>
                    <a:pt x="250" y="245"/>
                  </a:lnTo>
                  <a:lnTo>
                    <a:pt x="250" y="245"/>
                  </a:lnTo>
                  <a:lnTo>
                    <a:pt x="250" y="245"/>
                  </a:lnTo>
                  <a:close/>
                  <a:moveTo>
                    <a:pt x="338" y="323"/>
                  </a:moveTo>
                  <a:lnTo>
                    <a:pt x="326" y="323"/>
                  </a:lnTo>
                  <a:lnTo>
                    <a:pt x="321" y="307"/>
                  </a:lnTo>
                  <a:lnTo>
                    <a:pt x="342" y="323"/>
                  </a:lnTo>
                  <a:lnTo>
                    <a:pt x="338" y="323"/>
                  </a:lnTo>
                  <a:lnTo>
                    <a:pt x="338" y="323"/>
                  </a:lnTo>
                  <a:lnTo>
                    <a:pt x="338" y="323"/>
                  </a:lnTo>
                  <a:close/>
                  <a:moveTo>
                    <a:pt x="326" y="368"/>
                  </a:moveTo>
                  <a:lnTo>
                    <a:pt x="347" y="340"/>
                  </a:lnTo>
                  <a:lnTo>
                    <a:pt x="342" y="323"/>
                  </a:lnTo>
                  <a:lnTo>
                    <a:pt x="359" y="319"/>
                  </a:lnTo>
                  <a:lnTo>
                    <a:pt x="347" y="340"/>
                  </a:lnTo>
                  <a:lnTo>
                    <a:pt x="326" y="368"/>
                  </a:lnTo>
                  <a:lnTo>
                    <a:pt x="326" y="368"/>
                  </a:lnTo>
                  <a:lnTo>
                    <a:pt x="326" y="368"/>
                  </a:lnTo>
                  <a:close/>
                  <a:moveTo>
                    <a:pt x="427" y="356"/>
                  </a:moveTo>
                  <a:lnTo>
                    <a:pt x="401" y="352"/>
                  </a:lnTo>
                  <a:lnTo>
                    <a:pt x="411" y="340"/>
                  </a:lnTo>
                  <a:lnTo>
                    <a:pt x="427" y="352"/>
                  </a:lnTo>
                  <a:lnTo>
                    <a:pt x="427" y="356"/>
                  </a:lnTo>
                  <a:lnTo>
                    <a:pt x="427" y="356"/>
                  </a:lnTo>
                  <a:lnTo>
                    <a:pt x="427" y="356"/>
                  </a:lnTo>
                  <a:close/>
                  <a:moveTo>
                    <a:pt x="411" y="425"/>
                  </a:moveTo>
                  <a:lnTo>
                    <a:pt x="411" y="413"/>
                  </a:lnTo>
                  <a:lnTo>
                    <a:pt x="418" y="413"/>
                  </a:lnTo>
                  <a:lnTo>
                    <a:pt x="411" y="425"/>
                  </a:lnTo>
                  <a:lnTo>
                    <a:pt x="411" y="425"/>
                  </a:lnTo>
                  <a:lnTo>
                    <a:pt x="411" y="425"/>
                  </a:lnTo>
                  <a:close/>
                  <a:moveTo>
                    <a:pt x="364" y="463"/>
                  </a:moveTo>
                  <a:lnTo>
                    <a:pt x="364" y="451"/>
                  </a:lnTo>
                  <a:lnTo>
                    <a:pt x="380" y="434"/>
                  </a:lnTo>
                  <a:lnTo>
                    <a:pt x="397" y="446"/>
                  </a:lnTo>
                  <a:lnTo>
                    <a:pt x="411" y="430"/>
                  </a:lnTo>
                  <a:lnTo>
                    <a:pt x="401" y="451"/>
                  </a:lnTo>
                  <a:lnTo>
                    <a:pt x="364" y="463"/>
                  </a:lnTo>
                  <a:lnTo>
                    <a:pt x="364" y="463"/>
                  </a:lnTo>
                  <a:lnTo>
                    <a:pt x="364" y="46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6" name="Freeform 395">
              <a:extLst>
                <a:ext uri="{FF2B5EF4-FFF2-40B4-BE49-F238E27FC236}">
                  <a16:creationId xmlns:a16="http://schemas.microsoft.com/office/drawing/2014/main" id="{7E45E7CE-C607-492A-A418-74DAE945C8D6}"/>
                </a:ext>
              </a:extLst>
            </p:cNvPr>
            <p:cNvSpPr>
              <a:spLocks noEditPoints="1"/>
            </p:cNvSpPr>
            <p:nvPr/>
          </p:nvSpPr>
          <p:spPr bwMode="gray">
            <a:xfrm>
              <a:off x="15764568" y="3471268"/>
              <a:ext cx="105062" cy="145974"/>
            </a:xfrm>
            <a:custGeom>
              <a:avLst/>
              <a:gdLst>
                <a:gd name="T0" fmla="*/ 71 w 321"/>
                <a:gd name="T1" fmla="*/ 262 h 446"/>
                <a:gd name="T2" fmla="*/ 38 w 321"/>
                <a:gd name="T3" fmla="*/ 229 h 446"/>
                <a:gd name="T4" fmla="*/ 55 w 321"/>
                <a:gd name="T5" fmla="*/ 184 h 446"/>
                <a:gd name="T6" fmla="*/ 5 w 321"/>
                <a:gd name="T7" fmla="*/ 163 h 446"/>
                <a:gd name="T8" fmla="*/ 5 w 321"/>
                <a:gd name="T9" fmla="*/ 128 h 446"/>
                <a:gd name="T10" fmla="*/ 71 w 321"/>
                <a:gd name="T11" fmla="*/ 111 h 446"/>
                <a:gd name="T12" fmla="*/ 55 w 321"/>
                <a:gd name="T13" fmla="*/ 90 h 446"/>
                <a:gd name="T14" fmla="*/ 5 w 321"/>
                <a:gd name="T15" fmla="*/ 57 h 446"/>
                <a:gd name="T16" fmla="*/ 33 w 321"/>
                <a:gd name="T17" fmla="*/ 5 h 446"/>
                <a:gd name="T18" fmla="*/ 59 w 321"/>
                <a:gd name="T19" fmla="*/ 33 h 446"/>
                <a:gd name="T20" fmla="*/ 71 w 321"/>
                <a:gd name="T21" fmla="*/ 17 h 446"/>
                <a:gd name="T22" fmla="*/ 92 w 321"/>
                <a:gd name="T23" fmla="*/ 50 h 446"/>
                <a:gd name="T24" fmla="*/ 123 w 321"/>
                <a:gd name="T25" fmla="*/ 33 h 446"/>
                <a:gd name="T26" fmla="*/ 168 w 321"/>
                <a:gd name="T27" fmla="*/ 111 h 446"/>
                <a:gd name="T28" fmla="*/ 312 w 321"/>
                <a:gd name="T29" fmla="*/ 135 h 446"/>
                <a:gd name="T30" fmla="*/ 274 w 321"/>
                <a:gd name="T31" fmla="*/ 172 h 446"/>
                <a:gd name="T32" fmla="*/ 232 w 321"/>
                <a:gd name="T33" fmla="*/ 205 h 446"/>
                <a:gd name="T34" fmla="*/ 236 w 321"/>
                <a:gd name="T35" fmla="*/ 274 h 446"/>
                <a:gd name="T36" fmla="*/ 258 w 321"/>
                <a:gd name="T37" fmla="*/ 279 h 446"/>
                <a:gd name="T38" fmla="*/ 274 w 321"/>
                <a:gd name="T39" fmla="*/ 241 h 446"/>
                <a:gd name="T40" fmla="*/ 300 w 321"/>
                <a:gd name="T41" fmla="*/ 224 h 446"/>
                <a:gd name="T42" fmla="*/ 312 w 321"/>
                <a:gd name="T43" fmla="*/ 302 h 446"/>
                <a:gd name="T44" fmla="*/ 321 w 321"/>
                <a:gd name="T45" fmla="*/ 406 h 446"/>
                <a:gd name="T46" fmla="*/ 291 w 321"/>
                <a:gd name="T47" fmla="*/ 406 h 446"/>
                <a:gd name="T48" fmla="*/ 286 w 321"/>
                <a:gd name="T49" fmla="*/ 413 h 446"/>
                <a:gd name="T50" fmla="*/ 269 w 321"/>
                <a:gd name="T51" fmla="*/ 373 h 446"/>
                <a:gd name="T52" fmla="*/ 220 w 321"/>
                <a:gd name="T53" fmla="*/ 312 h 446"/>
                <a:gd name="T54" fmla="*/ 182 w 321"/>
                <a:gd name="T55" fmla="*/ 274 h 446"/>
                <a:gd name="T56" fmla="*/ 182 w 321"/>
                <a:gd name="T57" fmla="*/ 241 h 446"/>
                <a:gd name="T58" fmla="*/ 177 w 321"/>
                <a:gd name="T59" fmla="*/ 241 h 446"/>
                <a:gd name="T60" fmla="*/ 182 w 321"/>
                <a:gd name="T61" fmla="*/ 262 h 446"/>
                <a:gd name="T62" fmla="*/ 168 w 321"/>
                <a:gd name="T63" fmla="*/ 295 h 446"/>
                <a:gd name="T64" fmla="*/ 168 w 321"/>
                <a:gd name="T65" fmla="*/ 352 h 446"/>
                <a:gd name="T66" fmla="*/ 151 w 321"/>
                <a:gd name="T67" fmla="*/ 368 h 446"/>
                <a:gd name="T68" fmla="*/ 144 w 321"/>
                <a:gd name="T69" fmla="*/ 357 h 446"/>
                <a:gd name="T70" fmla="*/ 140 w 321"/>
                <a:gd name="T71" fmla="*/ 352 h 446"/>
                <a:gd name="T72" fmla="*/ 130 w 321"/>
                <a:gd name="T73" fmla="*/ 335 h 446"/>
                <a:gd name="T74" fmla="*/ 109 w 321"/>
                <a:gd name="T75" fmla="*/ 368 h 446"/>
                <a:gd name="T76" fmla="*/ 97 w 321"/>
                <a:gd name="T77" fmla="*/ 335 h 446"/>
                <a:gd name="T78" fmla="*/ 92 w 321"/>
                <a:gd name="T79" fmla="*/ 373 h 446"/>
                <a:gd name="T80" fmla="*/ 76 w 321"/>
                <a:gd name="T81" fmla="*/ 368 h 446"/>
                <a:gd name="T82" fmla="*/ 76 w 321"/>
                <a:gd name="T83" fmla="*/ 347 h 446"/>
                <a:gd name="T84" fmla="*/ 168 w 321"/>
                <a:gd name="T85" fmla="*/ 246 h 446"/>
                <a:gd name="T86" fmla="*/ 177 w 321"/>
                <a:gd name="T87" fmla="*/ 257 h 446"/>
                <a:gd name="T88" fmla="*/ 177 w 321"/>
                <a:gd name="T89" fmla="*/ 274 h 446"/>
                <a:gd name="T90" fmla="*/ 182 w 321"/>
                <a:gd name="T91" fmla="*/ 279 h 446"/>
                <a:gd name="T92" fmla="*/ 182 w 321"/>
                <a:gd name="T93" fmla="*/ 286 h 446"/>
                <a:gd name="T94" fmla="*/ 177 w 321"/>
                <a:gd name="T95" fmla="*/ 302 h 446"/>
                <a:gd name="T96" fmla="*/ 182 w 321"/>
                <a:gd name="T97" fmla="*/ 352 h 446"/>
                <a:gd name="T98" fmla="*/ 182 w 321"/>
                <a:gd name="T99" fmla="*/ 295 h 446"/>
                <a:gd name="T100" fmla="*/ 199 w 321"/>
                <a:gd name="T101" fmla="*/ 347 h 446"/>
                <a:gd name="T102" fmla="*/ 182 w 321"/>
                <a:gd name="T103" fmla="*/ 357 h 446"/>
                <a:gd name="T104" fmla="*/ 236 w 321"/>
                <a:gd name="T105" fmla="*/ 302 h 446"/>
                <a:gd name="T106" fmla="*/ 248 w 321"/>
                <a:gd name="T107" fmla="*/ 328 h 446"/>
                <a:gd name="T108" fmla="*/ 215 w 321"/>
                <a:gd name="T109" fmla="*/ 312 h 446"/>
                <a:gd name="T110" fmla="*/ 215 w 321"/>
                <a:gd name="T111" fmla="*/ 352 h 446"/>
                <a:gd name="T112" fmla="*/ 177 w 321"/>
                <a:gd name="T113" fmla="*/ 352 h 446"/>
                <a:gd name="T114" fmla="*/ 177 w 321"/>
                <a:gd name="T115" fmla="*/ 352 h 446"/>
                <a:gd name="T116" fmla="*/ 168 w 321"/>
                <a:gd name="T117" fmla="*/ 352 h 446"/>
                <a:gd name="T118" fmla="*/ 168 w 321"/>
                <a:gd name="T119" fmla="*/ 357 h 446"/>
                <a:gd name="T120" fmla="*/ 269 w 321"/>
                <a:gd name="T121" fmla="*/ 373 h 446"/>
                <a:gd name="T122" fmla="*/ 269 w 321"/>
                <a:gd name="T123" fmla="*/ 39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1" h="446">
                  <a:moveTo>
                    <a:pt x="76" y="347"/>
                  </a:moveTo>
                  <a:lnTo>
                    <a:pt x="59" y="279"/>
                  </a:lnTo>
                  <a:lnTo>
                    <a:pt x="71" y="262"/>
                  </a:lnTo>
                  <a:lnTo>
                    <a:pt x="55" y="257"/>
                  </a:lnTo>
                  <a:lnTo>
                    <a:pt x="55" y="241"/>
                  </a:lnTo>
                  <a:lnTo>
                    <a:pt x="38" y="229"/>
                  </a:lnTo>
                  <a:lnTo>
                    <a:pt x="38" y="217"/>
                  </a:lnTo>
                  <a:lnTo>
                    <a:pt x="55" y="205"/>
                  </a:lnTo>
                  <a:lnTo>
                    <a:pt x="55" y="184"/>
                  </a:lnTo>
                  <a:lnTo>
                    <a:pt x="43" y="172"/>
                  </a:lnTo>
                  <a:lnTo>
                    <a:pt x="38" y="172"/>
                  </a:lnTo>
                  <a:lnTo>
                    <a:pt x="5" y="163"/>
                  </a:lnTo>
                  <a:lnTo>
                    <a:pt x="0" y="151"/>
                  </a:lnTo>
                  <a:lnTo>
                    <a:pt x="17" y="135"/>
                  </a:lnTo>
                  <a:lnTo>
                    <a:pt x="5" y="128"/>
                  </a:lnTo>
                  <a:lnTo>
                    <a:pt x="21" y="135"/>
                  </a:lnTo>
                  <a:lnTo>
                    <a:pt x="33" y="111"/>
                  </a:lnTo>
                  <a:lnTo>
                    <a:pt x="71" y="111"/>
                  </a:lnTo>
                  <a:lnTo>
                    <a:pt x="71" y="106"/>
                  </a:lnTo>
                  <a:lnTo>
                    <a:pt x="59" y="94"/>
                  </a:lnTo>
                  <a:lnTo>
                    <a:pt x="55" y="90"/>
                  </a:lnTo>
                  <a:lnTo>
                    <a:pt x="38" y="90"/>
                  </a:lnTo>
                  <a:lnTo>
                    <a:pt x="21" y="61"/>
                  </a:lnTo>
                  <a:lnTo>
                    <a:pt x="5" y="57"/>
                  </a:lnTo>
                  <a:lnTo>
                    <a:pt x="17" y="33"/>
                  </a:lnTo>
                  <a:lnTo>
                    <a:pt x="38" y="17"/>
                  </a:lnTo>
                  <a:lnTo>
                    <a:pt x="33" y="5"/>
                  </a:lnTo>
                  <a:lnTo>
                    <a:pt x="21" y="5"/>
                  </a:lnTo>
                  <a:lnTo>
                    <a:pt x="33" y="0"/>
                  </a:lnTo>
                  <a:lnTo>
                    <a:pt x="59" y="33"/>
                  </a:lnTo>
                  <a:lnTo>
                    <a:pt x="76" y="24"/>
                  </a:lnTo>
                  <a:lnTo>
                    <a:pt x="59" y="17"/>
                  </a:lnTo>
                  <a:lnTo>
                    <a:pt x="71" y="17"/>
                  </a:lnTo>
                  <a:lnTo>
                    <a:pt x="76" y="17"/>
                  </a:lnTo>
                  <a:lnTo>
                    <a:pt x="76" y="33"/>
                  </a:lnTo>
                  <a:lnTo>
                    <a:pt x="92" y="50"/>
                  </a:lnTo>
                  <a:lnTo>
                    <a:pt x="109" y="50"/>
                  </a:lnTo>
                  <a:lnTo>
                    <a:pt x="114" y="33"/>
                  </a:lnTo>
                  <a:lnTo>
                    <a:pt x="123" y="33"/>
                  </a:lnTo>
                  <a:lnTo>
                    <a:pt x="130" y="57"/>
                  </a:lnTo>
                  <a:lnTo>
                    <a:pt x="130" y="106"/>
                  </a:lnTo>
                  <a:lnTo>
                    <a:pt x="168" y="111"/>
                  </a:lnTo>
                  <a:lnTo>
                    <a:pt x="286" y="111"/>
                  </a:lnTo>
                  <a:lnTo>
                    <a:pt x="307" y="118"/>
                  </a:lnTo>
                  <a:lnTo>
                    <a:pt x="312" y="135"/>
                  </a:lnTo>
                  <a:lnTo>
                    <a:pt x="300" y="135"/>
                  </a:lnTo>
                  <a:lnTo>
                    <a:pt x="291" y="168"/>
                  </a:lnTo>
                  <a:lnTo>
                    <a:pt x="274" y="172"/>
                  </a:lnTo>
                  <a:lnTo>
                    <a:pt x="269" y="189"/>
                  </a:lnTo>
                  <a:lnTo>
                    <a:pt x="236" y="189"/>
                  </a:lnTo>
                  <a:lnTo>
                    <a:pt x="232" y="205"/>
                  </a:lnTo>
                  <a:lnTo>
                    <a:pt x="220" y="229"/>
                  </a:lnTo>
                  <a:lnTo>
                    <a:pt x="232" y="274"/>
                  </a:lnTo>
                  <a:lnTo>
                    <a:pt x="236" y="274"/>
                  </a:lnTo>
                  <a:lnTo>
                    <a:pt x="236" y="257"/>
                  </a:lnTo>
                  <a:lnTo>
                    <a:pt x="248" y="279"/>
                  </a:lnTo>
                  <a:lnTo>
                    <a:pt x="258" y="279"/>
                  </a:lnTo>
                  <a:lnTo>
                    <a:pt x="269" y="274"/>
                  </a:lnTo>
                  <a:lnTo>
                    <a:pt x="258" y="257"/>
                  </a:lnTo>
                  <a:lnTo>
                    <a:pt x="274" y="241"/>
                  </a:lnTo>
                  <a:lnTo>
                    <a:pt x="274" y="224"/>
                  </a:lnTo>
                  <a:lnTo>
                    <a:pt x="286" y="229"/>
                  </a:lnTo>
                  <a:lnTo>
                    <a:pt x="300" y="224"/>
                  </a:lnTo>
                  <a:lnTo>
                    <a:pt x="307" y="257"/>
                  </a:lnTo>
                  <a:lnTo>
                    <a:pt x="307" y="279"/>
                  </a:lnTo>
                  <a:lnTo>
                    <a:pt x="312" y="302"/>
                  </a:lnTo>
                  <a:lnTo>
                    <a:pt x="321" y="357"/>
                  </a:lnTo>
                  <a:lnTo>
                    <a:pt x="321" y="406"/>
                  </a:lnTo>
                  <a:lnTo>
                    <a:pt x="321" y="406"/>
                  </a:lnTo>
                  <a:lnTo>
                    <a:pt x="307" y="390"/>
                  </a:lnTo>
                  <a:lnTo>
                    <a:pt x="300" y="402"/>
                  </a:lnTo>
                  <a:lnTo>
                    <a:pt x="291" y="406"/>
                  </a:lnTo>
                  <a:lnTo>
                    <a:pt x="300" y="425"/>
                  </a:lnTo>
                  <a:lnTo>
                    <a:pt x="300" y="446"/>
                  </a:lnTo>
                  <a:lnTo>
                    <a:pt x="286" y="413"/>
                  </a:lnTo>
                  <a:lnTo>
                    <a:pt x="274" y="402"/>
                  </a:lnTo>
                  <a:lnTo>
                    <a:pt x="286" y="385"/>
                  </a:lnTo>
                  <a:lnTo>
                    <a:pt x="269" y="373"/>
                  </a:lnTo>
                  <a:lnTo>
                    <a:pt x="258" y="319"/>
                  </a:lnTo>
                  <a:lnTo>
                    <a:pt x="236" y="295"/>
                  </a:lnTo>
                  <a:lnTo>
                    <a:pt x="220" y="312"/>
                  </a:lnTo>
                  <a:lnTo>
                    <a:pt x="203" y="312"/>
                  </a:lnTo>
                  <a:lnTo>
                    <a:pt x="199" y="302"/>
                  </a:lnTo>
                  <a:lnTo>
                    <a:pt x="182" y="274"/>
                  </a:lnTo>
                  <a:lnTo>
                    <a:pt x="182" y="241"/>
                  </a:lnTo>
                  <a:lnTo>
                    <a:pt x="194" y="241"/>
                  </a:lnTo>
                  <a:lnTo>
                    <a:pt x="182" y="241"/>
                  </a:lnTo>
                  <a:lnTo>
                    <a:pt x="182" y="229"/>
                  </a:lnTo>
                  <a:lnTo>
                    <a:pt x="177" y="229"/>
                  </a:lnTo>
                  <a:lnTo>
                    <a:pt x="177" y="241"/>
                  </a:lnTo>
                  <a:lnTo>
                    <a:pt x="177" y="246"/>
                  </a:lnTo>
                  <a:lnTo>
                    <a:pt x="161" y="246"/>
                  </a:lnTo>
                  <a:lnTo>
                    <a:pt x="182" y="262"/>
                  </a:lnTo>
                  <a:lnTo>
                    <a:pt x="177" y="274"/>
                  </a:lnTo>
                  <a:lnTo>
                    <a:pt x="168" y="274"/>
                  </a:lnTo>
                  <a:lnTo>
                    <a:pt x="168" y="295"/>
                  </a:lnTo>
                  <a:lnTo>
                    <a:pt x="177" y="312"/>
                  </a:lnTo>
                  <a:lnTo>
                    <a:pt x="182" y="328"/>
                  </a:lnTo>
                  <a:lnTo>
                    <a:pt x="168" y="352"/>
                  </a:lnTo>
                  <a:lnTo>
                    <a:pt x="168" y="335"/>
                  </a:lnTo>
                  <a:lnTo>
                    <a:pt x="161" y="368"/>
                  </a:lnTo>
                  <a:lnTo>
                    <a:pt x="151" y="368"/>
                  </a:lnTo>
                  <a:lnTo>
                    <a:pt x="140" y="368"/>
                  </a:lnTo>
                  <a:lnTo>
                    <a:pt x="151" y="347"/>
                  </a:lnTo>
                  <a:lnTo>
                    <a:pt x="144" y="357"/>
                  </a:lnTo>
                  <a:lnTo>
                    <a:pt x="140" y="352"/>
                  </a:lnTo>
                  <a:lnTo>
                    <a:pt x="144" y="347"/>
                  </a:lnTo>
                  <a:lnTo>
                    <a:pt x="140" y="352"/>
                  </a:lnTo>
                  <a:lnTo>
                    <a:pt x="130" y="335"/>
                  </a:lnTo>
                  <a:lnTo>
                    <a:pt x="140" y="319"/>
                  </a:lnTo>
                  <a:lnTo>
                    <a:pt x="130" y="335"/>
                  </a:lnTo>
                  <a:lnTo>
                    <a:pt x="130" y="357"/>
                  </a:lnTo>
                  <a:lnTo>
                    <a:pt x="109" y="373"/>
                  </a:lnTo>
                  <a:lnTo>
                    <a:pt x="109" y="368"/>
                  </a:lnTo>
                  <a:lnTo>
                    <a:pt x="114" y="328"/>
                  </a:lnTo>
                  <a:lnTo>
                    <a:pt x="109" y="357"/>
                  </a:lnTo>
                  <a:lnTo>
                    <a:pt x="97" y="335"/>
                  </a:lnTo>
                  <a:lnTo>
                    <a:pt x="109" y="357"/>
                  </a:lnTo>
                  <a:lnTo>
                    <a:pt x="97" y="373"/>
                  </a:lnTo>
                  <a:lnTo>
                    <a:pt x="92" y="373"/>
                  </a:lnTo>
                  <a:lnTo>
                    <a:pt x="92" y="357"/>
                  </a:lnTo>
                  <a:lnTo>
                    <a:pt x="88" y="385"/>
                  </a:lnTo>
                  <a:lnTo>
                    <a:pt x="76" y="368"/>
                  </a:lnTo>
                  <a:lnTo>
                    <a:pt x="76" y="347"/>
                  </a:lnTo>
                  <a:lnTo>
                    <a:pt x="76" y="347"/>
                  </a:lnTo>
                  <a:lnTo>
                    <a:pt x="76" y="347"/>
                  </a:lnTo>
                  <a:close/>
                  <a:moveTo>
                    <a:pt x="177" y="257"/>
                  </a:moveTo>
                  <a:lnTo>
                    <a:pt x="182" y="257"/>
                  </a:lnTo>
                  <a:lnTo>
                    <a:pt x="168" y="246"/>
                  </a:lnTo>
                  <a:lnTo>
                    <a:pt x="177" y="257"/>
                  </a:lnTo>
                  <a:lnTo>
                    <a:pt x="177" y="257"/>
                  </a:lnTo>
                  <a:lnTo>
                    <a:pt x="177" y="257"/>
                  </a:lnTo>
                  <a:close/>
                  <a:moveTo>
                    <a:pt x="182" y="279"/>
                  </a:moveTo>
                  <a:lnTo>
                    <a:pt x="177" y="279"/>
                  </a:lnTo>
                  <a:lnTo>
                    <a:pt x="177" y="274"/>
                  </a:lnTo>
                  <a:lnTo>
                    <a:pt x="182" y="279"/>
                  </a:lnTo>
                  <a:lnTo>
                    <a:pt x="182" y="279"/>
                  </a:lnTo>
                  <a:lnTo>
                    <a:pt x="182" y="279"/>
                  </a:lnTo>
                  <a:close/>
                  <a:moveTo>
                    <a:pt x="177" y="302"/>
                  </a:moveTo>
                  <a:lnTo>
                    <a:pt x="168" y="286"/>
                  </a:lnTo>
                  <a:lnTo>
                    <a:pt x="182" y="286"/>
                  </a:lnTo>
                  <a:lnTo>
                    <a:pt x="177" y="295"/>
                  </a:lnTo>
                  <a:lnTo>
                    <a:pt x="177" y="302"/>
                  </a:lnTo>
                  <a:lnTo>
                    <a:pt x="177" y="302"/>
                  </a:lnTo>
                  <a:lnTo>
                    <a:pt x="177" y="302"/>
                  </a:lnTo>
                  <a:close/>
                  <a:moveTo>
                    <a:pt x="182" y="357"/>
                  </a:moveTo>
                  <a:lnTo>
                    <a:pt x="182" y="352"/>
                  </a:lnTo>
                  <a:lnTo>
                    <a:pt x="182" y="319"/>
                  </a:lnTo>
                  <a:lnTo>
                    <a:pt x="177" y="302"/>
                  </a:lnTo>
                  <a:lnTo>
                    <a:pt x="182" y="295"/>
                  </a:lnTo>
                  <a:lnTo>
                    <a:pt x="182" y="295"/>
                  </a:lnTo>
                  <a:lnTo>
                    <a:pt x="199" y="319"/>
                  </a:lnTo>
                  <a:lnTo>
                    <a:pt x="199" y="347"/>
                  </a:lnTo>
                  <a:lnTo>
                    <a:pt x="182" y="357"/>
                  </a:lnTo>
                  <a:lnTo>
                    <a:pt x="182" y="357"/>
                  </a:lnTo>
                  <a:lnTo>
                    <a:pt x="182" y="357"/>
                  </a:lnTo>
                  <a:close/>
                  <a:moveTo>
                    <a:pt x="248" y="328"/>
                  </a:moveTo>
                  <a:lnTo>
                    <a:pt x="236" y="319"/>
                  </a:lnTo>
                  <a:lnTo>
                    <a:pt x="236" y="302"/>
                  </a:lnTo>
                  <a:lnTo>
                    <a:pt x="248" y="319"/>
                  </a:lnTo>
                  <a:lnTo>
                    <a:pt x="248" y="328"/>
                  </a:lnTo>
                  <a:lnTo>
                    <a:pt x="248" y="328"/>
                  </a:lnTo>
                  <a:lnTo>
                    <a:pt x="248" y="328"/>
                  </a:lnTo>
                  <a:close/>
                  <a:moveTo>
                    <a:pt x="215" y="352"/>
                  </a:moveTo>
                  <a:lnTo>
                    <a:pt x="215" y="312"/>
                  </a:lnTo>
                  <a:lnTo>
                    <a:pt x="220" y="335"/>
                  </a:lnTo>
                  <a:lnTo>
                    <a:pt x="215" y="352"/>
                  </a:lnTo>
                  <a:lnTo>
                    <a:pt x="215" y="352"/>
                  </a:lnTo>
                  <a:lnTo>
                    <a:pt x="215" y="352"/>
                  </a:lnTo>
                  <a:close/>
                  <a:moveTo>
                    <a:pt x="177" y="352"/>
                  </a:moveTo>
                  <a:lnTo>
                    <a:pt x="177" y="352"/>
                  </a:lnTo>
                  <a:lnTo>
                    <a:pt x="182" y="347"/>
                  </a:lnTo>
                  <a:lnTo>
                    <a:pt x="177" y="352"/>
                  </a:lnTo>
                  <a:lnTo>
                    <a:pt x="177" y="352"/>
                  </a:lnTo>
                  <a:lnTo>
                    <a:pt x="177" y="352"/>
                  </a:lnTo>
                  <a:close/>
                  <a:moveTo>
                    <a:pt x="168" y="357"/>
                  </a:moveTo>
                  <a:lnTo>
                    <a:pt x="168" y="352"/>
                  </a:lnTo>
                  <a:lnTo>
                    <a:pt x="177" y="357"/>
                  </a:lnTo>
                  <a:lnTo>
                    <a:pt x="168" y="357"/>
                  </a:lnTo>
                  <a:lnTo>
                    <a:pt x="168" y="357"/>
                  </a:lnTo>
                  <a:lnTo>
                    <a:pt x="168" y="357"/>
                  </a:lnTo>
                  <a:close/>
                  <a:moveTo>
                    <a:pt x="269" y="390"/>
                  </a:moveTo>
                  <a:lnTo>
                    <a:pt x="269" y="373"/>
                  </a:lnTo>
                  <a:lnTo>
                    <a:pt x="274" y="385"/>
                  </a:lnTo>
                  <a:lnTo>
                    <a:pt x="269" y="390"/>
                  </a:lnTo>
                  <a:lnTo>
                    <a:pt x="269" y="390"/>
                  </a:lnTo>
                  <a:lnTo>
                    <a:pt x="269" y="39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7" name="Freeform 396">
              <a:extLst>
                <a:ext uri="{FF2B5EF4-FFF2-40B4-BE49-F238E27FC236}">
                  <a16:creationId xmlns:a16="http://schemas.microsoft.com/office/drawing/2014/main" id="{D3F9BEBF-77BC-4135-BDEA-AC794617D2B2}"/>
                </a:ext>
              </a:extLst>
            </p:cNvPr>
            <p:cNvSpPr>
              <a:spLocks noEditPoints="1"/>
            </p:cNvSpPr>
            <p:nvPr/>
          </p:nvSpPr>
          <p:spPr bwMode="gray">
            <a:xfrm>
              <a:off x="11695616" y="3675501"/>
              <a:ext cx="31093" cy="60877"/>
            </a:xfrm>
            <a:custGeom>
              <a:avLst/>
              <a:gdLst>
                <a:gd name="T0" fmla="*/ 24 w 95"/>
                <a:gd name="T1" fmla="*/ 186 h 186"/>
                <a:gd name="T2" fmla="*/ 0 w 95"/>
                <a:gd name="T3" fmla="*/ 186 h 186"/>
                <a:gd name="T4" fmla="*/ 7 w 95"/>
                <a:gd name="T5" fmla="*/ 42 h 186"/>
                <a:gd name="T6" fmla="*/ 7 w 95"/>
                <a:gd name="T7" fmla="*/ 37 h 186"/>
                <a:gd name="T8" fmla="*/ 17 w 95"/>
                <a:gd name="T9" fmla="*/ 26 h 186"/>
                <a:gd name="T10" fmla="*/ 24 w 95"/>
                <a:gd name="T11" fmla="*/ 37 h 186"/>
                <a:gd name="T12" fmla="*/ 57 w 95"/>
                <a:gd name="T13" fmla="*/ 0 h 186"/>
                <a:gd name="T14" fmla="*/ 62 w 95"/>
                <a:gd name="T15" fmla="*/ 0 h 186"/>
                <a:gd name="T16" fmla="*/ 62 w 95"/>
                <a:gd name="T17" fmla="*/ 4 h 186"/>
                <a:gd name="T18" fmla="*/ 78 w 95"/>
                <a:gd name="T19" fmla="*/ 4 h 186"/>
                <a:gd name="T20" fmla="*/ 78 w 95"/>
                <a:gd name="T21" fmla="*/ 9 h 186"/>
                <a:gd name="T22" fmla="*/ 62 w 95"/>
                <a:gd name="T23" fmla="*/ 59 h 186"/>
                <a:gd name="T24" fmla="*/ 62 w 95"/>
                <a:gd name="T25" fmla="*/ 92 h 186"/>
                <a:gd name="T26" fmla="*/ 73 w 95"/>
                <a:gd name="T27" fmla="*/ 111 h 186"/>
                <a:gd name="T28" fmla="*/ 62 w 95"/>
                <a:gd name="T29" fmla="*/ 137 h 186"/>
                <a:gd name="T30" fmla="*/ 62 w 95"/>
                <a:gd name="T31" fmla="*/ 132 h 186"/>
                <a:gd name="T32" fmla="*/ 45 w 95"/>
                <a:gd name="T33" fmla="*/ 153 h 186"/>
                <a:gd name="T34" fmla="*/ 33 w 95"/>
                <a:gd name="T35" fmla="*/ 165 h 186"/>
                <a:gd name="T36" fmla="*/ 24 w 95"/>
                <a:gd name="T37" fmla="*/ 177 h 186"/>
                <a:gd name="T38" fmla="*/ 24 w 95"/>
                <a:gd name="T39" fmla="*/ 186 h 186"/>
                <a:gd name="T40" fmla="*/ 24 w 95"/>
                <a:gd name="T41" fmla="*/ 186 h 186"/>
                <a:gd name="T42" fmla="*/ 24 w 95"/>
                <a:gd name="T43" fmla="*/ 186 h 186"/>
                <a:gd name="T44" fmla="*/ 95 w 95"/>
                <a:gd name="T45" fmla="*/ 26 h 186"/>
                <a:gd name="T46" fmla="*/ 90 w 95"/>
                <a:gd name="T47" fmla="*/ 37 h 186"/>
                <a:gd name="T48" fmla="*/ 95 w 95"/>
                <a:gd name="T49" fmla="*/ 21 h 186"/>
                <a:gd name="T50" fmla="*/ 95 w 95"/>
                <a:gd name="T51" fmla="*/ 26 h 186"/>
                <a:gd name="T52" fmla="*/ 95 w 95"/>
                <a:gd name="T53" fmla="*/ 26 h 186"/>
                <a:gd name="T54" fmla="*/ 95 w 95"/>
                <a:gd name="T55" fmla="*/ 2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5" h="186">
                  <a:moveTo>
                    <a:pt x="24" y="186"/>
                  </a:moveTo>
                  <a:lnTo>
                    <a:pt x="0" y="186"/>
                  </a:lnTo>
                  <a:lnTo>
                    <a:pt x="7" y="42"/>
                  </a:lnTo>
                  <a:lnTo>
                    <a:pt x="7" y="37"/>
                  </a:lnTo>
                  <a:lnTo>
                    <a:pt x="17" y="26"/>
                  </a:lnTo>
                  <a:lnTo>
                    <a:pt x="24" y="37"/>
                  </a:lnTo>
                  <a:lnTo>
                    <a:pt x="57" y="0"/>
                  </a:lnTo>
                  <a:lnTo>
                    <a:pt x="62" y="0"/>
                  </a:lnTo>
                  <a:lnTo>
                    <a:pt x="62" y="4"/>
                  </a:lnTo>
                  <a:lnTo>
                    <a:pt x="78" y="4"/>
                  </a:lnTo>
                  <a:lnTo>
                    <a:pt x="78" y="9"/>
                  </a:lnTo>
                  <a:lnTo>
                    <a:pt x="62" y="59"/>
                  </a:lnTo>
                  <a:lnTo>
                    <a:pt x="62" y="92"/>
                  </a:lnTo>
                  <a:lnTo>
                    <a:pt x="73" y="111"/>
                  </a:lnTo>
                  <a:lnTo>
                    <a:pt x="62" y="137"/>
                  </a:lnTo>
                  <a:lnTo>
                    <a:pt x="62" y="132"/>
                  </a:lnTo>
                  <a:lnTo>
                    <a:pt x="45" y="153"/>
                  </a:lnTo>
                  <a:lnTo>
                    <a:pt x="33" y="165"/>
                  </a:lnTo>
                  <a:lnTo>
                    <a:pt x="24" y="177"/>
                  </a:lnTo>
                  <a:lnTo>
                    <a:pt x="24" y="186"/>
                  </a:lnTo>
                  <a:lnTo>
                    <a:pt x="24" y="186"/>
                  </a:lnTo>
                  <a:lnTo>
                    <a:pt x="24" y="186"/>
                  </a:lnTo>
                  <a:close/>
                  <a:moveTo>
                    <a:pt x="95" y="26"/>
                  </a:moveTo>
                  <a:lnTo>
                    <a:pt x="90" y="37"/>
                  </a:lnTo>
                  <a:lnTo>
                    <a:pt x="95" y="21"/>
                  </a:lnTo>
                  <a:lnTo>
                    <a:pt x="95" y="26"/>
                  </a:lnTo>
                  <a:lnTo>
                    <a:pt x="95" y="26"/>
                  </a:lnTo>
                  <a:lnTo>
                    <a:pt x="95" y="2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8" name="Freeform 397">
              <a:extLst>
                <a:ext uri="{FF2B5EF4-FFF2-40B4-BE49-F238E27FC236}">
                  <a16:creationId xmlns:a16="http://schemas.microsoft.com/office/drawing/2014/main" id="{2F347303-F980-4A67-8553-FE5218A246A9}"/>
                </a:ext>
              </a:extLst>
            </p:cNvPr>
            <p:cNvSpPr>
              <a:spLocks/>
            </p:cNvSpPr>
            <p:nvPr/>
          </p:nvSpPr>
          <p:spPr bwMode="gray">
            <a:xfrm>
              <a:off x="14104846" y="2970177"/>
              <a:ext cx="88043" cy="76587"/>
            </a:xfrm>
            <a:custGeom>
              <a:avLst/>
              <a:gdLst>
                <a:gd name="T0" fmla="*/ 130 w 269"/>
                <a:gd name="T1" fmla="*/ 192 h 234"/>
                <a:gd name="T2" fmla="*/ 139 w 269"/>
                <a:gd name="T3" fmla="*/ 192 h 234"/>
                <a:gd name="T4" fmla="*/ 130 w 269"/>
                <a:gd name="T5" fmla="*/ 187 h 234"/>
                <a:gd name="T6" fmla="*/ 108 w 269"/>
                <a:gd name="T7" fmla="*/ 170 h 234"/>
                <a:gd name="T8" fmla="*/ 108 w 269"/>
                <a:gd name="T9" fmla="*/ 154 h 234"/>
                <a:gd name="T10" fmla="*/ 87 w 269"/>
                <a:gd name="T11" fmla="*/ 137 h 234"/>
                <a:gd name="T12" fmla="*/ 54 w 269"/>
                <a:gd name="T13" fmla="*/ 109 h 234"/>
                <a:gd name="T14" fmla="*/ 33 w 269"/>
                <a:gd name="T15" fmla="*/ 92 h 234"/>
                <a:gd name="T16" fmla="*/ 33 w 269"/>
                <a:gd name="T17" fmla="*/ 76 h 234"/>
                <a:gd name="T18" fmla="*/ 33 w 269"/>
                <a:gd name="T19" fmla="*/ 59 h 234"/>
                <a:gd name="T20" fmla="*/ 0 w 269"/>
                <a:gd name="T21" fmla="*/ 38 h 234"/>
                <a:gd name="T22" fmla="*/ 4 w 269"/>
                <a:gd name="T23" fmla="*/ 5 h 234"/>
                <a:gd name="T24" fmla="*/ 21 w 269"/>
                <a:gd name="T25" fmla="*/ 0 h 234"/>
                <a:gd name="T26" fmla="*/ 37 w 269"/>
                <a:gd name="T27" fmla="*/ 22 h 234"/>
                <a:gd name="T28" fmla="*/ 54 w 269"/>
                <a:gd name="T29" fmla="*/ 0 h 234"/>
                <a:gd name="T30" fmla="*/ 75 w 269"/>
                <a:gd name="T31" fmla="*/ 0 h 234"/>
                <a:gd name="T32" fmla="*/ 87 w 269"/>
                <a:gd name="T33" fmla="*/ 0 h 234"/>
                <a:gd name="T34" fmla="*/ 101 w 269"/>
                <a:gd name="T35" fmla="*/ 5 h 234"/>
                <a:gd name="T36" fmla="*/ 146 w 269"/>
                <a:gd name="T37" fmla="*/ 17 h 234"/>
                <a:gd name="T38" fmla="*/ 177 w 269"/>
                <a:gd name="T39" fmla="*/ 5 h 234"/>
                <a:gd name="T40" fmla="*/ 200 w 269"/>
                <a:gd name="T41" fmla="*/ 17 h 234"/>
                <a:gd name="T42" fmla="*/ 215 w 269"/>
                <a:gd name="T43" fmla="*/ 22 h 234"/>
                <a:gd name="T44" fmla="*/ 215 w 269"/>
                <a:gd name="T45" fmla="*/ 26 h 234"/>
                <a:gd name="T46" fmla="*/ 231 w 269"/>
                <a:gd name="T47" fmla="*/ 26 h 234"/>
                <a:gd name="T48" fmla="*/ 252 w 269"/>
                <a:gd name="T49" fmla="*/ 26 h 234"/>
                <a:gd name="T50" fmla="*/ 238 w 269"/>
                <a:gd name="T51" fmla="*/ 76 h 234"/>
                <a:gd name="T52" fmla="*/ 269 w 269"/>
                <a:gd name="T53" fmla="*/ 97 h 234"/>
                <a:gd name="T54" fmla="*/ 264 w 269"/>
                <a:gd name="T55" fmla="*/ 109 h 234"/>
                <a:gd name="T56" fmla="*/ 248 w 269"/>
                <a:gd name="T57" fmla="*/ 109 h 234"/>
                <a:gd name="T58" fmla="*/ 264 w 269"/>
                <a:gd name="T59" fmla="*/ 130 h 234"/>
                <a:gd name="T60" fmla="*/ 264 w 269"/>
                <a:gd name="T61" fmla="*/ 147 h 234"/>
                <a:gd name="T62" fmla="*/ 248 w 269"/>
                <a:gd name="T63" fmla="*/ 147 h 234"/>
                <a:gd name="T64" fmla="*/ 222 w 269"/>
                <a:gd name="T65" fmla="*/ 147 h 234"/>
                <a:gd name="T66" fmla="*/ 238 w 269"/>
                <a:gd name="T67" fmla="*/ 163 h 234"/>
                <a:gd name="T68" fmla="*/ 231 w 269"/>
                <a:gd name="T69" fmla="*/ 170 h 234"/>
                <a:gd name="T70" fmla="*/ 222 w 269"/>
                <a:gd name="T71" fmla="*/ 163 h 234"/>
                <a:gd name="T72" fmla="*/ 210 w 269"/>
                <a:gd name="T73" fmla="*/ 170 h 234"/>
                <a:gd name="T74" fmla="*/ 210 w 269"/>
                <a:gd name="T75" fmla="*/ 187 h 234"/>
                <a:gd name="T76" fmla="*/ 193 w 269"/>
                <a:gd name="T77" fmla="*/ 192 h 234"/>
                <a:gd name="T78" fmla="*/ 193 w 269"/>
                <a:gd name="T79" fmla="*/ 208 h 234"/>
                <a:gd name="T80" fmla="*/ 200 w 269"/>
                <a:gd name="T81" fmla="*/ 225 h 234"/>
                <a:gd name="T82" fmla="*/ 193 w 269"/>
                <a:gd name="T83" fmla="*/ 234 h 234"/>
                <a:gd name="T84" fmla="*/ 146 w 269"/>
                <a:gd name="T85" fmla="*/ 203 h 234"/>
                <a:gd name="T86" fmla="*/ 130 w 269"/>
                <a:gd name="T87" fmla="*/ 203 h 234"/>
                <a:gd name="T88" fmla="*/ 130 w 269"/>
                <a:gd name="T89" fmla="*/ 192 h 234"/>
                <a:gd name="T90" fmla="*/ 130 w 269"/>
                <a:gd name="T91" fmla="*/ 192 h 234"/>
                <a:gd name="T92" fmla="*/ 130 w 269"/>
                <a:gd name="T93" fmla="*/ 19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 h="234">
                  <a:moveTo>
                    <a:pt x="130" y="192"/>
                  </a:moveTo>
                  <a:lnTo>
                    <a:pt x="139" y="192"/>
                  </a:lnTo>
                  <a:lnTo>
                    <a:pt x="130" y="187"/>
                  </a:lnTo>
                  <a:lnTo>
                    <a:pt x="108" y="170"/>
                  </a:lnTo>
                  <a:lnTo>
                    <a:pt x="108" y="154"/>
                  </a:lnTo>
                  <a:lnTo>
                    <a:pt x="87" y="137"/>
                  </a:lnTo>
                  <a:lnTo>
                    <a:pt x="54" y="109"/>
                  </a:lnTo>
                  <a:lnTo>
                    <a:pt x="33" y="92"/>
                  </a:lnTo>
                  <a:lnTo>
                    <a:pt x="33" y="76"/>
                  </a:lnTo>
                  <a:lnTo>
                    <a:pt x="33" y="59"/>
                  </a:lnTo>
                  <a:lnTo>
                    <a:pt x="0" y="38"/>
                  </a:lnTo>
                  <a:lnTo>
                    <a:pt x="4" y="5"/>
                  </a:lnTo>
                  <a:lnTo>
                    <a:pt x="21" y="0"/>
                  </a:lnTo>
                  <a:lnTo>
                    <a:pt x="37" y="22"/>
                  </a:lnTo>
                  <a:lnTo>
                    <a:pt x="54" y="0"/>
                  </a:lnTo>
                  <a:lnTo>
                    <a:pt x="75" y="0"/>
                  </a:lnTo>
                  <a:lnTo>
                    <a:pt x="87" y="0"/>
                  </a:lnTo>
                  <a:lnTo>
                    <a:pt x="101" y="5"/>
                  </a:lnTo>
                  <a:lnTo>
                    <a:pt x="146" y="17"/>
                  </a:lnTo>
                  <a:lnTo>
                    <a:pt x="177" y="5"/>
                  </a:lnTo>
                  <a:lnTo>
                    <a:pt x="200" y="17"/>
                  </a:lnTo>
                  <a:lnTo>
                    <a:pt x="215" y="22"/>
                  </a:lnTo>
                  <a:lnTo>
                    <a:pt x="215" y="26"/>
                  </a:lnTo>
                  <a:lnTo>
                    <a:pt x="231" y="26"/>
                  </a:lnTo>
                  <a:lnTo>
                    <a:pt x="252" y="26"/>
                  </a:lnTo>
                  <a:lnTo>
                    <a:pt x="238" y="76"/>
                  </a:lnTo>
                  <a:lnTo>
                    <a:pt x="269" y="97"/>
                  </a:lnTo>
                  <a:lnTo>
                    <a:pt x="264" y="109"/>
                  </a:lnTo>
                  <a:lnTo>
                    <a:pt x="248" y="109"/>
                  </a:lnTo>
                  <a:lnTo>
                    <a:pt x="264" y="130"/>
                  </a:lnTo>
                  <a:lnTo>
                    <a:pt x="264" y="147"/>
                  </a:lnTo>
                  <a:lnTo>
                    <a:pt x="248" y="147"/>
                  </a:lnTo>
                  <a:lnTo>
                    <a:pt x="222" y="147"/>
                  </a:lnTo>
                  <a:lnTo>
                    <a:pt x="238" y="163"/>
                  </a:lnTo>
                  <a:lnTo>
                    <a:pt x="231" y="170"/>
                  </a:lnTo>
                  <a:lnTo>
                    <a:pt x="222" y="163"/>
                  </a:lnTo>
                  <a:lnTo>
                    <a:pt x="210" y="170"/>
                  </a:lnTo>
                  <a:lnTo>
                    <a:pt x="210" y="187"/>
                  </a:lnTo>
                  <a:lnTo>
                    <a:pt x="193" y="192"/>
                  </a:lnTo>
                  <a:lnTo>
                    <a:pt x="193" y="208"/>
                  </a:lnTo>
                  <a:lnTo>
                    <a:pt x="200" y="225"/>
                  </a:lnTo>
                  <a:lnTo>
                    <a:pt x="193" y="234"/>
                  </a:lnTo>
                  <a:lnTo>
                    <a:pt x="146" y="203"/>
                  </a:lnTo>
                  <a:lnTo>
                    <a:pt x="130" y="203"/>
                  </a:lnTo>
                  <a:lnTo>
                    <a:pt x="130" y="192"/>
                  </a:lnTo>
                  <a:lnTo>
                    <a:pt x="130" y="192"/>
                  </a:lnTo>
                  <a:lnTo>
                    <a:pt x="130" y="19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9" name="Freeform 398">
              <a:extLst>
                <a:ext uri="{FF2B5EF4-FFF2-40B4-BE49-F238E27FC236}">
                  <a16:creationId xmlns:a16="http://schemas.microsoft.com/office/drawing/2014/main" id="{403BFCE2-DFE1-403C-B881-709F173232D4}"/>
                </a:ext>
              </a:extLst>
            </p:cNvPr>
            <p:cNvSpPr>
              <a:spLocks/>
            </p:cNvSpPr>
            <p:nvPr/>
          </p:nvSpPr>
          <p:spPr bwMode="gray">
            <a:xfrm>
              <a:off x="12145649" y="4343186"/>
              <a:ext cx="277548" cy="319442"/>
            </a:xfrm>
            <a:custGeom>
              <a:avLst/>
              <a:gdLst>
                <a:gd name="T0" fmla="*/ 482 w 848"/>
                <a:gd name="T1" fmla="*/ 915 h 976"/>
                <a:gd name="T2" fmla="*/ 378 w 848"/>
                <a:gd name="T3" fmla="*/ 952 h 976"/>
                <a:gd name="T4" fmla="*/ 357 w 848"/>
                <a:gd name="T5" fmla="*/ 931 h 976"/>
                <a:gd name="T6" fmla="*/ 269 w 848"/>
                <a:gd name="T7" fmla="*/ 919 h 976"/>
                <a:gd name="T8" fmla="*/ 231 w 848"/>
                <a:gd name="T9" fmla="*/ 919 h 976"/>
                <a:gd name="T10" fmla="*/ 198 w 848"/>
                <a:gd name="T11" fmla="*/ 943 h 976"/>
                <a:gd name="T12" fmla="*/ 189 w 848"/>
                <a:gd name="T13" fmla="*/ 959 h 976"/>
                <a:gd name="T14" fmla="*/ 144 w 848"/>
                <a:gd name="T15" fmla="*/ 976 h 976"/>
                <a:gd name="T16" fmla="*/ 123 w 848"/>
                <a:gd name="T17" fmla="*/ 952 h 976"/>
                <a:gd name="T18" fmla="*/ 106 w 848"/>
                <a:gd name="T19" fmla="*/ 915 h 976"/>
                <a:gd name="T20" fmla="*/ 101 w 848"/>
                <a:gd name="T21" fmla="*/ 858 h 976"/>
                <a:gd name="T22" fmla="*/ 75 w 848"/>
                <a:gd name="T23" fmla="*/ 825 h 976"/>
                <a:gd name="T24" fmla="*/ 85 w 848"/>
                <a:gd name="T25" fmla="*/ 808 h 976"/>
                <a:gd name="T26" fmla="*/ 64 w 848"/>
                <a:gd name="T27" fmla="*/ 787 h 976"/>
                <a:gd name="T28" fmla="*/ 75 w 848"/>
                <a:gd name="T29" fmla="*/ 759 h 976"/>
                <a:gd name="T30" fmla="*/ 64 w 848"/>
                <a:gd name="T31" fmla="*/ 737 h 976"/>
                <a:gd name="T32" fmla="*/ 47 w 848"/>
                <a:gd name="T33" fmla="*/ 681 h 976"/>
                <a:gd name="T34" fmla="*/ 38 w 848"/>
                <a:gd name="T35" fmla="*/ 610 h 976"/>
                <a:gd name="T36" fmla="*/ 9 w 848"/>
                <a:gd name="T37" fmla="*/ 572 h 976"/>
                <a:gd name="T38" fmla="*/ 0 w 848"/>
                <a:gd name="T39" fmla="*/ 556 h 976"/>
                <a:gd name="T40" fmla="*/ 47 w 848"/>
                <a:gd name="T41" fmla="*/ 511 h 976"/>
                <a:gd name="T42" fmla="*/ 54 w 848"/>
                <a:gd name="T43" fmla="*/ 482 h 976"/>
                <a:gd name="T44" fmla="*/ 31 w 848"/>
                <a:gd name="T45" fmla="*/ 478 h 976"/>
                <a:gd name="T46" fmla="*/ 21 w 848"/>
                <a:gd name="T47" fmla="*/ 416 h 976"/>
                <a:gd name="T48" fmla="*/ 16 w 848"/>
                <a:gd name="T49" fmla="*/ 388 h 976"/>
                <a:gd name="T50" fmla="*/ 47 w 848"/>
                <a:gd name="T51" fmla="*/ 345 h 976"/>
                <a:gd name="T52" fmla="*/ 54 w 848"/>
                <a:gd name="T53" fmla="*/ 334 h 976"/>
                <a:gd name="T54" fmla="*/ 47 w 848"/>
                <a:gd name="T55" fmla="*/ 277 h 976"/>
                <a:gd name="T56" fmla="*/ 68 w 848"/>
                <a:gd name="T57" fmla="*/ 206 h 976"/>
                <a:gd name="T58" fmla="*/ 54 w 848"/>
                <a:gd name="T59" fmla="*/ 95 h 976"/>
                <a:gd name="T60" fmla="*/ 68 w 848"/>
                <a:gd name="T61" fmla="*/ 107 h 976"/>
                <a:gd name="T62" fmla="*/ 106 w 848"/>
                <a:gd name="T63" fmla="*/ 74 h 976"/>
                <a:gd name="T64" fmla="*/ 144 w 848"/>
                <a:gd name="T65" fmla="*/ 57 h 976"/>
                <a:gd name="T66" fmla="*/ 177 w 848"/>
                <a:gd name="T67" fmla="*/ 41 h 976"/>
                <a:gd name="T68" fmla="*/ 248 w 848"/>
                <a:gd name="T69" fmla="*/ 12 h 976"/>
                <a:gd name="T70" fmla="*/ 302 w 848"/>
                <a:gd name="T71" fmla="*/ 0 h 976"/>
                <a:gd name="T72" fmla="*/ 298 w 848"/>
                <a:gd name="T73" fmla="*/ 57 h 976"/>
                <a:gd name="T74" fmla="*/ 302 w 848"/>
                <a:gd name="T75" fmla="*/ 111 h 976"/>
                <a:gd name="T76" fmla="*/ 319 w 848"/>
                <a:gd name="T77" fmla="*/ 145 h 976"/>
                <a:gd name="T78" fmla="*/ 323 w 848"/>
                <a:gd name="T79" fmla="*/ 152 h 976"/>
                <a:gd name="T80" fmla="*/ 340 w 848"/>
                <a:gd name="T81" fmla="*/ 168 h 976"/>
                <a:gd name="T82" fmla="*/ 361 w 848"/>
                <a:gd name="T83" fmla="*/ 185 h 976"/>
                <a:gd name="T84" fmla="*/ 404 w 848"/>
                <a:gd name="T85" fmla="*/ 206 h 976"/>
                <a:gd name="T86" fmla="*/ 444 w 848"/>
                <a:gd name="T87" fmla="*/ 223 h 976"/>
                <a:gd name="T88" fmla="*/ 465 w 848"/>
                <a:gd name="T89" fmla="*/ 234 h 976"/>
                <a:gd name="T90" fmla="*/ 486 w 848"/>
                <a:gd name="T91" fmla="*/ 239 h 976"/>
                <a:gd name="T92" fmla="*/ 524 w 848"/>
                <a:gd name="T93" fmla="*/ 256 h 976"/>
                <a:gd name="T94" fmla="*/ 605 w 848"/>
                <a:gd name="T95" fmla="*/ 277 h 976"/>
                <a:gd name="T96" fmla="*/ 649 w 848"/>
                <a:gd name="T97" fmla="*/ 317 h 976"/>
                <a:gd name="T98" fmla="*/ 659 w 848"/>
                <a:gd name="T99" fmla="*/ 362 h 976"/>
                <a:gd name="T100" fmla="*/ 633 w 848"/>
                <a:gd name="T101" fmla="*/ 400 h 976"/>
                <a:gd name="T102" fmla="*/ 664 w 848"/>
                <a:gd name="T103" fmla="*/ 482 h 976"/>
                <a:gd name="T104" fmla="*/ 794 w 848"/>
                <a:gd name="T105" fmla="*/ 499 h 976"/>
                <a:gd name="T106" fmla="*/ 789 w 848"/>
                <a:gd name="T107" fmla="*/ 556 h 976"/>
                <a:gd name="T108" fmla="*/ 838 w 848"/>
                <a:gd name="T109" fmla="*/ 605 h 976"/>
                <a:gd name="T110" fmla="*/ 838 w 848"/>
                <a:gd name="T111" fmla="*/ 681 h 976"/>
                <a:gd name="T112" fmla="*/ 838 w 848"/>
                <a:gd name="T113" fmla="*/ 693 h 976"/>
                <a:gd name="T114" fmla="*/ 827 w 848"/>
                <a:gd name="T115" fmla="*/ 759 h 976"/>
                <a:gd name="T116" fmla="*/ 805 w 848"/>
                <a:gd name="T117" fmla="*/ 749 h 976"/>
                <a:gd name="T118" fmla="*/ 675 w 848"/>
                <a:gd name="T119" fmla="*/ 704 h 976"/>
                <a:gd name="T120" fmla="*/ 541 w 848"/>
                <a:gd name="T121" fmla="*/ 771 h 976"/>
                <a:gd name="T122" fmla="*/ 520 w 848"/>
                <a:gd name="T123" fmla="*/ 841 h 976"/>
                <a:gd name="T124" fmla="*/ 486 w 848"/>
                <a:gd name="T125" fmla="*/ 931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8" h="976">
                  <a:moveTo>
                    <a:pt x="486" y="931"/>
                  </a:moveTo>
                  <a:lnTo>
                    <a:pt x="482" y="915"/>
                  </a:lnTo>
                  <a:lnTo>
                    <a:pt x="404" y="915"/>
                  </a:lnTo>
                  <a:lnTo>
                    <a:pt x="378" y="952"/>
                  </a:lnTo>
                  <a:lnTo>
                    <a:pt x="373" y="976"/>
                  </a:lnTo>
                  <a:lnTo>
                    <a:pt x="357" y="931"/>
                  </a:lnTo>
                  <a:lnTo>
                    <a:pt x="323" y="919"/>
                  </a:lnTo>
                  <a:lnTo>
                    <a:pt x="269" y="919"/>
                  </a:lnTo>
                  <a:lnTo>
                    <a:pt x="243" y="898"/>
                  </a:lnTo>
                  <a:lnTo>
                    <a:pt x="231" y="919"/>
                  </a:lnTo>
                  <a:lnTo>
                    <a:pt x="198" y="931"/>
                  </a:lnTo>
                  <a:lnTo>
                    <a:pt x="198" y="943"/>
                  </a:lnTo>
                  <a:lnTo>
                    <a:pt x="189" y="952"/>
                  </a:lnTo>
                  <a:lnTo>
                    <a:pt x="189" y="959"/>
                  </a:lnTo>
                  <a:lnTo>
                    <a:pt x="172" y="976"/>
                  </a:lnTo>
                  <a:lnTo>
                    <a:pt x="144" y="976"/>
                  </a:lnTo>
                  <a:lnTo>
                    <a:pt x="123" y="976"/>
                  </a:lnTo>
                  <a:lnTo>
                    <a:pt x="123" y="952"/>
                  </a:lnTo>
                  <a:lnTo>
                    <a:pt x="118" y="919"/>
                  </a:lnTo>
                  <a:lnTo>
                    <a:pt x="106" y="915"/>
                  </a:lnTo>
                  <a:lnTo>
                    <a:pt x="101" y="882"/>
                  </a:lnTo>
                  <a:lnTo>
                    <a:pt x="101" y="858"/>
                  </a:lnTo>
                  <a:lnTo>
                    <a:pt x="85" y="832"/>
                  </a:lnTo>
                  <a:lnTo>
                    <a:pt x="75" y="825"/>
                  </a:lnTo>
                  <a:lnTo>
                    <a:pt x="75" y="820"/>
                  </a:lnTo>
                  <a:lnTo>
                    <a:pt x="85" y="808"/>
                  </a:lnTo>
                  <a:lnTo>
                    <a:pt x="64" y="792"/>
                  </a:lnTo>
                  <a:lnTo>
                    <a:pt x="64" y="787"/>
                  </a:lnTo>
                  <a:lnTo>
                    <a:pt x="64" y="771"/>
                  </a:lnTo>
                  <a:lnTo>
                    <a:pt x="75" y="759"/>
                  </a:lnTo>
                  <a:lnTo>
                    <a:pt x="75" y="754"/>
                  </a:lnTo>
                  <a:lnTo>
                    <a:pt x="64" y="737"/>
                  </a:lnTo>
                  <a:lnTo>
                    <a:pt x="85" y="716"/>
                  </a:lnTo>
                  <a:lnTo>
                    <a:pt x="47" y="681"/>
                  </a:lnTo>
                  <a:lnTo>
                    <a:pt x="31" y="622"/>
                  </a:lnTo>
                  <a:lnTo>
                    <a:pt x="38" y="610"/>
                  </a:lnTo>
                  <a:lnTo>
                    <a:pt x="21" y="610"/>
                  </a:lnTo>
                  <a:lnTo>
                    <a:pt x="9" y="572"/>
                  </a:lnTo>
                  <a:lnTo>
                    <a:pt x="9" y="565"/>
                  </a:lnTo>
                  <a:lnTo>
                    <a:pt x="0" y="556"/>
                  </a:lnTo>
                  <a:lnTo>
                    <a:pt x="0" y="556"/>
                  </a:lnTo>
                  <a:lnTo>
                    <a:pt x="47" y="511"/>
                  </a:lnTo>
                  <a:lnTo>
                    <a:pt x="38" y="499"/>
                  </a:lnTo>
                  <a:lnTo>
                    <a:pt x="54" y="482"/>
                  </a:lnTo>
                  <a:lnTo>
                    <a:pt x="47" y="478"/>
                  </a:lnTo>
                  <a:lnTo>
                    <a:pt x="31" y="478"/>
                  </a:lnTo>
                  <a:lnTo>
                    <a:pt x="16" y="437"/>
                  </a:lnTo>
                  <a:lnTo>
                    <a:pt x="21" y="416"/>
                  </a:lnTo>
                  <a:lnTo>
                    <a:pt x="31" y="404"/>
                  </a:lnTo>
                  <a:lnTo>
                    <a:pt x="16" y="388"/>
                  </a:lnTo>
                  <a:lnTo>
                    <a:pt x="16" y="371"/>
                  </a:lnTo>
                  <a:lnTo>
                    <a:pt x="47" y="345"/>
                  </a:lnTo>
                  <a:lnTo>
                    <a:pt x="47" y="334"/>
                  </a:lnTo>
                  <a:lnTo>
                    <a:pt x="54" y="334"/>
                  </a:lnTo>
                  <a:lnTo>
                    <a:pt x="38" y="293"/>
                  </a:lnTo>
                  <a:lnTo>
                    <a:pt x="47" y="277"/>
                  </a:lnTo>
                  <a:lnTo>
                    <a:pt x="47" y="234"/>
                  </a:lnTo>
                  <a:lnTo>
                    <a:pt x="68" y="206"/>
                  </a:lnTo>
                  <a:lnTo>
                    <a:pt x="9" y="95"/>
                  </a:lnTo>
                  <a:lnTo>
                    <a:pt x="54" y="95"/>
                  </a:lnTo>
                  <a:lnTo>
                    <a:pt x="64" y="107"/>
                  </a:lnTo>
                  <a:lnTo>
                    <a:pt x="68" y="107"/>
                  </a:lnTo>
                  <a:lnTo>
                    <a:pt x="92" y="95"/>
                  </a:lnTo>
                  <a:lnTo>
                    <a:pt x="106" y="74"/>
                  </a:lnTo>
                  <a:lnTo>
                    <a:pt x="135" y="74"/>
                  </a:lnTo>
                  <a:lnTo>
                    <a:pt x="144" y="57"/>
                  </a:lnTo>
                  <a:lnTo>
                    <a:pt x="161" y="50"/>
                  </a:lnTo>
                  <a:lnTo>
                    <a:pt x="177" y="41"/>
                  </a:lnTo>
                  <a:lnTo>
                    <a:pt x="210" y="17"/>
                  </a:lnTo>
                  <a:lnTo>
                    <a:pt x="248" y="12"/>
                  </a:lnTo>
                  <a:lnTo>
                    <a:pt x="286" y="12"/>
                  </a:lnTo>
                  <a:lnTo>
                    <a:pt x="302" y="0"/>
                  </a:lnTo>
                  <a:lnTo>
                    <a:pt x="302" y="41"/>
                  </a:lnTo>
                  <a:lnTo>
                    <a:pt x="298" y="57"/>
                  </a:lnTo>
                  <a:lnTo>
                    <a:pt x="302" y="95"/>
                  </a:lnTo>
                  <a:lnTo>
                    <a:pt x="302" y="111"/>
                  </a:lnTo>
                  <a:lnTo>
                    <a:pt x="302" y="128"/>
                  </a:lnTo>
                  <a:lnTo>
                    <a:pt x="319" y="145"/>
                  </a:lnTo>
                  <a:lnTo>
                    <a:pt x="307" y="152"/>
                  </a:lnTo>
                  <a:lnTo>
                    <a:pt x="323" y="152"/>
                  </a:lnTo>
                  <a:lnTo>
                    <a:pt x="323" y="168"/>
                  </a:lnTo>
                  <a:lnTo>
                    <a:pt x="340" y="168"/>
                  </a:lnTo>
                  <a:lnTo>
                    <a:pt x="340" y="185"/>
                  </a:lnTo>
                  <a:lnTo>
                    <a:pt x="361" y="185"/>
                  </a:lnTo>
                  <a:lnTo>
                    <a:pt x="373" y="206"/>
                  </a:lnTo>
                  <a:lnTo>
                    <a:pt x="404" y="206"/>
                  </a:lnTo>
                  <a:lnTo>
                    <a:pt x="416" y="206"/>
                  </a:lnTo>
                  <a:lnTo>
                    <a:pt x="444" y="223"/>
                  </a:lnTo>
                  <a:lnTo>
                    <a:pt x="465" y="218"/>
                  </a:lnTo>
                  <a:lnTo>
                    <a:pt x="465" y="234"/>
                  </a:lnTo>
                  <a:lnTo>
                    <a:pt x="482" y="251"/>
                  </a:lnTo>
                  <a:lnTo>
                    <a:pt x="486" y="239"/>
                  </a:lnTo>
                  <a:lnTo>
                    <a:pt x="512" y="256"/>
                  </a:lnTo>
                  <a:lnTo>
                    <a:pt x="524" y="256"/>
                  </a:lnTo>
                  <a:lnTo>
                    <a:pt x="550" y="289"/>
                  </a:lnTo>
                  <a:lnTo>
                    <a:pt x="605" y="277"/>
                  </a:lnTo>
                  <a:lnTo>
                    <a:pt x="642" y="305"/>
                  </a:lnTo>
                  <a:lnTo>
                    <a:pt x="649" y="317"/>
                  </a:lnTo>
                  <a:lnTo>
                    <a:pt x="642" y="326"/>
                  </a:lnTo>
                  <a:lnTo>
                    <a:pt x="659" y="362"/>
                  </a:lnTo>
                  <a:lnTo>
                    <a:pt x="659" y="400"/>
                  </a:lnTo>
                  <a:lnTo>
                    <a:pt x="633" y="400"/>
                  </a:lnTo>
                  <a:lnTo>
                    <a:pt x="659" y="421"/>
                  </a:lnTo>
                  <a:lnTo>
                    <a:pt x="664" y="482"/>
                  </a:lnTo>
                  <a:lnTo>
                    <a:pt x="794" y="482"/>
                  </a:lnTo>
                  <a:lnTo>
                    <a:pt x="794" y="499"/>
                  </a:lnTo>
                  <a:lnTo>
                    <a:pt x="784" y="515"/>
                  </a:lnTo>
                  <a:lnTo>
                    <a:pt x="789" y="556"/>
                  </a:lnTo>
                  <a:lnTo>
                    <a:pt x="838" y="582"/>
                  </a:lnTo>
                  <a:lnTo>
                    <a:pt x="838" y="605"/>
                  </a:lnTo>
                  <a:lnTo>
                    <a:pt x="848" y="626"/>
                  </a:lnTo>
                  <a:lnTo>
                    <a:pt x="838" y="681"/>
                  </a:lnTo>
                  <a:lnTo>
                    <a:pt x="838" y="693"/>
                  </a:lnTo>
                  <a:lnTo>
                    <a:pt x="838" y="693"/>
                  </a:lnTo>
                  <a:lnTo>
                    <a:pt x="810" y="737"/>
                  </a:lnTo>
                  <a:lnTo>
                    <a:pt x="827" y="759"/>
                  </a:lnTo>
                  <a:lnTo>
                    <a:pt x="805" y="771"/>
                  </a:lnTo>
                  <a:lnTo>
                    <a:pt x="805" y="749"/>
                  </a:lnTo>
                  <a:lnTo>
                    <a:pt x="742" y="716"/>
                  </a:lnTo>
                  <a:lnTo>
                    <a:pt x="675" y="704"/>
                  </a:lnTo>
                  <a:lnTo>
                    <a:pt x="557" y="733"/>
                  </a:lnTo>
                  <a:lnTo>
                    <a:pt x="541" y="771"/>
                  </a:lnTo>
                  <a:lnTo>
                    <a:pt x="520" y="804"/>
                  </a:lnTo>
                  <a:lnTo>
                    <a:pt x="520" y="841"/>
                  </a:lnTo>
                  <a:lnTo>
                    <a:pt x="486" y="931"/>
                  </a:lnTo>
                  <a:lnTo>
                    <a:pt x="486" y="931"/>
                  </a:lnTo>
                  <a:lnTo>
                    <a:pt x="486" y="93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0" name="Freeform 399">
              <a:extLst>
                <a:ext uri="{FF2B5EF4-FFF2-40B4-BE49-F238E27FC236}">
                  <a16:creationId xmlns:a16="http://schemas.microsoft.com/office/drawing/2014/main" id="{8EB878D8-6927-490E-AB10-5F0D65D36D1D}"/>
                </a:ext>
              </a:extLst>
            </p:cNvPr>
            <p:cNvSpPr>
              <a:spLocks noEditPoints="1"/>
            </p:cNvSpPr>
            <p:nvPr/>
          </p:nvSpPr>
          <p:spPr bwMode="gray">
            <a:xfrm>
              <a:off x="15860465" y="3423483"/>
              <a:ext cx="206524" cy="458215"/>
            </a:xfrm>
            <a:custGeom>
              <a:avLst/>
              <a:gdLst>
                <a:gd name="T0" fmla="*/ 31 w 631"/>
                <a:gd name="T1" fmla="*/ 552 h 1400"/>
                <a:gd name="T2" fmla="*/ 64 w 631"/>
                <a:gd name="T3" fmla="*/ 448 h 1400"/>
                <a:gd name="T4" fmla="*/ 92 w 631"/>
                <a:gd name="T5" fmla="*/ 354 h 1400"/>
                <a:gd name="T6" fmla="*/ 173 w 631"/>
                <a:gd name="T7" fmla="*/ 243 h 1400"/>
                <a:gd name="T8" fmla="*/ 286 w 631"/>
                <a:gd name="T9" fmla="*/ 94 h 1400"/>
                <a:gd name="T10" fmla="*/ 362 w 631"/>
                <a:gd name="T11" fmla="*/ 23 h 1400"/>
                <a:gd name="T12" fmla="*/ 442 w 631"/>
                <a:gd name="T13" fmla="*/ 73 h 1400"/>
                <a:gd name="T14" fmla="*/ 447 w 631"/>
                <a:gd name="T15" fmla="*/ 205 h 1400"/>
                <a:gd name="T16" fmla="*/ 392 w 631"/>
                <a:gd name="T17" fmla="*/ 276 h 1400"/>
                <a:gd name="T18" fmla="*/ 388 w 631"/>
                <a:gd name="T19" fmla="*/ 366 h 1400"/>
                <a:gd name="T20" fmla="*/ 463 w 631"/>
                <a:gd name="T21" fmla="*/ 387 h 1400"/>
                <a:gd name="T22" fmla="*/ 501 w 631"/>
                <a:gd name="T23" fmla="*/ 448 h 1400"/>
                <a:gd name="T24" fmla="*/ 555 w 631"/>
                <a:gd name="T25" fmla="*/ 536 h 1400"/>
                <a:gd name="T26" fmla="*/ 614 w 631"/>
                <a:gd name="T27" fmla="*/ 548 h 1400"/>
                <a:gd name="T28" fmla="*/ 555 w 631"/>
                <a:gd name="T29" fmla="*/ 625 h 1400"/>
                <a:gd name="T30" fmla="*/ 484 w 631"/>
                <a:gd name="T31" fmla="*/ 647 h 1400"/>
                <a:gd name="T32" fmla="*/ 399 w 631"/>
                <a:gd name="T33" fmla="*/ 680 h 1400"/>
                <a:gd name="T34" fmla="*/ 362 w 631"/>
                <a:gd name="T35" fmla="*/ 758 h 1400"/>
                <a:gd name="T36" fmla="*/ 451 w 631"/>
                <a:gd name="T37" fmla="*/ 923 h 1400"/>
                <a:gd name="T38" fmla="*/ 442 w 631"/>
                <a:gd name="T39" fmla="*/ 996 h 1400"/>
                <a:gd name="T40" fmla="*/ 496 w 631"/>
                <a:gd name="T41" fmla="*/ 1112 h 1400"/>
                <a:gd name="T42" fmla="*/ 506 w 631"/>
                <a:gd name="T43" fmla="*/ 1216 h 1400"/>
                <a:gd name="T44" fmla="*/ 447 w 631"/>
                <a:gd name="T45" fmla="*/ 1388 h 1400"/>
                <a:gd name="T46" fmla="*/ 463 w 631"/>
                <a:gd name="T47" fmla="*/ 1256 h 1400"/>
                <a:gd name="T48" fmla="*/ 447 w 631"/>
                <a:gd name="T49" fmla="*/ 1223 h 1400"/>
                <a:gd name="T50" fmla="*/ 425 w 631"/>
                <a:gd name="T51" fmla="*/ 1088 h 1400"/>
                <a:gd name="T52" fmla="*/ 388 w 631"/>
                <a:gd name="T53" fmla="*/ 907 h 1400"/>
                <a:gd name="T54" fmla="*/ 333 w 631"/>
                <a:gd name="T55" fmla="*/ 869 h 1400"/>
                <a:gd name="T56" fmla="*/ 286 w 631"/>
                <a:gd name="T57" fmla="*/ 918 h 1400"/>
                <a:gd name="T58" fmla="*/ 227 w 631"/>
                <a:gd name="T59" fmla="*/ 940 h 1400"/>
                <a:gd name="T60" fmla="*/ 199 w 631"/>
                <a:gd name="T61" fmla="*/ 963 h 1400"/>
                <a:gd name="T62" fmla="*/ 182 w 631"/>
                <a:gd name="T63" fmla="*/ 940 h 1400"/>
                <a:gd name="T64" fmla="*/ 144 w 631"/>
                <a:gd name="T65" fmla="*/ 947 h 1400"/>
                <a:gd name="T66" fmla="*/ 139 w 631"/>
                <a:gd name="T67" fmla="*/ 737 h 1400"/>
                <a:gd name="T68" fmla="*/ 102 w 631"/>
                <a:gd name="T69" fmla="*/ 670 h 1400"/>
                <a:gd name="T70" fmla="*/ 69 w 631"/>
                <a:gd name="T71" fmla="*/ 659 h 1400"/>
                <a:gd name="T72" fmla="*/ 47 w 631"/>
                <a:gd name="T73" fmla="*/ 642 h 1400"/>
                <a:gd name="T74" fmla="*/ 17 w 631"/>
                <a:gd name="T75" fmla="*/ 602 h 1400"/>
                <a:gd name="T76" fmla="*/ 102 w 631"/>
                <a:gd name="T77" fmla="*/ 687 h 1400"/>
                <a:gd name="T78" fmla="*/ 123 w 631"/>
                <a:gd name="T79" fmla="*/ 725 h 1400"/>
                <a:gd name="T80" fmla="*/ 118 w 631"/>
                <a:gd name="T81" fmla="*/ 703 h 1400"/>
                <a:gd name="T82" fmla="*/ 92 w 631"/>
                <a:gd name="T83" fmla="*/ 737 h 1400"/>
                <a:gd name="T84" fmla="*/ 376 w 631"/>
                <a:gd name="T85" fmla="*/ 935 h 1400"/>
                <a:gd name="T86" fmla="*/ 173 w 631"/>
                <a:gd name="T87" fmla="*/ 940 h 1400"/>
                <a:gd name="T88" fmla="*/ 430 w 631"/>
                <a:gd name="T89" fmla="*/ 1216 h 1400"/>
                <a:gd name="T90" fmla="*/ 430 w 631"/>
                <a:gd name="T91" fmla="*/ 1216 h 1400"/>
                <a:gd name="T92" fmla="*/ 409 w 631"/>
                <a:gd name="T93" fmla="*/ 1216 h 1400"/>
                <a:gd name="T94" fmla="*/ 413 w 631"/>
                <a:gd name="T95" fmla="*/ 1223 h 1400"/>
                <a:gd name="T96" fmla="*/ 442 w 631"/>
                <a:gd name="T97" fmla="*/ 1233 h 1400"/>
                <a:gd name="T98" fmla="*/ 447 w 631"/>
                <a:gd name="T99" fmla="*/ 1256 h 1400"/>
                <a:gd name="T100" fmla="*/ 430 w 631"/>
                <a:gd name="T101" fmla="*/ 1256 h 1400"/>
                <a:gd name="T102" fmla="*/ 447 w 631"/>
                <a:gd name="T103" fmla="*/ 1306 h 1400"/>
                <a:gd name="T104" fmla="*/ 425 w 631"/>
                <a:gd name="T105" fmla="*/ 1332 h 1400"/>
                <a:gd name="T106" fmla="*/ 425 w 631"/>
                <a:gd name="T107" fmla="*/ 1332 h 1400"/>
                <a:gd name="T108" fmla="*/ 399 w 631"/>
                <a:gd name="T109" fmla="*/ 1348 h 1400"/>
                <a:gd name="T110" fmla="*/ 425 w 631"/>
                <a:gd name="T111" fmla="*/ 1384 h 1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1400">
                  <a:moveTo>
                    <a:pt x="10" y="569"/>
                  </a:moveTo>
                  <a:lnTo>
                    <a:pt x="0" y="552"/>
                  </a:lnTo>
                  <a:lnTo>
                    <a:pt x="10" y="548"/>
                  </a:lnTo>
                  <a:lnTo>
                    <a:pt x="17" y="536"/>
                  </a:lnTo>
                  <a:lnTo>
                    <a:pt x="31" y="552"/>
                  </a:lnTo>
                  <a:lnTo>
                    <a:pt x="31" y="552"/>
                  </a:lnTo>
                  <a:lnTo>
                    <a:pt x="31" y="503"/>
                  </a:lnTo>
                  <a:lnTo>
                    <a:pt x="38" y="493"/>
                  </a:lnTo>
                  <a:lnTo>
                    <a:pt x="54" y="498"/>
                  </a:lnTo>
                  <a:lnTo>
                    <a:pt x="64" y="481"/>
                  </a:lnTo>
                  <a:lnTo>
                    <a:pt x="69" y="481"/>
                  </a:lnTo>
                  <a:lnTo>
                    <a:pt x="64" y="448"/>
                  </a:lnTo>
                  <a:lnTo>
                    <a:pt x="69" y="420"/>
                  </a:lnTo>
                  <a:lnTo>
                    <a:pt x="76" y="427"/>
                  </a:lnTo>
                  <a:lnTo>
                    <a:pt x="85" y="411"/>
                  </a:lnTo>
                  <a:lnTo>
                    <a:pt x="85" y="370"/>
                  </a:lnTo>
                  <a:lnTo>
                    <a:pt x="85" y="337"/>
                  </a:lnTo>
                  <a:lnTo>
                    <a:pt x="92" y="354"/>
                  </a:lnTo>
                  <a:lnTo>
                    <a:pt x="106" y="349"/>
                  </a:lnTo>
                  <a:lnTo>
                    <a:pt x="139" y="366"/>
                  </a:lnTo>
                  <a:lnTo>
                    <a:pt x="177" y="266"/>
                  </a:lnTo>
                  <a:lnTo>
                    <a:pt x="177" y="259"/>
                  </a:lnTo>
                  <a:lnTo>
                    <a:pt x="173" y="255"/>
                  </a:lnTo>
                  <a:lnTo>
                    <a:pt x="173" y="243"/>
                  </a:lnTo>
                  <a:lnTo>
                    <a:pt x="194" y="226"/>
                  </a:lnTo>
                  <a:lnTo>
                    <a:pt x="210" y="188"/>
                  </a:lnTo>
                  <a:lnTo>
                    <a:pt x="199" y="172"/>
                  </a:lnTo>
                  <a:lnTo>
                    <a:pt x="210" y="151"/>
                  </a:lnTo>
                  <a:lnTo>
                    <a:pt x="232" y="144"/>
                  </a:lnTo>
                  <a:lnTo>
                    <a:pt x="286" y="94"/>
                  </a:lnTo>
                  <a:lnTo>
                    <a:pt x="317" y="94"/>
                  </a:lnTo>
                  <a:lnTo>
                    <a:pt x="333" y="99"/>
                  </a:lnTo>
                  <a:lnTo>
                    <a:pt x="345" y="111"/>
                  </a:lnTo>
                  <a:lnTo>
                    <a:pt x="333" y="73"/>
                  </a:lnTo>
                  <a:lnTo>
                    <a:pt x="362" y="44"/>
                  </a:lnTo>
                  <a:lnTo>
                    <a:pt x="362" y="23"/>
                  </a:lnTo>
                  <a:lnTo>
                    <a:pt x="371" y="16"/>
                  </a:lnTo>
                  <a:lnTo>
                    <a:pt x="376" y="0"/>
                  </a:lnTo>
                  <a:lnTo>
                    <a:pt x="409" y="23"/>
                  </a:lnTo>
                  <a:lnTo>
                    <a:pt x="413" y="33"/>
                  </a:lnTo>
                  <a:lnTo>
                    <a:pt x="430" y="77"/>
                  </a:lnTo>
                  <a:lnTo>
                    <a:pt x="442" y="73"/>
                  </a:lnTo>
                  <a:lnTo>
                    <a:pt x="451" y="77"/>
                  </a:lnTo>
                  <a:lnTo>
                    <a:pt x="463" y="134"/>
                  </a:lnTo>
                  <a:lnTo>
                    <a:pt x="463" y="184"/>
                  </a:lnTo>
                  <a:lnTo>
                    <a:pt x="447" y="188"/>
                  </a:lnTo>
                  <a:lnTo>
                    <a:pt x="451" y="205"/>
                  </a:lnTo>
                  <a:lnTo>
                    <a:pt x="447" y="205"/>
                  </a:lnTo>
                  <a:lnTo>
                    <a:pt x="430" y="226"/>
                  </a:lnTo>
                  <a:lnTo>
                    <a:pt x="425" y="226"/>
                  </a:lnTo>
                  <a:lnTo>
                    <a:pt x="409" y="255"/>
                  </a:lnTo>
                  <a:lnTo>
                    <a:pt x="399" y="259"/>
                  </a:lnTo>
                  <a:lnTo>
                    <a:pt x="392" y="255"/>
                  </a:lnTo>
                  <a:lnTo>
                    <a:pt x="392" y="276"/>
                  </a:lnTo>
                  <a:lnTo>
                    <a:pt x="376" y="292"/>
                  </a:lnTo>
                  <a:lnTo>
                    <a:pt x="376" y="316"/>
                  </a:lnTo>
                  <a:lnTo>
                    <a:pt x="388" y="316"/>
                  </a:lnTo>
                  <a:lnTo>
                    <a:pt x="392" y="337"/>
                  </a:lnTo>
                  <a:lnTo>
                    <a:pt x="376" y="354"/>
                  </a:lnTo>
                  <a:lnTo>
                    <a:pt x="388" y="366"/>
                  </a:lnTo>
                  <a:lnTo>
                    <a:pt x="413" y="337"/>
                  </a:lnTo>
                  <a:lnTo>
                    <a:pt x="468" y="337"/>
                  </a:lnTo>
                  <a:lnTo>
                    <a:pt x="451" y="354"/>
                  </a:lnTo>
                  <a:lnTo>
                    <a:pt x="451" y="366"/>
                  </a:lnTo>
                  <a:lnTo>
                    <a:pt x="463" y="370"/>
                  </a:lnTo>
                  <a:lnTo>
                    <a:pt x="463" y="387"/>
                  </a:lnTo>
                  <a:lnTo>
                    <a:pt x="468" y="394"/>
                  </a:lnTo>
                  <a:lnTo>
                    <a:pt x="468" y="411"/>
                  </a:lnTo>
                  <a:lnTo>
                    <a:pt x="484" y="420"/>
                  </a:lnTo>
                  <a:lnTo>
                    <a:pt x="517" y="420"/>
                  </a:lnTo>
                  <a:lnTo>
                    <a:pt x="517" y="427"/>
                  </a:lnTo>
                  <a:lnTo>
                    <a:pt x="501" y="448"/>
                  </a:lnTo>
                  <a:lnTo>
                    <a:pt x="506" y="465"/>
                  </a:lnTo>
                  <a:lnTo>
                    <a:pt x="484" y="493"/>
                  </a:lnTo>
                  <a:lnTo>
                    <a:pt x="550" y="498"/>
                  </a:lnTo>
                  <a:lnTo>
                    <a:pt x="550" y="519"/>
                  </a:lnTo>
                  <a:lnTo>
                    <a:pt x="555" y="531"/>
                  </a:lnTo>
                  <a:lnTo>
                    <a:pt x="555" y="536"/>
                  </a:lnTo>
                  <a:lnTo>
                    <a:pt x="560" y="548"/>
                  </a:lnTo>
                  <a:lnTo>
                    <a:pt x="576" y="536"/>
                  </a:lnTo>
                  <a:lnTo>
                    <a:pt x="588" y="548"/>
                  </a:lnTo>
                  <a:lnTo>
                    <a:pt x="624" y="519"/>
                  </a:lnTo>
                  <a:lnTo>
                    <a:pt x="631" y="531"/>
                  </a:lnTo>
                  <a:lnTo>
                    <a:pt x="614" y="548"/>
                  </a:lnTo>
                  <a:lnTo>
                    <a:pt x="602" y="552"/>
                  </a:lnTo>
                  <a:lnTo>
                    <a:pt x="588" y="576"/>
                  </a:lnTo>
                  <a:lnTo>
                    <a:pt x="588" y="585"/>
                  </a:lnTo>
                  <a:lnTo>
                    <a:pt x="593" y="585"/>
                  </a:lnTo>
                  <a:lnTo>
                    <a:pt x="560" y="592"/>
                  </a:lnTo>
                  <a:lnTo>
                    <a:pt x="555" y="625"/>
                  </a:lnTo>
                  <a:lnTo>
                    <a:pt x="550" y="614"/>
                  </a:lnTo>
                  <a:lnTo>
                    <a:pt x="534" y="625"/>
                  </a:lnTo>
                  <a:lnTo>
                    <a:pt x="517" y="625"/>
                  </a:lnTo>
                  <a:lnTo>
                    <a:pt x="517" y="642"/>
                  </a:lnTo>
                  <a:lnTo>
                    <a:pt x="506" y="642"/>
                  </a:lnTo>
                  <a:lnTo>
                    <a:pt x="484" y="647"/>
                  </a:lnTo>
                  <a:lnTo>
                    <a:pt x="480" y="663"/>
                  </a:lnTo>
                  <a:lnTo>
                    <a:pt x="468" y="663"/>
                  </a:lnTo>
                  <a:lnTo>
                    <a:pt x="425" y="670"/>
                  </a:lnTo>
                  <a:lnTo>
                    <a:pt x="409" y="663"/>
                  </a:lnTo>
                  <a:lnTo>
                    <a:pt x="409" y="680"/>
                  </a:lnTo>
                  <a:lnTo>
                    <a:pt x="399" y="680"/>
                  </a:lnTo>
                  <a:lnTo>
                    <a:pt x="392" y="696"/>
                  </a:lnTo>
                  <a:lnTo>
                    <a:pt x="392" y="720"/>
                  </a:lnTo>
                  <a:lnTo>
                    <a:pt x="388" y="725"/>
                  </a:lnTo>
                  <a:lnTo>
                    <a:pt x="392" y="758"/>
                  </a:lnTo>
                  <a:lnTo>
                    <a:pt x="371" y="770"/>
                  </a:lnTo>
                  <a:lnTo>
                    <a:pt x="362" y="758"/>
                  </a:lnTo>
                  <a:lnTo>
                    <a:pt x="371" y="779"/>
                  </a:lnTo>
                  <a:lnTo>
                    <a:pt x="388" y="779"/>
                  </a:lnTo>
                  <a:lnTo>
                    <a:pt x="392" y="824"/>
                  </a:lnTo>
                  <a:lnTo>
                    <a:pt x="447" y="881"/>
                  </a:lnTo>
                  <a:lnTo>
                    <a:pt x="442" y="890"/>
                  </a:lnTo>
                  <a:lnTo>
                    <a:pt x="451" y="923"/>
                  </a:lnTo>
                  <a:lnTo>
                    <a:pt x="468" y="918"/>
                  </a:lnTo>
                  <a:lnTo>
                    <a:pt x="468" y="918"/>
                  </a:lnTo>
                  <a:lnTo>
                    <a:pt x="468" y="940"/>
                  </a:lnTo>
                  <a:lnTo>
                    <a:pt x="451" y="947"/>
                  </a:lnTo>
                  <a:lnTo>
                    <a:pt x="447" y="996"/>
                  </a:lnTo>
                  <a:lnTo>
                    <a:pt x="442" y="996"/>
                  </a:lnTo>
                  <a:lnTo>
                    <a:pt x="425" y="1001"/>
                  </a:lnTo>
                  <a:lnTo>
                    <a:pt x="425" y="1018"/>
                  </a:lnTo>
                  <a:lnTo>
                    <a:pt x="430" y="1046"/>
                  </a:lnTo>
                  <a:lnTo>
                    <a:pt x="451" y="1072"/>
                  </a:lnTo>
                  <a:lnTo>
                    <a:pt x="480" y="1088"/>
                  </a:lnTo>
                  <a:lnTo>
                    <a:pt x="496" y="1112"/>
                  </a:lnTo>
                  <a:lnTo>
                    <a:pt x="496" y="1157"/>
                  </a:lnTo>
                  <a:lnTo>
                    <a:pt x="484" y="1157"/>
                  </a:lnTo>
                  <a:lnTo>
                    <a:pt x="484" y="1162"/>
                  </a:lnTo>
                  <a:lnTo>
                    <a:pt x="496" y="1183"/>
                  </a:lnTo>
                  <a:lnTo>
                    <a:pt x="506" y="1199"/>
                  </a:lnTo>
                  <a:lnTo>
                    <a:pt x="506" y="1216"/>
                  </a:lnTo>
                  <a:lnTo>
                    <a:pt x="522" y="1256"/>
                  </a:lnTo>
                  <a:lnTo>
                    <a:pt x="496" y="1311"/>
                  </a:lnTo>
                  <a:lnTo>
                    <a:pt x="463" y="1332"/>
                  </a:lnTo>
                  <a:lnTo>
                    <a:pt x="463" y="1348"/>
                  </a:lnTo>
                  <a:lnTo>
                    <a:pt x="463" y="1360"/>
                  </a:lnTo>
                  <a:lnTo>
                    <a:pt x="447" y="1388"/>
                  </a:lnTo>
                  <a:lnTo>
                    <a:pt x="442" y="1332"/>
                  </a:lnTo>
                  <a:lnTo>
                    <a:pt x="447" y="1332"/>
                  </a:lnTo>
                  <a:lnTo>
                    <a:pt x="451" y="1322"/>
                  </a:lnTo>
                  <a:lnTo>
                    <a:pt x="463" y="1266"/>
                  </a:lnTo>
                  <a:lnTo>
                    <a:pt x="468" y="1266"/>
                  </a:lnTo>
                  <a:lnTo>
                    <a:pt x="463" y="1256"/>
                  </a:lnTo>
                  <a:lnTo>
                    <a:pt x="451" y="1266"/>
                  </a:lnTo>
                  <a:lnTo>
                    <a:pt x="447" y="1256"/>
                  </a:lnTo>
                  <a:lnTo>
                    <a:pt x="451" y="1240"/>
                  </a:lnTo>
                  <a:lnTo>
                    <a:pt x="451" y="1223"/>
                  </a:lnTo>
                  <a:lnTo>
                    <a:pt x="451" y="1223"/>
                  </a:lnTo>
                  <a:lnTo>
                    <a:pt x="447" y="1223"/>
                  </a:lnTo>
                  <a:lnTo>
                    <a:pt x="451" y="1216"/>
                  </a:lnTo>
                  <a:lnTo>
                    <a:pt x="447" y="1211"/>
                  </a:lnTo>
                  <a:lnTo>
                    <a:pt x="451" y="1195"/>
                  </a:lnTo>
                  <a:lnTo>
                    <a:pt x="447" y="1157"/>
                  </a:lnTo>
                  <a:lnTo>
                    <a:pt x="430" y="1112"/>
                  </a:lnTo>
                  <a:lnTo>
                    <a:pt x="425" y="1088"/>
                  </a:lnTo>
                  <a:lnTo>
                    <a:pt x="413" y="1129"/>
                  </a:lnTo>
                  <a:lnTo>
                    <a:pt x="413" y="1084"/>
                  </a:lnTo>
                  <a:lnTo>
                    <a:pt x="392" y="1029"/>
                  </a:lnTo>
                  <a:lnTo>
                    <a:pt x="388" y="956"/>
                  </a:lnTo>
                  <a:lnTo>
                    <a:pt x="376" y="940"/>
                  </a:lnTo>
                  <a:lnTo>
                    <a:pt x="388" y="907"/>
                  </a:lnTo>
                  <a:lnTo>
                    <a:pt x="392" y="907"/>
                  </a:lnTo>
                  <a:lnTo>
                    <a:pt x="362" y="907"/>
                  </a:lnTo>
                  <a:lnTo>
                    <a:pt x="345" y="864"/>
                  </a:lnTo>
                  <a:lnTo>
                    <a:pt x="333" y="836"/>
                  </a:lnTo>
                  <a:lnTo>
                    <a:pt x="324" y="864"/>
                  </a:lnTo>
                  <a:lnTo>
                    <a:pt x="333" y="869"/>
                  </a:lnTo>
                  <a:lnTo>
                    <a:pt x="324" y="890"/>
                  </a:lnTo>
                  <a:lnTo>
                    <a:pt x="307" y="907"/>
                  </a:lnTo>
                  <a:lnTo>
                    <a:pt x="291" y="907"/>
                  </a:lnTo>
                  <a:lnTo>
                    <a:pt x="286" y="902"/>
                  </a:lnTo>
                  <a:lnTo>
                    <a:pt x="286" y="885"/>
                  </a:lnTo>
                  <a:lnTo>
                    <a:pt x="286" y="918"/>
                  </a:lnTo>
                  <a:lnTo>
                    <a:pt x="269" y="918"/>
                  </a:lnTo>
                  <a:lnTo>
                    <a:pt x="269" y="923"/>
                  </a:lnTo>
                  <a:lnTo>
                    <a:pt x="253" y="940"/>
                  </a:lnTo>
                  <a:lnTo>
                    <a:pt x="232" y="963"/>
                  </a:lnTo>
                  <a:lnTo>
                    <a:pt x="215" y="963"/>
                  </a:lnTo>
                  <a:lnTo>
                    <a:pt x="227" y="940"/>
                  </a:lnTo>
                  <a:lnTo>
                    <a:pt x="215" y="963"/>
                  </a:lnTo>
                  <a:lnTo>
                    <a:pt x="210" y="963"/>
                  </a:lnTo>
                  <a:lnTo>
                    <a:pt x="210" y="940"/>
                  </a:lnTo>
                  <a:lnTo>
                    <a:pt x="215" y="940"/>
                  </a:lnTo>
                  <a:lnTo>
                    <a:pt x="210" y="940"/>
                  </a:lnTo>
                  <a:lnTo>
                    <a:pt x="199" y="963"/>
                  </a:lnTo>
                  <a:lnTo>
                    <a:pt x="182" y="963"/>
                  </a:lnTo>
                  <a:lnTo>
                    <a:pt x="182" y="940"/>
                  </a:lnTo>
                  <a:lnTo>
                    <a:pt x="199" y="935"/>
                  </a:lnTo>
                  <a:lnTo>
                    <a:pt x="173" y="956"/>
                  </a:lnTo>
                  <a:lnTo>
                    <a:pt x="173" y="956"/>
                  </a:lnTo>
                  <a:lnTo>
                    <a:pt x="182" y="940"/>
                  </a:lnTo>
                  <a:lnTo>
                    <a:pt x="173" y="947"/>
                  </a:lnTo>
                  <a:lnTo>
                    <a:pt x="177" y="940"/>
                  </a:lnTo>
                  <a:lnTo>
                    <a:pt x="173" y="923"/>
                  </a:lnTo>
                  <a:lnTo>
                    <a:pt x="161" y="923"/>
                  </a:lnTo>
                  <a:lnTo>
                    <a:pt x="161" y="940"/>
                  </a:lnTo>
                  <a:lnTo>
                    <a:pt x="144" y="947"/>
                  </a:lnTo>
                  <a:lnTo>
                    <a:pt x="144" y="923"/>
                  </a:lnTo>
                  <a:lnTo>
                    <a:pt x="173" y="829"/>
                  </a:lnTo>
                  <a:lnTo>
                    <a:pt x="156" y="774"/>
                  </a:lnTo>
                  <a:lnTo>
                    <a:pt x="144" y="758"/>
                  </a:lnTo>
                  <a:lnTo>
                    <a:pt x="144" y="741"/>
                  </a:lnTo>
                  <a:lnTo>
                    <a:pt x="139" y="737"/>
                  </a:lnTo>
                  <a:lnTo>
                    <a:pt x="128" y="737"/>
                  </a:lnTo>
                  <a:lnTo>
                    <a:pt x="128" y="713"/>
                  </a:lnTo>
                  <a:lnTo>
                    <a:pt x="123" y="713"/>
                  </a:lnTo>
                  <a:lnTo>
                    <a:pt x="118" y="703"/>
                  </a:lnTo>
                  <a:lnTo>
                    <a:pt x="123" y="696"/>
                  </a:lnTo>
                  <a:lnTo>
                    <a:pt x="102" y="670"/>
                  </a:lnTo>
                  <a:lnTo>
                    <a:pt x="106" y="659"/>
                  </a:lnTo>
                  <a:lnTo>
                    <a:pt x="102" y="663"/>
                  </a:lnTo>
                  <a:lnTo>
                    <a:pt x="85" y="647"/>
                  </a:lnTo>
                  <a:lnTo>
                    <a:pt x="69" y="647"/>
                  </a:lnTo>
                  <a:lnTo>
                    <a:pt x="76" y="663"/>
                  </a:lnTo>
                  <a:lnTo>
                    <a:pt x="69" y="659"/>
                  </a:lnTo>
                  <a:lnTo>
                    <a:pt x="69" y="663"/>
                  </a:lnTo>
                  <a:lnTo>
                    <a:pt x="54" y="642"/>
                  </a:lnTo>
                  <a:lnTo>
                    <a:pt x="69" y="642"/>
                  </a:lnTo>
                  <a:lnTo>
                    <a:pt x="54" y="642"/>
                  </a:lnTo>
                  <a:lnTo>
                    <a:pt x="64" y="609"/>
                  </a:lnTo>
                  <a:lnTo>
                    <a:pt x="47" y="642"/>
                  </a:lnTo>
                  <a:lnTo>
                    <a:pt x="38" y="630"/>
                  </a:lnTo>
                  <a:lnTo>
                    <a:pt x="47" y="625"/>
                  </a:lnTo>
                  <a:lnTo>
                    <a:pt x="47" y="614"/>
                  </a:lnTo>
                  <a:lnTo>
                    <a:pt x="31" y="602"/>
                  </a:lnTo>
                  <a:lnTo>
                    <a:pt x="38" y="630"/>
                  </a:lnTo>
                  <a:lnTo>
                    <a:pt x="17" y="602"/>
                  </a:lnTo>
                  <a:lnTo>
                    <a:pt x="10" y="569"/>
                  </a:lnTo>
                  <a:lnTo>
                    <a:pt x="10" y="569"/>
                  </a:lnTo>
                  <a:lnTo>
                    <a:pt x="10" y="569"/>
                  </a:lnTo>
                  <a:close/>
                  <a:moveTo>
                    <a:pt x="123" y="696"/>
                  </a:moveTo>
                  <a:lnTo>
                    <a:pt x="118" y="703"/>
                  </a:lnTo>
                  <a:lnTo>
                    <a:pt x="102" y="687"/>
                  </a:lnTo>
                  <a:lnTo>
                    <a:pt x="106" y="687"/>
                  </a:lnTo>
                  <a:lnTo>
                    <a:pt x="123" y="696"/>
                  </a:lnTo>
                  <a:lnTo>
                    <a:pt x="123" y="696"/>
                  </a:lnTo>
                  <a:lnTo>
                    <a:pt x="123" y="696"/>
                  </a:lnTo>
                  <a:close/>
                  <a:moveTo>
                    <a:pt x="118" y="703"/>
                  </a:moveTo>
                  <a:lnTo>
                    <a:pt x="123" y="725"/>
                  </a:lnTo>
                  <a:lnTo>
                    <a:pt x="123" y="737"/>
                  </a:lnTo>
                  <a:lnTo>
                    <a:pt x="106" y="725"/>
                  </a:lnTo>
                  <a:lnTo>
                    <a:pt x="92" y="696"/>
                  </a:lnTo>
                  <a:lnTo>
                    <a:pt x="92" y="696"/>
                  </a:lnTo>
                  <a:lnTo>
                    <a:pt x="106" y="703"/>
                  </a:lnTo>
                  <a:lnTo>
                    <a:pt x="118" y="703"/>
                  </a:lnTo>
                  <a:lnTo>
                    <a:pt x="118" y="703"/>
                  </a:lnTo>
                  <a:lnTo>
                    <a:pt x="118" y="703"/>
                  </a:lnTo>
                  <a:close/>
                  <a:moveTo>
                    <a:pt x="102" y="737"/>
                  </a:moveTo>
                  <a:lnTo>
                    <a:pt x="106" y="737"/>
                  </a:lnTo>
                  <a:lnTo>
                    <a:pt x="106" y="753"/>
                  </a:lnTo>
                  <a:lnTo>
                    <a:pt x="92" y="737"/>
                  </a:lnTo>
                  <a:lnTo>
                    <a:pt x="102" y="737"/>
                  </a:lnTo>
                  <a:lnTo>
                    <a:pt x="102" y="737"/>
                  </a:lnTo>
                  <a:lnTo>
                    <a:pt x="102" y="737"/>
                  </a:lnTo>
                  <a:close/>
                  <a:moveTo>
                    <a:pt x="376" y="907"/>
                  </a:moveTo>
                  <a:lnTo>
                    <a:pt x="376" y="918"/>
                  </a:lnTo>
                  <a:lnTo>
                    <a:pt x="376" y="935"/>
                  </a:lnTo>
                  <a:lnTo>
                    <a:pt x="371" y="923"/>
                  </a:lnTo>
                  <a:lnTo>
                    <a:pt x="376" y="907"/>
                  </a:lnTo>
                  <a:lnTo>
                    <a:pt x="376" y="907"/>
                  </a:lnTo>
                  <a:lnTo>
                    <a:pt x="376" y="907"/>
                  </a:lnTo>
                  <a:close/>
                  <a:moveTo>
                    <a:pt x="173" y="935"/>
                  </a:moveTo>
                  <a:lnTo>
                    <a:pt x="173" y="940"/>
                  </a:lnTo>
                  <a:lnTo>
                    <a:pt x="156" y="956"/>
                  </a:lnTo>
                  <a:lnTo>
                    <a:pt x="156" y="947"/>
                  </a:lnTo>
                  <a:lnTo>
                    <a:pt x="173" y="935"/>
                  </a:lnTo>
                  <a:lnTo>
                    <a:pt x="173" y="935"/>
                  </a:lnTo>
                  <a:lnTo>
                    <a:pt x="173" y="935"/>
                  </a:lnTo>
                  <a:close/>
                  <a:moveTo>
                    <a:pt x="430" y="1216"/>
                  </a:moveTo>
                  <a:lnTo>
                    <a:pt x="430" y="1195"/>
                  </a:lnTo>
                  <a:lnTo>
                    <a:pt x="442" y="1195"/>
                  </a:lnTo>
                  <a:lnTo>
                    <a:pt x="442" y="1211"/>
                  </a:lnTo>
                  <a:lnTo>
                    <a:pt x="430" y="1216"/>
                  </a:lnTo>
                  <a:lnTo>
                    <a:pt x="430" y="1216"/>
                  </a:lnTo>
                  <a:lnTo>
                    <a:pt x="430" y="1216"/>
                  </a:lnTo>
                  <a:lnTo>
                    <a:pt x="430" y="1216"/>
                  </a:lnTo>
                  <a:close/>
                  <a:moveTo>
                    <a:pt x="409" y="1216"/>
                  </a:moveTo>
                  <a:lnTo>
                    <a:pt x="399" y="1216"/>
                  </a:lnTo>
                  <a:lnTo>
                    <a:pt x="413" y="1211"/>
                  </a:lnTo>
                  <a:lnTo>
                    <a:pt x="409" y="1216"/>
                  </a:lnTo>
                  <a:lnTo>
                    <a:pt x="409" y="1216"/>
                  </a:lnTo>
                  <a:lnTo>
                    <a:pt x="409" y="1216"/>
                  </a:lnTo>
                  <a:close/>
                  <a:moveTo>
                    <a:pt x="413" y="1223"/>
                  </a:moveTo>
                  <a:lnTo>
                    <a:pt x="409" y="1216"/>
                  </a:lnTo>
                  <a:lnTo>
                    <a:pt x="413" y="1216"/>
                  </a:lnTo>
                  <a:lnTo>
                    <a:pt x="413" y="1233"/>
                  </a:lnTo>
                  <a:lnTo>
                    <a:pt x="413" y="1223"/>
                  </a:lnTo>
                  <a:lnTo>
                    <a:pt x="413" y="1223"/>
                  </a:lnTo>
                  <a:lnTo>
                    <a:pt x="413" y="1223"/>
                  </a:lnTo>
                  <a:close/>
                  <a:moveTo>
                    <a:pt x="447" y="1240"/>
                  </a:moveTo>
                  <a:lnTo>
                    <a:pt x="451" y="1249"/>
                  </a:lnTo>
                  <a:lnTo>
                    <a:pt x="442" y="1249"/>
                  </a:lnTo>
                  <a:lnTo>
                    <a:pt x="442" y="1233"/>
                  </a:lnTo>
                  <a:lnTo>
                    <a:pt x="447" y="1240"/>
                  </a:lnTo>
                  <a:lnTo>
                    <a:pt x="447" y="1240"/>
                  </a:lnTo>
                  <a:lnTo>
                    <a:pt x="447" y="1240"/>
                  </a:lnTo>
                  <a:close/>
                  <a:moveTo>
                    <a:pt x="442" y="1273"/>
                  </a:moveTo>
                  <a:lnTo>
                    <a:pt x="430" y="1256"/>
                  </a:lnTo>
                  <a:lnTo>
                    <a:pt x="447" y="1256"/>
                  </a:lnTo>
                  <a:lnTo>
                    <a:pt x="447" y="1273"/>
                  </a:lnTo>
                  <a:lnTo>
                    <a:pt x="442" y="1273"/>
                  </a:lnTo>
                  <a:lnTo>
                    <a:pt x="442" y="1273"/>
                  </a:lnTo>
                  <a:lnTo>
                    <a:pt x="442" y="1273"/>
                  </a:lnTo>
                  <a:close/>
                  <a:moveTo>
                    <a:pt x="413" y="1277"/>
                  </a:moveTo>
                  <a:lnTo>
                    <a:pt x="430" y="1256"/>
                  </a:lnTo>
                  <a:lnTo>
                    <a:pt x="425" y="1277"/>
                  </a:lnTo>
                  <a:lnTo>
                    <a:pt x="413" y="1277"/>
                  </a:lnTo>
                  <a:lnTo>
                    <a:pt x="413" y="1277"/>
                  </a:lnTo>
                  <a:lnTo>
                    <a:pt x="413" y="1277"/>
                  </a:lnTo>
                  <a:close/>
                  <a:moveTo>
                    <a:pt x="442" y="1311"/>
                  </a:moveTo>
                  <a:lnTo>
                    <a:pt x="447" y="1306"/>
                  </a:lnTo>
                  <a:lnTo>
                    <a:pt x="447" y="1322"/>
                  </a:lnTo>
                  <a:lnTo>
                    <a:pt x="442" y="1311"/>
                  </a:lnTo>
                  <a:lnTo>
                    <a:pt x="442" y="1311"/>
                  </a:lnTo>
                  <a:lnTo>
                    <a:pt x="442" y="1311"/>
                  </a:lnTo>
                  <a:close/>
                  <a:moveTo>
                    <a:pt x="425" y="1332"/>
                  </a:moveTo>
                  <a:lnTo>
                    <a:pt x="425" y="1332"/>
                  </a:lnTo>
                  <a:lnTo>
                    <a:pt x="413" y="1322"/>
                  </a:lnTo>
                  <a:lnTo>
                    <a:pt x="413" y="1322"/>
                  </a:lnTo>
                  <a:lnTo>
                    <a:pt x="413" y="1311"/>
                  </a:lnTo>
                  <a:lnTo>
                    <a:pt x="425" y="1332"/>
                  </a:lnTo>
                  <a:lnTo>
                    <a:pt x="425" y="1332"/>
                  </a:lnTo>
                  <a:lnTo>
                    <a:pt x="425" y="1332"/>
                  </a:lnTo>
                  <a:close/>
                  <a:moveTo>
                    <a:pt x="399" y="1348"/>
                  </a:moveTo>
                  <a:lnTo>
                    <a:pt x="399" y="1360"/>
                  </a:lnTo>
                  <a:lnTo>
                    <a:pt x="399" y="1348"/>
                  </a:lnTo>
                  <a:lnTo>
                    <a:pt x="399" y="1348"/>
                  </a:lnTo>
                  <a:lnTo>
                    <a:pt x="399" y="1348"/>
                  </a:lnTo>
                  <a:lnTo>
                    <a:pt x="399" y="1348"/>
                  </a:lnTo>
                  <a:close/>
                  <a:moveTo>
                    <a:pt x="425" y="1384"/>
                  </a:moveTo>
                  <a:lnTo>
                    <a:pt x="413" y="1400"/>
                  </a:lnTo>
                  <a:lnTo>
                    <a:pt x="425" y="1384"/>
                  </a:lnTo>
                  <a:lnTo>
                    <a:pt x="425" y="1384"/>
                  </a:lnTo>
                  <a:lnTo>
                    <a:pt x="425" y="1384"/>
                  </a:lnTo>
                  <a:lnTo>
                    <a:pt x="425" y="138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1" name="Freeform 400">
              <a:extLst>
                <a:ext uri="{FF2B5EF4-FFF2-40B4-BE49-F238E27FC236}">
                  <a16:creationId xmlns:a16="http://schemas.microsoft.com/office/drawing/2014/main" id="{85D68A25-FAD1-430F-AA40-A07BA1DAD6A2}"/>
                </a:ext>
              </a:extLst>
            </p:cNvPr>
            <p:cNvSpPr>
              <a:spLocks/>
            </p:cNvSpPr>
            <p:nvPr/>
          </p:nvSpPr>
          <p:spPr bwMode="gray">
            <a:xfrm>
              <a:off x="13762167" y="3820821"/>
              <a:ext cx="71023" cy="145974"/>
            </a:xfrm>
            <a:custGeom>
              <a:avLst/>
              <a:gdLst>
                <a:gd name="T0" fmla="*/ 59 w 217"/>
                <a:gd name="T1" fmla="*/ 446 h 446"/>
                <a:gd name="T2" fmla="*/ 71 w 217"/>
                <a:gd name="T3" fmla="*/ 441 h 446"/>
                <a:gd name="T4" fmla="*/ 55 w 217"/>
                <a:gd name="T5" fmla="*/ 413 h 446"/>
                <a:gd name="T6" fmla="*/ 55 w 217"/>
                <a:gd name="T7" fmla="*/ 392 h 446"/>
                <a:gd name="T8" fmla="*/ 59 w 217"/>
                <a:gd name="T9" fmla="*/ 392 h 446"/>
                <a:gd name="T10" fmla="*/ 59 w 217"/>
                <a:gd name="T11" fmla="*/ 354 h 446"/>
                <a:gd name="T12" fmla="*/ 59 w 217"/>
                <a:gd name="T13" fmla="*/ 243 h 446"/>
                <a:gd name="T14" fmla="*/ 38 w 217"/>
                <a:gd name="T15" fmla="*/ 210 h 446"/>
                <a:gd name="T16" fmla="*/ 38 w 217"/>
                <a:gd name="T17" fmla="*/ 172 h 446"/>
                <a:gd name="T18" fmla="*/ 0 w 217"/>
                <a:gd name="T19" fmla="*/ 148 h 446"/>
                <a:gd name="T20" fmla="*/ 5 w 217"/>
                <a:gd name="T21" fmla="*/ 99 h 446"/>
                <a:gd name="T22" fmla="*/ 26 w 217"/>
                <a:gd name="T23" fmla="*/ 82 h 446"/>
                <a:gd name="T24" fmla="*/ 38 w 217"/>
                <a:gd name="T25" fmla="*/ 78 h 446"/>
                <a:gd name="T26" fmla="*/ 43 w 217"/>
                <a:gd name="T27" fmla="*/ 66 h 446"/>
                <a:gd name="T28" fmla="*/ 59 w 217"/>
                <a:gd name="T29" fmla="*/ 78 h 446"/>
                <a:gd name="T30" fmla="*/ 80 w 217"/>
                <a:gd name="T31" fmla="*/ 66 h 446"/>
                <a:gd name="T32" fmla="*/ 109 w 217"/>
                <a:gd name="T33" fmla="*/ 56 h 446"/>
                <a:gd name="T34" fmla="*/ 114 w 217"/>
                <a:gd name="T35" fmla="*/ 40 h 446"/>
                <a:gd name="T36" fmla="*/ 114 w 217"/>
                <a:gd name="T37" fmla="*/ 11 h 446"/>
                <a:gd name="T38" fmla="*/ 147 w 217"/>
                <a:gd name="T39" fmla="*/ 0 h 446"/>
                <a:gd name="T40" fmla="*/ 201 w 217"/>
                <a:gd name="T41" fmla="*/ 56 h 446"/>
                <a:gd name="T42" fmla="*/ 192 w 217"/>
                <a:gd name="T43" fmla="*/ 66 h 446"/>
                <a:gd name="T44" fmla="*/ 208 w 217"/>
                <a:gd name="T45" fmla="*/ 94 h 446"/>
                <a:gd name="T46" fmla="*/ 208 w 217"/>
                <a:gd name="T47" fmla="*/ 115 h 446"/>
                <a:gd name="T48" fmla="*/ 217 w 217"/>
                <a:gd name="T49" fmla="*/ 132 h 446"/>
                <a:gd name="T50" fmla="*/ 217 w 217"/>
                <a:gd name="T51" fmla="*/ 148 h 446"/>
                <a:gd name="T52" fmla="*/ 208 w 217"/>
                <a:gd name="T53" fmla="*/ 139 h 446"/>
                <a:gd name="T54" fmla="*/ 201 w 217"/>
                <a:gd name="T55" fmla="*/ 156 h 446"/>
                <a:gd name="T56" fmla="*/ 208 w 217"/>
                <a:gd name="T57" fmla="*/ 165 h 446"/>
                <a:gd name="T58" fmla="*/ 201 w 217"/>
                <a:gd name="T59" fmla="*/ 177 h 446"/>
                <a:gd name="T60" fmla="*/ 180 w 217"/>
                <a:gd name="T61" fmla="*/ 189 h 446"/>
                <a:gd name="T62" fmla="*/ 184 w 217"/>
                <a:gd name="T63" fmla="*/ 193 h 446"/>
                <a:gd name="T64" fmla="*/ 168 w 217"/>
                <a:gd name="T65" fmla="*/ 222 h 446"/>
                <a:gd name="T66" fmla="*/ 163 w 217"/>
                <a:gd name="T67" fmla="*/ 243 h 446"/>
                <a:gd name="T68" fmla="*/ 137 w 217"/>
                <a:gd name="T69" fmla="*/ 243 h 446"/>
                <a:gd name="T70" fmla="*/ 130 w 217"/>
                <a:gd name="T71" fmla="*/ 330 h 446"/>
                <a:gd name="T72" fmla="*/ 137 w 217"/>
                <a:gd name="T73" fmla="*/ 387 h 446"/>
                <a:gd name="T74" fmla="*/ 137 w 217"/>
                <a:gd name="T75" fmla="*/ 441 h 446"/>
                <a:gd name="T76" fmla="*/ 59 w 217"/>
                <a:gd name="T77" fmla="*/ 446 h 446"/>
                <a:gd name="T78" fmla="*/ 59 w 217"/>
                <a:gd name="T79" fmla="*/ 446 h 446"/>
                <a:gd name="T80" fmla="*/ 59 w 217"/>
                <a:gd name="T81"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7" h="446">
                  <a:moveTo>
                    <a:pt x="59" y="446"/>
                  </a:moveTo>
                  <a:lnTo>
                    <a:pt x="71" y="441"/>
                  </a:lnTo>
                  <a:lnTo>
                    <a:pt x="55" y="413"/>
                  </a:lnTo>
                  <a:lnTo>
                    <a:pt x="55" y="392"/>
                  </a:lnTo>
                  <a:lnTo>
                    <a:pt x="59" y="392"/>
                  </a:lnTo>
                  <a:lnTo>
                    <a:pt x="59" y="354"/>
                  </a:lnTo>
                  <a:lnTo>
                    <a:pt x="59" y="243"/>
                  </a:lnTo>
                  <a:lnTo>
                    <a:pt x="38" y="210"/>
                  </a:lnTo>
                  <a:lnTo>
                    <a:pt x="38" y="172"/>
                  </a:lnTo>
                  <a:lnTo>
                    <a:pt x="0" y="148"/>
                  </a:lnTo>
                  <a:lnTo>
                    <a:pt x="5" y="99"/>
                  </a:lnTo>
                  <a:lnTo>
                    <a:pt x="26" y="82"/>
                  </a:lnTo>
                  <a:lnTo>
                    <a:pt x="38" y="78"/>
                  </a:lnTo>
                  <a:lnTo>
                    <a:pt x="43" y="66"/>
                  </a:lnTo>
                  <a:lnTo>
                    <a:pt x="59" y="78"/>
                  </a:lnTo>
                  <a:lnTo>
                    <a:pt x="80" y="66"/>
                  </a:lnTo>
                  <a:lnTo>
                    <a:pt x="109" y="56"/>
                  </a:lnTo>
                  <a:lnTo>
                    <a:pt x="114" y="40"/>
                  </a:lnTo>
                  <a:lnTo>
                    <a:pt x="114" y="11"/>
                  </a:lnTo>
                  <a:lnTo>
                    <a:pt x="147" y="0"/>
                  </a:lnTo>
                  <a:lnTo>
                    <a:pt x="201" y="56"/>
                  </a:lnTo>
                  <a:lnTo>
                    <a:pt x="192" y="66"/>
                  </a:lnTo>
                  <a:lnTo>
                    <a:pt x="208" y="94"/>
                  </a:lnTo>
                  <a:lnTo>
                    <a:pt x="208" y="115"/>
                  </a:lnTo>
                  <a:lnTo>
                    <a:pt x="217" y="132"/>
                  </a:lnTo>
                  <a:lnTo>
                    <a:pt x="217" y="148"/>
                  </a:lnTo>
                  <a:lnTo>
                    <a:pt x="208" y="139"/>
                  </a:lnTo>
                  <a:lnTo>
                    <a:pt x="201" y="156"/>
                  </a:lnTo>
                  <a:lnTo>
                    <a:pt x="208" y="165"/>
                  </a:lnTo>
                  <a:lnTo>
                    <a:pt x="201" y="177"/>
                  </a:lnTo>
                  <a:lnTo>
                    <a:pt x="180" y="189"/>
                  </a:lnTo>
                  <a:lnTo>
                    <a:pt x="184" y="193"/>
                  </a:lnTo>
                  <a:lnTo>
                    <a:pt x="168" y="222"/>
                  </a:lnTo>
                  <a:lnTo>
                    <a:pt x="163" y="243"/>
                  </a:lnTo>
                  <a:lnTo>
                    <a:pt x="137" y="243"/>
                  </a:lnTo>
                  <a:lnTo>
                    <a:pt x="130" y="330"/>
                  </a:lnTo>
                  <a:lnTo>
                    <a:pt x="137" y="387"/>
                  </a:lnTo>
                  <a:lnTo>
                    <a:pt x="137" y="441"/>
                  </a:lnTo>
                  <a:lnTo>
                    <a:pt x="59" y="446"/>
                  </a:lnTo>
                  <a:lnTo>
                    <a:pt x="59" y="446"/>
                  </a:lnTo>
                  <a:lnTo>
                    <a:pt x="59" y="44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2" name="Freeform 401">
              <a:extLst>
                <a:ext uri="{FF2B5EF4-FFF2-40B4-BE49-F238E27FC236}">
                  <a16:creationId xmlns:a16="http://schemas.microsoft.com/office/drawing/2014/main" id="{FE40FDD0-58D8-4E74-A4BB-1B95CFE1A64E}"/>
                </a:ext>
              </a:extLst>
            </p:cNvPr>
            <p:cNvSpPr>
              <a:spLocks/>
            </p:cNvSpPr>
            <p:nvPr/>
          </p:nvSpPr>
          <p:spPr bwMode="gray">
            <a:xfrm>
              <a:off x="14276350" y="2630116"/>
              <a:ext cx="221907" cy="156775"/>
            </a:xfrm>
            <a:custGeom>
              <a:avLst/>
              <a:gdLst>
                <a:gd name="T0" fmla="*/ 26 w 678"/>
                <a:gd name="T1" fmla="*/ 442 h 479"/>
                <a:gd name="T2" fmla="*/ 0 w 678"/>
                <a:gd name="T3" fmla="*/ 376 h 479"/>
                <a:gd name="T4" fmla="*/ 52 w 678"/>
                <a:gd name="T5" fmla="*/ 338 h 479"/>
                <a:gd name="T6" fmla="*/ 26 w 678"/>
                <a:gd name="T7" fmla="*/ 220 h 479"/>
                <a:gd name="T8" fmla="*/ 85 w 678"/>
                <a:gd name="T9" fmla="*/ 227 h 479"/>
                <a:gd name="T10" fmla="*/ 118 w 678"/>
                <a:gd name="T11" fmla="*/ 220 h 479"/>
                <a:gd name="T12" fmla="*/ 135 w 678"/>
                <a:gd name="T13" fmla="*/ 203 h 479"/>
                <a:gd name="T14" fmla="*/ 172 w 678"/>
                <a:gd name="T15" fmla="*/ 187 h 479"/>
                <a:gd name="T16" fmla="*/ 177 w 678"/>
                <a:gd name="T17" fmla="*/ 194 h 479"/>
                <a:gd name="T18" fmla="*/ 161 w 678"/>
                <a:gd name="T19" fmla="*/ 177 h 479"/>
                <a:gd name="T20" fmla="*/ 177 w 678"/>
                <a:gd name="T21" fmla="*/ 120 h 479"/>
                <a:gd name="T22" fmla="*/ 215 w 678"/>
                <a:gd name="T23" fmla="*/ 99 h 479"/>
                <a:gd name="T24" fmla="*/ 253 w 678"/>
                <a:gd name="T25" fmla="*/ 83 h 479"/>
                <a:gd name="T26" fmla="*/ 243 w 678"/>
                <a:gd name="T27" fmla="*/ 45 h 479"/>
                <a:gd name="T28" fmla="*/ 265 w 678"/>
                <a:gd name="T29" fmla="*/ 28 h 479"/>
                <a:gd name="T30" fmla="*/ 307 w 678"/>
                <a:gd name="T31" fmla="*/ 21 h 479"/>
                <a:gd name="T32" fmla="*/ 352 w 678"/>
                <a:gd name="T33" fmla="*/ 0 h 479"/>
                <a:gd name="T34" fmla="*/ 378 w 678"/>
                <a:gd name="T35" fmla="*/ 5 h 479"/>
                <a:gd name="T36" fmla="*/ 411 w 678"/>
                <a:gd name="T37" fmla="*/ 12 h 479"/>
                <a:gd name="T38" fmla="*/ 444 w 678"/>
                <a:gd name="T39" fmla="*/ 21 h 479"/>
                <a:gd name="T40" fmla="*/ 444 w 678"/>
                <a:gd name="T41" fmla="*/ 45 h 479"/>
                <a:gd name="T42" fmla="*/ 498 w 678"/>
                <a:gd name="T43" fmla="*/ 28 h 479"/>
                <a:gd name="T44" fmla="*/ 536 w 678"/>
                <a:gd name="T45" fmla="*/ 54 h 479"/>
                <a:gd name="T46" fmla="*/ 541 w 678"/>
                <a:gd name="T47" fmla="*/ 78 h 479"/>
                <a:gd name="T48" fmla="*/ 553 w 678"/>
                <a:gd name="T49" fmla="*/ 111 h 479"/>
                <a:gd name="T50" fmla="*/ 557 w 678"/>
                <a:gd name="T51" fmla="*/ 149 h 479"/>
                <a:gd name="T52" fmla="*/ 569 w 678"/>
                <a:gd name="T53" fmla="*/ 170 h 479"/>
                <a:gd name="T54" fmla="*/ 612 w 678"/>
                <a:gd name="T55" fmla="*/ 203 h 479"/>
                <a:gd name="T56" fmla="*/ 628 w 678"/>
                <a:gd name="T57" fmla="*/ 231 h 479"/>
                <a:gd name="T58" fmla="*/ 661 w 678"/>
                <a:gd name="T59" fmla="*/ 243 h 479"/>
                <a:gd name="T60" fmla="*/ 650 w 678"/>
                <a:gd name="T61" fmla="*/ 260 h 479"/>
                <a:gd name="T62" fmla="*/ 666 w 678"/>
                <a:gd name="T63" fmla="*/ 276 h 479"/>
                <a:gd name="T64" fmla="*/ 579 w 678"/>
                <a:gd name="T65" fmla="*/ 288 h 479"/>
                <a:gd name="T66" fmla="*/ 591 w 678"/>
                <a:gd name="T67" fmla="*/ 331 h 479"/>
                <a:gd name="T68" fmla="*/ 591 w 678"/>
                <a:gd name="T69" fmla="*/ 354 h 479"/>
                <a:gd name="T70" fmla="*/ 607 w 678"/>
                <a:gd name="T71" fmla="*/ 397 h 479"/>
                <a:gd name="T72" fmla="*/ 541 w 678"/>
                <a:gd name="T73" fmla="*/ 409 h 479"/>
                <a:gd name="T74" fmla="*/ 520 w 678"/>
                <a:gd name="T75" fmla="*/ 442 h 479"/>
                <a:gd name="T76" fmla="*/ 520 w 678"/>
                <a:gd name="T77" fmla="*/ 479 h 479"/>
                <a:gd name="T78" fmla="*/ 465 w 678"/>
                <a:gd name="T79" fmla="*/ 463 h 479"/>
                <a:gd name="T80" fmla="*/ 432 w 678"/>
                <a:gd name="T81" fmla="*/ 463 h 479"/>
                <a:gd name="T82" fmla="*/ 395 w 678"/>
                <a:gd name="T83" fmla="*/ 446 h 479"/>
                <a:gd name="T84" fmla="*/ 378 w 678"/>
                <a:gd name="T85" fmla="*/ 446 h 479"/>
                <a:gd name="T86" fmla="*/ 357 w 678"/>
                <a:gd name="T87" fmla="*/ 442 h 479"/>
                <a:gd name="T88" fmla="*/ 324 w 678"/>
                <a:gd name="T89" fmla="*/ 442 h 479"/>
                <a:gd name="T90" fmla="*/ 319 w 678"/>
                <a:gd name="T91" fmla="*/ 453 h 479"/>
                <a:gd name="T92" fmla="*/ 286 w 678"/>
                <a:gd name="T93" fmla="*/ 446 h 479"/>
                <a:gd name="T94" fmla="*/ 177 w 678"/>
                <a:gd name="T95" fmla="*/ 413 h 479"/>
                <a:gd name="T96" fmla="*/ 64 w 678"/>
                <a:gd name="T97" fmla="*/ 446 h 479"/>
                <a:gd name="T98" fmla="*/ 31 w 678"/>
                <a:gd name="T99" fmla="*/ 453 h 479"/>
                <a:gd name="T100" fmla="*/ 31 w 678"/>
                <a:gd name="T101" fmla="*/ 45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8" h="479">
                  <a:moveTo>
                    <a:pt x="31" y="453"/>
                  </a:moveTo>
                  <a:lnTo>
                    <a:pt x="26" y="442"/>
                  </a:lnTo>
                  <a:lnTo>
                    <a:pt x="31" y="397"/>
                  </a:lnTo>
                  <a:lnTo>
                    <a:pt x="0" y="376"/>
                  </a:lnTo>
                  <a:lnTo>
                    <a:pt x="14" y="359"/>
                  </a:lnTo>
                  <a:lnTo>
                    <a:pt x="52" y="338"/>
                  </a:lnTo>
                  <a:lnTo>
                    <a:pt x="52" y="305"/>
                  </a:lnTo>
                  <a:lnTo>
                    <a:pt x="26" y="220"/>
                  </a:lnTo>
                  <a:lnTo>
                    <a:pt x="69" y="220"/>
                  </a:lnTo>
                  <a:lnTo>
                    <a:pt x="85" y="227"/>
                  </a:lnTo>
                  <a:lnTo>
                    <a:pt x="102" y="210"/>
                  </a:lnTo>
                  <a:lnTo>
                    <a:pt x="118" y="220"/>
                  </a:lnTo>
                  <a:lnTo>
                    <a:pt x="118" y="194"/>
                  </a:lnTo>
                  <a:lnTo>
                    <a:pt x="135" y="203"/>
                  </a:lnTo>
                  <a:lnTo>
                    <a:pt x="161" y="177"/>
                  </a:lnTo>
                  <a:lnTo>
                    <a:pt x="172" y="187"/>
                  </a:lnTo>
                  <a:lnTo>
                    <a:pt x="161" y="194"/>
                  </a:lnTo>
                  <a:lnTo>
                    <a:pt x="177" y="194"/>
                  </a:lnTo>
                  <a:lnTo>
                    <a:pt x="177" y="177"/>
                  </a:lnTo>
                  <a:lnTo>
                    <a:pt x="161" y="177"/>
                  </a:lnTo>
                  <a:lnTo>
                    <a:pt x="177" y="153"/>
                  </a:lnTo>
                  <a:lnTo>
                    <a:pt x="177" y="120"/>
                  </a:lnTo>
                  <a:lnTo>
                    <a:pt x="210" y="116"/>
                  </a:lnTo>
                  <a:lnTo>
                    <a:pt x="215" y="99"/>
                  </a:lnTo>
                  <a:lnTo>
                    <a:pt x="232" y="99"/>
                  </a:lnTo>
                  <a:lnTo>
                    <a:pt x="253" y="83"/>
                  </a:lnTo>
                  <a:lnTo>
                    <a:pt x="232" y="78"/>
                  </a:lnTo>
                  <a:lnTo>
                    <a:pt x="243" y="45"/>
                  </a:lnTo>
                  <a:lnTo>
                    <a:pt x="253" y="45"/>
                  </a:lnTo>
                  <a:lnTo>
                    <a:pt x="265" y="28"/>
                  </a:lnTo>
                  <a:lnTo>
                    <a:pt x="307" y="38"/>
                  </a:lnTo>
                  <a:lnTo>
                    <a:pt x="307" y="21"/>
                  </a:lnTo>
                  <a:lnTo>
                    <a:pt x="335" y="0"/>
                  </a:lnTo>
                  <a:lnTo>
                    <a:pt x="352" y="0"/>
                  </a:lnTo>
                  <a:lnTo>
                    <a:pt x="357" y="5"/>
                  </a:lnTo>
                  <a:lnTo>
                    <a:pt x="378" y="5"/>
                  </a:lnTo>
                  <a:lnTo>
                    <a:pt x="390" y="21"/>
                  </a:lnTo>
                  <a:lnTo>
                    <a:pt x="411" y="12"/>
                  </a:lnTo>
                  <a:lnTo>
                    <a:pt x="432" y="21"/>
                  </a:lnTo>
                  <a:lnTo>
                    <a:pt x="444" y="21"/>
                  </a:lnTo>
                  <a:lnTo>
                    <a:pt x="432" y="38"/>
                  </a:lnTo>
                  <a:lnTo>
                    <a:pt x="444" y="45"/>
                  </a:lnTo>
                  <a:lnTo>
                    <a:pt x="470" y="28"/>
                  </a:lnTo>
                  <a:lnTo>
                    <a:pt x="498" y="28"/>
                  </a:lnTo>
                  <a:lnTo>
                    <a:pt x="515" y="28"/>
                  </a:lnTo>
                  <a:lnTo>
                    <a:pt x="536" y="54"/>
                  </a:lnTo>
                  <a:lnTo>
                    <a:pt x="541" y="54"/>
                  </a:lnTo>
                  <a:lnTo>
                    <a:pt x="541" y="78"/>
                  </a:lnTo>
                  <a:lnTo>
                    <a:pt x="536" y="83"/>
                  </a:lnTo>
                  <a:lnTo>
                    <a:pt x="553" y="111"/>
                  </a:lnTo>
                  <a:lnTo>
                    <a:pt x="536" y="132"/>
                  </a:lnTo>
                  <a:lnTo>
                    <a:pt x="557" y="149"/>
                  </a:lnTo>
                  <a:lnTo>
                    <a:pt x="557" y="165"/>
                  </a:lnTo>
                  <a:lnTo>
                    <a:pt x="569" y="170"/>
                  </a:lnTo>
                  <a:lnTo>
                    <a:pt x="574" y="187"/>
                  </a:lnTo>
                  <a:lnTo>
                    <a:pt x="612" y="203"/>
                  </a:lnTo>
                  <a:lnTo>
                    <a:pt x="607" y="231"/>
                  </a:lnTo>
                  <a:lnTo>
                    <a:pt x="628" y="231"/>
                  </a:lnTo>
                  <a:lnTo>
                    <a:pt x="650" y="243"/>
                  </a:lnTo>
                  <a:lnTo>
                    <a:pt x="661" y="243"/>
                  </a:lnTo>
                  <a:lnTo>
                    <a:pt x="650" y="248"/>
                  </a:lnTo>
                  <a:lnTo>
                    <a:pt x="650" y="260"/>
                  </a:lnTo>
                  <a:lnTo>
                    <a:pt x="678" y="265"/>
                  </a:lnTo>
                  <a:lnTo>
                    <a:pt x="666" y="276"/>
                  </a:lnTo>
                  <a:lnTo>
                    <a:pt x="633" y="298"/>
                  </a:lnTo>
                  <a:lnTo>
                    <a:pt x="579" y="288"/>
                  </a:lnTo>
                  <a:lnTo>
                    <a:pt x="569" y="305"/>
                  </a:lnTo>
                  <a:lnTo>
                    <a:pt x="591" y="331"/>
                  </a:lnTo>
                  <a:lnTo>
                    <a:pt x="579" y="338"/>
                  </a:lnTo>
                  <a:lnTo>
                    <a:pt x="591" y="354"/>
                  </a:lnTo>
                  <a:lnTo>
                    <a:pt x="591" y="376"/>
                  </a:lnTo>
                  <a:lnTo>
                    <a:pt x="607" y="397"/>
                  </a:lnTo>
                  <a:lnTo>
                    <a:pt x="541" y="397"/>
                  </a:lnTo>
                  <a:lnTo>
                    <a:pt x="541" y="409"/>
                  </a:lnTo>
                  <a:lnTo>
                    <a:pt x="524" y="425"/>
                  </a:lnTo>
                  <a:lnTo>
                    <a:pt x="520" y="442"/>
                  </a:lnTo>
                  <a:lnTo>
                    <a:pt x="524" y="470"/>
                  </a:lnTo>
                  <a:lnTo>
                    <a:pt x="520" y="479"/>
                  </a:lnTo>
                  <a:lnTo>
                    <a:pt x="487" y="453"/>
                  </a:lnTo>
                  <a:lnTo>
                    <a:pt x="465" y="463"/>
                  </a:lnTo>
                  <a:lnTo>
                    <a:pt x="461" y="453"/>
                  </a:lnTo>
                  <a:lnTo>
                    <a:pt x="432" y="463"/>
                  </a:lnTo>
                  <a:lnTo>
                    <a:pt x="416" y="442"/>
                  </a:lnTo>
                  <a:lnTo>
                    <a:pt x="395" y="446"/>
                  </a:lnTo>
                  <a:lnTo>
                    <a:pt x="390" y="463"/>
                  </a:lnTo>
                  <a:lnTo>
                    <a:pt x="378" y="446"/>
                  </a:lnTo>
                  <a:lnTo>
                    <a:pt x="357" y="446"/>
                  </a:lnTo>
                  <a:lnTo>
                    <a:pt x="357" y="442"/>
                  </a:lnTo>
                  <a:lnTo>
                    <a:pt x="340" y="446"/>
                  </a:lnTo>
                  <a:lnTo>
                    <a:pt x="324" y="442"/>
                  </a:lnTo>
                  <a:lnTo>
                    <a:pt x="319" y="453"/>
                  </a:lnTo>
                  <a:lnTo>
                    <a:pt x="319" y="453"/>
                  </a:lnTo>
                  <a:lnTo>
                    <a:pt x="319" y="446"/>
                  </a:lnTo>
                  <a:lnTo>
                    <a:pt x="286" y="446"/>
                  </a:lnTo>
                  <a:lnTo>
                    <a:pt x="281" y="430"/>
                  </a:lnTo>
                  <a:lnTo>
                    <a:pt x="177" y="413"/>
                  </a:lnTo>
                  <a:lnTo>
                    <a:pt x="85" y="413"/>
                  </a:lnTo>
                  <a:lnTo>
                    <a:pt x="64" y="446"/>
                  </a:lnTo>
                  <a:lnTo>
                    <a:pt x="31" y="442"/>
                  </a:lnTo>
                  <a:lnTo>
                    <a:pt x="31" y="453"/>
                  </a:lnTo>
                  <a:lnTo>
                    <a:pt x="31" y="453"/>
                  </a:lnTo>
                  <a:lnTo>
                    <a:pt x="31" y="45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3" name="Freeform 402">
              <a:extLst>
                <a:ext uri="{FF2B5EF4-FFF2-40B4-BE49-F238E27FC236}">
                  <a16:creationId xmlns:a16="http://schemas.microsoft.com/office/drawing/2014/main" id="{BC3AA42D-4309-43E2-930D-7C90B3E4EA01}"/>
                </a:ext>
              </a:extLst>
            </p:cNvPr>
            <p:cNvSpPr>
              <a:spLocks noEditPoints="1"/>
            </p:cNvSpPr>
            <p:nvPr/>
          </p:nvSpPr>
          <p:spPr bwMode="gray">
            <a:xfrm>
              <a:off x="17313990" y="4270526"/>
              <a:ext cx="263474" cy="124700"/>
            </a:xfrm>
            <a:custGeom>
              <a:avLst/>
              <a:gdLst>
                <a:gd name="T0" fmla="*/ 80 w 805"/>
                <a:gd name="T1" fmla="*/ 0 h 381"/>
                <a:gd name="T2" fmla="*/ 135 w 805"/>
                <a:gd name="T3" fmla="*/ 55 h 381"/>
                <a:gd name="T4" fmla="*/ 12 w 805"/>
                <a:gd name="T5" fmla="*/ 33 h 381"/>
                <a:gd name="T6" fmla="*/ 17 w 805"/>
                <a:gd name="T7" fmla="*/ 38 h 381"/>
                <a:gd name="T8" fmla="*/ 12 w 805"/>
                <a:gd name="T9" fmla="*/ 55 h 381"/>
                <a:gd name="T10" fmla="*/ 156 w 805"/>
                <a:gd name="T11" fmla="*/ 67 h 381"/>
                <a:gd name="T12" fmla="*/ 156 w 805"/>
                <a:gd name="T13" fmla="*/ 67 h 381"/>
                <a:gd name="T14" fmla="*/ 210 w 805"/>
                <a:gd name="T15" fmla="*/ 67 h 381"/>
                <a:gd name="T16" fmla="*/ 302 w 805"/>
                <a:gd name="T17" fmla="*/ 128 h 381"/>
                <a:gd name="T18" fmla="*/ 302 w 805"/>
                <a:gd name="T19" fmla="*/ 137 h 381"/>
                <a:gd name="T20" fmla="*/ 92 w 805"/>
                <a:gd name="T21" fmla="*/ 83 h 381"/>
                <a:gd name="T22" fmla="*/ 118 w 805"/>
                <a:gd name="T23" fmla="*/ 111 h 381"/>
                <a:gd name="T24" fmla="*/ 118 w 805"/>
                <a:gd name="T25" fmla="*/ 111 h 381"/>
                <a:gd name="T26" fmla="*/ 146 w 805"/>
                <a:gd name="T27" fmla="*/ 137 h 381"/>
                <a:gd name="T28" fmla="*/ 118 w 805"/>
                <a:gd name="T29" fmla="*/ 121 h 381"/>
                <a:gd name="T30" fmla="*/ 146 w 805"/>
                <a:gd name="T31" fmla="*/ 121 h 381"/>
                <a:gd name="T32" fmla="*/ 163 w 805"/>
                <a:gd name="T33" fmla="*/ 145 h 381"/>
                <a:gd name="T34" fmla="*/ 118 w 805"/>
                <a:gd name="T35" fmla="*/ 111 h 381"/>
                <a:gd name="T36" fmla="*/ 406 w 805"/>
                <a:gd name="T37" fmla="*/ 182 h 381"/>
                <a:gd name="T38" fmla="*/ 364 w 805"/>
                <a:gd name="T39" fmla="*/ 137 h 381"/>
                <a:gd name="T40" fmla="*/ 378 w 805"/>
                <a:gd name="T41" fmla="*/ 161 h 381"/>
                <a:gd name="T42" fmla="*/ 406 w 805"/>
                <a:gd name="T43" fmla="*/ 182 h 381"/>
                <a:gd name="T44" fmla="*/ 298 w 805"/>
                <a:gd name="T45" fmla="*/ 145 h 381"/>
                <a:gd name="T46" fmla="*/ 118 w 805"/>
                <a:gd name="T47" fmla="*/ 145 h 381"/>
                <a:gd name="T48" fmla="*/ 135 w 805"/>
                <a:gd name="T49" fmla="*/ 149 h 381"/>
                <a:gd name="T50" fmla="*/ 180 w 805"/>
                <a:gd name="T51" fmla="*/ 137 h 381"/>
                <a:gd name="T52" fmla="*/ 172 w 805"/>
                <a:gd name="T53" fmla="*/ 161 h 381"/>
                <a:gd name="T54" fmla="*/ 189 w 805"/>
                <a:gd name="T55" fmla="*/ 161 h 381"/>
                <a:gd name="T56" fmla="*/ 135 w 805"/>
                <a:gd name="T57" fmla="*/ 149 h 381"/>
                <a:gd name="T58" fmla="*/ 146 w 805"/>
                <a:gd name="T59" fmla="*/ 161 h 381"/>
                <a:gd name="T60" fmla="*/ 248 w 805"/>
                <a:gd name="T61" fmla="*/ 182 h 381"/>
                <a:gd name="T62" fmla="*/ 319 w 805"/>
                <a:gd name="T63" fmla="*/ 178 h 381"/>
                <a:gd name="T64" fmla="*/ 335 w 805"/>
                <a:gd name="T65" fmla="*/ 182 h 381"/>
                <a:gd name="T66" fmla="*/ 335 w 805"/>
                <a:gd name="T67" fmla="*/ 182 h 381"/>
                <a:gd name="T68" fmla="*/ 364 w 805"/>
                <a:gd name="T69" fmla="*/ 239 h 381"/>
                <a:gd name="T70" fmla="*/ 286 w 805"/>
                <a:gd name="T71" fmla="*/ 199 h 381"/>
                <a:gd name="T72" fmla="*/ 373 w 805"/>
                <a:gd name="T73" fmla="*/ 232 h 381"/>
                <a:gd name="T74" fmla="*/ 411 w 805"/>
                <a:gd name="T75" fmla="*/ 222 h 381"/>
                <a:gd name="T76" fmla="*/ 428 w 805"/>
                <a:gd name="T77" fmla="*/ 232 h 381"/>
                <a:gd name="T78" fmla="*/ 482 w 805"/>
                <a:gd name="T79" fmla="*/ 310 h 381"/>
                <a:gd name="T80" fmla="*/ 406 w 805"/>
                <a:gd name="T81" fmla="*/ 272 h 381"/>
                <a:gd name="T82" fmla="*/ 470 w 805"/>
                <a:gd name="T83" fmla="*/ 305 h 381"/>
                <a:gd name="T84" fmla="*/ 720 w 805"/>
                <a:gd name="T85" fmla="*/ 305 h 381"/>
                <a:gd name="T86" fmla="*/ 730 w 805"/>
                <a:gd name="T87" fmla="*/ 310 h 381"/>
                <a:gd name="T88" fmla="*/ 775 w 805"/>
                <a:gd name="T89" fmla="*/ 343 h 381"/>
                <a:gd name="T90" fmla="*/ 352 w 805"/>
                <a:gd name="T91" fmla="*/ 381 h 381"/>
                <a:gd name="T92" fmla="*/ 352 w 805"/>
                <a:gd name="T93" fmla="*/ 381 h 381"/>
                <a:gd name="T94" fmla="*/ 805 w 805"/>
                <a:gd name="T95" fmla="*/ 364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05" h="381">
                  <a:moveTo>
                    <a:pt x="135" y="55"/>
                  </a:moveTo>
                  <a:lnTo>
                    <a:pt x="104" y="38"/>
                  </a:lnTo>
                  <a:lnTo>
                    <a:pt x="64" y="0"/>
                  </a:lnTo>
                  <a:lnTo>
                    <a:pt x="80" y="0"/>
                  </a:lnTo>
                  <a:lnTo>
                    <a:pt x="109" y="17"/>
                  </a:lnTo>
                  <a:lnTo>
                    <a:pt x="118" y="38"/>
                  </a:lnTo>
                  <a:lnTo>
                    <a:pt x="142" y="50"/>
                  </a:lnTo>
                  <a:lnTo>
                    <a:pt x="135" y="55"/>
                  </a:lnTo>
                  <a:lnTo>
                    <a:pt x="135" y="55"/>
                  </a:lnTo>
                  <a:lnTo>
                    <a:pt x="135" y="55"/>
                  </a:lnTo>
                  <a:close/>
                  <a:moveTo>
                    <a:pt x="17" y="38"/>
                  </a:moveTo>
                  <a:lnTo>
                    <a:pt x="12" y="33"/>
                  </a:lnTo>
                  <a:lnTo>
                    <a:pt x="17" y="26"/>
                  </a:lnTo>
                  <a:lnTo>
                    <a:pt x="26" y="33"/>
                  </a:lnTo>
                  <a:lnTo>
                    <a:pt x="17" y="38"/>
                  </a:lnTo>
                  <a:lnTo>
                    <a:pt x="17" y="38"/>
                  </a:lnTo>
                  <a:lnTo>
                    <a:pt x="17" y="38"/>
                  </a:lnTo>
                  <a:close/>
                  <a:moveTo>
                    <a:pt x="0" y="55"/>
                  </a:moveTo>
                  <a:lnTo>
                    <a:pt x="0" y="50"/>
                  </a:lnTo>
                  <a:lnTo>
                    <a:pt x="12" y="55"/>
                  </a:lnTo>
                  <a:lnTo>
                    <a:pt x="0" y="55"/>
                  </a:lnTo>
                  <a:lnTo>
                    <a:pt x="0" y="55"/>
                  </a:lnTo>
                  <a:lnTo>
                    <a:pt x="0" y="55"/>
                  </a:lnTo>
                  <a:close/>
                  <a:moveTo>
                    <a:pt x="156" y="67"/>
                  </a:moveTo>
                  <a:lnTo>
                    <a:pt x="156" y="55"/>
                  </a:lnTo>
                  <a:lnTo>
                    <a:pt x="156" y="67"/>
                  </a:lnTo>
                  <a:lnTo>
                    <a:pt x="156" y="67"/>
                  </a:lnTo>
                  <a:lnTo>
                    <a:pt x="156" y="67"/>
                  </a:lnTo>
                  <a:lnTo>
                    <a:pt x="156" y="67"/>
                  </a:lnTo>
                  <a:close/>
                  <a:moveTo>
                    <a:pt x="302" y="137"/>
                  </a:moveTo>
                  <a:lnTo>
                    <a:pt x="234" y="95"/>
                  </a:lnTo>
                  <a:lnTo>
                    <a:pt x="210" y="67"/>
                  </a:lnTo>
                  <a:lnTo>
                    <a:pt x="227" y="71"/>
                  </a:lnTo>
                  <a:lnTo>
                    <a:pt x="248" y="95"/>
                  </a:lnTo>
                  <a:lnTo>
                    <a:pt x="272" y="95"/>
                  </a:lnTo>
                  <a:lnTo>
                    <a:pt x="302" y="128"/>
                  </a:lnTo>
                  <a:lnTo>
                    <a:pt x="309" y="145"/>
                  </a:lnTo>
                  <a:lnTo>
                    <a:pt x="302" y="137"/>
                  </a:lnTo>
                  <a:lnTo>
                    <a:pt x="302" y="137"/>
                  </a:lnTo>
                  <a:lnTo>
                    <a:pt x="302" y="137"/>
                  </a:lnTo>
                  <a:close/>
                  <a:moveTo>
                    <a:pt x="87" y="95"/>
                  </a:moveTo>
                  <a:lnTo>
                    <a:pt x="71" y="83"/>
                  </a:lnTo>
                  <a:lnTo>
                    <a:pt x="71" y="71"/>
                  </a:lnTo>
                  <a:lnTo>
                    <a:pt x="92" y="83"/>
                  </a:lnTo>
                  <a:lnTo>
                    <a:pt x="87" y="95"/>
                  </a:lnTo>
                  <a:lnTo>
                    <a:pt x="87" y="95"/>
                  </a:lnTo>
                  <a:lnTo>
                    <a:pt x="87" y="95"/>
                  </a:lnTo>
                  <a:close/>
                  <a:moveTo>
                    <a:pt x="118" y="111"/>
                  </a:moveTo>
                  <a:lnTo>
                    <a:pt x="104" y="104"/>
                  </a:lnTo>
                  <a:lnTo>
                    <a:pt x="109" y="88"/>
                  </a:lnTo>
                  <a:lnTo>
                    <a:pt x="118" y="95"/>
                  </a:lnTo>
                  <a:lnTo>
                    <a:pt x="118" y="111"/>
                  </a:lnTo>
                  <a:lnTo>
                    <a:pt x="118" y="111"/>
                  </a:lnTo>
                  <a:lnTo>
                    <a:pt x="118" y="111"/>
                  </a:lnTo>
                  <a:close/>
                  <a:moveTo>
                    <a:pt x="163" y="145"/>
                  </a:moveTo>
                  <a:lnTo>
                    <a:pt x="146" y="137"/>
                  </a:lnTo>
                  <a:lnTo>
                    <a:pt x="142" y="121"/>
                  </a:lnTo>
                  <a:lnTo>
                    <a:pt x="146" y="128"/>
                  </a:lnTo>
                  <a:lnTo>
                    <a:pt x="142" y="121"/>
                  </a:lnTo>
                  <a:lnTo>
                    <a:pt x="118" y="121"/>
                  </a:lnTo>
                  <a:lnTo>
                    <a:pt x="118" y="121"/>
                  </a:lnTo>
                  <a:lnTo>
                    <a:pt x="135" y="95"/>
                  </a:lnTo>
                  <a:lnTo>
                    <a:pt x="146" y="104"/>
                  </a:lnTo>
                  <a:lnTo>
                    <a:pt x="146" y="121"/>
                  </a:lnTo>
                  <a:lnTo>
                    <a:pt x="156" y="121"/>
                  </a:lnTo>
                  <a:lnTo>
                    <a:pt x="172" y="137"/>
                  </a:lnTo>
                  <a:lnTo>
                    <a:pt x="163" y="145"/>
                  </a:lnTo>
                  <a:lnTo>
                    <a:pt x="163" y="145"/>
                  </a:lnTo>
                  <a:lnTo>
                    <a:pt x="163" y="145"/>
                  </a:lnTo>
                  <a:close/>
                  <a:moveTo>
                    <a:pt x="118" y="121"/>
                  </a:moveTo>
                  <a:lnTo>
                    <a:pt x="109" y="111"/>
                  </a:lnTo>
                  <a:lnTo>
                    <a:pt x="118" y="111"/>
                  </a:lnTo>
                  <a:lnTo>
                    <a:pt x="118" y="121"/>
                  </a:lnTo>
                  <a:lnTo>
                    <a:pt x="118" y="121"/>
                  </a:lnTo>
                  <a:lnTo>
                    <a:pt x="118" y="121"/>
                  </a:lnTo>
                  <a:close/>
                  <a:moveTo>
                    <a:pt x="406" y="182"/>
                  </a:moveTo>
                  <a:lnTo>
                    <a:pt x="411" y="215"/>
                  </a:lnTo>
                  <a:lnTo>
                    <a:pt x="373" y="178"/>
                  </a:lnTo>
                  <a:lnTo>
                    <a:pt x="364" y="145"/>
                  </a:lnTo>
                  <a:lnTo>
                    <a:pt x="364" y="137"/>
                  </a:lnTo>
                  <a:lnTo>
                    <a:pt x="357" y="128"/>
                  </a:lnTo>
                  <a:lnTo>
                    <a:pt x="373" y="128"/>
                  </a:lnTo>
                  <a:lnTo>
                    <a:pt x="390" y="145"/>
                  </a:lnTo>
                  <a:lnTo>
                    <a:pt x="378" y="161"/>
                  </a:lnTo>
                  <a:lnTo>
                    <a:pt x="394" y="166"/>
                  </a:lnTo>
                  <a:lnTo>
                    <a:pt x="406" y="182"/>
                  </a:lnTo>
                  <a:lnTo>
                    <a:pt x="406" y="182"/>
                  </a:lnTo>
                  <a:lnTo>
                    <a:pt x="406" y="182"/>
                  </a:lnTo>
                  <a:close/>
                  <a:moveTo>
                    <a:pt x="298" y="145"/>
                  </a:moveTo>
                  <a:lnTo>
                    <a:pt x="281" y="137"/>
                  </a:lnTo>
                  <a:lnTo>
                    <a:pt x="286" y="128"/>
                  </a:lnTo>
                  <a:lnTo>
                    <a:pt x="298" y="145"/>
                  </a:lnTo>
                  <a:lnTo>
                    <a:pt x="298" y="145"/>
                  </a:lnTo>
                  <a:lnTo>
                    <a:pt x="298" y="145"/>
                  </a:lnTo>
                  <a:close/>
                  <a:moveTo>
                    <a:pt x="135" y="149"/>
                  </a:moveTo>
                  <a:lnTo>
                    <a:pt x="118" y="145"/>
                  </a:lnTo>
                  <a:lnTo>
                    <a:pt x="135" y="128"/>
                  </a:lnTo>
                  <a:lnTo>
                    <a:pt x="135" y="149"/>
                  </a:lnTo>
                  <a:lnTo>
                    <a:pt x="135" y="149"/>
                  </a:lnTo>
                  <a:lnTo>
                    <a:pt x="135" y="149"/>
                  </a:lnTo>
                  <a:close/>
                  <a:moveTo>
                    <a:pt x="172" y="161"/>
                  </a:moveTo>
                  <a:lnTo>
                    <a:pt x="163" y="149"/>
                  </a:lnTo>
                  <a:lnTo>
                    <a:pt x="163" y="145"/>
                  </a:lnTo>
                  <a:lnTo>
                    <a:pt x="180" y="137"/>
                  </a:lnTo>
                  <a:lnTo>
                    <a:pt x="180" y="149"/>
                  </a:lnTo>
                  <a:lnTo>
                    <a:pt x="172" y="161"/>
                  </a:lnTo>
                  <a:lnTo>
                    <a:pt x="172" y="161"/>
                  </a:lnTo>
                  <a:lnTo>
                    <a:pt x="172" y="161"/>
                  </a:lnTo>
                  <a:close/>
                  <a:moveTo>
                    <a:pt x="189" y="161"/>
                  </a:moveTo>
                  <a:lnTo>
                    <a:pt x="189" y="149"/>
                  </a:lnTo>
                  <a:lnTo>
                    <a:pt x="194" y="161"/>
                  </a:lnTo>
                  <a:lnTo>
                    <a:pt x="189" y="161"/>
                  </a:lnTo>
                  <a:lnTo>
                    <a:pt x="189" y="161"/>
                  </a:lnTo>
                  <a:lnTo>
                    <a:pt x="189" y="161"/>
                  </a:lnTo>
                  <a:close/>
                  <a:moveTo>
                    <a:pt x="146" y="161"/>
                  </a:moveTo>
                  <a:lnTo>
                    <a:pt x="135" y="149"/>
                  </a:lnTo>
                  <a:lnTo>
                    <a:pt x="142" y="149"/>
                  </a:lnTo>
                  <a:lnTo>
                    <a:pt x="146" y="161"/>
                  </a:lnTo>
                  <a:lnTo>
                    <a:pt x="146" y="161"/>
                  </a:lnTo>
                  <a:lnTo>
                    <a:pt x="146" y="161"/>
                  </a:lnTo>
                  <a:close/>
                  <a:moveTo>
                    <a:pt x="248" y="182"/>
                  </a:moveTo>
                  <a:lnTo>
                    <a:pt x="248" y="178"/>
                  </a:lnTo>
                  <a:lnTo>
                    <a:pt x="255" y="178"/>
                  </a:lnTo>
                  <a:lnTo>
                    <a:pt x="248" y="182"/>
                  </a:lnTo>
                  <a:lnTo>
                    <a:pt x="248" y="182"/>
                  </a:lnTo>
                  <a:lnTo>
                    <a:pt x="248" y="182"/>
                  </a:lnTo>
                  <a:close/>
                  <a:moveTo>
                    <a:pt x="335" y="182"/>
                  </a:moveTo>
                  <a:lnTo>
                    <a:pt x="319" y="178"/>
                  </a:lnTo>
                  <a:lnTo>
                    <a:pt x="335" y="178"/>
                  </a:lnTo>
                  <a:lnTo>
                    <a:pt x="335" y="182"/>
                  </a:lnTo>
                  <a:lnTo>
                    <a:pt x="335" y="182"/>
                  </a:lnTo>
                  <a:lnTo>
                    <a:pt x="335" y="182"/>
                  </a:lnTo>
                  <a:close/>
                  <a:moveTo>
                    <a:pt x="335" y="182"/>
                  </a:moveTo>
                  <a:lnTo>
                    <a:pt x="335" y="178"/>
                  </a:lnTo>
                  <a:lnTo>
                    <a:pt x="340" y="182"/>
                  </a:lnTo>
                  <a:lnTo>
                    <a:pt x="335" y="182"/>
                  </a:lnTo>
                  <a:lnTo>
                    <a:pt x="335" y="182"/>
                  </a:lnTo>
                  <a:lnTo>
                    <a:pt x="335" y="182"/>
                  </a:lnTo>
                  <a:close/>
                  <a:moveTo>
                    <a:pt x="373" y="232"/>
                  </a:moveTo>
                  <a:lnTo>
                    <a:pt x="364" y="239"/>
                  </a:lnTo>
                  <a:lnTo>
                    <a:pt x="335" y="232"/>
                  </a:lnTo>
                  <a:lnTo>
                    <a:pt x="302" y="232"/>
                  </a:lnTo>
                  <a:lnTo>
                    <a:pt x="286" y="215"/>
                  </a:lnTo>
                  <a:lnTo>
                    <a:pt x="286" y="199"/>
                  </a:lnTo>
                  <a:lnTo>
                    <a:pt x="298" y="194"/>
                  </a:lnTo>
                  <a:lnTo>
                    <a:pt x="309" y="204"/>
                  </a:lnTo>
                  <a:lnTo>
                    <a:pt x="340" y="204"/>
                  </a:lnTo>
                  <a:lnTo>
                    <a:pt x="373" y="232"/>
                  </a:lnTo>
                  <a:lnTo>
                    <a:pt x="373" y="232"/>
                  </a:lnTo>
                  <a:lnTo>
                    <a:pt x="373" y="232"/>
                  </a:lnTo>
                  <a:close/>
                  <a:moveTo>
                    <a:pt x="428" y="232"/>
                  </a:moveTo>
                  <a:lnTo>
                    <a:pt x="411" y="222"/>
                  </a:lnTo>
                  <a:lnTo>
                    <a:pt x="411" y="199"/>
                  </a:lnTo>
                  <a:lnTo>
                    <a:pt x="428" y="215"/>
                  </a:lnTo>
                  <a:lnTo>
                    <a:pt x="428" y="232"/>
                  </a:lnTo>
                  <a:lnTo>
                    <a:pt x="428" y="232"/>
                  </a:lnTo>
                  <a:lnTo>
                    <a:pt x="428" y="232"/>
                  </a:lnTo>
                  <a:close/>
                  <a:moveTo>
                    <a:pt x="470" y="305"/>
                  </a:moveTo>
                  <a:lnTo>
                    <a:pt x="470" y="305"/>
                  </a:lnTo>
                  <a:lnTo>
                    <a:pt x="482" y="310"/>
                  </a:lnTo>
                  <a:lnTo>
                    <a:pt x="444" y="293"/>
                  </a:lnTo>
                  <a:lnTo>
                    <a:pt x="428" y="289"/>
                  </a:lnTo>
                  <a:lnTo>
                    <a:pt x="416" y="272"/>
                  </a:lnTo>
                  <a:lnTo>
                    <a:pt x="406" y="272"/>
                  </a:lnTo>
                  <a:lnTo>
                    <a:pt x="406" y="260"/>
                  </a:lnTo>
                  <a:lnTo>
                    <a:pt x="444" y="277"/>
                  </a:lnTo>
                  <a:lnTo>
                    <a:pt x="465" y="277"/>
                  </a:lnTo>
                  <a:lnTo>
                    <a:pt x="470" y="305"/>
                  </a:lnTo>
                  <a:lnTo>
                    <a:pt x="470" y="305"/>
                  </a:lnTo>
                  <a:lnTo>
                    <a:pt x="470" y="305"/>
                  </a:lnTo>
                  <a:close/>
                  <a:moveTo>
                    <a:pt x="730" y="310"/>
                  </a:moveTo>
                  <a:lnTo>
                    <a:pt x="720" y="305"/>
                  </a:lnTo>
                  <a:lnTo>
                    <a:pt x="720" y="305"/>
                  </a:lnTo>
                  <a:lnTo>
                    <a:pt x="754" y="293"/>
                  </a:lnTo>
                  <a:lnTo>
                    <a:pt x="730" y="310"/>
                  </a:lnTo>
                  <a:lnTo>
                    <a:pt x="730" y="310"/>
                  </a:lnTo>
                  <a:lnTo>
                    <a:pt x="730" y="310"/>
                  </a:lnTo>
                  <a:close/>
                  <a:moveTo>
                    <a:pt x="775" y="343"/>
                  </a:moveTo>
                  <a:lnTo>
                    <a:pt x="775" y="343"/>
                  </a:lnTo>
                  <a:lnTo>
                    <a:pt x="775" y="343"/>
                  </a:lnTo>
                  <a:lnTo>
                    <a:pt x="775" y="343"/>
                  </a:lnTo>
                  <a:lnTo>
                    <a:pt x="775" y="343"/>
                  </a:lnTo>
                  <a:lnTo>
                    <a:pt x="775" y="343"/>
                  </a:lnTo>
                  <a:close/>
                  <a:moveTo>
                    <a:pt x="352" y="381"/>
                  </a:moveTo>
                  <a:lnTo>
                    <a:pt x="309" y="359"/>
                  </a:lnTo>
                  <a:lnTo>
                    <a:pt x="352" y="364"/>
                  </a:lnTo>
                  <a:lnTo>
                    <a:pt x="352" y="381"/>
                  </a:lnTo>
                  <a:lnTo>
                    <a:pt x="352" y="381"/>
                  </a:lnTo>
                  <a:lnTo>
                    <a:pt x="352" y="381"/>
                  </a:lnTo>
                  <a:close/>
                  <a:moveTo>
                    <a:pt x="796" y="364"/>
                  </a:moveTo>
                  <a:lnTo>
                    <a:pt x="791" y="359"/>
                  </a:lnTo>
                  <a:lnTo>
                    <a:pt x="805" y="364"/>
                  </a:lnTo>
                  <a:lnTo>
                    <a:pt x="796" y="364"/>
                  </a:lnTo>
                  <a:lnTo>
                    <a:pt x="796" y="364"/>
                  </a:lnTo>
                  <a:lnTo>
                    <a:pt x="796" y="36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4" name="Freeform 403">
              <a:extLst>
                <a:ext uri="{FF2B5EF4-FFF2-40B4-BE49-F238E27FC236}">
                  <a16:creationId xmlns:a16="http://schemas.microsoft.com/office/drawing/2014/main" id="{7CD1C39A-DCDC-4687-8730-08A5AA24979A}"/>
                </a:ext>
              </a:extLst>
            </p:cNvPr>
            <p:cNvSpPr>
              <a:spLocks noEditPoints="1"/>
            </p:cNvSpPr>
            <p:nvPr/>
          </p:nvSpPr>
          <p:spPr bwMode="gray">
            <a:xfrm>
              <a:off x="12044187" y="3990688"/>
              <a:ext cx="901702" cy="949488"/>
            </a:xfrm>
            <a:custGeom>
              <a:avLst/>
              <a:gdLst>
                <a:gd name="T0" fmla="*/ 291 w 2755"/>
                <a:gd name="T1" fmla="*/ 255 h 2901"/>
                <a:gd name="T2" fmla="*/ 593 w 2755"/>
                <a:gd name="T3" fmla="*/ 312 h 2901"/>
                <a:gd name="T4" fmla="*/ 702 w 2755"/>
                <a:gd name="T5" fmla="*/ 201 h 2901"/>
                <a:gd name="T6" fmla="*/ 794 w 2755"/>
                <a:gd name="T7" fmla="*/ 90 h 2901"/>
                <a:gd name="T8" fmla="*/ 967 w 2755"/>
                <a:gd name="T9" fmla="*/ 0 h 2901"/>
                <a:gd name="T10" fmla="*/ 1009 w 2755"/>
                <a:gd name="T11" fmla="*/ 246 h 2901"/>
                <a:gd name="T12" fmla="*/ 1172 w 2755"/>
                <a:gd name="T13" fmla="*/ 239 h 2901"/>
                <a:gd name="T14" fmla="*/ 1366 w 2755"/>
                <a:gd name="T15" fmla="*/ 206 h 2901"/>
                <a:gd name="T16" fmla="*/ 1604 w 2755"/>
                <a:gd name="T17" fmla="*/ 95 h 2901"/>
                <a:gd name="T18" fmla="*/ 1600 w 2755"/>
                <a:gd name="T19" fmla="*/ 390 h 2901"/>
                <a:gd name="T20" fmla="*/ 1637 w 2755"/>
                <a:gd name="T21" fmla="*/ 506 h 2901"/>
                <a:gd name="T22" fmla="*/ 1637 w 2755"/>
                <a:gd name="T23" fmla="*/ 539 h 2901"/>
                <a:gd name="T24" fmla="*/ 1784 w 2755"/>
                <a:gd name="T25" fmla="*/ 485 h 2901"/>
                <a:gd name="T26" fmla="*/ 1869 w 2755"/>
                <a:gd name="T27" fmla="*/ 423 h 2901"/>
                <a:gd name="T28" fmla="*/ 1982 w 2755"/>
                <a:gd name="T29" fmla="*/ 461 h 2901"/>
                <a:gd name="T30" fmla="*/ 2063 w 2755"/>
                <a:gd name="T31" fmla="*/ 506 h 2901"/>
                <a:gd name="T32" fmla="*/ 2091 w 2755"/>
                <a:gd name="T33" fmla="*/ 577 h 2901"/>
                <a:gd name="T34" fmla="*/ 2301 w 2755"/>
                <a:gd name="T35" fmla="*/ 589 h 2901"/>
                <a:gd name="T36" fmla="*/ 2750 w 2755"/>
                <a:gd name="T37" fmla="*/ 884 h 2901"/>
                <a:gd name="T38" fmla="*/ 2594 w 2755"/>
                <a:gd name="T39" fmla="*/ 1172 h 2901"/>
                <a:gd name="T40" fmla="*/ 2469 w 2755"/>
                <a:gd name="T41" fmla="*/ 1309 h 2901"/>
                <a:gd name="T42" fmla="*/ 2448 w 2755"/>
                <a:gd name="T43" fmla="*/ 1625 h 2901"/>
                <a:gd name="T44" fmla="*/ 2322 w 2755"/>
                <a:gd name="T45" fmla="*/ 1937 h 2901"/>
                <a:gd name="T46" fmla="*/ 2117 w 2755"/>
                <a:gd name="T47" fmla="*/ 2053 h 2901"/>
                <a:gd name="T48" fmla="*/ 1944 w 2755"/>
                <a:gd name="T49" fmla="*/ 2143 h 2901"/>
                <a:gd name="T50" fmla="*/ 1777 w 2755"/>
                <a:gd name="T51" fmla="*/ 2287 h 2901"/>
                <a:gd name="T52" fmla="*/ 1767 w 2755"/>
                <a:gd name="T53" fmla="*/ 2476 h 2901"/>
                <a:gd name="T54" fmla="*/ 1600 w 2755"/>
                <a:gd name="T55" fmla="*/ 2719 h 2901"/>
                <a:gd name="T56" fmla="*/ 1604 w 2755"/>
                <a:gd name="T57" fmla="*/ 2625 h 2901"/>
                <a:gd name="T58" fmla="*/ 1496 w 2755"/>
                <a:gd name="T59" fmla="*/ 2851 h 2901"/>
                <a:gd name="T60" fmla="*/ 1210 w 2755"/>
                <a:gd name="T61" fmla="*/ 2620 h 2901"/>
                <a:gd name="T62" fmla="*/ 1281 w 2755"/>
                <a:gd name="T63" fmla="*/ 2464 h 2901"/>
                <a:gd name="T64" fmla="*/ 1366 w 2755"/>
                <a:gd name="T65" fmla="*/ 2259 h 2901"/>
                <a:gd name="T66" fmla="*/ 1238 w 2755"/>
                <a:gd name="T67" fmla="*/ 1992 h 2901"/>
                <a:gd name="T68" fmla="*/ 1146 w 2755"/>
                <a:gd name="T69" fmla="*/ 1659 h 2901"/>
                <a:gd name="T70" fmla="*/ 858 w 2755"/>
                <a:gd name="T71" fmla="*/ 1366 h 2901"/>
                <a:gd name="T72" fmla="*/ 631 w 2755"/>
                <a:gd name="T73" fmla="*/ 1243 h 2901"/>
                <a:gd name="T74" fmla="*/ 471 w 2755"/>
                <a:gd name="T75" fmla="*/ 1127 h 2901"/>
                <a:gd name="T76" fmla="*/ 248 w 2755"/>
                <a:gd name="T77" fmla="*/ 1061 h 2901"/>
                <a:gd name="T78" fmla="*/ 17 w 2755"/>
                <a:gd name="T79" fmla="*/ 888 h 2901"/>
                <a:gd name="T80" fmla="*/ 286 w 2755"/>
                <a:gd name="T81" fmla="*/ 683 h 2901"/>
                <a:gd name="T82" fmla="*/ 1685 w 2755"/>
                <a:gd name="T83" fmla="*/ 312 h 2901"/>
                <a:gd name="T84" fmla="*/ 1685 w 2755"/>
                <a:gd name="T85" fmla="*/ 333 h 2901"/>
                <a:gd name="T86" fmla="*/ 1706 w 2755"/>
                <a:gd name="T87" fmla="*/ 357 h 2901"/>
                <a:gd name="T88" fmla="*/ 1706 w 2755"/>
                <a:gd name="T89" fmla="*/ 390 h 2901"/>
                <a:gd name="T90" fmla="*/ 1621 w 2755"/>
                <a:gd name="T91" fmla="*/ 383 h 2901"/>
                <a:gd name="T92" fmla="*/ 1637 w 2755"/>
                <a:gd name="T93" fmla="*/ 411 h 2901"/>
                <a:gd name="T94" fmla="*/ 1685 w 2755"/>
                <a:gd name="T95" fmla="*/ 501 h 2901"/>
                <a:gd name="T96" fmla="*/ 1621 w 2755"/>
                <a:gd name="T97" fmla="*/ 407 h 2901"/>
                <a:gd name="T98" fmla="*/ 1630 w 2755"/>
                <a:gd name="T99" fmla="*/ 407 h 2901"/>
                <a:gd name="T100" fmla="*/ 1550 w 2755"/>
                <a:gd name="T101" fmla="*/ 485 h 2901"/>
                <a:gd name="T102" fmla="*/ 1831 w 2755"/>
                <a:gd name="T103" fmla="*/ 428 h 2901"/>
                <a:gd name="T104" fmla="*/ 1928 w 2755"/>
                <a:gd name="T105" fmla="*/ 449 h 2901"/>
                <a:gd name="T106" fmla="*/ 2037 w 2755"/>
                <a:gd name="T107" fmla="*/ 468 h 2901"/>
                <a:gd name="T108" fmla="*/ 1529 w 2755"/>
                <a:gd name="T109" fmla="*/ 501 h 2901"/>
                <a:gd name="T110" fmla="*/ 1760 w 2755"/>
                <a:gd name="T111" fmla="*/ 506 h 2901"/>
                <a:gd name="T112" fmla="*/ 2247 w 2755"/>
                <a:gd name="T113" fmla="*/ 577 h 2901"/>
                <a:gd name="T114" fmla="*/ 2485 w 2755"/>
                <a:gd name="T115" fmla="*/ 1309 h 2901"/>
                <a:gd name="T116" fmla="*/ 2464 w 2755"/>
                <a:gd name="T117" fmla="*/ 1370 h 2901"/>
                <a:gd name="T118" fmla="*/ 2020 w 2755"/>
                <a:gd name="T119" fmla="*/ 2143 h 2901"/>
                <a:gd name="T120" fmla="*/ 1777 w 2755"/>
                <a:gd name="T121" fmla="*/ 2313 h 2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55" h="2901">
                  <a:moveTo>
                    <a:pt x="286" y="683"/>
                  </a:moveTo>
                  <a:lnTo>
                    <a:pt x="324" y="477"/>
                  </a:lnTo>
                  <a:lnTo>
                    <a:pt x="324" y="449"/>
                  </a:lnTo>
                  <a:lnTo>
                    <a:pt x="308" y="428"/>
                  </a:lnTo>
                  <a:lnTo>
                    <a:pt x="308" y="411"/>
                  </a:lnTo>
                  <a:lnTo>
                    <a:pt x="274" y="390"/>
                  </a:lnTo>
                  <a:lnTo>
                    <a:pt x="274" y="333"/>
                  </a:lnTo>
                  <a:lnTo>
                    <a:pt x="324" y="329"/>
                  </a:lnTo>
                  <a:lnTo>
                    <a:pt x="329" y="333"/>
                  </a:lnTo>
                  <a:lnTo>
                    <a:pt x="345" y="333"/>
                  </a:lnTo>
                  <a:lnTo>
                    <a:pt x="341" y="317"/>
                  </a:lnTo>
                  <a:lnTo>
                    <a:pt x="329" y="300"/>
                  </a:lnTo>
                  <a:lnTo>
                    <a:pt x="291" y="300"/>
                  </a:lnTo>
                  <a:lnTo>
                    <a:pt x="291" y="255"/>
                  </a:lnTo>
                  <a:lnTo>
                    <a:pt x="319" y="246"/>
                  </a:lnTo>
                  <a:lnTo>
                    <a:pt x="411" y="255"/>
                  </a:lnTo>
                  <a:lnTo>
                    <a:pt x="400" y="246"/>
                  </a:lnTo>
                  <a:lnTo>
                    <a:pt x="411" y="239"/>
                  </a:lnTo>
                  <a:lnTo>
                    <a:pt x="433" y="255"/>
                  </a:lnTo>
                  <a:lnTo>
                    <a:pt x="466" y="222"/>
                  </a:lnTo>
                  <a:lnTo>
                    <a:pt x="471" y="222"/>
                  </a:lnTo>
                  <a:lnTo>
                    <a:pt x="487" y="263"/>
                  </a:lnTo>
                  <a:lnTo>
                    <a:pt x="487" y="296"/>
                  </a:lnTo>
                  <a:lnTo>
                    <a:pt x="504" y="296"/>
                  </a:lnTo>
                  <a:lnTo>
                    <a:pt x="541" y="329"/>
                  </a:lnTo>
                  <a:lnTo>
                    <a:pt x="556" y="329"/>
                  </a:lnTo>
                  <a:lnTo>
                    <a:pt x="579" y="312"/>
                  </a:lnTo>
                  <a:lnTo>
                    <a:pt x="593" y="312"/>
                  </a:lnTo>
                  <a:lnTo>
                    <a:pt x="593" y="329"/>
                  </a:lnTo>
                  <a:lnTo>
                    <a:pt x="593" y="333"/>
                  </a:lnTo>
                  <a:lnTo>
                    <a:pt x="610" y="312"/>
                  </a:lnTo>
                  <a:lnTo>
                    <a:pt x="617" y="312"/>
                  </a:lnTo>
                  <a:lnTo>
                    <a:pt x="626" y="296"/>
                  </a:lnTo>
                  <a:lnTo>
                    <a:pt x="648" y="284"/>
                  </a:lnTo>
                  <a:lnTo>
                    <a:pt x="659" y="284"/>
                  </a:lnTo>
                  <a:lnTo>
                    <a:pt x="681" y="267"/>
                  </a:lnTo>
                  <a:lnTo>
                    <a:pt x="685" y="267"/>
                  </a:lnTo>
                  <a:lnTo>
                    <a:pt x="697" y="263"/>
                  </a:lnTo>
                  <a:lnTo>
                    <a:pt x="702" y="239"/>
                  </a:lnTo>
                  <a:lnTo>
                    <a:pt x="752" y="222"/>
                  </a:lnTo>
                  <a:lnTo>
                    <a:pt x="752" y="206"/>
                  </a:lnTo>
                  <a:lnTo>
                    <a:pt x="702" y="201"/>
                  </a:lnTo>
                  <a:lnTo>
                    <a:pt x="702" y="185"/>
                  </a:lnTo>
                  <a:lnTo>
                    <a:pt x="685" y="152"/>
                  </a:lnTo>
                  <a:lnTo>
                    <a:pt x="685" y="118"/>
                  </a:lnTo>
                  <a:lnTo>
                    <a:pt x="659" y="90"/>
                  </a:lnTo>
                  <a:lnTo>
                    <a:pt x="648" y="74"/>
                  </a:lnTo>
                  <a:lnTo>
                    <a:pt x="664" y="78"/>
                  </a:lnTo>
                  <a:lnTo>
                    <a:pt x="697" y="78"/>
                  </a:lnTo>
                  <a:lnTo>
                    <a:pt x="702" y="95"/>
                  </a:lnTo>
                  <a:lnTo>
                    <a:pt x="719" y="95"/>
                  </a:lnTo>
                  <a:lnTo>
                    <a:pt x="740" y="102"/>
                  </a:lnTo>
                  <a:lnTo>
                    <a:pt x="752" y="95"/>
                  </a:lnTo>
                  <a:lnTo>
                    <a:pt x="778" y="118"/>
                  </a:lnTo>
                  <a:lnTo>
                    <a:pt x="794" y="111"/>
                  </a:lnTo>
                  <a:lnTo>
                    <a:pt x="794" y="90"/>
                  </a:lnTo>
                  <a:lnTo>
                    <a:pt x="806" y="90"/>
                  </a:lnTo>
                  <a:lnTo>
                    <a:pt x="811" y="78"/>
                  </a:lnTo>
                  <a:lnTo>
                    <a:pt x="832" y="78"/>
                  </a:lnTo>
                  <a:lnTo>
                    <a:pt x="858" y="78"/>
                  </a:lnTo>
                  <a:lnTo>
                    <a:pt x="865" y="74"/>
                  </a:lnTo>
                  <a:lnTo>
                    <a:pt x="874" y="74"/>
                  </a:lnTo>
                  <a:lnTo>
                    <a:pt x="882" y="62"/>
                  </a:lnTo>
                  <a:lnTo>
                    <a:pt x="896" y="57"/>
                  </a:lnTo>
                  <a:lnTo>
                    <a:pt x="919" y="45"/>
                  </a:lnTo>
                  <a:lnTo>
                    <a:pt x="929" y="40"/>
                  </a:lnTo>
                  <a:lnTo>
                    <a:pt x="941" y="24"/>
                  </a:lnTo>
                  <a:lnTo>
                    <a:pt x="941" y="7"/>
                  </a:lnTo>
                  <a:lnTo>
                    <a:pt x="933" y="0"/>
                  </a:lnTo>
                  <a:lnTo>
                    <a:pt x="967" y="0"/>
                  </a:lnTo>
                  <a:lnTo>
                    <a:pt x="971" y="0"/>
                  </a:lnTo>
                  <a:lnTo>
                    <a:pt x="983" y="7"/>
                  </a:lnTo>
                  <a:lnTo>
                    <a:pt x="988" y="17"/>
                  </a:lnTo>
                  <a:lnTo>
                    <a:pt x="983" y="40"/>
                  </a:lnTo>
                  <a:lnTo>
                    <a:pt x="971" y="57"/>
                  </a:lnTo>
                  <a:lnTo>
                    <a:pt x="1004" y="62"/>
                  </a:lnTo>
                  <a:lnTo>
                    <a:pt x="1004" y="74"/>
                  </a:lnTo>
                  <a:lnTo>
                    <a:pt x="1009" y="95"/>
                  </a:lnTo>
                  <a:lnTo>
                    <a:pt x="995" y="128"/>
                  </a:lnTo>
                  <a:lnTo>
                    <a:pt x="988" y="185"/>
                  </a:lnTo>
                  <a:lnTo>
                    <a:pt x="995" y="206"/>
                  </a:lnTo>
                  <a:lnTo>
                    <a:pt x="1004" y="211"/>
                  </a:lnTo>
                  <a:lnTo>
                    <a:pt x="1004" y="246"/>
                  </a:lnTo>
                  <a:lnTo>
                    <a:pt x="1009" y="246"/>
                  </a:lnTo>
                  <a:lnTo>
                    <a:pt x="1009" y="255"/>
                  </a:lnTo>
                  <a:lnTo>
                    <a:pt x="1021" y="255"/>
                  </a:lnTo>
                  <a:lnTo>
                    <a:pt x="1037" y="279"/>
                  </a:lnTo>
                  <a:lnTo>
                    <a:pt x="1059" y="284"/>
                  </a:lnTo>
                  <a:lnTo>
                    <a:pt x="1063" y="296"/>
                  </a:lnTo>
                  <a:lnTo>
                    <a:pt x="1075" y="284"/>
                  </a:lnTo>
                  <a:lnTo>
                    <a:pt x="1092" y="284"/>
                  </a:lnTo>
                  <a:lnTo>
                    <a:pt x="1092" y="267"/>
                  </a:lnTo>
                  <a:lnTo>
                    <a:pt x="1101" y="263"/>
                  </a:lnTo>
                  <a:lnTo>
                    <a:pt x="1130" y="267"/>
                  </a:lnTo>
                  <a:lnTo>
                    <a:pt x="1130" y="263"/>
                  </a:lnTo>
                  <a:lnTo>
                    <a:pt x="1146" y="255"/>
                  </a:lnTo>
                  <a:lnTo>
                    <a:pt x="1156" y="255"/>
                  </a:lnTo>
                  <a:lnTo>
                    <a:pt x="1172" y="239"/>
                  </a:lnTo>
                  <a:lnTo>
                    <a:pt x="1189" y="229"/>
                  </a:lnTo>
                  <a:lnTo>
                    <a:pt x="1210" y="246"/>
                  </a:lnTo>
                  <a:lnTo>
                    <a:pt x="1238" y="239"/>
                  </a:lnTo>
                  <a:lnTo>
                    <a:pt x="1264" y="246"/>
                  </a:lnTo>
                  <a:lnTo>
                    <a:pt x="1276" y="239"/>
                  </a:lnTo>
                  <a:lnTo>
                    <a:pt x="1276" y="229"/>
                  </a:lnTo>
                  <a:lnTo>
                    <a:pt x="1259" y="211"/>
                  </a:lnTo>
                  <a:lnTo>
                    <a:pt x="1264" y="201"/>
                  </a:lnTo>
                  <a:lnTo>
                    <a:pt x="1290" y="206"/>
                  </a:lnTo>
                  <a:lnTo>
                    <a:pt x="1335" y="189"/>
                  </a:lnTo>
                  <a:lnTo>
                    <a:pt x="1345" y="201"/>
                  </a:lnTo>
                  <a:lnTo>
                    <a:pt x="1361" y="201"/>
                  </a:lnTo>
                  <a:lnTo>
                    <a:pt x="1361" y="206"/>
                  </a:lnTo>
                  <a:lnTo>
                    <a:pt x="1366" y="206"/>
                  </a:lnTo>
                  <a:lnTo>
                    <a:pt x="1399" y="222"/>
                  </a:lnTo>
                  <a:lnTo>
                    <a:pt x="1420" y="206"/>
                  </a:lnTo>
                  <a:lnTo>
                    <a:pt x="1437" y="211"/>
                  </a:lnTo>
                  <a:lnTo>
                    <a:pt x="1453" y="206"/>
                  </a:lnTo>
                  <a:lnTo>
                    <a:pt x="1458" y="222"/>
                  </a:lnTo>
                  <a:lnTo>
                    <a:pt x="1479" y="222"/>
                  </a:lnTo>
                  <a:lnTo>
                    <a:pt x="1507" y="201"/>
                  </a:lnTo>
                  <a:lnTo>
                    <a:pt x="1524" y="152"/>
                  </a:lnTo>
                  <a:lnTo>
                    <a:pt x="1567" y="90"/>
                  </a:lnTo>
                  <a:lnTo>
                    <a:pt x="1578" y="78"/>
                  </a:lnTo>
                  <a:lnTo>
                    <a:pt x="1583" y="90"/>
                  </a:lnTo>
                  <a:lnTo>
                    <a:pt x="1578" y="62"/>
                  </a:lnTo>
                  <a:lnTo>
                    <a:pt x="1600" y="78"/>
                  </a:lnTo>
                  <a:lnTo>
                    <a:pt x="1604" y="95"/>
                  </a:lnTo>
                  <a:lnTo>
                    <a:pt x="1616" y="95"/>
                  </a:lnTo>
                  <a:lnTo>
                    <a:pt x="1616" y="152"/>
                  </a:lnTo>
                  <a:lnTo>
                    <a:pt x="1637" y="222"/>
                  </a:lnTo>
                  <a:lnTo>
                    <a:pt x="1654" y="246"/>
                  </a:lnTo>
                  <a:lnTo>
                    <a:pt x="1675" y="246"/>
                  </a:lnTo>
                  <a:lnTo>
                    <a:pt x="1692" y="255"/>
                  </a:lnTo>
                  <a:lnTo>
                    <a:pt x="1692" y="284"/>
                  </a:lnTo>
                  <a:lnTo>
                    <a:pt x="1675" y="296"/>
                  </a:lnTo>
                  <a:lnTo>
                    <a:pt x="1692" y="284"/>
                  </a:lnTo>
                  <a:lnTo>
                    <a:pt x="1692" y="296"/>
                  </a:lnTo>
                  <a:lnTo>
                    <a:pt x="1654" y="333"/>
                  </a:lnTo>
                  <a:lnTo>
                    <a:pt x="1630" y="366"/>
                  </a:lnTo>
                  <a:lnTo>
                    <a:pt x="1621" y="366"/>
                  </a:lnTo>
                  <a:lnTo>
                    <a:pt x="1600" y="390"/>
                  </a:lnTo>
                  <a:lnTo>
                    <a:pt x="1567" y="428"/>
                  </a:lnTo>
                  <a:lnTo>
                    <a:pt x="1567" y="449"/>
                  </a:lnTo>
                  <a:lnTo>
                    <a:pt x="1550" y="461"/>
                  </a:lnTo>
                  <a:lnTo>
                    <a:pt x="1550" y="477"/>
                  </a:lnTo>
                  <a:lnTo>
                    <a:pt x="1545" y="485"/>
                  </a:lnTo>
                  <a:lnTo>
                    <a:pt x="1529" y="477"/>
                  </a:lnTo>
                  <a:lnTo>
                    <a:pt x="1496" y="494"/>
                  </a:lnTo>
                  <a:lnTo>
                    <a:pt x="1529" y="494"/>
                  </a:lnTo>
                  <a:lnTo>
                    <a:pt x="1529" y="501"/>
                  </a:lnTo>
                  <a:lnTo>
                    <a:pt x="1600" y="468"/>
                  </a:lnTo>
                  <a:lnTo>
                    <a:pt x="1616" y="444"/>
                  </a:lnTo>
                  <a:lnTo>
                    <a:pt x="1630" y="444"/>
                  </a:lnTo>
                  <a:lnTo>
                    <a:pt x="1630" y="485"/>
                  </a:lnTo>
                  <a:lnTo>
                    <a:pt x="1637" y="506"/>
                  </a:lnTo>
                  <a:lnTo>
                    <a:pt x="1630" y="518"/>
                  </a:lnTo>
                  <a:lnTo>
                    <a:pt x="1604" y="506"/>
                  </a:lnTo>
                  <a:lnTo>
                    <a:pt x="1588" y="501"/>
                  </a:lnTo>
                  <a:lnTo>
                    <a:pt x="1583" y="522"/>
                  </a:lnTo>
                  <a:lnTo>
                    <a:pt x="1583" y="539"/>
                  </a:lnTo>
                  <a:lnTo>
                    <a:pt x="1588" y="551"/>
                  </a:lnTo>
                  <a:lnTo>
                    <a:pt x="1583" y="522"/>
                  </a:lnTo>
                  <a:lnTo>
                    <a:pt x="1600" y="506"/>
                  </a:lnTo>
                  <a:lnTo>
                    <a:pt x="1616" y="522"/>
                  </a:lnTo>
                  <a:lnTo>
                    <a:pt x="1616" y="551"/>
                  </a:lnTo>
                  <a:lnTo>
                    <a:pt x="1630" y="555"/>
                  </a:lnTo>
                  <a:lnTo>
                    <a:pt x="1616" y="551"/>
                  </a:lnTo>
                  <a:lnTo>
                    <a:pt x="1621" y="522"/>
                  </a:lnTo>
                  <a:lnTo>
                    <a:pt x="1637" y="539"/>
                  </a:lnTo>
                  <a:lnTo>
                    <a:pt x="1630" y="518"/>
                  </a:lnTo>
                  <a:lnTo>
                    <a:pt x="1637" y="506"/>
                  </a:lnTo>
                  <a:lnTo>
                    <a:pt x="1654" y="506"/>
                  </a:lnTo>
                  <a:lnTo>
                    <a:pt x="1659" y="518"/>
                  </a:lnTo>
                  <a:lnTo>
                    <a:pt x="1685" y="506"/>
                  </a:lnTo>
                  <a:lnTo>
                    <a:pt x="1696" y="518"/>
                  </a:lnTo>
                  <a:lnTo>
                    <a:pt x="1713" y="518"/>
                  </a:lnTo>
                  <a:lnTo>
                    <a:pt x="1739" y="501"/>
                  </a:lnTo>
                  <a:lnTo>
                    <a:pt x="1722" y="539"/>
                  </a:lnTo>
                  <a:lnTo>
                    <a:pt x="1722" y="560"/>
                  </a:lnTo>
                  <a:lnTo>
                    <a:pt x="1744" y="518"/>
                  </a:lnTo>
                  <a:lnTo>
                    <a:pt x="1760" y="506"/>
                  </a:lnTo>
                  <a:lnTo>
                    <a:pt x="1777" y="485"/>
                  </a:lnTo>
                  <a:lnTo>
                    <a:pt x="1784" y="485"/>
                  </a:lnTo>
                  <a:lnTo>
                    <a:pt x="1798" y="501"/>
                  </a:lnTo>
                  <a:lnTo>
                    <a:pt x="1798" y="485"/>
                  </a:lnTo>
                  <a:lnTo>
                    <a:pt x="1815" y="485"/>
                  </a:lnTo>
                  <a:lnTo>
                    <a:pt x="1793" y="485"/>
                  </a:lnTo>
                  <a:lnTo>
                    <a:pt x="1793" y="468"/>
                  </a:lnTo>
                  <a:lnTo>
                    <a:pt x="1805" y="477"/>
                  </a:lnTo>
                  <a:lnTo>
                    <a:pt x="1805" y="444"/>
                  </a:lnTo>
                  <a:lnTo>
                    <a:pt x="1822" y="428"/>
                  </a:lnTo>
                  <a:lnTo>
                    <a:pt x="1831" y="440"/>
                  </a:lnTo>
                  <a:lnTo>
                    <a:pt x="1848" y="423"/>
                  </a:lnTo>
                  <a:lnTo>
                    <a:pt x="1848" y="440"/>
                  </a:lnTo>
                  <a:lnTo>
                    <a:pt x="1859" y="423"/>
                  </a:lnTo>
                  <a:lnTo>
                    <a:pt x="1869" y="440"/>
                  </a:lnTo>
                  <a:lnTo>
                    <a:pt x="1869" y="423"/>
                  </a:lnTo>
                  <a:lnTo>
                    <a:pt x="1890" y="428"/>
                  </a:lnTo>
                  <a:lnTo>
                    <a:pt x="1902" y="428"/>
                  </a:lnTo>
                  <a:lnTo>
                    <a:pt x="1902" y="444"/>
                  </a:lnTo>
                  <a:lnTo>
                    <a:pt x="1907" y="428"/>
                  </a:lnTo>
                  <a:lnTo>
                    <a:pt x="1911" y="440"/>
                  </a:lnTo>
                  <a:lnTo>
                    <a:pt x="1923" y="440"/>
                  </a:lnTo>
                  <a:lnTo>
                    <a:pt x="1923" y="449"/>
                  </a:lnTo>
                  <a:lnTo>
                    <a:pt x="1956" y="444"/>
                  </a:lnTo>
                  <a:lnTo>
                    <a:pt x="1944" y="461"/>
                  </a:lnTo>
                  <a:lnTo>
                    <a:pt x="1961" y="461"/>
                  </a:lnTo>
                  <a:lnTo>
                    <a:pt x="1961" y="468"/>
                  </a:lnTo>
                  <a:lnTo>
                    <a:pt x="1966" y="449"/>
                  </a:lnTo>
                  <a:lnTo>
                    <a:pt x="1978" y="468"/>
                  </a:lnTo>
                  <a:lnTo>
                    <a:pt x="1982" y="461"/>
                  </a:lnTo>
                  <a:lnTo>
                    <a:pt x="1994" y="477"/>
                  </a:lnTo>
                  <a:lnTo>
                    <a:pt x="1994" y="468"/>
                  </a:lnTo>
                  <a:lnTo>
                    <a:pt x="2011" y="477"/>
                  </a:lnTo>
                  <a:lnTo>
                    <a:pt x="2011" y="494"/>
                  </a:lnTo>
                  <a:lnTo>
                    <a:pt x="2015" y="477"/>
                  </a:lnTo>
                  <a:lnTo>
                    <a:pt x="2015" y="501"/>
                  </a:lnTo>
                  <a:lnTo>
                    <a:pt x="2020" y="501"/>
                  </a:lnTo>
                  <a:lnTo>
                    <a:pt x="2020" y="485"/>
                  </a:lnTo>
                  <a:lnTo>
                    <a:pt x="2037" y="485"/>
                  </a:lnTo>
                  <a:lnTo>
                    <a:pt x="2048" y="485"/>
                  </a:lnTo>
                  <a:lnTo>
                    <a:pt x="2037" y="494"/>
                  </a:lnTo>
                  <a:lnTo>
                    <a:pt x="2053" y="494"/>
                  </a:lnTo>
                  <a:lnTo>
                    <a:pt x="2053" y="501"/>
                  </a:lnTo>
                  <a:lnTo>
                    <a:pt x="2063" y="506"/>
                  </a:lnTo>
                  <a:lnTo>
                    <a:pt x="2070" y="506"/>
                  </a:lnTo>
                  <a:lnTo>
                    <a:pt x="2074" y="522"/>
                  </a:lnTo>
                  <a:lnTo>
                    <a:pt x="2063" y="551"/>
                  </a:lnTo>
                  <a:lnTo>
                    <a:pt x="2074" y="534"/>
                  </a:lnTo>
                  <a:lnTo>
                    <a:pt x="2086" y="551"/>
                  </a:lnTo>
                  <a:lnTo>
                    <a:pt x="2070" y="560"/>
                  </a:lnTo>
                  <a:lnTo>
                    <a:pt x="2063" y="596"/>
                  </a:lnTo>
                  <a:lnTo>
                    <a:pt x="2053" y="617"/>
                  </a:lnTo>
                  <a:lnTo>
                    <a:pt x="2074" y="589"/>
                  </a:lnTo>
                  <a:lnTo>
                    <a:pt x="2086" y="560"/>
                  </a:lnTo>
                  <a:lnTo>
                    <a:pt x="2100" y="551"/>
                  </a:lnTo>
                  <a:lnTo>
                    <a:pt x="2107" y="560"/>
                  </a:lnTo>
                  <a:lnTo>
                    <a:pt x="2086" y="577"/>
                  </a:lnTo>
                  <a:lnTo>
                    <a:pt x="2091" y="577"/>
                  </a:lnTo>
                  <a:lnTo>
                    <a:pt x="2091" y="589"/>
                  </a:lnTo>
                  <a:lnTo>
                    <a:pt x="2117" y="560"/>
                  </a:lnTo>
                  <a:lnTo>
                    <a:pt x="2145" y="560"/>
                  </a:lnTo>
                  <a:lnTo>
                    <a:pt x="2145" y="551"/>
                  </a:lnTo>
                  <a:lnTo>
                    <a:pt x="2155" y="551"/>
                  </a:lnTo>
                  <a:lnTo>
                    <a:pt x="2200" y="560"/>
                  </a:lnTo>
                  <a:lnTo>
                    <a:pt x="2230" y="577"/>
                  </a:lnTo>
                  <a:lnTo>
                    <a:pt x="2252" y="577"/>
                  </a:lnTo>
                  <a:lnTo>
                    <a:pt x="2247" y="577"/>
                  </a:lnTo>
                  <a:lnTo>
                    <a:pt x="2263" y="572"/>
                  </a:lnTo>
                  <a:lnTo>
                    <a:pt x="2268" y="589"/>
                  </a:lnTo>
                  <a:lnTo>
                    <a:pt x="2289" y="589"/>
                  </a:lnTo>
                  <a:lnTo>
                    <a:pt x="2301" y="596"/>
                  </a:lnTo>
                  <a:lnTo>
                    <a:pt x="2301" y="589"/>
                  </a:lnTo>
                  <a:lnTo>
                    <a:pt x="2356" y="577"/>
                  </a:lnTo>
                  <a:lnTo>
                    <a:pt x="2389" y="577"/>
                  </a:lnTo>
                  <a:lnTo>
                    <a:pt x="2495" y="645"/>
                  </a:lnTo>
                  <a:lnTo>
                    <a:pt x="2556" y="704"/>
                  </a:lnTo>
                  <a:lnTo>
                    <a:pt x="2578" y="716"/>
                  </a:lnTo>
                  <a:lnTo>
                    <a:pt x="2587" y="728"/>
                  </a:lnTo>
                  <a:lnTo>
                    <a:pt x="2608" y="740"/>
                  </a:lnTo>
                  <a:lnTo>
                    <a:pt x="2615" y="744"/>
                  </a:lnTo>
                  <a:lnTo>
                    <a:pt x="2670" y="744"/>
                  </a:lnTo>
                  <a:lnTo>
                    <a:pt x="2712" y="756"/>
                  </a:lnTo>
                  <a:lnTo>
                    <a:pt x="2738" y="839"/>
                  </a:lnTo>
                  <a:lnTo>
                    <a:pt x="2750" y="884"/>
                  </a:lnTo>
                  <a:lnTo>
                    <a:pt x="2750" y="893"/>
                  </a:lnTo>
                  <a:lnTo>
                    <a:pt x="2750" y="884"/>
                  </a:lnTo>
                  <a:lnTo>
                    <a:pt x="2755" y="922"/>
                  </a:lnTo>
                  <a:lnTo>
                    <a:pt x="2750" y="922"/>
                  </a:lnTo>
                  <a:lnTo>
                    <a:pt x="2755" y="926"/>
                  </a:lnTo>
                  <a:lnTo>
                    <a:pt x="2750" y="943"/>
                  </a:lnTo>
                  <a:lnTo>
                    <a:pt x="2750" y="950"/>
                  </a:lnTo>
                  <a:lnTo>
                    <a:pt x="2750" y="959"/>
                  </a:lnTo>
                  <a:lnTo>
                    <a:pt x="2717" y="1037"/>
                  </a:lnTo>
                  <a:lnTo>
                    <a:pt x="2684" y="1077"/>
                  </a:lnTo>
                  <a:lnTo>
                    <a:pt x="2641" y="1132"/>
                  </a:lnTo>
                  <a:lnTo>
                    <a:pt x="2608" y="1160"/>
                  </a:lnTo>
                  <a:lnTo>
                    <a:pt x="2594" y="1165"/>
                  </a:lnTo>
                  <a:lnTo>
                    <a:pt x="2587" y="1160"/>
                  </a:lnTo>
                  <a:lnTo>
                    <a:pt x="2594" y="1165"/>
                  </a:lnTo>
                  <a:lnTo>
                    <a:pt x="2594" y="1172"/>
                  </a:lnTo>
                  <a:lnTo>
                    <a:pt x="2587" y="1181"/>
                  </a:lnTo>
                  <a:lnTo>
                    <a:pt x="2578" y="1172"/>
                  </a:lnTo>
                  <a:lnTo>
                    <a:pt x="2587" y="1181"/>
                  </a:lnTo>
                  <a:lnTo>
                    <a:pt x="2587" y="1188"/>
                  </a:lnTo>
                  <a:lnTo>
                    <a:pt x="2570" y="1205"/>
                  </a:lnTo>
                  <a:lnTo>
                    <a:pt x="2578" y="1188"/>
                  </a:lnTo>
                  <a:lnTo>
                    <a:pt x="2570" y="1188"/>
                  </a:lnTo>
                  <a:lnTo>
                    <a:pt x="2556" y="1243"/>
                  </a:lnTo>
                  <a:lnTo>
                    <a:pt x="2523" y="1292"/>
                  </a:lnTo>
                  <a:lnTo>
                    <a:pt x="2495" y="1325"/>
                  </a:lnTo>
                  <a:lnTo>
                    <a:pt x="2495" y="1300"/>
                  </a:lnTo>
                  <a:lnTo>
                    <a:pt x="2485" y="1300"/>
                  </a:lnTo>
                  <a:lnTo>
                    <a:pt x="2481" y="1292"/>
                  </a:lnTo>
                  <a:lnTo>
                    <a:pt x="2469" y="1309"/>
                  </a:lnTo>
                  <a:lnTo>
                    <a:pt x="2469" y="1292"/>
                  </a:lnTo>
                  <a:lnTo>
                    <a:pt x="2464" y="1300"/>
                  </a:lnTo>
                  <a:lnTo>
                    <a:pt x="2469" y="1309"/>
                  </a:lnTo>
                  <a:lnTo>
                    <a:pt x="2481" y="1309"/>
                  </a:lnTo>
                  <a:lnTo>
                    <a:pt x="2464" y="1349"/>
                  </a:lnTo>
                  <a:lnTo>
                    <a:pt x="2452" y="1349"/>
                  </a:lnTo>
                  <a:lnTo>
                    <a:pt x="2452" y="1354"/>
                  </a:lnTo>
                  <a:lnTo>
                    <a:pt x="2464" y="1370"/>
                  </a:lnTo>
                  <a:lnTo>
                    <a:pt x="2452" y="1403"/>
                  </a:lnTo>
                  <a:lnTo>
                    <a:pt x="2464" y="1394"/>
                  </a:lnTo>
                  <a:lnTo>
                    <a:pt x="2464" y="1387"/>
                  </a:lnTo>
                  <a:lnTo>
                    <a:pt x="2452" y="1444"/>
                  </a:lnTo>
                  <a:lnTo>
                    <a:pt x="2469" y="1531"/>
                  </a:lnTo>
                  <a:lnTo>
                    <a:pt x="2448" y="1625"/>
                  </a:lnTo>
                  <a:lnTo>
                    <a:pt x="2448" y="1666"/>
                  </a:lnTo>
                  <a:lnTo>
                    <a:pt x="2415" y="1703"/>
                  </a:lnTo>
                  <a:lnTo>
                    <a:pt x="2410" y="1744"/>
                  </a:lnTo>
                  <a:lnTo>
                    <a:pt x="2410" y="1793"/>
                  </a:lnTo>
                  <a:lnTo>
                    <a:pt x="2398" y="1810"/>
                  </a:lnTo>
                  <a:lnTo>
                    <a:pt x="2389" y="1814"/>
                  </a:lnTo>
                  <a:lnTo>
                    <a:pt x="2372" y="1864"/>
                  </a:lnTo>
                  <a:lnTo>
                    <a:pt x="2360" y="1855"/>
                  </a:lnTo>
                  <a:lnTo>
                    <a:pt x="2360" y="1864"/>
                  </a:lnTo>
                  <a:lnTo>
                    <a:pt x="2372" y="1864"/>
                  </a:lnTo>
                  <a:lnTo>
                    <a:pt x="2360" y="1888"/>
                  </a:lnTo>
                  <a:lnTo>
                    <a:pt x="2344" y="1904"/>
                  </a:lnTo>
                  <a:lnTo>
                    <a:pt x="2334" y="1904"/>
                  </a:lnTo>
                  <a:lnTo>
                    <a:pt x="2322" y="1937"/>
                  </a:lnTo>
                  <a:lnTo>
                    <a:pt x="2318" y="1959"/>
                  </a:lnTo>
                  <a:lnTo>
                    <a:pt x="2322" y="1992"/>
                  </a:lnTo>
                  <a:lnTo>
                    <a:pt x="2263" y="2015"/>
                  </a:lnTo>
                  <a:lnTo>
                    <a:pt x="2247" y="2032"/>
                  </a:lnTo>
                  <a:lnTo>
                    <a:pt x="2247" y="2065"/>
                  </a:lnTo>
                  <a:lnTo>
                    <a:pt x="2171" y="2065"/>
                  </a:lnTo>
                  <a:lnTo>
                    <a:pt x="2176" y="2048"/>
                  </a:lnTo>
                  <a:lnTo>
                    <a:pt x="2171" y="2036"/>
                  </a:lnTo>
                  <a:lnTo>
                    <a:pt x="2162" y="2048"/>
                  </a:lnTo>
                  <a:lnTo>
                    <a:pt x="2171" y="2065"/>
                  </a:lnTo>
                  <a:lnTo>
                    <a:pt x="2162" y="2065"/>
                  </a:lnTo>
                  <a:lnTo>
                    <a:pt x="2107" y="2070"/>
                  </a:lnTo>
                  <a:lnTo>
                    <a:pt x="2138" y="2070"/>
                  </a:lnTo>
                  <a:lnTo>
                    <a:pt x="2117" y="2053"/>
                  </a:lnTo>
                  <a:lnTo>
                    <a:pt x="2091" y="2070"/>
                  </a:lnTo>
                  <a:lnTo>
                    <a:pt x="2086" y="2065"/>
                  </a:lnTo>
                  <a:lnTo>
                    <a:pt x="2063" y="2070"/>
                  </a:lnTo>
                  <a:lnTo>
                    <a:pt x="2063" y="2086"/>
                  </a:lnTo>
                  <a:lnTo>
                    <a:pt x="2070" y="2086"/>
                  </a:lnTo>
                  <a:lnTo>
                    <a:pt x="2070" y="2093"/>
                  </a:lnTo>
                  <a:lnTo>
                    <a:pt x="2048" y="2093"/>
                  </a:lnTo>
                  <a:lnTo>
                    <a:pt x="2032" y="2103"/>
                  </a:lnTo>
                  <a:lnTo>
                    <a:pt x="2011" y="2110"/>
                  </a:lnTo>
                  <a:lnTo>
                    <a:pt x="2011" y="2126"/>
                  </a:lnTo>
                  <a:lnTo>
                    <a:pt x="1978" y="2126"/>
                  </a:lnTo>
                  <a:lnTo>
                    <a:pt x="1956" y="2131"/>
                  </a:lnTo>
                  <a:lnTo>
                    <a:pt x="1961" y="2131"/>
                  </a:lnTo>
                  <a:lnTo>
                    <a:pt x="1944" y="2143"/>
                  </a:lnTo>
                  <a:lnTo>
                    <a:pt x="1940" y="2131"/>
                  </a:lnTo>
                  <a:lnTo>
                    <a:pt x="1940" y="2143"/>
                  </a:lnTo>
                  <a:lnTo>
                    <a:pt x="1822" y="2221"/>
                  </a:lnTo>
                  <a:lnTo>
                    <a:pt x="1836" y="2221"/>
                  </a:lnTo>
                  <a:lnTo>
                    <a:pt x="1831" y="2230"/>
                  </a:lnTo>
                  <a:lnTo>
                    <a:pt x="1815" y="2254"/>
                  </a:lnTo>
                  <a:lnTo>
                    <a:pt x="1815" y="2242"/>
                  </a:lnTo>
                  <a:lnTo>
                    <a:pt x="1815" y="2237"/>
                  </a:lnTo>
                  <a:lnTo>
                    <a:pt x="1798" y="2242"/>
                  </a:lnTo>
                  <a:lnTo>
                    <a:pt x="1793" y="2254"/>
                  </a:lnTo>
                  <a:lnTo>
                    <a:pt x="1777" y="2254"/>
                  </a:lnTo>
                  <a:lnTo>
                    <a:pt x="1798" y="2259"/>
                  </a:lnTo>
                  <a:lnTo>
                    <a:pt x="1793" y="2275"/>
                  </a:lnTo>
                  <a:lnTo>
                    <a:pt x="1777" y="2287"/>
                  </a:lnTo>
                  <a:lnTo>
                    <a:pt x="1784" y="2287"/>
                  </a:lnTo>
                  <a:lnTo>
                    <a:pt x="1784" y="2308"/>
                  </a:lnTo>
                  <a:lnTo>
                    <a:pt x="1777" y="2313"/>
                  </a:lnTo>
                  <a:lnTo>
                    <a:pt x="1767" y="2296"/>
                  </a:lnTo>
                  <a:lnTo>
                    <a:pt x="1777" y="2313"/>
                  </a:lnTo>
                  <a:lnTo>
                    <a:pt x="1784" y="2329"/>
                  </a:lnTo>
                  <a:lnTo>
                    <a:pt x="1777" y="2348"/>
                  </a:lnTo>
                  <a:lnTo>
                    <a:pt x="1784" y="2381"/>
                  </a:lnTo>
                  <a:lnTo>
                    <a:pt x="1793" y="2386"/>
                  </a:lnTo>
                  <a:lnTo>
                    <a:pt x="1784" y="2386"/>
                  </a:lnTo>
                  <a:lnTo>
                    <a:pt x="1784" y="2419"/>
                  </a:lnTo>
                  <a:lnTo>
                    <a:pt x="1784" y="2440"/>
                  </a:lnTo>
                  <a:lnTo>
                    <a:pt x="1777" y="2492"/>
                  </a:lnTo>
                  <a:lnTo>
                    <a:pt x="1767" y="2476"/>
                  </a:lnTo>
                  <a:lnTo>
                    <a:pt x="1777" y="2492"/>
                  </a:lnTo>
                  <a:lnTo>
                    <a:pt x="1730" y="2530"/>
                  </a:lnTo>
                  <a:lnTo>
                    <a:pt x="1706" y="2551"/>
                  </a:lnTo>
                  <a:lnTo>
                    <a:pt x="1685" y="2592"/>
                  </a:lnTo>
                  <a:lnTo>
                    <a:pt x="1668" y="2641"/>
                  </a:lnTo>
                  <a:lnTo>
                    <a:pt x="1637" y="2686"/>
                  </a:lnTo>
                  <a:lnTo>
                    <a:pt x="1583" y="2740"/>
                  </a:lnTo>
                  <a:lnTo>
                    <a:pt x="1550" y="2757"/>
                  </a:lnTo>
                  <a:lnTo>
                    <a:pt x="1545" y="2773"/>
                  </a:lnTo>
                  <a:lnTo>
                    <a:pt x="1545" y="2757"/>
                  </a:lnTo>
                  <a:lnTo>
                    <a:pt x="1533" y="2752"/>
                  </a:lnTo>
                  <a:lnTo>
                    <a:pt x="1562" y="2752"/>
                  </a:lnTo>
                  <a:lnTo>
                    <a:pt x="1588" y="2731"/>
                  </a:lnTo>
                  <a:lnTo>
                    <a:pt x="1600" y="2719"/>
                  </a:lnTo>
                  <a:lnTo>
                    <a:pt x="1604" y="2686"/>
                  </a:lnTo>
                  <a:lnTo>
                    <a:pt x="1621" y="2696"/>
                  </a:lnTo>
                  <a:lnTo>
                    <a:pt x="1621" y="2679"/>
                  </a:lnTo>
                  <a:lnTo>
                    <a:pt x="1637" y="2662"/>
                  </a:lnTo>
                  <a:lnTo>
                    <a:pt x="1637" y="2641"/>
                  </a:lnTo>
                  <a:lnTo>
                    <a:pt x="1642" y="2641"/>
                  </a:lnTo>
                  <a:lnTo>
                    <a:pt x="1654" y="2625"/>
                  </a:lnTo>
                  <a:lnTo>
                    <a:pt x="1642" y="2625"/>
                  </a:lnTo>
                  <a:lnTo>
                    <a:pt x="1637" y="2629"/>
                  </a:lnTo>
                  <a:lnTo>
                    <a:pt x="1621" y="2629"/>
                  </a:lnTo>
                  <a:lnTo>
                    <a:pt x="1621" y="2641"/>
                  </a:lnTo>
                  <a:lnTo>
                    <a:pt x="1616" y="2641"/>
                  </a:lnTo>
                  <a:lnTo>
                    <a:pt x="1616" y="2625"/>
                  </a:lnTo>
                  <a:lnTo>
                    <a:pt x="1604" y="2625"/>
                  </a:lnTo>
                  <a:lnTo>
                    <a:pt x="1600" y="2608"/>
                  </a:lnTo>
                  <a:lnTo>
                    <a:pt x="1600" y="2620"/>
                  </a:lnTo>
                  <a:lnTo>
                    <a:pt x="1604" y="2641"/>
                  </a:lnTo>
                  <a:lnTo>
                    <a:pt x="1600" y="2674"/>
                  </a:lnTo>
                  <a:lnTo>
                    <a:pt x="1588" y="2658"/>
                  </a:lnTo>
                  <a:lnTo>
                    <a:pt x="1583" y="2686"/>
                  </a:lnTo>
                  <a:lnTo>
                    <a:pt x="1550" y="2712"/>
                  </a:lnTo>
                  <a:lnTo>
                    <a:pt x="1545" y="2736"/>
                  </a:lnTo>
                  <a:lnTo>
                    <a:pt x="1529" y="2740"/>
                  </a:lnTo>
                  <a:lnTo>
                    <a:pt x="1533" y="2757"/>
                  </a:lnTo>
                  <a:lnTo>
                    <a:pt x="1529" y="2769"/>
                  </a:lnTo>
                  <a:lnTo>
                    <a:pt x="1533" y="2773"/>
                  </a:lnTo>
                  <a:lnTo>
                    <a:pt x="1524" y="2807"/>
                  </a:lnTo>
                  <a:lnTo>
                    <a:pt x="1496" y="2851"/>
                  </a:lnTo>
                  <a:lnTo>
                    <a:pt x="1453" y="2901"/>
                  </a:lnTo>
                  <a:lnTo>
                    <a:pt x="1437" y="2901"/>
                  </a:lnTo>
                  <a:lnTo>
                    <a:pt x="1437" y="2851"/>
                  </a:lnTo>
                  <a:lnTo>
                    <a:pt x="1470" y="2823"/>
                  </a:lnTo>
                  <a:lnTo>
                    <a:pt x="1437" y="2797"/>
                  </a:lnTo>
                  <a:lnTo>
                    <a:pt x="1415" y="2757"/>
                  </a:lnTo>
                  <a:lnTo>
                    <a:pt x="1382" y="2752"/>
                  </a:lnTo>
                  <a:lnTo>
                    <a:pt x="1366" y="2719"/>
                  </a:lnTo>
                  <a:lnTo>
                    <a:pt x="1319" y="2703"/>
                  </a:lnTo>
                  <a:lnTo>
                    <a:pt x="1297" y="2674"/>
                  </a:lnTo>
                  <a:lnTo>
                    <a:pt x="1276" y="2686"/>
                  </a:lnTo>
                  <a:lnTo>
                    <a:pt x="1264" y="2686"/>
                  </a:lnTo>
                  <a:lnTo>
                    <a:pt x="1264" y="2674"/>
                  </a:lnTo>
                  <a:lnTo>
                    <a:pt x="1210" y="2620"/>
                  </a:lnTo>
                  <a:lnTo>
                    <a:pt x="1189" y="2620"/>
                  </a:lnTo>
                  <a:lnTo>
                    <a:pt x="1184" y="2629"/>
                  </a:lnTo>
                  <a:lnTo>
                    <a:pt x="1156" y="2625"/>
                  </a:lnTo>
                  <a:lnTo>
                    <a:pt x="1151" y="2625"/>
                  </a:lnTo>
                  <a:lnTo>
                    <a:pt x="1172" y="2608"/>
                  </a:lnTo>
                  <a:lnTo>
                    <a:pt x="1172" y="2592"/>
                  </a:lnTo>
                  <a:lnTo>
                    <a:pt x="1189" y="2585"/>
                  </a:lnTo>
                  <a:lnTo>
                    <a:pt x="1222" y="2535"/>
                  </a:lnTo>
                  <a:lnTo>
                    <a:pt x="1238" y="2535"/>
                  </a:lnTo>
                  <a:lnTo>
                    <a:pt x="1243" y="2514"/>
                  </a:lnTo>
                  <a:lnTo>
                    <a:pt x="1276" y="2481"/>
                  </a:lnTo>
                  <a:lnTo>
                    <a:pt x="1290" y="2481"/>
                  </a:lnTo>
                  <a:lnTo>
                    <a:pt x="1290" y="2476"/>
                  </a:lnTo>
                  <a:lnTo>
                    <a:pt x="1281" y="2464"/>
                  </a:lnTo>
                  <a:lnTo>
                    <a:pt x="1307" y="2457"/>
                  </a:lnTo>
                  <a:lnTo>
                    <a:pt x="1314" y="2440"/>
                  </a:lnTo>
                  <a:lnTo>
                    <a:pt x="1335" y="2436"/>
                  </a:lnTo>
                  <a:lnTo>
                    <a:pt x="1352" y="2407"/>
                  </a:lnTo>
                  <a:lnTo>
                    <a:pt x="1382" y="2403"/>
                  </a:lnTo>
                  <a:lnTo>
                    <a:pt x="1420" y="2381"/>
                  </a:lnTo>
                  <a:lnTo>
                    <a:pt x="1427" y="2365"/>
                  </a:lnTo>
                  <a:lnTo>
                    <a:pt x="1427" y="2325"/>
                  </a:lnTo>
                  <a:lnTo>
                    <a:pt x="1427" y="2313"/>
                  </a:lnTo>
                  <a:lnTo>
                    <a:pt x="1420" y="2292"/>
                  </a:lnTo>
                  <a:lnTo>
                    <a:pt x="1415" y="2270"/>
                  </a:lnTo>
                  <a:lnTo>
                    <a:pt x="1399" y="2254"/>
                  </a:lnTo>
                  <a:lnTo>
                    <a:pt x="1373" y="2270"/>
                  </a:lnTo>
                  <a:lnTo>
                    <a:pt x="1366" y="2259"/>
                  </a:lnTo>
                  <a:lnTo>
                    <a:pt x="1361" y="2254"/>
                  </a:lnTo>
                  <a:lnTo>
                    <a:pt x="1373" y="2230"/>
                  </a:lnTo>
                  <a:lnTo>
                    <a:pt x="1373" y="2221"/>
                  </a:lnTo>
                  <a:lnTo>
                    <a:pt x="1389" y="2164"/>
                  </a:lnTo>
                  <a:lnTo>
                    <a:pt x="1382" y="2148"/>
                  </a:lnTo>
                  <a:lnTo>
                    <a:pt x="1389" y="2148"/>
                  </a:lnTo>
                  <a:lnTo>
                    <a:pt x="1361" y="2126"/>
                  </a:lnTo>
                  <a:lnTo>
                    <a:pt x="1335" y="2143"/>
                  </a:lnTo>
                  <a:lnTo>
                    <a:pt x="1307" y="2143"/>
                  </a:lnTo>
                  <a:lnTo>
                    <a:pt x="1290" y="2053"/>
                  </a:lnTo>
                  <a:lnTo>
                    <a:pt x="1290" y="2036"/>
                  </a:lnTo>
                  <a:lnTo>
                    <a:pt x="1276" y="2015"/>
                  </a:lnTo>
                  <a:lnTo>
                    <a:pt x="1252" y="2008"/>
                  </a:lnTo>
                  <a:lnTo>
                    <a:pt x="1238" y="1992"/>
                  </a:lnTo>
                  <a:lnTo>
                    <a:pt x="1222" y="2008"/>
                  </a:lnTo>
                  <a:lnTo>
                    <a:pt x="1205" y="2008"/>
                  </a:lnTo>
                  <a:lnTo>
                    <a:pt x="1130" y="1999"/>
                  </a:lnTo>
                  <a:lnTo>
                    <a:pt x="1130" y="1954"/>
                  </a:lnTo>
                  <a:lnTo>
                    <a:pt x="1134" y="1942"/>
                  </a:lnTo>
                  <a:lnTo>
                    <a:pt x="1134" y="1909"/>
                  </a:lnTo>
                  <a:lnTo>
                    <a:pt x="1113" y="1848"/>
                  </a:lnTo>
                  <a:lnTo>
                    <a:pt x="1134" y="1836"/>
                  </a:lnTo>
                  <a:lnTo>
                    <a:pt x="1118" y="1814"/>
                  </a:lnTo>
                  <a:lnTo>
                    <a:pt x="1146" y="1770"/>
                  </a:lnTo>
                  <a:lnTo>
                    <a:pt x="1146" y="1760"/>
                  </a:lnTo>
                  <a:lnTo>
                    <a:pt x="1156" y="1703"/>
                  </a:lnTo>
                  <a:lnTo>
                    <a:pt x="1146" y="1682"/>
                  </a:lnTo>
                  <a:lnTo>
                    <a:pt x="1146" y="1659"/>
                  </a:lnTo>
                  <a:lnTo>
                    <a:pt x="1096" y="1633"/>
                  </a:lnTo>
                  <a:lnTo>
                    <a:pt x="1092" y="1592"/>
                  </a:lnTo>
                  <a:lnTo>
                    <a:pt x="1101" y="1576"/>
                  </a:lnTo>
                  <a:lnTo>
                    <a:pt x="1101" y="1559"/>
                  </a:lnTo>
                  <a:lnTo>
                    <a:pt x="971" y="1559"/>
                  </a:lnTo>
                  <a:lnTo>
                    <a:pt x="967" y="1498"/>
                  </a:lnTo>
                  <a:lnTo>
                    <a:pt x="941" y="1477"/>
                  </a:lnTo>
                  <a:lnTo>
                    <a:pt x="967" y="1477"/>
                  </a:lnTo>
                  <a:lnTo>
                    <a:pt x="967" y="1437"/>
                  </a:lnTo>
                  <a:lnTo>
                    <a:pt x="950" y="1403"/>
                  </a:lnTo>
                  <a:lnTo>
                    <a:pt x="957" y="1394"/>
                  </a:lnTo>
                  <a:lnTo>
                    <a:pt x="950" y="1382"/>
                  </a:lnTo>
                  <a:lnTo>
                    <a:pt x="912" y="1354"/>
                  </a:lnTo>
                  <a:lnTo>
                    <a:pt x="858" y="1366"/>
                  </a:lnTo>
                  <a:lnTo>
                    <a:pt x="832" y="1333"/>
                  </a:lnTo>
                  <a:lnTo>
                    <a:pt x="820" y="1333"/>
                  </a:lnTo>
                  <a:lnTo>
                    <a:pt x="794" y="1316"/>
                  </a:lnTo>
                  <a:lnTo>
                    <a:pt x="789" y="1325"/>
                  </a:lnTo>
                  <a:lnTo>
                    <a:pt x="773" y="1309"/>
                  </a:lnTo>
                  <a:lnTo>
                    <a:pt x="773" y="1292"/>
                  </a:lnTo>
                  <a:lnTo>
                    <a:pt x="752" y="1300"/>
                  </a:lnTo>
                  <a:lnTo>
                    <a:pt x="723" y="1283"/>
                  </a:lnTo>
                  <a:lnTo>
                    <a:pt x="714" y="1283"/>
                  </a:lnTo>
                  <a:lnTo>
                    <a:pt x="681" y="1283"/>
                  </a:lnTo>
                  <a:lnTo>
                    <a:pt x="669" y="1259"/>
                  </a:lnTo>
                  <a:lnTo>
                    <a:pt x="648" y="1259"/>
                  </a:lnTo>
                  <a:lnTo>
                    <a:pt x="648" y="1243"/>
                  </a:lnTo>
                  <a:lnTo>
                    <a:pt x="631" y="1243"/>
                  </a:lnTo>
                  <a:lnTo>
                    <a:pt x="631" y="1226"/>
                  </a:lnTo>
                  <a:lnTo>
                    <a:pt x="617" y="1226"/>
                  </a:lnTo>
                  <a:lnTo>
                    <a:pt x="626" y="1222"/>
                  </a:lnTo>
                  <a:lnTo>
                    <a:pt x="610" y="1205"/>
                  </a:lnTo>
                  <a:lnTo>
                    <a:pt x="610" y="1188"/>
                  </a:lnTo>
                  <a:lnTo>
                    <a:pt x="610" y="1172"/>
                  </a:lnTo>
                  <a:lnTo>
                    <a:pt x="605" y="1132"/>
                  </a:lnTo>
                  <a:lnTo>
                    <a:pt x="610" y="1115"/>
                  </a:lnTo>
                  <a:lnTo>
                    <a:pt x="610" y="1077"/>
                  </a:lnTo>
                  <a:lnTo>
                    <a:pt x="593" y="1087"/>
                  </a:lnTo>
                  <a:lnTo>
                    <a:pt x="556" y="1087"/>
                  </a:lnTo>
                  <a:lnTo>
                    <a:pt x="518" y="1094"/>
                  </a:lnTo>
                  <a:lnTo>
                    <a:pt x="487" y="1115"/>
                  </a:lnTo>
                  <a:lnTo>
                    <a:pt x="471" y="1127"/>
                  </a:lnTo>
                  <a:lnTo>
                    <a:pt x="454" y="1132"/>
                  </a:lnTo>
                  <a:lnTo>
                    <a:pt x="442" y="1148"/>
                  </a:lnTo>
                  <a:lnTo>
                    <a:pt x="416" y="1148"/>
                  </a:lnTo>
                  <a:lnTo>
                    <a:pt x="400" y="1172"/>
                  </a:lnTo>
                  <a:lnTo>
                    <a:pt x="378" y="1181"/>
                  </a:lnTo>
                  <a:lnTo>
                    <a:pt x="374" y="1181"/>
                  </a:lnTo>
                  <a:lnTo>
                    <a:pt x="362" y="1172"/>
                  </a:lnTo>
                  <a:lnTo>
                    <a:pt x="319" y="1172"/>
                  </a:lnTo>
                  <a:lnTo>
                    <a:pt x="286" y="1165"/>
                  </a:lnTo>
                  <a:lnTo>
                    <a:pt x="265" y="1181"/>
                  </a:lnTo>
                  <a:lnTo>
                    <a:pt x="248" y="1165"/>
                  </a:lnTo>
                  <a:lnTo>
                    <a:pt x="237" y="1172"/>
                  </a:lnTo>
                  <a:lnTo>
                    <a:pt x="237" y="1087"/>
                  </a:lnTo>
                  <a:lnTo>
                    <a:pt x="248" y="1061"/>
                  </a:lnTo>
                  <a:lnTo>
                    <a:pt x="194" y="1106"/>
                  </a:lnTo>
                  <a:lnTo>
                    <a:pt x="130" y="1106"/>
                  </a:lnTo>
                  <a:lnTo>
                    <a:pt x="114" y="1061"/>
                  </a:lnTo>
                  <a:lnTo>
                    <a:pt x="55" y="1054"/>
                  </a:lnTo>
                  <a:lnTo>
                    <a:pt x="76" y="1037"/>
                  </a:lnTo>
                  <a:lnTo>
                    <a:pt x="76" y="1021"/>
                  </a:lnTo>
                  <a:lnTo>
                    <a:pt x="38" y="983"/>
                  </a:lnTo>
                  <a:lnTo>
                    <a:pt x="33" y="959"/>
                  </a:lnTo>
                  <a:lnTo>
                    <a:pt x="17" y="950"/>
                  </a:lnTo>
                  <a:lnTo>
                    <a:pt x="22" y="938"/>
                  </a:lnTo>
                  <a:lnTo>
                    <a:pt x="0" y="922"/>
                  </a:lnTo>
                  <a:lnTo>
                    <a:pt x="5" y="910"/>
                  </a:lnTo>
                  <a:lnTo>
                    <a:pt x="22" y="905"/>
                  </a:lnTo>
                  <a:lnTo>
                    <a:pt x="17" y="888"/>
                  </a:lnTo>
                  <a:lnTo>
                    <a:pt x="22" y="872"/>
                  </a:lnTo>
                  <a:lnTo>
                    <a:pt x="59" y="839"/>
                  </a:lnTo>
                  <a:lnTo>
                    <a:pt x="55" y="815"/>
                  </a:lnTo>
                  <a:lnTo>
                    <a:pt x="76" y="782"/>
                  </a:lnTo>
                  <a:lnTo>
                    <a:pt x="85" y="744"/>
                  </a:lnTo>
                  <a:lnTo>
                    <a:pt x="147" y="704"/>
                  </a:lnTo>
                  <a:lnTo>
                    <a:pt x="199" y="688"/>
                  </a:lnTo>
                  <a:lnTo>
                    <a:pt x="215" y="688"/>
                  </a:lnTo>
                  <a:lnTo>
                    <a:pt x="232" y="671"/>
                  </a:lnTo>
                  <a:lnTo>
                    <a:pt x="265" y="671"/>
                  </a:lnTo>
                  <a:lnTo>
                    <a:pt x="270" y="688"/>
                  </a:lnTo>
                  <a:lnTo>
                    <a:pt x="274" y="688"/>
                  </a:lnTo>
                  <a:lnTo>
                    <a:pt x="286" y="683"/>
                  </a:lnTo>
                  <a:lnTo>
                    <a:pt x="286" y="683"/>
                  </a:lnTo>
                  <a:lnTo>
                    <a:pt x="286" y="683"/>
                  </a:lnTo>
                  <a:close/>
                  <a:moveTo>
                    <a:pt x="1654" y="222"/>
                  </a:moveTo>
                  <a:lnTo>
                    <a:pt x="1659" y="222"/>
                  </a:lnTo>
                  <a:lnTo>
                    <a:pt x="1654" y="222"/>
                  </a:lnTo>
                  <a:lnTo>
                    <a:pt x="1654" y="222"/>
                  </a:lnTo>
                  <a:lnTo>
                    <a:pt x="1654" y="222"/>
                  </a:lnTo>
                  <a:close/>
                  <a:moveTo>
                    <a:pt x="1659" y="246"/>
                  </a:moveTo>
                  <a:lnTo>
                    <a:pt x="1654" y="229"/>
                  </a:lnTo>
                  <a:lnTo>
                    <a:pt x="1659" y="222"/>
                  </a:lnTo>
                  <a:lnTo>
                    <a:pt x="1668" y="239"/>
                  </a:lnTo>
                  <a:lnTo>
                    <a:pt x="1659" y="246"/>
                  </a:lnTo>
                  <a:lnTo>
                    <a:pt x="1659" y="246"/>
                  </a:lnTo>
                  <a:lnTo>
                    <a:pt x="1659" y="246"/>
                  </a:lnTo>
                  <a:close/>
                  <a:moveTo>
                    <a:pt x="1685" y="312"/>
                  </a:moveTo>
                  <a:lnTo>
                    <a:pt x="1692" y="300"/>
                  </a:lnTo>
                  <a:lnTo>
                    <a:pt x="1685" y="312"/>
                  </a:lnTo>
                  <a:lnTo>
                    <a:pt x="1685" y="312"/>
                  </a:lnTo>
                  <a:lnTo>
                    <a:pt x="1685" y="312"/>
                  </a:lnTo>
                  <a:close/>
                  <a:moveTo>
                    <a:pt x="1668" y="329"/>
                  </a:moveTo>
                  <a:lnTo>
                    <a:pt x="1675" y="317"/>
                  </a:lnTo>
                  <a:lnTo>
                    <a:pt x="1685" y="312"/>
                  </a:lnTo>
                  <a:lnTo>
                    <a:pt x="1685" y="317"/>
                  </a:lnTo>
                  <a:lnTo>
                    <a:pt x="1668" y="329"/>
                  </a:lnTo>
                  <a:lnTo>
                    <a:pt x="1668" y="329"/>
                  </a:lnTo>
                  <a:lnTo>
                    <a:pt x="1668" y="329"/>
                  </a:lnTo>
                  <a:close/>
                  <a:moveTo>
                    <a:pt x="1668" y="357"/>
                  </a:moveTo>
                  <a:lnTo>
                    <a:pt x="1668" y="338"/>
                  </a:lnTo>
                  <a:lnTo>
                    <a:pt x="1685" y="333"/>
                  </a:lnTo>
                  <a:lnTo>
                    <a:pt x="1685" y="338"/>
                  </a:lnTo>
                  <a:lnTo>
                    <a:pt x="1668" y="357"/>
                  </a:lnTo>
                  <a:lnTo>
                    <a:pt x="1668" y="357"/>
                  </a:lnTo>
                  <a:lnTo>
                    <a:pt x="1668" y="357"/>
                  </a:lnTo>
                  <a:close/>
                  <a:moveTo>
                    <a:pt x="1654" y="366"/>
                  </a:moveTo>
                  <a:lnTo>
                    <a:pt x="1659" y="333"/>
                  </a:lnTo>
                  <a:lnTo>
                    <a:pt x="1668" y="357"/>
                  </a:lnTo>
                  <a:lnTo>
                    <a:pt x="1654" y="366"/>
                  </a:lnTo>
                  <a:lnTo>
                    <a:pt x="1654" y="366"/>
                  </a:lnTo>
                  <a:lnTo>
                    <a:pt x="1654" y="366"/>
                  </a:lnTo>
                  <a:close/>
                  <a:moveTo>
                    <a:pt x="1685" y="383"/>
                  </a:moveTo>
                  <a:lnTo>
                    <a:pt x="1659" y="374"/>
                  </a:lnTo>
                  <a:lnTo>
                    <a:pt x="1659" y="366"/>
                  </a:lnTo>
                  <a:lnTo>
                    <a:pt x="1706" y="357"/>
                  </a:lnTo>
                  <a:lnTo>
                    <a:pt x="1713" y="366"/>
                  </a:lnTo>
                  <a:lnTo>
                    <a:pt x="1685" y="383"/>
                  </a:lnTo>
                  <a:lnTo>
                    <a:pt x="1685" y="383"/>
                  </a:lnTo>
                  <a:lnTo>
                    <a:pt x="1685" y="383"/>
                  </a:lnTo>
                  <a:close/>
                  <a:moveTo>
                    <a:pt x="1654" y="383"/>
                  </a:moveTo>
                  <a:lnTo>
                    <a:pt x="1642" y="366"/>
                  </a:lnTo>
                  <a:lnTo>
                    <a:pt x="1654" y="366"/>
                  </a:lnTo>
                  <a:lnTo>
                    <a:pt x="1654" y="383"/>
                  </a:lnTo>
                  <a:lnTo>
                    <a:pt x="1654" y="383"/>
                  </a:lnTo>
                  <a:lnTo>
                    <a:pt x="1654" y="383"/>
                  </a:lnTo>
                  <a:close/>
                  <a:moveTo>
                    <a:pt x="1730" y="383"/>
                  </a:moveTo>
                  <a:lnTo>
                    <a:pt x="1730" y="390"/>
                  </a:lnTo>
                  <a:lnTo>
                    <a:pt x="1722" y="390"/>
                  </a:lnTo>
                  <a:lnTo>
                    <a:pt x="1706" y="390"/>
                  </a:lnTo>
                  <a:lnTo>
                    <a:pt x="1696" y="383"/>
                  </a:lnTo>
                  <a:lnTo>
                    <a:pt x="1713" y="374"/>
                  </a:lnTo>
                  <a:lnTo>
                    <a:pt x="1730" y="383"/>
                  </a:lnTo>
                  <a:lnTo>
                    <a:pt x="1730" y="383"/>
                  </a:lnTo>
                  <a:lnTo>
                    <a:pt x="1730" y="383"/>
                  </a:lnTo>
                  <a:close/>
                  <a:moveTo>
                    <a:pt x="1621" y="383"/>
                  </a:moveTo>
                  <a:lnTo>
                    <a:pt x="1630" y="374"/>
                  </a:lnTo>
                  <a:lnTo>
                    <a:pt x="1637" y="374"/>
                  </a:lnTo>
                  <a:lnTo>
                    <a:pt x="1621" y="383"/>
                  </a:lnTo>
                  <a:lnTo>
                    <a:pt x="1621" y="383"/>
                  </a:lnTo>
                  <a:lnTo>
                    <a:pt x="1621" y="383"/>
                  </a:lnTo>
                  <a:close/>
                  <a:moveTo>
                    <a:pt x="1630" y="395"/>
                  </a:moveTo>
                  <a:lnTo>
                    <a:pt x="1616" y="395"/>
                  </a:lnTo>
                  <a:lnTo>
                    <a:pt x="1621" y="383"/>
                  </a:lnTo>
                  <a:lnTo>
                    <a:pt x="1637" y="383"/>
                  </a:lnTo>
                  <a:lnTo>
                    <a:pt x="1642" y="383"/>
                  </a:lnTo>
                  <a:lnTo>
                    <a:pt x="1630" y="395"/>
                  </a:lnTo>
                  <a:lnTo>
                    <a:pt x="1630" y="395"/>
                  </a:lnTo>
                  <a:lnTo>
                    <a:pt x="1630" y="395"/>
                  </a:lnTo>
                  <a:close/>
                  <a:moveTo>
                    <a:pt x="1630" y="485"/>
                  </a:moveTo>
                  <a:lnTo>
                    <a:pt x="1630" y="461"/>
                  </a:lnTo>
                  <a:lnTo>
                    <a:pt x="1642" y="449"/>
                  </a:lnTo>
                  <a:lnTo>
                    <a:pt x="1630" y="449"/>
                  </a:lnTo>
                  <a:lnTo>
                    <a:pt x="1630" y="428"/>
                  </a:lnTo>
                  <a:lnTo>
                    <a:pt x="1637" y="423"/>
                  </a:lnTo>
                  <a:lnTo>
                    <a:pt x="1654" y="428"/>
                  </a:lnTo>
                  <a:lnTo>
                    <a:pt x="1637" y="423"/>
                  </a:lnTo>
                  <a:lnTo>
                    <a:pt x="1637" y="411"/>
                  </a:lnTo>
                  <a:lnTo>
                    <a:pt x="1637" y="395"/>
                  </a:lnTo>
                  <a:lnTo>
                    <a:pt x="1654" y="390"/>
                  </a:lnTo>
                  <a:lnTo>
                    <a:pt x="1659" y="390"/>
                  </a:lnTo>
                  <a:lnTo>
                    <a:pt x="1713" y="395"/>
                  </a:lnTo>
                  <a:lnTo>
                    <a:pt x="1744" y="390"/>
                  </a:lnTo>
                  <a:lnTo>
                    <a:pt x="1798" y="395"/>
                  </a:lnTo>
                  <a:lnTo>
                    <a:pt x="1793" y="444"/>
                  </a:lnTo>
                  <a:lnTo>
                    <a:pt x="1760" y="485"/>
                  </a:lnTo>
                  <a:lnTo>
                    <a:pt x="1744" y="494"/>
                  </a:lnTo>
                  <a:lnTo>
                    <a:pt x="1722" y="494"/>
                  </a:lnTo>
                  <a:lnTo>
                    <a:pt x="1706" y="506"/>
                  </a:lnTo>
                  <a:lnTo>
                    <a:pt x="1706" y="494"/>
                  </a:lnTo>
                  <a:lnTo>
                    <a:pt x="1696" y="506"/>
                  </a:lnTo>
                  <a:lnTo>
                    <a:pt x="1685" y="501"/>
                  </a:lnTo>
                  <a:lnTo>
                    <a:pt x="1659" y="506"/>
                  </a:lnTo>
                  <a:lnTo>
                    <a:pt x="1642" y="506"/>
                  </a:lnTo>
                  <a:lnTo>
                    <a:pt x="1630" y="485"/>
                  </a:lnTo>
                  <a:lnTo>
                    <a:pt x="1630" y="485"/>
                  </a:lnTo>
                  <a:lnTo>
                    <a:pt x="1630" y="485"/>
                  </a:lnTo>
                  <a:close/>
                  <a:moveTo>
                    <a:pt x="1588" y="411"/>
                  </a:moveTo>
                  <a:lnTo>
                    <a:pt x="1600" y="390"/>
                  </a:lnTo>
                  <a:lnTo>
                    <a:pt x="1604" y="390"/>
                  </a:lnTo>
                  <a:lnTo>
                    <a:pt x="1604" y="395"/>
                  </a:lnTo>
                  <a:lnTo>
                    <a:pt x="1588" y="411"/>
                  </a:lnTo>
                  <a:lnTo>
                    <a:pt x="1588" y="411"/>
                  </a:lnTo>
                  <a:lnTo>
                    <a:pt x="1588" y="411"/>
                  </a:lnTo>
                  <a:close/>
                  <a:moveTo>
                    <a:pt x="1630" y="407"/>
                  </a:moveTo>
                  <a:lnTo>
                    <a:pt x="1621" y="407"/>
                  </a:lnTo>
                  <a:lnTo>
                    <a:pt x="1637" y="395"/>
                  </a:lnTo>
                  <a:lnTo>
                    <a:pt x="1630" y="407"/>
                  </a:lnTo>
                  <a:lnTo>
                    <a:pt x="1630" y="407"/>
                  </a:lnTo>
                  <a:lnTo>
                    <a:pt x="1630" y="407"/>
                  </a:lnTo>
                  <a:close/>
                  <a:moveTo>
                    <a:pt x="1604" y="423"/>
                  </a:moveTo>
                  <a:lnTo>
                    <a:pt x="1604" y="407"/>
                  </a:lnTo>
                  <a:lnTo>
                    <a:pt x="1616" y="395"/>
                  </a:lnTo>
                  <a:lnTo>
                    <a:pt x="1621" y="407"/>
                  </a:lnTo>
                  <a:lnTo>
                    <a:pt x="1604" y="423"/>
                  </a:lnTo>
                  <a:lnTo>
                    <a:pt x="1604" y="423"/>
                  </a:lnTo>
                  <a:lnTo>
                    <a:pt x="1604" y="423"/>
                  </a:lnTo>
                  <a:close/>
                  <a:moveTo>
                    <a:pt x="1621" y="423"/>
                  </a:moveTo>
                  <a:lnTo>
                    <a:pt x="1621" y="407"/>
                  </a:lnTo>
                  <a:lnTo>
                    <a:pt x="1630" y="407"/>
                  </a:lnTo>
                  <a:lnTo>
                    <a:pt x="1630" y="411"/>
                  </a:lnTo>
                  <a:lnTo>
                    <a:pt x="1621" y="423"/>
                  </a:lnTo>
                  <a:lnTo>
                    <a:pt x="1621" y="423"/>
                  </a:lnTo>
                  <a:lnTo>
                    <a:pt x="1621" y="423"/>
                  </a:lnTo>
                  <a:close/>
                  <a:moveTo>
                    <a:pt x="1550" y="485"/>
                  </a:moveTo>
                  <a:lnTo>
                    <a:pt x="1550" y="461"/>
                  </a:lnTo>
                  <a:lnTo>
                    <a:pt x="1567" y="449"/>
                  </a:lnTo>
                  <a:lnTo>
                    <a:pt x="1578" y="428"/>
                  </a:lnTo>
                  <a:lnTo>
                    <a:pt x="1588" y="423"/>
                  </a:lnTo>
                  <a:lnTo>
                    <a:pt x="1604" y="411"/>
                  </a:lnTo>
                  <a:lnTo>
                    <a:pt x="1604" y="428"/>
                  </a:lnTo>
                  <a:lnTo>
                    <a:pt x="1600" y="449"/>
                  </a:lnTo>
                  <a:lnTo>
                    <a:pt x="1583" y="468"/>
                  </a:lnTo>
                  <a:lnTo>
                    <a:pt x="1550" y="485"/>
                  </a:lnTo>
                  <a:lnTo>
                    <a:pt x="1550" y="485"/>
                  </a:lnTo>
                  <a:lnTo>
                    <a:pt x="1550" y="485"/>
                  </a:lnTo>
                  <a:close/>
                  <a:moveTo>
                    <a:pt x="1604" y="444"/>
                  </a:moveTo>
                  <a:lnTo>
                    <a:pt x="1616" y="428"/>
                  </a:lnTo>
                  <a:lnTo>
                    <a:pt x="1630" y="423"/>
                  </a:lnTo>
                  <a:lnTo>
                    <a:pt x="1630" y="428"/>
                  </a:lnTo>
                  <a:lnTo>
                    <a:pt x="1604" y="444"/>
                  </a:lnTo>
                  <a:lnTo>
                    <a:pt x="1604" y="444"/>
                  </a:lnTo>
                  <a:lnTo>
                    <a:pt x="1604" y="444"/>
                  </a:lnTo>
                  <a:close/>
                  <a:moveTo>
                    <a:pt x="1831" y="428"/>
                  </a:moveTo>
                  <a:lnTo>
                    <a:pt x="1831" y="423"/>
                  </a:lnTo>
                  <a:lnTo>
                    <a:pt x="1836" y="428"/>
                  </a:lnTo>
                  <a:lnTo>
                    <a:pt x="1831" y="428"/>
                  </a:lnTo>
                  <a:lnTo>
                    <a:pt x="1831" y="428"/>
                  </a:lnTo>
                  <a:lnTo>
                    <a:pt x="1831" y="428"/>
                  </a:lnTo>
                  <a:close/>
                  <a:moveTo>
                    <a:pt x="1621" y="440"/>
                  </a:moveTo>
                  <a:lnTo>
                    <a:pt x="1621" y="428"/>
                  </a:lnTo>
                  <a:lnTo>
                    <a:pt x="1630" y="428"/>
                  </a:lnTo>
                  <a:lnTo>
                    <a:pt x="1621" y="440"/>
                  </a:lnTo>
                  <a:lnTo>
                    <a:pt x="1621" y="440"/>
                  </a:lnTo>
                  <a:lnTo>
                    <a:pt x="1621" y="440"/>
                  </a:lnTo>
                  <a:close/>
                  <a:moveTo>
                    <a:pt x="1588" y="468"/>
                  </a:moveTo>
                  <a:lnTo>
                    <a:pt x="1604" y="440"/>
                  </a:lnTo>
                  <a:lnTo>
                    <a:pt x="1600" y="461"/>
                  </a:lnTo>
                  <a:lnTo>
                    <a:pt x="1588" y="468"/>
                  </a:lnTo>
                  <a:lnTo>
                    <a:pt x="1588" y="468"/>
                  </a:lnTo>
                  <a:lnTo>
                    <a:pt x="1588" y="468"/>
                  </a:lnTo>
                  <a:close/>
                  <a:moveTo>
                    <a:pt x="1928" y="449"/>
                  </a:moveTo>
                  <a:lnTo>
                    <a:pt x="1940" y="444"/>
                  </a:lnTo>
                  <a:lnTo>
                    <a:pt x="1940" y="449"/>
                  </a:lnTo>
                  <a:lnTo>
                    <a:pt x="1928" y="449"/>
                  </a:lnTo>
                  <a:lnTo>
                    <a:pt x="1928" y="449"/>
                  </a:lnTo>
                  <a:lnTo>
                    <a:pt x="1928" y="449"/>
                  </a:lnTo>
                  <a:close/>
                  <a:moveTo>
                    <a:pt x="1798" y="468"/>
                  </a:moveTo>
                  <a:lnTo>
                    <a:pt x="1793" y="461"/>
                  </a:lnTo>
                  <a:lnTo>
                    <a:pt x="1798" y="449"/>
                  </a:lnTo>
                  <a:lnTo>
                    <a:pt x="1805" y="449"/>
                  </a:lnTo>
                  <a:lnTo>
                    <a:pt x="1798" y="468"/>
                  </a:lnTo>
                  <a:lnTo>
                    <a:pt x="1798" y="468"/>
                  </a:lnTo>
                  <a:lnTo>
                    <a:pt x="1798" y="468"/>
                  </a:lnTo>
                  <a:close/>
                  <a:moveTo>
                    <a:pt x="2037" y="477"/>
                  </a:moveTo>
                  <a:lnTo>
                    <a:pt x="2037" y="468"/>
                  </a:lnTo>
                  <a:lnTo>
                    <a:pt x="2048" y="468"/>
                  </a:lnTo>
                  <a:lnTo>
                    <a:pt x="2037" y="477"/>
                  </a:lnTo>
                  <a:lnTo>
                    <a:pt x="2037" y="477"/>
                  </a:lnTo>
                  <a:lnTo>
                    <a:pt x="2037" y="477"/>
                  </a:lnTo>
                  <a:close/>
                  <a:moveTo>
                    <a:pt x="1512" y="485"/>
                  </a:moveTo>
                  <a:lnTo>
                    <a:pt x="1533" y="477"/>
                  </a:lnTo>
                  <a:lnTo>
                    <a:pt x="1512" y="485"/>
                  </a:lnTo>
                  <a:lnTo>
                    <a:pt x="1512" y="485"/>
                  </a:lnTo>
                  <a:lnTo>
                    <a:pt x="1512" y="485"/>
                  </a:lnTo>
                  <a:close/>
                  <a:moveTo>
                    <a:pt x="1529" y="501"/>
                  </a:moveTo>
                  <a:lnTo>
                    <a:pt x="1533" y="485"/>
                  </a:lnTo>
                  <a:lnTo>
                    <a:pt x="1545" y="485"/>
                  </a:lnTo>
                  <a:lnTo>
                    <a:pt x="1550" y="485"/>
                  </a:lnTo>
                  <a:lnTo>
                    <a:pt x="1529" y="501"/>
                  </a:lnTo>
                  <a:lnTo>
                    <a:pt x="1529" y="501"/>
                  </a:lnTo>
                  <a:lnTo>
                    <a:pt x="1529" y="501"/>
                  </a:lnTo>
                  <a:close/>
                  <a:moveTo>
                    <a:pt x="2053" y="501"/>
                  </a:moveTo>
                  <a:lnTo>
                    <a:pt x="2063" y="494"/>
                  </a:lnTo>
                  <a:lnTo>
                    <a:pt x="2063" y="501"/>
                  </a:lnTo>
                  <a:lnTo>
                    <a:pt x="2053" y="501"/>
                  </a:lnTo>
                  <a:lnTo>
                    <a:pt x="2053" y="501"/>
                  </a:lnTo>
                  <a:lnTo>
                    <a:pt x="2053" y="501"/>
                  </a:lnTo>
                  <a:close/>
                  <a:moveTo>
                    <a:pt x="1760" y="506"/>
                  </a:moveTo>
                  <a:lnTo>
                    <a:pt x="1751" y="501"/>
                  </a:lnTo>
                  <a:lnTo>
                    <a:pt x="1760" y="494"/>
                  </a:lnTo>
                  <a:lnTo>
                    <a:pt x="1760" y="506"/>
                  </a:lnTo>
                  <a:lnTo>
                    <a:pt x="1760" y="506"/>
                  </a:lnTo>
                  <a:lnTo>
                    <a:pt x="1760" y="506"/>
                  </a:lnTo>
                  <a:close/>
                  <a:moveTo>
                    <a:pt x="1744" y="518"/>
                  </a:moveTo>
                  <a:lnTo>
                    <a:pt x="1751" y="501"/>
                  </a:lnTo>
                  <a:lnTo>
                    <a:pt x="1751" y="506"/>
                  </a:lnTo>
                  <a:lnTo>
                    <a:pt x="1744" y="518"/>
                  </a:lnTo>
                  <a:lnTo>
                    <a:pt x="1744" y="518"/>
                  </a:lnTo>
                  <a:lnTo>
                    <a:pt x="1744" y="518"/>
                  </a:lnTo>
                  <a:close/>
                  <a:moveTo>
                    <a:pt x="1630" y="522"/>
                  </a:moveTo>
                  <a:lnTo>
                    <a:pt x="1616" y="522"/>
                  </a:lnTo>
                  <a:lnTo>
                    <a:pt x="1604" y="506"/>
                  </a:lnTo>
                  <a:lnTo>
                    <a:pt x="1630" y="518"/>
                  </a:lnTo>
                  <a:lnTo>
                    <a:pt x="1630" y="522"/>
                  </a:lnTo>
                  <a:lnTo>
                    <a:pt x="1630" y="522"/>
                  </a:lnTo>
                  <a:lnTo>
                    <a:pt x="1630" y="522"/>
                  </a:lnTo>
                  <a:close/>
                  <a:moveTo>
                    <a:pt x="2247" y="577"/>
                  </a:moveTo>
                  <a:lnTo>
                    <a:pt x="2237" y="572"/>
                  </a:lnTo>
                  <a:lnTo>
                    <a:pt x="2247" y="572"/>
                  </a:lnTo>
                  <a:lnTo>
                    <a:pt x="2247" y="577"/>
                  </a:lnTo>
                  <a:lnTo>
                    <a:pt x="2247" y="577"/>
                  </a:lnTo>
                  <a:lnTo>
                    <a:pt x="2247" y="577"/>
                  </a:lnTo>
                  <a:close/>
                  <a:moveTo>
                    <a:pt x="2070" y="596"/>
                  </a:moveTo>
                  <a:lnTo>
                    <a:pt x="2070" y="577"/>
                  </a:lnTo>
                  <a:lnTo>
                    <a:pt x="2074" y="572"/>
                  </a:lnTo>
                  <a:lnTo>
                    <a:pt x="2070" y="589"/>
                  </a:lnTo>
                  <a:lnTo>
                    <a:pt x="2070" y="596"/>
                  </a:lnTo>
                  <a:lnTo>
                    <a:pt x="2070" y="596"/>
                  </a:lnTo>
                  <a:lnTo>
                    <a:pt x="2070" y="596"/>
                  </a:lnTo>
                  <a:close/>
                  <a:moveTo>
                    <a:pt x="2469" y="1333"/>
                  </a:moveTo>
                  <a:lnTo>
                    <a:pt x="2485" y="1309"/>
                  </a:lnTo>
                  <a:lnTo>
                    <a:pt x="2485" y="1316"/>
                  </a:lnTo>
                  <a:lnTo>
                    <a:pt x="2469" y="1333"/>
                  </a:lnTo>
                  <a:lnTo>
                    <a:pt x="2469" y="1333"/>
                  </a:lnTo>
                  <a:lnTo>
                    <a:pt x="2469" y="1333"/>
                  </a:lnTo>
                  <a:close/>
                  <a:moveTo>
                    <a:pt x="2464" y="1366"/>
                  </a:moveTo>
                  <a:lnTo>
                    <a:pt x="2452" y="1349"/>
                  </a:lnTo>
                  <a:lnTo>
                    <a:pt x="2464" y="1349"/>
                  </a:lnTo>
                  <a:lnTo>
                    <a:pt x="2464" y="1366"/>
                  </a:lnTo>
                  <a:lnTo>
                    <a:pt x="2464" y="1366"/>
                  </a:lnTo>
                  <a:lnTo>
                    <a:pt x="2464" y="1366"/>
                  </a:lnTo>
                  <a:close/>
                  <a:moveTo>
                    <a:pt x="2464" y="1370"/>
                  </a:moveTo>
                  <a:lnTo>
                    <a:pt x="2464" y="1366"/>
                  </a:lnTo>
                  <a:lnTo>
                    <a:pt x="2464" y="1370"/>
                  </a:lnTo>
                  <a:lnTo>
                    <a:pt x="2464" y="1370"/>
                  </a:lnTo>
                  <a:lnTo>
                    <a:pt x="2464" y="1370"/>
                  </a:lnTo>
                  <a:close/>
                  <a:moveTo>
                    <a:pt x="2086" y="2086"/>
                  </a:moveTo>
                  <a:lnTo>
                    <a:pt x="2086" y="2074"/>
                  </a:lnTo>
                  <a:lnTo>
                    <a:pt x="2091" y="2070"/>
                  </a:lnTo>
                  <a:lnTo>
                    <a:pt x="2100" y="2074"/>
                  </a:lnTo>
                  <a:lnTo>
                    <a:pt x="2086" y="2086"/>
                  </a:lnTo>
                  <a:lnTo>
                    <a:pt x="2086" y="2086"/>
                  </a:lnTo>
                  <a:lnTo>
                    <a:pt x="2086" y="2086"/>
                  </a:lnTo>
                  <a:close/>
                  <a:moveTo>
                    <a:pt x="2020" y="2143"/>
                  </a:moveTo>
                  <a:lnTo>
                    <a:pt x="2011" y="2131"/>
                  </a:lnTo>
                  <a:lnTo>
                    <a:pt x="2015" y="2119"/>
                  </a:lnTo>
                  <a:lnTo>
                    <a:pt x="2020" y="2126"/>
                  </a:lnTo>
                  <a:lnTo>
                    <a:pt x="2020" y="2143"/>
                  </a:lnTo>
                  <a:lnTo>
                    <a:pt x="2020" y="2143"/>
                  </a:lnTo>
                  <a:lnTo>
                    <a:pt x="2020" y="2143"/>
                  </a:lnTo>
                  <a:close/>
                  <a:moveTo>
                    <a:pt x="1836" y="2221"/>
                  </a:moveTo>
                  <a:lnTo>
                    <a:pt x="1836" y="2214"/>
                  </a:lnTo>
                  <a:lnTo>
                    <a:pt x="1852" y="2202"/>
                  </a:lnTo>
                  <a:lnTo>
                    <a:pt x="1836" y="2221"/>
                  </a:lnTo>
                  <a:lnTo>
                    <a:pt x="1836" y="2221"/>
                  </a:lnTo>
                  <a:lnTo>
                    <a:pt x="1836" y="2221"/>
                  </a:lnTo>
                  <a:close/>
                  <a:moveTo>
                    <a:pt x="1805" y="2254"/>
                  </a:moveTo>
                  <a:lnTo>
                    <a:pt x="1805" y="2242"/>
                  </a:lnTo>
                  <a:lnTo>
                    <a:pt x="1805" y="2254"/>
                  </a:lnTo>
                  <a:lnTo>
                    <a:pt x="1805" y="2254"/>
                  </a:lnTo>
                  <a:lnTo>
                    <a:pt x="1805" y="2254"/>
                  </a:lnTo>
                  <a:close/>
                  <a:moveTo>
                    <a:pt x="1784" y="2329"/>
                  </a:moveTo>
                  <a:lnTo>
                    <a:pt x="1777" y="2313"/>
                  </a:lnTo>
                  <a:lnTo>
                    <a:pt x="1793" y="2308"/>
                  </a:lnTo>
                  <a:lnTo>
                    <a:pt x="1793" y="2313"/>
                  </a:lnTo>
                  <a:lnTo>
                    <a:pt x="1784" y="2329"/>
                  </a:lnTo>
                  <a:lnTo>
                    <a:pt x="1784" y="2329"/>
                  </a:lnTo>
                  <a:lnTo>
                    <a:pt x="1784" y="2329"/>
                  </a:lnTo>
                  <a:close/>
                  <a:moveTo>
                    <a:pt x="1793" y="2436"/>
                  </a:moveTo>
                  <a:lnTo>
                    <a:pt x="1793" y="2403"/>
                  </a:lnTo>
                  <a:lnTo>
                    <a:pt x="1798" y="2403"/>
                  </a:lnTo>
                  <a:lnTo>
                    <a:pt x="1798" y="2419"/>
                  </a:lnTo>
                  <a:lnTo>
                    <a:pt x="1793" y="2436"/>
                  </a:lnTo>
                  <a:lnTo>
                    <a:pt x="1793" y="2436"/>
                  </a:lnTo>
                  <a:lnTo>
                    <a:pt x="1793" y="243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5" name="Freeform 404">
              <a:extLst>
                <a:ext uri="{FF2B5EF4-FFF2-40B4-BE49-F238E27FC236}">
                  <a16:creationId xmlns:a16="http://schemas.microsoft.com/office/drawing/2014/main" id="{B1261CAD-E035-4D20-BEC0-870352E7CC62}"/>
                </a:ext>
              </a:extLst>
            </p:cNvPr>
            <p:cNvSpPr>
              <a:spLocks/>
            </p:cNvSpPr>
            <p:nvPr/>
          </p:nvSpPr>
          <p:spPr bwMode="gray">
            <a:xfrm>
              <a:off x="15781587" y="3428065"/>
              <a:ext cx="77242" cy="41567"/>
            </a:xfrm>
            <a:custGeom>
              <a:avLst/>
              <a:gdLst>
                <a:gd name="T0" fmla="*/ 5 w 236"/>
                <a:gd name="T1" fmla="*/ 78 h 127"/>
                <a:gd name="T2" fmla="*/ 55 w 236"/>
                <a:gd name="T3" fmla="*/ 21 h 127"/>
                <a:gd name="T4" fmla="*/ 88 w 236"/>
                <a:gd name="T5" fmla="*/ 0 h 127"/>
                <a:gd name="T6" fmla="*/ 116 w 236"/>
                <a:gd name="T7" fmla="*/ 4 h 127"/>
                <a:gd name="T8" fmla="*/ 116 w 236"/>
                <a:gd name="T9" fmla="*/ 21 h 127"/>
                <a:gd name="T10" fmla="*/ 166 w 236"/>
                <a:gd name="T11" fmla="*/ 28 h 127"/>
                <a:gd name="T12" fmla="*/ 182 w 236"/>
                <a:gd name="T13" fmla="*/ 21 h 127"/>
                <a:gd name="T14" fmla="*/ 203 w 236"/>
                <a:gd name="T15" fmla="*/ 28 h 127"/>
                <a:gd name="T16" fmla="*/ 203 w 236"/>
                <a:gd name="T17" fmla="*/ 45 h 127"/>
                <a:gd name="T18" fmla="*/ 203 w 236"/>
                <a:gd name="T19" fmla="*/ 54 h 127"/>
                <a:gd name="T20" fmla="*/ 203 w 236"/>
                <a:gd name="T21" fmla="*/ 61 h 127"/>
                <a:gd name="T22" fmla="*/ 225 w 236"/>
                <a:gd name="T23" fmla="*/ 61 h 127"/>
                <a:gd name="T24" fmla="*/ 236 w 236"/>
                <a:gd name="T25" fmla="*/ 78 h 127"/>
                <a:gd name="T26" fmla="*/ 225 w 236"/>
                <a:gd name="T27" fmla="*/ 94 h 127"/>
                <a:gd name="T28" fmla="*/ 236 w 236"/>
                <a:gd name="T29" fmla="*/ 111 h 127"/>
                <a:gd name="T30" fmla="*/ 236 w 236"/>
                <a:gd name="T31" fmla="*/ 111 h 127"/>
                <a:gd name="T32" fmla="*/ 199 w 236"/>
                <a:gd name="T33" fmla="*/ 118 h 127"/>
                <a:gd name="T34" fmla="*/ 187 w 236"/>
                <a:gd name="T35" fmla="*/ 111 h 127"/>
                <a:gd name="T36" fmla="*/ 182 w 236"/>
                <a:gd name="T37" fmla="*/ 118 h 127"/>
                <a:gd name="T38" fmla="*/ 142 w 236"/>
                <a:gd name="T39" fmla="*/ 118 h 127"/>
                <a:gd name="T40" fmla="*/ 116 w 236"/>
                <a:gd name="T41" fmla="*/ 111 h 127"/>
                <a:gd name="T42" fmla="*/ 92 w 236"/>
                <a:gd name="T43" fmla="*/ 127 h 127"/>
                <a:gd name="T44" fmla="*/ 62 w 236"/>
                <a:gd name="T45" fmla="*/ 127 h 127"/>
                <a:gd name="T46" fmla="*/ 38 w 236"/>
                <a:gd name="T47" fmla="*/ 118 h 127"/>
                <a:gd name="T48" fmla="*/ 21 w 236"/>
                <a:gd name="T49" fmla="*/ 118 h 127"/>
                <a:gd name="T50" fmla="*/ 5 w 236"/>
                <a:gd name="T51" fmla="*/ 99 h 127"/>
                <a:gd name="T52" fmla="*/ 0 w 236"/>
                <a:gd name="T53" fmla="*/ 94 h 127"/>
                <a:gd name="T54" fmla="*/ 5 w 236"/>
                <a:gd name="T55" fmla="*/ 78 h 127"/>
                <a:gd name="T56" fmla="*/ 5 w 236"/>
                <a:gd name="T57" fmla="*/ 78 h 127"/>
                <a:gd name="T58" fmla="*/ 5 w 236"/>
                <a:gd name="T59" fmla="*/ 7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6" h="127">
                  <a:moveTo>
                    <a:pt x="5" y="78"/>
                  </a:moveTo>
                  <a:lnTo>
                    <a:pt x="55" y="21"/>
                  </a:lnTo>
                  <a:lnTo>
                    <a:pt x="88" y="0"/>
                  </a:lnTo>
                  <a:lnTo>
                    <a:pt x="116" y="4"/>
                  </a:lnTo>
                  <a:lnTo>
                    <a:pt x="116" y="21"/>
                  </a:lnTo>
                  <a:lnTo>
                    <a:pt x="166" y="28"/>
                  </a:lnTo>
                  <a:lnTo>
                    <a:pt x="182" y="21"/>
                  </a:lnTo>
                  <a:lnTo>
                    <a:pt x="203" y="28"/>
                  </a:lnTo>
                  <a:lnTo>
                    <a:pt x="203" y="45"/>
                  </a:lnTo>
                  <a:lnTo>
                    <a:pt x="203" y="54"/>
                  </a:lnTo>
                  <a:lnTo>
                    <a:pt x="203" y="61"/>
                  </a:lnTo>
                  <a:lnTo>
                    <a:pt x="225" y="61"/>
                  </a:lnTo>
                  <a:lnTo>
                    <a:pt x="236" y="78"/>
                  </a:lnTo>
                  <a:lnTo>
                    <a:pt x="225" y="94"/>
                  </a:lnTo>
                  <a:lnTo>
                    <a:pt x="236" y="111"/>
                  </a:lnTo>
                  <a:lnTo>
                    <a:pt x="236" y="111"/>
                  </a:lnTo>
                  <a:lnTo>
                    <a:pt x="199" y="118"/>
                  </a:lnTo>
                  <a:lnTo>
                    <a:pt x="187" y="111"/>
                  </a:lnTo>
                  <a:lnTo>
                    <a:pt x="182" y="118"/>
                  </a:lnTo>
                  <a:lnTo>
                    <a:pt x="142" y="118"/>
                  </a:lnTo>
                  <a:lnTo>
                    <a:pt x="116" y="111"/>
                  </a:lnTo>
                  <a:lnTo>
                    <a:pt x="92" y="127"/>
                  </a:lnTo>
                  <a:lnTo>
                    <a:pt x="62" y="127"/>
                  </a:lnTo>
                  <a:lnTo>
                    <a:pt x="38" y="118"/>
                  </a:lnTo>
                  <a:lnTo>
                    <a:pt x="21" y="118"/>
                  </a:lnTo>
                  <a:lnTo>
                    <a:pt x="5" y="99"/>
                  </a:lnTo>
                  <a:lnTo>
                    <a:pt x="0" y="94"/>
                  </a:lnTo>
                  <a:lnTo>
                    <a:pt x="5" y="78"/>
                  </a:lnTo>
                  <a:lnTo>
                    <a:pt x="5" y="78"/>
                  </a:lnTo>
                  <a:lnTo>
                    <a:pt x="5" y="7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6" name="Freeform 405">
              <a:extLst>
                <a:ext uri="{FF2B5EF4-FFF2-40B4-BE49-F238E27FC236}">
                  <a16:creationId xmlns:a16="http://schemas.microsoft.com/office/drawing/2014/main" id="{9BFED5D7-98C3-468A-82DD-DF84E62BA771}"/>
                </a:ext>
              </a:extLst>
            </p:cNvPr>
            <p:cNvSpPr>
              <a:spLocks/>
            </p:cNvSpPr>
            <p:nvPr/>
          </p:nvSpPr>
          <p:spPr bwMode="gray">
            <a:xfrm>
              <a:off x="14257694" y="2996688"/>
              <a:ext cx="143029" cy="87388"/>
            </a:xfrm>
            <a:custGeom>
              <a:avLst/>
              <a:gdLst>
                <a:gd name="T0" fmla="*/ 400 w 437"/>
                <a:gd name="T1" fmla="*/ 200 h 267"/>
                <a:gd name="T2" fmla="*/ 366 w 437"/>
                <a:gd name="T3" fmla="*/ 210 h 267"/>
                <a:gd name="T4" fmla="*/ 345 w 437"/>
                <a:gd name="T5" fmla="*/ 193 h 267"/>
                <a:gd name="T6" fmla="*/ 329 w 437"/>
                <a:gd name="T7" fmla="*/ 193 h 267"/>
                <a:gd name="T8" fmla="*/ 324 w 437"/>
                <a:gd name="T9" fmla="*/ 200 h 267"/>
                <a:gd name="T10" fmla="*/ 303 w 437"/>
                <a:gd name="T11" fmla="*/ 200 h 267"/>
                <a:gd name="T12" fmla="*/ 291 w 437"/>
                <a:gd name="T13" fmla="*/ 217 h 267"/>
                <a:gd name="T14" fmla="*/ 286 w 437"/>
                <a:gd name="T15" fmla="*/ 217 h 267"/>
                <a:gd name="T16" fmla="*/ 286 w 437"/>
                <a:gd name="T17" fmla="*/ 226 h 267"/>
                <a:gd name="T18" fmla="*/ 260 w 437"/>
                <a:gd name="T19" fmla="*/ 226 h 267"/>
                <a:gd name="T20" fmla="*/ 270 w 437"/>
                <a:gd name="T21" fmla="*/ 238 h 267"/>
                <a:gd name="T22" fmla="*/ 270 w 437"/>
                <a:gd name="T23" fmla="*/ 255 h 267"/>
                <a:gd name="T24" fmla="*/ 206 w 437"/>
                <a:gd name="T25" fmla="*/ 267 h 267"/>
                <a:gd name="T26" fmla="*/ 140 w 437"/>
                <a:gd name="T27" fmla="*/ 238 h 267"/>
                <a:gd name="T28" fmla="*/ 92 w 437"/>
                <a:gd name="T29" fmla="*/ 255 h 267"/>
                <a:gd name="T30" fmla="*/ 43 w 437"/>
                <a:gd name="T31" fmla="*/ 255 h 267"/>
                <a:gd name="T32" fmla="*/ 43 w 437"/>
                <a:gd name="T33" fmla="*/ 217 h 267"/>
                <a:gd name="T34" fmla="*/ 38 w 437"/>
                <a:gd name="T35" fmla="*/ 200 h 267"/>
                <a:gd name="T36" fmla="*/ 17 w 437"/>
                <a:gd name="T37" fmla="*/ 184 h 267"/>
                <a:gd name="T38" fmla="*/ 0 w 437"/>
                <a:gd name="T39" fmla="*/ 165 h 267"/>
                <a:gd name="T40" fmla="*/ 17 w 437"/>
                <a:gd name="T41" fmla="*/ 160 h 267"/>
                <a:gd name="T42" fmla="*/ 5 w 437"/>
                <a:gd name="T43" fmla="*/ 144 h 267"/>
                <a:gd name="T44" fmla="*/ 5 w 437"/>
                <a:gd name="T45" fmla="*/ 127 h 267"/>
                <a:gd name="T46" fmla="*/ 33 w 437"/>
                <a:gd name="T47" fmla="*/ 122 h 267"/>
                <a:gd name="T48" fmla="*/ 43 w 437"/>
                <a:gd name="T49" fmla="*/ 99 h 267"/>
                <a:gd name="T50" fmla="*/ 17 w 437"/>
                <a:gd name="T51" fmla="*/ 73 h 267"/>
                <a:gd name="T52" fmla="*/ 0 w 437"/>
                <a:gd name="T53" fmla="*/ 44 h 267"/>
                <a:gd name="T54" fmla="*/ 5 w 437"/>
                <a:gd name="T55" fmla="*/ 28 h 267"/>
                <a:gd name="T56" fmla="*/ 22 w 437"/>
                <a:gd name="T57" fmla="*/ 0 h 267"/>
                <a:gd name="T58" fmla="*/ 43 w 437"/>
                <a:gd name="T59" fmla="*/ 16 h 267"/>
                <a:gd name="T60" fmla="*/ 38 w 437"/>
                <a:gd name="T61" fmla="*/ 28 h 267"/>
                <a:gd name="T62" fmla="*/ 38 w 437"/>
                <a:gd name="T63" fmla="*/ 44 h 267"/>
                <a:gd name="T64" fmla="*/ 76 w 437"/>
                <a:gd name="T65" fmla="*/ 33 h 267"/>
                <a:gd name="T66" fmla="*/ 130 w 437"/>
                <a:gd name="T67" fmla="*/ 49 h 267"/>
                <a:gd name="T68" fmla="*/ 152 w 437"/>
                <a:gd name="T69" fmla="*/ 44 h 267"/>
                <a:gd name="T70" fmla="*/ 215 w 437"/>
                <a:gd name="T71" fmla="*/ 56 h 267"/>
                <a:gd name="T72" fmla="*/ 239 w 437"/>
                <a:gd name="T73" fmla="*/ 49 h 267"/>
                <a:gd name="T74" fmla="*/ 270 w 437"/>
                <a:gd name="T75" fmla="*/ 28 h 267"/>
                <a:gd name="T76" fmla="*/ 329 w 437"/>
                <a:gd name="T77" fmla="*/ 11 h 267"/>
                <a:gd name="T78" fmla="*/ 345 w 437"/>
                <a:gd name="T79" fmla="*/ 11 h 267"/>
                <a:gd name="T80" fmla="*/ 357 w 437"/>
                <a:gd name="T81" fmla="*/ 28 h 267"/>
                <a:gd name="T82" fmla="*/ 366 w 437"/>
                <a:gd name="T83" fmla="*/ 16 h 267"/>
                <a:gd name="T84" fmla="*/ 378 w 437"/>
                <a:gd name="T85" fmla="*/ 28 h 267"/>
                <a:gd name="T86" fmla="*/ 395 w 437"/>
                <a:gd name="T87" fmla="*/ 28 h 267"/>
                <a:gd name="T88" fmla="*/ 400 w 437"/>
                <a:gd name="T89" fmla="*/ 44 h 267"/>
                <a:gd name="T90" fmla="*/ 437 w 437"/>
                <a:gd name="T91" fmla="*/ 49 h 267"/>
                <a:gd name="T92" fmla="*/ 437 w 437"/>
                <a:gd name="T93" fmla="*/ 73 h 267"/>
                <a:gd name="T94" fmla="*/ 411 w 437"/>
                <a:gd name="T95" fmla="*/ 73 h 267"/>
                <a:gd name="T96" fmla="*/ 395 w 437"/>
                <a:gd name="T97" fmla="*/ 99 h 267"/>
                <a:gd name="T98" fmla="*/ 395 w 437"/>
                <a:gd name="T99" fmla="*/ 139 h 267"/>
                <a:gd name="T100" fmla="*/ 378 w 437"/>
                <a:gd name="T101" fmla="*/ 139 h 267"/>
                <a:gd name="T102" fmla="*/ 362 w 437"/>
                <a:gd name="T103" fmla="*/ 160 h 267"/>
                <a:gd name="T104" fmla="*/ 378 w 437"/>
                <a:gd name="T105" fmla="*/ 160 h 267"/>
                <a:gd name="T106" fmla="*/ 400 w 437"/>
                <a:gd name="T107" fmla="*/ 200 h 267"/>
                <a:gd name="T108" fmla="*/ 400 w 437"/>
                <a:gd name="T109" fmla="*/ 200 h 267"/>
                <a:gd name="T110" fmla="*/ 400 w 437"/>
                <a:gd name="T111" fmla="*/ 20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7" h="267">
                  <a:moveTo>
                    <a:pt x="400" y="200"/>
                  </a:moveTo>
                  <a:lnTo>
                    <a:pt x="366" y="210"/>
                  </a:lnTo>
                  <a:lnTo>
                    <a:pt x="345" y="193"/>
                  </a:lnTo>
                  <a:lnTo>
                    <a:pt x="329" y="193"/>
                  </a:lnTo>
                  <a:lnTo>
                    <a:pt x="324" y="200"/>
                  </a:lnTo>
                  <a:lnTo>
                    <a:pt x="303" y="200"/>
                  </a:lnTo>
                  <a:lnTo>
                    <a:pt x="291" y="217"/>
                  </a:lnTo>
                  <a:lnTo>
                    <a:pt x="286" y="217"/>
                  </a:lnTo>
                  <a:lnTo>
                    <a:pt x="286" y="226"/>
                  </a:lnTo>
                  <a:lnTo>
                    <a:pt x="260" y="226"/>
                  </a:lnTo>
                  <a:lnTo>
                    <a:pt x="270" y="238"/>
                  </a:lnTo>
                  <a:lnTo>
                    <a:pt x="270" y="255"/>
                  </a:lnTo>
                  <a:lnTo>
                    <a:pt x="206" y="267"/>
                  </a:lnTo>
                  <a:lnTo>
                    <a:pt x="140" y="238"/>
                  </a:lnTo>
                  <a:lnTo>
                    <a:pt x="92" y="255"/>
                  </a:lnTo>
                  <a:lnTo>
                    <a:pt x="43" y="255"/>
                  </a:lnTo>
                  <a:lnTo>
                    <a:pt x="43" y="217"/>
                  </a:lnTo>
                  <a:lnTo>
                    <a:pt x="38" y="200"/>
                  </a:lnTo>
                  <a:lnTo>
                    <a:pt x="17" y="184"/>
                  </a:lnTo>
                  <a:lnTo>
                    <a:pt x="0" y="165"/>
                  </a:lnTo>
                  <a:lnTo>
                    <a:pt x="17" y="160"/>
                  </a:lnTo>
                  <a:lnTo>
                    <a:pt x="5" y="144"/>
                  </a:lnTo>
                  <a:lnTo>
                    <a:pt x="5" y="127"/>
                  </a:lnTo>
                  <a:lnTo>
                    <a:pt x="33" y="122"/>
                  </a:lnTo>
                  <a:lnTo>
                    <a:pt x="43" y="99"/>
                  </a:lnTo>
                  <a:lnTo>
                    <a:pt x="17" y="73"/>
                  </a:lnTo>
                  <a:lnTo>
                    <a:pt x="0" y="44"/>
                  </a:lnTo>
                  <a:lnTo>
                    <a:pt x="5" y="28"/>
                  </a:lnTo>
                  <a:lnTo>
                    <a:pt x="22" y="0"/>
                  </a:lnTo>
                  <a:lnTo>
                    <a:pt x="43" y="16"/>
                  </a:lnTo>
                  <a:lnTo>
                    <a:pt x="38" y="28"/>
                  </a:lnTo>
                  <a:lnTo>
                    <a:pt x="38" y="44"/>
                  </a:lnTo>
                  <a:lnTo>
                    <a:pt x="76" y="33"/>
                  </a:lnTo>
                  <a:lnTo>
                    <a:pt x="130" y="49"/>
                  </a:lnTo>
                  <a:lnTo>
                    <a:pt x="152" y="44"/>
                  </a:lnTo>
                  <a:lnTo>
                    <a:pt x="215" y="56"/>
                  </a:lnTo>
                  <a:lnTo>
                    <a:pt x="239" y="49"/>
                  </a:lnTo>
                  <a:lnTo>
                    <a:pt x="270" y="28"/>
                  </a:lnTo>
                  <a:lnTo>
                    <a:pt x="329" y="11"/>
                  </a:lnTo>
                  <a:lnTo>
                    <a:pt x="345" y="11"/>
                  </a:lnTo>
                  <a:lnTo>
                    <a:pt x="357" y="28"/>
                  </a:lnTo>
                  <a:lnTo>
                    <a:pt x="366" y="16"/>
                  </a:lnTo>
                  <a:lnTo>
                    <a:pt x="378" y="28"/>
                  </a:lnTo>
                  <a:lnTo>
                    <a:pt x="395" y="28"/>
                  </a:lnTo>
                  <a:lnTo>
                    <a:pt x="400" y="44"/>
                  </a:lnTo>
                  <a:lnTo>
                    <a:pt x="437" y="49"/>
                  </a:lnTo>
                  <a:lnTo>
                    <a:pt x="437" y="73"/>
                  </a:lnTo>
                  <a:lnTo>
                    <a:pt x="411" y="73"/>
                  </a:lnTo>
                  <a:lnTo>
                    <a:pt x="395" y="99"/>
                  </a:lnTo>
                  <a:lnTo>
                    <a:pt x="395" y="139"/>
                  </a:lnTo>
                  <a:lnTo>
                    <a:pt x="378" y="139"/>
                  </a:lnTo>
                  <a:lnTo>
                    <a:pt x="362" y="160"/>
                  </a:lnTo>
                  <a:lnTo>
                    <a:pt x="378" y="160"/>
                  </a:lnTo>
                  <a:lnTo>
                    <a:pt x="400" y="200"/>
                  </a:lnTo>
                  <a:lnTo>
                    <a:pt x="400" y="200"/>
                  </a:lnTo>
                  <a:lnTo>
                    <a:pt x="400" y="20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7" name="Freeform 406">
              <a:extLst>
                <a:ext uri="{FF2B5EF4-FFF2-40B4-BE49-F238E27FC236}">
                  <a16:creationId xmlns:a16="http://schemas.microsoft.com/office/drawing/2014/main" id="{050AC897-95E7-4913-8FB3-DECBC38DD0BD}"/>
                </a:ext>
              </a:extLst>
            </p:cNvPr>
            <p:cNvSpPr>
              <a:spLocks noEditPoints="1"/>
            </p:cNvSpPr>
            <p:nvPr/>
          </p:nvSpPr>
          <p:spPr bwMode="gray">
            <a:xfrm>
              <a:off x="16363193" y="3996906"/>
              <a:ext cx="30766" cy="23238"/>
            </a:xfrm>
            <a:custGeom>
              <a:avLst/>
              <a:gdLst>
                <a:gd name="T0" fmla="*/ 66 w 94"/>
                <a:gd name="T1" fmla="*/ 5 h 71"/>
                <a:gd name="T2" fmla="*/ 56 w 94"/>
                <a:gd name="T3" fmla="*/ 21 h 71"/>
                <a:gd name="T4" fmla="*/ 56 w 94"/>
                <a:gd name="T5" fmla="*/ 45 h 71"/>
                <a:gd name="T6" fmla="*/ 56 w 94"/>
                <a:gd name="T7" fmla="*/ 62 h 71"/>
                <a:gd name="T8" fmla="*/ 40 w 94"/>
                <a:gd name="T9" fmla="*/ 71 h 71"/>
                <a:gd name="T10" fmla="*/ 11 w 94"/>
                <a:gd name="T11" fmla="*/ 26 h 71"/>
                <a:gd name="T12" fmla="*/ 0 w 94"/>
                <a:gd name="T13" fmla="*/ 26 h 71"/>
                <a:gd name="T14" fmla="*/ 28 w 94"/>
                <a:gd name="T15" fmla="*/ 21 h 71"/>
                <a:gd name="T16" fmla="*/ 61 w 94"/>
                <a:gd name="T17" fmla="*/ 0 h 71"/>
                <a:gd name="T18" fmla="*/ 66 w 94"/>
                <a:gd name="T19" fmla="*/ 0 h 71"/>
                <a:gd name="T20" fmla="*/ 66 w 94"/>
                <a:gd name="T21" fmla="*/ 5 h 71"/>
                <a:gd name="T22" fmla="*/ 66 w 94"/>
                <a:gd name="T23" fmla="*/ 5 h 71"/>
                <a:gd name="T24" fmla="*/ 66 w 94"/>
                <a:gd name="T25" fmla="*/ 5 h 71"/>
                <a:gd name="T26" fmla="*/ 77 w 94"/>
                <a:gd name="T27" fmla="*/ 5 h 71"/>
                <a:gd name="T28" fmla="*/ 94 w 94"/>
                <a:gd name="T29" fmla="*/ 45 h 71"/>
                <a:gd name="T30" fmla="*/ 66 w 94"/>
                <a:gd name="T31" fmla="*/ 45 h 71"/>
                <a:gd name="T32" fmla="*/ 66 w 94"/>
                <a:gd name="T33" fmla="*/ 17 h 71"/>
                <a:gd name="T34" fmla="*/ 77 w 94"/>
                <a:gd name="T35" fmla="*/ 5 h 71"/>
                <a:gd name="T36" fmla="*/ 77 w 94"/>
                <a:gd name="T37" fmla="*/ 5 h 71"/>
                <a:gd name="T38" fmla="*/ 77 w 94"/>
                <a:gd name="T39" fmla="*/ 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71">
                  <a:moveTo>
                    <a:pt x="66" y="5"/>
                  </a:moveTo>
                  <a:lnTo>
                    <a:pt x="56" y="21"/>
                  </a:lnTo>
                  <a:lnTo>
                    <a:pt x="56" y="45"/>
                  </a:lnTo>
                  <a:lnTo>
                    <a:pt x="56" y="62"/>
                  </a:lnTo>
                  <a:lnTo>
                    <a:pt x="40" y="71"/>
                  </a:lnTo>
                  <a:lnTo>
                    <a:pt x="11" y="26"/>
                  </a:lnTo>
                  <a:lnTo>
                    <a:pt x="0" y="26"/>
                  </a:lnTo>
                  <a:lnTo>
                    <a:pt x="28" y="21"/>
                  </a:lnTo>
                  <a:lnTo>
                    <a:pt x="61" y="0"/>
                  </a:lnTo>
                  <a:lnTo>
                    <a:pt x="66" y="0"/>
                  </a:lnTo>
                  <a:lnTo>
                    <a:pt x="66" y="5"/>
                  </a:lnTo>
                  <a:lnTo>
                    <a:pt x="66" y="5"/>
                  </a:lnTo>
                  <a:lnTo>
                    <a:pt x="66" y="5"/>
                  </a:lnTo>
                  <a:close/>
                  <a:moveTo>
                    <a:pt x="77" y="5"/>
                  </a:moveTo>
                  <a:lnTo>
                    <a:pt x="94" y="45"/>
                  </a:lnTo>
                  <a:lnTo>
                    <a:pt x="66" y="45"/>
                  </a:lnTo>
                  <a:lnTo>
                    <a:pt x="66" y="17"/>
                  </a:lnTo>
                  <a:lnTo>
                    <a:pt x="77" y="5"/>
                  </a:lnTo>
                  <a:lnTo>
                    <a:pt x="77" y="5"/>
                  </a:lnTo>
                  <a:lnTo>
                    <a:pt x="77"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8" name="Freeform 407">
              <a:extLst>
                <a:ext uri="{FF2B5EF4-FFF2-40B4-BE49-F238E27FC236}">
                  <a16:creationId xmlns:a16="http://schemas.microsoft.com/office/drawing/2014/main" id="{2324A22C-B654-4476-9C63-86DD68022F1C}"/>
                </a:ext>
              </a:extLst>
            </p:cNvPr>
            <p:cNvSpPr>
              <a:spLocks/>
            </p:cNvSpPr>
            <p:nvPr/>
          </p:nvSpPr>
          <p:spPr bwMode="gray">
            <a:xfrm>
              <a:off x="14410869" y="4171028"/>
              <a:ext cx="40912" cy="48767"/>
            </a:xfrm>
            <a:custGeom>
              <a:avLst/>
              <a:gdLst>
                <a:gd name="T0" fmla="*/ 21 w 125"/>
                <a:gd name="T1" fmla="*/ 149 h 149"/>
                <a:gd name="T2" fmla="*/ 21 w 125"/>
                <a:gd name="T3" fmla="*/ 123 h 149"/>
                <a:gd name="T4" fmla="*/ 17 w 125"/>
                <a:gd name="T5" fmla="*/ 111 h 149"/>
                <a:gd name="T6" fmla="*/ 17 w 125"/>
                <a:gd name="T7" fmla="*/ 45 h 149"/>
                <a:gd name="T8" fmla="*/ 0 w 125"/>
                <a:gd name="T9" fmla="*/ 28 h 149"/>
                <a:gd name="T10" fmla="*/ 0 w 125"/>
                <a:gd name="T11" fmla="*/ 28 h 149"/>
                <a:gd name="T12" fmla="*/ 0 w 125"/>
                <a:gd name="T13" fmla="*/ 12 h 149"/>
                <a:gd name="T14" fmla="*/ 5 w 125"/>
                <a:gd name="T15" fmla="*/ 12 h 149"/>
                <a:gd name="T16" fmla="*/ 21 w 125"/>
                <a:gd name="T17" fmla="*/ 21 h 149"/>
                <a:gd name="T18" fmla="*/ 21 w 125"/>
                <a:gd name="T19" fmla="*/ 28 h 149"/>
                <a:gd name="T20" fmla="*/ 54 w 125"/>
                <a:gd name="T21" fmla="*/ 28 h 149"/>
                <a:gd name="T22" fmla="*/ 59 w 125"/>
                <a:gd name="T23" fmla="*/ 0 h 149"/>
                <a:gd name="T24" fmla="*/ 76 w 125"/>
                <a:gd name="T25" fmla="*/ 4 h 149"/>
                <a:gd name="T26" fmla="*/ 92 w 125"/>
                <a:gd name="T27" fmla="*/ 0 h 149"/>
                <a:gd name="T28" fmla="*/ 109 w 125"/>
                <a:gd name="T29" fmla="*/ 0 h 149"/>
                <a:gd name="T30" fmla="*/ 102 w 125"/>
                <a:gd name="T31" fmla="*/ 38 h 149"/>
                <a:gd name="T32" fmla="*/ 102 w 125"/>
                <a:gd name="T33" fmla="*/ 38 h 149"/>
                <a:gd name="T34" fmla="*/ 109 w 125"/>
                <a:gd name="T35" fmla="*/ 38 h 149"/>
                <a:gd name="T36" fmla="*/ 125 w 125"/>
                <a:gd name="T37" fmla="*/ 45 h 149"/>
                <a:gd name="T38" fmla="*/ 125 w 125"/>
                <a:gd name="T39" fmla="*/ 61 h 149"/>
                <a:gd name="T40" fmla="*/ 102 w 125"/>
                <a:gd name="T41" fmla="*/ 82 h 149"/>
                <a:gd name="T42" fmla="*/ 92 w 125"/>
                <a:gd name="T43" fmla="*/ 99 h 149"/>
                <a:gd name="T44" fmla="*/ 92 w 125"/>
                <a:gd name="T45" fmla="*/ 99 h 149"/>
                <a:gd name="T46" fmla="*/ 71 w 125"/>
                <a:gd name="T47" fmla="*/ 132 h 149"/>
                <a:gd name="T48" fmla="*/ 54 w 125"/>
                <a:gd name="T49" fmla="*/ 149 h 149"/>
                <a:gd name="T50" fmla="*/ 21 w 125"/>
                <a:gd name="T51" fmla="*/ 149 h 149"/>
                <a:gd name="T52" fmla="*/ 21 w 125"/>
                <a:gd name="T53" fmla="*/ 149 h 149"/>
                <a:gd name="T54" fmla="*/ 21 w 125"/>
                <a:gd name="T55"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5" h="149">
                  <a:moveTo>
                    <a:pt x="21" y="149"/>
                  </a:moveTo>
                  <a:lnTo>
                    <a:pt x="21" y="123"/>
                  </a:lnTo>
                  <a:lnTo>
                    <a:pt x="17" y="111"/>
                  </a:lnTo>
                  <a:lnTo>
                    <a:pt x="17" y="45"/>
                  </a:lnTo>
                  <a:lnTo>
                    <a:pt x="0" y="28"/>
                  </a:lnTo>
                  <a:lnTo>
                    <a:pt x="0" y="28"/>
                  </a:lnTo>
                  <a:lnTo>
                    <a:pt x="0" y="12"/>
                  </a:lnTo>
                  <a:lnTo>
                    <a:pt x="5" y="12"/>
                  </a:lnTo>
                  <a:lnTo>
                    <a:pt x="21" y="21"/>
                  </a:lnTo>
                  <a:lnTo>
                    <a:pt x="21" y="28"/>
                  </a:lnTo>
                  <a:lnTo>
                    <a:pt x="54" y="28"/>
                  </a:lnTo>
                  <a:lnTo>
                    <a:pt x="59" y="0"/>
                  </a:lnTo>
                  <a:lnTo>
                    <a:pt x="76" y="4"/>
                  </a:lnTo>
                  <a:lnTo>
                    <a:pt x="92" y="0"/>
                  </a:lnTo>
                  <a:lnTo>
                    <a:pt x="109" y="0"/>
                  </a:lnTo>
                  <a:lnTo>
                    <a:pt x="102" y="38"/>
                  </a:lnTo>
                  <a:lnTo>
                    <a:pt x="102" y="38"/>
                  </a:lnTo>
                  <a:lnTo>
                    <a:pt x="109" y="38"/>
                  </a:lnTo>
                  <a:lnTo>
                    <a:pt x="125" y="45"/>
                  </a:lnTo>
                  <a:lnTo>
                    <a:pt x="125" y="61"/>
                  </a:lnTo>
                  <a:lnTo>
                    <a:pt x="102" y="82"/>
                  </a:lnTo>
                  <a:lnTo>
                    <a:pt x="92" y="99"/>
                  </a:lnTo>
                  <a:lnTo>
                    <a:pt x="92" y="99"/>
                  </a:lnTo>
                  <a:lnTo>
                    <a:pt x="71" y="132"/>
                  </a:lnTo>
                  <a:lnTo>
                    <a:pt x="54" y="149"/>
                  </a:lnTo>
                  <a:lnTo>
                    <a:pt x="21" y="149"/>
                  </a:lnTo>
                  <a:lnTo>
                    <a:pt x="21" y="149"/>
                  </a:lnTo>
                  <a:lnTo>
                    <a:pt x="21" y="14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9" name="Freeform 408">
              <a:extLst>
                <a:ext uri="{FF2B5EF4-FFF2-40B4-BE49-F238E27FC236}">
                  <a16:creationId xmlns:a16="http://schemas.microsoft.com/office/drawing/2014/main" id="{2891BCF6-7A6C-47B6-B020-30141433CDEB}"/>
                </a:ext>
              </a:extLst>
            </p:cNvPr>
            <p:cNvSpPr>
              <a:spLocks noEditPoints="1"/>
            </p:cNvSpPr>
            <p:nvPr/>
          </p:nvSpPr>
          <p:spPr bwMode="gray">
            <a:xfrm>
              <a:off x="10507202" y="1461012"/>
              <a:ext cx="2029566" cy="1609645"/>
            </a:xfrm>
            <a:custGeom>
              <a:avLst/>
              <a:gdLst>
                <a:gd name="T0" fmla="*/ 3990 w 6201"/>
                <a:gd name="T1" fmla="*/ 834 h 4918"/>
                <a:gd name="T2" fmla="*/ 4108 w 6201"/>
                <a:gd name="T3" fmla="*/ 345 h 4918"/>
                <a:gd name="T4" fmla="*/ 4805 w 6201"/>
                <a:gd name="T5" fmla="*/ 74 h 4918"/>
                <a:gd name="T6" fmla="*/ 4465 w 6201"/>
                <a:gd name="T7" fmla="*/ 629 h 4918"/>
                <a:gd name="T8" fmla="*/ 3418 w 6201"/>
                <a:gd name="T9" fmla="*/ 638 h 4918"/>
                <a:gd name="T10" fmla="*/ 3721 w 6201"/>
                <a:gd name="T11" fmla="*/ 711 h 4918"/>
                <a:gd name="T12" fmla="*/ 3239 w 6201"/>
                <a:gd name="T13" fmla="*/ 806 h 4918"/>
                <a:gd name="T14" fmla="*/ 3352 w 6201"/>
                <a:gd name="T15" fmla="*/ 905 h 4918"/>
                <a:gd name="T16" fmla="*/ 3504 w 6201"/>
                <a:gd name="T17" fmla="*/ 978 h 4918"/>
                <a:gd name="T18" fmla="*/ 3440 w 6201"/>
                <a:gd name="T19" fmla="*/ 1292 h 4918"/>
                <a:gd name="T20" fmla="*/ 3078 w 6201"/>
                <a:gd name="T21" fmla="*/ 1044 h 4918"/>
                <a:gd name="T22" fmla="*/ 2327 w 6201"/>
                <a:gd name="T23" fmla="*/ 1292 h 4918"/>
                <a:gd name="T24" fmla="*/ 2899 w 6201"/>
                <a:gd name="T25" fmla="*/ 1222 h 4918"/>
                <a:gd name="T26" fmla="*/ 1276 w 6201"/>
                <a:gd name="T27" fmla="*/ 1160 h 4918"/>
                <a:gd name="T28" fmla="*/ 3062 w 6201"/>
                <a:gd name="T29" fmla="*/ 1366 h 4918"/>
                <a:gd name="T30" fmla="*/ 2948 w 6201"/>
                <a:gd name="T31" fmla="*/ 1486 h 4918"/>
                <a:gd name="T32" fmla="*/ 3910 w 6201"/>
                <a:gd name="T33" fmla="*/ 1992 h 4918"/>
                <a:gd name="T34" fmla="*/ 3990 w 6201"/>
                <a:gd name="T35" fmla="*/ 1526 h 4918"/>
                <a:gd name="T36" fmla="*/ 4729 w 6201"/>
                <a:gd name="T37" fmla="*/ 1826 h 4918"/>
                <a:gd name="T38" fmla="*/ 5138 w 6201"/>
                <a:gd name="T39" fmla="*/ 2119 h 4918"/>
                <a:gd name="T40" fmla="*/ 5490 w 6201"/>
                <a:gd name="T41" fmla="*/ 2374 h 4918"/>
                <a:gd name="T42" fmla="*/ 5183 w 6201"/>
                <a:gd name="T43" fmla="*/ 2452 h 4918"/>
                <a:gd name="T44" fmla="*/ 5145 w 6201"/>
                <a:gd name="T45" fmla="*/ 2847 h 4918"/>
                <a:gd name="T46" fmla="*/ 4611 w 6201"/>
                <a:gd name="T47" fmla="*/ 2613 h 4918"/>
                <a:gd name="T48" fmla="*/ 4460 w 6201"/>
                <a:gd name="T49" fmla="*/ 1515 h 4918"/>
                <a:gd name="T50" fmla="*/ 1928 w 6201"/>
                <a:gd name="T51" fmla="*/ 2115 h 4918"/>
                <a:gd name="T52" fmla="*/ 2301 w 6201"/>
                <a:gd name="T53" fmla="*/ 1737 h 4918"/>
                <a:gd name="T54" fmla="*/ 4318 w 6201"/>
                <a:gd name="T55" fmla="*/ 1682 h 4918"/>
                <a:gd name="T56" fmla="*/ 1226 w 6201"/>
                <a:gd name="T57" fmla="*/ 4222 h 4918"/>
                <a:gd name="T58" fmla="*/ 898 w 6201"/>
                <a:gd name="T59" fmla="*/ 3933 h 4918"/>
                <a:gd name="T60" fmla="*/ 600 w 6201"/>
                <a:gd name="T61" fmla="*/ 2025 h 4918"/>
                <a:gd name="T62" fmla="*/ 1167 w 6201"/>
                <a:gd name="T63" fmla="*/ 2070 h 4918"/>
                <a:gd name="T64" fmla="*/ 2500 w 6201"/>
                <a:gd name="T65" fmla="*/ 2181 h 4918"/>
                <a:gd name="T66" fmla="*/ 3310 w 6201"/>
                <a:gd name="T67" fmla="*/ 2103 h 4918"/>
                <a:gd name="T68" fmla="*/ 3693 w 6201"/>
                <a:gd name="T69" fmla="*/ 2252 h 4918"/>
                <a:gd name="T70" fmla="*/ 3801 w 6201"/>
                <a:gd name="T71" fmla="*/ 2429 h 4918"/>
                <a:gd name="T72" fmla="*/ 3239 w 6201"/>
                <a:gd name="T73" fmla="*/ 3263 h 4918"/>
                <a:gd name="T74" fmla="*/ 4378 w 6201"/>
                <a:gd name="T75" fmla="*/ 3279 h 4918"/>
                <a:gd name="T76" fmla="*/ 5124 w 6201"/>
                <a:gd name="T77" fmla="*/ 3317 h 4918"/>
                <a:gd name="T78" fmla="*/ 5544 w 6201"/>
                <a:gd name="T79" fmla="*/ 3506 h 4918"/>
                <a:gd name="T80" fmla="*/ 5939 w 6201"/>
                <a:gd name="T81" fmla="*/ 3832 h 4918"/>
                <a:gd name="T82" fmla="*/ 5544 w 6201"/>
                <a:gd name="T83" fmla="*/ 4552 h 4918"/>
                <a:gd name="T84" fmla="*/ 4772 w 6201"/>
                <a:gd name="T85" fmla="*/ 1781 h 4918"/>
                <a:gd name="T86" fmla="*/ 3019 w 6201"/>
                <a:gd name="T87" fmla="*/ 2065 h 4918"/>
                <a:gd name="T88" fmla="*/ 378 w 6201"/>
                <a:gd name="T89" fmla="*/ 2119 h 4918"/>
                <a:gd name="T90" fmla="*/ 3563 w 6201"/>
                <a:gd name="T91" fmla="*/ 2115 h 4918"/>
                <a:gd name="T92" fmla="*/ 2861 w 6201"/>
                <a:gd name="T93" fmla="*/ 2209 h 4918"/>
                <a:gd name="T94" fmla="*/ 2306 w 6201"/>
                <a:gd name="T95" fmla="*/ 2308 h 4918"/>
                <a:gd name="T96" fmla="*/ 4016 w 6201"/>
                <a:gd name="T97" fmla="*/ 2502 h 4918"/>
                <a:gd name="T98" fmla="*/ 5523 w 6201"/>
                <a:gd name="T99" fmla="*/ 2523 h 4918"/>
                <a:gd name="T100" fmla="*/ 4422 w 6201"/>
                <a:gd name="T101" fmla="*/ 2724 h 4918"/>
                <a:gd name="T102" fmla="*/ 4125 w 6201"/>
                <a:gd name="T103" fmla="*/ 2840 h 4918"/>
                <a:gd name="T104" fmla="*/ 5365 w 6201"/>
                <a:gd name="T105" fmla="*/ 3135 h 4918"/>
                <a:gd name="T106" fmla="*/ 4285 w 6201"/>
                <a:gd name="T107" fmla="*/ 3499 h 4918"/>
                <a:gd name="T108" fmla="*/ 763 w 6201"/>
                <a:gd name="T109" fmla="*/ 3683 h 4918"/>
                <a:gd name="T110" fmla="*/ 832 w 6201"/>
                <a:gd name="T111" fmla="*/ 3848 h 4918"/>
                <a:gd name="T112" fmla="*/ 811 w 6201"/>
                <a:gd name="T113" fmla="*/ 3860 h 4918"/>
                <a:gd name="T114" fmla="*/ 903 w 6201"/>
                <a:gd name="T115" fmla="*/ 3966 h 4918"/>
                <a:gd name="T116" fmla="*/ 5970 w 6201"/>
                <a:gd name="T117" fmla="*/ 4387 h 4918"/>
                <a:gd name="T118" fmla="*/ 6116 w 6201"/>
                <a:gd name="T119" fmla="*/ 4316 h 4918"/>
                <a:gd name="T120" fmla="*/ 1016 w 6201"/>
                <a:gd name="T121" fmla="*/ 4111 h 4918"/>
                <a:gd name="T122" fmla="*/ 6041 w 6201"/>
                <a:gd name="T123" fmla="*/ 4210 h 4918"/>
                <a:gd name="T124" fmla="*/ 5377 w 6201"/>
                <a:gd name="T125" fmla="*/ 4481 h 4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01" h="4918">
                  <a:moveTo>
                    <a:pt x="4389" y="1099"/>
                  </a:moveTo>
                  <a:lnTo>
                    <a:pt x="4368" y="1082"/>
                  </a:lnTo>
                  <a:lnTo>
                    <a:pt x="4323" y="1122"/>
                  </a:lnTo>
                  <a:lnTo>
                    <a:pt x="4205" y="1144"/>
                  </a:lnTo>
                  <a:lnTo>
                    <a:pt x="4205" y="1139"/>
                  </a:lnTo>
                  <a:lnTo>
                    <a:pt x="4226" y="1106"/>
                  </a:lnTo>
                  <a:lnTo>
                    <a:pt x="4189" y="1087"/>
                  </a:lnTo>
                  <a:lnTo>
                    <a:pt x="4172" y="1099"/>
                  </a:lnTo>
                  <a:lnTo>
                    <a:pt x="4134" y="1087"/>
                  </a:lnTo>
                  <a:lnTo>
                    <a:pt x="4141" y="1082"/>
                  </a:lnTo>
                  <a:lnTo>
                    <a:pt x="4134" y="1070"/>
                  </a:lnTo>
                  <a:lnTo>
                    <a:pt x="4158" y="1066"/>
                  </a:lnTo>
                  <a:lnTo>
                    <a:pt x="4120" y="1070"/>
                  </a:lnTo>
                  <a:lnTo>
                    <a:pt x="4087" y="1044"/>
                  </a:lnTo>
                  <a:lnTo>
                    <a:pt x="4104" y="1070"/>
                  </a:lnTo>
                  <a:lnTo>
                    <a:pt x="4134" y="1082"/>
                  </a:lnTo>
                  <a:lnTo>
                    <a:pt x="4120" y="1087"/>
                  </a:lnTo>
                  <a:lnTo>
                    <a:pt x="4125" y="1099"/>
                  </a:lnTo>
                  <a:lnTo>
                    <a:pt x="4066" y="1106"/>
                  </a:lnTo>
                  <a:lnTo>
                    <a:pt x="4044" y="1049"/>
                  </a:lnTo>
                  <a:lnTo>
                    <a:pt x="4033" y="1066"/>
                  </a:lnTo>
                  <a:lnTo>
                    <a:pt x="4049" y="1082"/>
                  </a:lnTo>
                  <a:lnTo>
                    <a:pt x="4054" y="1106"/>
                  </a:lnTo>
                  <a:lnTo>
                    <a:pt x="4016" y="1106"/>
                  </a:lnTo>
                  <a:lnTo>
                    <a:pt x="3978" y="1066"/>
                  </a:lnTo>
                  <a:lnTo>
                    <a:pt x="3990" y="1070"/>
                  </a:lnTo>
                  <a:lnTo>
                    <a:pt x="3978" y="1087"/>
                  </a:lnTo>
                  <a:lnTo>
                    <a:pt x="3990" y="1099"/>
                  </a:lnTo>
                  <a:lnTo>
                    <a:pt x="3957" y="1106"/>
                  </a:lnTo>
                  <a:lnTo>
                    <a:pt x="3924" y="1082"/>
                  </a:lnTo>
                  <a:lnTo>
                    <a:pt x="3936" y="1106"/>
                  </a:lnTo>
                  <a:lnTo>
                    <a:pt x="3974" y="1122"/>
                  </a:lnTo>
                  <a:lnTo>
                    <a:pt x="3936" y="1122"/>
                  </a:lnTo>
                  <a:lnTo>
                    <a:pt x="3834" y="1111"/>
                  </a:lnTo>
                  <a:lnTo>
                    <a:pt x="3827" y="1099"/>
                  </a:lnTo>
                  <a:lnTo>
                    <a:pt x="3839" y="1087"/>
                  </a:lnTo>
                  <a:lnTo>
                    <a:pt x="3818" y="1070"/>
                  </a:lnTo>
                  <a:lnTo>
                    <a:pt x="3834" y="1087"/>
                  </a:lnTo>
                  <a:lnTo>
                    <a:pt x="3811" y="1099"/>
                  </a:lnTo>
                  <a:lnTo>
                    <a:pt x="3811" y="1111"/>
                  </a:lnTo>
                  <a:lnTo>
                    <a:pt x="3759" y="1099"/>
                  </a:lnTo>
                  <a:lnTo>
                    <a:pt x="3747" y="1070"/>
                  </a:lnTo>
                  <a:lnTo>
                    <a:pt x="3747" y="1099"/>
                  </a:lnTo>
                  <a:lnTo>
                    <a:pt x="3759" y="1111"/>
                  </a:lnTo>
                  <a:lnTo>
                    <a:pt x="3688" y="1106"/>
                  </a:lnTo>
                  <a:lnTo>
                    <a:pt x="3693" y="1087"/>
                  </a:lnTo>
                  <a:lnTo>
                    <a:pt x="3676" y="1070"/>
                  </a:lnTo>
                  <a:lnTo>
                    <a:pt x="3688" y="1044"/>
                  </a:lnTo>
                  <a:lnTo>
                    <a:pt x="3671" y="1054"/>
                  </a:lnTo>
                  <a:lnTo>
                    <a:pt x="3676" y="1082"/>
                  </a:lnTo>
                  <a:lnTo>
                    <a:pt x="3671" y="1106"/>
                  </a:lnTo>
                  <a:lnTo>
                    <a:pt x="3671" y="1082"/>
                  </a:lnTo>
                  <a:lnTo>
                    <a:pt x="3655" y="1106"/>
                  </a:lnTo>
                  <a:lnTo>
                    <a:pt x="3600" y="1082"/>
                  </a:lnTo>
                  <a:lnTo>
                    <a:pt x="3617" y="1066"/>
                  </a:lnTo>
                  <a:lnTo>
                    <a:pt x="3612" y="1044"/>
                  </a:lnTo>
                  <a:lnTo>
                    <a:pt x="3688" y="1000"/>
                  </a:lnTo>
                  <a:lnTo>
                    <a:pt x="3676" y="1000"/>
                  </a:lnTo>
                  <a:lnTo>
                    <a:pt x="3801" y="988"/>
                  </a:lnTo>
                  <a:lnTo>
                    <a:pt x="3773" y="988"/>
                  </a:lnTo>
                  <a:lnTo>
                    <a:pt x="3796" y="978"/>
                  </a:lnTo>
                  <a:lnTo>
                    <a:pt x="3773" y="971"/>
                  </a:lnTo>
                  <a:lnTo>
                    <a:pt x="3796" y="962"/>
                  </a:lnTo>
                  <a:lnTo>
                    <a:pt x="3742" y="962"/>
                  </a:lnTo>
                  <a:lnTo>
                    <a:pt x="3730" y="955"/>
                  </a:lnTo>
                  <a:lnTo>
                    <a:pt x="3742" y="943"/>
                  </a:lnTo>
                  <a:lnTo>
                    <a:pt x="3742" y="933"/>
                  </a:lnTo>
                  <a:lnTo>
                    <a:pt x="3704" y="917"/>
                  </a:lnTo>
                  <a:lnTo>
                    <a:pt x="3709" y="889"/>
                  </a:lnTo>
                  <a:lnTo>
                    <a:pt x="3773" y="884"/>
                  </a:lnTo>
                  <a:lnTo>
                    <a:pt x="3827" y="889"/>
                  </a:lnTo>
                  <a:lnTo>
                    <a:pt x="3855" y="905"/>
                  </a:lnTo>
                  <a:lnTo>
                    <a:pt x="3881" y="943"/>
                  </a:lnTo>
                  <a:lnTo>
                    <a:pt x="3872" y="955"/>
                  </a:lnTo>
                  <a:lnTo>
                    <a:pt x="3886" y="943"/>
                  </a:lnTo>
                  <a:lnTo>
                    <a:pt x="3962" y="971"/>
                  </a:lnTo>
                  <a:lnTo>
                    <a:pt x="3957" y="955"/>
                  </a:lnTo>
                  <a:lnTo>
                    <a:pt x="4033" y="962"/>
                  </a:lnTo>
                  <a:lnTo>
                    <a:pt x="4011" y="943"/>
                  </a:lnTo>
                  <a:lnTo>
                    <a:pt x="4049" y="933"/>
                  </a:lnTo>
                  <a:lnTo>
                    <a:pt x="4104" y="877"/>
                  </a:lnTo>
                  <a:lnTo>
                    <a:pt x="4096" y="860"/>
                  </a:lnTo>
                  <a:lnTo>
                    <a:pt x="4120" y="851"/>
                  </a:lnTo>
                  <a:lnTo>
                    <a:pt x="4082" y="860"/>
                  </a:lnTo>
                  <a:lnTo>
                    <a:pt x="4087" y="877"/>
                  </a:lnTo>
                  <a:lnTo>
                    <a:pt x="4044" y="922"/>
                  </a:lnTo>
                  <a:lnTo>
                    <a:pt x="4000" y="938"/>
                  </a:lnTo>
                  <a:lnTo>
                    <a:pt x="3941" y="938"/>
                  </a:lnTo>
                  <a:lnTo>
                    <a:pt x="3936" y="933"/>
                  </a:lnTo>
                  <a:lnTo>
                    <a:pt x="3962" y="905"/>
                  </a:lnTo>
                  <a:lnTo>
                    <a:pt x="3936" y="922"/>
                  </a:lnTo>
                  <a:lnTo>
                    <a:pt x="3903" y="905"/>
                  </a:lnTo>
                  <a:lnTo>
                    <a:pt x="3924" y="889"/>
                  </a:lnTo>
                  <a:lnTo>
                    <a:pt x="3903" y="889"/>
                  </a:lnTo>
                  <a:lnTo>
                    <a:pt x="3974" y="884"/>
                  </a:lnTo>
                  <a:lnTo>
                    <a:pt x="3893" y="884"/>
                  </a:lnTo>
                  <a:lnTo>
                    <a:pt x="3881" y="877"/>
                  </a:lnTo>
                  <a:lnTo>
                    <a:pt x="3924" y="851"/>
                  </a:lnTo>
                  <a:lnTo>
                    <a:pt x="3978" y="851"/>
                  </a:lnTo>
                  <a:lnTo>
                    <a:pt x="3919" y="851"/>
                  </a:lnTo>
                  <a:lnTo>
                    <a:pt x="3924" y="834"/>
                  </a:lnTo>
                  <a:lnTo>
                    <a:pt x="3990" y="834"/>
                  </a:lnTo>
                  <a:lnTo>
                    <a:pt x="3936" y="827"/>
                  </a:lnTo>
                  <a:lnTo>
                    <a:pt x="3941" y="811"/>
                  </a:lnTo>
                  <a:lnTo>
                    <a:pt x="3957" y="811"/>
                  </a:lnTo>
                  <a:lnTo>
                    <a:pt x="3936" y="806"/>
                  </a:lnTo>
                  <a:lnTo>
                    <a:pt x="3957" y="773"/>
                  </a:lnTo>
                  <a:lnTo>
                    <a:pt x="3924" y="794"/>
                  </a:lnTo>
                  <a:lnTo>
                    <a:pt x="3936" y="811"/>
                  </a:lnTo>
                  <a:lnTo>
                    <a:pt x="3893" y="844"/>
                  </a:lnTo>
                  <a:lnTo>
                    <a:pt x="3839" y="851"/>
                  </a:lnTo>
                  <a:lnTo>
                    <a:pt x="3839" y="834"/>
                  </a:lnTo>
                  <a:lnTo>
                    <a:pt x="3865" y="827"/>
                  </a:lnTo>
                  <a:lnTo>
                    <a:pt x="3872" y="806"/>
                  </a:lnTo>
                  <a:lnTo>
                    <a:pt x="3848" y="827"/>
                  </a:lnTo>
                  <a:lnTo>
                    <a:pt x="3801" y="844"/>
                  </a:lnTo>
                  <a:lnTo>
                    <a:pt x="3747" y="844"/>
                  </a:lnTo>
                  <a:lnTo>
                    <a:pt x="3780" y="827"/>
                  </a:lnTo>
                  <a:lnTo>
                    <a:pt x="3747" y="827"/>
                  </a:lnTo>
                  <a:lnTo>
                    <a:pt x="3747" y="794"/>
                  </a:lnTo>
                  <a:lnTo>
                    <a:pt x="3780" y="778"/>
                  </a:lnTo>
                  <a:lnTo>
                    <a:pt x="3796" y="778"/>
                  </a:lnTo>
                  <a:lnTo>
                    <a:pt x="3780" y="773"/>
                  </a:lnTo>
                  <a:lnTo>
                    <a:pt x="3796" y="749"/>
                  </a:lnTo>
                  <a:lnTo>
                    <a:pt x="3924" y="716"/>
                  </a:lnTo>
                  <a:lnTo>
                    <a:pt x="4016" y="733"/>
                  </a:lnTo>
                  <a:lnTo>
                    <a:pt x="4108" y="773"/>
                  </a:lnTo>
                  <a:lnTo>
                    <a:pt x="4120" y="773"/>
                  </a:lnTo>
                  <a:lnTo>
                    <a:pt x="4096" y="756"/>
                  </a:lnTo>
                  <a:lnTo>
                    <a:pt x="4125" y="749"/>
                  </a:lnTo>
                  <a:lnTo>
                    <a:pt x="4082" y="749"/>
                  </a:lnTo>
                  <a:lnTo>
                    <a:pt x="4049" y="733"/>
                  </a:lnTo>
                  <a:lnTo>
                    <a:pt x="4158" y="733"/>
                  </a:lnTo>
                  <a:lnTo>
                    <a:pt x="4158" y="711"/>
                  </a:lnTo>
                  <a:lnTo>
                    <a:pt x="4172" y="700"/>
                  </a:lnTo>
                  <a:lnTo>
                    <a:pt x="4104" y="723"/>
                  </a:lnTo>
                  <a:lnTo>
                    <a:pt x="3945" y="700"/>
                  </a:lnTo>
                  <a:lnTo>
                    <a:pt x="3941" y="695"/>
                  </a:lnTo>
                  <a:lnTo>
                    <a:pt x="3962" y="683"/>
                  </a:lnTo>
                  <a:lnTo>
                    <a:pt x="4000" y="700"/>
                  </a:lnTo>
                  <a:lnTo>
                    <a:pt x="4044" y="700"/>
                  </a:lnTo>
                  <a:lnTo>
                    <a:pt x="3995" y="678"/>
                  </a:lnTo>
                  <a:lnTo>
                    <a:pt x="4000" y="667"/>
                  </a:lnTo>
                  <a:lnTo>
                    <a:pt x="3974" y="678"/>
                  </a:lnTo>
                  <a:lnTo>
                    <a:pt x="3962" y="638"/>
                  </a:lnTo>
                  <a:lnTo>
                    <a:pt x="3936" y="629"/>
                  </a:lnTo>
                  <a:lnTo>
                    <a:pt x="3924" y="605"/>
                  </a:lnTo>
                  <a:lnTo>
                    <a:pt x="3827" y="584"/>
                  </a:lnTo>
                  <a:lnTo>
                    <a:pt x="3827" y="556"/>
                  </a:lnTo>
                  <a:lnTo>
                    <a:pt x="3834" y="551"/>
                  </a:lnTo>
                  <a:lnTo>
                    <a:pt x="3910" y="556"/>
                  </a:lnTo>
                  <a:lnTo>
                    <a:pt x="3827" y="544"/>
                  </a:lnTo>
                  <a:lnTo>
                    <a:pt x="3811" y="527"/>
                  </a:lnTo>
                  <a:lnTo>
                    <a:pt x="3818" y="494"/>
                  </a:lnTo>
                  <a:lnTo>
                    <a:pt x="4011" y="501"/>
                  </a:lnTo>
                  <a:lnTo>
                    <a:pt x="4125" y="567"/>
                  </a:lnTo>
                  <a:lnTo>
                    <a:pt x="4141" y="589"/>
                  </a:lnTo>
                  <a:lnTo>
                    <a:pt x="4163" y="605"/>
                  </a:lnTo>
                  <a:lnTo>
                    <a:pt x="4151" y="605"/>
                  </a:lnTo>
                  <a:lnTo>
                    <a:pt x="4158" y="612"/>
                  </a:lnTo>
                  <a:lnTo>
                    <a:pt x="4179" y="605"/>
                  </a:lnTo>
                  <a:lnTo>
                    <a:pt x="4233" y="612"/>
                  </a:lnTo>
                  <a:lnTo>
                    <a:pt x="4285" y="600"/>
                  </a:lnTo>
                  <a:lnTo>
                    <a:pt x="4297" y="589"/>
                  </a:lnTo>
                  <a:lnTo>
                    <a:pt x="4217" y="600"/>
                  </a:lnTo>
                  <a:lnTo>
                    <a:pt x="4172" y="589"/>
                  </a:lnTo>
                  <a:lnTo>
                    <a:pt x="4163" y="556"/>
                  </a:lnTo>
                  <a:lnTo>
                    <a:pt x="4179" y="551"/>
                  </a:lnTo>
                  <a:lnTo>
                    <a:pt x="4125" y="544"/>
                  </a:lnTo>
                  <a:lnTo>
                    <a:pt x="4054" y="494"/>
                  </a:lnTo>
                  <a:lnTo>
                    <a:pt x="4264" y="456"/>
                  </a:lnTo>
                  <a:lnTo>
                    <a:pt x="4422" y="444"/>
                  </a:lnTo>
                  <a:lnTo>
                    <a:pt x="4281" y="440"/>
                  </a:lnTo>
                  <a:lnTo>
                    <a:pt x="4378" y="416"/>
                  </a:lnTo>
                  <a:lnTo>
                    <a:pt x="4529" y="400"/>
                  </a:lnTo>
                  <a:lnTo>
                    <a:pt x="4352" y="400"/>
                  </a:lnTo>
                  <a:lnTo>
                    <a:pt x="4352" y="378"/>
                  </a:lnTo>
                  <a:lnTo>
                    <a:pt x="4389" y="350"/>
                  </a:lnTo>
                  <a:lnTo>
                    <a:pt x="4503" y="307"/>
                  </a:lnTo>
                  <a:lnTo>
                    <a:pt x="4406" y="329"/>
                  </a:lnTo>
                  <a:lnTo>
                    <a:pt x="4356" y="362"/>
                  </a:lnTo>
                  <a:lnTo>
                    <a:pt x="4314" y="345"/>
                  </a:lnTo>
                  <a:lnTo>
                    <a:pt x="4340" y="362"/>
                  </a:lnTo>
                  <a:lnTo>
                    <a:pt x="4323" y="378"/>
                  </a:lnTo>
                  <a:lnTo>
                    <a:pt x="4335" y="383"/>
                  </a:lnTo>
                  <a:lnTo>
                    <a:pt x="4302" y="407"/>
                  </a:lnTo>
                  <a:lnTo>
                    <a:pt x="4210" y="435"/>
                  </a:lnTo>
                  <a:lnTo>
                    <a:pt x="4066" y="456"/>
                  </a:lnTo>
                  <a:lnTo>
                    <a:pt x="4054" y="444"/>
                  </a:lnTo>
                  <a:lnTo>
                    <a:pt x="4158" y="407"/>
                  </a:lnTo>
                  <a:lnTo>
                    <a:pt x="4044" y="435"/>
                  </a:lnTo>
                  <a:lnTo>
                    <a:pt x="4028" y="423"/>
                  </a:lnTo>
                  <a:lnTo>
                    <a:pt x="4054" y="407"/>
                  </a:lnTo>
                  <a:lnTo>
                    <a:pt x="4049" y="407"/>
                  </a:lnTo>
                  <a:lnTo>
                    <a:pt x="4011" y="416"/>
                  </a:lnTo>
                  <a:lnTo>
                    <a:pt x="4016" y="440"/>
                  </a:lnTo>
                  <a:lnTo>
                    <a:pt x="4011" y="456"/>
                  </a:lnTo>
                  <a:lnTo>
                    <a:pt x="3924" y="461"/>
                  </a:lnTo>
                  <a:lnTo>
                    <a:pt x="3865" y="456"/>
                  </a:lnTo>
                  <a:lnTo>
                    <a:pt x="3886" y="440"/>
                  </a:lnTo>
                  <a:lnTo>
                    <a:pt x="3848" y="456"/>
                  </a:lnTo>
                  <a:lnTo>
                    <a:pt x="3801" y="444"/>
                  </a:lnTo>
                  <a:lnTo>
                    <a:pt x="3886" y="383"/>
                  </a:lnTo>
                  <a:lnTo>
                    <a:pt x="4108" y="345"/>
                  </a:lnTo>
                  <a:lnTo>
                    <a:pt x="3881" y="367"/>
                  </a:lnTo>
                  <a:lnTo>
                    <a:pt x="3834" y="390"/>
                  </a:lnTo>
                  <a:lnTo>
                    <a:pt x="3773" y="440"/>
                  </a:lnTo>
                  <a:lnTo>
                    <a:pt x="3747" y="440"/>
                  </a:lnTo>
                  <a:lnTo>
                    <a:pt x="3617" y="390"/>
                  </a:lnTo>
                  <a:lnTo>
                    <a:pt x="3811" y="378"/>
                  </a:lnTo>
                  <a:lnTo>
                    <a:pt x="3945" y="329"/>
                  </a:lnTo>
                  <a:lnTo>
                    <a:pt x="3763" y="362"/>
                  </a:lnTo>
                  <a:lnTo>
                    <a:pt x="3584" y="378"/>
                  </a:lnTo>
                  <a:lnTo>
                    <a:pt x="3558" y="350"/>
                  </a:lnTo>
                  <a:lnTo>
                    <a:pt x="3579" y="333"/>
                  </a:lnTo>
                  <a:lnTo>
                    <a:pt x="3650" y="333"/>
                  </a:lnTo>
                  <a:lnTo>
                    <a:pt x="3579" y="324"/>
                  </a:lnTo>
                  <a:lnTo>
                    <a:pt x="3655" y="291"/>
                  </a:lnTo>
                  <a:lnTo>
                    <a:pt x="3773" y="296"/>
                  </a:lnTo>
                  <a:lnTo>
                    <a:pt x="3693" y="279"/>
                  </a:lnTo>
                  <a:lnTo>
                    <a:pt x="3546" y="312"/>
                  </a:lnTo>
                  <a:lnTo>
                    <a:pt x="3515" y="307"/>
                  </a:lnTo>
                  <a:lnTo>
                    <a:pt x="3612" y="272"/>
                  </a:lnTo>
                  <a:lnTo>
                    <a:pt x="3558" y="256"/>
                  </a:lnTo>
                  <a:lnTo>
                    <a:pt x="3478" y="291"/>
                  </a:lnTo>
                  <a:lnTo>
                    <a:pt x="3478" y="279"/>
                  </a:lnTo>
                  <a:lnTo>
                    <a:pt x="3440" y="267"/>
                  </a:lnTo>
                  <a:lnTo>
                    <a:pt x="3546" y="222"/>
                  </a:lnTo>
                  <a:lnTo>
                    <a:pt x="3600" y="218"/>
                  </a:lnTo>
                  <a:lnTo>
                    <a:pt x="3622" y="239"/>
                  </a:lnTo>
                  <a:lnTo>
                    <a:pt x="3633" y="222"/>
                  </a:lnTo>
                  <a:lnTo>
                    <a:pt x="3617" y="218"/>
                  </a:lnTo>
                  <a:lnTo>
                    <a:pt x="3650" y="218"/>
                  </a:lnTo>
                  <a:lnTo>
                    <a:pt x="3638" y="213"/>
                  </a:lnTo>
                  <a:lnTo>
                    <a:pt x="3709" y="185"/>
                  </a:lnTo>
                  <a:lnTo>
                    <a:pt x="3763" y="196"/>
                  </a:lnTo>
                  <a:lnTo>
                    <a:pt x="3773" y="201"/>
                  </a:lnTo>
                  <a:lnTo>
                    <a:pt x="3763" y="213"/>
                  </a:lnTo>
                  <a:lnTo>
                    <a:pt x="3801" y="222"/>
                  </a:lnTo>
                  <a:lnTo>
                    <a:pt x="3780" y="213"/>
                  </a:lnTo>
                  <a:lnTo>
                    <a:pt x="3796" y="196"/>
                  </a:lnTo>
                  <a:lnTo>
                    <a:pt x="3834" y="196"/>
                  </a:lnTo>
                  <a:lnTo>
                    <a:pt x="3893" y="234"/>
                  </a:lnTo>
                  <a:lnTo>
                    <a:pt x="3881" y="213"/>
                  </a:lnTo>
                  <a:lnTo>
                    <a:pt x="3919" y="213"/>
                  </a:lnTo>
                  <a:lnTo>
                    <a:pt x="3941" y="222"/>
                  </a:lnTo>
                  <a:lnTo>
                    <a:pt x="3924" y="213"/>
                  </a:lnTo>
                  <a:lnTo>
                    <a:pt x="3936" y="213"/>
                  </a:lnTo>
                  <a:lnTo>
                    <a:pt x="3957" y="222"/>
                  </a:lnTo>
                  <a:lnTo>
                    <a:pt x="3936" y="201"/>
                  </a:lnTo>
                  <a:lnTo>
                    <a:pt x="3811" y="185"/>
                  </a:lnTo>
                  <a:lnTo>
                    <a:pt x="3796" y="168"/>
                  </a:lnTo>
                  <a:lnTo>
                    <a:pt x="3903" y="156"/>
                  </a:lnTo>
                  <a:lnTo>
                    <a:pt x="3893" y="140"/>
                  </a:lnTo>
                  <a:lnTo>
                    <a:pt x="3865" y="128"/>
                  </a:lnTo>
                  <a:lnTo>
                    <a:pt x="3924" y="123"/>
                  </a:lnTo>
                  <a:lnTo>
                    <a:pt x="4033" y="144"/>
                  </a:lnTo>
                  <a:lnTo>
                    <a:pt x="4070" y="185"/>
                  </a:lnTo>
                  <a:lnTo>
                    <a:pt x="4054" y="196"/>
                  </a:lnTo>
                  <a:lnTo>
                    <a:pt x="4151" y="201"/>
                  </a:lnTo>
                  <a:lnTo>
                    <a:pt x="4096" y="185"/>
                  </a:lnTo>
                  <a:lnTo>
                    <a:pt x="4066" y="163"/>
                  </a:lnTo>
                  <a:lnTo>
                    <a:pt x="4096" y="156"/>
                  </a:lnTo>
                  <a:lnTo>
                    <a:pt x="4335" y="234"/>
                  </a:lnTo>
                  <a:lnTo>
                    <a:pt x="4285" y="201"/>
                  </a:lnTo>
                  <a:lnTo>
                    <a:pt x="4226" y="196"/>
                  </a:lnTo>
                  <a:lnTo>
                    <a:pt x="4210" y="185"/>
                  </a:lnTo>
                  <a:lnTo>
                    <a:pt x="4217" y="180"/>
                  </a:lnTo>
                  <a:lnTo>
                    <a:pt x="4151" y="163"/>
                  </a:lnTo>
                  <a:lnTo>
                    <a:pt x="4087" y="140"/>
                  </a:lnTo>
                  <a:lnTo>
                    <a:pt x="4104" y="111"/>
                  </a:lnTo>
                  <a:lnTo>
                    <a:pt x="4172" y="111"/>
                  </a:lnTo>
                  <a:lnTo>
                    <a:pt x="4108" y="95"/>
                  </a:lnTo>
                  <a:lnTo>
                    <a:pt x="4125" y="90"/>
                  </a:lnTo>
                  <a:lnTo>
                    <a:pt x="4233" y="107"/>
                  </a:lnTo>
                  <a:lnTo>
                    <a:pt x="4163" y="69"/>
                  </a:lnTo>
                  <a:lnTo>
                    <a:pt x="4172" y="57"/>
                  </a:lnTo>
                  <a:lnTo>
                    <a:pt x="4248" y="69"/>
                  </a:lnTo>
                  <a:lnTo>
                    <a:pt x="4285" y="90"/>
                  </a:lnTo>
                  <a:lnTo>
                    <a:pt x="4297" y="90"/>
                  </a:lnTo>
                  <a:lnTo>
                    <a:pt x="4281" y="85"/>
                  </a:lnTo>
                  <a:lnTo>
                    <a:pt x="4378" y="85"/>
                  </a:lnTo>
                  <a:lnTo>
                    <a:pt x="4285" y="74"/>
                  </a:lnTo>
                  <a:lnTo>
                    <a:pt x="4281" y="69"/>
                  </a:lnTo>
                  <a:lnTo>
                    <a:pt x="4302" y="57"/>
                  </a:lnTo>
                  <a:lnTo>
                    <a:pt x="4248" y="52"/>
                  </a:lnTo>
                  <a:lnTo>
                    <a:pt x="4285" y="36"/>
                  </a:lnTo>
                  <a:lnTo>
                    <a:pt x="4318" y="36"/>
                  </a:lnTo>
                  <a:lnTo>
                    <a:pt x="4340" y="52"/>
                  </a:lnTo>
                  <a:lnTo>
                    <a:pt x="4373" y="36"/>
                  </a:lnTo>
                  <a:lnTo>
                    <a:pt x="4378" y="41"/>
                  </a:lnTo>
                  <a:lnTo>
                    <a:pt x="4378" y="57"/>
                  </a:lnTo>
                  <a:lnTo>
                    <a:pt x="4411" y="57"/>
                  </a:lnTo>
                  <a:lnTo>
                    <a:pt x="4406" y="52"/>
                  </a:lnTo>
                  <a:lnTo>
                    <a:pt x="4432" y="41"/>
                  </a:lnTo>
                  <a:lnTo>
                    <a:pt x="4567" y="95"/>
                  </a:lnTo>
                  <a:lnTo>
                    <a:pt x="4541" y="128"/>
                  </a:lnTo>
                  <a:lnTo>
                    <a:pt x="4604" y="95"/>
                  </a:lnTo>
                  <a:lnTo>
                    <a:pt x="4536" y="74"/>
                  </a:lnTo>
                  <a:lnTo>
                    <a:pt x="4557" y="69"/>
                  </a:lnTo>
                  <a:lnTo>
                    <a:pt x="4460" y="29"/>
                  </a:lnTo>
                  <a:lnTo>
                    <a:pt x="4474" y="17"/>
                  </a:lnTo>
                  <a:lnTo>
                    <a:pt x="4663" y="17"/>
                  </a:lnTo>
                  <a:lnTo>
                    <a:pt x="4713" y="52"/>
                  </a:lnTo>
                  <a:lnTo>
                    <a:pt x="4798" y="85"/>
                  </a:lnTo>
                  <a:lnTo>
                    <a:pt x="4805" y="74"/>
                  </a:lnTo>
                  <a:lnTo>
                    <a:pt x="4718" y="41"/>
                  </a:lnTo>
                  <a:lnTo>
                    <a:pt x="4798" y="12"/>
                  </a:lnTo>
                  <a:lnTo>
                    <a:pt x="4859" y="12"/>
                  </a:lnTo>
                  <a:lnTo>
                    <a:pt x="4864" y="12"/>
                  </a:lnTo>
                  <a:lnTo>
                    <a:pt x="4852" y="29"/>
                  </a:lnTo>
                  <a:lnTo>
                    <a:pt x="4918" y="52"/>
                  </a:lnTo>
                  <a:lnTo>
                    <a:pt x="4874" y="29"/>
                  </a:lnTo>
                  <a:lnTo>
                    <a:pt x="4961" y="0"/>
                  </a:lnTo>
                  <a:lnTo>
                    <a:pt x="5020" y="17"/>
                  </a:lnTo>
                  <a:lnTo>
                    <a:pt x="5015" y="29"/>
                  </a:lnTo>
                  <a:lnTo>
                    <a:pt x="5053" y="17"/>
                  </a:lnTo>
                  <a:lnTo>
                    <a:pt x="5107" y="29"/>
                  </a:lnTo>
                  <a:lnTo>
                    <a:pt x="5107" y="41"/>
                  </a:lnTo>
                  <a:lnTo>
                    <a:pt x="5237" y="41"/>
                  </a:lnTo>
                  <a:lnTo>
                    <a:pt x="5074" y="95"/>
                  </a:lnTo>
                  <a:lnTo>
                    <a:pt x="5162" y="90"/>
                  </a:lnTo>
                  <a:lnTo>
                    <a:pt x="5275" y="57"/>
                  </a:lnTo>
                  <a:lnTo>
                    <a:pt x="5322" y="69"/>
                  </a:lnTo>
                  <a:lnTo>
                    <a:pt x="5306" y="69"/>
                  </a:lnTo>
                  <a:lnTo>
                    <a:pt x="5322" y="57"/>
                  </a:lnTo>
                  <a:lnTo>
                    <a:pt x="5306" y="52"/>
                  </a:lnTo>
                  <a:lnTo>
                    <a:pt x="5355" y="41"/>
                  </a:lnTo>
                  <a:lnTo>
                    <a:pt x="5339" y="52"/>
                  </a:lnTo>
                  <a:lnTo>
                    <a:pt x="5365" y="69"/>
                  </a:lnTo>
                  <a:lnTo>
                    <a:pt x="5436" y="57"/>
                  </a:lnTo>
                  <a:lnTo>
                    <a:pt x="5448" y="69"/>
                  </a:lnTo>
                  <a:lnTo>
                    <a:pt x="5415" y="85"/>
                  </a:lnTo>
                  <a:lnTo>
                    <a:pt x="5474" y="107"/>
                  </a:lnTo>
                  <a:lnTo>
                    <a:pt x="5462" y="123"/>
                  </a:lnTo>
                  <a:lnTo>
                    <a:pt x="5448" y="128"/>
                  </a:lnTo>
                  <a:lnTo>
                    <a:pt x="5528" y="111"/>
                  </a:lnTo>
                  <a:lnTo>
                    <a:pt x="5516" y="123"/>
                  </a:lnTo>
                  <a:lnTo>
                    <a:pt x="5575" y="123"/>
                  </a:lnTo>
                  <a:lnTo>
                    <a:pt x="5608" y="144"/>
                  </a:lnTo>
                  <a:lnTo>
                    <a:pt x="5599" y="163"/>
                  </a:lnTo>
                  <a:lnTo>
                    <a:pt x="5523" y="201"/>
                  </a:lnTo>
                  <a:lnTo>
                    <a:pt x="5415" y="239"/>
                  </a:lnTo>
                  <a:lnTo>
                    <a:pt x="5377" y="234"/>
                  </a:lnTo>
                  <a:lnTo>
                    <a:pt x="5393" y="251"/>
                  </a:lnTo>
                  <a:lnTo>
                    <a:pt x="5377" y="251"/>
                  </a:lnTo>
                  <a:lnTo>
                    <a:pt x="5313" y="251"/>
                  </a:lnTo>
                  <a:lnTo>
                    <a:pt x="5259" y="256"/>
                  </a:lnTo>
                  <a:lnTo>
                    <a:pt x="5306" y="256"/>
                  </a:lnTo>
                  <a:lnTo>
                    <a:pt x="5275" y="272"/>
                  </a:lnTo>
                  <a:lnTo>
                    <a:pt x="5107" y="279"/>
                  </a:lnTo>
                  <a:lnTo>
                    <a:pt x="5025" y="256"/>
                  </a:lnTo>
                  <a:lnTo>
                    <a:pt x="5096" y="279"/>
                  </a:lnTo>
                  <a:lnTo>
                    <a:pt x="5058" y="279"/>
                  </a:lnTo>
                  <a:lnTo>
                    <a:pt x="5079" y="291"/>
                  </a:lnTo>
                  <a:lnTo>
                    <a:pt x="5214" y="291"/>
                  </a:lnTo>
                  <a:lnTo>
                    <a:pt x="4966" y="345"/>
                  </a:lnTo>
                  <a:lnTo>
                    <a:pt x="5004" y="345"/>
                  </a:lnTo>
                  <a:lnTo>
                    <a:pt x="4973" y="362"/>
                  </a:lnTo>
                  <a:lnTo>
                    <a:pt x="4982" y="362"/>
                  </a:lnTo>
                  <a:lnTo>
                    <a:pt x="5285" y="291"/>
                  </a:lnTo>
                  <a:lnTo>
                    <a:pt x="5360" y="279"/>
                  </a:lnTo>
                  <a:lnTo>
                    <a:pt x="5365" y="296"/>
                  </a:lnTo>
                  <a:lnTo>
                    <a:pt x="5176" y="383"/>
                  </a:lnTo>
                  <a:lnTo>
                    <a:pt x="5145" y="390"/>
                  </a:lnTo>
                  <a:lnTo>
                    <a:pt x="5150" y="390"/>
                  </a:lnTo>
                  <a:lnTo>
                    <a:pt x="5053" y="444"/>
                  </a:lnTo>
                  <a:lnTo>
                    <a:pt x="5020" y="478"/>
                  </a:lnTo>
                  <a:lnTo>
                    <a:pt x="4961" y="489"/>
                  </a:lnTo>
                  <a:lnTo>
                    <a:pt x="4966" y="473"/>
                  </a:lnTo>
                  <a:lnTo>
                    <a:pt x="4961" y="473"/>
                  </a:lnTo>
                  <a:lnTo>
                    <a:pt x="4918" y="444"/>
                  </a:lnTo>
                  <a:lnTo>
                    <a:pt x="4944" y="473"/>
                  </a:lnTo>
                  <a:lnTo>
                    <a:pt x="4949" y="489"/>
                  </a:lnTo>
                  <a:lnTo>
                    <a:pt x="4982" y="501"/>
                  </a:lnTo>
                  <a:lnTo>
                    <a:pt x="4966" y="511"/>
                  </a:lnTo>
                  <a:lnTo>
                    <a:pt x="4859" y="527"/>
                  </a:lnTo>
                  <a:lnTo>
                    <a:pt x="4810" y="511"/>
                  </a:lnTo>
                  <a:lnTo>
                    <a:pt x="4843" y="527"/>
                  </a:lnTo>
                  <a:lnTo>
                    <a:pt x="4810" y="527"/>
                  </a:lnTo>
                  <a:lnTo>
                    <a:pt x="4810" y="534"/>
                  </a:lnTo>
                  <a:lnTo>
                    <a:pt x="4944" y="527"/>
                  </a:lnTo>
                  <a:lnTo>
                    <a:pt x="4874" y="556"/>
                  </a:lnTo>
                  <a:lnTo>
                    <a:pt x="4911" y="567"/>
                  </a:lnTo>
                  <a:lnTo>
                    <a:pt x="4897" y="584"/>
                  </a:lnTo>
                  <a:lnTo>
                    <a:pt x="4822" y="600"/>
                  </a:lnTo>
                  <a:lnTo>
                    <a:pt x="4772" y="589"/>
                  </a:lnTo>
                  <a:lnTo>
                    <a:pt x="4767" y="572"/>
                  </a:lnTo>
                  <a:lnTo>
                    <a:pt x="4772" y="572"/>
                  </a:lnTo>
                  <a:lnTo>
                    <a:pt x="4680" y="567"/>
                  </a:lnTo>
                  <a:lnTo>
                    <a:pt x="4642" y="567"/>
                  </a:lnTo>
                  <a:lnTo>
                    <a:pt x="4746" y="584"/>
                  </a:lnTo>
                  <a:lnTo>
                    <a:pt x="4755" y="612"/>
                  </a:lnTo>
                  <a:lnTo>
                    <a:pt x="4718" y="629"/>
                  </a:lnTo>
                  <a:lnTo>
                    <a:pt x="4696" y="612"/>
                  </a:lnTo>
                  <a:lnTo>
                    <a:pt x="4701" y="629"/>
                  </a:lnTo>
                  <a:lnTo>
                    <a:pt x="4692" y="638"/>
                  </a:lnTo>
                  <a:lnTo>
                    <a:pt x="4637" y="622"/>
                  </a:lnTo>
                  <a:lnTo>
                    <a:pt x="4626" y="629"/>
                  </a:lnTo>
                  <a:lnTo>
                    <a:pt x="4637" y="638"/>
                  </a:lnTo>
                  <a:lnTo>
                    <a:pt x="4626" y="645"/>
                  </a:lnTo>
                  <a:lnTo>
                    <a:pt x="4481" y="612"/>
                  </a:lnTo>
                  <a:lnTo>
                    <a:pt x="4474" y="622"/>
                  </a:lnTo>
                  <a:lnTo>
                    <a:pt x="4541" y="629"/>
                  </a:lnTo>
                  <a:lnTo>
                    <a:pt x="4550" y="645"/>
                  </a:lnTo>
                  <a:lnTo>
                    <a:pt x="4567" y="645"/>
                  </a:lnTo>
                  <a:lnTo>
                    <a:pt x="4498" y="645"/>
                  </a:lnTo>
                  <a:lnTo>
                    <a:pt x="4465" y="629"/>
                  </a:lnTo>
                  <a:lnTo>
                    <a:pt x="4481" y="655"/>
                  </a:lnTo>
                  <a:lnTo>
                    <a:pt x="4411" y="645"/>
                  </a:lnTo>
                  <a:lnTo>
                    <a:pt x="4465" y="662"/>
                  </a:lnTo>
                  <a:lnTo>
                    <a:pt x="4460" y="667"/>
                  </a:lnTo>
                  <a:lnTo>
                    <a:pt x="4663" y="667"/>
                  </a:lnTo>
                  <a:lnTo>
                    <a:pt x="4642" y="678"/>
                  </a:lnTo>
                  <a:lnTo>
                    <a:pt x="4663" y="695"/>
                  </a:lnTo>
                  <a:lnTo>
                    <a:pt x="4583" y="695"/>
                  </a:lnTo>
                  <a:lnTo>
                    <a:pt x="4550" y="678"/>
                  </a:lnTo>
                  <a:lnTo>
                    <a:pt x="4432" y="667"/>
                  </a:lnTo>
                  <a:lnTo>
                    <a:pt x="4406" y="678"/>
                  </a:lnTo>
                  <a:lnTo>
                    <a:pt x="4550" y="695"/>
                  </a:lnTo>
                  <a:lnTo>
                    <a:pt x="4448" y="700"/>
                  </a:lnTo>
                  <a:lnTo>
                    <a:pt x="4356" y="695"/>
                  </a:lnTo>
                  <a:lnTo>
                    <a:pt x="4444" y="700"/>
                  </a:lnTo>
                  <a:lnTo>
                    <a:pt x="4406" y="740"/>
                  </a:lnTo>
                  <a:lnTo>
                    <a:pt x="4432" y="711"/>
                  </a:lnTo>
                  <a:lnTo>
                    <a:pt x="4512" y="700"/>
                  </a:lnTo>
                  <a:lnTo>
                    <a:pt x="4583" y="711"/>
                  </a:lnTo>
                  <a:lnTo>
                    <a:pt x="4529" y="733"/>
                  </a:lnTo>
                  <a:lnTo>
                    <a:pt x="4604" y="723"/>
                  </a:lnTo>
                  <a:lnTo>
                    <a:pt x="4642" y="733"/>
                  </a:lnTo>
                  <a:lnTo>
                    <a:pt x="4649" y="749"/>
                  </a:lnTo>
                  <a:lnTo>
                    <a:pt x="4637" y="756"/>
                  </a:lnTo>
                  <a:lnTo>
                    <a:pt x="4642" y="773"/>
                  </a:lnTo>
                  <a:lnTo>
                    <a:pt x="4626" y="778"/>
                  </a:lnTo>
                  <a:lnTo>
                    <a:pt x="4512" y="778"/>
                  </a:lnTo>
                  <a:lnTo>
                    <a:pt x="4595" y="794"/>
                  </a:lnTo>
                  <a:lnTo>
                    <a:pt x="4626" y="811"/>
                  </a:lnTo>
                  <a:lnTo>
                    <a:pt x="4588" y="834"/>
                  </a:lnTo>
                  <a:lnTo>
                    <a:pt x="4498" y="834"/>
                  </a:lnTo>
                  <a:lnTo>
                    <a:pt x="4588" y="844"/>
                  </a:lnTo>
                  <a:lnTo>
                    <a:pt x="4567" y="867"/>
                  </a:lnTo>
                  <a:lnTo>
                    <a:pt x="4541" y="860"/>
                  </a:lnTo>
                  <a:lnTo>
                    <a:pt x="4498" y="877"/>
                  </a:lnTo>
                  <a:lnTo>
                    <a:pt x="4406" y="867"/>
                  </a:lnTo>
                  <a:lnTo>
                    <a:pt x="4389" y="877"/>
                  </a:lnTo>
                  <a:lnTo>
                    <a:pt x="4422" y="889"/>
                  </a:lnTo>
                  <a:lnTo>
                    <a:pt x="4422" y="905"/>
                  </a:lnTo>
                  <a:lnTo>
                    <a:pt x="4432" y="922"/>
                  </a:lnTo>
                  <a:lnTo>
                    <a:pt x="4406" y="962"/>
                  </a:lnTo>
                  <a:lnTo>
                    <a:pt x="4335" y="971"/>
                  </a:lnTo>
                  <a:lnTo>
                    <a:pt x="4248" y="971"/>
                  </a:lnTo>
                  <a:lnTo>
                    <a:pt x="4189" y="955"/>
                  </a:lnTo>
                  <a:lnTo>
                    <a:pt x="4141" y="917"/>
                  </a:lnTo>
                  <a:lnTo>
                    <a:pt x="4141" y="922"/>
                  </a:lnTo>
                  <a:lnTo>
                    <a:pt x="4163" y="938"/>
                  </a:lnTo>
                  <a:lnTo>
                    <a:pt x="4158" y="955"/>
                  </a:lnTo>
                  <a:lnTo>
                    <a:pt x="4196" y="971"/>
                  </a:lnTo>
                  <a:lnTo>
                    <a:pt x="4125" y="971"/>
                  </a:lnTo>
                  <a:lnTo>
                    <a:pt x="4151" y="995"/>
                  </a:lnTo>
                  <a:lnTo>
                    <a:pt x="4196" y="978"/>
                  </a:lnTo>
                  <a:lnTo>
                    <a:pt x="4271" y="988"/>
                  </a:lnTo>
                  <a:lnTo>
                    <a:pt x="4248" y="1000"/>
                  </a:lnTo>
                  <a:lnTo>
                    <a:pt x="4297" y="978"/>
                  </a:lnTo>
                  <a:lnTo>
                    <a:pt x="4335" y="988"/>
                  </a:lnTo>
                  <a:lnTo>
                    <a:pt x="4352" y="1000"/>
                  </a:lnTo>
                  <a:lnTo>
                    <a:pt x="4318" y="1028"/>
                  </a:lnTo>
                  <a:lnTo>
                    <a:pt x="4356" y="1028"/>
                  </a:lnTo>
                  <a:lnTo>
                    <a:pt x="4356" y="1044"/>
                  </a:lnTo>
                  <a:lnTo>
                    <a:pt x="4368" y="1044"/>
                  </a:lnTo>
                  <a:lnTo>
                    <a:pt x="4394" y="1016"/>
                  </a:lnTo>
                  <a:lnTo>
                    <a:pt x="4427" y="1028"/>
                  </a:lnTo>
                  <a:lnTo>
                    <a:pt x="4432" y="1066"/>
                  </a:lnTo>
                  <a:lnTo>
                    <a:pt x="4389" y="1099"/>
                  </a:lnTo>
                  <a:lnTo>
                    <a:pt x="4389" y="1099"/>
                  </a:lnTo>
                  <a:lnTo>
                    <a:pt x="4389" y="1099"/>
                  </a:lnTo>
                  <a:close/>
                  <a:moveTo>
                    <a:pt x="3456" y="279"/>
                  </a:moveTo>
                  <a:lnTo>
                    <a:pt x="3440" y="272"/>
                  </a:lnTo>
                  <a:lnTo>
                    <a:pt x="3461" y="279"/>
                  </a:lnTo>
                  <a:lnTo>
                    <a:pt x="3456" y="279"/>
                  </a:lnTo>
                  <a:lnTo>
                    <a:pt x="3456" y="279"/>
                  </a:lnTo>
                  <a:lnTo>
                    <a:pt x="3456" y="279"/>
                  </a:lnTo>
                  <a:close/>
                  <a:moveTo>
                    <a:pt x="3655" y="844"/>
                  </a:moveTo>
                  <a:lnTo>
                    <a:pt x="3633" y="827"/>
                  </a:lnTo>
                  <a:lnTo>
                    <a:pt x="3579" y="766"/>
                  </a:lnTo>
                  <a:lnTo>
                    <a:pt x="3570" y="778"/>
                  </a:lnTo>
                  <a:lnTo>
                    <a:pt x="3579" y="794"/>
                  </a:lnTo>
                  <a:lnTo>
                    <a:pt x="3596" y="806"/>
                  </a:lnTo>
                  <a:lnTo>
                    <a:pt x="3617" y="834"/>
                  </a:lnTo>
                  <a:lnTo>
                    <a:pt x="3563" y="811"/>
                  </a:lnTo>
                  <a:lnTo>
                    <a:pt x="3525" y="811"/>
                  </a:lnTo>
                  <a:lnTo>
                    <a:pt x="3558" y="834"/>
                  </a:lnTo>
                  <a:lnTo>
                    <a:pt x="3546" y="844"/>
                  </a:lnTo>
                  <a:lnTo>
                    <a:pt x="3433" y="827"/>
                  </a:lnTo>
                  <a:lnTo>
                    <a:pt x="3402" y="811"/>
                  </a:lnTo>
                  <a:lnTo>
                    <a:pt x="3369" y="789"/>
                  </a:lnTo>
                  <a:lnTo>
                    <a:pt x="3461" y="778"/>
                  </a:lnTo>
                  <a:lnTo>
                    <a:pt x="3381" y="766"/>
                  </a:lnTo>
                  <a:lnTo>
                    <a:pt x="3348" y="773"/>
                  </a:lnTo>
                  <a:lnTo>
                    <a:pt x="3310" y="740"/>
                  </a:lnTo>
                  <a:lnTo>
                    <a:pt x="3364" y="740"/>
                  </a:lnTo>
                  <a:lnTo>
                    <a:pt x="3310" y="733"/>
                  </a:lnTo>
                  <a:lnTo>
                    <a:pt x="3277" y="711"/>
                  </a:lnTo>
                  <a:lnTo>
                    <a:pt x="3348" y="678"/>
                  </a:lnTo>
                  <a:lnTo>
                    <a:pt x="3546" y="667"/>
                  </a:lnTo>
                  <a:lnTo>
                    <a:pt x="3418" y="667"/>
                  </a:lnTo>
                  <a:lnTo>
                    <a:pt x="3385" y="662"/>
                  </a:lnTo>
                  <a:lnTo>
                    <a:pt x="3504" y="645"/>
                  </a:lnTo>
                  <a:lnTo>
                    <a:pt x="3423" y="655"/>
                  </a:lnTo>
                  <a:lnTo>
                    <a:pt x="3395" y="645"/>
                  </a:lnTo>
                  <a:lnTo>
                    <a:pt x="3418" y="638"/>
                  </a:lnTo>
                  <a:lnTo>
                    <a:pt x="3381" y="638"/>
                  </a:lnTo>
                  <a:lnTo>
                    <a:pt x="3364" y="629"/>
                  </a:lnTo>
                  <a:lnTo>
                    <a:pt x="3352" y="629"/>
                  </a:lnTo>
                  <a:lnTo>
                    <a:pt x="3364" y="645"/>
                  </a:lnTo>
                  <a:lnTo>
                    <a:pt x="3348" y="645"/>
                  </a:lnTo>
                  <a:lnTo>
                    <a:pt x="3348" y="638"/>
                  </a:lnTo>
                  <a:lnTo>
                    <a:pt x="3343" y="638"/>
                  </a:lnTo>
                  <a:lnTo>
                    <a:pt x="3310" y="662"/>
                  </a:lnTo>
                  <a:lnTo>
                    <a:pt x="3289" y="662"/>
                  </a:lnTo>
                  <a:lnTo>
                    <a:pt x="3293" y="645"/>
                  </a:lnTo>
                  <a:lnTo>
                    <a:pt x="3272" y="638"/>
                  </a:lnTo>
                  <a:lnTo>
                    <a:pt x="3260" y="638"/>
                  </a:lnTo>
                  <a:lnTo>
                    <a:pt x="3272" y="645"/>
                  </a:lnTo>
                  <a:lnTo>
                    <a:pt x="3260" y="655"/>
                  </a:lnTo>
                  <a:lnTo>
                    <a:pt x="3222" y="662"/>
                  </a:lnTo>
                  <a:lnTo>
                    <a:pt x="3208" y="645"/>
                  </a:lnTo>
                  <a:lnTo>
                    <a:pt x="3170" y="638"/>
                  </a:lnTo>
                  <a:lnTo>
                    <a:pt x="3180" y="622"/>
                  </a:lnTo>
                  <a:lnTo>
                    <a:pt x="3244" y="605"/>
                  </a:lnTo>
                  <a:lnTo>
                    <a:pt x="3277" y="584"/>
                  </a:lnTo>
                  <a:lnTo>
                    <a:pt x="3170" y="600"/>
                  </a:lnTo>
                  <a:lnTo>
                    <a:pt x="3116" y="567"/>
                  </a:lnTo>
                  <a:lnTo>
                    <a:pt x="3147" y="556"/>
                  </a:lnTo>
                  <a:lnTo>
                    <a:pt x="3109" y="544"/>
                  </a:lnTo>
                  <a:lnTo>
                    <a:pt x="3133" y="534"/>
                  </a:lnTo>
                  <a:lnTo>
                    <a:pt x="3100" y="527"/>
                  </a:lnTo>
                  <a:lnTo>
                    <a:pt x="3133" y="518"/>
                  </a:lnTo>
                  <a:lnTo>
                    <a:pt x="3272" y="551"/>
                  </a:lnTo>
                  <a:lnTo>
                    <a:pt x="3244" y="527"/>
                  </a:lnTo>
                  <a:lnTo>
                    <a:pt x="3293" y="518"/>
                  </a:lnTo>
                  <a:lnTo>
                    <a:pt x="3201" y="527"/>
                  </a:lnTo>
                  <a:lnTo>
                    <a:pt x="3180" y="518"/>
                  </a:lnTo>
                  <a:lnTo>
                    <a:pt x="3208" y="501"/>
                  </a:lnTo>
                  <a:lnTo>
                    <a:pt x="3163" y="511"/>
                  </a:lnTo>
                  <a:lnTo>
                    <a:pt x="3109" y="489"/>
                  </a:lnTo>
                  <a:lnTo>
                    <a:pt x="3192" y="489"/>
                  </a:lnTo>
                  <a:lnTo>
                    <a:pt x="3170" y="473"/>
                  </a:lnTo>
                  <a:lnTo>
                    <a:pt x="3154" y="444"/>
                  </a:lnTo>
                  <a:lnTo>
                    <a:pt x="3310" y="456"/>
                  </a:lnTo>
                  <a:lnTo>
                    <a:pt x="3244" y="435"/>
                  </a:lnTo>
                  <a:lnTo>
                    <a:pt x="3289" y="423"/>
                  </a:lnTo>
                  <a:lnTo>
                    <a:pt x="3185" y="407"/>
                  </a:lnTo>
                  <a:lnTo>
                    <a:pt x="3218" y="400"/>
                  </a:lnTo>
                  <a:lnTo>
                    <a:pt x="3192" y="390"/>
                  </a:lnTo>
                  <a:lnTo>
                    <a:pt x="3218" y="378"/>
                  </a:lnTo>
                  <a:lnTo>
                    <a:pt x="3244" y="367"/>
                  </a:lnTo>
                  <a:lnTo>
                    <a:pt x="3272" y="383"/>
                  </a:lnTo>
                  <a:lnTo>
                    <a:pt x="3298" y="367"/>
                  </a:lnTo>
                  <a:lnTo>
                    <a:pt x="3277" y="362"/>
                  </a:lnTo>
                  <a:lnTo>
                    <a:pt x="3348" y="362"/>
                  </a:lnTo>
                  <a:lnTo>
                    <a:pt x="3364" y="350"/>
                  </a:lnTo>
                  <a:lnTo>
                    <a:pt x="3272" y="329"/>
                  </a:lnTo>
                  <a:lnTo>
                    <a:pt x="3289" y="312"/>
                  </a:lnTo>
                  <a:lnTo>
                    <a:pt x="3331" y="324"/>
                  </a:lnTo>
                  <a:lnTo>
                    <a:pt x="3331" y="312"/>
                  </a:lnTo>
                  <a:lnTo>
                    <a:pt x="3449" y="345"/>
                  </a:lnTo>
                  <a:lnTo>
                    <a:pt x="3456" y="362"/>
                  </a:lnTo>
                  <a:lnTo>
                    <a:pt x="3440" y="367"/>
                  </a:lnTo>
                  <a:lnTo>
                    <a:pt x="3470" y="378"/>
                  </a:lnTo>
                  <a:lnTo>
                    <a:pt x="3504" y="416"/>
                  </a:lnTo>
                  <a:lnTo>
                    <a:pt x="3532" y="440"/>
                  </a:lnTo>
                  <a:lnTo>
                    <a:pt x="3525" y="444"/>
                  </a:lnTo>
                  <a:lnTo>
                    <a:pt x="3596" y="473"/>
                  </a:lnTo>
                  <a:lnTo>
                    <a:pt x="3596" y="456"/>
                  </a:lnTo>
                  <a:lnTo>
                    <a:pt x="3633" y="456"/>
                  </a:lnTo>
                  <a:lnTo>
                    <a:pt x="3638" y="473"/>
                  </a:lnTo>
                  <a:lnTo>
                    <a:pt x="3633" y="478"/>
                  </a:lnTo>
                  <a:lnTo>
                    <a:pt x="3638" y="478"/>
                  </a:lnTo>
                  <a:lnTo>
                    <a:pt x="3633" y="494"/>
                  </a:lnTo>
                  <a:lnTo>
                    <a:pt x="3667" y="527"/>
                  </a:lnTo>
                  <a:lnTo>
                    <a:pt x="3709" y="527"/>
                  </a:lnTo>
                  <a:lnTo>
                    <a:pt x="3704" y="511"/>
                  </a:lnTo>
                  <a:lnTo>
                    <a:pt x="3671" y="501"/>
                  </a:lnTo>
                  <a:lnTo>
                    <a:pt x="3671" y="478"/>
                  </a:lnTo>
                  <a:lnTo>
                    <a:pt x="3742" y="478"/>
                  </a:lnTo>
                  <a:lnTo>
                    <a:pt x="3747" y="511"/>
                  </a:lnTo>
                  <a:lnTo>
                    <a:pt x="3709" y="527"/>
                  </a:lnTo>
                  <a:lnTo>
                    <a:pt x="3773" y="534"/>
                  </a:lnTo>
                  <a:lnTo>
                    <a:pt x="3785" y="551"/>
                  </a:lnTo>
                  <a:lnTo>
                    <a:pt x="3759" y="572"/>
                  </a:lnTo>
                  <a:lnTo>
                    <a:pt x="3785" y="556"/>
                  </a:lnTo>
                  <a:lnTo>
                    <a:pt x="3780" y="605"/>
                  </a:lnTo>
                  <a:lnTo>
                    <a:pt x="3759" y="622"/>
                  </a:lnTo>
                  <a:lnTo>
                    <a:pt x="3785" y="605"/>
                  </a:lnTo>
                  <a:lnTo>
                    <a:pt x="3801" y="622"/>
                  </a:lnTo>
                  <a:lnTo>
                    <a:pt x="3811" y="612"/>
                  </a:lnTo>
                  <a:lnTo>
                    <a:pt x="3801" y="605"/>
                  </a:lnTo>
                  <a:lnTo>
                    <a:pt x="3834" y="605"/>
                  </a:lnTo>
                  <a:lnTo>
                    <a:pt x="3855" y="612"/>
                  </a:lnTo>
                  <a:lnTo>
                    <a:pt x="3855" y="629"/>
                  </a:lnTo>
                  <a:lnTo>
                    <a:pt x="3848" y="629"/>
                  </a:lnTo>
                  <a:lnTo>
                    <a:pt x="3855" y="638"/>
                  </a:lnTo>
                  <a:lnTo>
                    <a:pt x="3872" y="605"/>
                  </a:lnTo>
                  <a:lnTo>
                    <a:pt x="3881" y="605"/>
                  </a:lnTo>
                  <a:lnTo>
                    <a:pt x="3936" y="662"/>
                  </a:lnTo>
                  <a:lnTo>
                    <a:pt x="3827" y="695"/>
                  </a:lnTo>
                  <a:lnTo>
                    <a:pt x="3811" y="711"/>
                  </a:lnTo>
                  <a:lnTo>
                    <a:pt x="3785" y="695"/>
                  </a:lnTo>
                  <a:lnTo>
                    <a:pt x="3785" y="716"/>
                  </a:lnTo>
                  <a:lnTo>
                    <a:pt x="3747" y="766"/>
                  </a:lnTo>
                  <a:lnTo>
                    <a:pt x="3721" y="733"/>
                  </a:lnTo>
                  <a:lnTo>
                    <a:pt x="3721" y="711"/>
                  </a:lnTo>
                  <a:lnTo>
                    <a:pt x="3742" y="695"/>
                  </a:lnTo>
                  <a:lnTo>
                    <a:pt x="3709" y="711"/>
                  </a:lnTo>
                  <a:lnTo>
                    <a:pt x="3704" y="740"/>
                  </a:lnTo>
                  <a:lnTo>
                    <a:pt x="3726" y="778"/>
                  </a:lnTo>
                  <a:lnTo>
                    <a:pt x="3704" y="794"/>
                  </a:lnTo>
                  <a:lnTo>
                    <a:pt x="3676" y="773"/>
                  </a:lnTo>
                  <a:lnTo>
                    <a:pt x="3667" y="766"/>
                  </a:lnTo>
                  <a:lnTo>
                    <a:pt x="3676" y="794"/>
                  </a:lnTo>
                  <a:lnTo>
                    <a:pt x="3655" y="844"/>
                  </a:lnTo>
                  <a:lnTo>
                    <a:pt x="3655" y="844"/>
                  </a:lnTo>
                  <a:lnTo>
                    <a:pt x="3655" y="844"/>
                  </a:lnTo>
                  <a:close/>
                  <a:moveTo>
                    <a:pt x="3222" y="435"/>
                  </a:moveTo>
                  <a:lnTo>
                    <a:pt x="3234" y="440"/>
                  </a:lnTo>
                  <a:lnTo>
                    <a:pt x="3147" y="435"/>
                  </a:lnTo>
                  <a:lnTo>
                    <a:pt x="3222" y="435"/>
                  </a:lnTo>
                  <a:lnTo>
                    <a:pt x="3222" y="435"/>
                  </a:lnTo>
                  <a:lnTo>
                    <a:pt x="3222" y="435"/>
                  </a:lnTo>
                  <a:close/>
                  <a:moveTo>
                    <a:pt x="2965" y="600"/>
                  </a:moveTo>
                  <a:lnTo>
                    <a:pt x="2920" y="584"/>
                  </a:lnTo>
                  <a:lnTo>
                    <a:pt x="2920" y="567"/>
                  </a:lnTo>
                  <a:lnTo>
                    <a:pt x="2868" y="567"/>
                  </a:lnTo>
                  <a:lnTo>
                    <a:pt x="2861" y="534"/>
                  </a:lnTo>
                  <a:lnTo>
                    <a:pt x="2894" y="518"/>
                  </a:lnTo>
                  <a:lnTo>
                    <a:pt x="2953" y="534"/>
                  </a:lnTo>
                  <a:lnTo>
                    <a:pt x="2970" y="551"/>
                  </a:lnTo>
                  <a:lnTo>
                    <a:pt x="2970" y="572"/>
                  </a:lnTo>
                  <a:lnTo>
                    <a:pt x="2965" y="600"/>
                  </a:lnTo>
                  <a:lnTo>
                    <a:pt x="2965" y="600"/>
                  </a:lnTo>
                  <a:lnTo>
                    <a:pt x="2965" y="600"/>
                  </a:lnTo>
                  <a:close/>
                  <a:moveTo>
                    <a:pt x="2608" y="749"/>
                  </a:moveTo>
                  <a:lnTo>
                    <a:pt x="2613" y="740"/>
                  </a:lnTo>
                  <a:lnTo>
                    <a:pt x="2587" y="740"/>
                  </a:lnTo>
                  <a:lnTo>
                    <a:pt x="2608" y="723"/>
                  </a:lnTo>
                  <a:lnTo>
                    <a:pt x="2587" y="711"/>
                  </a:lnTo>
                  <a:lnTo>
                    <a:pt x="2521" y="740"/>
                  </a:lnTo>
                  <a:lnTo>
                    <a:pt x="2542" y="700"/>
                  </a:lnTo>
                  <a:lnTo>
                    <a:pt x="2483" y="700"/>
                  </a:lnTo>
                  <a:lnTo>
                    <a:pt x="2483" y="678"/>
                  </a:lnTo>
                  <a:lnTo>
                    <a:pt x="2490" y="655"/>
                  </a:lnTo>
                  <a:lnTo>
                    <a:pt x="2596" y="645"/>
                  </a:lnTo>
                  <a:lnTo>
                    <a:pt x="2663" y="662"/>
                  </a:lnTo>
                  <a:lnTo>
                    <a:pt x="2693" y="695"/>
                  </a:lnTo>
                  <a:lnTo>
                    <a:pt x="2684" y="716"/>
                  </a:lnTo>
                  <a:lnTo>
                    <a:pt x="2700" y="723"/>
                  </a:lnTo>
                  <a:lnTo>
                    <a:pt x="2705" y="700"/>
                  </a:lnTo>
                  <a:lnTo>
                    <a:pt x="2759" y="695"/>
                  </a:lnTo>
                  <a:lnTo>
                    <a:pt x="2807" y="716"/>
                  </a:lnTo>
                  <a:lnTo>
                    <a:pt x="2793" y="740"/>
                  </a:lnTo>
                  <a:lnTo>
                    <a:pt x="2856" y="733"/>
                  </a:lnTo>
                  <a:lnTo>
                    <a:pt x="2882" y="756"/>
                  </a:lnTo>
                  <a:lnTo>
                    <a:pt x="2878" y="766"/>
                  </a:lnTo>
                  <a:lnTo>
                    <a:pt x="2911" y="773"/>
                  </a:lnTo>
                  <a:lnTo>
                    <a:pt x="2882" y="794"/>
                  </a:lnTo>
                  <a:lnTo>
                    <a:pt x="2894" y="806"/>
                  </a:lnTo>
                  <a:lnTo>
                    <a:pt x="2894" y="822"/>
                  </a:lnTo>
                  <a:lnTo>
                    <a:pt x="2911" y="822"/>
                  </a:lnTo>
                  <a:lnTo>
                    <a:pt x="2948" y="851"/>
                  </a:lnTo>
                  <a:lnTo>
                    <a:pt x="2937" y="867"/>
                  </a:lnTo>
                  <a:lnTo>
                    <a:pt x="2948" y="884"/>
                  </a:lnTo>
                  <a:lnTo>
                    <a:pt x="2882" y="900"/>
                  </a:lnTo>
                  <a:lnTo>
                    <a:pt x="2830" y="884"/>
                  </a:lnTo>
                  <a:lnTo>
                    <a:pt x="2807" y="834"/>
                  </a:lnTo>
                  <a:lnTo>
                    <a:pt x="2731" y="822"/>
                  </a:lnTo>
                  <a:lnTo>
                    <a:pt x="2693" y="827"/>
                  </a:lnTo>
                  <a:lnTo>
                    <a:pt x="2679" y="822"/>
                  </a:lnTo>
                  <a:lnTo>
                    <a:pt x="2693" y="806"/>
                  </a:lnTo>
                  <a:lnTo>
                    <a:pt x="2679" y="806"/>
                  </a:lnTo>
                  <a:lnTo>
                    <a:pt x="2596" y="827"/>
                  </a:lnTo>
                  <a:lnTo>
                    <a:pt x="2570" y="822"/>
                  </a:lnTo>
                  <a:lnTo>
                    <a:pt x="2521" y="789"/>
                  </a:lnTo>
                  <a:lnTo>
                    <a:pt x="2542" y="773"/>
                  </a:lnTo>
                  <a:lnTo>
                    <a:pt x="2630" y="789"/>
                  </a:lnTo>
                  <a:lnTo>
                    <a:pt x="2641" y="766"/>
                  </a:lnTo>
                  <a:lnTo>
                    <a:pt x="2592" y="766"/>
                  </a:lnTo>
                  <a:lnTo>
                    <a:pt x="2646" y="749"/>
                  </a:lnTo>
                  <a:lnTo>
                    <a:pt x="2608" y="749"/>
                  </a:lnTo>
                  <a:lnTo>
                    <a:pt x="2608" y="749"/>
                  </a:lnTo>
                  <a:lnTo>
                    <a:pt x="2608" y="749"/>
                  </a:lnTo>
                  <a:close/>
                  <a:moveTo>
                    <a:pt x="3865" y="695"/>
                  </a:moveTo>
                  <a:lnTo>
                    <a:pt x="3919" y="700"/>
                  </a:lnTo>
                  <a:lnTo>
                    <a:pt x="3827" y="723"/>
                  </a:lnTo>
                  <a:lnTo>
                    <a:pt x="3865" y="695"/>
                  </a:lnTo>
                  <a:lnTo>
                    <a:pt x="3865" y="695"/>
                  </a:lnTo>
                  <a:lnTo>
                    <a:pt x="3865" y="695"/>
                  </a:lnTo>
                  <a:close/>
                  <a:moveTo>
                    <a:pt x="3100" y="900"/>
                  </a:moveTo>
                  <a:lnTo>
                    <a:pt x="3078" y="889"/>
                  </a:lnTo>
                  <a:lnTo>
                    <a:pt x="3078" y="884"/>
                  </a:lnTo>
                  <a:lnTo>
                    <a:pt x="3083" y="877"/>
                  </a:lnTo>
                  <a:lnTo>
                    <a:pt x="3029" y="860"/>
                  </a:lnTo>
                  <a:lnTo>
                    <a:pt x="3100" y="844"/>
                  </a:lnTo>
                  <a:lnTo>
                    <a:pt x="3019" y="822"/>
                  </a:lnTo>
                  <a:lnTo>
                    <a:pt x="3019" y="806"/>
                  </a:lnTo>
                  <a:lnTo>
                    <a:pt x="2986" y="789"/>
                  </a:lnTo>
                  <a:lnTo>
                    <a:pt x="3019" y="778"/>
                  </a:lnTo>
                  <a:lnTo>
                    <a:pt x="2991" y="766"/>
                  </a:lnTo>
                  <a:lnTo>
                    <a:pt x="2991" y="740"/>
                  </a:lnTo>
                  <a:lnTo>
                    <a:pt x="3029" y="733"/>
                  </a:lnTo>
                  <a:lnTo>
                    <a:pt x="3078" y="749"/>
                  </a:lnTo>
                  <a:lnTo>
                    <a:pt x="3147" y="766"/>
                  </a:lnTo>
                  <a:lnTo>
                    <a:pt x="3147" y="778"/>
                  </a:lnTo>
                  <a:lnTo>
                    <a:pt x="3192" y="778"/>
                  </a:lnTo>
                  <a:lnTo>
                    <a:pt x="3239" y="806"/>
                  </a:lnTo>
                  <a:lnTo>
                    <a:pt x="3201" y="827"/>
                  </a:lnTo>
                  <a:lnTo>
                    <a:pt x="3234" y="844"/>
                  </a:lnTo>
                  <a:lnTo>
                    <a:pt x="3218" y="867"/>
                  </a:lnTo>
                  <a:lnTo>
                    <a:pt x="3116" y="884"/>
                  </a:lnTo>
                  <a:lnTo>
                    <a:pt x="3109" y="884"/>
                  </a:lnTo>
                  <a:lnTo>
                    <a:pt x="3126" y="889"/>
                  </a:lnTo>
                  <a:lnTo>
                    <a:pt x="3100" y="900"/>
                  </a:lnTo>
                  <a:lnTo>
                    <a:pt x="3100" y="900"/>
                  </a:lnTo>
                  <a:lnTo>
                    <a:pt x="3100" y="900"/>
                  </a:lnTo>
                  <a:close/>
                  <a:moveTo>
                    <a:pt x="4675" y="756"/>
                  </a:moveTo>
                  <a:lnTo>
                    <a:pt x="4649" y="749"/>
                  </a:lnTo>
                  <a:lnTo>
                    <a:pt x="4692" y="749"/>
                  </a:lnTo>
                  <a:lnTo>
                    <a:pt x="4675" y="756"/>
                  </a:lnTo>
                  <a:lnTo>
                    <a:pt x="4675" y="756"/>
                  </a:lnTo>
                  <a:lnTo>
                    <a:pt x="4675" y="756"/>
                  </a:lnTo>
                  <a:close/>
                  <a:moveTo>
                    <a:pt x="2067" y="822"/>
                  </a:moveTo>
                  <a:lnTo>
                    <a:pt x="2030" y="806"/>
                  </a:lnTo>
                  <a:lnTo>
                    <a:pt x="1949" y="822"/>
                  </a:lnTo>
                  <a:lnTo>
                    <a:pt x="1944" y="811"/>
                  </a:lnTo>
                  <a:lnTo>
                    <a:pt x="1961" y="794"/>
                  </a:lnTo>
                  <a:lnTo>
                    <a:pt x="2143" y="740"/>
                  </a:lnTo>
                  <a:lnTo>
                    <a:pt x="2230" y="789"/>
                  </a:lnTo>
                  <a:lnTo>
                    <a:pt x="2214" y="822"/>
                  </a:lnTo>
                  <a:lnTo>
                    <a:pt x="2143" y="822"/>
                  </a:lnTo>
                  <a:lnTo>
                    <a:pt x="2100" y="806"/>
                  </a:lnTo>
                  <a:lnTo>
                    <a:pt x="2067" y="822"/>
                  </a:lnTo>
                  <a:lnTo>
                    <a:pt x="2067" y="822"/>
                  </a:lnTo>
                  <a:lnTo>
                    <a:pt x="2067" y="822"/>
                  </a:lnTo>
                  <a:close/>
                  <a:moveTo>
                    <a:pt x="3721" y="794"/>
                  </a:moveTo>
                  <a:lnTo>
                    <a:pt x="3704" y="827"/>
                  </a:lnTo>
                  <a:lnTo>
                    <a:pt x="3688" y="822"/>
                  </a:lnTo>
                  <a:lnTo>
                    <a:pt x="3704" y="794"/>
                  </a:lnTo>
                  <a:lnTo>
                    <a:pt x="3721" y="794"/>
                  </a:lnTo>
                  <a:lnTo>
                    <a:pt x="3721" y="794"/>
                  </a:lnTo>
                  <a:lnTo>
                    <a:pt x="3721" y="794"/>
                  </a:lnTo>
                  <a:close/>
                  <a:moveTo>
                    <a:pt x="3260" y="822"/>
                  </a:moveTo>
                  <a:lnTo>
                    <a:pt x="3277" y="834"/>
                  </a:lnTo>
                  <a:lnTo>
                    <a:pt x="3244" y="822"/>
                  </a:lnTo>
                  <a:lnTo>
                    <a:pt x="3260" y="822"/>
                  </a:lnTo>
                  <a:lnTo>
                    <a:pt x="3260" y="822"/>
                  </a:lnTo>
                  <a:lnTo>
                    <a:pt x="3260" y="822"/>
                  </a:lnTo>
                  <a:close/>
                  <a:moveTo>
                    <a:pt x="2679" y="822"/>
                  </a:moveTo>
                  <a:lnTo>
                    <a:pt x="2684" y="827"/>
                  </a:lnTo>
                  <a:lnTo>
                    <a:pt x="2663" y="844"/>
                  </a:lnTo>
                  <a:lnTo>
                    <a:pt x="2646" y="834"/>
                  </a:lnTo>
                  <a:lnTo>
                    <a:pt x="2679" y="822"/>
                  </a:lnTo>
                  <a:lnTo>
                    <a:pt x="2679" y="822"/>
                  </a:lnTo>
                  <a:lnTo>
                    <a:pt x="2679" y="822"/>
                  </a:lnTo>
                  <a:close/>
                  <a:moveTo>
                    <a:pt x="2759" y="827"/>
                  </a:moveTo>
                  <a:lnTo>
                    <a:pt x="2759" y="834"/>
                  </a:lnTo>
                  <a:lnTo>
                    <a:pt x="2748" y="834"/>
                  </a:lnTo>
                  <a:lnTo>
                    <a:pt x="2759" y="827"/>
                  </a:lnTo>
                  <a:lnTo>
                    <a:pt x="2759" y="827"/>
                  </a:lnTo>
                  <a:lnTo>
                    <a:pt x="2759" y="827"/>
                  </a:lnTo>
                  <a:close/>
                  <a:moveTo>
                    <a:pt x="2030" y="971"/>
                  </a:moveTo>
                  <a:lnTo>
                    <a:pt x="1949" y="938"/>
                  </a:lnTo>
                  <a:lnTo>
                    <a:pt x="1949" y="905"/>
                  </a:lnTo>
                  <a:lnTo>
                    <a:pt x="1944" y="889"/>
                  </a:lnTo>
                  <a:lnTo>
                    <a:pt x="1949" y="877"/>
                  </a:lnTo>
                  <a:lnTo>
                    <a:pt x="2084" y="851"/>
                  </a:lnTo>
                  <a:lnTo>
                    <a:pt x="2209" y="851"/>
                  </a:lnTo>
                  <a:lnTo>
                    <a:pt x="2193" y="867"/>
                  </a:lnTo>
                  <a:lnTo>
                    <a:pt x="2112" y="889"/>
                  </a:lnTo>
                  <a:lnTo>
                    <a:pt x="2129" y="900"/>
                  </a:lnTo>
                  <a:lnTo>
                    <a:pt x="2167" y="900"/>
                  </a:lnTo>
                  <a:lnTo>
                    <a:pt x="2176" y="922"/>
                  </a:lnTo>
                  <a:lnTo>
                    <a:pt x="2159" y="938"/>
                  </a:lnTo>
                  <a:lnTo>
                    <a:pt x="2030" y="971"/>
                  </a:lnTo>
                  <a:lnTo>
                    <a:pt x="2030" y="971"/>
                  </a:lnTo>
                  <a:lnTo>
                    <a:pt x="2030" y="971"/>
                  </a:lnTo>
                  <a:close/>
                  <a:moveTo>
                    <a:pt x="1878" y="905"/>
                  </a:moveTo>
                  <a:lnTo>
                    <a:pt x="1815" y="867"/>
                  </a:lnTo>
                  <a:lnTo>
                    <a:pt x="1874" y="851"/>
                  </a:lnTo>
                  <a:lnTo>
                    <a:pt x="1923" y="889"/>
                  </a:lnTo>
                  <a:lnTo>
                    <a:pt x="1878" y="905"/>
                  </a:lnTo>
                  <a:lnTo>
                    <a:pt x="1878" y="905"/>
                  </a:lnTo>
                  <a:lnTo>
                    <a:pt x="1878" y="905"/>
                  </a:lnTo>
                  <a:close/>
                  <a:moveTo>
                    <a:pt x="2759" y="884"/>
                  </a:moveTo>
                  <a:lnTo>
                    <a:pt x="2807" y="905"/>
                  </a:lnTo>
                  <a:lnTo>
                    <a:pt x="2731" y="917"/>
                  </a:lnTo>
                  <a:lnTo>
                    <a:pt x="2705" y="905"/>
                  </a:lnTo>
                  <a:lnTo>
                    <a:pt x="2700" y="889"/>
                  </a:lnTo>
                  <a:lnTo>
                    <a:pt x="2759" y="884"/>
                  </a:lnTo>
                  <a:lnTo>
                    <a:pt x="2759" y="884"/>
                  </a:lnTo>
                  <a:lnTo>
                    <a:pt x="2759" y="884"/>
                  </a:lnTo>
                  <a:close/>
                  <a:moveTo>
                    <a:pt x="4444" y="884"/>
                  </a:moveTo>
                  <a:lnTo>
                    <a:pt x="4448" y="889"/>
                  </a:lnTo>
                  <a:lnTo>
                    <a:pt x="4422" y="889"/>
                  </a:lnTo>
                  <a:lnTo>
                    <a:pt x="4444" y="884"/>
                  </a:lnTo>
                  <a:lnTo>
                    <a:pt x="4444" y="884"/>
                  </a:lnTo>
                  <a:lnTo>
                    <a:pt x="4444" y="884"/>
                  </a:lnTo>
                  <a:close/>
                  <a:moveTo>
                    <a:pt x="3352" y="905"/>
                  </a:moveTo>
                  <a:lnTo>
                    <a:pt x="3364" y="917"/>
                  </a:lnTo>
                  <a:lnTo>
                    <a:pt x="3343" y="922"/>
                  </a:lnTo>
                  <a:lnTo>
                    <a:pt x="3326" y="943"/>
                  </a:lnTo>
                  <a:lnTo>
                    <a:pt x="3163" y="943"/>
                  </a:lnTo>
                  <a:lnTo>
                    <a:pt x="3133" y="922"/>
                  </a:lnTo>
                  <a:lnTo>
                    <a:pt x="3137" y="917"/>
                  </a:lnTo>
                  <a:lnTo>
                    <a:pt x="3192" y="889"/>
                  </a:lnTo>
                  <a:lnTo>
                    <a:pt x="3201" y="905"/>
                  </a:lnTo>
                  <a:lnTo>
                    <a:pt x="3326" y="900"/>
                  </a:lnTo>
                  <a:lnTo>
                    <a:pt x="3352" y="905"/>
                  </a:lnTo>
                  <a:lnTo>
                    <a:pt x="3352" y="905"/>
                  </a:lnTo>
                  <a:lnTo>
                    <a:pt x="3352" y="905"/>
                  </a:lnTo>
                  <a:close/>
                  <a:moveTo>
                    <a:pt x="2483" y="900"/>
                  </a:moveTo>
                  <a:lnTo>
                    <a:pt x="2521" y="933"/>
                  </a:lnTo>
                  <a:lnTo>
                    <a:pt x="2533" y="943"/>
                  </a:lnTo>
                  <a:lnTo>
                    <a:pt x="2521" y="955"/>
                  </a:lnTo>
                  <a:lnTo>
                    <a:pt x="2542" y="955"/>
                  </a:lnTo>
                  <a:lnTo>
                    <a:pt x="2570" y="988"/>
                  </a:lnTo>
                  <a:lnTo>
                    <a:pt x="2542" y="1000"/>
                  </a:lnTo>
                  <a:lnTo>
                    <a:pt x="2504" y="988"/>
                  </a:lnTo>
                  <a:lnTo>
                    <a:pt x="2483" y="971"/>
                  </a:lnTo>
                  <a:lnTo>
                    <a:pt x="2469" y="922"/>
                  </a:lnTo>
                  <a:lnTo>
                    <a:pt x="2452" y="905"/>
                  </a:lnTo>
                  <a:lnTo>
                    <a:pt x="2483" y="900"/>
                  </a:lnTo>
                  <a:lnTo>
                    <a:pt x="2483" y="900"/>
                  </a:lnTo>
                  <a:lnTo>
                    <a:pt x="2483" y="900"/>
                  </a:lnTo>
                  <a:close/>
                  <a:moveTo>
                    <a:pt x="3546" y="988"/>
                  </a:moveTo>
                  <a:lnTo>
                    <a:pt x="3494" y="962"/>
                  </a:lnTo>
                  <a:lnTo>
                    <a:pt x="3494" y="933"/>
                  </a:lnTo>
                  <a:lnTo>
                    <a:pt x="3515" y="917"/>
                  </a:lnTo>
                  <a:lnTo>
                    <a:pt x="3563" y="922"/>
                  </a:lnTo>
                  <a:lnTo>
                    <a:pt x="3596" y="943"/>
                  </a:lnTo>
                  <a:lnTo>
                    <a:pt x="3600" y="962"/>
                  </a:lnTo>
                  <a:lnTo>
                    <a:pt x="3546" y="988"/>
                  </a:lnTo>
                  <a:lnTo>
                    <a:pt x="3546" y="988"/>
                  </a:lnTo>
                  <a:lnTo>
                    <a:pt x="3546" y="988"/>
                  </a:lnTo>
                  <a:close/>
                  <a:moveTo>
                    <a:pt x="3910" y="933"/>
                  </a:moveTo>
                  <a:lnTo>
                    <a:pt x="3941" y="938"/>
                  </a:lnTo>
                  <a:lnTo>
                    <a:pt x="3919" y="943"/>
                  </a:lnTo>
                  <a:lnTo>
                    <a:pt x="3886" y="933"/>
                  </a:lnTo>
                  <a:lnTo>
                    <a:pt x="3910" y="933"/>
                  </a:lnTo>
                  <a:lnTo>
                    <a:pt x="3910" y="933"/>
                  </a:lnTo>
                  <a:lnTo>
                    <a:pt x="3910" y="933"/>
                  </a:lnTo>
                  <a:close/>
                  <a:moveTo>
                    <a:pt x="1734" y="1082"/>
                  </a:moveTo>
                  <a:lnTo>
                    <a:pt x="1680" y="1087"/>
                  </a:lnTo>
                  <a:lnTo>
                    <a:pt x="1692" y="1111"/>
                  </a:lnTo>
                  <a:lnTo>
                    <a:pt x="1654" y="1127"/>
                  </a:lnTo>
                  <a:lnTo>
                    <a:pt x="1609" y="1106"/>
                  </a:lnTo>
                  <a:lnTo>
                    <a:pt x="1621" y="1066"/>
                  </a:lnTo>
                  <a:lnTo>
                    <a:pt x="1637" y="1049"/>
                  </a:lnTo>
                  <a:lnTo>
                    <a:pt x="1588" y="1049"/>
                  </a:lnTo>
                  <a:lnTo>
                    <a:pt x="1583" y="1054"/>
                  </a:lnTo>
                  <a:lnTo>
                    <a:pt x="1588" y="1082"/>
                  </a:lnTo>
                  <a:lnTo>
                    <a:pt x="1545" y="1087"/>
                  </a:lnTo>
                  <a:lnTo>
                    <a:pt x="1571" y="1111"/>
                  </a:lnTo>
                  <a:lnTo>
                    <a:pt x="1550" y="1127"/>
                  </a:lnTo>
                  <a:lnTo>
                    <a:pt x="1545" y="1144"/>
                  </a:lnTo>
                  <a:lnTo>
                    <a:pt x="1529" y="1155"/>
                  </a:lnTo>
                  <a:lnTo>
                    <a:pt x="1503" y="1122"/>
                  </a:lnTo>
                  <a:lnTo>
                    <a:pt x="1496" y="1122"/>
                  </a:lnTo>
                  <a:lnTo>
                    <a:pt x="1503" y="1144"/>
                  </a:lnTo>
                  <a:lnTo>
                    <a:pt x="1491" y="1155"/>
                  </a:lnTo>
                  <a:lnTo>
                    <a:pt x="1512" y="1160"/>
                  </a:lnTo>
                  <a:lnTo>
                    <a:pt x="1512" y="1165"/>
                  </a:lnTo>
                  <a:lnTo>
                    <a:pt x="1448" y="1193"/>
                  </a:lnTo>
                  <a:lnTo>
                    <a:pt x="1441" y="1193"/>
                  </a:lnTo>
                  <a:lnTo>
                    <a:pt x="1441" y="1165"/>
                  </a:lnTo>
                  <a:lnTo>
                    <a:pt x="1427" y="1165"/>
                  </a:lnTo>
                  <a:lnTo>
                    <a:pt x="1420" y="1144"/>
                  </a:lnTo>
                  <a:lnTo>
                    <a:pt x="1411" y="1139"/>
                  </a:lnTo>
                  <a:lnTo>
                    <a:pt x="1404" y="1144"/>
                  </a:lnTo>
                  <a:lnTo>
                    <a:pt x="1411" y="1165"/>
                  </a:lnTo>
                  <a:lnTo>
                    <a:pt x="1404" y="1177"/>
                  </a:lnTo>
                  <a:lnTo>
                    <a:pt x="1328" y="1160"/>
                  </a:lnTo>
                  <a:lnTo>
                    <a:pt x="1297" y="1177"/>
                  </a:lnTo>
                  <a:lnTo>
                    <a:pt x="1281" y="1165"/>
                  </a:lnTo>
                  <a:lnTo>
                    <a:pt x="1302" y="1155"/>
                  </a:lnTo>
                  <a:lnTo>
                    <a:pt x="1281" y="1155"/>
                  </a:lnTo>
                  <a:lnTo>
                    <a:pt x="1297" y="1144"/>
                  </a:lnTo>
                  <a:lnTo>
                    <a:pt x="1285" y="1139"/>
                  </a:lnTo>
                  <a:lnTo>
                    <a:pt x="1259" y="1155"/>
                  </a:lnTo>
                  <a:lnTo>
                    <a:pt x="1285" y="1111"/>
                  </a:lnTo>
                  <a:lnTo>
                    <a:pt x="1366" y="1106"/>
                  </a:lnTo>
                  <a:lnTo>
                    <a:pt x="1389" y="1070"/>
                  </a:lnTo>
                  <a:lnTo>
                    <a:pt x="1441" y="1049"/>
                  </a:lnTo>
                  <a:lnTo>
                    <a:pt x="1465" y="1016"/>
                  </a:lnTo>
                  <a:lnTo>
                    <a:pt x="1517" y="988"/>
                  </a:lnTo>
                  <a:lnTo>
                    <a:pt x="1533" y="971"/>
                  </a:lnTo>
                  <a:lnTo>
                    <a:pt x="1621" y="955"/>
                  </a:lnTo>
                  <a:lnTo>
                    <a:pt x="1680" y="971"/>
                  </a:lnTo>
                  <a:lnTo>
                    <a:pt x="1675" y="962"/>
                  </a:lnTo>
                  <a:lnTo>
                    <a:pt x="1696" y="971"/>
                  </a:lnTo>
                  <a:lnTo>
                    <a:pt x="1713" y="955"/>
                  </a:lnTo>
                  <a:lnTo>
                    <a:pt x="1675" y="943"/>
                  </a:lnTo>
                  <a:lnTo>
                    <a:pt x="1718" y="933"/>
                  </a:lnTo>
                  <a:lnTo>
                    <a:pt x="1798" y="971"/>
                  </a:lnTo>
                  <a:lnTo>
                    <a:pt x="1734" y="988"/>
                  </a:lnTo>
                  <a:lnTo>
                    <a:pt x="1734" y="1000"/>
                  </a:lnTo>
                  <a:lnTo>
                    <a:pt x="1734" y="1011"/>
                  </a:lnTo>
                  <a:lnTo>
                    <a:pt x="1772" y="1028"/>
                  </a:lnTo>
                  <a:lnTo>
                    <a:pt x="1730" y="1028"/>
                  </a:lnTo>
                  <a:lnTo>
                    <a:pt x="1751" y="1049"/>
                  </a:lnTo>
                  <a:lnTo>
                    <a:pt x="1760" y="1066"/>
                  </a:lnTo>
                  <a:lnTo>
                    <a:pt x="1734" y="1082"/>
                  </a:lnTo>
                  <a:lnTo>
                    <a:pt x="1734" y="1082"/>
                  </a:lnTo>
                  <a:lnTo>
                    <a:pt x="1734" y="1082"/>
                  </a:lnTo>
                  <a:close/>
                  <a:moveTo>
                    <a:pt x="3504" y="978"/>
                  </a:moveTo>
                  <a:lnTo>
                    <a:pt x="3525" y="988"/>
                  </a:lnTo>
                  <a:lnTo>
                    <a:pt x="3508" y="995"/>
                  </a:lnTo>
                  <a:lnTo>
                    <a:pt x="3487" y="988"/>
                  </a:lnTo>
                  <a:lnTo>
                    <a:pt x="3504" y="978"/>
                  </a:lnTo>
                  <a:lnTo>
                    <a:pt x="3504" y="978"/>
                  </a:lnTo>
                  <a:lnTo>
                    <a:pt x="3504" y="978"/>
                  </a:lnTo>
                  <a:close/>
                  <a:moveTo>
                    <a:pt x="3201" y="978"/>
                  </a:moveTo>
                  <a:lnTo>
                    <a:pt x="3208" y="988"/>
                  </a:lnTo>
                  <a:lnTo>
                    <a:pt x="3185" y="978"/>
                  </a:lnTo>
                  <a:lnTo>
                    <a:pt x="3201" y="978"/>
                  </a:lnTo>
                  <a:lnTo>
                    <a:pt x="3201" y="978"/>
                  </a:lnTo>
                  <a:lnTo>
                    <a:pt x="3201" y="978"/>
                  </a:lnTo>
                  <a:close/>
                  <a:moveTo>
                    <a:pt x="2592" y="995"/>
                  </a:moveTo>
                  <a:lnTo>
                    <a:pt x="2596" y="1000"/>
                  </a:lnTo>
                  <a:lnTo>
                    <a:pt x="2570" y="1000"/>
                  </a:lnTo>
                  <a:lnTo>
                    <a:pt x="2592" y="995"/>
                  </a:lnTo>
                  <a:lnTo>
                    <a:pt x="2592" y="995"/>
                  </a:lnTo>
                  <a:lnTo>
                    <a:pt x="2592" y="995"/>
                  </a:lnTo>
                  <a:close/>
                  <a:moveTo>
                    <a:pt x="1911" y="1000"/>
                  </a:moveTo>
                  <a:lnTo>
                    <a:pt x="1895" y="995"/>
                  </a:lnTo>
                  <a:lnTo>
                    <a:pt x="1923" y="995"/>
                  </a:lnTo>
                  <a:lnTo>
                    <a:pt x="1911" y="1000"/>
                  </a:lnTo>
                  <a:lnTo>
                    <a:pt x="1911" y="1000"/>
                  </a:lnTo>
                  <a:lnTo>
                    <a:pt x="1911" y="1000"/>
                  </a:lnTo>
                  <a:close/>
                  <a:moveTo>
                    <a:pt x="3818" y="1267"/>
                  </a:moveTo>
                  <a:lnTo>
                    <a:pt x="3881" y="1255"/>
                  </a:lnTo>
                  <a:lnTo>
                    <a:pt x="3848" y="1238"/>
                  </a:lnTo>
                  <a:lnTo>
                    <a:pt x="3903" y="1233"/>
                  </a:lnTo>
                  <a:lnTo>
                    <a:pt x="3924" y="1215"/>
                  </a:lnTo>
                  <a:lnTo>
                    <a:pt x="3962" y="1222"/>
                  </a:lnTo>
                  <a:lnTo>
                    <a:pt x="3945" y="1215"/>
                  </a:lnTo>
                  <a:lnTo>
                    <a:pt x="4000" y="1193"/>
                  </a:lnTo>
                  <a:lnTo>
                    <a:pt x="4054" y="1210"/>
                  </a:lnTo>
                  <a:lnTo>
                    <a:pt x="4120" y="1193"/>
                  </a:lnTo>
                  <a:lnTo>
                    <a:pt x="4172" y="1193"/>
                  </a:lnTo>
                  <a:lnTo>
                    <a:pt x="4196" y="1198"/>
                  </a:lnTo>
                  <a:lnTo>
                    <a:pt x="4189" y="1215"/>
                  </a:lnTo>
                  <a:lnTo>
                    <a:pt x="4243" y="1215"/>
                  </a:lnTo>
                  <a:lnTo>
                    <a:pt x="4281" y="1233"/>
                  </a:lnTo>
                  <a:lnTo>
                    <a:pt x="4248" y="1250"/>
                  </a:lnTo>
                  <a:lnTo>
                    <a:pt x="4314" y="1250"/>
                  </a:lnTo>
                  <a:lnTo>
                    <a:pt x="4302" y="1250"/>
                  </a:lnTo>
                  <a:lnTo>
                    <a:pt x="4314" y="1267"/>
                  </a:lnTo>
                  <a:lnTo>
                    <a:pt x="4302" y="1271"/>
                  </a:lnTo>
                  <a:lnTo>
                    <a:pt x="4318" y="1271"/>
                  </a:lnTo>
                  <a:lnTo>
                    <a:pt x="4314" y="1288"/>
                  </a:lnTo>
                  <a:lnTo>
                    <a:pt x="4248" y="1304"/>
                  </a:lnTo>
                  <a:lnTo>
                    <a:pt x="4264" y="1309"/>
                  </a:lnTo>
                  <a:lnTo>
                    <a:pt x="4259" y="1321"/>
                  </a:lnTo>
                  <a:lnTo>
                    <a:pt x="4302" y="1309"/>
                  </a:lnTo>
                  <a:lnTo>
                    <a:pt x="4323" y="1326"/>
                  </a:lnTo>
                  <a:lnTo>
                    <a:pt x="4281" y="1342"/>
                  </a:lnTo>
                  <a:lnTo>
                    <a:pt x="4259" y="1321"/>
                  </a:lnTo>
                  <a:lnTo>
                    <a:pt x="4248" y="1326"/>
                  </a:lnTo>
                  <a:lnTo>
                    <a:pt x="4271" y="1333"/>
                  </a:lnTo>
                  <a:lnTo>
                    <a:pt x="4264" y="1378"/>
                  </a:lnTo>
                  <a:lnTo>
                    <a:pt x="4196" y="1378"/>
                  </a:lnTo>
                  <a:lnTo>
                    <a:pt x="4151" y="1387"/>
                  </a:lnTo>
                  <a:lnTo>
                    <a:pt x="4070" y="1378"/>
                  </a:lnTo>
                  <a:lnTo>
                    <a:pt x="4054" y="1359"/>
                  </a:lnTo>
                  <a:lnTo>
                    <a:pt x="4066" y="1342"/>
                  </a:lnTo>
                  <a:lnTo>
                    <a:pt x="4066" y="1333"/>
                  </a:lnTo>
                  <a:lnTo>
                    <a:pt x="4033" y="1326"/>
                  </a:lnTo>
                  <a:lnTo>
                    <a:pt x="4033" y="1333"/>
                  </a:lnTo>
                  <a:lnTo>
                    <a:pt x="4049" y="1342"/>
                  </a:lnTo>
                  <a:lnTo>
                    <a:pt x="4033" y="1378"/>
                  </a:lnTo>
                  <a:lnTo>
                    <a:pt x="3978" y="1382"/>
                  </a:lnTo>
                  <a:lnTo>
                    <a:pt x="3936" y="1382"/>
                  </a:lnTo>
                  <a:lnTo>
                    <a:pt x="3924" y="1359"/>
                  </a:lnTo>
                  <a:lnTo>
                    <a:pt x="3924" y="1366"/>
                  </a:lnTo>
                  <a:lnTo>
                    <a:pt x="3924" y="1382"/>
                  </a:lnTo>
                  <a:lnTo>
                    <a:pt x="3910" y="1382"/>
                  </a:lnTo>
                  <a:lnTo>
                    <a:pt x="3903" y="1382"/>
                  </a:lnTo>
                  <a:lnTo>
                    <a:pt x="3886" y="1359"/>
                  </a:lnTo>
                  <a:lnTo>
                    <a:pt x="3893" y="1378"/>
                  </a:lnTo>
                  <a:lnTo>
                    <a:pt x="3886" y="1382"/>
                  </a:lnTo>
                  <a:lnTo>
                    <a:pt x="3848" y="1387"/>
                  </a:lnTo>
                  <a:lnTo>
                    <a:pt x="3848" y="1378"/>
                  </a:lnTo>
                  <a:lnTo>
                    <a:pt x="3839" y="1366"/>
                  </a:lnTo>
                  <a:lnTo>
                    <a:pt x="3827" y="1387"/>
                  </a:lnTo>
                  <a:lnTo>
                    <a:pt x="3801" y="1366"/>
                  </a:lnTo>
                  <a:lnTo>
                    <a:pt x="3811" y="1387"/>
                  </a:lnTo>
                  <a:lnTo>
                    <a:pt x="3676" y="1382"/>
                  </a:lnTo>
                  <a:lnTo>
                    <a:pt x="3676" y="1366"/>
                  </a:lnTo>
                  <a:lnTo>
                    <a:pt x="3693" y="1342"/>
                  </a:lnTo>
                  <a:lnTo>
                    <a:pt x="3676" y="1326"/>
                  </a:lnTo>
                  <a:lnTo>
                    <a:pt x="3655" y="1359"/>
                  </a:lnTo>
                  <a:lnTo>
                    <a:pt x="3655" y="1342"/>
                  </a:lnTo>
                  <a:lnTo>
                    <a:pt x="3638" y="1333"/>
                  </a:lnTo>
                  <a:lnTo>
                    <a:pt x="3650" y="1342"/>
                  </a:lnTo>
                  <a:lnTo>
                    <a:pt x="3638" y="1349"/>
                  </a:lnTo>
                  <a:lnTo>
                    <a:pt x="3622" y="1349"/>
                  </a:lnTo>
                  <a:lnTo>
                    <a:pt x="3638" y="1359"/>
                  </a:lnTo>
                  <a:lnTo>
                    <a:pt x="3638" y="1366"/>
                  </a:lnTo>
                  <a:lnTo>
                    <a:pt x="3612" y="1378"/>
                  </a:lnTo>
                  <a:lnTo>
                    <a:pt x="3579" y="1382"/>
                  </a:lnTo>
                  <a:lnTo>
                    <a:pt x="3532" y="1366"/>
                  </a:lnTo>
                  <a:lnTo>
                    <a:pt x="3525" y="1349"/>
                  </a:lnTo>
                  <a:lnTo>
                    <a:pt x="3504" y="1359"/>
                  </a:lnTo>
                  <a:lnTo>
                    <a:pt x="3525" y="1326"/>
                  </a:lnTo>
                  <a:lnTo>
                    <a:pt x="3494" y="1349"/>
                  </a:lnTo>
                  <a:lnTo>
                    <a:pt x="3504" y="1366"/>
                  </a:lnTo>
                  <a:lnTo>
                    <a:pt x="3470" y="1366"/>
                  </a:lnTo>
                  <a:lnTo>
                    <a:pt x="3433" y="1342"/>
                  </a:lnTo>
                  <a:lnTo>
                    <a:pt x="3440" y="1326"/>
                  </a:lnTo>
                  <a:lnTo>
                    <a:pt x="3423" y="1304"/>
                  </a:lnTo>
                  <a:lnTo>
                    <a:pt x="3440" y="1292"/>
                  </a:lnTo>
                  <a:lnTo>
                    <a:pt x="3433" y="1288"/>
                  </a:lnTo>
                  <a:lnTo>
                    <a:pt x="3402" y="1276"/>
                  </a:lnTo>
                  <a:lnTo>
                    <a:pt x="3407" y="1250"/>
                  </a:lnTo>
                  <a:lnTo>
                    <a:pt x="3440" y="1222"/>
                  </a:lnTo>
                  <a:lnTo>
                    <a:pt x="3423" y="1210"/>
                  </a:lnTo>
                  <a:lnTo>
                    <a:pt x="3433" y="1181"/>
                  </a:lnTo>
                  <a:lnTo>
                    <a:pt x="3395" y="1165"/>
                  </a:lnTo>
                  <a:lnTo>
                    <a:pt x="3395" y="1155"/>
                  </a:lnTo>
                  <a:lnTo>
                    <a:pt x="3364" y="1111"/>
                  </a:lnTo>
                  <a:lnTo>
                    <a:pt x="3310" y="1127"/>
                  </a:lnTo>
                  <a:lnTo>
                    <a:pt x="3201" y="1127"/>
                  </a:lnTo>
                  <a:lnTo>
                    <a:pt x="3201" y="1122"/>
                  </a:lnTo>
                  <a:lnTo>
                    <a:pt x="3239" y="1122"/>
                  </a:lnTo>
                  <a:lnTo>
                    <a:pt x="3170" y="1106"/>
                  </a:lnTo>
                  <a:lnTo>
                    <a:pt x="3147" y="1087"/>
                  </a:lnTo>
                  <a:lnTo>
                    <a:pt x="3185" y="1070"/>
                  </a:lnTo>
                  <a:lnTo>
                    <a:pt x="3154" y="1082"/>
                  </a:lnTo>
                  <a:lnTo>
                    <a:pt x="3095" y="1054"/>
                  </a:lnTo>
                  <a:lnTo>
                    <a:pt x="3100" y="1044"/>
                  </a:lnTo>
                  <a:lnTo>
                    <a:pt x="3133" y="1054"/>
                  </a:lnTo>
                  <a:lnTo>
                    <a:pt x="3100" y="1033"/>
                  </a:lnTo>
                  <a:lnTo>
                    <a:pt x="3095" y="1028"/>
                  </a:lnTo>
                  <a:lnTo>
                    <a:pt x="3109" y="1028"/>
                  </a:lnTo>
                  <a:lnTo>
                    <a:pt x="3100" y="1016"/>
                  </a:lnTo>
                  <a:lnTo>
                    <a:pt x="3180" y="1011"/>
                  </a:lnTo>
                  <a:lnTo>
                    <a:pt x="3277" y="1033"/>
                  </a:lnTo>
                  <a:lnTo>
                    <a:pt x="3315" y="1028"/>
                  </a:lnTo>
                  <a:lnTo>
                    <a:pt x="3352" y="1054"/>
                  </a:lnTo>
                  <a:lnTo>
                    <a:pt x="3348" y="1087"/>
                  </a:lnTo>
                  <a:lnTo>
                    <a:pt x="3326" y="1099"/>
                  </a:lnTo>
                  <a:lnTo>
                    <a:pt x="3331" y="1111"/>
                  </a:lnTo>
                  <a:lnTo>
                    <a:pt x="3364" y="1070"/>
                  </a:lnTo>
                  <a:lnTo>
                    <a:pt x="3508" y="1070"/>
                  </a:lnTo>
                  <a:lnTo>
                    <a:pt x="3546" y="1099"/>
                  </a:lnTo>
                  <a:lnTo>
                    <a:pt x="3470" y="1087"/>
                  </a:lnTo>
                  <a:lnTo>
                    <a:pt x="3633" y="1127"/>
                  </a:lnTo>
                  <a:lnTo>
                    <a:pt x="3546" y="1144"/>
                  </a:lnTo>
                  <a:lnTo>
                    <a:pt x="3570" y="1144"/>
                  </a:lnTo>
                  <a:lnTo>
                    <a:pt x="3461" y="1127"/>
                  </a:lnTo>
                  <a:lnTo>
                    <a:pt x="3532" y="1155"/>
                  </a:lnTo>
                  <a:lnTo>
                    <a:pt x="3515" y="1160"/>
                  </a:lnTo>
                  <a:lnTo>
                    <a:pt x="3563" y="1160"/>
                  </a:lnTo>
                  <a:lnTo>
                    <a:pt x="3494" y="1160"/>
                  </a:lnTo>
                  <a:lnTo>
                    <a:pt x="3508" y="1177"/>
                  </a:lnTo>
                  <a:lnTo>
                    <a:pt x="3504" y="1177"/>
                  </a:lnTo>
                  <a:lnTo>
                    <a:pt x="3504" y="1193"/>
                  </a:lnTo>
                  <a:lnTo>
                    <a:pt x="3525" y="1165"/>
                  </a:lnTo>
                  <a:lnTo>
                    <a:pt x="3546" y="1165"/>
                  </a:lnTo>
                  <a:lnTo>
                    <a:pt x="3541" y="1181"/>
                  </a:lnTo>
                  <a:lnTo>
                    <a:pt x="3579" y="1165"/>
                  </a:lnTo>
                  <a:lnTo>
                    <a:pt x="3600" y="1181"/>
                  </a:lnTo>
                  <a:lnTo>
                    <a:pt x="3596" y="1198"/>
                  </a:lnTo>
                  <a:lnTo>
                    <a:pt x="3612" y="1181"/>
                  </a:lnTo>
                  <a:lnTo>
                    <a:pt x="3633" y="1198"/>
                  </a:lnTo>
                  <a:lnTo>
                    <a:pt x="3633" y="1222"/>
                  </a:lnTo>
                  <a:lnTo>
                    <a:pt x="3596" y="1233"/>
                  </a:lnTo>
                  <a:lnTo>
                    <a:pt x="3612" y="1233"/>
                  </a:lnTo>
                  <a:lnTo>
                    <a:pt x="3600" y="1233"/>
                  </a:lnTo>
                  <a:lnTo>
                    <a:pt x="3633" y="1222"/>
                  </a:lnTo>
                  <a:lnTo>
                    <a:pt x="3650" y="1250"/>
                  </a:lnTo>
                  <a:lnTo>
                    <a:pt x="3667" y="1250"/>
                  </a:lnTo>
                  <a:lnTo>
                    <a:pt x="3655" y="1222"/>
                  </a:lnTo>
                  <a:lnTo>
                    <a:pt x="3667" y="1215"/>
                  </a:lnTo>
                  <a:lnTo>
                    <a:pt x="3704" y="1233"/>
                  </a:lnTo>
                  <a:lnTo>
                    <a:pt x="3704" y="1238"/>
                  </a:lnTo>
                  <a:lnTo>
                    <a:pt x="3742" y="1233"/>
                  </a:lnTo>
                  <a:lnTo>
                    <a:pt x="3759" y="1238"/>
                  </a:lnTo>
                  <a:lnTo>
                    <a:pt x="3747" y="1250"/>
                  </a:lnTo>
                  <a:lnTo>
                    <a:pt x="3759" y="1238"/>
                  </a:lnTo>
                  <a:lnTo>
                    <a:pt x="3759" y="1233"/>
                  </a:lnTo>
                  <a:lnTo>
                    <a:pt x="3763" y="1222"/>
                  </a:lnTo>
                  <a:lnTo>
                    <a:pt x="3773" y="1222"/>
                  </a:lnTo>
                  <a:lnTo>
                    <a:pt x="3834" y="1250"/>
                  </a:lnTo>
                  <a:lnTo>
                    <a:pt x="3818" y="1267"/>
                  </a:lnTo>
                  <a:lnTo>
                    <a:pt x="3818" y="1267"/>
                  </a:lnTo>
                  <a:lnTo>
                    <a:pt x="3818" y="1267"/>
                  </a:lnTo>
                  <a:close/>
                  <a:moveTo>
                    <a:pt x="3071" y="1011"/>
                  </a:moveTo>
                  <a:lnTo>
                    <a:pt x="3078" y="1016"/>
                  </a:lnTo>
                  <a:lnTo>
                    <a:pt x="3057" y="1016"/>
                  </a:lnTo>
                  <a:lnTo>
                    <a:pt x="3071" y="1011"/>
                  </a:lnTo>
                  <a:lnTo>
                    <a:pt x="3071" y="1011"/>
                  </a:lnTo>
                  <a:lnTo>
                    <a:pt x="3071" y="1011"/>
                  </a:lnTo>
                  <a:close/>
                  <a:moveTo>
                    <a:pt x="2230" y="1028"/>
                  </a:moveTo>
                  <a:lnTo>
                    <a:pt x="2235" y="1033"/>
                  </a:lnTo>
                  <a:lnTo>
                    <a:pt x="2219" y="1028"/>
                  </a:lnTo>
                  <a:lnTo>
                    <a:pt x="2230" y="1028"/>
                  </a:lnTo>
                  <a:lnTo>
                    <a:pt x="2230" y="1028"/>
                  </a:lnTo>
                  <a:lnTo>
                    <a:pt x="2230" y="1028"/>
                  </a:lnTo>
                  <a:close/>
                  <a:moveTo>
                    <a:pt x="1890" y="1066"/>
                  </a:moveTo>
                  <a:lnTo>
                    <a:pt x="1836" y="1049"/>
                  </a:lnTo>
                  <a:lnTo>
                    <a:pt x="1852" y="1033"/>
                  </a:lnTo>
                  <a:lnTo>
                    <a:pt x="1907" y="1033"/>
                  </a:lnTo>
                  <a:lnTo>
                    <a:pt x="1933" y="1049"/>
                  </a:lnTo>
                  <a:lnTo>
                    <a:pt x="1890" y="1066"/>
                  </a:lnTo>
                  <a:lnTo>
                    <a:pt x="1890" y="1066"/>
                  </a:lnTo>
                  <a:lnTo>
                    <a:pt x="1890" y="1066"/>
                  </a:lnTo>
                  <a:close/>
                  <a:moveTo>
                    <a:pt x="3078" y="1044"/>
                  </a:moveTo>
                  <a:lnTo>
                    <a:pt x="3083" y="1044"/>
                  </a:lnTo>
                  <a:lnTo>
                    <a:pt x="3071" y="1044"/>
                  </a:lnTo>
                  <a:lnTo>
                    <a:pt x="3078" y="1044"/>
                  </a:lnTo>
                  <a:lnTo>
                    <a:pt x="3078" y="1044"/>
                  </a:lnTo>
                  <a:lnTo>
                    <a:pt x="3078" y="1044"/>
                  </a:lnTo>
                  <a:close/>
                  <a:moveTo>
                    <a:pt x="2058" y="1309"/>
                  </a:moveTo>
                  <a:lnTo>
                    <a:pt x="2112" y="1276"/>
                  </a:lnTo>
                  <a:lnTo>
                    <a:pt x="2004" y="1292"/>
                  </a:lnTo>
                  <a:lnTo>
                    <a:pt x="2015" y="1276"/>
                  </a:lnTo>
                  <a:lnTo>
                    <a:pt x="1987" y="1288"/>
                  </a:lnTo>
                  <a:lnTo>
                    <a:pt x="1987" y="1271"/>
                  </a:lnTo>
                  <a:lnTo>
                    <a:pt x="1982" y="1292"/>
                  </a:lnTo>
                  <a:lnTo>
                    <a:pt x="1978" y="1292"/>
                  </a:lnTo>
                  <a:lnTo>
                    <a:pt x="1895" y="1304"/>
                  </a:lnTo>
                  <a:lnTo>
                    <a:pt x="1895" y="1292"/>
                  </a:lnTo>
                  <a:lnTo>
                    <a:pt x="1907" y="1267"/>
                  </a:lnTo>
                  <a:lnTo>
                    <a:pt x="1944" y="1255"/>
                  </a:lnTo>
                  <a:lnTo>
                    <a:pt x="1895" y="1255"/>
                  </a:lnTo>
                  <a:lnTo>
                    <a:pt x="1890" y="1250"/>
                  </a:lnTo>
                  <a:lnTo>
                    <a:pt x="1890" y="1267"/>
                  </a:lnTo>
                  <a:lnTo>
                    <a:pt x="1878" y="1276"/>
                  </a:lnTo>
                  <a:lnTo>
                    <a:pt x="1852" y="1271"/>
                  </a:lnTo>
                  <a:lnTo>
                    <a:pt x="1874" y="1288"/>
                  </a:lnTo>
                  <a:lnTo>
                    <a:pt x="1869" y="1304"/>
                  </a:lnTo>
                  <a:lnTo>
                    <a:pt x="1819" y="1321"/>
                  </a:lnTo>
                  <a:lnTo>
                    <a:pt x="1815" y="1309"/>
                  </a:lnTo>
                  <a:lnTo>
                    <a:pt x="1815" y="1292"/>
                  </a:lnTo>
                  <a:lnTo>
                    <a:pt x="1803" y="1288"/>
                  </a:lnTo>
                  <a:lnTo>
                    <a:pt x="1798" y="1292"/>
                  </a:lnTo>
                  <a:lnTo>
                    <a:pt x="1782" y="1292"/>
                  </a:lnTo>
                  <a:lnTo>
                    <a:pt x="1789" y="1309"/>
                  </a:lnTo>
                  <a:lnTo>
                    <a:pt x="1772" y="1321"/>
                  </a:lnTo>
                  <a:lnTo>
                    <a:pt x="1744" y="1304"/>
                  </a:lnTo>
                  <a:lnTo>
                    <a:pt x="1734" y="1292"/>
                  </a:lnTo>
                  <a:lnTo>
                    <a:pt x="1734" y="1276"/>
                  </a:lnTo>
                  <a:lnTo>
                    <a:pt x="1706" y="1292"/>
                  </a:lnTo>
                  <a:lnTo>
                    <a:pt x="1637" y="1276"/>
                  </a:lnTo>
                  <a:lnTo>
                    <a:pt x="1663" y="1238"/>
                  </a:lnTo>
                  <a:lnTo>
                    <a:pt x="1751" y="1238"/>
                  </a:lnTo>
                  <a:lnTo>
                    <a:pt x="1826" y="1210"/>
                  </a:lnTo>
                  <a:lnTo>
                    <a:pt x="1730" y="1233"/>
                  </a:lnTo>
                  <a:lnTo>
                    <a:pt x="1663" y="1222"/>
                  </a:lnTo>
                  <a:lnTo>
                    <a:pt x="1696" y="1198"/>
                  </a:lnTo>
                  <a:lnTo>
                    <a:pt x="1836" y="1181"/>
                  </a:lnTo>
                  <a:lnTo>
                    <a:pt x="1706" y="1177"/>
                  </a:lnTo>
                  <a:lnTo>
                    <a:pt x="1718" y="1165"/>
                  </a:lnTo>
                  <a:lnTo>
                    <a:pt x="1706" y="1160"/>
                  </a:lnTo>
                  <a:lnTo>
                    <a:pt x="1713" y="1155"/>
                  </a:lnTo>
                  <a:lnTo>
                    <a:pt x="1734" y="1139"/>
                  </a:lnTo>
                  <a:lnTo>
                    <a:pt x="1852" y="1144"/>
                  </a:lnTo>
                  <a:lnTo>
                    <a:pt x="1760" y="1122"/>
                  </a:lnTo>
                  <a:lnTo>
                    <a:pt x="1789" y="1099"/>
                  </a:lnTo>
                  <a:lnTo>
                    <a:pt x="1826" y="1087"/>
                  </a:lnTo>
                  <a:lnTo>
                    <a:pt x="1878" y="1099"/>
                  </a:lnTo>
                  <a:lnTo>
                    <a:pt x="1878" y="1122"/>
                  </a:lnTo>
                  <a:lnTo>
                    <a:pt x="1895" y="1139"/>
                  </a:lnTo>
                  <a:lnTo>
                    <a:pt x="1966" y="1127"/>
                  </a:lnTo>
                  <a:lnTo>
                    <a:pt x="2004" y="1139"/>
                  </a:lnTo>
                  <a:lnTo>
                    <a:pt x="1999" y="1155"/>
                  </a:lnTo>
                  <a:lnTo>
                    <a:pt x="2004" y="1160"/>
                  </a:lnTo>
                  <a:lnTo>
                    <a:pt x="2053" y="1177"/>
                  </a:lnTo>
                  <a:lnTo>
                    <a:pt x="2020" y="1193"/>
                  </a:lnTo>
                  <a:lnTo>
                    <a:pt x="2074" y="1193"/>
                  </a:lnTo>
                  <a:lnTo>
                    <a:pt x="2084" y="1210"/>
                  </a:lnTo>
                  <a:lnTo>
                    <a:pt x="2074" y="1222"/>
                  </a:lnTo>
                  <a:lnTo>
                    <a:pt x="2091" y="1238"/>
                  </a:lnTo>
                  <a:lnTo>
                    <a:pt x="2143" y="1233"/>
                  </a:lnTo>
                  <a:lnTo>
                    <a:pt x="2252" y="1238"/>
                  </a:lnTo>
                  <a:lnTo>
                    <a:pt x="2263" y="1215"/>
                  </a:lnTo>
                  <a:lnTo>
                    <a:pt x="2167" y="1181"/>
                  </a:lnTo>
                  <a:lnTo>
                    <a:pt x="2197" y="1177"/>
                  </a:lnTo>
                  <a:lnTo>
                    <a:pt x="2219" y="1155"/>
                  </a:lnTo>
                  <a:lnTo>
                    <a:pt x="2155" y="1122"/>
                  </a:lnTo>
                  <a:lnTo>
                    <a:pt x="2143" y="1106"/>
                  </a:lnTo>
                  <a:lnTo>
                    <a:pt x="2197" y="1087"/>
                  </a:lnTo>
                  <a:lnTo>
                    <a:pt x="2181" y="1087"/>
                  </a:lnTo>
                  <a:lnTo>
                    <a:pt x="2219" y="1049"/>
                  </a:lnTo>
                  <a:lnTo>
                    <a:pt x="2263" y="1044"/>
                  </a:lnTo>
                  <a:lnTo>
                    <a:pt x="2285" y="1054"/>
                  </a:lnTo>
                  <a:lnTo>
                    <a:pt x="2268" y="1070"/>
                  </a:lnTo>
                  <a:lnTo>
                    <a:pt x="2273" y="1106"/>
                  </a:lnTo>
                  <a:lnTo>
                    <a:pt x="2306" y="1122"/>
                  </a:lnTo>
                  <a:lnTo>
                    <a:pt x="2285" y="1144"/>
                  </a:lnTo>
                  <a:lnTo>
                    <a:pt x="2289" y="1160"/>
                  </a:lnTo>
                  <a:lnTo>
                    <a:pt x="2327" y="1160"/>
                  </a:lnTo>
                  <a:lnTo>
                    <a:pt x="2344" y="1165"/>
                  </a:lnTo>
                  <a:lnTo>
                    <a:pt x="2318" y="1198"/>
                  </a:lnTo>
                  <a:lnTo>
                    <a:pt x="2339" y="1181"/>
                  </a:lnTo>
                  <a:lnTo>
                    <a:pt x="2377" y="1181"/>
                  </a:lnTo>
                  <a:lnTo>
                    <a:pt x="2393" y="1210"/>
                  </a:lnTo>
                  <a:lnTo>
                    <a:pt x="2415" y="1198"/>
                  </a:lnTo>
                  <a:lnTo>
                    <a:pt x="2393" y="1193"/>
                  </a:lnTo>
                  <a:lnTo>
                    <a:pt x="2393" y="1165"/>
                  </a:lnTo>
                  <a:lnTo>
                    <a:pt x="2431" y="1160"/>
                  </a:lnTo>
                  <a:lnTo>
                    <a:pt x="2483" y="1177"/>
                  </a:lnTo>
                  <a:lnTo>
                    <a:pt x="2490" y="1193"/>
                  </a:lnTo>
                  <a:lnTo>
                    <a:pt x="2500" y="1215"/>
                  </a:lnTo>
                  <a:lnTo>
                    <a:pt x="2478" y="1238"/>
                  </a:lnTo>
                  <a:lnTo>
                    <a:pt x="2483" y="1250"/>
                  </a:lnTo>
                  <a:lnTo>
                    <a:pt x="2478" y="1267"/>
                  </a:lnTo>
                  <a:lnTo>
                    <a:pt x="2462" y="1276"/>
                  </a:lnTo>
                  <a:lnTo>
                    <a:pt x="2462" y="1292"/>
                  </a:lnTo>
                  <a:lnTo>
                    <a:pt x="2452" y="1292"/>
                  </a:lnTo>
                  <a:lnTo>
                    <a:pt x="2452" y="1304"/>
                  </a:lnTo>
                  <a:lnTo>
                    <a:pt x="2393" y="1326"/>
                  </a:lnTo>
                  <a:lnTo>
                    <a:pt x="2339" y="1321"/>
                  </a:lnTo>
                  <a:lnTo>
                    <a:pt x="2327" y="1292"/>
                  </a:lnTo>
                  <a:lnTo>
                    <a:pt x="2322" y="1321"/>
                  </a:lnTo>
                  <a:lnTo>
                    <a:pt x="2289" y="1326"/>
                  </a:lnTo>
                  <a:lnTo>
                    <a:pt x="2263" y="1309"/>
                  </a:lnTo>
                  <a:lnTo>
                    <a:pt x="2285" y="1321"/>
                  </a:lnTo>
                  <a:lnTo>
                    <a:pt x="2263" y="1304"/>
                  </a:lnTo>
                  <a:lnTo>
                    <a:pt x="2209" y="1333"/>
                  </a:lnTo>
                  <a:lnTo>
                    <a:pt x="2155" y="1333"/>
                  </a:lnTo>
                  <a:lnTo>
                    <a:pt x="2122" y="1359"/>
                  </a:lnTo>
                  <a:lnTo>
                    <a:pt x="2058" y="1382"/>
                  </a:lnTo>
                  <a:lnTo>
                    <a:pt x="1982" y="1399"/>
                  </a:lnTo>
                  <a:lnTo>
                    <a:pt x="1911" y="1387"/>
                  </a:lnTo>
                  <a:lnTo>
                    <a:pt x="1869" y="1359"/>
                  </a:lnTo>
                  <a:lnTo>
                    <a:pt x="1978" y="1321"/>
                  </a:lnTo>
                  <a:lnTo>
                    <a:pt x="2058" y="1309"/>
                  </a:lnTo>
                  <a:lnTo>
                    <a:pt x="2058" y="1309"/>
                  </a:lnTo>
                  <a:lnTo>
                    <a:pt x="2058" y="1309"/>
                  </a:lnTo>
                  <a:close/>
                  <a:moveTo>
                    <a:pt x="3579" y="1099"/>
                  </a:moveTo>
                  <a:lnTo>
                    <a:pt x="3532" y="1054"/>
                  </a:lnTo>
                  <a:lnTo>
                    <a:pt x="3579" y="1044"/>
                  </a:lnTo>
                  <a:lnTo>
                    <a:pt x="3600" y="1054"/>
                  </a:lnTo>
                  <a:lnTo>
                    <a:pt x="3584" y="1070"/>
                  </a:lnTo>
                  <a:lnTo>
                    <a:pt x="3600" y="1087"/>
                  </a:lnTo>
                  <a:lnTo>
                    <a:pt x="3579" y="1099"/>
                  </a:lnTo>
                  <a:lnTo>
                    <a:pt x="3579" y="1099"/>
                  </a:lnTo>
                  <a:lnTo>
                    <a:pt x="3579" y="1099"/>
                  </a:lnTo>
                  <a:close/>
                  <a:moveTo>
                    <a:pt x="2856" y="1054"/>
                  </a:moveTo>
                  <a:lnTo>
                    <a:pt x="2785" y="1082"/>
                  </a:lnTo>
                  <a:lnTo>
                    <a:pt x="2759" y="1082"/>
                  </a:lnTo>
                  <a:lnTo>
                    <a:pt x="2823" y="1054"/>
                  </a:lnTo>
                  <a:lnTo>
                    <a:pt x="2856" y="1054"/>
                  </a:lnTo>
                  <a:lnTo>
                    <a:pt x="2856" y="1054"/>
                  </a:lnTo>
                  <a:lnTo>
                    <a:pt x="2856" y="1054"/>
                  </a:lnTo>
                  <a:close/>
                  <a:moveTo>
                    <a:pt x="1404" y="1054"/>
                  </a:moveTo>
                  <a:lnTo>
                    <a:pt x="1411" y="1054"/>
                  </a:lnTo>
                  <a:lnTo>
                    <a:pt x="1389" y="1054"/>
                  </a:lnTo>
                  <a:lnTo>
                    <a:pt x="1404" y="1054"/>
                  </a:lnTo>
                  <a:lnTo>
                    <a:pt x="1404" y="1054"/>
                  </a:lnTo>
                  <a:lnTo>
                    <a:pt x="1404" y="1054"/>
                  </a:lnTo>
                  <a:close/>
                  <a:moveTo>
                    <a:pt x="2911" y="1054"/>
                  </a:moveTo>
                  <a:lnTo>
                    <a:pt x="2915" y="1066"/>
                  </a:lnTo>
                  <a:lnTo>
                    <a:pt x="2868" y="1054"/>
                  </a:lnTo>
                  <a:lnTo>
                    <a:pt x="2911" y="1054"/>
                  </a:lnTo>
                  <a:lnTo>
                    <a:pt x="2911" y="1054"/>
                  </a:lnTo>
                  <a:lnTo>
                    <a:pt x="2911" y="1054"/>
                  </a:lnTo>
                  <a:close/>
                  <a:moveTo>
                    <a:pt x="2899" y="1155"/>
                  </a:moveTo>
                  <a:lnTo>
                    <a:pt x="2915" y="1144"/>
                  </a:lnTo>
                  <a:lnTo>
                    <a:pt x="2844" y="1139"/>
                  </a:lnTo>
                  <a:lnTo>
                    <a:pt x="2840" y="1127"/>
                  </a:lnTo>
                  <a:lnTo>
                    <a:pt x="2882" y="1122"/>
                  </a:lnTo>
                  <a:lnTo>
                    <a:pt x="2830" y="1111"/>
                  </a:lnTo>
                  <a:lnTo>
                    <a:pt x="2807" y="1087"/>
                  </a:lnTo>
                  <a:lnTo>
                    <a:pt x="2856" y="1070"/>
                  </a:lnTo>
                  <a:lnTo>
                    <a:pt x="2899" y="1070"/>
                  </a:lnTo>
                  <a:lnTo>
                    <a:pt x="2937" y="1106"/>
                  </a:lnTo>
                  <a:lnTo>
                    <a:pt x="2937" y="1099"/>
                  </a:lnTo>
                  <a:lnTo>
                    <a:pt x="2953" y="1106"/>
                  </a:lnTo>
                  <a:lnTo>
                    <a:pt x="2948" y="1087"/>
                  </a:lnTo>
                  <a:lnTo>
                    <a:pt x="2948" y="1070"/>
                  </a:lnTo>
                  <a:lnTo>
                    <a:pt x="2986" y="1070"/>
                  </a:lnTo>
                  <a:lnTo>
                    <a:pt x="2953" y="1066"/>
                  </a:lnTo>
                  <a:lnTo>
                    <a:pt x="2970" y="1066"/>
                  </a:lnTo>
                  <a:lnTo>
                    <a:pt x="3029" y="1087"/>
                  </a:lnTo>
                  <a:lnTo>
                    <a:pt x="3041" y="1106"/>
                  </a:lnTo>
                  <a:lnTo>
                    <a:pt x="3029" y="1111"/>
                  </a:lnTo>
                  <a:lnTo>
                    <a:pt x="3041" y="1127"/>
                  </a:lnTo>
                  <a:lnTo>
                    <a:pt x="3057" y="1144"/>
                  </a:lnTo>
                  <a:lnTo>
                    <a:pt x="3041" y="1165"/>
                  </a:lnTo>
                  <a:lnTo>
                    <a:pt x="3045" y="1193"/>
                  </a:lnTo>
                  <a:lnTo>
                    <a:pt x="3024" y="1210"/>
                  </a:lnTo>
                  <a:lnTo>
                    <a:pt x="3062" y="1215"/>
                  </a:lnTo>
                  <a:lnTo>
                    <a:pt x="3057" y="1238"/>
                  </a:lnTo>
                  <a:lnTo>
                    <a:pt x="3071" y="1255"/>
                  </a:lnTo>
                  <a:lnTo>
                    <a:pt x="3041" y="1233"/>
                  </a:lnTo>
                  <a:lnTo>
                    <a:pt x="3029" y="1233"/>
                  </a:lnTo>
                  <a:lnTo>
                    <a:pt x="3029" y="1250"/>
                  </a:lnTo>
                  <a:lnTo>
                    <a:pt x="3019" y="1238"/>
                  </a:lnTo>
                  <a:lnTo>
                    <a:pt x="3029" y="1250"/>
                  </a:lnTo>
                  <a:lnTo>
                    <a:pt x="3019" y="1255"/>
                  </a:lnTo>
                  <a:lnTo>
                    <a:pt x="3024" y="1255"/>
                  </a:lnTo>
                  <a:lnTo>
                    <a:pt x="3007" y="1255"/>
                  </a:lnTo>
                  <a:lnTo>
                    <a:pt x="3007" y="1271"/>
                  </a:lnTo>
                  <a:lnTo>
                    <a:pt x="3045" y="1288"/>
                  </a:lnTo>
                  <a:lnTo>
                    <a:pt x="3024" y="1292"/>
                  </a:lnTo>
                  <a:lnTo>
                    <a:pt x="3019" y="1276"/>
                  </a:lnTo>
                  <a:lnTo>
                    <a:pt x="3007" y="1288"/>
                  </a:lnTo>
                  <a:lnTo>
                    <a:pt x="3019" y="1292"/>
                  </a:lnTo>
                  <a:lnTo>
                    <a:pt x="3019" y="1309"/>
                  </a:lnTo>
                  <a:lnTo>
                    <a:pt x="2915" y="1309"/>
                  </a:lnTo>
                  <a:lnTo>
                    <a:pt x="2920" y="1292"/>
                  </a:lnTo>
                  <a:lnTo>
                    <a:pt x="2911" y="1309"/>
                  </a:lnTo>
                  <a:lnTo>
                    <a:pt x="2915" y="1309"/>
                  </a:lnTo>
                  <a:lnTo>
                    <a:pt x="2868" y="1309"/>
                  </a:lnTo>
                  <a:lnTo>
                    <a:pt x="2844" y="1309"/>
                  </a:lnTo>
                  <a:lnTo>
                    <a:pt x="2844" y="1288"/>
                  </a:lnTo>
                  <a:lnTo>
                    <a:pt x="2840" y="1288"/>
                  </a:lnTo>
                  <a:lnTo>
                    <a:pt x="2878" y="1276"/>
                  </a:lnTo>
                  <a:lnTo>
                    <a:pt x="2823" y="1267"/>
                  </a:lnTo>
                  <a:lnTo>
                    <a:pt x="2844" y="1255"/>
                  </a:lnTo>
                  <a:lnTo>
                    <a:pt x="2830" y="1250"/>
                  </a:lnTo>
                  <a:lnTo>
                    <a:pt x="2878" y="1250"/>
                  </a:lnTo>
                  <a:lnTo>
                    <a:pt x="2856" y="1238"/>
                  </a:lnTo>
                  <a:lnTo>
                    <a:pt x="2899" y="1222"/>
                  </a:lnTo>
                  <a:lnTo>
                    <a:pt x="2882" y="1222"/>
                  </a:lnTo>
                  <a:lnTo>
                    <a:pt x="2894" y="1215"/>
                  </a:lnTo>
                  <a:lnTo>
                    <a:pt x="2953" y="1210"/>
                  </a:lnTo>
                  <a:lnTo>
                    <a:pt x="2700" y="1238"/>
                  </a:lnTo>
                  <a:lnTo>
                    <a:pt x="2679" y="1222"/>
                  </a:lnTo>
                  <a:lnTo>
                    <a:pt x="2700" y="1210"/>
                  </a:lnTo>
                  <a:lnTo>
                    <a:pt x="2738" y="1210"/>
                  </a:lnTo>
                  <a:lnTo>
                    <a:pt x="2731" y="1198"/>
                  </a:lnTo>
                  <a:lnTo>
                    <a:pt x="2705" y="1198"/>
                  </a:lnTo>
                  <a:lnTo>
                    <a:pt x="2722" y="1181"/>
                  </a:lnTo>
                  <a:lnTo>
                    <a:pt x="2793" y="1198"/>
                  </a:lnTo>
                  <a:lnTo>
                    <a:pt x="2785" y="1198"/>
                  </a:lnTo>
                  <a:lnTo>
                    <a:pt x="2785" y="1193"/>
                  </a:lnTo>
                  <a:lnTo>
                    <a:pt x="2769" y="1177"/>
                  </a:lnTo>
                  <a:lnTo>
                    <a:pt x="2785" y="1160"/>
                  </a:lnTo>
                  <a:lnTo>
                    <a:pt x="2759" y="1165"/>
                  </a:lnTo>
                  <a:lnTo>
                    <a:pt x="2748" y="1155"/>
                  </a:lnTo>
                  <a:lnTo>
                    <a:pt x="2776" y="1127"/>
                  </a:lnTo>
                  <a:lnTo>
                    <a:pt x="2722" y="1127"/>
                  </a:lnTo>
                  <a:lnTo>
                    <a:pt x="2731" y="1127"/>
                  </a:lnTo>
                  <a:lnTo>
                    <a:pt x="2731" y="1106"/>
                  </a:lnTo>
                  <a:lnTo>
                    <a:pt x="2748" y="1099"/>
                  </a:lnTo>
                  <a:lnTo>
                    <a:pt x="2785" y="1106"/>
                  </a:lnTo>
                  <a:lnTo>
                    <a:pt x="2878" y="1181"/>
                  </a:lnTo>
                  <a:lnTo>
                    <a:pt x="2915" y="1165"/>
                  </a:lnTo>
                  <a:lnTo>
                    <a:pt x="2882" y="1177"/>
                  </a:lnTo>
                  <a:lnTo>
                    <a:pt x="2861" y="1144"/>
                  </a:lnTo>
                  <a:lnTo>
                    <a:pt x="2899" y="1155"/>
                  </a:lnTo>
                  <a:lnTo>
                    <a:pt x="2899" y="1155"/>
                  </a:lnTo>
                  <a:lnTo>
                    <a:pt x="2899" y="1155"/>
                  </a:lnTo>
                  <a:close/>
                  <a:moveTo>
                    <a:pt x="2587" y="1066"/>
                  </a:moveTo>
                  <a:lnTo>
                    <a:pt x="2596" y="1070"/>
                  </a:lnTo>
                  <a:lnTo>
                    <a:pt x="2592" y="1082"/>
                  </a:lnTo>
                  <a:lnTo>
                    <a:pt x="2608" y="1070"/>
                  </a:lnTo>
                  <a:lnTo>
                    <a:pt x="2667" y="1106"/>
                  </a:lnTo>
                  <a:lnTo>
                    <a:pt x="2630" y="1122"/>
                  </a:lnTo>
                  <a:lnTo>
                    <a:pt x="2570" y="1122"/>
                  </a:lnTo>
                  <a:lnTo>
                    <a:pt x="2575" y="1111"/>
                  </a:lnTo>
                  <a:lnTo>
                    <a:pt x="2570" y="1099"/>
                  </a:lnTo>
                  <a:lnTo>
                    <a:pt x="2542" y="1082"/>
                  </a:lnTo>
                  <a:lnTo>
                    <a:pt x="2587" y="1066"/>
                  </a:lnTo>
                  <a:lnTo>
                    <a:pt x="2587" y="1066"/>
                  </a:lnTo>
                  <a:lnTo>
                    <a:pt x="2587" y="1066"/>
                  </a:lnTo>
                  <a:close/>
                  <a:moveTo>
                    <a:pt x="3990" y="1087"/>
                  </a:moveTo>
                  <a:lnTo>
                    <a:pt x="4000" y="1099"/>
                  </a:lnTo>
                  <a:lnTo>
                    <a:pt x="3990" y="1099"/>
                  </a:lnTo>
                  <a:lnTo>
                    <a:pt x="3990" y="1087"/>
                  </a:lnTo>
                  <a:lnTo>
                    <a:pt x="3990" y="1087"/>
                  </a:lnTo>
                  <a:lnTo>
                    <a:pt x="3990" y="1087"/>
                  </a:lnTo>
                  <a:close/>
                  <a:moveTo>
                    <a:pt x="3612" y="1099"/>
                  </a:moveTo>
                  <a:lnTo>
                    <a:pt x="3617" y="1099"/>
                  </a:lnTo>
                  <a:lnTo>
                    <a:pt x="3600" y="1099"/>
                  </a:lnTo>
                  <a:lnTo>
                    <a:pt x="3612" y="1099"/>
                  </a:lnTo>
                  <a:lnTo>
                    <a:pt x="3612" y="1099"/>
                  </a:lnTo>
                  <a:lnTo>
                    <a:pt x="3612" y="1099"/>
                  </a:lnTo>
                  <a:close/>
                  <a:moveTo>
                    <a:pt x="2693" y="1122"/>
                  </a:moveTo>
                  <a:lnTo>
                    <a:pt x="2700" y="1139"/>
                  </a:lnTo>
                  <a:lnTo>
                    <a:pt x="2693" y="1144"/>
                  </a:lnTo>
                  <a:lnTo>
                    <a:pt x="2646" y="1160"/>
                  </a:lnTo>
                  <a:lnTo>
                    <a:pt x="2596" y="1160"/>
                  </a:lnTo>
                  <a:lnTo>
                    <a:pt x="2608" y="1160"/>
                  </a:lnTo>
                  <a:lnTo>
                    <a:pt x="2559" y="1144"/>
                  </a:lnTo>
                  <a:lnTo>
                    <a:pt x="2575" y="1139"/>
                  </a:lnTo>
                  <a:lnTo>
                    <a:pt x="2693" y="1122"/>
                  </a:lnTo>
                  <a:lnTo>
                    <a:pt x="2693" y="1122"/>
                  </a:lnTo>
                  <a:lnTo>
                    <a:pt x="2693" y="1122"/>
                  </a:lnTo>
                  <a:close/>
                  <a:moveTo>
                    <a:pt x="3239" y="1144"/>
                  </a:moveTo>
                  <a:lnTo>
                    <a:pt x="3234" y="1160"/>
                  </a:lnTo>
                  <a:lnTo>
                    <a:pt x="3218" y="1155"/>
                  </a:lnTo>
                  <a:lnTo>
                    <a:pt x="3239" y="1144"/>
                  </a:lnTo>
                  <a:lnTo>
                    <a:pt x="3239" y="1144"/>
                  </a:lnTo>
                  <a:lnTo>
                    <a:pt x="3239" y="1144"/>
                  </a:lnTo>
                  <a:close/>
                  <a:moveTo>
                    <a:pt x="4356" y="1155"/>
                  </a:moveTo>
                  <a:lnTo>
                    <a:pt x="4368" y="1155"/>
                  </a:lnTo>
                  <a:lnTo>
                    <a:pt x="4335" y="1177"/>
                  </a:lnTo>
                  <a:lnTo>
                    <a:pt x="4356" y="1193"/>
                  </a:lnTo>
                  <a:lnTo>
                    <a:pt x="4323" y="1181"/>
                  </a:lnTo>
                  <a:lnTo>
                    <a:pt x="4318" y="1193"/>
                  </a:lnTo>
                  <a:lnTo>
                    <a:pt x="4297" y="1181"/>
                  </a:lnTo>
                  <a:lnTo>
                    <a:pt x="4356" y="1155"/>
                  </a:lnTo>
                  <a:lnTo>
                    <a:pt x="4356" y="1155"/>
                  </a:lnTo>
                  <a:lnTo>
                    <a:pt x="4356" y="1155"/>
                  </a:lnTo>
                  <a:close/>
                  <a:moveTo>
                    <a:pt x="1642" y="1155"/>
                  </a:moveTo>
                  <a:lnTo>
                    <a:pt x="1654" y="1155"/>
                  </a:lnTo>
                  <a:lnTo>
                    <a:pt x="1588" y="1233"/>
                  </a:lnTo>
                  <a:lnTo>
                    <a:pt x="1571" y="1238"/>
                  </a:lnTo>
                  <a:lnTo>
                    <a:pt x="1512" y="1222"/>
                  </a:lnTo>
                  <a:lnTo>
                    <a:pt x="1571" y="1177"/>
                  </a:lnTo>
                  <a:lnTo>
                    <a:pt x="1642" y="1155"/>
                  </a:lnTo>
                  <a:lnTo>
                    <a:pt x="1642" y="1155"/>
                  </a:lnTo>
                  <a:lnTo>
                    <a:pt x="1642" y="1155"/>
                  </a:lnTo>
                  <a:close/>
                  <a:moveTo>
                    <a:pt x="2717" y="1155"/>
                  </a:moveTo>
                  <a:lnTo>
                    <a:pt x="2705" y="1165"/>
                  </a:lnTo>
                  <a:lnTo>
                    <a:pt x="2646" y="1177"/>
                  </a:lnTo>
                  <a:lnTo>
                    <a:pt x="2596" y="1177"/>
                  </a:lnTo>
                  <a:lnTo>
                    <a:pt x="2717" y="1155"/>
                  </a:lnTo>
                  <a:lnTo>
                    <a:pt x="2717" y="1155"/>
                  </a:lnTo>
                  <a:lnTo>
                    <a:pt x="2717" y="1155"/>
                  </a:lnTo>
                  <a:close/>
                  <a:moveTo>
                    <a:pt x="1276" y="1160"/>
                  </a:moveTo>
                  <a:lnTo>
                    <a:pt x="1285" y="1160"/>
                  </a:lnTo>
                  <a:lnTo>
                    <a:pt x="1276" y="1165"/>
                  </a:lnTo>
                  <a:lnTo>
                    <a:pt x="1276" y="1160"/>
                  </a:lnTo>
                  <a:lnTo>
                    <a:pt x="1276" y="1160"/>
                  </a:lnTo>
                  <a:lnTo>
                    <a:pt x="1276" y="1160"/>
                  </a:lnTo>
                  <a:close/>
                  <a:moveTo>
                    <a:pt x="2738" y="1177"/>
                  </a:moveTo>
                  <a:lnTo>
                    <a:pt x="2693" y="1198"/>
                  </a:lnTo>
                  <a:lnTo>
                    <a:pt x="2641" y="1198"/>
                  </a:lnTo>
                  <a:lnTo>
                    <a:pt x="2684" y="1177"/>
                  </a:lnTo>
                  <a:lnTo>
                    <a:pt x="2738" y="1177"/>
                  </a:lnTo>
                  <a:lnTo>
                    <a:pt x="2738" y="1177"/>
                  </a:lnTo>
                  <a:lnTo>
                    <a:pt x="2738" y="1177"/>
                  </a:lnTo>
                  <a:close/>
                  <a:moveTo>
                    <a:pt x="3260" y="1165"/>
                  </a:moveTo>
                  <a:lnTo>
                    <a:pt x="3277" y="1198"/>
                  </a:lnTo>
                  <a:lnTo>
                    <a:pt x="3244" y="1198"/>
                  </a:lnTo>
                  <a:lnTo>
                    <a:pt x="3234" y="1177"/>
                  </a:lnTo>
                  <a:lnTo>
                    <a:pt x="3260" y="1165"/>
                  </a:lnTo>
                  <a:lnTo>
                    <a:pt x="3260" y="1165"/>
                  </a:lnTo>
                  <a:lnTo>
                    <a:pt x="3260" y="1165"/>
                  </a:lnTo>
                  <a:close/>
                  <a:moveTo>
                    <a:pt x="3170" y="1181"/>
                  </a:moveTo>
                  <a:lnTo>
                    <a:pt x="3163" y="1177"/>
                  </a:lnTo>
                  <a:lnTo>
                    <a:pt x="3180" y="1165"/>
                  </a:lnTo>
                  <a:lnTo>
                    <a:pt x="3170" y="1181"/>
                  </a:lnTo>
                  <a:lnTo>
                    <a:pt x="3170" y="1181"/>
                  </a:lnTo>
                  <a:lnTo>
                    <a:pt x="3170" y="1181"/>
                  </a:lnTo>
                  <a:close/>
                  <a:moveTo>
                    <a:pt x="1411" y="1177"/>
                  </a:moveTo>
                  <a:lnTo>
                    <a:pt x="1404" y="1210"/>
                  </a:lnTo>
                  <a:lnTo>
                    <a:pt x="1382" y="1198"/>
                  </a:lnTo>
                  <a:lnTo>
                    <a:pt x="1404" y="1193"/>
                  </a:lnTo>
                  <a:lnTo>
                    <a:pt x="1404" y="1177"/>
                  </a:lnTo>
                  <a:lnTo>
                    <a:pt x="1411" y="1177"/>
                  </a:lnTo>
                  <a:lnTo>
                    <a:pt x="1411" y="1177"/>
                  </a:lnTo>
                  <a:lnTo>
                    <a:pt x="1411" y="1177"/>
                  </a:lnTo>
                  <a:close/>
                  <a:moveTo>
                    <a:pt x="1285" y="1177"/>
                  </a:moveTo>
                  <a:lnTo>
                    <a:pt x="1314" y="1181"/>
                  </a:lnTo>
                  <a:lnTo>
                    <a:pt x="1285" y="1177"/>
                  </a:lnTo>
                  <a:lnTo>
                    <a:pt x="1285" y="1177"/>
                  </a:lnTo>
                  <a:lnTo>
                    <a:pt x="1285" y="1177"/>
                  </a:lnTo>
                  <a:close/>
                  <a:moveTo>
                    <a:pt x="3154" y="1222"/>
                  </a:moveTo>
                  <a:lnTo>
                    <a:pt x="3163" y="1233"/>
                  </a:lnTo>
                  <a:lnTo>
                    <a:pt x="3137" y="1250"/>
                  </a:lnTo>
                  <a:lnTo>
                    <a:pt x="3126" y="1233"/>
                  </a:lnTo>
                  <a:lnTo>
                    <a:pt x="3116" y="1238"/>
                  </a:lnTo>
                  <a:lnTo>
                    <a:pt x="3126" y="1250"/>
                  </a:lnTo>
                  <a:lnTo>
                    <a:pt x="3100" y="1267"/>
                  </a:lnTo>
                  <a:lnTo>
                    <a:pt x="3083" y="1238"/>
                  </a:lnTo>
                  <a:lnTo>
                    <a:pt x="3133" y="1215"/>
                  </a:lnTo>
                  <a:lnTo>
                    <a:pt x="3154" y="1222"/>
                  </a:lnTo>
                  <a:lnTo>
                    <a:pt x="3154" y="1222"/>
                  </a:lnTo>
                  <a:lnTo>
                    <a:pt x="3154" y="1222"/>
                  </a:lnTo>
                  <a:close/>
                  <a:moveTo>
                    <a:pt x="3154" y="1326"/>
                  </a:moveTo>
                  <a:lnTo>
                    <a:pt x="3147" y="1321"/>
                  </a:lnTo>
                  <a:lnTo>
                    <a:pt x="3154" y="1309"/>
                  </a:lnTo>
                  <a:lnTo>
                    <a:pt x="3133" y="1326"/>
                  </a:lnTo>
                  <a:lnTo>
                    <a:pt x="3133" y="1309"/>
                  </a:lnTo>
                  <a:lnTo>
                    <a:pt x="3116" y="1309"/>
                  </a:lnTo>
                  <a:lnTo>
                    <a:pt x="3116" y="1304"/>
                  </a:lnTo>
                  <a:lnTo>
                    <a:pt x="3126" y="1288"/>
                  </a:lnTo>
                  <a:lnTo>
                    <a:pt x="3163" y="1271"/>
                  </a:lnTo>
                  <a:lnTo>
                    <a:pt x="3154" y="1267"/>
                  </a:lnTo>
                  <a:lnTo>
                    <a:pt x="3170" y="1255"/>
                  </a:lnTo>
                  <a:lnTo>
                    <a:pt x="3147" y="1255"/>
                  </a:lnTo>
                  <a:lnTo>
                    <a:pt x="3180" y="1255"/>
                  </a:lnTo>
                  <a:lnTo>
                    <a:pt x="3170" y="1250"/>
                  </a:lnTo>
                  <a:lnTo>
                    <a:pt x="3234" y="1215"/>
                  </a:lnTo>
                  <a:lnTo>
                    <a:pt x="3272" y="1222"/>
                  </a:lnTo>
                  <a:lnTo>
                    <a:pt x="3331" y="1271"/>
                  </a:lnTo>
                  <a:lnTo>
                    <a:pt x="3343" y="1326"/>
                  </a:lnTo>
                  <a:lnTo>
                    <a:pt x="3326" y="1359"/>
                  </a:lnTo>
                  <a:lnTo>
                    <a:pt x="3256" y="1366"/>
                  </a:lnTo>
                  <a:lnTo>
                    <a:pt x="3154" y="1326"/>
                  </a:lnTo>
                  <a:lnTo>
                    <a:pt x="3154" y="1326"/>
                  </a:lnTo>
                  <a:lnTo>
                    <a:pt x="3154" y="1326"/>
                  </a:lnTo>
                  <a:close/>
                  <a:moveTo>
                    <a:pt x="2844" y="1233"/>
                  </a:moveTo>
                  <a:lnTo>
                    <a:pt x="2856" y="1222"/>
                  </a:lnTo>
                  <a:lnTo>
                    <a:pt x="2802" y="1233"/>
                  </a:lnTo>
                  <a:lnTo>
                    <a:pt x="2861" y="1222"/>
                  </a:lnTo>
                  <a:lnTo>
                    <a:pt x="2844" y="1233"/>
                  </a:lnTo>
                  <a:lnTo>
                    <a:pt x="2844" y="1233"/>
                  </a:lnTo>
                  <a:lnTo>
                    <a:pt x="2844" y="1233"/>
                  </a:lnTo>
                  <a:close/>
                  <a:moveTo>
                    <a:pt x="2587" y="1250"/>
                  </a:moveTo>
                  <a:lnTo>
                    <a:pt x="2608" y="1267"/>
                  </a:lnTo>
                  <a:lnTo>
                    <a:pt x="2625" y="1288"/>
                  </a:lnTo>
                  <a:lnTo>
                    <a:pt x="2575" y="1309"/>
                  </a:lnTo>
                  <a:lnTo>
                    <a:pt x="2537" y="1292"/>
                  </a:lnTo>
                  <a:lnTo>
                    <a:pt x="2542" y="1267"/>
                  </a:lnTo>
                  <a:lnTo>
                    <a:pt x="2587" y="1250"/>
                  </a:lnTo>
                  <a:lnTo>
                    <a:pt x="2587" y="1250"/>
                  </a:lnTo>
                  <a:lnTo>
                    <a:pt x="2587" y="1250"/>
                  </a:lnTo>
                  <a:close/>
                  <a:moveTo>
                    <a:pt x="3071" y="1267"/>
                  </a:moveTo>
                  <a:lnTo>
                    <a:pt x="3078" y="1276"/>
                  </a:lnTo>
                  <a:lnTo>
                    <a:pt x="3071" y="1267"/>
                  </a:lnTo>
                  <a:lnTo>
                    <a:pt x="3071" y="1267"/>
                  </a:lnTo>
                  <a:lnTo>
                    <a:pt x="3071" y="1267"/>
                  </a:lnTo>
                  <a:close/>
                  <a:moveTo>
                    <a:pt x="3185" y="1366"/>
                  </a:moveTo>
                  <a:lnTo>
                    <a:pt x="3208" y="1382"/>
                  </a:lnTo>
                  <a:lnTo>
                    <a:pt x="3163" y="1378"/>
                  </a:lnTo>
                  <a:lnTo>
                    <a:pt x="3185" y="1366"/>
                  </a:lnTo>
                  <a:lnTo>
                    <a:pt x="3185" y="1366"/>
                  </a:lnTo>
                  <a:lnTo>
                    <a:pt x="3185" y="1366"/>
                  </a:lnTo>
                  <a:close/>
                  <a:moveTo>
                    <a:pt x="3062" y="1366"/>
                  </a:moveTo>
                  <a:lnTo>
                    <a:pt x="3071" y="1378"/>
                  </a:lnTo>
                  <a:lnTo>
                    <a:pt x="3045" y="1387"/>
                  </a:lnTo>
                  <a:lnTo>
                    <a:pt x="3029" y="1382"/>
                  </a:lnTo>
                  <a:lnTo>
                    <a:pt x="3062" y="1366"/>
                  </a:lnTo>
                  <a:lnTo>
                    <a:pt x="3062" y="1366"/>
                  </a:lnTo>
                  <a:lnTo>
                    <a:pt x="3062" y="1366"/>
                  </a:lnTo>
                  <a:close/>
                  <a:moveTo>
                    <a:pt x="1205" y="1493"/>
                  </a:moveTo>
                  <a:lnTo>
                    <a:pt x="1210" y="1486"/>
                  </a:lnTo>
                  <a:lnTo>
                    <a:pt x="1205" y="1477"/>
                  </a:lnTo>
                  <a:lnTo>
                    <a:pt x="1177" y="1470"/>
                  </a:lnTo>
                  <a:lnTo>
                    <a:pt x="1167" y="1437"/>
                  </a:lnTo>
                  <a:lnTo>
                    <a:pt x="1139" y="1404"/>
                  </a:lnTo>
                  <a:lnTo>
                    <a:pt x="1366" y="1378"/>
                  </a:lnTo>
                  <a:lnTo>
                    <a:pt x="1503" y="1420"/>
                  </a:lnTo>
                  <a:lnTo>
                    <a:pt x="1491" y="1444"/>
                  </a:lnTo>
                  <a:lnTo>
                    <a:pt x="1491" y="1453"/>
                  </a:lnTo>
                  <a:lnTo>
                    <a:pt x="1512" y="1420"/>
                  </a:lnTo>
                  <a:lnTo>
                    <a:pt x="1533" y="1420"/>
                  </a:lnTo>
                  <a:lnTo>
                    <a:pt x="1545" y="1437"/>
                  </a:lnTo>
                  <a:lnTo>
                    <a:pt x="1533" y="1453"/>
                  </a:lnTo>
                  <a:lnTo>
                    <a:pt x="1545" y="1453"/>
                  </a:lnTo>
                  <a:lnTo>
                    <a:pt x="1555" y="1437"/>
                  </a:lnTo>
                  <a:lnTo>
                    <a:pt x="1550" y="1432"/>
                  </a:lnTo>
                  <a:lnTo>
                    <a:pt x="1567" y="1420"/>
                  </a:lnTo>
                  <a:lnTo>
                    <a:pt x="1654" y="1420"/>
                  </a:lnTo>
                  <a:lnTo>
                    <a:pt x="1782" y="1498"/>
                  </a:lnTo>
                  <a:lnTo>
                    <a:pt x="1803" y="1526"/>
                  </a:lnTo>
                  <a:lnTo>
                    <a:pt x="1533" y="1642"/>
                  </a:lnTo>
                  <a:lnTo>
                    <a:pt x="1517" y="1682"/>
                  </a:lnTo>
                  <a:lnTo>
                    <a:pt x="1491" y="1699"/>
                  </a:lnTo>
                  <a:lnTo>
                    <a:pt x="1458" y="1692"/>
                  </a:lnTo>
                  <a:lnTo>
                    <a:pt x="1465" y="1708"/>
                  </a:lnTo>
                  <a:lnTo>
                    <a:pt x="1441" y="1737"/>
                  </a:lnTo>
                  <a:lnTo>
                    <a:pt x="1448" y="1770"/>
                  </a:lnTo>
                  <a:lnTo>
                    <a:pt x="1437" y="1793"/>
                  </a:lnTo>
                  <a:lnTo>
                    <a:pt x="1373" y="1810"/>
                  </a:lnTo>
                  <a:lnTo>
                    <a:pt x="1352" y="1803"/>
                  </a:lnTo>
                  <a:lnTo>
                    <a:pt x="1281" y="1848"/>
                  </a:lnTo>
                  <a:lnTo>
                    <a:pt x="1243" y="1843"/>
                  </a:lnTo>
                  <a:lnTo>
                    <a:pt x="1193" y="1770"/>
                  </a:lnTo>
                  <a:lnTo>
                    <a:pt x="1101" y="1737"/>
                  </a:lnTo>
                  <a:lnTo>
                    <a:pt x="1125" y="1732"/>
                  </a:lnTo>
                  <a:lnTo>
                    <a:pt x="1059" y="1732"/>
                  </a:lnTo>
                  <a:lnTo>
                    <a:pt x="1070" y="1732"/>
                  </a:lnTo>
                  <a:lnTo>
                    <a:pt x="1070" y="1708"/>
                  </a:lnTo>
                  <a:lnTo>
                    <a:pt x="1096" y="1675"/>
                  </a:lnTo>
                  <a:lnTo>
                    <a:pt x="1118" y="1654"/>
                  </a:lnTo>
                  <a:lnTo>
                    <a:pt x="1125" y="1637"/>
                  </a:lnTo>
                  <a:lnTo>
                    <a:pt x="1118" y="1621"/>
                  </a:lnTo>
                  <a:lnTo>
                    <a:pt x="1156" y="1604"/>
                  </a:lnTo>
                  <a:lnTo>
                    <a:pt x="1134" y="1581"/>
                  </a:lnTo>
                  <a:lnTo>
                    <a:pt x="1167" y="1531"/>
                  </a:lnTo>
                  <a:lnTo>
                    <a:pt x="1189" y="1515"/>
                  </a:lnTo>
                  <a:lnTo>
                    <a:pt x="1189" y="1498"/>
                  </a:lnTo>
                  <a:lnTo>
                    <a:pt x="1205" y="1493"/>
                  </a:lnTo>
                  <a:lnTo>
                    <a:pt x="1205" y="1493"/>
                  </a:lnTo>
                  <a:lnTo>
                    <a:pt x="1205" y="1493"/>
                  </a:lnTo>
                  <a:close/>
                  <a:moveTo>
                    <a:pt x="2974" y="1404"/>
                  </a:moveTo>
                  <a:lnTo>
                    <a:pt x="2953" y="1415"/>
                  </a:lnTo>
                  <a:lnTo>
                    <a:pt x="2974" y="1404"/>
                  </a:lnTo>
                  <a:lnTo>
                    <a:pt x="2974" y="1404"/>
                  </a:lnTo>
                  <a:lnTo>
                    <a:pt x="2974" y="1404"/>
                  </a:lnTo>
                  <a:close/>
                  <a:moveTo>
                    <a:pt x="3494" y="1548"/>
                  </a:moveTo>
                  <a:lnTo>
                    <a:pt x="3449" y="1609"/>
                  </a:lnTo>
                  <a:lnTo>
                    <a:pt x="3423" y="1637"/>
                  </a:lnTo>
                  <a:lnTo>
                    <a:pt x="3343" y="1621"/>
                  </a:lnTo>
                  <a:lnTo>
                    <a:pt x="3277" y="1626"/>
                  </a:lnTo>
                  <a:lnTo>
                    <a:pt x="3277" y="1637"/>
                  </a:lnTo>
                  <a:lnTo>
                    <a:pt x="3310" y="1637"/>
                  </a:lnTo>
                  <a:lnTo>
                    <a:pt x="3310" y="1642"/>
                  </a:lnTo>
                  <a:lnTo>
                    <a:pt x="3326" y="1654"/>
                  </a:lnTo>
                  <a:lnTo>
                    <a:pt x="3331" y="1666"/>
                  </a:lnTo>
                  <a:lnTo>
                    <a:pt x="3289" y="1725"/>
                  </a:lnTo>
                  <a:lnTo>
                    <a:pt x="3293" y="1732"/>
                  </a:lnTo>
                  <a:lnTo>
                    <a:pt x="3218" y="1732"/>
                  </a:lnTo>
                  <a:lnTo>
                    <a:pt x="3218" y="1715"/>
                  </a:lnTo>
                  <a:lnTo>
                    <a:pt x="3244" y="1708"/>
                  </a:lnTo>
                  <a:lnTo>
                    <a:pt x="3218" y="1708"/>
                  </a:lnTo>
                  <a:lnTo>
                    <a:pt x="3218" y="1666"/>
                  </a:lnTo>
                  <a:lnTo>
                    <a:pt x="3201" y="1642"/>
                  </a:lnTo>
                  <a:lnTo>
                    <a:pt x="3185" y="1637"/>
                  </a:lnTo>
                  <a:lnTo>
                    <a:pt x="3180" y="1581"/>
                  </a:lnTo>
                  <a:lnTo>
                    <a:pt x="3185" y="1571"/>
                  </a:lnTo>
                  <a:lnTo>
                    <a:pt x="3180" y="1515"/>
                  </a:lnTo>
                  <a:lnTo>
                    <a:pt x="3185" y="1510"/>
                  </a:lnTo>
                  <a:lnTo>
                    <a:pt x="3180" y="1493"/>
                  </a:lnTo>
                  <a:lnTo>
                    <a:pt x="3192" y="1486"/>
                  </a:lnTo>
                  <a:lnTo>
                    <a:pt x="3256" y="1498"/>
                  </a:lnTo>
                  <a:lnTo>
                    <a:pt x="3222" y="1486"/>
                  </a:lnTo>
                  <a:lnTo>
                    <a:pt x="3234" y="1477"/>
                  </a:lnTo>
                  <a:lnTo>
                    <a:pt x="3218" y="1477"/>
                  </a:lnTo>
                  <a:lnTo>
                    <a:pt x="3201" y="1460"/>
                  </a:lnTo>
                  <a:lnTo>
                    <a:pt x="3272" y="1437"/>
                  </a:lnTo>
                  <a:lnTo>
                    <a:pt x="3348" y="1432"/>
                  </a:lnTo>
                  <a:lnTo>
                    <a:pt x="3395" y="1437"/>
                  </a:lnTo>
                  <a:lnTo>
                    <a:pt x="3418" y="1453"/>
                  </a:lnTo>
                  <a:lnTo>
                    <a:pt x="3418" y="1460"/>
                  </a:lnTo>
                  <a:lnTo>
                    <a:pt x="3470" y="1453"/>
                  </a:lnTo>
                  <a:lnTo>
                    <a:pt x="3563" y="1470"/>
                  </a:lnTo>
                  <a:lnTo>
                    <a:pt x="3494" y="1548"/>
                  </a:lnTo>
                  <a:lnTo>
                    <a:pt x="3494" y="1548"/>
                  </a:lnTo>
                  <a:lnTo>
                    <a:pt x="3494" y="1548"/>
                  </a:lnTo>
                  <a:close/>
                  <a:moveTo>
                    <a:pt x="3041" y="1437"/>
                  </a:moveTo>
                  <a:lnTo>
                    <a:pt x="3029" y="1453"/>
                  </a:lnTo>
                  <a:lnTo>
                    <a:pt x="2991" y="1477"/>
                  </a:lnTo>
                  <a:lnTo>
                    <a:pt x="2948" y="1486"/>
                  </a:lnTo>
                  <a:lnTo>
                    <a:pt x="2915" y="1470"/>
                  </a:lnTo>
                  <a:lnTo>
                    <a:pt x="3041" y="1437"/>
                  </a:lnTo>
                  <a:lnTo>
                    <a:pt x="3041" y="1437"/>
                  </a:lnTo>
                  <a:lnTo>
                    <a:pt x="3041" y="1437"/>
                  </a:lnTo>
                  <a:close/>
                  <a:moveTo>
                    <a:pt x="3579" y="1453"/>
                  </a:moveTo>
                  <a:lnTo>
                    <a:pt x="3558" y="1453"/>
                  </a:lnTo>
                  <a:lnTo>
                    <a:pt x="3584" y="1444"/>
                  </a:lnTo>
                  <a:lnTo>
                    <a:pt x="3579" y="1453"/>
                  </a:lnTo>
                  <a:lnTo>
                    <a:pt x="3579" y="1453"/>
                  </a:lnTo>
                  <a:lnTo>
                    <a:pt x="3579" y="1453"/>
                  </a:lnTo>
                  <a:close/>
                  <a:moveTo>
                    <a:pt x="2807" y="1708"/>
                  </a:moveTo>
                  <a:lnTo>
                    <a:pt x="2793" y="1682"/>
                  </a:lnTo>
                  <a:lnTo>
                    <a:pt x="2755" y="1692"/>
                  </a:lnTo>
                  <a:lnTo>
                    <a:pt x="2738" y="1666"/>
                  </a:lnTo>
                  <a:lnTo>
                    <a:pt x="2693" y="1637"/>
                  </a:lnTo>
                  <a:lnTo>
                    <a:pt x="2684" y="1621"/>
                  </a:lnTo>
                  <a:lnTo>
                    <a:pt x="2700" y="1588"/>
                  </a:lnTo>
                  <a:lnTo>
                    <a:pt x="2722" y="1581"/>
                  </a:lnTo>
                  <a:lnTo>
                    <a:pt x="2769" y="1609"/>
                  </a:lnTo>
                  <a:lnTo>
                    <a:pt x="2785" y="1637"/>
                  </a:lnTo>
                  <a:lnTo>
                    <a:pt x="2844" y="1626"/>
                  </a:lnTo>
                  <a:lnTo>
                    <a:pt x="2856" y="1621"/>
                  </a:lnTo>
                  <a:lnTo>
                    <a:pt x="2840" y="1597"/>
                  </a:lnTo>
                  <a:lnTo>
                    <a:pt x="2844" y="1588"/>
                  </a:lnTo>
                  <a:lnTo>
                    <a:pt x="2856" y="1588"/>
                  </a:lnTo>
                  <a:lnTo>
                    <a:pt x="2844" y="1604"/>
                  </a:lnTo>
                  <a:lnTo>
                    <a:pt x="2856" y="1609"/>
                  </a:lnTo>
                  <a:lnTo>
                    <a:pt x="2878" y="1604"/>
                  </a:lnTo>
                  <a:lnTo>
                    <a:pt x="2861" y="1571"/>
                  </a:lnTo>
                  <a:lnTo>
                    <a:pt x="2844" y="1581"/>
                  </a:lnTo>
                  <a:lnTo>
                    <a:pt x="2840" y="1571"/>
                  </a:lnTo>
                  <a:lnTo>
                    <a:pt x="2844" y="1555"/>
                  </a:lnTo>
                  <a:lnTo>
                    <a:pt x="2878" y="1564"/>
                  </a:lnTo>
                  <a:lnTo>
                    <a:pt x="2894" y="1564"/>
                  </a:lnTo>
                  <a:lnTo>
                    <a:pt x="2844" y="1543"/>
                  </a:lnTo>
                  <a:lnTo>
                    <a:pt x="2840" y="1555"/>
                  </a:lnTo>
                  <a:lnTo>
                    <a:pt x="2814" y="1555"/>
                  </a:lnTo>
                  <a:lnTo>
                    <a:pt x="2759" y="1526"/>
                  </a:lnTo>
                  <a:lnTo>
                    <a:pt x="2814" y="1510"/>
                  </a:lnTo>
                  <a:lnTo>
                    <a:pt x="2844" y="1531"/>
                  </a:lnTo>
                  <a:lnTo>
                    <a:pt x="2830" y="1526"/>
                  </a:lnTo>
                  <a:lnTo>
                    <a:pt x="2840" y="1510"/>
                  </a:lnTo>
                  <a:lnTo>
                    <a:pt x="2802" y="1493"/>
                  </a:lnTo>
                  <a:lnTo>
                    <a:pt x="2807" y="1486"/>
                  </a:lnTo>
                  <a:lnTo>
                    <a:pt x="2840" y="1477"/>
                  </a:lnTo>
                  <a:lnTo>
                    <a:pt x="2868" y="1486"/>
                  </a:lnTo>
                  <a:lnTo>
                    <a:pt x="2882" y="1470"/>
                  </a:lnTo>
                  <a:lnTo>
                    <a:pt x="2856" y="1477"/>
                  </a:lnTo>
                  <a:lnTo>
                    <a:pt x="2878" y="1460"/>
                  </a:lnTo>
                  <a:lnTo>
                    <a:pt x="2932" y="1493"/>
                  </a:lnTo>
                  <a:lnTo>
                    <a:pt x="3003" y="1486"/>
                  </a:lnTo>
                  <a:lnTo>
                    <a:pt x="3029" y="1470"/>
                  </a:lnTo>
                  <a:lnTo>
                    <a:pt x="3071" y="1477"/>
                  </a:lnTo>
                  <a:lnTo>
                    <a:pt x="3095" y="1498"/>
                  </a:lnTo>
                  <a:lnTo>
                    <a:pt x="3071" y="1515"/>
                  </a:lnTo>
                  <a:lnTo>
                    <a:pt x="3041" y="1515"/>
                  </a:lnTo>
                  <a:lnTo>
                    <a:pt x="3041" y="1531"/>
                  </a:lnTo>
                  <a:lnTo>
                    <a:pt x="3071" y="1526"/>
                  </a:lnTo>
                  <a:lnTo>
                    <a:pt x="3078" y="1543"/>
                  </a:lnTo>
                  <a:lnTo>
                    <a:pt x="3029" y="1555"/>
                  </a:lnTo>
                  <a:lnTo>
                    <a:pt x="2986" y="1588"/>
                  </a:lnTo>
                  <a:lnTo>
                    <a:pt x="2986" y="1609"/>
                  </a:lnTo>
                  <a:lnTo>
                    <a:pt x="3019" y="1588"/>
                  </a:lnTo>
                  <a:lnTo>
                    <a:pt x="3062" y="1597"/>
                  </a:lnTo>
                  <a:lnTo>
                    <a:pt x="3071" y="1604"/>
                  </a:lnTo>
                  <a:lnTo>
                    <a:pt x="3071" y="1609"/>
                  </a:lnTo>
                  <a:lnTo>
                    <a:pt x="3083" y="1626"/>
                  </a:lnTo>
                  <a:lnTo>
                    <a:pt x="3071" y="1642"/>
                  </a:lnTo>
                  <a:lnTo>
                    <a:pt x="3116" y="1626"/>
                  </a:lnTo>
                  <a:lnTo>
                    <a:pt x="3137" y="1675"/>
                  </a:lnTo>
                  <a:lnTo>
                    <a:pt x="3095" y="1682"/>
                  </a:lnTo>
                  <a:lnTo>
                    <a:pt x="3116" y="1692"/>
                  </a:lnTo>
                  <a:lnTo>
                    <a:pt x="3126" y="1715"/>
                  </a:lnTo>
                  <a:lnTo>
                    <a:pt x="3095" y="1725"/>
                  </a:lnTo>
                  <a:lnTo>
                    <a:pt x="3126" y="1725"/>
                  </a:lnTo>
                  <a:lnTo>
                    <a:pt x="3126" y="1737"/>
                  </a:lnTo>
                  <a:lnTo>
                    <a:pt x="3100" y="1737"/>
                  </a:lnTo>
                  <a:lnTo>
                    <a:pt x="3126" y="1737"/>
                  </a:lnTo>
                  <a:lnTo>
                    <a:pt x="3116" y="1753"/>
                  </a:lnTo>
                  <a:lnTo>
                    <a:pt x="3100" y="1753"/>
                  </a:lnTo>
                  <a:lnTo>
                    <a:pt x="3057" y="1781"/>
                  </a:lnTo>
                  <a:lnTo>
                    <a:pt x="3007" y="1781"/>
                  </a:lnTo>
                  <a:lnTo>
                    <a:pt x="2991" y="1765"/>
                  </a:lnTo>
                  <a:lnTo>
                    <a:pt x="3003" y="1748"/>
                  </a:lnTo>
                  <a:lnTo>
                    <a:pt x="3003" y="1737"/>
                  </a:lnTo>
                  <a:lnTo>
                    <a:pt x="2986" y="1770"/>
                  </a:lnTo>
                  <a:lnTo>
                    <a:pt x="3019" y="1793"/>
                  </a:lnTo>
                  <a:lnTo>
                    <a:pt x="2970" y="1826"/>
                  </a:lnTo>
                  <a:lnTo>
                    <a:pt x="2948" y="1810"/>
                  </a:lnTo>
                  <a:lnTo>
                    <a:pt x="2932" y="1819"/>
                  </a:lnTo>
                  <a:lnTo>
                    <a:pt x="2899" y="1765"/>
                  </a:lnTo>
                  <a:lnTo>
                    <a:pt x="2868" y="1748"/>
                  </a:lnTo>
                  <a:lnTo>
                    <a:pt x="2830" y="1708"/>
                  </a:lnTo>
                  <a:lnTo>
                    <a:pt x="2807" y="1708"/>
                  </a:lnTo>
                  <a:lnTo>
                    <a:pt x="2807" y="1708"/>
                  </a:lnTo>
                  <a:lnTo>
                    <a:pt x="2807" y="1708"/>
                  </a:lnTo>
                  <a:close/>
                  <a:moveTo>
                    <a:pt x="4096" y="2008"/>
                  </a:moveTo>
                  <a:lnTo>
                    <a:pt x="4066" y="1992"/>
                  </a:lnTo>
                  <a:lnTo>
                    <a:pt x="4016" y="2003"/>
                  </a:lnTo>
                  <a:lnTo>
                    <a:pt x="3903" y="1975"/>
                  </a:lnTo>
                  <a:lnTo>
                    <a:pt x="3865" y="1987"/>
                  </a:lnTo>
                  <a:lnTo>
                    <a:pt x="3910" y="1992"/>
                  </a:lnTo>
                  <a:lnTo>
                    <a:pt x="3872" y="1992"/>
                  </a:lnTo>
                  <a:lnTo>
                    <a:pt x="3818" y="1959"/>
                  </a:lnTo>
                  <a:lnTo>
                    <a:pt x="3818" y="1947"/>
                  </a:lnTo>
                  <a:lnTo>
                    <a:pt x="3839" y="1930"/>
                  </a:lnTo>
                  <a:lnTo>
                    <a:pt x="3834" y="1921"/>
                  </a:lnTo>
                  <a:lnTo>
                    <a:pt x="3811" y="1954"/>
                  </a:lnTo>
                  <a:lnTo>
                    <a:pt x="3796" y="1954"/>
                  </a:lnTo>
                  <a:lnTo>
                    <a:pt x="3785" y="1930"/>
                  </a:lnTo>
                  <a:lnTo>
                    <a:pt x="3773" y="1947"/>
                  </a:lnTo>
                  <a:lnTo>
                    <a:pt x="3785" y="1947"/>
                  </a:lnTo>
                  <a:lnTo>
                    <a:pt x="3785" y="1954"/>
                  </a:lnTo>
                  <a:lnTo>
                    <a:pt x="3742" y="1954"/>
                  </a:lnTo>
                  <a:lnTo>
                    <a:pt x="3747" y="1954"/>
                  </a:lnTo>
                  <a:lnTo>
                    <a:pt x="3730" y="1959"/>
                  </a:lnTo>
                  <a:lnTo>
                    <a:pt x="3704" y="1954"/>
                  </a:lnTo>
                  <a:lnTo>
                    <a:pt x="3726" y="1954"/>
                  </a:lnTo>
                  <a:lnTo>
                    <a:pt x="3709" y="1947"/>
                  </a:lnTo>
                  <a:lnTo>
                    <a:pt x="3667" y="1930"/>
                  </a:lnTo>
                  <a:lnTo>
                    <a:pt x="3617" y="1876"/>
                  </a:lnTo>
                  <a:lnTo>
                    <a:pt x="3633" y="1864"/>
                  </a:lnTo>
                  <a:lnTo>
                    <a:pt x="3612" y="1848"/>
                  </a:lnTo>
                  <a:lnTo>
                    <a:pt x="3721" y="1876"/>
                  </a:lnTo>
                  <a:lnTo>
                    <a:pt x="3785" y="1864"/>
                  </a:lnTo>
                  <a:lnTo>
                    <a:pt x="3742" y="1843"/>
                  </a:lnTo>
                  <a:lnTo>
                    <a:pt x="3726" y="1843"/>
                  </a:lnTo>
                  <a:lnTo>
                    <a:pt x="3726" y="1826"/>
                  </a:lnTo>
                  <a:lnTo>
                    <a:pt x="3676" y="1836"/>
                  </a:lnTo>
                  <a:lnTo>
                    <a:pt x="3584" y="1819"/>
                  </a:lnTo>
                  <a:lnTo>
                    <a:pt x="3579" y="1786"/>
                  </a:lnTo>
                  <a:lnTo>
                    <a:pt x="3596" y="1765"/>
                  </a:lnTo>
                  <a:lnTo>
                    <a:pt x="3570" y="1737"/>
                  </a:lnTo>
                  <a:lnTo>
                    <a:pt x="3579" y="1725"/>
                  </a:lnTo>
                  <a:lnTo>
                    <a:pt x="3612" y="1708"/>
                  </a:lnTo>
                  <a:lnTo>
                    <a:pt x="3584" y="1708"/>
                  </a:lnTo>
                  <a:lnTo>
                    <a:pt x="3579" y="1682"/>
                  </a:lnTo>
                  <a:lnTo>
                    <a:pt x="3596" y="1642"/>
                  </a:lnTo>
                  <a:lnTo>
                    <a:pt x="3617" y="1637"/>
                  </a:lnTo>
                  <a:lnTo>
                    <a:pt x="3612" y="1637"/>
                  </a:lnTo>
                  <a:lnTo>
                    <a:pt x="3612" y="1621"/>
                  </a:lnTo>
                  <a:lnTo>
                    <a:pt x="3622" y="1626"/>
                  </a:lnTo>
                  <a:lnTo>
                    <a:pt x="3622" y="1597"/>
                  </a:lnTo>
                  <a:lnTo>
                    <a:pt x="3633" y="1571"/>
                  </a:lnTo>
                  <a:lnTo>
                    <a:pt x="3671" y="1531"/>
                  </a:lnTo>
                  <a:lnTo>
                    <a:pt x="3747" y="1493"/>
                  </a:lnTo>
                  <a:lnTo>
                    <a:pt x="3839" y="1477"/>
                  </a:lnTo>
                  <a:lnTo>
                    <a:pt x="3941" y="1493"/>
                  </a:lnTo>
                  <a:lnTo>
                    <a:pt x="3865" y="1548"/>
                  </a:lnTo>
                  <a:lnTo>
                    <a:pt x="3811" y="1609"/>
                  </a:lnTo>
                  <a:lnTo>
                    <a:pt x="3801" y="1637"/>
                  </a:lnTo>
                  <a:lnTo>
                    <a:pt x="3839" y="1675"/>
                  </a:lnTo>
                  <a:lnTo>
                    <a:pt x="3827" y="1692"/>
                  </a:lnTo>
                  <a:lnTo>
                    <a:pt x="3827" y="1732"/>
                  </a:lnTo>
                  <a:lnTo>
                    <a:pt x="3893" y="1793"/>
                  </a:lnTo>
                  <a:lnTo>
                    <a:pt x="3936" y="1810"/>
                  </a:lnTo>
                  <a:lnTo>
                    <a:pt x="3941" y="1826"/>
                  </a:lnTo>
                  <a:lnTo>
                    <a:pt x="3865" y="1843"/>
                  </a:lnTo>
                  <a:lnTo>
                    <a:pt x="3801" y="1864"/>
                  </a:lnTo>
                  <a:lnTo>
                    <a:pt x="3936" y="1836"/>
                  </a:lnTo>
                  <a:lnTo>
                    <a:pt x="3941" y="1843"/>
                  </a:lnTo>
                  <a:lnTo>
                    <a:pt x="3936" y="1848"/>
                  </a:lnTo>
                  <a:lnTo>
                    <a:pt x="3919" y="1848"/>
                  </a:lnTo>
                  <a:lnTo>
                    <a:pt x="3936" y="1848"/>
                  </a:lnTo>
                  <a:lnTo>
                    <a:pt x="3936" y="1876"/>
                  </a:lnTo>
                  <a:lnTo>
                    <a:pt x="3941" y="1876"/>
                  </a:lnTo>
                  <a:lnTo>
                    <a:pt x="3941" y="1810"/>
                  </a:lnTo>
                  <a:lnTo>
                    <a:pt x="3962" y="1803"/>
                  </a:lnTo>
                  <a:lnTo>
                    <a:pt x="3945" y="1786"/>
                  </a:lnTo>
                  <a:lnTo>
                    <a:pt x="3957" y="1770"/>
                  </a:lnTo>
                  <a:lnTo>
                    <a:pt x="3910" y="1770"/>
                  </a:lnTo>
                  <a:lnTo>
                    <a:pt x="3886" y="1765"/>
                  </a:lnTo>
                  <a:lnTo>
                    <a:pt x="3893" y="1753"/>
                  </a:lnTo>
                  <a:lnTo>
                    <a:pt x="3886" y="1737"/>
                  </a:lnTo>
                  <a:lnTo>
                    <a:pt x="3855" y="1732"/>
                  </a:lnTo>
                  <a:lnTo>
                    <a:pt x="3893" y="1725"/>
                  </a:lnTo>
                  <a:lnTo>
                    <a:pt x="3893" y="1715"/>
                  </a:lnTo>
                  <a:lnTo>
                    <a:pt x="3893" y="1692"/>
                  </a:lnTo>
                  <a:lnTo>
                    <a:pt x="3936" y="1699"/>
                  </a:lnTo>
                  <a:lnTo>
                    <a:pt x="3990" y="1737"/>
                  </a:lnTo>
                  <a:lnTo>
                    <a:pt x="3990" y="1732"/>
                  </a:lnTo>
                  <a:lnTo>
                    <a:pt x="3936" y="1692"/>
                  </a:lnTo>
                  <a:lnTo>
                    <a:pt x="3962" y="1675"/>
                  </a:lnTo>
                  <a:lnTo>
                    <a:pt x="3936" y="1682"/>
                  </a:lnTo>
                  <a:lnTo>
                    <a:pt x="3941" y="1666"/>
                  </a:lnTo>
                  <a:lnTo>
                    <a:pt x="3919" y="1682"/>
                  </a:lnTo>
                  <a:lnTo>
                    <a:pt x="3886" y="1666"/>
                  </a:lnTo>
                  <a:lnTo>
                    <a:pt x="3886" y="1659"/>
                  </a:lnTo>
                  <a:lnTo>
                    <a:pt x="3893" y="1654"/>
                  </a:lnTo>
                  <a:lnTo>
                    <a:pt x="3881" y="1642"/>
                  </a:lnTo>
                  <a:lnTo>
                    <a:pt x="3881" y="1609"/>
                  </a:lnTo>
                  <a:lnTo>
                    <a:pt x="3910" y="1597"/>
                  </a:lnTo>
                  <a:lnTo>
                    <a:pt x="4000" y="1626"/>
                  </a:lnTo>
                  <a:lnTo>
                    <a:pt x="3886" y="1588"/>
                  </a:lnTo>
                  <a:lnTo>
                    <a:pt x="3903" y="1571"/>
                  </a:lnTo>
                  <a:lnTo>
                    <a:pt x="3919" y="1588"/>
                  </a:lnTo>
                  <a:lnTo>
                    <a:pt x="3910" y="1581"/>
                  </a:lnTo>
                  <a:lnTo>
                    <a:pt x="3919" y="1571"/>
                  </a:lnTo>
                  <a:lnTo>
                    <a:pt x="4028" y="1597"/>
                  </a:lnTo>
                  <a:lnTo>
                    <a:pt x="3919" y="1564"/>
                  </a:lnTo>
                  <a:lnTo>
                    <a:pt x="3941" y="1543"/>
                  </a:lnTo>
                  <a:lnTo>
                    <a:pt x="3974" y="1564"/>
                  </a:lnTo>
                  <a:lnTo>
                    <a:pt x="3945" y="1543"/>
                  </a:lnTo>
                  <a:lnTo>
                    <a:pt x="3990" y="1526"/>
                  </a:lnTo>
                  <a:lnTo>
                    <a:pt x="4016" y="1531"/>
                  </a:lnTo>
                  <a:lnTo>
                    <a:pt x="4028" y="1548"/>
                  </a:lnTo>
                  <a:lnTo>
                    <a:pt x="4028" y="1531"/>
                  </a:lnTo>
                  <a:lnTo>
                    <a:pt x="3995" y="1526"/>
                  </a:lnTo>
                  <a:lnTo>
                    <a:pt x="4082" y="1493"/>
                  </a:lnTo>
                  <a:lnTo>
                    <a:pt x="4172" y="1493"/>
                  </a:lnTo>
                  <a:lnTo>
                    <a:pt x="4196" y="1526"/>
                  </a:lnTo>
                  <a:lnTo>
                    <a:pt x="4196" y="1555"/>
                  </a:lnTo>
                  <a:lnTo>
                    <a:pt x="4243" y="1581"/>
                  </a:lnTo>
                  <a:lnTo>
                    <a:pt x="4233" y="1604"/>
                  </a:lnTo>
                  <a:lnTo>
                    <a:pt x="4259" y="1626"/>
                  </a:lnTo>
                  <a:lnTo>
                    <a:pt x="4179" y="1699"/>
                  </a:lnTo>
                  <a:lnTo>
                    <a:pt x="4243" y="1659"/>
                  </a:lnTo>
                  <a:lnTo>
                    <a:pt x="4243" y="1675"/>
                  </a:lnTo>
                  <a:lnTo>
                    <a:pt x="4210" y="1708"/>
                  </a:lnTo>
                  <a:lnTo>
                    <a:pt x="4243" y="1725"/>
                  </a:lnTo>
                  <a:lnTo>
                    <a:pt x="4205" y="1725"/>
                  </a:lnTo>
                  <a:lnTo>
                    <a:pt x="4226" y="1725"/>
                  </a:lnTo>
                  <a:lnTo>
                    <a:pt x="4210" y="1748"/>
                  </a:lnTo>
                  <a:lnTo>
                    <a:pt x="4248" y="1725"/>
                  </a:lnTo>
                  <a:lnTo>
                    <a:pt x="4243" y="1708"/>
                  </a:lnTo>
                  <a:lnTo>
                    <a:pt x="4264" y="1699"/>
                  </a:lnTo>
                  <a:lnTo>
                    <a:pt x="4259" y="1692"/>
                  </a:lnTo>
                  <a:lnTo>
                    <a:pt x="4302" y="1715"/>
                  </a:lnTo>
                  <a:lnTo>
                    <a:pt x="4264" y="1682"/>
                  </a:lnTo>
                  <a:lnTo>
                    <a:pt x="4297" y="1659"/>
                  </a:lnTo>
                  <a:lnTo>
                    <a:pt x="4302" y="1682"/>
                  </a:lnTo>
                  <a:lnTo>
                    <a:pt x="4297" y="1699"/>
                  </a:lnTo>
                  <a:lnTo>
                    <a:pt x="4323" y="1675"/>
                  </a:lnTo>
                  <a:lnTo>
                    <a:pt x="4352" y="1692"/>
                  </a:lnTo>
                  <a:lnTo>
                    <a:pt x="4352" y="1708"/>
                  </a:lnTo>
                  <a:lnTo>
                    <a:pt x="4335" y="1732"/>
                  </a:lnTo>
                  <a:lnTo>
                    <a:pt x="4378" y="1748"/>
                  </a:lnTo>
                  <a:lnTo>
                    <a:pt x="4356" y="1732"/>
                  </a:lnTo>
                  <a:lnTo>
                    <a:pt x="4356" y="1708"/>
                  </a:lnTo>
                  <a:lnTo>
                    <a:pt x="4389" y="1715"/>
                  </a:lnTo>
                  <a:lnTo>
                    <a:pt x="4406" y="1753"/>
                  </a:lnTo>
                  <a:lnTo>
                    <a:pt x="4427" y="1765"/>
                  </a:lnTo>
                  <a:lnTo>
                    <a:pt x="4394" y="1737"/>
                  </a:lnTo>
                  <a:lnTo>
                    <a:pt x="4411" y="1732"/>
                  </a:lnTo>
                  <a:lnTo>
                    <a:pt x="4432" y="1753"/>
                  </a:lnTo>
                  <a:lnTo>
                    <a:pt x="4411" y="1732"/>
                  </a:lnTo>
                  <a:lnTo>
                    <a:pt x="4394" y="1732"/>
                  </a:lnTo>
                  <a:lnTo>
                    <a:pt x="4389" y="1715"/>
                  </a:lnTo>
                  <a:lnTo>
                    <a:pt x="4356" y="1699"/>
                  </a:lnTo>
                  <a:lnTo>
                    <a:pt x="4373" y="1682"/>
                  </a:lnTo>
                  <a:lnTo>
                    <a:pt x="4389" y="1708"/>
                  </a:lnTo>
                  <a:lnTo>
                    <a:pt x="4389" y="1682"/>
                  </a:lnTo>
                  <a:lnTo>
                    <a:pt x="4486" y="1715"/>
                  </a:lnTo>
                  <a:lnTo>
                    <a:pt x="4378" y="1666"/>
                  </a:lnTo>
                  <a:lnTo>
                    <a:pt x="4389" y="1654"/>
                  </a:lnTo>
                  <a:lnTo>
                    <a:pt x="4444" y="1626"/>
                  </a:lnTo>
                  <a:lnTo>
                    <a:pt x="4503" y="1626"/>
                  </a:lnTo>
                  <a:lnTo>
                    <a:pt x="4512" y="1642"/>
                  </a:lnTo>
                  <a:lnTo>
                    <a:pt x="4550" y="1654"/>
                  </a:lnTo>
                  <a:lnTo>
                    <a:pt x="4550" y="1666"/>
                  </a:lnTo>
                  <a:lnTo>
                    <a:pt x="4567" y="1654"/>
                  </a:lnTo>
                  <a:lnTo>
                    <a:pt x="4611" y="1659"/>
                  </a:lnTo>
                  <a:lnTo>
                    <a:pt x="4637" y="1699"/>
                  </a:lnTo>
                  <a:lnTo>
                    <a:pt x="4611" y="1715"/>
                  </a:lnTo>
                  <a:lnTo>
                    <a:pt x="4557" y="1715"/>
                  </a:lnTo>
                  <a:lnTo>
                    <a:pt x="4536" y="1748"/>
                  </a:lnTo>
                  <a:lnTo>
                    <a:pt x="4574" y="1715"/>
                  </a:lnTo>
                  <a:lnTo>
                    <a:pt x="4611" y="1725"/>
                  </a:lnTo>
                  <a:lnTo>
                    <a:pt x="4588" y="1732"/>
                  </a:lnTo>
                  <a:lnTo>
                    <a:pt x="4574" y="1765"/>
                  </a:lnTo>
                  <a:lnTo>
                    <a:pt x="4550" y="1770"/>
                  </a:lnTo>
                  <a:lnTo>
                    <a:pt x="4574" y="1765"/>
                  </a:lnTo>
                  <a:lnTo>
                    <a:pt x="4588" y="1732"/>
                  </a:lnTo>
                  <a:lnTo>
                    <a:pt x="4626" y="1715"/>
                  </a:lnTo>
                  <a:lnTo>
                    <a:pt x="4680" y="1725"/>
                  </a:lnTo>
                  <a:lnTo>
                    <a:pt x="4692" y="1732"/>
                  </a:lnTo>
                  <a:lnTo>
                    <a:pt x="4680" y="1753"/>
                  </a:lnTo>
                  <a:lnTo>
                    <a:pt x="4604" y="1770"/>
                  </a:lnTo>
                  <a:lnTo>
                    <a:pt x="4637" y="1781"/>
                  </a:lnTo>
                  <a:lnTo>
                    <a:pt x="4595" y="1793"/>
                  </a:lnTo>
                  <a:lnTo>
                    <a:pt x="4659" y="1781"/>
                  </a:lnTo>
                  <a:lnTo>
                    <a:pt x="4621" y="1803"/>
                  </a:lnTo>
                  <a:lnTo>
                    <a:pt x="4642" y="1793"/>
                  </a:lnTo>
                  <a:lnTo>
                    <a:pt x="4649" y="1810"/>
                  </a:lnTo>
                  <a:lnTo>
                    <a:pt x="4621" y="1843"/>
                  </a:lnTo>
                  <a:lnTo>
                    <a:pt x="4649" y="1810"/>
                  </a:lnTo>
                  <a:lnTo>
                    <a:pt x="4649" y="1793"/>
                  </a:lnTo>
                  <a:lnTo>
                    <a:pt x="4659" y="1781"/>
                  </a:lnTo>
                  <a:lnTo>
                    <a:pt x="4692" y="1765"/>
                  </a:lnTo>
                  <a:lnTo>
                    <a:pt x="4680" y="1781"/>
                  </a:lnTo>
                  <a:lnTo>
                    <a:pt x="4692" y="1793"/>
                  </a:lnTo>
                  <a:lnTo>
                    <a:pt x="4696" y="1765"/>
                  </a:lnTo>
                  <a:lnTo>
                    <a:pt x="4718" y="1765"/>
                  </a:lnTo>
                  <a:lnTo>
                    <a:pt x="4729" y="1765"/>
                  </a:lnTo>
                  <a:lnTo>
                    <a:pt x="4696" y="1793"/>
                  </a:lnTo>
                  <a:lnTo>
                    <a:pt x="4675" y="1810"/>
                  </a:lnTo>
                  <a:lnTo>
                    <a:pt x="4696" y="1803"/>
                  </a:lnTo>
                  <a:lnTo>
                    <a:pt x="4692" y="1826"/>
                  </a:lnTo>
                  <a:lnTo>
                    <a:pt x="4680" y="1836"/>
                  </a:lnTo>
                  <a:lnTo>
                    <a:pt x="4696" y="1826"/>
                  </a:lnTo>
                  <a:lnTo>
                    <a:pt x="4713" y="1793"/>
                  </a:lnTo>
                  <a:lnTo>
                    <a:pt x="4729" y="1786"/>
                  </a:lnTo>
                  <a:lnTo>
                    <a:pt x="4729" y="1819"/>
                  </a:lnTo>
                  <a:lnTo>
                    <a:pt x="4734" y="1803"/>
                  </a:lnTo>
                  <a:lnTo>
                    <a:pt x="4746" y="1810"/>
                  </a:lnTo>
                  <a:lnTo>
                    <a:pt x="4729" y="1826"/>
                  </a:lnTo>
                  <a:lnTo>
                    <a:pt x="4718" y="1848"/>
                  </a:lnTo>
                  <a:lnTo>
                    <a:pt x="4701" y="1859"/>
                  </a:lnTo>
                  <a:lnTo>
                    <a:pt x="4718" y="1848"/>
                  </a:lnTo>
                  <a:lnTo>
                    <a:pt x="4729" y="1836"/>
                  </a:lnTo>
                  <a:lnTo>
                    <a:pt x="4734" y="1819"/>
                  </a:lnTo>
                  <a:lnTo>
                    <a:pt x="4767" y="1826"/>
                  </a:lnTo>
                  <a:lnTo>
                    <a:pt x="4751" y="1836"/>
                  </a:lnTo>
                  <a:lnTo>
                    <a:pt x="4751" y="1848"/>
                  </a:lnTo>
                  <a:lnTo>
                    <a:pt x="4734" y="1859"/>
                  </a:lnTo>
                  <a:lnTo>
                    <a:pt x="4746" y="1864"/>
                  </a:lnTo>
                  <a:lnTo>
                    <a:pt x="4755" y="1836"/>
                  </a:lnTo>
                  <a:lnTo>
                    <a:pt x="4767" y="1826"/>
                  </a:lnTo>
                  <a:lnTo>
                    <a:pt x="4767" y="1810"/>
                  </a:lnTo>
                  <a:lnTo>
                    <a:pt x="4789" y="1810"/>
                  </a:lnTo>
                  <a:lnTo>
                    <a:pt x="4805" y="1781"/>
                  </a:lnTo>
                  <a:lnTo>
                    <a:pt x="4864" y="1793"/>
                  </a:lnTo>
                  <a:lnTo>
                    <a:pt x="4897" y="1826"/>
                  </a:lnTo>
                  <a:lnTo>
                    <a:pt x="4874" y="1859"/>
                  </a:lnTo>
                  <a:lnTo>
                    <a:pt x="4843" y="1848"/>
                  </a:lnTo>
                  <a:lnTo>
                    <a:pt x="4810" y="1881"/>
                  </a:lnTo>
                  <a:lnTo>
                    <a:pt x="4789" y="1881"/>
                  </a:lnTo>
                  <a:lnTo>
                    <a:pt x="4826" y="1881"/>
                  </a:lnTo>
                  <a:lnTo>
                    <a:pt x="4810" y="1904"/>
                  </a:lnTo>
                  <a:lnTo>
                    <a:pt x="4798" y="1914"/>
                  </a:lnTo>
                  <a:lnTo>
                    <a:pt x="4826" y="1892"/>
                  </a:lnTo>
                  <a:lnTo>
                    <a:pt x="4881" y="1881"/>
                  </a:lnTo>
                  <a:lnTo>
                    <a:pt x="4897" y="1859"/>
                  </a:lnTo>
                  <a:lnTo>
                    <a:pt x="4918" y="1848"/>
                  </a:lnTo>
                  <a:lnTo>
                    <a:pt x="4935" y="1859"/>
                  </a:lnTo>
                  <a:lnTo>
                    <a:pt x="4944" y="1876"/>
                  </a:lnTo>
                  <a:lnTo>
                    <a:pt x="4928" y="1897"/>
                  </a:lnTo>
                  <a:lnTo>
                    <a:pt x="4897" y="1914"/>
                  </a:lnTo>
                  <a:lnTo>
                    <a:pt x="4864" y="1914"/>
                  </a:lnTo>
                  <a:lnTo>
                    <a:pt x="4852" y="1937"/>
                  </a:lnTo>
                  <a:lnTo>
                    <a:pt x="4859" y="1937"/>
                  </a:lnTo>
                  <a:lnTo>
                    <a:pt x="4859" y="1947"/>
                  </a:lnTo>
                  <a:lnTo>
                    <a:pt x="4852" y="1954"/>
                  </a:lnTo>
                  <a:lnTo>
                    <a:pt x="4859" y="1954"/>
                  </a:lnTo>
                  <a:lnTo>
                    <a:pt x="4874" y="1921"/>
                  </a:lnTo>
                  <a:lnTo>
                    <a:pt x="4897" y="1921"/>
                  </a:lnTo>
                  <a:lnTo>
                    <a:pt x="4890" y="1954"/>
                  </a:lnTo>
                  <a:lnTo>
                    <a:pt x="4890" y="1959"/>
                  </a:lnTo>
                  <a:lnTo>
                    <a:pt x="4874" y="1992"/>
                  </a:lnTo>
                  <a:lnTo>
                    <a:pt x="4897" y="1959"/>
                  </a:lnTo>
                  <a:lnTo>
                    <a:pt x="4911" y="1914"/>
                  </a:lnTo>
                  <a:lnTo>
                    <a:pt x="4987" y="1881"/>
                  </a:lnTo>
                  <a:lnTo>
                    <a:pt x="4999" y="1881"/>
                  </a:lnTo>
                  <a:lnTo>
                    <a:pt x="4973" y="1904"/>
                  </a:lnTo>
                  <a:lnTo>
                    <a:pt x="4944" y="1914"/>
                  </a:lnTo>
                  <a:lnTo>
                    <a:pt x="4949" y="1921"/>
                  </a:lnTo>
                  <a:lnTo>
                    <a:pt x="4944" y="1930"/>
                  </a:lnTo>
                  <a:lnTo>
                    <a:pt x="4961" y="1930"/>
                  </a:lnTo>
                  <a:lnTo>
                    <a:pt x="4961" y="1914"/>
                  </a:lnTo>
                  <a:lnTo>
                    <a:pt x="4973" y="1914"/>
                  </a:lnTo>
                  <a:lnTo>
                    <a:pt x="5020" y="1892"/>
                  </a:lnTo>
                  <a:lnTo>
                    <a:pt x="5096" y="1921"/>
                  </a:lnTo>
                  <a:lnTo>
                    <a:pt x="5096" y="1930"/>
                  </a:lnTo>
                  <a:lnTo>
                    <a:pt x="5091" y="1947"/>
                  </a:lnTo>
                  <a:lnTo>
                    <a:pt x="5074" y="1930"/>
                  </a:lnTo>
                  <a:lnTo>
                    <a:pt x="5074" y="1954"/>
                  </a:lnTo>
                  <a:lnTo>
                    <a:pt x="5004" y="1970"/>
                  </a:lnTo>
                  <a:lnTo>
                    <a:pt x="4966" y="1992"/>
                  </a:lnTo>
                  <a:lnTo>
                    <a:pt x="4987" y="1992"/>
                  </a:lnTo>
                  <a:lnTo>
                    <a:pt x="4944" y="2013"/>
                  </a:lnTo>
                  <a:lnTo>
                    <a:pt x="4999" y="1992"/>
                  </a:lnTo>
                  <a:lnTo>
                    <a:pt x="4999" y="1987"/>
                  </a:lnTo>
                  <a:lnTo>
                    <a:pt x="5004" y="1975"/>
                  </a:lnTo>
                  <a:lnTo>
                    <a:pt x="5058" y="1970"/>
                  </a:lnTo>
                  <a:lnTo>
                    <a:pt x="5074" y="1975"/>
                  </a:lnTo>
                  <a:lnTo>
                    <a:pt x="5020" y="2013"/>
                  </a:lnTo>
                  <a:lnTo>
                    <a:pt x="4987" y="2013"/>
                  </a:lnTo>
                  <a:lnTo>
                    <a:pt x="4982" y="2041"/>
                  </a:lnTo>
                  <a:lnTo>
                    <a:pt x="4999" y="2013"/>
                  </a:lnTo>
                  <a:lnTo>
                    <a:pt x="5020" y="2025"/>
                  </a:lnTo>
                  <a:lnTo>
                    <a:pt x="5041" y="2003"/>
                  </a:lnTo>
                  <a:lnTo>
                    <a:pt x="5107" y="1975"/>
                  </a:lnTo>
                  <a:lnTo>
                    <a:pt x="5096" y="1970"/>
                  </a:lnTo>
                  <a:lnTo>
                    <a:pt x="5107" y="1954"/>
                  </a:lnTo>
                  <a:lnTo>
                    <a:pt x="5138" y="1959"/>
                  </a:lnTo>
                  <a:lnTo>
                    <a:pt x="5176" y="2003"/>
                  </a:lnTo>
                  <a:lnTo>
                    <a:pt x="5183" y="2025"/>
                  </a:lnTo>
                  <a:lnTo>
                    <a:pt x="5124" y="2025"/>
                  </a:lnTo>
                  <a:lnTo>
                    <a:pt x="5096" y="2041"/>
                  </a:lnTo>
                  <a:lnTo>
                    <a:pt x="4973" y="2058"/>
                  </a:lnTo>
                  <a:lnTo>
                    <a:pt x="5025" y="2058"/>
                  </a:lnTo>
                  <a:lnTo>
                    <a:pt x="5074" y="2048"/>
                  </a:lnTo>
                  <a:lnTo>
                    <a:pt x="5124" y="2065"/>
                  </a:lnTo>
                  <a:lnTo>
                    <a:pt x="5176" y="2065"/>
                  </a:lnTo>
                  <a:lnTo>
                    <a:pt x="5204" y="2081"/>
                  </a:lnTo>
                  <a:lnTo>
                    <a:pt x="5214" y="2098"/>
                  </a:lnTo>
                  <a:lnTo>
                    <a:pt x="5204" y="2103"/>
                  </a:lnTo>
                  <a:lnTo>
                    <a:pt x="5053" y="2070"/>
                  </a:lnTo>
                  <a:lnTo>
                    <a:pt x="5025" y="2086"/>
                  </a:lnTo>
                  <a:lnTo>
                    <a:pt x="5053" y="2081"/>
                  </a:lnTo>
                  <a:lnTo>
                    <a:pt x="5112" y="2098"/>
                  </a:lnTo>
                  <a:lnTo>
                    <a:pt x="5053" y="2098"/>
                  </a:lnTo>
                  <a:lnTo>
                    <a:pt x="5079" y="2098"/>
                  </a:lnTo>
                  <a:lnTo>
                    <a:pt x="5053" y="2115"/>
                  </a:lnTo>
                  <a:lnTo>
                    <a:pt x="5053" y="2124"/>
                  </a:lnTo>
                  <a:lnTo>
                    <a:pt x="5058" y="2115"/>
                  </a:lnTo>
                  <a:lnTo>
                    <a:pt x="5107" y="2103"/>
                  </a:lnTo>
                  <a:lnTo>
                    <a:pt x="5138" y="2119"/>
                  </a:lnTo>
                  <a:lnTo>
                    <a:pt x="5079" y="2124"/>
                  </a:lnTo>
                  <a:lnTo>
                    <a:pt x="5112" y="2124"/>
                  </a:lnTo>
                  <a:lnTo>
                    <a:pt x="5124" y="2136"/>
                  </a:lnTo>
                  <a:lnTo>
                    <a:pt x="5079" y="2136"/>
                  </a:lnTo>
                  <a:lnTo>
                    <a:pt x="5138" y="2152"/>
                  </a:lnTo>
                  <a:lnTo>
                    <a:pt x="5020" y="2136"/>
                  </a:lnTo>
                  <a:lnTo>
                    <a:pt x="5112" y="2157"/>
                  </a:lnTo>
                  <a:lnTo>
                    <a:pt x="5058" y="2169"/>
                  </a:lnTo>
                  <a:lnTo>
                    <a:pt x="5091" y="2169"/>
                  </a:lnTo>
                  <a:lnTo>
                    <a:pt x="5070" y="2176"/>
                  </a:lnTo>
                  <a:lnTo>
                    <a:pt x="5150" y="2176"/>
                  </a:lnTo>
                  <a:lnTo>
                    <a:pt x="5145" y="2181"/>
                  </a:lnTo>
                  <a:lnTo>
                    <a:pt x="5145" y="2197"/>
                  </a:lnTo>
                  <a:lnTo>
                    <a:pt x="5162" y="2181"/>
                  </a:lnTo>
                  <a:lnTo>
                    <a:pt x="5176" y="2192"/>
                  </a:lnTo>
                  <a:lnTo>
                    <a:pt x="5167" y="2192"/>
                  </a:lnTo>
                  <a:lnTo>
                    <a:pt x="5183" y="2192"/>
                  </a:lnTo>
                  <a:lnTo>
                    <a:pt x="5183" y="2181"/>
                  </a:lnTo>
                  <a:lnTo>
                    <a:pt x="5214" y="2192"/>
                  </a:lnTo>
                  <a:lnTo>
                    <a:pt x="5192" y="2197"/>
                  </a:lnTo>
                  <a:lnTo>
                    <a:pt x="5138" y="2209"/>
                  </a:lnTo>
                  <a:lnTo>
                    <a:pt x="5129" y="2214"/>
                  </a:lnTo>
                  <a:lnTo>
                    <a:pt x="5145" y="2209"/>
                  </a:lnTo>
                  <a:lnTo>
                    <a:pt x="5150" y="2214"/>
                  </a:lnTo>
                  <a:lnTo>
                    <a:pt x="5145" y="2214"/>
                  </a:lnTo>
                  <a:lnTo>
                    <a:pt x="5150" y="2214"/>
                  </a:lnTo>
                  <a:lnTo>
                    <a:pt x="5176" y="2197"/>
                  </a:lnTo>
                  <a:lnTo>
                    <a:pt x="5192" y="2209"/>
                  </a:lnTo>
                  <a:lnTo>
                    <a:pt x="5176" y="2209"/>
                  </a:lnTo>
                  <a:lnTo>
                    <a:pt x="5162" y="2230"/>
                  </a:lnTo>
                  <a:lnTo>
                    <a:pt x="5145" y="2226"/>
                  </a:lnTo>
                  <a:lnTo>
                    <a:pt x="5162" y="2230"/>
                  </a:lnTo>
                  <a:lnTo>
                    <a:pt x="5167" y="2214"/>
                  </a:lnTo>
                  <a:lnTo>
                    <a:pt x="5192" y="2209"/>
                  </a:lnTo>
                  <a:lnTo>
                    <a:pt x="5204" y="2214"/>
                  </a:lnTo>
                  <a:lnTo>
                    <a:pt x="5192" y="2247"/>
                  </a:lnTo>
                  <a:lnTo>
                    <a:pt x="5214" y="2230"/>
                  </a:lnTo>
                  <a:lnTo>
                    <a:pt x="5214" y="2247"/>
                  </a:lnTo>
                  <a:lnTo>
                    <a:pt x="5221" y="2230"/>
                  </a:lnTo>
                  <a:lnTo>
                    <a:pt x="5237" y="2230"/>
                  </a:lnTo>
                  <a:lnTo>
                    <a:pt x="5230" y="2235"/>
                  </a:lnTo>
                  <a:lnTo>
                    <a:pt x="5247" y="2247"/>
                  </a:lnTo>
                  <a:lnTo>
                    <a:pt x="5230" y="2263"/>
                  </a:lnTo>
                  <a:lnTo>
                    <a:pt x="5204" y="2263"/>
                  </a:lnTo>
                  <a:lnTo>
                    <a:pt x="5237" y="2268"/>
                  </a:lnTo>
                  <a:lnTo>
                    <a:pt x="5237" y="2252"/>
                  </a:lnTo>
                  <a:lnTo>
                    <a:pt x="5268" y="2235"/>
                  </a:lnTo>
                  <a:lnTo>
                    <a:pt x="5268" y="2226"/>
                  </a:lnTo>
                  <a:lnTo>
                    <a:pt x="5268" y="2235"/>
                  </a:lnTo>
                  <a:lnTo>
                    <a:pt x="5259" y="2252"/>
                  </a:lnTo>
                  <a:lnTo>
                    <a:pt x="5259" y="2263"/>
                  </a:lnTo>
                  <a:lnTo>
                    <a:pt x="5259" y="2292"/>
                  </a:lnTo>
                  <a:lnTo>
                    <a:pt x="5259" y="2268"/>
                  </a:lnTo>
                  <a:lnTo>
                    <a:pt x="5275" y="2252"/>
                  </a:lnTo>
                  <a:lnTo>
                    <a:pt x="5275" y="2247"/>
                  </a:lnTo>
                  <a:lnTo>
                    <a:pt x="5301" y="2247"/>
                  </a:lnTo>
                  <a:lnTo>
                    <a:pt x="5285" y="2268"/>
                  </a:lnTo>
                  <a:lnTo>
                    <a:pt x="5306" y="2292"/>
                  </a:lnTo>
                  <a:lnTo>
                    <a:pt x="5306" y="2285"/>
                  </a:lnTo>
                  <a:lnTo>
                    <a:pt x="5289" y="2268"/>
                  </a:lnTo>
                  <a:lnTo>
                    <a:pt x="5301" y="2252"/>
                  </a:lnTo>
                  <a:lnTo>
                    <a:pt x="5327" y="2235"/>
                  </a:lnTo>
                  <a:lnTo>
                    <a:pt x="5355" y="2247"/>
                  </a:lnTo>
                  <a:lnTo>
                    <a:pt x="5327" y="2263"/>
                  </a:lnTo>
                  <a:lnTo>
                    <a:pt x="5327" y="2268"/>
                  </a:lnTo>
                  <a:lnTo>
                    <a:pt x="5313" y="2285"/>
                  </a:lnTo>
                  <a:lnTo>
                    <a:pt x="5339" y="2268"/>
                  </a:lnTo>
                  <a:lnTo>
                    <a:pt x="5344" y="2268"/>
                  </a:lnTo>
                  <a:lnTo>
                    <a:pt x="5344" y="2285"/>
                  </a:lnTo>
                  <a:lnTo>
                    <a:pt x="5344" y="2268"/>
                  </a:lnTo>
                  <a:lnTo>
                    <a:pt x="5365" y="2268"/>
                  </a:lnTo>
                  <a:lnTo>
                    <a:pt x="5377" y="2280"/>
                  </a:lnTo>
                  <a:lnTo>
                    <a:pt x="5355" y="2285"/>
                  </a:lnTo>
                  <a:lnTo>
                    <a:pt x="5377" y="2280"/>
                  </a:lnTo>
                  <a:lnTo>
                    <a:pt x="5398" y="2303"/>
                  </a:lnTo>
                  <a:lnTo>
                    <a:pt x="5365" y="2308"/>
                  </a:lnTo>
                  <a:lnTo>
                    <a:pt x="5398" y="2308"/>
                  </a:lnTo>
                  <a:lnTo>
                    <a:pt x="5410" y="2337"/>
                  </a:lnTo>
                  <a:lnTo>
                    <a:pt x="5344" y="2325"/>
                  </a:lnTo>
                  <a:lnTo>
                    <a:pt x="5381" y="2337"/>
                  </a:lnTo>
                  <a:lnTo>
                    <a:pt x="5344" y="2341"/>
                  </a:lnTo>
                  <a:lnTo>
                    <a:pt x="5398" y="2337"/>
                  </a:lnTo>
                  <a:lnTo>
                    <a:pt x="5360" y="2346"/>
                  </a:lnTo>
                  <a:lnTo>
                    <a:pt x="5355" y="2363"/>
                  </a:lnTo>
                  <a:lnTo>
                    <a:pt x="5365" y="2346"/>
                  </a:lnTo>
                  <a:lnTo>
                    <a:pt x="5436" y="2341"/>
                  </a:lnTo>
                  <a:lnTo>
                    <a:pt x="5415" y="2374"/>
                  </a:lnTo>
                  <a:lnTo>
                    <a:pt x="5448" y="2346"/>
                  </a:lnTo>
                  <a:lnTo>
                    <a:pt x="5448" y="2337"/>
                  </a:lnTo>
                  <a:lnTo>
                    <a:pt x="5462" y="2325"/>
                  </a:lnTo>
                  <a:lnTo>
                    <a:pt x="5474" y="2341"/>
                  </a:lnTo>
                  <a:lnTo>
                    <a:pt x="5452" y="2358"/>
                  </a:lnTo>
                  <a:lnTo>
                    <a:pt x="5452" y="2374"/>
                  </a:lnTo>
                  <a:lnTo>
                    <a:pt x="5415" y="2391"/>
                  </a:lnTo>
                  <a:lnTo>
                    <a:pt x="5436" y="2391"/>
                  </a:lnTo>
                  <a:lnTo>
                    <a:pt x="5436" y="2379"/>
                  </a:lnTo>
                  <a:lnTo>
                    <a:pt x="5436" y="2403"/>
                  </a:lnTo>
                  <a:lnTo>
                    <a:pt x="5452" y="2379"/>
                  </a:lnTo>
                  <a:lnTo>
                    <a:pt x="5485" y="2374"/>
                  </a:lnTo>
                  <a:lnTo>
                    <a:pt x="5474" y="2412"/>
                  </a:lnTo>
                  <a:lnTo>
                    <a:pt x="5490" y="2396"/>
                  </a:lnTo>
                  <a:lnTo>
                    <a:pt x="5490" y="2374"/>
                  </a:lnTo>
                  <a:lnTo>
                    <a:pt x="5500" y="2374"/>
                  </a:lnTo>
                  <a:lnTo>
                    <a:pt x="5523" y="2403"/>
                  </a:lnTo>
                  <a:lnTo>
                    <a:pt x="5507" y="2379"/>
                  </a:lnTo>
                  <a:lnTo>
                    <a:pt x="5528" y="2363"/>
                  </a:lnTo>
                  <a:lnTo>
                    <a:pt x="5537" y="2363"/>
                  </a:lnTo>
                  <a:lnTo>
                    <a:pt x="5528" y="2379"/>
                  </a:lnTo>
                  <a:lnTo>
                    <a:pt x="5561" y="2374"/>
                  </a:lnTo>
                  <a:lnTo>
                    <a:pt x="5592" y="2412"/>
                  </a:lnTo>
                  <a:lnTo>
                    <a:pt x="5575" y="2419"/>
                  </a:lnTo>
                  <a:lnTo>
                    <a:pt x="5544" y="2403"/>
                  </a:lnTo>
                  <a:lnTo>
                    <a:pt x="5528" y="2412"/>
                  </a:lnTo>
                  <a:lnTo>
                    <a:pt x="5554" y="2412"/>
                  </a:lnTo>
                  <a:lnTo>
                    <a:pt x="5570" y="2429"/>
                  </a:lnTo>
                  <a:lnTo>
                    <a:pt x="5544" y="2436"/>
                  </a:lnTo>
                  <a:lnTo>
                    <a:pt x="5575" y="2448"/>
                  </a:lnTo>
                  <a:lnTo>
                    <a:pt x="5544" y="2452"/>
                  </a:lnTo>
                  <a:lnTo>
                    <a:pt x="5507" y="2436"/>
                  </a:lnTo>
                  <a:lnTo>
                    <a:pt x="5490" y="2436"/>
                  </a:lnTo>
                  <a:lnTo>
                    <a:pt x="5516" y="2452"/>
                  </a:lnTo>
                  <a:lnTo>
                    <a:pt x="5490" y="2457"/>
                  </a:lnTo>
                  <a:lnTo>
                    <a:pt x="5474" y="2452"/>
                  </a:lnTo>
                  <a:lnTo>
                    <a:pt x="5490" y="2469"/>
                  </a:lnTo>
                  <a:lnTo>
                    <a:pt x="5528" y="2469"/>
                  </a:lnTo>
                  <a:lnTo>
                    <a:pt x="5544" y="2485"/>
                  </a:lnTo>
                  <a:lnTo>
                    <a:pt x="5485" y="2485"/>
                  </a:lnTo>
                  <a:lnTo>
                    <a:pt x="5474" y="2469"/>
                  </a:lnTo>
                  <a:lnTo>
                    <a:pt x="5469" y="2474"/>
                  </a:lnTo>
                  <a:lnTo>
                    <a:pt x="5516" y="2490"/>
                  </a:lnTo>
                  <a:lnTo>
                    <a:pt x="5516" y="2507"/>
                  </a:lnTo>
                  <a:lnTo>
                    <a:pt x="5500" y="2507"/>
                  </a:lnTo>
                  <a:lnTo>
                    <a:pt x="5474" y="2502"/>
                  </a:lnTo>
                  <a:lnTo>
                    <a:pt x="5500" y="2514"/>
                  </a:lnTo>
                  <a:lnTo>
                    <a:pt x="5485" y="2514"/>
                  </a:lnTo>
                  <a:lnTo>
                    <a:pt x="5500" y="2523"/>
                  </a:lnTo>
                  <a:lnTo>
                    <a:pt x="5490" y="2540"/>
                  </a:lnTo>
                  <a:lnTo>
                    <a:pt x="5485" y="2540"/>
                  </a:lnTo>
                  <a:lnTo>
                    <a:pt x="5474" y="2514"/>
                  </a:lnTo>
                  <a:lnTo>
                    <a:pt x="5474" y="2530"/>
                  </a:lnTo>
                  <a:lnTo>
                    <a:pt x="5474" y="2540"/>
                  </a:lnTo>
                  <a:lnTo>
                    <a:pt x="5452" y="2530"/>
                  </a:lnTo>
                  <a:lnTo>
                    <a:pt x="5436" y="2507"/>
                  </a:lnTo>
                  <a:lnTo>
                    <a:pt x="5448" y="2530"/>
                  </a:lnTo>
                  <a:lnTo>
                    <a:pt x="5419" y="2523"/>
                  </a:lnTo>
                  <a:lnTo>
                    <a:pt x="5448" y="2540"/>
                  </a:lnTo>
                  <a:lnTo>
                    <a:pt x="5431" y="2540"/>
                  </a:lnTo>
                  <a:lnTo>
                    <a:pt x="5452" y="2556"/>
                  </a:lnTo>
                  <a:lnTo>
                    <a:pt x="5419" y="2547"/>
                  </a:lnTo>
                  <a:lnTo>
                    <a:pt x="5448" y="2568"/>
                  </a:lnTo>
                  <a:lnTo>
                    <a:pt x="5436" y="2585"/>
                  </a:lnTo>
                  <a:lnTo>
                    <a:pt x="5448" y="2596"/>
                  </a:lnTo>
                  <a:lnTo>
                    <a:pt x="5431" y="2618"/>
                  </a:lnTo>
                  <a:lnTo>
                    <a:pt x="5415" y="2613"/>
                  </a:lnTo>
                  <a:lnTo>
                    <a:pt x="5419" y="2601"/>
                  </a:lnTo>
                  <a:lnTo>
                    <a:pt x="5410" y="2596"/>
                  </a:lnTo>
                  <a:lnTo>
                    <a:pt x="5393" y="2601"/>
                  </a:lnTo>
                  <a:lnTo>
                    <a:pt x="5381" y="2596"/>
                  </a:lnTo>
                  <a:lnTo>
                    <a:pt x="5393" y="2585"/>
                  </a:lnTo>
                  <a:lnTo>
                    <a:pt x="5377" y="2585"/>
                  </a:lnTo>
                  <a:lnTo>
                    <a:pt x="5377" y="2568"/>
                  </a:lnTo>
                  <a:lnTo>
                    <a:pt x="5381" y="2556"/>
                  </a:lnTo>
                  <a:lnTo>
                    <a:pt x="5365" y="2568"/>
                  </a:lnTo>
                  <a:lnTo>
                    <a:pt x="5360" y="2596"/>
                  </a:lnTo>
                  <a:lnTo>
                    <a:pt x="5339" y="2568"/>
                  </a:lnTo>
                  <a:lnTo>
                    <a:pt x="5355" y="2563"/>
                  </a:lnTo>
                  <a:lnTo>
                    <a:pt x="5339" y="2563"/>
                  </a:lnTo>
                  <a:lnTo>
                    <a:pt x="5365" y="2547"/>
                  </a:lnTo>
                  <a:lnTo>
                    <a:pt x="5327" y="2563"/>
                  </a:lnTo>
                  <a:lnTo>
                    <a:pt x="5322" y="2556"/>
                  </a:lnTo>
                  <a:lnTo>
                    <a:pt x="5355" y="2530"/>
                  </a:lnTo>
                  <a:lnTo>
                    <a:pt x="5327" y="2540"/>
                  </a:lnTo>
                  <a:lnTo>
                    <a:pt x="5306" y="2540"/>
                  </a:lnTo>
                  <a:lnTo>
                    <a:pt x="5344" y="2523"/>
                  </a:lnTo>
                  <a:lnTo>
                    <a:pt x="5322" y="2530"/>
                  </a:lnTo>
                  <a:lnTo>
                    <a:pt x="5289" y="2514"/>
                  </a:lnTo>
                  <a:lnTo>
                    <a:pt x="5306" y="2502"/>
                  </a:lnTo>
                  <a:lnTo>
                    <a:pt x="5355" y="2490"/>
                  </a:lnTo>
                  <a:lnTo>
                    <a:pt x="5344" y="2485"/>
                  </a:lnTo>
                  <a:lnTo>
                    <a:pt x="5355" y="2457"/>
                  </a:lnTo>
                  <a:lnTo>
                    <a:pt x="5377" y="2448"/>
                  </a:lnTo>
                  <a:lnTo>
                    <a:pt x="5355" y="2452"/>
                  </a:lnTo>
                  <a:lnTo>
                    <a:pt x="5339" y="2474"/>
                  </a:lnTo>
                  <a:lnTo>
                    <a:pt x="5268" y="2490"/>
                  </a:lnTo>
                  <a:lnTo>
                    <a:pt x="5259" y="2485"/>
                  </a:lnTo>
                  <a:lnTo>
                    <a:pt x="5285" y="2469"/>
                  </a:lnTo>
                  <a:lnTo>
                    <a:pt x="5301" y="2448"/>
                  </a:lnTo>
                  <a:lnTo>
                    <a:pt x="5285" y="2469"/>
                  </a:lnTo>
                  <a:lnTo>
                    <a:pt x="5252" y="2474"/>
                  </a:lnTo>
                  <a:lnTo>
                    <a:pt x="5247" y="2457"/>
                  </a:lnTo>
                  <a:lnTo>
                    <a:pt x="5221" y="2457"/>
                  </a:lnTo>
                  <a:lnTo>
                    <a:pt x="5221" y="2448"/>
                  </a:lnTo>
                  <a:lnTo>
                    <a:pt x="5230" y="2436"/>
                  </a:lnTo>
                  <a:lnTo>
                    <a:pt x="5204" y="2448"/>
                  </a:lnTo>
                  <a:lnTo>
                    <a:pt x="5200" y="2419"/>
                  </a:lnTo>
                  <a:lnTo>
                    <a:pt x="5183" y="2412"/>
                  </a:lnTo>
                  <a:lnTo>
                    <a:pt x="5200" y="2419"/>
                  </a:lnTo>
                  <a:lnTo>
                    <a:pt x="5183" y="2429"/>
                  </a:lnTo>
                  <a:lnTo>
                    <a:pt x="5167" y="2419"/>
                  </a:lnTo>
                  <a:lnTo>
                    <a:pt x="5138" y="2419"/>
                  </a:lnTo>
                  <a:lnTo>
                    <a:pt x="5183" y="2436"/>
                  </a:lnTo>
                  <a:lnTo>
                    <a:pt x="5176" y="2448"/>
                  </a:lnTo>
                  <a:lnTo>
                    <a:pt x="5162" y="2436"/>
                  </a:lnTo>
                  <a:lnTo>
                    <a:pt x="5183" y="2452"/>
                  </a:lnTo>
                  <a:lnTo>
                    <a:pt x="5167" y="2452"/>
                  </a:lnTo>
                  <a:lnTo>
                    <a:pt x="5124" y="2429"/>
                  </a:lnTo>
                  <a:lnTo>
                    <a:pt x="5145" y="2457"/>
                  </a:lnTo>
                  <a:lnTo>
                    <a:pt x="5176" y="2485"/>
                  </a:lnTo>
                  <a:lnTo>
                    <a:pt x="5176" y="2490"/>
                  </a:lnTo>
                  <a:lnTo>
                    <a:pt x="5176" y="2502"/>
                  </a:lnTo>
                  <a:lnTo>
                    <a:pt x="5129" y="2502"/>
                  </a:lnTo>
                  <a:lnTo>
                    <a:pt x="5107" y="2469"/>
                  </a:lnTo>
                  <a:lnTo>
                    <a:pt x="5058" y="2469"/>
                  </a:lnTo>
                  <a:lnTo>
                    <a:pt x="5112" y="2485"/>
                  </a:lnTo>
                  <a:lnTo>
                    <a:pt x="5112" y="2490"/>
                  </a:lnTo>
                  <a:lnTo>
                    <a:pt x="5096" y="2485"/>
                  </a:lnTo>
                  <a:lnTo>
                    <a:pt x="5096" y="2502"/>
                  </a:lnTo>
                  <a:lnTo>
                    <a:pt x="5112" y="2502"/>
                  </a:lnTo>
                  <a:lnTo>
                    <a:pt x="5107" y="2514"/>
                  </a:lnTo>
                  <a:lnTo>
                    <a:pt x="5129" y="2514"/>
                  </a:lnTo>
                  <a:lnTo>
                    <a:pt x="5112" y="2540"/>
                  </a:lnTo>
                  <a:lnTo>
                    <a:pt x="5124" y="2540"/>
                  </a:lnTo>
                  <a:lnTo>
                    <a:pt x="5124" y="2547"/>
                  </a:lnTo>
                  <a:lnTo>
                    <a:pt x="5138" y="2530"/>
                  </a:lnTo>
                  <a:lnTo>
                    <a:pt x="5167" y="2530"/>
                  </a:lnTo>
                  <a:lnTo>
                    <a:pt x="5162" y="2547"/>
                  </a:lnTo>
                  <a:lnTo>
                    <a:pt x="5183" y="2556"/>
                  </a:lnTo>
                  <a:lnTo>
                    <a:pt x="5162" y="2563"/>
                  </a:lnTo>
                  <a:lnTo>
                    <a:pt x="5200" y="2580"/>
                  </a:lnTo>
                  <a:lnTo>
                    <a:pt x="5192" y="2596"/>
                  </a:lnTo>
                  <a:lnTo>
                    <a:pt x="5183" y="2601"/>
                  </a:lnTo>
                  <a:lnTo>
                    <a:pt x="5204" y="2585"/>
                  </a:lnTo>
                  <a:lnTo>
                    <a:pt x="5204" y="2601"/>
                  </a:lnTo>
                  <a:lnTo>
                    <a:pt x="5214" y="2634"/>
                  </a:lnTo>
                  <a:lnTo>
                    <a:pt x="5214" y="2601"/>
                  </a:lnTo>
                  <a:lnTo>
                    <a:pt x="5252" y="2618"/>
                  </a:lnTo>
                  <a:lnTo>
                    <a:pt x="5247" y="2641"/>
                  </a:lnTo>
                  <a:lnTo>
                    <a:pt x="5259" y="2625"/>
                  </a:lnTo>
                  <a:lnTo>
                    <a:pt x="5259" y="2641"/>
                  </a:lnTo>
                  <a:lnTo>
                    <a:pt x="5268" y="2641"/>
                  </a:lnTo>
                  <a:lnTo>
                    <a:pt x="5259" y="2618"/>
                  </a:lnTo>
                  <a:lnTo>
                    <a:pt x="5285" y="2625"/>
                  </a:lnTo>
                  <a:lnTo>
                    <a:pt x="5285" y="2641"/>
                  </a:lnTo>
                  <a:lnTo>
                    <a:pt x="5285" y="2634"/>
                  </a:lnTo>
                  <a:lnTo>
                    <a:pt x="5289" y="2641"/>
                  </a:lnTo>
                  <a:lnTo>
                    <a:pt x="5285" y="2667"/>
                  </a:lnTo>
                  <a:lnTo>
                    <a:pt x="5313" y="2658"/>
                  </a:lnTo>
                  <a:lnTo>
                    <a:pt x="5322" y="2674"/>
                  </a:lnTo>
                  <a:lnTo>
                    <a:pt x="5313" y="2691"/>
                  </a:lnTo>
                  <a:lnTo>
                    <a:pt x="5285" y="2691"/>
                  </a:lnTo>
                  <a:lnTo>
                    <a:pt x="5301" y="2691"/>
                  </a:lnTo>
                  <a:lnTo>
                    <a:pt x="5327" y="2712"/>
                  </a:lnTo>
                  <a:lnTo>
                    <a:pt x="5313" y="2724"/>
                  </a:lnTo>
                  <a:lnTo>
                    <a:pt x="5355" y="2724"/>
                  </a:lnTo>
                  <a:lnTo>
                    <a:pt x="5327" y="2745"/>
                  </a:lnTo>
                  <a:lnTo>
                    <a:pt x="5360" y="2762"/>
                  </a:lnTo>
                  <a:lnTo>
                    <a:pt x="5365" y="2802"/>
                  </a:lnTo>
                  <a:lnTo>
                    <a:pt x="5360" y="2802"/>
                  </a:lnTo>
                  <a:lnTo>
                    <a:pt x="5365" y="2802"/>
                  </a:lnTo>
                  <a:lnTo>
                    <a:pt x="5360" y="2807"/>
                  </a:lnTo>
                  <a:lnTo>
                    <a:pt x="5344" y="2802"/>
                  </a:lnTo>
                  <a:lnTo>
                    <a:pt x="5339" y="2762"/>
                  </a:lnTo>
                  <a:lnTo>
                    <a:pt x="5306" y="2745"/>
                  </a:lnTo>
                  <a:lnTo>
                    <a:pt x="5327" y="2762"/>
                  </a:lnTo>
                  <a:lnTo>
                    <a:pt x="5322" y="2778"/>
                  </a:lnTo>
                  <a:lnTo>
                    <a:pt x="5339" y="2807"/>
                  </a:lnTo>
                  <a:lnTo>
                    <a:pt x="5322" y="2802"/>
                  </a:lnTo>
                  <a:lnTo>
                    <a:pt x="5327" y="2818"/>
                  </a:lnTo>
                  <a:lnTo>
                    <a:pt x="5344" y="2823"/>
                  </a:lnTo>
                  <a:lnTo>
                    <a:pt x="5344" y="2840"/>
                  </a:lnTo>
                  <a:lnTo>
                    <a:pt x="5355" y="2847"/>
                  </a:lnTo>
                  <a:lnTo>
                    <a:pt x="5339" y="2847"/>
                  </a:lnTo>
                  <a:lnTo>
                    <a:pt x="5313" y="2840"/>
                  </a:lnTo>
                  <a:lnTo>
                    <a:pt x="5339" y="2873"/>
                  </a:lnTo>
                  <a:lnTo>
                    <a:pt x="5313" y="2889"/>
                  </a:lnTo>
                  <a:lnTo>
                    <a:pt x="5313" y="2873"/>
                  </a:lnTo>
                  <a:lnTo>
                    <a:pt x="5306" y="2873"/>
                  </a:lnTo>
                  <a:lnTo>
                    <a:pt x="5306" y="2856"/>
                  </a:lnTo>
                  <a:lnTo>
                    <a:pt x="5289" y="2856"/>
                  </a:lnTo>
                  <a:lnTo>
                    <a:pt x="5268" y="2847"/>
                  </a:lnTo>
                  <a:lnTo>
                    <a:pt x="5268" y="2835"/>
                  </a:lnTo>
                  <a:lnTo>
                    <a:pt x="5259" y="2840"/>
                  </a:lnTo>
                  <a:lnTo>
                    <a:pt x="5237" y="2823"/>
                  </a:lnTo>
                  <a:lnTo>
                    <a:pt x="5252" y="2840"/>
                  </a:lnTo>
                  <a:lnTo>
                    <a:pt x="5230" y="2835"/>
                  </a:lnTo>
                  <a:lnTo>
                    <a:pt x="5214" y="2790"/>
                  </a:lnTo>
                  <a:lnTo>
                    <a:pt x="5204" y="2802"/>
                  </a:lnTo>
                  <a:lnTo>
                    <a:pt x="5221" y="2818"/>
                  </a:lnTo>
                  <a:lnTo>
                    <a:pt x="5221" y="2840"/>
                  </a:lnTo>
                  <a:lnTo>
                    <a:pt x="5204" y="2823"/>
                  </a:lnTo>
                  <a:lnTo>
                    <a:pt x="5204" y="2807"/>
                  </a:lnTo>
                  <a:lnTo>
                    <a:pt x="5200" y="2818"/>
                  </a:lnTo>
                  <a:lnTo>
                    <a:pt x="5192" y="2807"/>
                  </a:lnTo>
                  <a:lnTo>
                    <a:pt x="5192" y="2790"/>
                  </a:lnTo>
                  <a:lnTo>
                    <a:pt x="5192" y="2802"/>
                  </a:lnTo>
                  <a:lnTo>
                    <a:pt x="5176" y="2807"/>
                  </a:lnTo>
                  <a:lnTo>
                    <a:pt x="5129" y="2752"/>
                  </a:lnTo>
                  <a:lnTo>
                    <a:pt x="5145" y="2790"/>
                  </a:lnTo>
                  <a:lnTo>
                    <a:pt x="5079" y="2752"/>
                  </a:lnTo>
                  <a:lnTo>
                    <a:pt x="5053" y="2752"/>
                  </a:lnTo>
                  <a:lnTo>
                    <a:pt x="5107" y="2818"/>
                  </a:lnTo>
                  <a:lnTo>
                    <a:pt x="5145" y="2823"/>
                  </a:lnTo>
                  <a:lnTo>
                    <a:pt x="5138" y="2835"/>
                  </a:lnTo>
                  <a:lnTo>
                    <a:pt x="5138" y="2840"/>
                  </a:lnTo>
                  <a:lnTo>
                    <a:pt x="5150" y="2835"/>
                  </a:lnTo>
                  <a:lnTo>
                    <a:pt x="5145" y="2847"/>
                  </a:lnTo>
                  <a:lnTo>
                    <a:pt x="5162" y="2840"/>
                  </a:lnTo>
                  <a:lnTo>
                    <a:pt x="5192" y="2873"/>
                  </a:lnTo>
                  <a:lnTo>
                    <a:pt x="5204" y="2873"/>
                  </a:lnTo>
                  <a:lnTo>
                    <a:pt x="5204" y="2880"/>
                  </a:lnTo>
                  <a:lnTo>
                    <a:pt x="5237" y="2896"/>
                  </a:lnTo>
                  <a:lnTo>
                    <a:pt x="5237" y="2901"/>
                  </a:lnTo>
                  <a:lnTo>
                    <a:pt x="5230" y="2913"/>
                  </a:lnTo>
                  <a:lnTo>
                    <a:pt x="5237" y="2918"/>
                  </a:lnTo>
                  <a:lnTo>
                    <a:pt x="5237" y="2913"/>
                  </a:lnTo>
                  <a:lnTo>
                    <a:pt x="5247" y="2913"/>
                  </a:lnTo>
                  <a:lnTo>
                    <a:pt x="5247" y="2918"/>
                  </a:lnTo>
                  <a:lnTo>
                    <a:pt x="5268" y="2929"/>
                  </a:lnTo>
                  <a:lnTo>
                    <a:pt x="5252" y="2934"/>
                  </a:lnTo>
                  <a:lnTo>
                    <a:pt x="5259" y="2955"/>
                  </a:lnTo>
                  <a:lnTo>
                    <a:pt x="5230" y="2955"/>
                  </a:lnTo>
                  <a:lnTo>
                    <a:pt x="5204" y="2946"/>
                  </a:lnTo>
                  <a:lnTo>
                    <a:pt x="5041" y="2901"/>
                  </a:lnTo>
                  <a:lnTo>
                    <a:pt x="5004" y="2873"/>
                  </a:lnTo>
                  <a:lnTo>
                    <a:pt x="5015" y="2863"/>
                  </a:lnTo>
                  <a:lnTo>
                    <a:pt x="4966" y="2863"/>
                  </a:lnTo>
                  <a:lnTo>
                    <a:pt x="4897" y="2840"/>
                  </a:lnTo>
                  <a:lnTo>
                    <a:pt x="4918" y="2823"/>
                  </a:lnTo>
                  <a:lnTo>
                    <a:pt x="4911" y="2818"/>
                  </a:lnTo>
                  <a:lnTo>
                    <a:pt x="4890" y="2835"/>
                  </a:lnTo>
                  <a:lnTo>
                    <a:pt x="4864" y="2818"/>
                  </a:lnTo>
                  <a:lnTo>
                    <a:pt x="4852" y="2790"/>
                  </a:lnTo>
                  <a:lnTo>
                    <a:pt x="4826" y="2785"/>
                  </a:lnTo>
                  <a:lnTo>
                    <a:pt x="4864" y="2785"/>
                  </a:lnTo>
                  <a:lnTo>
                    <a:pt x="4890" y="2769"/>
                  </a:lnTo>
                  <a:lnTo>
                    <a:pt x="4864" y="2769"/>
                  </a:lnTo>
                  <a:lnTo>
                    <a:pt x="4864" y="2752"/>
                  </a:lnTo>
                  <a:lnTo>
                    <a:pt x="4843" y="2745"/>
                  </a:lnTo>
                  <a:lnTo>
                    <a:pt x="4836" y="2752"/>
                  </a:lnTo>
                  <a:lnTo>
                    <a:pt x="4852" y="2752"/>
                  </a:lnTo>
                  <a:lnTo>
                    <a:pt x="4843" y="2762"/>
                  </a:lnTo>
                  <a:lnTo>
                    <a:pt x="4826" y="2752"/>
                  </a:lnTo>
                  <a:lnTo>
                    <a:pt x="4810" y="2762"/>
                  </a:lnTo>
                  <a:lnTo>
                    <a:pt x="4810" y="2752"/>
                  </a:lnTo>
                  <a:lnTo>
                    <a:pt x="4822" y="2736"/>
                  </a:lnTo>
                  <a:lnTo>
                    <a:pt x="4822" y="2729"/>
                  </a:lnTo>
                  <a:lnTo>
                    <a:pt x="4810" y="2745"/>
                  </a:lnTo>
                  <a:lnTo>
                    <a:pt x="4805" y="2745"/>
                  </a:lnTo>
                  <a:lnTo>
                    <a:pt x="4798" y="2736"/>
                  </a:lnTo>
                  <a:lnTo>
                    <a:pt x="4798" y="2724"/>
                  </a:lnTo>
                  <a:lnTo>
                    <a:pt x="4789" y="2712"/>
                  </a:lnTo>
                  <a:lnTo>
                    <a:pt x="4789" y="2729"/>
                  </a:lnTo>
                  <a:lnTo>
                    <a:pt x="4772" y="2712"/>
                  </a:lnTo>
                  <a:lnTo>
                    <a:pt x="4784" y="2712"/>
                  </a:lnTo>
                  <a:lnTo>
                    <a:pt x="4772" y="2707"/>
                  </a:lnTo>
                  <a:lnTo>
                    <a:pt x="4751" y="2691"/>
                  </a:lnTo>
                  <a:lnTo>
                    <a:pt x="4746" y="2691"/>
                  </a:lnTo>
                  <a:lnTo>
                    <a:pt x="4746" y="2674"/>
                  </a:lnTo>
                  <a:lnTo>
                    <a:pt x="4755" y="2658"/>
                  </a:lnTo>
                  <a:lnTo>
                    <a:pt x="4751" y="2641"/>
                  </a:lnTo>
                  <a:lnTo>
                    <a:pt x="4751" y="2658"/>
                  </a:lnTo>
                  <a:lnTo>
                    <a:pt x="4734" y="2667"/>
                  </a:lnTo>
                  <a:lnTo>
                    <a:pt x="4734" y="2651"/>
                  </a:lnTo>
                  <a:lnTo>
                    <a:pt x="4718" y="2651"/>
                  </a:lnTo>
                  <a:lnTo>
                    <a:pt x="4718" y="2658"/>
                  </a:lnTo>
                  <a:lnTo>
                    <a:pt x="4701" y="2651"/>
                  </a:lnTo>
                  <a:lnTo>
                    <a:pt x="4713" y="2667"/>
                  </a:lnTo>
                  <a:lnTo>
                    <a:pt x="4696" y="2679"/>
                  </a:lnTo>
                  <a:lnTo>
                    <a:pt x="4692" y="2658"/>
                  </a:lnTo>
                  <a:lnTo>
                    <a:pt x="4696" y="2658"/>
                  </a:lnTo>
                  <a:lnTo>
                    <a:pt x="4696" y="2634"/>
                  </a:lnTo>
                  <a:lnTo>
                    <a:pt x="4680" y="2658"/>
                  </a:lnTo>
                  <a:lnTo>
                    <a:pt x="4675" y="2658"/>
                  </a:lnTo>
                  <a:lnTo>
                    <a:pt x="4649" y="2634"/>
                  </a:lnTo>
                  <a:lnTo>
                    <a:pt x="4663" y="2625"/>
                  </a:lnTo>
                  <a:lnTo>
                    <a:pt x="4649" y="2618"/>
                  </a:lnTo>
                  <a:lnTo>
                    <a:pt x="4649" y="2634"/>
                  </a:lnTo>
                  <a:lnTo>
                    <a:pt x="4626" y="2625"/>
                  </a:lnTo>
                  <a:lnTo>
                    <a:pt x="4663" y="2658"/>
                  </a:lnTo>
                  <a:lnTo>
                    <a:pt x="4649" y="2679"/>
                  </a:lnTo>
                  <a:lnTo>
                    <a:pt x="4574" y="2651"/>
                  </a:lnTo>
                  <a:lnTo>
                    <a:pt x="4574" y="2658"/>
                  </a:lnTo>
                  <a:lnTo>
                    <a:pt x="4583" y="2667"/>
                  </a:lnTo>
                  <a:lnTo>
                    <a:pt x="4567" y="2667"/>
                  </a:lnTo>
                  <a:lnTo>
                    <a:pt x="4583" y="2679"/>
                  </a:lnTo>
                  <a:lnTo>
                    <a:pt x="4503" y="2691"/>
                  </a:lnTo>
                  <a:lnTo>
                    <a:pt x="4512" y="2696"/>
                  </a:lnTo>
                  <a:lnTo>
                    <a:pt x="4481" y="2691"/>
                  </a:lnTo>
                  <a:lnTo>
                    <a:pt x="4465" y="2696"/>
                  </a:lnTo>
                  <a:lnTo>
                    <a:pt x="4444" y="2674"/>
                  </a:lnTo>
                  <a:lnTo>
                    <a:pt x="4432" y="2679"/>
                  </a:lnTo>
                  <a:lnTo>
                    <a:pt x="4406" y="2658"/>
                  </a:lnTo>
                  <a:lnTo>
                    <a:pt x="4406" y="2634"/>
                  </a:lnTo>
                  <a:lnTo>
                    <a:pt x="4411" y="2625"/>
                  </a:lnTo>
                  <a:lnTo>
                    <a:pt x="4411" y="2613"/>
                  </a:lnTo>
                  <a:lnTo>
                    <a:pt x="4465" y="2585"/>
                  </a:lnTo>
                  <a:lnTo>
                    <a:pt x="4448" y="2568"/>
                  </a:lnTo>
                  <a:lnTo>
                    <a:pt x="4465" y="2563"/>
                  </a:lnTo>
                  <a:lnTo>
                    <a:pt x="4460" y="2556"/>
                  </a:lnTo>
                  <a:lnTo>
                    <a:pt x="4574" y="2580"/>
                  </a:lnTo>
                  <a:lnTo>
                    <a:pt x="4595" y="2601"/>
                  </a:lnTo>
                  <a:lnTo>
                    <a:pt x="4595" y="2613"/>
                  </a:lnTo>
                  <a:lnTo>
                    <a:pt x="4583" y="2613"/>
                  </a:lnTo>
                  <a:lnTo>
                    <a:pt x="4604" y="2641"/>
                  </a:lnTo>
                  <a:lnTo>
                    <a:pt x="4611" y="2634"/>
                  </a:lnTo>
                  <a:lnTo>
                    <a:pt x="4604" y="2618"/>
                  </a:lnTo>
                  <a:lnTo>
                    <a:pt x="4588" y="2618"/>
                  </a:lnTo>
                  <a:lnTo>
                    <a:pt x="4611" y="2613"/>
                  </a:lnTo>
                  <a:lnTo>
                    <a:pt x="4611" y="2596"/>
                  </a:lnTo>
                  <a:lnTo>
                    <a:pt x="4604" y="2601"/>
                  </a:lnTo>
                  <a:lnTo>
                    <a:pt x="4567" y="2568"/>
                  </a:lnTo>
                  <a:lnTo>
                    <a:pt x="4611" y="2580"/>
                  </a:lnTo>
                  <a:lnTo>
                    <a:pt x="4621" y="2568"/>
                  </a:lnTo>
                  <a:lnTo>
                    <a:pt x="4621" y="2563"/>
                  </a:lnTo>
                  <a:lnTo>
                    <a:pt x="4663" y="2568"/>
                  </a:lnTo>
                  <a:lnTo>
                    <a:pt x="4692" y="2547"/>
                  </a:lnTo>
                  <a:lnTo>
                    <a:pt x="4734" y="2547"/>
                  </a:lnTo>
                  <a:lnTo>
                    <a:pt x="4718" y="2514"/>
                  </a:lnTo>
                  <a:lnTo>
                    <a:pt x="4696" y="2502"/>
                  </a:lnTo>
                  <a:lnTo>
                    <a:pt x="4663" y="2469"/>
                  </a:lnTo>
                  <a:lnTo>
                    <a:pt x="4734" y="2419"/>
                  </a:lnTo>
                  <a:lnTo>
                    <a:pt x="4755" y="2403"/>
                  </a:lnTo>
                  <a:lnTo>
                    <a:pt x="4784" y="2363"/>
                  </a:lnTo>
                  <a:lnTo>
                    <a:pt x="4810" y="2358"/>
                  </a:lnTo>
                  <a:lnTo>
                    <a:pt x="4822" y="2341"/>
                  </a:lnTo>
                  <a:lnTo>
                    <a:pt x="4805" y="2292"/>
                  </a:lnTo>
                  <a:lnTo>
                    <a:pt x="4789" y="2285"/>
                  </a:lnTo>
                  <a:lnTo>
                    <a:pt x="4798" y="2268"/>
                  </a:lnTo>
                  <a:lnTo>
                    <a:pt x="4772" y="2252"/>
                  </a:lnTo>
                  <a:lnTo>
                    <a:pt x="4772" y="2247"/>
                  </a:lnTo>
                  <a:lnTo>
                    <a:pt x="4767" y="2226"/>
                  </a:lnTo>
                  <a:lnTo>
                    <a:pt x="4734" y="2214"/>
                  </a:lnTo>
                  <a:lnTo>
                    <a:pt x="4751" y="2197"/>
                  </a:lnTo>
                  <a:lnTo>
                    <a:pt x="4729" y="2214"/>
                  </a:lnTo>
                  <a:lnTo>
                    <a:pt x="4713" y="2209"/>
                  </a:lnTo>
                  <a:lnTo>
                    <a:pt x="4701" y="2181"/>
                  </a:lnTo>
                  <a:lnTo>
                    <a:pt x="4718" y="2181"/>
                  </a:lnTo>
                  <a:lnTo>
                    <a:pt x="4718" y="2157"/>
                  </a:lnTo>
                  <a:lnTo>
                    <a:pt x="4692" y="2157"/>
                  </a:lnTo>
                  <a:lnTo>
                    <a:pt x="4701" y="2176"/>
                  </a:lnTo>
                  <a:lnTo>
                    <a:pt x="4696" y="2181"/>
                  </a:lnTo>
                  <a:lnTo>
                    <a:pt x="4675" y="2176"/>
                  </a:lnTo>
                  <a:lnTo>
                    <a:pt x="4649" y="2152"/>
                  </a:lnTo>
                  <a:lnTo>
                    <a:pt x="4659" y="2140"/>
                  </a:lnTo>
                  <a:lnTo>
                    <a:pt x="4637" y="2140"/>
                  </a:lnTo>
                  <a:lnTo>
                    <a:pt x="4649" y="2124"/>
                  </a:lnTo>
                  <a:lnTo>
                    <a:pt x="4626" y="2124"/>
                  </a:lnTo>
                  <a:lnTo>
                    <a:pt x="4649" y="2119"/>
                  </a:lnTo>
                  <a:lnTo>
                    <a:pt x="4642" y="2115"/>
                  </a:lnTo>
                  <a:lnTo>
                    <a:pt x="4626" y="2119"/>
                  </a:lnTo>
                  <a:lnTo>
                    <a:pt x="4621" y="2136"/>
                  </a:lnTo>
                  <a:lnTo>
                    <a:pt x="4595" y="2119"/>
                  </a:lnTo>
                  <a:lnTo>
                    <a:pt x="4588" y="2136"/>
                  </a:lnTo>
                  <a:lnTo>
                    <a:pt x="4512" y="2157"/>
                  </a:lnTo>
                  <a:lnTo>
                    <a:pt x="4512" y="2152"/>
                  </a:lnTo>
                  <a:lnTo>
                    <a:pt x="4519" y="2136"/>
                  </a:lnTo>
                  <a:lnTo>
                    <a:pt x="4512" y="2124"/>
                  </a:lnTo>
                  <a:lnTo>
                    <a:pt x="4512" y="2119"/>
                  </a:lnTo>
                  <a:lnTo>
                    <a:pt x="4557" y="2119"/>
                  </a:lnTo>
                  <a:lnTo>
                    <a:pt x="4588" y="2115"/>
                  </a:lnTo>
                  <a:lnTo>
                    <a:pt x="4588" y="2098"/>
                  </a:lnTo>
                  <a:lnTo>
                    <a:pt x="4512" y="2048"/>
                  </a:lnTo>
                  <a:lnTo>
                    <a:pt x="4529" y="2041"/>
                  </a:lnTo>
                  <a:lnTo>
                    <a:pt x="4541" y="2029"/>
                  </a:lnTo>
                  <a:lnTo>
                    <a:pt x="4512" y="2029"/>
                  </a:lnTo>
                  <a:lnTo>
                    <a:pt x="4519" y="2041"/>
                  </a:lnTo>
                  <a:lnTo>
                    <a:pt x="4512" y="2048"/>
                  </a:lnTo>
                  <a:lnTo>
                    <a:pt x="4474" y="2041"/>
                  </a:lnTo>
                  <a:lnTo>
                    <a:pt x="4503" y="2029"/>
                  </a:lnTo>
                  <a:lnTo>
                    <a:pt x="4498" y="2013"/>
                  </a:lnTo>
                  <a:lnTo>
                    <a:pt x="4465" y="2013"/>
                  </a:lnTo>
                  <a:lnTo>
                    <a:pt x="4486" y="2003"/>
                  </a:lnTo>
                  <a:lnTo>
                    <a:pt x="4444" y="2025"/>
                  </a:lnTo>
                  <a:lnTo>
                    <a:pt x="4444" y="1970"/>
                  </a:lnTo>
                  <a:lnTo>
                    <a:pt x="4427" y="1959"/>
                  </a:lnTo>
                  <a:lnTo>
                    <a:pt x="4389" y="1970"/>
                  </a:lnTo>
                  <a:lnTo>
                    <a:pt x="4389" y="1954"/>
                  </a:lnTo>
                  <a:lnTo>
                    <a:pt x="4389" y="1947"/>
                  </a:lnTo>
                  <a:lnTo>
                    <a:pt x="4378" y="1954"/>
                  </a:lnTo>
                  <a:lnTo>
                    <a:pt x="4368" y="1937"/>
                  </a:lnTo>
                  <a:lnTo>
                    <a:pt x="4340" y="1930"/>
                  </a:lnTo>
                  <a:lnTo>
                    <a:pt x="4340" y="1921"/>
                  </a:lnTo>
                  <a:lnTo>
                    <a:pt x="4356" y="1914"/>
                  </a:lnTo>
                  <a:lnTo>
                    <a:pt x="4368" y="1921"/>
                  </a:lnTo>
                  <a:lnTo>
                    <a:pt x="4352" y="1904"/>
                  </a:lnTo>
                  <a:lnTo>
                    <a:pt x="4335" y="1914"/>
                  </a:lnTo>
                  <a:lnTo>
                    <a:pt x="4340" y="1914"/>
                  </a:lnTo>
                  <a:lnTo>
                    <a:pt x="4335" y="1937"/>
                  </a:lnTo>
                  <a:lnTo>
                    <a:pt x="4318" y="1930"/>
                  </a:lnTo>
                  <a:lnTo>
                    <a:pt x="4302" y="1947"/>
                  </a:lnTo>
                  <a:lnTo>
                    <a:pt x="4356" y="1954"/>
                  </a:lnTo>
                  <a:lnTo>
                    <a:pt x="4373" y="1992"/>
                  </a:lnTo>
                  <a:lnTo>
                    <a:pt x="4368" y="2008"/>
                  </a:lnTo>
                  <a:lnTo>
                    <a:pt x="4302" y="2008"/>
                  </a:lnTo>
                  <a:lnTo>
                    <a:pt x="4271" y="1992"/>
                  </a:lnTo>
                  <a:lnTo>
                    <a:pt x="4158" y="1975"/>
                  </a:lnTo>
                  <a:lnTo>
                    <a:pt x="4196" y="1992"/>
                  </a:lnTo>
                  <a:lnTo>
                    <a:pt x="4226" y="2025"/>
                  </a:lnTo>
                  <a:lnTo>
                    <a:pt x="4210" y="2029"/>
                  </a:lnTo>
                  <a:lnTo>
                    <a:pt x="4134" y="1975"/>
                  </a:lnTo>
                  <a:lnTo>
                    <a:pt x="4066" y="1954"/>
                  </a:lnTo>
                  <a:lnTo>
                    <a:pt x="4158" y="2003"/>
                  </a:lnTo>
                  <a:lnTo>
                    <a:pt x="4125" y="2025"/>
                  </a:lnTo>
                  <a:lnTo>
                    <a:pt x="4096" y="2008"/>
                  </a:lnTo>
                  <a:lnTo>
                    <a:pt x="4096" y="2008"/>
                  </a:lnTo>
                  <a:lnTo>
                    <a:pt x="4096" y="2008"/>
                  </a:lnTo>
                  <a:close/>
                  <a:moveTo>
                    <a:pt x="4226" y="1493"/>
                  </a:moveTo>
                  <a:lnTo>
                    <a:pt x="4318" y="1510"/>
                  </a:lnTo>
                  <a:lnTo>
                    <a:pt x="4406" y="1498"/>
                  </a:lnTo>
                  <a:lnTo>
                    <a:pt x="4460" y="1515"/>
                  </a:lnTo>
                  <a:lnTo>
                    <a:pt x="4474" y="1526"/>
                  </a:lnTo>
                  <a:lnTo>
                    <a:pt x="4486" y="1543"/>
                  </a:lnTo>
                  <a:lnTo>
                    <a:pt x="4512" y="1548"/>
                  </a:lnTo>
                  <a:lnTo>
                    <a:pt x="4519" y="1571"/>
                  </a:lnTo>
                  <a:lnTo>
                    <a:pt x="4536" y="1581"/>
                  </a:lnTo>
                  <a:lnTo>
                    <a:pt x="4536" y="1597"/>
                  </a:lnTo>
                  <a:lnTo>
                    <a:pt x="4557" y="1604"/>
                  </a:lnTo>
                  <a:lnTo>
                    <a:pt x="4519" y="1621"/>
                  </a:lnTo>
                  <a:lnTo>
                    <a:pt x="4406" y="1609"/>
                  </a:lnTo>
                  <a:lnTo>
                    <a:pt x="4314" y="1626"/>
                  </a:lnTo>
                  <a:lnTo>
                    <a:pt x="4281" y="1609"/>
                  </a:lnTo>
                  <a:lnTo>
                    <a:pt x="4264" y="1588"/>
                  </a:lnTo>
                  <a:lnTo>
                    <a:pt x="4264" y="1564"/>
                  </a:lnTo>
                  <a:lnTo>
                    <a:pt x="4217" y="1548"/>
                  </a:lnTo>
                  <a:lnTo>
                    <a:pt x="4217" y="1493"/>
                  </a:lnTo>
                  <a:lnTo>
                    <a:pt x="4226" y="1493"/>
                  </a:lnTo>
                  <a:lnTo>
                    <a:pt x="4226" y="1493"/>
                  </a:lnTo>
                  <a:lnTo>
                    <a:pt x="4226" y="1493"/>
                  </a:lnTo>
                  <a:close/>
                  <a:moveTo>
                    <a:pt x="2504" y="1604"/>
                  </a:moveTo>
                  <a:lnTo>
                    <a:pt x="2500" y="1604"/>
                  </a:lnTo>
                  <a:lnTo>
                    <a:pt x="2516" y="1609"/>
                  </a:lnTo>
                  <a:lnTo>
                    <a:pt x="2500" y="1609"/>
                  </a:lnTo>
                  <a:lnTo>
                    <a:pt x="2424" y="1543"/>
                  </a:lnTo>
                  <a:lnTo>
                    <a:pt x="2381" y="1526"/>
                  </a:lnTo>
                  <a:lnTo>
                    <a:pt x="2415" y="1493"/>
                  </a:lnTo>
                  <a:lnTo>
                    <a:pt x="2490" y="1486"/>
                  </a:lnTo>
                  <a:lnTo>
                    <a:pt x="2516" y="1486"/>
                  </a:lnTo>
                  <a:lnTo>
                    <a:pt x="2559" y="1515"/>
                  </a:lnTo>
                  <a:lnTo>
                    <a:pt x="2554" y="1548"/>
                  </a:lnTo>
                  <a:lnTo>
                    <a:pt x="2504" y="1604"/>
                  </a:lnTo>
                  <a:lnTo>
                    <a:pt x="2504" y="1604"/>
                  </a:lnTo>
                  <a:lnTo>
                    <a:pt x="2504" y="1604"/>
                  </a:lnTo>
                  <a:close/>
                  <a:moveTo>
                    <a:pt x="1151" y="1493"/>
                  </a:moveTo>
                  <a:lnTo>
                    <a:pt x="1156" y="1498"/>
                  </a:lnTo>
                  <a:lnTo>
                    <a:pt x="1139" y="1493"/>
                  </a:lnTo>
                  <a:lnTo>
                    <a:pt x="1151" y="1493"/>
                  </a:lnTo>
                  <a:lnTo>
                    <a:pt x="1151" y="1493"/>
                  </a:lnTo>
                  <a:lnTo>
                    <a:pt x="1151" y="1493"/>
                  </a:lnTo>
                  <a:close/>
                  <a:moveTo>
                    <a:pt x="1172" y="1510"/>
                  </a:moveTo>
                  <a:lnTo>
                    <a:pt x="1189" y="1515"/>
                  </a:lnTo>
                  <a:lnTo>
                    <a:pt x="1172" y="1515"/>
                  </a:lnTo>
                  <a:lnTo>
                    <a:pt x="1172" y="1510"/>
                  </a:lnTo>
                  <a:lnTo>
                    <a:pt x="1172" y="1510"/>
                  </a:lnTo>
                  <a:lnTo>
                    <a:pt x="1172" y="1510"/>
                  </a:lnTo>
                  <a:close/>
                  <a:moveTo>
                    <a:pt x="2339" y="1515"/>
                  </a:moveTo>
                  <a:lnTo>
                    <a:pt x="2306" y="1510"/>
                  </a:lnTo>
                  <a:lnTo>
                    <a:pt x="2344" y="1510"/>
                  </a:lnTo>
                  <a:lnTo>
                    <a:pt x="2339" y="1515"/>
                  </a:lnTo>
                  <a:lnTo>
                    <a:pt x="2339" y="1515"/>
                  </a:lnTo>
                  <a:lnTo>
                    <a:pt x="2339" y="1515"/>
                  </a:lnTo>
                  <a:close/>
                  <a:moveTo>
                    <a:pt x="2814" y="2025"/>
                  </a:moveTo>
                  <a:lnTo>
                    <a:pt x="2807" y="2041"/>
                  </a:lnTo>
                  <a:lnTo>
                    <a:pt x="2785" y="2029"/>
                  </a:lnTo>
                  <a:lnTo>
                    <a:pt x="2776" y="2013"/>
                  </a:lnTo>
                  <a:lnTo>
                    <a:pt x="2776" y="2008"/>
                  </a:lnTo>
                  <a:lnTo>
                    <a:pt x="2759" y="2029"/>
                  </a:lnTo>
                  <a:lnTo>
                    <a:pt x="2722" y="2003"/>
                  </a:lnTo>
                  <a:lnTo>
                    <a:pt x="2700" y="2025"/>
                  </a:lnTo>
                  <a:lnTo>
                    <a:pt x="2693" y="2025"/>
                  </a:lnTo>
                  <a:lnTo>
                    <a:pt x="2700" y="2029"/>
                  </a:lnTo>
                  <a:lnTo>
                    <a:pt x="2700" y="2048"/>
                  </a:lnTo>
                  <a:lnTo>
                    <a:pt x="2693" y="2048"/>
                  </a:lnTo>
                  <a:lnTo>
                    <a:pt x="2630" y="2029"/>
                  </a:lnTo>
                  <a:lnTo>
                    <a:pt x="2630" y="2041"/>
                  </a:lnTo>
                  <a:lnTo>
                    <a:pt x="2663" y="2058"/>
                  </a:lnTo>
                  <a:lnTo>
                    <a:pt x="2663" y="2086"/>
                  </a:lnTo>
                  <a:lnTo>
                    <a:pt x="2651" y="2098"/>
                  </a:lnTo>
                  <a:lnTo>
                    <a:pt x="2651" y="2103"/>
                  </a:lnTo>
                  <a:lnTo>
                    <a:pt x="2679" y="2070"/>
                  </a:lnTo>
                  <a:lnTo>
                    <a:pt x="2717" y="2058"/>
                  </a:lnTo>
                  <a:lnTo>
                    <a:pt x="2738" y="2065"/>
                  </a:lnTo>
                  <a:lnTo>
                    <a:pt x="2722" y="2086"/>
                  </a:lnTo>
                  <a:lnTo>
                    <a:pt x="2731" y="2098"/>
                  </a:lnTo>
                  <a:lnTo>
                    <a:pt x="2738" y="2086"/>
                  </a:lnTo>
                  <a:lnTo>
                    <a:pt x="2755" y="2098"/>
                  </a:lnTo>
                  <a:lnTo>
                    <a:pt x="2748" y="2119"/>
                  </a:lnTo>
                  <a:lnTo>
                    <a:pt x="2679" y="2140"/>
                  </a:lnTo>
                  <a:lnTo>
                    <a:pt x="2651" y="2140"/>
                  </a:lnTo>
                  <a:lnTo>
                    <a:pt x="2641" y="2152"/>
                  </a:lnTo>
                  <a:lnTo>
                    <a:pt x="2559" y="2124"/>
                  </a:lnTo>
                  <a:lnTo>
                    <a:pt x="2554" y="2136"/>
                  </a:lnTo>
                  <a:lnTo>
                    <a:pt x="2516" y="2136"/>
                  </a:lnTo>
                  <a:lnTo>
                    <a:pt x="2504" y="2124"/>
                  </a:lnTo>
                  <a:lnTo>
                    <a:pt x="2533" y="2115"/>
                  </a:lnTo>
                  <a:lnTo>
                    <a:pt x="2431" y="2098"/>
                  </a:lnTo>
                  <a:lnTo>
                    <a:pt x="2436" y="2081"/>
                  </a:lnTo>
                  <a:lnTo>
                    <a:pt x="2431" y="2070"/>
                  </a:lnTo>
                  <a:lnTo>
                    <a:pt x="2415" y="2058"/>
                  </a:lnTo>
                  <a:lnTo>
                    <a:pt x="2381" y="2081"/>
                  </a:lnTo>
                  <a:lnTo>
                    <a:pt x="2393" y="2098"/>
                  </a:lnTo>
                  <a:lnTo>
                    <a:pt x="2360" y="2119"/>
                  </a:lnTo>
                  <a:lnTo>
                    <a:pt x="2273" y="2124"/>
                  </a:lnTo>
                  <a:lnTo>
                    <a:pt x="2273" y="2136"/>
                  </a:lnTo>
                  <a:lnTo>
                    <a:pt x="2235" y="2157"/>
                  </a:lnTo>
                  <a:lnTo>
                    <a:pt x="2155" y="2176"/>
                  </a:lnTo>
                  <a:lnTo>
                    <a:pt x="2074" y="2176"/>
                  </a:lnTo>
                  <a:lnTo>
                    <a:pt x="2091" y="2181"/>
                  </a:lnTo>
                  <a:lnTo>
                    <a:pt x="1944" y="2192"/>
                  </a:lnTo>
                  <a:lnTo>
                    <a:pt x="1961" y="2181"/>
                  </a:lnTo>
                  <a:lnTo>
                    <a:pt x="1933" y="2176"/>
                  </a:lnTo>
                  <a:lnTo>
                    <a:pt x="1923" y="2140"/>
                  </a:lnTo>
                  <a:lnTo>
                    <a:pt x="1928" y="2115"/>
                  </a:lnTo>
                  <a:lnTo>
                    <a:pt x="1911" y="2098"/>
                  </a:lnTo>
                  <a:lnTo>
                    <a:pt x="1928" y="2098"/>
                  </a:lnTo>
                  <a:lnTo>
                    <a:pt x="1874" y="2086"/>
                  </a:lnTo>
                  <a:lnTo>
                    <a:pt x="1760" y="2081"/>
                  </a:lnTo>
                  <a:lnTo>
                    <a:pt x="1718" y="2070"/>
                  </a:lnTo>
                  <a:lnTo>
                    <a:pt x="1713" y="2065"/>
                  </a:lnTo>
                  <a:lnTo>
                    <a:pt x="1713" y="2048"/>
                  </a:lnTo>
                  <a:lnTo>
                    <a:pt x="1692" y="2048"/>
                  </a:lnTo>
                  <a:lnTo>
                    <a:pt x="1696" y="2041"/>
                  </a:lnTo>
                  <a:lnTo>
                    <a:pt x="1663" y="2025"/>
                  </a:lnTo>
                  <a:lnTo>
                    <a:pt x="1654" y="1992"/>
                  </a:lnTo>
                  <a:lnTo>
                    <a:pt x="1680" y="1975"/>
                  </a:lnTo>
                  <a:lnTo>
                    <a:pt x="1815" y="1959"/>
                  </a:lnTo>
                  <a:lnTo>
                    <a:pt x="1874" y="1954"/>
                  </a:lnTo>
                  <a:lnTo>
                    <a:pt x="1999" y="1970"/>
                  </a:lnTo>
                  <a:lnTo>
                    <a:pt x="2030" y="1959"/>
                  </a:lnTo>
                  <a:lnTo>
                    <a:pt x="2015" y="1954"/>
                  </a:lnTo>
                  <a:lnTo>
                    <a:pt x="2074" y="1954"/>
                  </a:lnTo>
                  <a:lnTo>
                    <a:pt x="2067" y="1954"/>
                  </a:lnTo>
                  <a:lnTo>
                    <a:pt x="2037" y="1947"/>
                  </a:lnTo>
                  <a:lnTo>
                    <a:pt x="2020" y="1930"/>
                  </a:lnTo>
                  <a:lnTo>
                    <a:pt x="1895" y="1897"/>
                  </a:lnTo>
                  <a:lnTo>
                    <a:pt x="1815" y="1914"/>
                  </a:lnTo>
                  <a:lnTo>
                    <a:pt x="1642" y="1914"/>
                  </a:lnTo>
                  <a:lnTo>
                    <a:pt x="1583" y="1864"/>
                  </a:lnTo>
                  <a:lnTo>
                    <a:pt x="1626" y="1843"/>
                  </a:lnTo>
                  <a:lnTo>
                    <a:pt x="1772" y="1810"/>
                  </a:lnTo>
                  <a:lnTo>
                    <a:pt x="1751" y="1803"/>
                  </a:lnTo>
                  <a:lnTo>
                    <a:pt x="1765" y="1803"/>
                  </a:lnTo>
                  <a:lnTo>
                    <a:pt x="1798" y="1803"/>
                  </a:lnTo>
                  <a:lnTo>
                    <a:pt x="1819" y="1793"/>
                  </a:lnTo>
                  <a:lnTo>
                    <a:pt x="1772" y="1786"/>
                  </a:lnTo>
                  <a:lnTo>
                    <a:pt x="1659" y="1810"/>
                  </a:lnTo>
                  <a:lnTo>
                    <a:pt x="1659" y="1803"/>
                  </a:lnTo>
                  <a:lnTo>
                    <a:pt x="1642" y="1793"/>
                  </a:lnTo>
                  <a:lnTo>
                    <a:pt x="1642" y="1803"/>
                  </a:lnTo>
                  <a:lnTo>
                    <a:pt x="1654" y="1803"/>
                  </a:lnTo>
                  <a:lnTo>
                    <a:pt x="1642" y="1810"/>
                  </a:lnTo>
                  <a:lnTo>
                    <a:pt x="1604" y="1810"/>
                  </a:lnTo>
                  <a:lnTo>
                    <a:pt x="1588" y="1803"/>
                  </a:lnTo>
                  <a:lnTo>
                    <a:pt x="1637" y="1786"/>
                  </a:lnTo>
                  <a:lnTo>
                    <a:pt x="1621" y="1781"/>
                  </a:lnTo>
                  <a:lnTo>
                    <a:pt x="1637" y="1770"/>
                  </a:lnTo>
                  <a:lnTo>
                    <a:pt x="1588" y="1786"/>
                  </a:lnTo>
                  <a:lnTo>
                    <a:pt x="1555" y="1770"/>
                  </a:lnTo>
                  <a:lnTo>
                    <a:pt x="1550" y="1786"/>
                  </a:lnTo>
                  <a:lnTo>
                    <a:pt x="1533" y="1781"/>
                  </a:lnTo>
                  <a:lnTo>
                    <a:pt x="1533" y="1765"/>
                  </a:lnTo>
                  <a:lnTo>
                    <a:pt x="1533" y="1737"/>
                  </a:lnTo>
                  <a:lnTo>
                    <a:pt x="1567" y="1715"/>
                  </a:lnTo>
                  <a:lnTo>
                    <a:pt x="1604" y="1699"/>
                  </a:lnTo>
                  <a:lnTo>
                    <a:pt x="1604" y="1682"/>
                  </a:lnTo>
                  <a:lnTo>
                    <a:pt x="1571" y="1675"/>
                  </a:lnTo>
                  <a:lnTo>
                    <a:pt x="1571" y="1659"/>
                  </a:lnTo>
                  <a:lnTo>
                    <a:pt x="1659" y="1604"/>
                  </a:lnTo>
                  <a:lnTo>
                    <a:pt x="1852" y="1543"/>
                  </a:lnTo>
                  <a:lnTo>
                    <a:pt x="1878" y="1548"/>
                  </a:lnTo>
                  <a:lnTo>
                    <a:pt x="1895" y="1571"/>
                  </a:lnTo>
                  <a:lnTo>
                    <a:pt x="1890" y="1609"/>
                  </a:lnTo>
                  <a:lnTo>
                    <a:pt x="1895" y="1621"/>
                  </a:lnTo>
                  <a:lnTo>
                    <a:pt x="1869" y="1626"/>
                  </a:lnTo>
                  <a:lnTo>
                    <a:pt x="1869" y="1642"/>
                  </a:lnTo>
                  <a:lnTo>
                    <a:pt x="1852" y="1654"/>
                  </a:lnTo>
                  <a:lnTo>
                    <a:pt x="1857" y="1654"/>
                  </a:lnTo>
                  <a:lnTo>
                    <a:pt x="1928" y="1637"/>
                  </a:lnTo>
                  <a:lnTo>
                    <a:pt x="1933" y="1626"/>
                  </a:lnTo>
                  <a:lnTo>
                    <a:pt x="1923" y="1621"/>
                  </a:lnTo>
                  <a:lnTo>
                    <a:pt x="1961" y="1597"/>
                  </a:lnTo>
                  <a:lnTo>
                    <a:pt x="2091" y="1637"/>
                  </a:lnTo>
                  <a:lnTo>
                    <a:pt x="2084" y="1654"/>
                  </a:lnTo>
                  <a:lnTo>
                    <a:pt x="2046" y="1682"/>
                  </a:lnTo>
                  <a:lnTo>
                    <a:pt x="2058" y="1692"/>
                  </a:lnTo>
                  <a:lnTo>
                    <a:pt x="2074" y="1682"/>
                  </a:lnTo>
                  <a:lnTo>
                    <a:pt x="2058" y="1682"/>
                  </a:lnTo>
                  <a:lnTo>
                    <a:pt x="2084" y="1666"/>
                  </a:lnTo>
                  <a:lnTo>
                    <a:pt x="2091" y="1666"/>
                  </a:lnTo>
                  <a:lnTo>
                    <a:pt x="2084" y="1682"/>
                  </a:lnTo>
                  <a:lnTo>
                    <a:pt x="2100" y="1682"/>
                  </a:lnTo>
                  <a:lnTo>
                    <a:pt x="2105" y="1666"/>
                  </a:lnTo>
                  <a:lnTo>
                    <a:pt x="2129" y="1654"/>
                  </a:lnTo>
                  <a:lnTo>
                    <a:pt x="2155" y="1666"/>
                  </a:lnTo>
                  <a:lnTo>
                    <a:pt x="2138" y="1659"/>
                  </a:lnTo>
                  <a:lnTo>
                    <a:pt x="2155" y="1654"/>
                  </a:lnTo>
                  <a:lnTo>
                    <a:pt x="2193" y="1666"/>
                  </a:lnTo>
                  <a:lnTo>
                    <a:pt x="2159" y="1654"/>
                  </a:lnTo>
                  <a:lnTo>
                    <a:pt x="2193" y="1659"/>
                  </a:lnTo>
                  <a:lnTo>
                    <a:pt x="2176" y="1642"/>
                  </a:lnTo>
                  <a:lnTo>
                    <a:pt x="2155" y="1637"/>
                  </a:lnTo>
                  <a:lnTo>
                    <a:pt x="2193" y="1626"/>
                  </a:lnTo>
                  <a:lnTo>
                    <a:pt x="2138" y="1609"/>
                  </a:lnTo>
                  <a:lnTo>
                    <a:pt x="2122" y="1597"/>
                  </a:lnTo>
                  <a:lnTo>
                    <a:pt x="2143" y="1588"/>
                  </a:lnTo>
                  <a:lnTo>
                    <a:pt x="2197" y="1604"/>
                  </a:lnTo>
                  <a:lnTo>
                    <a:pt x="2193" y="1609"/>
                  </a:lnTo>
                  <a:lnTo>
                    <a:pt x="2230" y="1626"/>
                  </a:lnTo>
                  <a:lnTo>
                    <a:pt x="2247" y="1637"/>
                  </a:lnTo>
                  <a:lnTo>
                    <a:pt x="2247" y="1654"/>
                  </a:lnTo>
                  <a:lnTo>
                    <a:pt x="2273" y="1654"/>
                  </a:lnTo>
                  <a:lnTo>
                    <a:pt x="2268" y="1682"/>
                  </a:lnTo>
                  <a:lnTo>
                    <a:pt x="2285" y="1708"/>
                  </a:lnTo>
                  <a:lnTo>
                    <a:pt x="2289" y="1725"/>
                  </a:lnTo>
                  <a:lnTo>
                    <a:pt x="2301" y="1737"/>
                  </a:lnTo>
                  <a:lnTo>
                    <a:pt x="2301" y="1748"/>
                  </a:lnTo>
                  <a:lnTo>
                    <a:pt x="2301" y="1770"/>
                  </a:lnTo>
                  <a:lnTo>
                    <a:pt x="2327" y="1781"/>
                  </a:lnTo>
                  <a:lnTo>
                    <a:pt x="2327" y="1770"/>
                  </a:lnTo>
                  <a:lnTo>
                    <a:pt x="2370" y="1748"/>
                  </a:lnTo>
                  <a:lnTo>
                    <a:pt x="2327" y="1708"/>
                  </a:lnTo>
                  <a:lnTo>
                    <a:pt x="2322" y="1654"/>
                  </a:lnTo>
                  <a:lnTo>
                    <a:pt x="2318" y="1642"/>
                  </a:lnTo>
                  <a:lnTo>
                    <a:pt x="2289" y="1571"/>
                  </a:lnTo>
                  <a:lnTo>
                    <a:pt x="2322" y="1564"/>
                  </a:lnTo>
                  <a:lnTo>
                    <a:pt x="2306" y="1555"/>
                  </a:lnTo>
                  <a:lnTo>
                    <a:pt x="2318" y="1548"/>
                  </a:lnTo>
                  <a:lnTo>
                    <a:pt x="2381" y="1571"/>
                  </a:lnTo>
                  <a:lnTo>
                    <a:pt x="2381" y="1564"/>
                  </a:lnTo>
                  <a:lnTo>
                    <a:pt x="2377" y="1555"/>
                  </a:lnTo>
                  <a:lnTo>
                    <a:pt x="2398" y="1548"/>
                  </a:lnTo>
                  <a:lnTo>
                    <a:pt x="2436" y="1581"/>
                  </a:lnTo>
                  <a:lnTo>
                    <a:pt x="2469" y="1588"/>
                  </a:lnTo>
                  <a:lnTo>
                    <a:pt x="2500" y="1626"/>
                  </a:lnTo>
                  <a:lnTo>
                    <a:pt x="2490" y="1626"/>
                  </a:lnTo>
                  <a:lnTo>
                    <a:pt x="2516" y="1666"/>
                  </a:lnTo>
                  <a:lnTo>
                    <a:pt x="2504" y="1666"/>
                  </a:lnTo>
                  <a:lnTo>
                    <a:pt x="2533" y="1708"/>
                  </a:lnTo>
                  <a:lnTo>
                    <a:pt x="2521" y="1725"/>
                  </a:lnTo>
                  <a:lnTo>
                    <a:pt x="2570" y="1786"/>
                  </a:lnTo>
                  <a:lnTo>
                    <a:pt x="2570" y="1793"/>
                  </a:lnTo>
                  <a:lnTo>
                    <a:pt x="2570" y="1810"/>
                  </a:lnTo>
                  <a:lnTo>
                    <a:pt x="2559" y="1819"/>
                  </a:lnTo>
                  <a:lnTo>
                    <a:pt x="2570" y="1836"/>
                  </a:lnTo>
                  <a:lnTo>
                    <a:pt x="2554" y="1848"/>
                  </a:lnTo>
                  <a:lnTo>
                    <a:pt x="2630" y="1914"/>
                  </a:lnTo>
                  <a:lnTo>
                    <a:pt x="2667" y="1930"/>
                  </a:lnTo>
                  <a:lnTo>
                    <a:pt x="2651" y="1921"/>
                  </a:lnTo>
                  <a:lnTo>
                    <a:pt x="2651" y="1904"/>
                  </a:lnTo>
                  <a:lnTo>
                    <a:pt x="2663" y="1904"/>
                  </a:lnTo>
                  <a:lnTo>
                    <a:pt x="2684" y="1930"/>
                  </a:lnTo>
                  <a:lnTo>
                    <a:pt x="2738" y="1959"/>
                  </a:lnTo>
                  <a:lnTo>
                    <a:pt x="2759" y="1959"/>
                  </a:lnTo>
                  <a:lnTo>
                    <a:pt x="2759" y="1970"/>
                  </a:lnTo>
                  <a:lnTo>
                    <a:pt x="2769" y="1975"/>
                  </a:lnTo>
                  <a:lnTo>
                    <a:pt x="2807" y="1970"/>
                  </a:lnTo>
                  <a:lnTo>
                    <a:pt x="2814" y="2025"/>
                  </a:lnTo>
                  <a:lnTo>
                    <a:pt x="2814" y="2025"/>
                  </a:lnTo>
                  <a:lnTo>
                    <a:pt x="2814" y="2025"/>
                  </a:lnTo>
                  <a:close/>
                  <a:moveTo>
                    <a:pt x="3083" y="1555"/>
                  </a:moveTo>
                  <a:lnTo>
                    <a:pt x="3095" y="1564"/>
                  </a:lnTo>
                  <a:lnTo>
                    <a:pt x="3078" y="1555"/>
                  </a:lnTo>
                  <a:lnTo>
                    <a:pt x="3083" y="1555"/>
                  </a:lnTo>
                  <a:lnTo>
                    <a:pt x="3083" y="1555"/>
                  </a:lnTo>
                  <a:lnTo>
                    <a:pt x="3083" y="1555"/>
                  </a:lnTo>
                  <a:close/>
                  <a:moveTo>
                    <a:pt x="3100" y="1564"/>
                  </a:moveTo>
                  <a:lnTo>
                    <a:pt x="3116" y="1581"/>
                  </a:lnTo>
                  <a:lnTo>
                    <a:pt x="3109" y="1597"/>
                  </a:lnTo>
                  <a:lnTo>
                    <a:pt x="3095" y="1604"/>
                  </a:lnTo>
                  <a:lnTo>
                    <a:pt x="3078" y="1588"/>
                  </a:lnTo>
                  <a:lnTo>
                    <a:pt x="3083" y="1571"/>
                  </a:lnTo>
                  <a:lnTo>
                    <a:pt x="3100" y="1564"/>
                  </a:lnTo>
                  <a:lnTo>
                    <a:pt x="3100" y="1564"/>
                  </a:lnTo>
                  <a:lnTo>
                    <a:pt x="3100" y="1564"/>
                  </a:lnTo>
                  <a:close/>
                  <a:moveTo>
                    <a:pt x="3180" y="1571"/>
                  </a:moveTo>
                  <a:lnTo>
                    <a:pt x="3180" y="1588"/>
                  </a:lnTo>
                  <a:lnTo>
                    <a:pt x="3163" y="1581"/>
                  </a:lnTo>
                  <a:lnTo>
                    <a:pt x="3180" y="1571"/>
                  </a:lnTo>
                  <a:lnTo>
                    <a:pt x="3180" y="1571"/>
                  </a:lnTo>
                  <a:lnTo>
                    <a:pt x="3180" y="1571"/>
                  </a:lnTo>
                  <a:close/>
                  <a:moveTo>
                    <a:pt x="3170" y="1597"/>
                  </a:moveTo>
                  <a:lnTo>
                    <a:pt x="3180" y="1604"/>
                  </a:lnTo>
                  <a:lnTo>
                    <a:pt x="3170" y="1604"/>
                  </a:lnTo>
                  <a:lnTo>
                    <a:pt x="3170" y="1597"/>
                  </a:lnTo>
                  <a:lnTo>
                    <a:pt x="3170" y="1597"/>
                  </a:lnTo>
                  <a:lnTo>
                    <a:pt x="3170" y="1597"/>
                  </a:lnTo>
                  <a:close/>
                  <a:moveTo>
                    <a:pt x="3109" y="1609"/>
                  </a:moveTo>
                  <a:lnTo>
                    <a:pt x="3109" y="1621"/>
                  </a:lnTo>
                  <a:lnTo>
                    <a:pt x="3109" y="1626"/>
                  </a:lnTo>
                  <a:lnTo>
                    <a:pt x="3083" y="1626"/>
                  </a:lnTo>
                  <a:lnTo>
                    <a:pt x="3109" y="1609"/>
                  </a:lnTo>
                  <a:lnTo>
                    <a:pt x="3109" y="1609"/>
                  </a:lnTo>
                  <a:lnTo>
                    <a:pt x="3109" y="1609"/>
                  </a:lnTo>
                  <a:close/>
                  <a:moveTo>
                    <a:pt x="3170" y="1609"/>
                  </a:moveTo>
                  <a:lnTo>
                    <a:pt x="3180" y="1621"/>
                  </a:lnTo>
                  <a:lnTo>
                    <a:pt x="3170" y="1609"/>
                  </a:lnTo>
                  <a:lnTo>
                    <a:pt x="3170" y="1609"/>
                  </a:lnTo>
                  <a:lnTo>
                    <a:pt x="3170" y="1609"/>
                  </a:lnTo>
                  <a:close/>
                  <a:moveTo>
                    <a:pt x="2219" y="1621"/>
                  </a:moveTo>
                  <a:lnTo>
                    <a:pt x="2230" y="1621"/>
                  </a:lnTo>
                  <a:lnTo>
                    <a:pt x="2214" y="1621"/>
                  </a:lnTo>
                  <a:lnTo>
                    <a:pt x="2219" y="1621"/>
                  </a:lnTo>
                  <a:lnTo>
                    <a:pt x="2219" y="1621"/>
                  </a:lnTo>
                  <a:lnTo>
                    <a:pt x="2219" y="1621"/>
                  </a:lnTo>
                  <a:close/>
                  <a:moveTo>
                    <a:pt x="2143" y="1642"/>
                  </a:moveTo>
                  <a:lnTo>
                    <a:pt x="2155" y="1642"/>
                  </a:lnTo>
                  <a:lnTo>
                    <a:pt x="2143" y="1642"/>
                  </a:lnTo>
                  <a:lnTo>
                    <a:pt x="2143" y="1642"/>
                  </a:lnTo>
                  <a:lnTo>
                    <a:pt x="2143" y="1642"/>
                  </a:lnTo>
                  <a:close/>
                  <a:moveTo>
                    <a:pt x="4271" y="1659"/>
                  </a:moveTo>
                  <a:lnTo>
                    <a:pt x="4281" y="1666"/>
                  </a:lnTo>
                  <a:lnTo>
                    <a:pt x="4281" y="1675"/>
                  </a:lnTo>
                  <a:lnTo>
                    <a:pt x="4271" y="1659"/>
                  </a:lnTo>
                  <a:lnTo>
                    <a:pt x="4271" y="1659"/>
                  </a:lnTo>
                  <a:lnTo>
                    <a:pt x="4271" y="1659"/>
                  </a:lnTo>
                  <a:close/>
                  <a:moveTo>
                    <a:pt x="4314" y="1666"/>
                  </a:moveTo>
                  <a:lnTo>
                    <a:pt x="4318" y="1682"/>
                  </a:lnTo>
                  <a:lnTo>
                    <a:pt x="4302" y="1666"/>
                  </a:lnTo>
                  <a:lnTo>
                    <a:pt x="4314" y="1666"/>
                  </a:lnTo>
                  <a:lnTo>
                    <a:pt x="4314" y="1666"/>
                  </a:lnTo>
                  <a:lnTo>
                    <a:pt x="4314" y="1666"/>
                  </a:lnTo>
                  <a:close/>
                  <a:moveTo>
                    <a:pt x="4352" y="1666"/>
                  </a:moveTo>
                  <a:lnTo>
                    <a:pt x="4368" y="1682"/>
                  </a:lnTo>
                  <a:lnTo>
                    <a:pt x="4352" y="1682"/>
                  </a:lnTo>
                  <a:lnTo>
                    <a:pt x="4340" y="1675"/>
                  </a:lnTo>
                  <a:lnTo>
                    <a:pt x="4352" y="1666"/>
                  </a:lnTo>
                  <a:lnTo>
                    <a:pt x="4352" y="1666"/>
                  </a:lnTo>
                  <a:lnTo>
                    <a:pt x="4352" y="1666"/>
                  </a:lnTo>
                  <a:close/>
                  <a:moveTo>
                    <a:pt x="2306" y="1725"/>
                  </a:moveTo>
                  <a:lnTo>
                    <a:pt x="2318" y="1732"/>
                  </a:lnTo>
                  <a:lnTo>
                    <a:pt x="2301" y="1732"/>
                  </a:lnTo>
                  <a:lnTo>
                    <a:pt x="2306" y="1725"/>
                  </a:lnTo>
                  <a:lnTo>
                    <a:pt x="2306" y="1725"/>
                  </a:lnTo>
                  <a:lnTo>
                    <a:pt x="2306" y="1725"/>
                  </a:lnTo>
                  <a:close/>
                  <a:moveTo>
                    <a:pt x="5176" y="4614"/>
                  </a:moveTo>
                  <a:lnTo>
                    <a:pt x="5167" y="4614"/>
                  </a:lnTo>
                  <a:lnTo>
                    <a:pt x="5162" y="4597"/>
                  </a:lnTo>
                  <a:lnTo>
                    <a:pt x="5150" y="4581"/>
                  </a:lnTo>
                  <a:lnTo>
                    <a:pt x="5162" y="4576"/>
                  </a:lnTo>
                  <a:lnTo>
                    <a:pt x="5138" y="4569"/>
                  </a:lnTo>
                  <a:lnTo>
                    <a:pt x="5138" y="4441"/>
                  </a:lnTo>
                  <a:lnTo>
                    <a:pt x="5096" y="4415"/>
                  </a:lnTo>
                  <a:lnTo>
                    <a:pt x="5058" y="4432"/>
                  </a:lnTo>
                  <a:lnTo>
                    <a:pt x="5041" y="4425"/>
                  </a:lnTo>
                  <a:lnTo>
                    <a:pt x="5041" y="4408"/>
                  </a:lnTo>
                  <a:lnTo>
                    <a:pt x="5037" y="4403"/>
                  </a:lnTo>
                  <a:lnTo>
                    <a:pt x="4982" y="4470"/>
                  </a:lnTo>
                  <a:lnTo>
                    <a:pt x="4973" y="4498"/>
                  </a:lnTo>
                  <a:lnTo>
                    <a:pt x="4961" y="4519"/>
                  </a:lnTo>
                  <a:lnTo>
                    <a:pt x="4961" y="4543"/>
                  </a:lnTo>
                  <a:lnTo>
                    <a:pt x="4928" y="4576"/>
                  </a:lnTo>
                  <a:lnTo>
                    <a:pt x="4928" y="4581"/>
                  </a:lnTo>
                  <a:lnTo>
                    <a:pt x="4918" y="4609"/>
                  </a:lnTo>
                  <a:lnTo>
                    <a:pt x="4907" y="4597"/>
                  </a:lnTo>
                  <a:lnTo>
                    <a:pt x="4897" y="4609"/>
                  </a:lnTo>
                  <a:lnTo>
                    <a:pt x="4890" y="4597"/>
                  </a:lnTo>
                  <a:lnTo>
                    <a:pt x="4881" y="4609"/>
                  </a:lnTo>
                  <a:lnTo>
                    <a:pt x="4874" y="4625"/>
                  </a:lnTo>
                  <a:lnTo>
                    <a:pt x="4626" y="4630"/>
                  </a:lnTo>
                  <a:lnTo>
                    <a:pt x="4529" y="4708"/>
                  </a:lnTo>
                  <a:lnTo>
                    <a:pt x="4503" y="4748"/>
                  </a:lnTo>
                  <a:lnTo>
                    <a:pt x="4368" y="4748"/>
                  </a:lnTo>
                  <a:lnTo>
                    <a:pt x="4335" y="4765"/>
                  </a:lnTo>
                  <a:lnTo>
                    <a:pt x="4340" y="4781"/>
                  </a:lnTo>
                  <a:lnTo>
                    <a:pt x="4340" y="4798"/>
                  </a:lnTo>
                  <a:lnTo>
                    <a:pt x="4356" y="4814"/>
                  </a:lnTo>
                  <a:lnTo>
                    <a:pt x="4352" y="4819"/>
                  </a:lnTo>
                  <a:lnTo>
                    <a:pt x="4271" y="4852"/>
                  </a:lnTo>
                  <a:lnTo>
                    <a:pt x="4189" y="4869"/>
                  </a:lnTo>
                  <a:lnTo>
                    <a:pt x="4108" y="4918"/>
                  </a:lnTo>
                  <a:lnTo>
                    <a:pt x="4087" y="4918"/>
                  </a:lnTo>
                  <a:lnTo>
                    <a:pt x="4066" y="4902"/>
                  </a:lnTo>
                  <a:lnTo>
                    <a:pt x="4054" y="4885"/>
                  </a:lnTo>
                  <a:lnTo>
                    <a:pt x="4066" y="4869"/>
                  </a:lnTo>
                  <a:lnTo>
                    <a:pt x="4104" y="4836"/>
                  </a:lnTo>
                  <a:lnTo>
                    <a:pt x="4108" y="4803"/>
                  </a:lnTo>
                  <a:lnTo>
                    <a:pt x="4125" y="4748"/>
                  </a:lnTo>
                  <a:lnTo>
                    <a:pt x="4104" y="4597"/>
                  </a:lnTo>
                  <a:lnTo>
                    <a:pt x="4028" y="4552"/>
                  </a:lnTo>
                  <a:lnTo>
                    <a:pt x="4033" y="4536"/>
                  </a:lnTo>
                  <a:lnTo>
                    <a:pt x="4028" y="4526"/>
                  </a:lnTo>
                  <a:lnTo>
                    <a:pt x="4000" y="4526"/>
                  </a:lnTo>
                  <a:lnTo>
                    <a:pt x="3990" y="4514"/>
                  </a:lnTo>
                  <a:lnTo>
                    <a:pt x="3990" y="4486"/>
                  </a:lnTo>
                  <a:lnTo>
                    <a:pt x="3957" y="4498"/>
                  </a:lnTo>
                  <a:lnTo>
                    <a:pt x="3941" y="4481"/>
                  </a:lnTo>
                  <a:lnTo>
                    <a:pt x="3941" y="4460"/>
                  </a:lnTo>
                  <a:lnTo>
                    <a:pt x="3693" y="4333"/>
                  </a:lnTo>
                  <a:lnTo>
                    <a:pt x="3622" y="4359"/>
                  </a:lnTo>
                  <a:lnTo>
                    <a:pt x="3584" y="4354"/>
                  </a:lnTo>
                  <a:lnTo>
                    <a:pt x="3563" y="4349"/>
                  </a:lnTo>
                  <a:lnTo>
                    <a:pt x="3525" y="4349"/>
                  </a:lnTo>
                  <a:lnTo>
                    <a:pt x="3515" y="4337"/>
                  </a:lnTo>
                  <a:lnTo>
                    <a:pt x="3478" y="4354"/>
                  </a:lnTo>
                  <a:lnTo>
                    <a:pt x="3440" y="4337"/>
                  </a:lnTo>
                  <a:lnTo>
                    <a:pt x="3433" y="4321"/>
                  </a:lnTo>
                  <a:lnTo>
                    <a:pt x="3418" y="4321"/>
                  </a:lnTo>
                  <a:lnTo>
                    <a:pt x="3407" y="4337"/>
                  </a:lnTo>
                  <a:lnTo>
                    <a:pt x="3407" y="4321"/>
                  </a:lnTo>
                  <a:lnTo>
                    <a:pt x="3369" y="4297"/>
                  </a:lnTo>
                  <a:lnTo>
                    <a:pt x="3348" y="4297"/>
                  </a:lnTo>
                  <a:lnTo>
                    <a:pt x="3310" y="4304"/>
                  </a:lnTo>
                  <a:lnTo>
                    <a:pt x="3310" y="4297"/>
                  </a:lnTo>
                  <a:lnTo>
                    <a:pt x="3256" y="4292"/>
                  </a:lnTo>
                  <a:lnTo>
                    <a:pt x="3244" y="4281"/>
                  </a:lnTo>
                  <a:lnTo>
                    <a:pt x="3239" y="4238"/>
                  </a:lnTo>
                  <a:lnTo>
                    <a:pt x="3218" y="4226"/>
                  </a:lnTo>
                  <a:lnTo>
                    <a:pt x="3218" y="4264"/>
                  </a:lnTo>
                  <a:lnTo>
                    <a:pt x="1281" y="4264"/>
                  </a:lnTo>
                  <a:lnTo>
                    <a:pt x="1276" y="4259"/>
                  </a:lnTo>
                  <a:lnTo>
                    <a:pt x="1259" y="4264"/>
                  </a:lnTo>
                  <a:lnTo>
                    <a:pt x="1248" y="4238"/>
                  </a:lnTo>
                  <a:lnTo>
                    <a:pt x="1264" y="4238"/>
                  </a:lnTo>
                  <a:lnTo>
                    <a:pt x="1276" y="4226"/>
                  </a:lnTo>
                  <a:lnTo>
                    <a:pt x="1264" y="4238"/>
                  </a:lnTo>
                  <a:lnTo>
                    <a:pt x="1248" y="4238"/>
                  </a:lnTo>
                  <a:lnTo>
                    <a:pt x="1243" y="4222"/>
                  </a:lnTo>
                  <a:lnTo>
                    <a:pt x="1248" y="4193"/>
                  </a:lnTo>
                  <a:lnTo>
                    <a:pt x="1226" y="4222"/>
                  </a:lnTo>
                  <a:lnTo>
                    <a:pt x="1226" y="4226"/>
                  </a:lnTo>
                  <a:lnTo>
                    <a:pt x="1205" y="4222"/>
                  </a:lnTo>
                  <a:lnTo>
                    <a:pt x="1189" y="4205"/>
                  </a:lnTo>
                  <a:lnTo>
                    <a:pt x="1193" y="4193"/>
                  </a:lnTo>
                  <a:lnTo>
                    <a:pt x="1210" y="4222"/>
                  </a:lnTo>
                  <a:lnTo>
                    <a:pt x="1210" y="4210"/>
                  </a:lnTo>
                  <a:lnTo>
                    <a:pt x="1226" y="4205"/>
                  </a:lnTo>
                  <a:lnTo>
                    <a:pt x="1210" y="4205"/>
                  </a:lnTo>
                  <a:lnTo>
                    <a:pt x="1193" y="4193"/>
                  </a:lnTo>
                  <a:lnTo>
                    <a:pt x="1205" y="4181"/>
                  </a:lnTo>
                  <a:lnTo>
                    <a:pt x="1193" y="4170"/>
                  </a:lnTo>
                  <a:lnTo>
                    <a:pt x="1210" y="4165"/>
                  </a:lnTo>
                  <a:lnTo>
                    <a:pt x="1205" y="4153"/>
                  </a:lnTo>
                  <a:lnTo>
                    <a:pt x="1193" y="4148"/>
                  </a:lnTo>
                  <a:lnTo>
                    <a:pt x="1205" y="4165"/>
                  </a:lnTo>
                  <a:lnTo>
                    <a:pt x="1193" y="4170"/>
                  </a:lnTo>
                  <a:lnTo>
                    <a:pt x="1193" y="4188"/>
                  </a:lnTo>
                  <a:lnTo>
                    <a:pt x="1189" y="4181"/>
                  </a:lnTo>
                  <a:lnTo>
                    <a:pt x="1189" y="4188"/>
                  </a:lnTo>
                  <a:lnTo>
                    <a:pt x="1167" y="4193"/>
                  </a:lnTo>
                  <a:lnTo>
                    <a:pt x="1134" y="4165"/>
                  </a:lnTo>
                  <a:lnTo>
                    <a:pt x="1139" y="4170"/>
                  </a:lnTo>
                  <a:lnTo>
                    <a:pt x="1151" y="4148"/>
                  </a:lnTo>
                  <a:lnTo>
                    <a:pt x="1139" y="4137"/>
                  </a:lnTo>
                  <a:lnTo>
                    <a:pt x="1172" y="4127"/>
                  </a:lnTo>
                  <a:lnTo>
                    <a:pt x="1134" y="4137"/>
                  </a:lnTo>
                  <a:lnTo>
                    <a:pt x="1118" y="4137"/>
                  </a:lnTo>
                  <a:lnTo>
                    <a:pt x="1118" y="4127"/>
                  </a:lnTo>
                  <a:lnTo>
                    <a:pt x="1134" y="4115"/>
                  </a:lnTo>
                  <a:lnTo>
                    <a:pt x="1134" y="4082"/>
                  </a:lnTo>
                  <a:lnTo>
                    <a:pt x="1125" y="4099"/>
                  </a:lnTo>
                  <a:lnTo>
                    <a:pt x="1134" y="4111"/>
                  </a:lnTo>
                  <a:lnTo>
                    <a:pt x="1118" y="4132"/>
                  </a:lnTo>
                  <a:lnTo>
                    <a:pt x="1087" y="4127"/>
                  </a:lnTo>
                  <a:lnTo>
                    <a:pt x="1096" y="4099"/>
                  </a:lnTo>
                  <a:lnTo>
                    <a:pt x="1070" y="4132"/>
                  </a:lnTo>
                  <a:lnTo>
                    <a:pt x="1063" y="4127"/>
                  </a:lnTo>
                  <a:lnTo>
                    <a:pt x="1033" y="4127"/>
                  </a:lnTo>
                  <a:lnTo>
                    <a:pt x="1042" y="4115"/>
                  </a:lnTo>
                  <a:lnTo>
                    <a:pt x="1033" y="4111"/>
                  </a:lnTo>
                  <a:lnTo>
                    <a:pt x="1080" y="4099"/>
                  </a:lnTo>
                  <a:lnTo>
                    <a:pt x="1087" y="4082"/>
                  </a:lnTo>
                  <a:lnTo>
                    <a:pt x="1080" y="4070"/>
                  </a:lnTo>
                  <a:lnTo>
                    <a:pt x="1080" y="4077"/>
                  </a:lnTo>
                  <a:lnTo>
                    <a:pt x="1070" y="4099"/>
                  </a:lnTo>
                  <a:lnTo>
                    <a:pt x="1042" y="4111"/>
                  </a:lnTo>
                  <a:lnTo>
                    <a:pt x="1049" y="4099"/>
                  </a:lnTo>
                  <a:lnTo>
                    <a:pt x="1042" y="4094"/>
                  </a:lnTo>
                  <a:lnTo>
                    <a:pt x="1011" y="4094"/>
                  </a:lnTo>
                  <a:lnTo>
                    <a:pt x="1042" y="4082"/>
                  </a:lnTo>
                  <a:lnTo>
                    <a:pt x="1004" y="4094"/>
                  </a:lnTo>
                  <a:lnTo>
                    <a:pt x="974" y="4082"/>
                  </a:lnTo>
                  <a:lnTo>
                    <a:pt x="990" y="4094"/>
                  </a:lnTo>
                  <a:lnTo>
                    <a:pt x="978" y="4094"/>
                  </a:lnTo>
                  <a:lnTo>
                    <a:pt x="952" y="4077"/>
                  </a:lnTo>
                  <a:lnTo>
                    <a:pt x="952" y="4070"/>
                  </a:lnTo>
                  <a:lnTo>
                    <a:pt x="995" y="4070"/>
                  </a:lnTo>
                  <a:lnTo>
                    <a:pt x="1004" y="4061"/>
                  </a:lnTo>
                  <a:lnTo>
                    <a:pt x="974" y="4070"/>
                  </a:lnTo>
                  <a:lnTo>
                    <a:pt x="924" y="4061"/>
                  </a:lnTo>
                  <a:lnTo>
                    <a:pt x="924" y="4054"/>
                  </a:lnTo>
                  <a:lnTo>
                    <a:pt x="941" y="4044"/>
                  </a:lnTo>
                  <a:lnTo>
                    <a:pt x="974" y="4044"/>
                  </a:lnTo>
                  <a:lnTo>
                    <a:pt x="974" y="4037"/>
                  </a:lnTo>
                  <a:lnTo>
                    <a:pt x="962" y="4044"/>
                  </a:lnTo>
                  <a:lnTo>
                    <a:pt x="924" y="4044"/>
                  </a:lnTo>
                  <a:lnTo>
                    <a:pt x="941" y="4025"/>
                  </a:lnTo>
                  <a:lnTo>
                    <a:pt x="952" y="4016"/>
                  </a:lnTo>
                  <a:lnTo>
                    <a:pt x="1011" y="4016"/>
                  </a:lnTo>
                  <a:lnTo>
                    <a:pt x="1011" y="4000"/>
                  </a:lnTo>
                  <a:lnTo>
                    <a:pt x="1004" y="4016"/>
                  </a:lnTo>
                  <a:lnTo>
                    <a:pt x="952" y="4016"/>
                  </a:lnTo>
                  <a:lnTo>
                    <a:pt x="957" y="4000"/>
                  </a:lnTo>
                  <a:lnTo>
                    <a:pt x="941" y="4004"/>
                  </a:lnTo>
                  <a:lnTo>
                    <a:pt x="941" y="4021"/>
                  </a:lnTo>
                  <a:lnTo>
                    <a:pt x="936" y="4025"/>
                  </a:lnTo>
                  <a:lnTo>
                    <a:pt x="919" y="4016"/>
                  </a:lnTo>
                  <a:lnTo>
                    <a:pt x="924" y="3988"/>
                  </a:lnTo>
                  <a:lnTo>
                    <a:pt x="936" y="3983"/>
                  </a:lnTo>
                  <a:lnTo>
                    <a:pt x="941" y="3966"/>
                  </a:lnTo>
                  <a:lnTo>
                    <a:pt x="952" y="3971"/>
                  </a:lnTo>
                  <a:lnTo>
                    <a:pt x="941" y="3971"/>
                  </a:lnTo>
                  <a:lnTo>
                    <a:pt x="974" y="3950"/>
                  </a:lnTo>
                  <a:lnTo>
                    <a:pt x="978" y="3950"/>
                  </a:lnTo>
                  <a:lnTo>
                    <a:pt x="1004" y="3983"/>
                  </a:lnTo>
                  <a:lnTo>
                    <a:pt x="990" y="3950"/>
                  </a:lnTo>
                  <a:lnTo>
                    <a:pt x="1004" y="3943"/>
                  </a:lnTo>
                  <a:lnTo>
                    <a:pt x="974" y="3943"/>
                  </a:lnTo>
                  <a:lnTo>
                    <a:pt x="962" y="3933"/>
                  </a:lnTo>
                  <a:lnTo>
                    <a:pt x="990" y="3910"/>
                  </a:lnTo>
                  <a:lnTo>
                    <a:pt x="978" y="3905"/>
                  </a:lnTo>
                  <a:lnTo>
                    <a:pt x="978" y="3917"/>
                  </a:lnTo>
                  <a:lnTo>
                    <a:pt x="941" y="3950"/>
                  </a:lnTo>
                  <a:lnTo>
                    <a:pt x="924" y="3959"/>
                  </a:lnTo>
                  <a:lnTo>
                    <a:pt x="919" y="3933"/>
                  </a:lnTo>
                  <a:lnTo>
                    <a:pt x="908" y="3950"/>
                  </a:lnTo>
                  <a:lnTo>
                    <a:pt x="908" y="3933"/>
                  </a:lnTo>
                  <a:lnTo>
                    <a:pt x="919" y="3926"/>
                  </a:lnTo>
                  <a:lnTo>
                    <a:pt x="903" y="3933"/>
                  </a:lnTo>
                  <a:lnTo>
                    <a:pt x="898" y="3959"/>
                  </a:lnTo>
                  <a:lnTo>
                    <a:pt x="886" y="3950"/>
                  </a:lnTo>
                  <a:lnTo>
                    <a:pt x="898" y="3933"/>
                  </a:lnTo>
                  <a:lnTo>
                    <a:pt x="903" y="3893"/>
                  </a:lnTo>
                  <a:lnTo>
                    <a:pt x="882" y="3905"/>
                  </a:lnTo>
                  <a:lnTo>
                    <a:pt x="870" y="3872"/>
                  </a:lnTo>
                  <a:lnTo>
                    <a:pt x="853" y="3855"/>
                  </a:lnTo>
                  <a:lnTo>
                    <a:pt x="848" y="3832"/>
                  </a:lnTo>
                  <a:lnTo>
                    <a:pt x="853" y="3832"/>
                  </a:lnTo>
                  <a:lnTo>
                    <a:pt x="882" y="3848"/>
                  </a:lnTo>
                  <a:lnTo>
                    <a:pt x="903" y="3839"/>
                  </a:lnTo>
                  <a:lnTo>
                    <a:pt x="924" y="3860"/>
                  </a:lnTo>
                  <a:lnTo>
                    <a:pt x="903" y="3839"/>
                  </a:lnTo>
                  <a:lnTo>
                    <a:pt x="870" y="3839"/>
                  </a:lnTo>
                  <a:lnTo>
                    <a:pt x="853" y="3822"/>
                  </a:lnTo>
                  <a:lnTo>
                    <a:pt x="853" y="3806"/>
                  </a:lnTo>
                  <a:lnTo>
                    <a:pt x="882" y="3799"/>
                  </a:lnTo>
                  <a:lnTo>
                    <a:pt x="865" y="3794"/>
                  </a:lnTo>
                  <a:lnTo>
                    <a:pt x="870" y="3782"/>
                  </a:lnTo>
                  <a:lnTo>
                    <a:pt x="827" y="3822"/>
                  </a:lnTo>
                  <a:lnTo>
                    <a:pt x="827" y="3848"/>
                  </a:lnTo>
                  <a:lnTo>
                    <a:pt x="773" y="3799"/>
                  </a:lnTo>
                  <a:lnTo>
                    <a:pt x="773" y="3766"/>
                  </a:lnTo>
                  <a:lnTo>
                    <a:pt x="811" y="3761"/>
                  </a:lnTo>
                  <a:lnTo>
                    <a:pt x="763" y="3766"/>
                  </a:lnTo>
                  <a:lnTo>
                    <a:pt x="756" y="3749"/>
                  </a:lnTo>
                  <a:lnTo>
                    <a:pt x="740" y="3749"/>
                  </a:lnTo>
                  <a:lnTo>
                    <a:pt x="740" y="3721"/>
                  </a:lnTo>
                  <a:lnTo>
                    <a:pt x="778" y="3749"/>
                  </a:lnTo>
                  <a:lnTo>
                    <a:pt x="747" y="3721"/>
                  </a:lnTo>
                  <a:lnTo>
                    <a:pt x="763" y="3711"/>
                  </a:lnTo>
                  <a:lnTo>
                    <a:pt x="778" y="3728"/>
                  </a:lnTo>
                  <a:lnTo>
                    <a:pt x="756" y="3711"/>
                  </a:lnTo>
                  <a:lnTo>
                    <a:pt x="763" y="3704"/>
                  </a:lnTo>
                  <a:lnTo>
                    <a:pt x="773" y="3688"/>
                  </a:lnTo>
                  <a:lnTo>
                    <a:pt x="801" y="3688"/>
                  </a:lnTo>
                  <a:lnTo>
                    <a:pt x="773" y="3683"/>
                  </a:lnTo>
                  <a:lnTo>
                    <a:pt x="794" y="3638"/>
                  </a:lnTo>
                  <a:lnTo>
                    <a:pt x="811" y="3638"/>
                  </a:lnTo>
                  <a:lnTo>
                    <a:pt x="794" y="3638"/>
                  </a:lnTo>
                  <a:lnTo>
                    <a:pt x="789" y="3633"/>
                  </a:lnTo>
                  <a:lnTo>
                    <a:pt x="789" y="3655"/>
                  </a:lnTo>
                  <a:lnTo>
                    <a:pt x="763" y="3688"/>
                  </a:lnTo>
                  <a:lnTo>
                    <a:pt x="763" y="3683"/>
                  </a:lnTo>
                  <a:lnTo>
                    <a:pt x="778" y="3655"/>
                  </a:lnTo>
                  <a:lnTo>
                    <a:pt x="763" y="3617"/>
                  </a:lnTo>
                  <a:lnTo>
                    <a:pt x="773" y="3593"/>
                  </a:lnTo>
                  <a:lnTo>
                    <a:pt x="763" y="3572"/>
                  </a:lnTo>
                  <a:lnTo>
                    <a:pt x="747" y="3572"/>
                  </a:lnTo>
                  <a:lnTo>
                    <a:pt x="719" y="3544"/>
                  </a:lnTo>
                  <a:lnTo>
                    <a:pt x="664" y="3522"/>
                  </a:lnTo>
                  <a:lnTo>
                    <a:pt x="650" y="3522"/>
                  </a:lnTo>
                  <a:lnTo>
                    <a:pt x="638" y="3506"/>
                  </a:lnTo>
                  <a:lnTo>
                    <a:pt x="626" y="3499"/>
                  </a:lnTo>
                  <a:lnTo>
                    <a:pt x="633" y="3482"/>
                  </a:lnTo>
                  <a:lnTo>
                    <a:pt x="612" y="3473"/>
                  </a:lnTo>
                  <a:lnTo>
                    <a:pt x="617" y="3461"/>
                  </a:lnTo>
                  <a:lnTo>
                    <a:pt x="541" y="3350"/>
                  </a:lnTo>
                  <a:lnTo>
                    <a:pt x="530" y="3333"/>
                  </a:lnTo>
                  <a:lnTo>
                    <a:pt x="504" y="3300"/>
                  </a:lnTo>
                  <a:lnTo>
                    <a:pt x="475" y="3296"/>
                  </a:lnTo>
                  <a:lnTo>
                    <a:pt x="466" y="3263"/>
                  </a:lnTo>
                  <a:lnTo>
                    <a:pt x="423" y="3246"/>
                  </a:lnTo>
                  <a:lnTo>
                    <a:pt x="416" y="3227"/>
                  </a:lnTo>
                  <a:lnTo>
                    <a:pt x="423" y="3211"/>
                  </a:lnTo>
                  <a:lnTo>
                    <a:pt x="385" y="3189"/>
                  </a:lnTo>
                  <a:lnTo>
                    <a:pt x="324" y="3211"/>
                  </a:lnTo>
                  <a:lnTo>
                    <a:pt x="331" y="3222"/>
                  </a:lnTo>
                  <a:lnTo>
                    <a:pt x="315" y="3222"/>
                  </a:lnTo>
                  <a:lnTo>
                    <a:pt x="315" y="3246"/>
                  </a:lnTo>
                  <a:lnTo>
                    <a:pt x="310" y="3251"/>
                  </a:lnTo>
                  <a:lnTo>
                    <a:pt x="293" y="3251"/>
                  </a:lnTo>
                  <a:lnTo>
                    <a:pt x="251" y="3284"/>
                  </a:lnTo>
                  <a:lnTo>
                    <a:pt x="239" y="3246"/>
                  </a:lnTo>
                  <a:lnTo>
                    <a:pt x="168" y="3189"/>
                  </a:lnTo>
                  <a:lnTo>
                    <a:pt x="163" y="3173"/>
                  </a:lnTo>
                  <a:lnTo>
                    <a:pt x="130" y="3156"/>
                  </a:lnTo>
                  <a:lnTo>
                    <a:pt x="142" y="3123"/>
                  </a:lnTo>
                  <a:lnTo>
                    <a:pt x="93" y="3135"/>
                  </a:lnTo>
                  <a:lnTo>
                    <a:pt x="71" y="3151"/>
                  </a:lnTo>
                  <a:lnTo>
                    <a:pt x="38" y="3135"/>
                  </a:lnTo>
                  <a:lnTo>
                    <a:pt x="38" y="3140"/>
                  </a:lnTo>
                  <a:lnTo>
                    <a:pt x="0" y="3135"/>
                  </a:lnTo>
                  <a:lnTo>
                    <a:pt x="0" y="2041"/>
                  </a:lnTo>
                  <a:lnTo>
                    <a:pt x="130" y="2058"/>
                  </a:lnTo>
                  <a:lnTo>
                    <a:pt x="168" y="2086"/>
                  </a:lnTo>
                  <a:lnTo>
                    <a:pt x="260" y="2124"/>
                  </a:lnTo>
                  <a:lnTo>
                    <a:pt x="348" y="2136"/>
                  </a:lnTo>
                  <a:lnTo>
                    <a:pt x="395" y="2157"/>
                  </a:lnTo>
                  <a:lnTo>
                    <a:pt x="411" y="2157"/>
                  </a:lnTo>
                  <a:lnTo>
                    <a:pt x="385" y="2140"/>
                  </a:lnTo>
                  <a:lnTo>
                    <a:pt x="400" y="2140"/>
                  </a:lnTo>
                  <a:lnTo>
                    <a:pt x="378" y="2136"/>
                  </a:lnTo>
                  <a:lnTo>
                    <a:pt x="433" y="2124"/>
                  </a:lnTo>
                  <a:lnTo>
                    <a:pt x="471" y="2157"/>
                  </a:lnTo>
                  <a:lnTo>
                    <a:pt x="475" y="2157"/>
                  </a:lnTo>
                  <a:lnTo>
                    <a:pt x="449" y="2119"/>
                  </a:lnTo>
                  <a:lnTo>
                    <a:pt x="454" y="2115"/>
                  </a:lnTo>
                  <a:lnTo>
                    <a:pt x="520" y="2070"/>
                  </a:lnTo>
                  <a:lnTo>
                    <a:pt x="558" y="2065"/>
                  </a:lnTo>
                  <a:lnTo>
                    <a:pt x="574" y="2041"/>
                  </a:lnTo>
                  <a:lnTo>
                    <a:pt x="600" y="2041"/>
                  </a:lnTo>
                  <a:lnTo>
                    <a:pt x="612" y="2029"/>
                  </a:lnTo>
                  <a:lnTo>
                    <a:pt x="596" y="2029"/>
                  </a:lnTo>
                  <a:lnTo>
                    <a:pt x="600" y="2025"/>
                  </a:lnTo>
                  <a:lnTo>
                    <a:pt x="626" y="2029"/>
                  </a:lnTo>
                  <a:lnTo>
                    <a:pt x="671" y="2003"/>
                  </a:lnTo>
                  <a:lnTo>
                    <a:pt x="688" y="2003"/>
                  </a:lnTo>
                  <a:lnTo>
                    <a:pt x="688" y="2013"/>
                  </a:lnTo>
                  <a:lnTo>
                    <a:pt x="709" y="1987"/>
                  </a:lnTo>
                  <a:lnTo>
                    <a:pt x="735" y="1970"/>
                  </a:lnTo>
                  <a:lnTo>
                    <a:pt x="740" y="1970"/>
                  </a:lnTo>
                  <a:lnTo>
                    <a:pt x="740" y="1975"/>
                  </a:lnTo>
                  <a:lnTo>
                    <a:pt x="773" y="1987"/>
                  </a:lnTo>
                  <a:lnTo>
                    <a:pt x="794" y="1959"/>
                  </a:lnTo>
                  <a:lnTo>
                    <a:pt x="815" y="1975"/>
                  </a:lnTo>
                  <a:lnTo>
                    <a:pt x="811" y="1992"/>
                  </a:lnTo>
                  <a:lnTo>
                    <a:pt x="740" y="2025"/>
                  </a:lnTo>
                  <a:lnTo>
                    <a:pt x="709" y="2048"/>
                  </a:lnTo>
                  <a:lnTo>
                    <a:pt x="702" y="2041"/>
                  </a:lnTo>
                  <a:lnTo>
                    <a:pt x="633" y="2058"/>
                  </a:lnTo>
                  <a:lnTo>
                    <a:pt x="626" y="2065"/>
                  </a:lnTo>
                  <a:lnTo>
                    <a:pt x="626" y="2070"/>
                  </a:lnTo>
                  <a:lnTo>
                    <a:pt x="579" y="2086"/>
                  </a:lnTo>
                  <a:lnTo>
                    <a:pt x="574" y="2115"/>
                  </a:lnTo>
                  <a:lnTo>
                    <a:pt x="546" y="2119"/>
                  </a:lnTo>
                  <a:lnTo>
                    <a:pt x="546" y="2124"/>
                  </a:lnTo>
                  <a:lnTo>
                    <a:pt x="525" y="2140"/>
                  </a:lnTo>
                  <a:lnTo>
                    <a:pt x="574" y="2157"/>
                  </a:lnTo>
                  <a:lnTo>
                    <a:pt x="541" y="2140"/>
                  </a:lnTo>
                  <a:lnTo>
                    <a:pt x="600" y="2140"/>
                  </a:lnTo>
                  <a:lnTo>
                    <a:pt x="600" y="2136"/>
                  </a:lnTo>
                  <a:lnTo>
                    <a:pt x="596" y="2136"/>
                  </a:lnTo>
                  <a:lnTo>
                    <a:pt x="579" y="2136"/>
                  </a:lnTo>
                  <a:lnTo>
                    <a:pt x="574" y="2115"/>
                  </a:lnTo>
                  <a:lnTo>
                    <a:pt x="600" y="2103"/>
                  </a:lnTo>
                  <a:lnTo>
                    <a:pt x="612" y="2086"/>
                  </a:lnTo>
                  <a:lnTo>
                    <a:pt x="617" y="2103"/>
                  </a:lnTo>
                  <a:lnTo>
                    <a:pt x="655" y="2070"/>
                  </a:lnTo>
                  <a:lnTo>
                    <a:pt x="633" y="2070"/>
                  </a:lnTo>
                  <a:lnTo>
                    <a:pt x="655" y="2065"/>
                  </a:lnTo>
                  <a:lnTo>
                    <a:pt x="671" y="2065"/>
                  </a:lnTo>
                  <a:lnTo>
                    <a:pt x="664" y="2081"/>
                  </a:lnTo>
                  <a:lnTo>
                    <a:pt x="688" y="2058"/>
                  </a:lnTo>
                  <a:lnTo>
                    <a:pt x="688" y="2070"/>
                  </a:lnTo>
                  <a:lnTo>
                    <a:pt x="671" y="2081"/>
                  </a:lnTo>
                  <a:lnTo>
                    <a:pt x="681" y="2081"/>
                  </a:lnTo>
                  <a:lnTo>
                    <a:pt x="693" y="2070"/>
                  </a:lnTo>
                  <a:lnTo>
                    <a:pt x="688" y="2048"/>
                  </a:lnTo>
                  <a:lnTo>
                    <a:pt x="693" y="2058"/>
                  </a:lnTo>
                  <a:lnTo>
                    <a:pt x="693" y="2070"/>
                  </a:lnTo>
                  <a:lnTo>
                    <a:pt x="702" y="2065"/>
                  </a:lnTo>
                  <a:lnTo>
                    <a:pt x="688" y="2048"/>
                  </a:lnTo>
                  <a:lnTo>
                    <a:pt x="693" y="2041"/>
                  </a:lnTo>
                  <a:lnTo>
                    <a:pt x="702" y="2065"/>
                  </a:lnTo>
                  <a:lnTo>
                    <a:pt x="693" y="2081"/>
                  </a:lnTo>
                  <a:lnTo>
                    <a:pt x="709" y="2058"/>
                  </a:lnTo>
                  <a:lnTo>
                    <a:pt x="702" y="2081"/>
                  </a:lnTo>
                  <a:lnTo>
                    <a:pt x="709" y="2070"/>
                  </a:lnTo>
                  <a:lnTo>
                    <a:pt x="702" y="2098"/>
                  </a:lnTo>
                  <a:lnTo>
                    <a:pt x="709" y="2103"/>
                  </a:lnTo>
                  <a:lnTo>
                    <a:pt x="709" y="2086"/>
                  </a:lnTo>
                  <a:lnTo>
                    <a:pt x="747" y="2029"/>
                  </a:lnTo>
                  <a:lnTo>
                    <a:pt x="832" y="2008"/>
                  </a:lnTo>
                  <a:lnTo>
                    <a:pt x="848" y="2003"/>
                  </a:lnTo>
                  <a:lnTo>
                    <a:pt x="848" y="2013"/>
                  </a:lnTo>
                  <a:lnTo>
                    <a:pt x="832" y="2013"/>
                  </a:lnTo>
                  <a:lnTo>
                    <a:pt x="832" y="2029"/>
                  </a:lnTo>
                  <a:lnTo>
                    <a:pt x="848" y="2029"/>
                  </a:lnTo>
                  <a:lnTo>
                    <a:pt x="886" y="2003"/>
                  </a:lnTo>
                  <a:lnTo>
                    <a:pt x="886" y="1975"/>
                  </a:lnTo>
                  <a:lnTo>
                    <a:pt x="952" y="1959"/>
                  </a:lnTo>
                  <a:lnTo>
                    <a:pt x="908" y="1954"/>
                  </a:lnTo>
                  <a:lnTo>
                    <a:pt x="919" y="1947"/>
                  </a:lnTo>
                  <a:lnTo>
                    <a:pt x="903" y="1947"/>
                  </a:lnTo>
                  <a:lnTo>
                    <a:pt x="908" y="1914"/>
                  </a:lnTo>
                  <a:lnTo>
                    <a:pt x="974" y="1959"/>
                  </a:lnTo>
                  <a:lnTo>
                    <a:pt x="1004" y="2025"/>
                  </a:lnTo>
                  <a:lnTo>
                    <a:pt x="1033" y="2058"/>
                  </a:lnTo>
                  <a:lnTo>
                    <a:pt x="1096" y="2081"/>
                  </a:lnTo>
                  <a:lnTo>
                    <a:pt x="1096" y="2070"/>
                  </a:lnTo>
                  <a:lnTo>
                    <a:pt x="1118" y="2065"/>
                  </a:lnTo>
                  <a:lnTo>
                    <a:pt x="1080" y="2065"/>
                  </a:lnTo>
                  <a:lnTo>
                    <a:pt x="1087" y="2058"/>
                  </a:lnTo>
                  <a:lnTo>
                    <a:pt x="1118" y="2058"/>
                  </a:lnTo>
                  <a:lnTo>
                    <a:pt x="1096" y="2041"/>
                  </a:lnTo>
                  <a:lnTo>
                    <a:pt x="1096" y="2029"/>
                  </a:lnTo>
                  <a:lnTo>
                    <a:pt x="1118" y="2025"/>
                  </a:lnTo>
                  <a:lnTo>
                    <a:pt x="1125" y="2041"/>
                  </a:lnTo>
                  <a:lnTo>
                    <a:pt x="1134" y="2029"/>
                  </a:lnTo>
                  <a:lnTo>
                    <a:pt x="1101" y="2013"/>
                  </a:lnTo>
                  <a:lnTo>
                    <a:pt x="1118" y="2013"/>
                  </a:lnTo>
                  <a:lnTo>
                    <a:pt x="1134" y="1992"/>
                  </a:lnTo>
                  <a:lnTo>
                    <a:pt x="1113" y="2003"/>
                  </a:lnTo>
                  <a:lnTo>
                    <a:pt x="1113" y="1992"/>
                  </a:lnTo>
                  <a:lnTo>
                    <a:pt x="1125" y="1987"/>
                  </a:lnTo>
                  <a:lnTo>
                    <a:pt x="1118" y="1992"/>
                  </a:lnTo>
                  <a:lnTo>
                    <a:pt x="1151" y="1987"/>
                  </a:lnTo>
                  <a:lnTo>
                    <a:pt x="1156" y="1992"/>
                  </a:lnTo>
                  <a:lnTo>
                    <a:pt x="1167" y="1987"/>
                  </a:lnTo>
                  <a:lnTo>
                    <a:pt x="1139" y="1975"/>
                  </a:lnTo>
                  <a:lnTo>
                    <a:pt x="1167" y="1975"/>
                  </a:lnTo>
                  <a:lnTo>
                    <a:pt x="1167" y="1987"/>
                  </a:lnTo>
                  <a:lnTo>
                    <a:pt x="1156" y="2025"/>
                  </a:lnTo>
                  <a:lnTo>
                    <a:pt x="1189" y="2029"/>
                  </a:lnTo>
                  <a:lnTo>
                    <a:pt x="1156" y="2070"/>
                  </a:lnTo>
                  <a:lnTo>
                    <a:pt x="1167" y="2070"/>
                  </a:lnTo>
                  <a:lnTo>
                    <a:pt x="1231" y="2070"/>
                  </a:lnTo>
                  <a:lnTo>
                    <a:pt x="1231" y="2058"/>
                  </a:lnTo>
                  <a:lnTo>
                    <a:pt x="1248" y="2058"/>
                  </a:lnTo>
                  <a:lnTo>
                    <a:pt x="1259" y="2025"/>
                  </a:lnTo>
                  <a:lnTo>
                    <a:pt x="1264" y="2013"/>
                  </a:lnTo>
                  <a:lnTo>
                    <a:pt x="1356" y="2013"/>
                  </a:lnTo>
                  <a:lnTo>
                    <a:pt x="1420" y="2041"/>
                  </a:lnTo>
                  <a:lnTo>
                    <a:pt x="1458" y="2070"/>
                  </a:lnTo>
                  <a:lnTo>
                    <a:pt x="1555" y="2086"/>
                  </a:lnTo>
                  <a:lnTo>
                    <a:pt x="1609" y="2119"/>
                  </a:lnTo>
                  <a:lnTo>
                    <a:pt x="1675" y="2136"/>
                  </a:lnTo>
                  <a:lnTo>
                    <a:pt x="1760" y="2140"/>
                  </a:lnTo>
                  <a:lnTo>
                    <a:pt x="1730" y="2124"/>
                  </a:lnTo>
                  <a:lnTo>
                    <a:pt x="1782" y="2124"/>
                  </a:lnTo>
                  <a:lnTo>
                    <a:pt x="1869" y="2157"/>
                  </a:lnTo>
                  <a:lnTo>
                    <a:pt x="1890" y="2181"/>
                  </a:lnTo>
                  <a:lnTo>
                    <a:pt x="1890" y="2214"/>
                  </a:lnTo>
                  <a:lnTo>
                    <a:pt x="1803" y="2226"/>
                  </a:lnTo>
                  <a:lnTo>
                    <a:pt x="1803" y="2235"/>
                  </a:lnTo>
                  <a:lnTo>
                    <a:pt x="1819" y="2247"/>
                  </a:lnTo>
                  <a:lnTo>
                    <a:pt x="1789" y="2252"/>
                  </a:lnTo>
                  <a:lnTo>
                    <a:pt x="1819" y="2268"/>
                  </a:lnTo>
                  <a:lnTo>
                    <a:pt x="2004" y="2285"/>
                  </a:lnTo>
                  <a:lnTo>
                    <a:pt x="2091" y="2263"/>
                  </a:lnTo>
                  <a:lnTo>
                    <a:pt x="2105" y="2280"/>
                  </a:lnTo>
                  <a:lnTo>
                    <a:pt x="2167" y="2247"/>
                  </a:lnTo>
                  <a:lnTo>
                    <a:pt x="2176" y="2252"/>
                  </a:lnTo>
                  <a:lnTo>
                    <a:pt x="2176" y="2263"/>
                  </a:lnTo>
                  <a:lnTo>
                    <a:pt x="2193" y="2263"/>
                  </a:lnTo>
                  <a:lnTo>
                    <a:pt x="2193" y="2280"/>
                  </a:lnTo>
                  <a:lnTo>
                    <a:pt x="2235" y="2280"/>
                  </a:lnTo>
                  <a:lnTo>
                    <a:pt x="2252" y="2303"/>
                  </a:lnTo>
                  <a:lnTo>
                    <a:pt x="2247" y="2308"/>
                  </a:lnTo>
                  <a:lnTo>
                    <a:pt x="2263" y="2325"/>
                  </a:lnTo>
                  <a:lnTo>
                    <a:pt x="2263" y="2292"/>
                  </a:lnTo>
                  <a:lnTo>
                    <a:pt x="2268" y="2292"/>
                  </a:lnTo>
                  <a:lnTo>
                    <a:pt x="2285" y="2325"/>
                  </a:lnTo>
                  <a:lnTo>
                    <a:pt x="2289" y="2320"/>
                  </a:lnTo>
                  <a:lnTo>
                    <a:pt x="2318" y="2337"/>
                  </a:lnTo>
                  <a:lnTo>
                    <a:pt x="2322" y="2363"/>
                  </a:lnTo>
                  <a:lnTo>
                    <a:pt x="2301" y="2363"/>
                  </a:lnTo>
                  <a:lnTo>
                    <a:pt x="2268" y="2346"/>
                  </a:lnTo>
                  <a:lnTo>
                    <a:pt x="2273" y="2363"/>
                  </a:lnTo>
                  <a:lnTo>
                    <a:pt x="2306" y="2374"/>
                  </a:lnTo>
                  <a:lnTo>
                    <a:pt x="2322" y="2412"/>
                  </a:lnTo>
                  <a:lnTo>
                    <a:pt x="2322" y="2396"/>
                  </a:lnTo>
                  <a:lnTo>
                    <a:pt x="2370" y="2448"/>
                  </a:lnTo>
                  <a:lnTo>
                    <a:pt x="2344" y="2412"/>
                  </a:lnTo>
                  <a:lnTo>
                    <a:pt x="2327" y="2379"/>
                  </a:lnTo>
                  <a:lnTo>
                    <a:pt x="2339" y="2358"/>
                  </a:lnTo>
                  <a:lnTo>
                    <a:pt x="2356" y="2374"/>
                  </a:lnTo>
                  <a:lnTo>
                    <a:pt x="2339" y="2374"/>
                  </a:lnTo>
                  <a:lnTo>
                    <a:pt x="2344" y="2391"/>
                  </a:lnTo>
                  <a:lnTo>
                    <a:pt x="2360" y="2391"/>
                  </a:lnTo>
                  <a:lnTo>
                    <a:pt x="2356" y="2374"/>
                  </a:lnTo>
                  <a:lnTo>
                    <a:pt x="2381" y="2391"/>
                  </a:lnTo>
                  <a:lnTo>
                    <a:pt x="2360" y="2363"/>
                  </a:lnTo>
                  <a:lnTo>
                    <a:pt x="2360" y="2346"/>
                  </a:lnTo>
                  <a:lnTo>
                    <a:pt x="2356" y="2341"/>
                  </a:lnTo>
                  <a:lnTo>
                    <a:pt x="2339" y="2325"/>
                  </a:lnTo>
                  <a:lnTo>
                    <a:pt x="2344" y="2308"/>
                  </a:lnTo>
                  <a:lnTo>
                    <a:pt x="2318" y="2280"/>
                  </a:lnTo>
                  <a:lnTo>
                    <a:pt x="2322" y="2263"/>
                  </a:lnTo>
                  <a:lnTo>
                    <a:pt x="2339" y="2252"/>
                  </a:lnTo>
                  <a:lnTo>
                    <a:pt x="2322" y="2247"/>
                  </a:lnTo>
                  <a:lnTo>
                    <a:pt x="2322" y="2235"/>
                  </a:lnTo>
                  <a:lnTo>
                    <a:pt x="2339" y="2235"/>
                  </a:lnTo>
                  <a:lnTo>
                    <a:pt x="2327" y="2235"/>
                  </a:lnTo>
                  <a:lnTo>
                    <a:pt x="2327" y="2247"/>
                  </a:lnTo>
                  <a:lnTo>
                    <a:pt x="2360" y="2235"/>
                  </a:lnTo>
                  <a:lnTo>
                    <a:pt x="2398" y="2230"/>
                  </a:lnTo>
                  <a:lnTo>
                    <a:pt x="2398" y="2226"/>
                  </a:lnTo>
                  <a:lnTo>
                    <a:pt x="2415" y="2214"/>
                  </a:lnTo>
                  <a:lnTo>
                    <a:pt x="2424" y="2230"/>
                  </a:lnTo>
                  <a:lnTo>
                    <a:pt x="2431" y="2226"/>
                  </a:lnTo>
                  <a:lnTo>
                    <a:pt x="2424" y="2214"/>
                  </a:lnTo>
                  <a:lnTo>
                    <a:pt x="2424" y="2209"/>
                  </a:lnTo>
                  <a:lnTo>
                    <a:pt x="2478" y="2192"/>
                  </a:lnTo>
                  <a:lnTo>
                    <a:pt x="2478" y="2176"/>
                  </a:lnTo>
                  <a:lnTo>
                    <a:pt x="2483" y="2169"/>
                  </a:lnTo>
                  <a:lnTo>
                    <a:pt x="2415" y="2181"/>
                  </a:lnTo>
                  <a:lnTo>
                    <a:pt x="2415" y="2192"/>
                  </a:lnTo>
                  <a:lnTo>
                    <a:pt x="2424" y="2197"/>
                  </a:lnTo>
                  <a:lnTo>
                    <a:pt x="2415" y="2209"/>
                  </a:lnTo>
                  <a:lnTo>
                    <a:pt x="2398" y="2192"/>
                  </a:lnTo>
                  <a:lnTo>
                    <a:pt x="2370" y="2214"/>
                  </a:lnTo>
                  <a:lnTo>
                    <a:pt x="2344" y="2197"/>
                  </a:lnTo>
                  <a:lnTo>
                    <a:pt x="2327" y="2209"/>
                  </a:lnTo>
                  <a:lnTo>
                    <a:pt x="2322" y="2214"/>
                  </a:lnTo>
                  <a:lnTo>
                    <a:pt x="2344" y="2226"/>
                  </a:lnTo>
                  <a:lnTo>
                    <a:pt x="2289" y="2230"/>
                  </a:lnTo>
                  <a:lnTo>
                    <a:pt x="2285" y="2226"/>
                  </a:lnTo>
                  <a:lnTo>
                    <a:pt x="2289" y="2226"/>
                  </a:lnTo>
                  <a:lnTo>
                    <a:pt x="2289" y="2209"/>
                  </a:lnTo>
                  <a:lnTo>
                    <a:pt x="2263" y="2214"/>
                  </a:lnTo>
                  <a:lnTo>
                    <a:pt x="2289" y="2169"/>
                  </a:lnTo>
                  <a:lnTo>
                    <a:pt x="2370" y="2157"/>
                  </a:lnTo>
                  <a:lnTo>
                    <a:pt x="2436" y="2124"/>
                  </a:lnTo>
                  <a:lnTo>
                    <a:pt x="2469" y="2136"/>
                  </a:lnTo>
                  <a:lnTo>
                    <a:pt x="2490" y="2152"/>
                  </a:lnTo>
                  <a:lnTo>
                    <a:pt x="2490" y="2169"/>
                  </a:lnTo>
                  <a:lnTo>
                    <a:pt x="2500" y="2181"/>
                  </a:lnTo>
                  <a:lnTo>
                    <a:pt x="2483" y="2192"/>
                  </a:lnTo>
                  <a:lnTo>
                    <a:pt x="2521" y="2214"/>
                  </a:lnTo>
                  <a:lnTo>
                    <a:pt x="2537" y="2209"/>
                  </a:lnTo>
                  <a:lnTo>
                    <a:pt x="2533" y="2214"/>
                  </a:lnTo>
                  <a:lnTo>
                    <a:pt x="2554" y="2214"/>
                  </a:lnTo>
                  <a:lnTo>
                    <a:pt x="2542" y="2230"/>
                  </a:lnTo>
                  <a:lnTo>
                    <a:pt x="2559" y="2235"/>
                  </a:lnTo>
                  <a:lnTo>
                    <a:pt x="2613" y="2235"/>
                  </a:lnTo>
                  <a:lnTo>
                    <a:pt x="2641" y="2226"/>
                  </a:lnTo>
                  <a:lnTo>
                    <a:pt x="2646" y="2230"/>
                  </a:lnTo>
                  <a:lnTo>
                    <a:pt x="2641" y="2247"/>
                  </a:lnTo>
                  <a:lnTo>
                    <a:pt x="2717" y="2280"/>
                  </a:lnTo>
                  <a:lnTo>
                    <a:pt x="2738" y="2280"/>
                  </a:lnTo>
                  <a:lnTo>
                    <a:pt x="2769" y="2285"/>
                  </a:lnTo>
                  <a:lnTo>
                    <a:pt x="2844" y="2263"/>
                  </a:lnTo>
                  <a:lnTo>
                    <a:pt x="2911" y="2268"/>
                  </a:lnTo>
                  <a:lnTo>
                    <a:pt x="2932" y="2280"/>
                  </a:lnTo>
                  <a:lnTo>
                    <a:pt x="2991" y="2268"/>
                  </a:lnTo>
                  <a:lnTo>
                    <a:pt x="2965" y="2252"/>
                  </a:lnTo>
                  <a:lnTo>
                    <a:pt x="2965" y="2235"/>
                  </a:lnTo>
                  <a:lnTo>
                    <a:pt x="2970" y="2235"/>
                  </a:lnTo>
                  <a:lnTo>
                    <a:pt x="3007" y="2280"/>
                  </a:lnTo>
                  <a:lnTo>
                    <a:pt x="3057" y="2292"/>
                  </a:lnTo>
                  <a:lnTo>
                    <a:pt x="3078" y="2285"/>
                  </a:lnTo>
                  <a:lnTo>
                    <a:pt x="3078" y="2268"/>
                  </a:lnTo>
                  <a:lnTo>
                    <a:pt x="3071" y="2252"/>
                  </a:lnTo>
                  <a:lnTo>
                    <a:pt x="3062" y="2263"/>
                  </a:lnTo>
                  <a:lnTo>
                    <a:pt x="3041" y="2247"/>
                  </a:lnTo>
                  <a:lnTo>
                    <a:pt x="3019" y="2252"/>
                  </a:lnTo>
                  <a:lnTo>
                    <a:pt x="3007" y="2263"/>
                  </a:lnTo>
                  <a:lnTo>
                    <a:pt x="2974" y="2230"/>
                  </a:lnTo>
                  <a:lnTo>
                    <a:pt x="2986" y="2226"/>
                  </a:lnTo>
                  <a:lnTo>
                    <a:pt x="2991" y="2235"/>
                  </a:lnTo>
                  <a:lnTo>
                    <a:pt x="2991" y="2226"/>
                  </a:lnTo>
                  <a:lnTo>
                    <a:pt x="2970" y="2197"/>
                  </a:lnTo>
                  <a:lnTo>
                    <a:pt x="2974" y="2209"/>
                  </a:lnTo>
                  <a:lnTo>
                    <a:pt x="2986" y="2192"/>
                  </a:lnTo>
                  <a:lnTo>
                    <a:pt x="3003" y="2209"/>
                  </a:lnTo>
                  <a:lnTo>
                    <a:pt x="3029" y="2197"/>
                  </a:lnTo>
                  <a:lnTo>
                    <a:pt x="3019" y="2181"/>
                  </a:lnTo>
                  <a:lnTo>
                    <a:pt x="3024" y="2176"/>
                  </a:lnTo>
                  <a:lnTo>
                    <a:pt x="3045" y="2192"/>
                  </a:lnTo>
                  <a:lnTo>
                    <a:pt x="3071" y="2192"/>
                  </a:lnTo>
                  <a:lnTo>
                    <a:pt x="3083" y="2197"/>
                  </a:lnTo>
                  <a:lnTo>
                    <a:pt x="3078" y="2214"/>
                  </a:lnTo>
                  <a:lnTo>
                    <a:pt x="3133" y="2209"/>
                  </a:lnTo>
                  <a:lnTo>
                    <a:pt x="3100" y="2235"/>
                  </a:lnTo>
                  <a:lnTo>
                    <a:pt x="3109" y="2247"/>
                  </a:lnTo>
                  <a:lnTo>
                    <a:pt x="3154" y="2214"/>
                  </a:lnTo>
                  <a:lnTo>
                    <a:pt x="3137" y="2268"/>
                  </a:lnTo>
                  <a:lnTo>
                    <a:pt x="3147" y="2285"/>
                  </a:lnTo>
                  <a:lnTo>
                    <a:pt x="3126" y="2308"/>
                  </a:lnTo>
                  <a:lnTo>
                    <a:pt x="3147" y="2308"/>
                  </a:lnTo>
                  <a:lnTo>
                    <a:pt x="3137" y="2341"/>
                  </a:lnTo>
                  <a:lnTo>
                    <a:pt x="3147" y="2341"/>
                  </a:lnTo>
                  <a:lnTo>
                    <a:pt x="3185" y="2325"/>
                  </a:lnTo>
                  <a:lnTo>
                    <a:pt x="3185" y="2337"/>
                  </a:lnTo>
                  <a:lnTo>
                    <a:pt x="3170" y="2346"/>
                  </a:lnTo>
                  <a:lnTo>
                    <a:pt x="3192" y="2341"/>
                  </a:lnTo>
                  <a:lnTo>
                    <a:pt x="3201" y="2374"/>
                  </a:lnTo>
                  <a:lnTo>
                    <a:pt x="3163" y="2374"/>
                  </a:lnTo>
                  <a:lnTo>
                    <a:pt x="3154" y="2363"/>
                  </a:lnTo>
                  <a:lnTo>
                    <a:pt x="3163" y="2358"/>
                  </a:lnTo>
                  <a:lnTo>
                    <a:pt x="3147" y="2374"/>
                  </a:lnTo>
                  <a:lnTo>
                    <a:pt x="3137" y="2358"/>
                  </a:lnTo>
                  <a:lnTo>
                    <a:pt x="3126" y="2358"/>
                  </a:lnTo>
                  <a:lnTo>
                    <a:pt x="3170" y="2396"/>
                  </a:lnTo>
                  <a:lnTo>
                    <a:pt x="3170" y="2412"/>
                  </a:lnTo>
                  <a:lnTo>
                    <a:pt x="3180" y="2412"/>
                  </a:lnTo>
                  <a:lnTo>
                    <a:pt x="3147" y="2379"/>
                  </a:lnTo>
                  <a:lnTo>
                    <a:pt x="3208" y="2379"/>
                  </a:lnTo>
                  <a:lnTo>
                    <a:pt x="3208" y="2374"/>
                  </a:lnTo>
                  <a:lnTo>
                    <a:pt x="3201" y="2346"/>
                  </a:lnTo>
                  <a:lnTo>
                    <a:pt x="3218" y="2337"/>
                  </a:lnTo>
                  <a:lnTo>
                    <a:pt x="3201" y="2325"/>
                  </a:lnTo>
                  <a:lnTo>
                    <a:pt x="3201" y="2303"/>
                  </a:lnTo>
                  <a:lnTo>
                    <a:pt x="3180" y="2280"/>
                  </a:lnTo>
                  <a:lnTo>
                    <a:pt x="3185" y="2268"/>
                  </a:lnTo>
                  <a:lnTo>
                    <a:pt x="3201" y="2235"/>
                  </a:lnTo>
                  <a:lnTo>
                    <a:pt x="3192" y="2235"/>
                  </a:lnTo>
                  <a:lnTo>
                    <a:pt x="3244" y="2235"/>
                  </a:lnTo>
                  <a:lnTo>
                    <a:pt x="3289" y="2214"/>
                  </a:lnTo>
                  <a:lnTo>
                    <a:pt x="3289" y="2192"/>
                  </a:lnTo>
                  <a:lnTo>
                    <a:pt x="3326" y="2176"/>
                  </a:lnTo>
                  <a:lnTo>
                    <a:pt x="3326" y="2169"/>
                  </a:lnTo>
                  <a:lnTo>
                    <a:pt x="3315" y="2169"/>
                  </a:lnTo>
                  <a:lnTo>
                    <a:pt x="3326" y="2140"/>
                  </a:lnTo>
                  <a:lnTo>
                    <a:pt x="3326" y="2124"/>
                  </a:lnTo>
                  <a:lnTo>
                    <a:pt x="3298" y="2124"/>
                  </a:lnTo>
                  <a:lnTo>
                    <a:pt x="3293" y="2140"/>
                  </a:lnTo>
                  <a:lnTo>
                    <a:pt x="3310" y="2136"/>
                  </a:lnTo>
                  <a:lnTo>
                    <a:pt x="3293" y="2152"/>
                  </a:lnTo>
                  <a:lnTo>
                    <a:pt x="3260" y="2152"/>
                  </a:lnTo>
                  <a:lnTo>
                    <a:pt x="3256" y="2152"/>
                  </a:lnTo>
                  <a:lnTo>
                    <a:pt x="3256" y="2136"/>
                  </a:lnTo>
                  <a:lnTo>
                    <a:pt x="3256" y="2124"/>
                  </a:lnTo>
                  <a:lnTo>
                    <a:pt x="3293" y="2103"/>
                  </a:lnTo>
                  <a:lnTo>
                    <a:pt x="3277" y="2103"/>
                  </a:lnTo>
                  <a:lnTo>
                    <a:pt x="3277" y="2081"/>
                  </a:lnTo>
                  <a:lnTo>
                    <a:pt x="3331" y="2065"/>
                  </a:lnTo>
                  <a:lnTo>
                    <a:pt x="3310" y="2086"/>
                  </a:lnTo>
                  <a:lnTo>
                    <a:pt x="3310" y="2103"/>
                  </a:lnTo>
                  <a:lnTo>
                    <a:pt x="3343" y="2070"/>
                  </a:lnTo>
                  <a:lnTo>
                    <a:pt x="3326" y="2070"/>
                  </a:lnTo>
                  <a:lnTo>
                    <a:pt x="3343" y="2065"/>
                  </a:lnTo>
                  <a:lnTo>
                    <a:pt x="3331" y="2058"/>
                  </a:lnTo>
                  <a:lnTo>
                    <a:pt x="3277" y="2065"/>
                  </a:lnTo>
                  <a:lnTo>
                    <a:pt x="3256" y="2029"/>
                  </a:lnTo>
                  <a:lnTo>
                    <a:pt x="3239" y="2048"/>
                  </a:lnTo>
                  <a:lnTo>
                    <a:pt x="3180" y="2025"/>
                  </a:lnTo>
                  <a:lnTo>
                    <a:pt x="3163" y="2025"/>
                  </a:lnTo>
                  <a:lnTo>
                    <a:pt x="3147" y="2003"/>
                  </a:lnTo>
                  <a:lnTo>
                    <a:pt x="3116" y="1975"/>
                  </a:lnTo>
                  <a:lnTo>
                    <a:pt x="3116" y="1954"/>
                  </a:lnTo>
                  <a:lnTo>
                    <a:pt x="3137" y="1921"/>
                  </a:lnTo>
                  <a:lnTo>
                    <a:pt x="3170" y="1921"/>
                  </a:lnTo>
                  <a:lnTo>
                    <a:pt x="3154" y="1914"/>
                  </a:lnTo>
                  <a:lnTo>
                    <a:pt x="3170" y="1897"/>
                  </a:lnTo>
                  <a:lnTo>
                    <a:pt x="3147" y="1914"/>
                  </a:lnTo>
                  <a:lnTo>
                    <a:pt x="3116" y="1892"/>
                  </a:lnTo>
                  <a:lnTo>
                    <a:pt x="3126" y="1859"/>
                  </a:lnTo>
                  <a:lnTo>
                    <a:pt x="3133" y="1848"/>
                  </a:lnTo>
                  <a:lnTo>
                    <a:pt x="3116" y="1843"/>
                  </a:lnTo>
                  <a:lnTo>
                    <a:pt x="3126" y="1843"/>
                  </a:lnTo>
                  <a:lnTo>
                    <a:pt x="3126" y="1826"/>
                  </a:lnTo>
                  <a:lnTo>
                    <a:pt x="3154" y="1810"/>
                  </a:lnTo>
                  <a:lnTo>
                    <a:pt x="3185" y="1826"/>
                  </a:lnTo>
                  <a:lnTo>
                    <a:pt x="3192" y="1810"/>
                  </a:lnTo>
                  <a:lnTo>
                    <a:pt x="3185" y="1803"/>
                  </a:lnTo>
                  <a:lnTo>
                    <a:pt x="3163" y="1786"/>
                  </a:lnTo>
                  <a:lnTo>
                    <a:pt x="3208" y="1770"/>
                  </a:lnTo>
                  <a:lnTo>
                    <a:pt x="3208" y="1753"/>
                  </a:lnTo>
                  <a:lnTo>
                    <a:pt x="3256" y="1748"/>
                  </a:lnTo>
                  <a:lnTo>
                    <a:pt x="3208" y="1748"/>
                  </a:lnTo>
                  <a:lnTo>
                    <a:pt x="3218" y="1737"/>
                  </a:lnTo>
                  <a:lnTo>
                    <a:pt x="3260" y="1732"/>
                  </a:lnTo>
                  <a:lnTo>
                    <a:pt x="3272" y="1737"/>
                  </a:lnTo>
                  <a:lnTo>
                    <a:pt x="3256" y="1753"/>
                  </a:lnTo>
                  <a:lnTo>
                    <a:pt x="3256" y="1765"/>
                  </a:lnTo>
                  <a:lnTo>
                    <a:pt x="3260" y="1753"/>
                  </a:lnTo>
                  <a:lnTo>
                    <a:pt x="3272" y="1753"/>
                  </a:lnTo>
                  <a:lnTo>
                    <a:pt x="3272" y="1781"/>
                  </a:lnTo>
                  <a:lnTo>
                    <a:pt x="3289" y="1753"/>
                  </a:lnTo>
                  <a:lnTo>
                    <a:pt x="3315" y="1765"/>
                  </a:lnTo>
                  <a:lnTo>
                    <a:pt x="3310" y="1781"/>
                  </a:lnTo>
                  <a:lnTo>
                    <a:pt x="3369" y="1819"/>
                  </a:lnTo>
                  <a:lnTo>
                    <a:pt x="3381" y="1843"/>
                  </a:lnTo>
                  <a:lnTo>
                    <a:pt x="3369" y="1876"/>
                  </a:lnTo>
                  <a:lnTo>
                    <a:pt x="3364" y="1881"/>
                  </a:lnTo>
                  <a:lnTo>
                    <a:pt x="3423" y="1914"/>
                  </a:lnTo>
                  <a:lnTo>
                    <a:pt x="3418" y="1930"/>
                  </a:lnTo>
                  <a:lnTo>
                    <a:pt x="3440" y="1947"/>
                  </a:lnTo>
                  <a:lnTo>
                    <a:pt x="3440" y="1959"/>
                  </a:lnTo>
                  <a:lnTo>
                    <a:pt x="3449" y="1947"/>
                  </a:lnTo>
                  <a:lnTo>
                    <a:pt x="3456" y="1947"/>
                  </a:lnTo>
                  <a:lnTo>
                    <a:pt x="3470" y="1970"/>
                  </a:lnTo>
                  <a:lnTo>
                    <a:pt x="3440" y="1975"/>
                  </a:lnTo>
                  <a:lnTo>
                    <a:pt x="3418" y="1970"/>
                  </a:lnTo>
                  <a:lnTo>
                    <a:pt x="3407" y="1987"/>
                  </a:lnTo>
                  <a:lnTo>
                    <a:pt x="3440" y="1992"/>
                  </a:lnTo>
                  <a:lnTo>
                    <a:pt x="3385" y="2029"/>
                  </a:lnTo>
                  <a:lnTo>
                    <a:pt x="3402" y="2029"/>
                  </a:lnTo>
                  <a:lnTo>
                    <a:pt x="3369" y="2029"/>
                  </a:lnTo>
                  <a:lnTo>
                    <a:pt x="3418" y="2029"/>
                  </a:lnTo>
                  <a:lnTo>
                    <a:pt x="3433" y="2041"/>
                  </a:lnTo>
                  <a:lnTo>
                    <a:pt x="3418" y="2041"/>
                  </a:lnTo>
                  <a:lnTo>
                    <a:pt x="3433" y="2048"/>
                  </a:lnTo>
                  <a:lnTo>
                    <a:pt x="3449" y="2058"/>
                  </a:lnTo>
                  <a:lnTo>
                    <a:pt x="3470" y="2041"/>
                  </a:lnTo>
                  <a:lnTo>
                    <a:pt x="3494" y="2041"/>
                  </a:lnTo>
                  <a:lnTo>
                    <a:pt x="3504" y="2041"/>
                  </a:lnTo>
                  <a:lnTo>
                    <a:pt x="3470" y="2058"/>
                  </a:lnTo>
                  <a:lnTo>
                    <a:pt x="3494" y="2048"/>
                  </a:lnTo>
                  <a:lnTo>
                    <a:pt x="3525" y="2058"/>
                  </a:lnTo>
                  <a:lnTo>
                    <a:pt x="3525" y="2048"/>
                  </a:lnTo>
                  <a:lnTo>
                    <a:pt x="3558" y="2065"/>
                  </a:lnTo>
                  <a:lnTo>
                    <a:pt x="3525" y="2065"/>
                  </a:lnTo>
                  <a:lnTo>
                    <a:pt x="3541" y="2065"/>
                  </a:lnTo>
                  <a:lnTo>
                    <a:pt x="3525" y="2070"/>
                  </a:lnTo>
                  <a:lnTo>
                    <a:pt x="3515" y="2086"/>
                  </a:lnTo>
                  <a:lnTo>
                    <a:pt x="3478" y="2070"/>
                  </a:lnTo>
                  <a:lnTo>
                    <a:pt x="3532" y="2115"/>
                  </a:lnTo>
                  <a:lnTo>
                    <a:pt x="3532" y="2124"/>
                  </a:lnTo>
                  <a:lnTo>
                    <a:pt x="3546" y="2136"/>
                  </a:lnTo>
                  <a:lnTo>
                    <a:pt x="3541" y="2152"/>
                  </a:lnTo>
                  <a:lnTo>
                    <a:pt x="3541" y="2181"/>
                  </a:lnTo>
                  <a:lnTo>
                    <a:pt x="3532" y="2192"/>
                  </a:lnTo>
                  <a:lnTo>
                    <a:pt x="3558" y="2197"/>
                  </a:lnTo>
                  <a:lnTo>
                    <a:pt x="3546" y="2209"/>
                  </a:lnTo>
                  <a:lnTo>
                    <a:pt x="3558" y="2214"/>
                  </a:lnTo>
                  <a:lnTo>
                    <a:pt x="3570" y="2214"/>
                  </a:lnTo>
                  <a:lnTo>
                    <a:pt x="3584" y="2192"/>
                  </a:lnTo>
                  <a:lnTo>
                    <a:pt x="3579" y="2169"/>
                  </a:lnTo>
                  <a:lnTo>
                    <a:pt x="3596" y="2157"/>
                  </a:lnTo>
                  <a:lnTo>
                    <a:pt x="3596" y="2119"/>
                  </a:lnTo>
                  <a:lnTo>
                    <a:pt x="3622" y="2086"/>
                  </a:lnTo>
                  <a:lnTo>
                    <a:pt x="3650" y="2086"/>
                  </a:lnTo>
                  <a:lnTo>
                    <a:pt x="3721" y="2140"/>
                  </a:lnTo>
                  <a:lnTo>
                    <a:pt x="3730" y="2209"/>
                  </a:lnTo>
                  <a:lnTo>
                    <a:pt x="3726" y="2226"/>
                  </a:lnTo>
                  <a:lnTo>
                    <a:pt x="3704" y="2197"/>
                  </a:lnTo>
                  <a:lnTo>
                    <a:pt x="3688" y="2209"/>
                  </a:lnTo>
                  <a:lnTo>
                    <a:pt x="3693" y="2230"/>
                  </a:lnTo>
                  <a:lnTo>
                    <a:pt x="3693" y="2252"/>
                  </a:lnTo>
                  <a:lnTo>
                    <a:pt x="3709" y="2285"/>
                  </a:lnTo>
                  <a:lnTo>
                    <a:pt x="3763" y="2337"/>
                  </a:lnTo>
                  <a:lnTo>
                    <a:pt x="3747" y="2358"/>
                  </a:lnTo>
                  <a:lnTo>
                    <a:pt x="3785" y="2341"/>
                  </a:lnTo>
                  <a:lnTo>
                    <a:pt x="3780" y="2325"/>
                  </a:lnTo>
                  <a:lnTo>
                    <a:pt x="3796" y="2320"/>
                  </a:lnTo>
                  <a:lnTo>
                    <a:pt x="3818" y="2325"/>
                  </a:lnTo>
                  <a:lnTo>
                    <a:pt x="3827" y="2292"/>
                  </a:lnTo>
                  <a:lnTo>
                    <a:pt x="3818" y="2285"/>
                  </a:lnTo>
                  <a:lnTo>
                    <a:pt x="3865" y="2235"/>
                  </a:lnTo>
                  <a:lnTo>
                    <a:pt x="3872" y="2209"/>
                  </a:lnTo>
                  <a:lnTo>
                    <a:pt x="3881" y="2192"/>
                  </a:lnTo>
                  <a:lnTo>
                    <a:pt x="3881" y="2152"/>
                  </a:lnTo>
                  <a:lnTo>
                    <a:pt x="3893" y="2152"/>
                  </a:lnTo>
                  <a:lnTo>
                    <a:pt x="3941" y="2152"/>
                  </a:lnTo>
                  <a:lnTo>
                    <a:pt x="3941" y="2140"/>
                  </a:lnTo>
                  <a:lnTo>
                    <a:pt x="3910" y="2136"/>
                  </a:lnTo>
                  <a:lnTo>
                    <a:pt x="3924" y="2136"/>
                  </a:lnTo>
                  <a:lnTo>
                    <a:pt x="3919" y="2124"/>
                  </a:lnTo>
                  <a:lnTo>
                    <a:pt x="3941" y="2124"/>
                  </a:lnTo>
                  <a:lnTo>
                    <a:pt x="3936" y="2119"/>
                  </a:lnTo>
                  <a:lnTo>
                    <a:pt x="3962" y="2119"/>
                  </a:lnTo>
                  <a:lnTo>
                    <a:pt x="3919" y="2103"/>
                  </a:lnTo>
                  <a:lnTo>
                    <a:pt x="3924" y="2098"/>
                  </a:lnTo>
                  <a:lnTo>
                    <a:pt x="3903" y="2103"/>
                  </a:lnTo>
                  <a:lnTo>
                    <a:pt x="3910" y="2098"/>
                  </a:lnTo>
                  <a:lnTo>
                    <a:pt x="3893" y="2086"/>
                  </a:lnTo>
                  <a:lnTo>
                    <a:pt x="3893" y="2070"/>
                  </a:lnTo>
                  <a:lnTo>
                    <a:pt x="3903" y="2065"/>
                  </a:lnTo>
                  <a:lnTo>
                    <a:pt x="3886" y="2065"/>
                  </a:lnTo>
                  <a:lnTo>
                    <a:pt x="3893" y="2025"/>
                  </a:lnTo>
                  <a:lnTo>
                    <a:pt x="3903" y="2025"/>
                  </a:lnTo>
                  <a:lnTo>
                    <a:pt x="3886" y="2008"/>
                  </a:lnTo>
                  <a:lnTo>
                    <a:pt x="3924" y="2025"/>
                  </a:lnTo>
                  <a:lnTo>
                    <a:pt x="3974" y="2008"/>
                  </a:lnTo>
                  <a:lnTo>
                    <a:pt x="4016" y="2029"/>
                  </a:lnTo>
                  <a:lnTo>
                    <a:pt x="4120" y="2041"/>
                  </a:lnTo>
                  <a:lnTo>
                    <a:pt x="4096" y="2041"/>
                  </a:lnTo>
                  <a:lnTo>
                    <a:pt x="4104" y="2058"/>
                  </a:lnTo>
                  <a:lnTo>
                    <a:pt x="4049" y="2048"/>
                  </a:lnTo>
                  <a:lnTo>
                    <a:pt x="4120" y="2070"/>
                  </a:lnTo>
                  <a:lnTo>
                    <a:pt x="4120" y="2086"/>
                  </a:lnTo>
                  <a:lnTo>
                    <a:pt x="4158" y="2086"/>
                  </a:lnTo>
                  <a:lnTo>
                    <a:pt x="4189" y="2098"/>
                  </a:lnTo>
                  <a:lnTo>
                    <a:pt x="4189" y="2103"/>
                  </a:lnTo>
                  <a:lnTo>
                    <a:pt x="4163" y="2119"/>
                  </a:lnTo>
                  <a:lnTo>
                    <a:pt x="4134" y="2136"/>
                  </a:lnTo>
                  <a:lnTo>
                    <a:pt x="4179" y="2136"/>
                  </a:lnTo>
                  <a:lnTo>
                    <a:pt x="4189" y="2152"/>
                  </a:lnTo>
                  <a:lnTo>
                    <a:pt x="4189" y="2169"/>
                  </a:lnTo>
                  <a:lnTo>
                    <a:pt x="4141" y="2192"/>
                  </a:lnTo>
                  <a:lnTo>
                    <a:pt x="4120" y="2181"/>
                  </a:lnTo>
                  <a:lnTo>
                    <a:pt x="4125" y="2181"/>
                  </a:lnTo>
                  <a:lnTo>
                    <a:pt x="4120" y="2192"/>
                  </a:lnTo>
                  <a:lnTo>
                    <a:pt x="4096" y="2181"/>
                  </a:lnTo>
                  <a:lnTo>
                    <a:pt x="4108" y="2209"/>
                  </a:lnTo>
                  <a:lnTo>
                    <a:pt x="4104" y="2209"/>
                  </a:lnTo>
                  <a:lnTo>
                    <a:pt x="4120" y="2209"/>
                  </a:lnTo>
                  <a:lnTo>
                    <a:pt x="4108" y="2226"/>
                  </a:lnTo>
                  <a:lnTo>
                    <a:pt x="4125" y="2230"/>
                  </a:lnTo>
                  <a:lnTo>
                    <a:pt x="4141" y="2226"/>
                  </a:lnTo>
                  <a:lnTo>
                    <a:pt x="4125" y="2247"/>
                  </a:lnTo>
                  <a:lnTo>
                    <a:pt x="4134" y="2252"/>
                  </a:lnTo>
                  <a:lnTo>
                    <a:pt x="4189" y="2308"/>
                  </a:lnTo>
                  <a:lnTo>
                    <a:pt x="4172" y="2363"/>
                  </a:lnTo>
                  <a:lnTo>
                    <a:pt x="4141" y="2374"/>
                  </a:lnTo>
                  <a:lnTo>
                    <a:pt x="4096" y="2419"/>
                  </a:lnTo>
                  <a:lnTo>
                    <a:pt x="4066" y="2419"/>
                  </a:lnTo>
                  <a:lnTo>
                    <a:pt x="4033" y="2448"/>
                  </a:lnTo>
                  <a:lnTo>
                    <a:pt x="4028" y="2436"/>
                  </a:lnTo>
                  <a:lnTo>
                    <a:pt x="4033" y="2448"/>
                  </a:lnTo>
                  <a:lnTo>
                    <a:pt x="4016" y="2429"/>
                  </a:lnTo>
                  <a:lnTo>
                    <a:pt x="4000" y="2419"/>
                  </a:lnTo>
                  <a:lnTo>
                    <a:pt x="3995" y="2403"/>
                  </a:lnTo>
                  <a:lnTo>
                    <a:pt x="4000" y="2391"/>
                  </a:lnTo>
                  <a:lnTo>
                    <a:pt x="4000" y="2379"/>
                  </a:lnTo>
                  <a:lnTo>
                    <a:pt x="3990" y="2403"/>
                  </a:lnTo>
                  <a:lnTo>
                    <a:pt x="3978" y="2403"/>
                  </a:lnTo>
                  <a:lnTo>
                    <a:pt x="3962" y="2391"/>
                  </a:lnTo>
                  <a:lnTo>
                    <a:pt x="3974" y="2374"/>
                  </a:lnTo>
                  <a:lnTo>
                    <a:pt x="3936" y="2358"/>
                  </a:lnTo>
                  <a:lnTo>
                    <a:pt x="3936" y="2374"/>
                  </a:lnTo>
                  <a:lnTo>
                    <a:pt x="3957" y="2374"/>
                  </a:lnTo>
                  <a:lnTo>
                    <a:pt x="3924" y="2374"/>
                  </a:lnTo>
                  <a:lnTo>
                    <a:pt x="3910" y="2379"/>
                  </a:lnTo>
                  <a:lnTo>
                    <a:pt x="3957" y="2374"/>
                  </a:lnTo>
                  <a:lnTo>
                    <a:pt x="3945" y="2379"/>
                  </a:lnTo>
                  <a:lnTo>
                    <a:pt x="3962" y="2391"/>
                  </a:lnTo>
                  <a:lnTo>
                    <a:pt x="3945" y="2391"/>
                  </a:lnTo>
                  <a:lnTo>
                    <a:pt x="3962" y="2396"/>
                  </a:lnTo>
                  <a:lnTo>
                    <a:pt x="3962" y="2403"/>
                  </a:lnTo>
                  <a:lnTo>
                    <a:pt x="3990" y="2403"/>
                  </a:lnTo>
                  <a:lnTo>
                    <a:pt x="3990" y="2412"/>
                  </a:lnTo>
                  <a:lnTo>
                    <a:pt x="4016" y="2469"/>
                  </a:lnTo>
                  <a:lnTo>
                    <a:pt x="4011" y="2469"/>
                  </a:lnTo>
                  <a:lnTo>
                    <a:pt x="3962" y="2436"/>
                  </a:lnTo>
                  <a:lnTo>
                    <a:pt x="3957" y="2452"/>
                  </a:lnTo>
                  <a:lnTo>
                    <a:pt x="3974" y="2469"/>
                  </a:lnTo>
                  <a:lnTo>
                    <a:pt x="3910" y="2457"/>
                  </a:lnTo>
                  <a:lnTo>
                    <a:pt x="3893" y="2419"/>
                  </a:lnTo>
                  <a:lnTo>
                    <a:pt x="3872" y="2429"/>
                  </a:lnTo>
                  <a:lnTo>
                    <a:pt x="3801" y="2429"/>
                  </a:lnTo>
                  <a:lnTo>
                    <a:pt x="3811" y="2436"/>
                  </a:lnTo>
                  <a:lnTo>
                    <a:pt x="3801" y="2436"/>
                  </a:lnTo>
                  <a:lnTo>
                    <a:pt x="3811" y="2452"/>
                  </a:lnTo>
                  <a:lnTo>
                    <a:pt x="3865" y="2469"/>
                  </a:lnTo>
                  <a:lnTo>
                    <a:pt x="3855" y="2485"/>
                  </a:lnTo>
                  <a:lnTo>
                    <a:pt x="3827" y="2502"/>
                  </a:lnTo>
                  <a:lnTo>
                    <a:pt x="3818" y="2523"/>
                  </a:lnTo>
                  <a:lnTo>
                    <a:pt x="3763" y="2568"/>
                  </a:lnTo>
                  <a:lnTo>
                    <a:pt x="3721" y="2563"/>
                  </a:lnTo>
                  <a:lnTo>
                    <a:pt x="3655" y="2530"/>
                  </a:lnTo>
                  <a:lnTo>
                    <a:pt x="3676" y="2530"/>
                  </a:lnTo>
                  <a:lnTo>
                    <a:pt x="3650" y="2523"/>
                  </a:lnTo>
                  <a:lnTo>
                    <a:pt x="3600" y="2490"/>
                  </a:lnTo>
                  <a:lnTo>
                    <a:pt x="3579" y="2490"/>
                  </a:lnTo>
                  <a:lnTo>
                    <a:pt x="3596" y="2502"/>
                  </a:lnTo>
                  <a:lnTo>
                    <a:pt x="3596" y="2507"/>
                  </a:lnTo>
                  <a:lnTo>
                    <a:pt x="3546" y="2502"/>
                  </a:lnTo>
                  <a:lnTo>
                    <a:pt x="3563" y="2502"/>
                  </a:lnTo>
                  <a:lnTo>
                    <a:pt x="3478" y="2490"/>
                  </a:lnTo>
                  <a:lnTo>
                    <a:pt x="3508" y="2507"/>
                  </a:lnTo>
                  <a:lnTo>
                    <a:pt x="3504" y="2502"/>
                  </a:lnTo>
                  <a:lnTo>
                    <a:pt x="3579" y="2514"/>
                  </a:lnTo>
                  <a:lnTo>
                    <a:pt x="3638" y="2568"/>
                  </a:lnTo>
                  <a:lnTo>
                    <a:pt x="3763" y="2568"/>
                  </a:lnTo>
                  <a:lnTo>
                    <a:pt x="3796" y="2585"/>
                  </a:lnTo>
                  <a:lnTo>
                    <a:pt x="3747" y="2658"/>
                  </a:lnTo>
                  <a:lnTo>
                    <a:pt x="3730" y="2667"/>
                  </a:lnTo>
                  <a:lnTo>
                    <a:pt x="3721" y="2696"/>
                  </a:lnTo>
                  <a:lnTo>
                    <a:pt x="3709" y="2707"/>
                  </a:lnTo>
                  <a:lnTo>
                    <a:pt x="3667" y="2729"/>
                  </a:lnTo>
                  <a:lnTo>
                    <a:pt x="3638" y="2724"/>
                  </a:lnTo>
                  <a:lnTo>
                    <a:pt x="3633" y="2707"/>
                  </a:lnTo>
                  <a:lnTo>
                    <a:pt x="3650" y="2729"/>
                  </a:lnTo>
                  <a:lnTo>
                    <a:pt x="3612" y="2712"/>
                  </a:lnTo>
                  <a:lnTo>
                    <a:pt x="3612" y="2729"/>
                  </a:lnTo>
                  <a:lnTo>
                    <a:pt x="3584" y="2712"/>
                  </a:lnTo>
                  <a:lnTo>
                    <a:pt x="3596" y="2707"/>
                  </a:lnTo>
                  <a:lnTo>
                    <a:pt x="3596" y="2696"/>
                  </a:lnTo>
                  <a:lnTo>
                    <a:pt x="3584" y="2707"/>
                  </a:lnTo>
                  <a:lnTo>
                    <a:pt x="3570" y="2707"/>
                  </a:lnTo>
                  <a:lnTo>
                    <a:pt x="3579" y="2712"/>
                  </a:lnTo>
                  <a:lnTo>
                    <a:pt x="3584" y="2729"/>
                  </a:lnTo>
                  <a:lnTo>
                    <a:pt x="3558" y="2724"/>
                  </a:lnTo>
                  <a:lnTo>
                    <a:pt x="3579" y="2745"/>
                  </a:lnTo>
                  <a:lnTo>
                    <a:pt x="3563" y="2769"/>
                  </a:lnTo>
                  <a:lnTo>
                    <a:pt x="3532" y="2752"/>
                  </a:lnTo>
                  <a:lnTo>
                    <a:pt x="3525" y="2762"/>
                  </a:lnTo>
                  <a:lnTo>
                    <a:pt x="3532" y="2762"/>
                  </a:lnTo>
                  <a:lnTo>
                    <a:pt x="3541" y="2769"/>
                  </a:lnTo>
                  <a:lnTo>
                    <a:pt x="3508" y="2769"/>
                  </a:lnTo>
                  <a:lnTo>
                    <a:pt x="3470" y="2752"/>
                  </a:lnTo>
                  <a:lnTo>
                    <a:pt x="3423" y="2752"/>
                  </a:lnTo>
                  <a:lnTo>
                    <a:pt x="3343" y="2724"/>
                  </a:lnTo>
                  <a:lnTo>
                    <a:pt x="3310" y="2696"/>
                  </a:lnTo>
                  <a:lnTo>
                    <a:pt x="3326" y="2712"/>
                  </a:lnTo>
                  <a:lnTo>
                    <a:pt x="3315" y="2729"/>
                  </a:lnTo>
                  <a:lnTo>
                    <a:pt x="3331" y="2736"/>
                  </a:lnTo>
                  <a:lnTo>
                    <a:pt x="3352" y="2736"/>
                  </a:lnTo>
                  <a:lnTo>
                    <a:pt x="3331" y="2729"/>
                  </a:lnTo>
                  <a:lnTo>
                    <a:pt x="3343" y="2729"/>
                  </a:lnTo>
                  <a:lnTo>
                    <a:pt x="3433" y="2752"/>
                  </a:lnTo>
                  <a:lnTo>
                    <a:pt x="3402" y="2778"/>
                  </a:lnTo>
                  <a:lnTo>
                    <a:pt x="3456" y="2752"/>
                  </a:lnTo>
                  <a:lnTo>
                    <a:pt x="3461" y="2769"/>
                  </a:lnTo>
                  <a:lnTo>
                    <a:pt x="3515" y="2790"/>
                  </a:lnTo>
                  <a:lnTo>
                    <a:pt x="3508" y="2785"/>
                  </a:lnTo>
                  <a:lnTo>
                    <a:pt x="3525" y="2790"/>
                  </a:lnTo>
                  <a:lnTo>
                    <a:pt x="3532" y="2835"/>
                  </a:lnTo>
                  <a:lnTo>
                    <a:pt x="3525" y="2840"/>
                  </a:lnTo>
                  <a:lnTo>
                    <a:pt x="3504" y="2840"/>
                  </a:lnTo>
                  <a:lnTo>
                    <a:pt x="3478" y="2856"/>
                  </a:lnTo>
                  <a:lnTo>
                    <a:pt x="3407" y="2856"/>
                  </a:lnTo>
                  <a:lnTo>
                    <a:pt x="3418" y="2873"/>
                  </a:lnTo>
                  <a:lnTo>
                    <a:pt x="3449" y="2880"/>
                  </a:lnTo>
                  <a:lnTo>
                    <a:pt x="3433" y="2889"/>
                  </a:lnTo>
                  <a:lnTo>
                    <a:pt x="3418" y="2880"/>
                  </a:lnTo>
                  <a:lnTo>
                    <a:pt x="3385" y="2896"/>
                  </a:lnTo>
                  <a:lnTo>
                    <a:pt x="3385" y="2913"/>
                  </a:lnTo>
                  <a:lnTo>
                    <a:pt x="3402" y="2934"/>
                  </a:lnTo>
                  <a:lnTo>
                    <a:pt x="3385" y="2918"/>
                  </a:lnTo>
                  <a:lnTo>
                    <a:pt x="3352" y="2913"/>
                  </a:lnTo>
                  <a:lnTo>
                    <a:pt x="3385" y="2929"/>
                  </a:lnTo>
                  <a:lnTo>
                    <a:pt x="3364" y="2929"/>
                  </a:lnTo>
                  <a:lnTo>
                    <a:pt x="3369" y="2934"/>
                  </a:lnTo>
                  <a:lnTo>
                    <a:pt x="3352" y="2946"/>
                  </a:lnTo>
                  <a:lnTo>
                    <a:pt x="3343" y="2946"/>
                  </a:lnTo>
                  <a:lnTo>
                    <a:pt x="3352" y="2951"/>
                  </a:lnTo>
                  <a:lnTo>
                    <a:pt x="3348" y="2955"/>
                  </a:lnTo>
                  <a:lnTo>
                    <a:pt x="3326" y="2951"/>
                  </a:lnTo>
                  <a:lnTo>
                    <a:pt x="3326" y="2967"/>
                  </a:lnTo>
                  <a:lnTo>
                    <a:pt x="3348" y="2974"/>
                  </a:lnTo>
                  <a:lnTo>
                    <a:pt x="3298" y="3007"/>
                  </a:lnTo>
                  <a:lnTo>
                    <a:pt x="3310" y="3024"/>
                  </a:lnTo>
                  <a:lnTo>
                    <a:pt x="3272" y="3078"/>
                  </a:lnTo>
                  <a:lnTo>
                    <a:pt x="3260" y="3111"/>
                  </a:lnTo>
                  <a:lnTo>
                    <a:pt x="3244" y="3111"/>
                  </a:lnTo>
                  <a:lnTo>
                    <a:pt x="3256" y="3123"/>
                  </a:lnTo>
                  <a:lnTo>
                    <a:pt x="3239" y="3173"/>
                  </a:lnTo>
                  <a:lnTo>
                    <a:pt x="3239" y="3206"/>
                  </a:lnTo>
                  <a:lnTo>
                    <a:pt x="3244" y="3234"/>
                  </a:lnTo>
                  <a:lnTo>
                    <a:pt x="3239" y="3246"/>
                  </a:lnTo>
                  <a:lnTo>
                    <a:pt x="3239" y="3263"/>
                  </a:lnTo>
                  <a:lnTo>
                    <a:pt x="3260" y="3300"/>
                  </a:lnTo>
                  <a:lnTo>
                    <a:pt x="3277" y="3300"/>
                  </a:lnTo>
                  <a:lnTo>
                    <a:pt x="3272" y="3355"/>
                  </a:lnTo>
                  <a:lnTo>
                    <a:pt x="3277" y="3338"/>
                  </a:lnTo>
                  <a:lnTo>
                    <a:pt x="3277" y="3317"/>
                  </a:lnTo>
                  <a:lnTo>
                    <a:pt x="3289" y="3300"/>
                  </a:lnTo>
                  <a:lnTo>
                    <a:pt x="3352" y="3300"/>
                  </a:lnTo>
                  <a:lnTo>
                    <a:pt x="3407" y="3449"/>
                  </a:lnTo>
                  <a:lnTo>
                    <a:pt x="3395" y="3473"/>
                  </a:lnTo>
                  <a:lnTo>
                    <a:pt x="3381" y="3489"/>
                  </a:lnTo>
                  <a:lnTo>
                    <a:pt x="3407" y="3473"/>
                  </a:lnTo>
                  <a:lnTo>
                    <a:pt x="3423" y="3473"/>
                  </a:lnTo>
                  <a:lnTo>
                    <a:pt x="3402" y="3489"/>
                  </a:lnTo>
                  <a:lnTo>
                    <a:pt x="3508" y="3461"/>
                  </a:lnTo>
                  <a:lnTo>
                    <a:pt x="3667" y="3499"/>
                  </a:lnTo>
                  <a:lnTo>
                    <a:pt x="3721" y="3539"/>
                  </a:lnTo>
                  <a:lnTo>
                    <a:pt x="3742" y="3572"/>
                  </a:lnTo>
                  <a:lnTo>
                    <a:pt x="3763" y="3584"/>
                  </a:lnTo>
                  <a:lnTo>
                    <a:pt x="3881" y="3626"/>
                  </a:lnTo>
                  <a:lnTo>
                    <a:pt x="3903" y="3650"/>
                  </a:lnTo>
                  <a:lnTo>
                    <a:pt x="3919" y="3650"/>
                  </a:lnTo>
                  <a:lnTo>
                    <a:pt x="3893" y="3688"/>
                  </a:lnTo>
                  <a:lnTo>
                    <a:pt x="3910" y="3666"/>
                  </a:lnTo>
                  <a:lnTo>
                    <a:pt x="3924" y="3655"/>
                  </a:lnTo>
                  <a:lnTo>
                    <a:pt x="3957" y="3666"/>
                  </a:lnTo>
                  <a:lnTo>
                    <a:pt x="4000" y="3655"/>
                  </a:lnTo>
                  <a:lnTo>
                    <a:pt x="4028" y="3671"/>
                  </a:lnTo>
                  <a:lnTo>
                    <a:pt x="4016" y="3655"/>
                  </a:lnTo>
                  <a:lnTo>
                    <a:pt x="4070" y="3666"/>
                  </a:lnTo>
                  <a:lnTo>
                    <a:pt x="4108" y="3683"/>
                  </a:lnTo>
                  <a:lnTo>
                    <a:pt x="4120" y="3671"/>
                  </a:lnTo>
                  <a:lnTo>
                    <a:pt x="4125" y="3704"/>
                  </a:lnTo>
                  <a:lnTo>
                    <a:pt x="4108" y="3749"/>
                  </a:lnTo>
                  <a:lnTo>
                    <a:pt x="4108" y="3766"/>
                  </a:lnTo>
                  <a:lnTo>
                    <a:pt x="4120" y="3777"/>
                  </a:lnTo>
                  <a:lnTo>
                    <a:pt x="4125" y="3806"/>
                  </a:lnTo>
                  <a:lnTo>
                    <a:pt x="4125" y="3822"/>
                  </a:lnTo>
                  <a:lnTo>
                    <a:pt x="4125" y="3855"/>
                  </a:lnTo>
                  <a:lnTo>
                    <a:pt x="4120" y="3872"/>
                  </a:lnTo>
                  <a:lnTo>
                    <a:pt x="4120" y="3877"/>
                  </a:lnTo>
                  <a:lnTo>
                    <a:pt x="4172" y="3943"/>
                  </a:lnTo>
                  <a:lnTo>
                    <a:pt x="4172" y="3950"/>
                  </a:lnTo>
                  <a:lnTo>
                    <a:pt x="4151" y="3966"/>
                  </a:lnTo>
                  <a:lnTo>
                    <a:pt x="4172" y="3959"/>
                  </a:lnTo>
                  <a:lnTo>
                    <a:pt x="4179" y="3971"/>
                  </a:lnTo>
                  <a:lnTo>
                    <a:pt x="4210" y="3983"/>
                  </a:lnTo>
                  <a:lnTo>
                    <a:pt x="4233" y="4016"/>
                  </a:lnTo>
                  <a:lnTo>
                    <a:pt x="4248" y="4044"/>
                  </a:lnTo>
                  <a:lnTo>
                    <a:pt x="4205" y="4077"/>
                  </a:lnTo>
                  <a:lnTo>
                    <a:pt x="4248" y="4044"/>
                  </a:lnTo>
                  <a:lnTo>
                    <a:pt x="4271" y="4044"/>
                  </a:lnTo>
                  <a:lnTo>
                    <a:pt x="4297" y="4061"/>
                  </a:lnTo>
                  <a:lnTo>
                    <a:pt x="4323" y="4099"/>
                  </a:lnTo>
                  <a:lnTo>
                    <a:pt x="4297" y="4061"/>
                  </a:lnTo>
                  <a:lnTo>
                    <a:pt x="4302" y="4037"/>
                  </a:lnTo>
                  <a:lnTo>
                    <a:pt x="4323" y="4016"/>
                  </a:lnTo>
                  <a:lnTo>
                    <a:pt x="4335" y="4016"/>
                  </a:lnTo>
                  <a:lnTo>
                    <a:pt x="4323" y="4025"/>
                  </a:lnTo>
                  <a:lnTo>
                    <a:pt x="4352" y="4025"/>
                  </a:lnTo>
                  <a:lnTo>
                    <a:pt x="4352" y="4054"/>
                  </a:lnTo>
                  <a:lnTo>
                    <a:pt x="4356" y="4061"/>
                  </a:lnTo>
                  <a:lnTo>
                    <a:pt x="4356" y="4054"/>
                  </a:lnTo>
                  <a:lnTo>
                    <a:pt x="4368" y="4025"/>
                  </a:lnTo>
                  <a:lnTo>
                    <a:pt x="4368" y="4021"/>
                  </a:lnTo>
                  <a:lnTo>
                    <a:pt x="4340" y="4004"/>
                  </a:lnTo>
                  <a:lnTo>
                    <a:pt x="4356" y="4000"/>
                  </a:lnTo>
                  <a:lnTo>
                    <a:pt x="4356" y="3988"/>
                  </a:lnTo>
                  <a:lnTo>
                    <a:pt x="4378" y="3971"/>
                  </a:lnTo>
                  <a:lnTo>
                    <a:pt x="4378" y="3933"/>
                  </a:lnTo>
                  <a:lnTo>
                    <a:pt x="4368" y="3926"/>
                  </a:lnTo>
                  <a:lnTo>
                    <a:pt x="4373" y="3926"/>
                  </a:lnTo>
                  <a:lnTo>
                    <a:pt x="4368" y="3905"/>
                  </a:lnTo>
                  <a:lnTo>
                    <a:pt x="4368" y="3893"/>
                  </a:lnTo>
                  <a:lnTo>
                    <a:pt x="4356" y="3893"/>
                  </a:lnTo>
                  <a:lnTo>
                    <a:pt x="4356" y="3855"/>
                  </a:lnTo>
                  <a:lnTo>
                    <a:pt x="4340" y="3832"/>
                  </a:lnTo>
                  <a:lnTo>
                    <a:pt x="4356" y="3832"/>
                  </a:lnTo>
                  <a:lnTo>
                    <a:pt x="4335" y="3815"/>
                  </a:lnTo>
                  <a:lnTo>
                    <a:pt x="4340" y="3799"/>
                  </a:lnTo>
                  <a:lnTo>
                    <a:pt x="4356" y="3806"/>
                  </a:lnTo>
                  <a:lnTo>
                    <a:pt x="4340" y="3794"/>
                  </a:lnTo>
                  <a:lnTo>
                    <a:pt x="4340" y="3782"/>
                  </a:lnTo>
                  <a:lnTo>
                    <a:pt x="4352" y="3782"/>
                  </a:lnTo>
                  <a:lnTo>
                    <a:pt x="4340" y="3777"/>
                  </a:lnTo>
                  <a:lnTo>
                    <a:pt x="4340" y="3766"/>
                  </a:lnTo>
                  <a:lnTo>
                    <a:pt x="4323" y="3766"/>
                  </a:lnTo>
                  <a:lnTo>
                    <a:pt x="4314" y="3728"/>
                  </a:lnTo>
                  <a:lnTo>
                    <a:pt x="4297" y="3721"/>
                  </a:lnTo>
                  <a:lnTo>
                    <a:pt x="4394" y="3683"/>
                  </a:lnTo>
                  <a:lnTo>
                    <a:pt x="4432" y="3655"/>
                  </a:lnTo>
                  <a:lnTo>
                    <a:pt x="4474" y="3626"/>
                  </a:lnTo>
                  <a:lnTo>
                    <a:pt x="4512" y="3584"/>
                  </a:lnTo>
                  <a:lnTo>
                    <a:pt x="4519" y="3544"/>
                  </a:lnTo>
                  <a:lnTo>
                    <a:pt x="4519" y="3473"/>
                  </a:lnTo>
                  <a:lnTo>
                    <a:pt x="4498" y="3407"/>
                  </a:lnTo>
                  <a:lnTo>
                    <a:pt x="4460" y="3355"/>
                  </a:lnTo>
                  <a:lnTo>
                    <a:pt x="4422" y="3338"/>
                  </a:lnTo>
                  <a:lnTo>
                    <a:pt x="4389" y="3317"/>
                  </a:lnTo>
                  <a:lnTo>
                    <a:pt x="4394" y="3322"/>
                  </a:lnTo>
                  <a:lnTo>
                    <a:pt x="4378" y="3317"/>
                  </a:lnTo>
                  <a:lnTo>
                    <a:pt x="4389" y="3305"/>
                  </a:lnTo>
                  <a:lnTo>
                    <a:pt x="4378" y="3279"/>
                  </a:lnTo>
                  <a:lnTo>
                    <a:pt x="4394" y="3284"/>
                  </a:lnTo>
                  <a:lnTo>
                    <a:pt x="4411" y="3251"/>
                  </a:lnTo>
                  <a:lnTo>
                    <a:pt x="4444" y="3227"/>
                  </a:lnTo>
                  <a:lnTo>
                    <a:pt x="4427" y="3227"/>
                  </a:lnTo>
                  <a:lnTo>
                    <a:pt x="4432" y="3211"/>
                  </a:lnTo>
                  <a:lnTo>
                    <a:pt x="4432" y="3194"/>
                  </a:lnTo>
                  <a:lnTo>
                    <a:pt x="4465" y="3211"/>
                  </a:lnTo>
                  <a:lnTo>
                    <a:pt x="4448" y="3194"/>
                  </a:lnTo>
                  <a:lnTo>
                    <a:pt x="4465" y="3189"/>
                  </a:lnTo>
                  <a:lnTo>
                    <a:pt x="4460" y="3173"/>
                  </a:lnTo>
                  <a:lnTo>
                    <a:pt x="4503" y="3151"/>
                  </a:lnTo>
                  <a:lnTo>
                    <a:pt x="4474" y="3151"/>
                  </a:lnTo>
                  <a:lnTo>
                    <a:pt x="4465" y="3168"/>
                  </a:lnTo>
                  <a:lnTo>
                    <a:pt x="4448" y="3156"/>
                  </a:lnTo>
                  <a:lnTo>
                    <a:pt x="4460" y="3140"/>
                  </a:lnTo>
                  <a:lnTo>
                    <a:pt x="4432" y="3123"/>
                  </a:lnTo>
                  <a:lnTo>
                    <a:pt x="4460" y="3111"/>
                  </a:lnTo>
                  <a:lnTo>
                    <a:pt x="4427" y="3095"/>
                  </a:lnTo>
                  <a:lnTo>
                    <a:pt x="4448" y="3078"/>
                  </a:lnTo>
                  <a:lnTo>
                    <a:pt x="4406" y="3078"/>
                  </a:lnTo>
                  <a:lnTo>
                    <a:pt x="4444" y="3029"/>
                  </a:lnTo>
                  <a:lnTo>
                    <a:pt x="4432" y="3012"/>
                  </a:lnTo>
                  <a:lnTo>
                    <a:pt x="4448" y="3007"/>
                  </a:lnTo>
                  <a:lnTo>
                    <a:pt x="4448" y="3000"/>
                  </a:lnTo>
                  <a:lnTo>
                    <a:pt x="4460" y="3000"/>
                  </a:lnTo>
                  <a:lnTo>
                    <a:pt x="4422" y="2974"/>
                  </a:lnTo>
                  <a:lnTo>
                    <a:pt x="4406" y="2929"/>
                  </a:lnTo>
                  <a:lnTo>
                    <a:pt x="4422" y="2901"/>
                  </a:lnTo>
                  <a:lnTo>
                    <a:pt x="4448" y="2889"/>
                  </a:lnTo>
                  <a:lnTo>
                    <a:pt x="4498" y="2889"/>
                  </a:lnTo>
                  <a:lnTo>
                    <a:pt x="4583" y="2913"/>
                  </a:lnTo>
                  <a:lnTo>
                    <a:pt x="4567" y="2929"/>
                  </a:lnTo>
                  <a:lnTo>
                    <a:pt x="4604" y="2913"/>
                  </a:lnTo>
                  <a:lnTo>
                    <a:pt x="4659" y="2934"/>
                  </a:lnTo>
                  <a:lnTo>
                    <a:pt x="4642" y="2929"/>
                  </a:lnTo>
                  <a:lnTo>
                    <a:pt x="4718" y="2896"/>
                  </a:lnTo>
                  <a:lnTo>
                    <a:pt x="4772" y="2934"/>
                  </a:lnTo>
                  <a:lnTo>
                    <a:pt x="4798" y="2934"/>
                  </a:lnTo>
                  <a:lnTo>
                    <a:pt x="4798" y="2951"/>
                  </a:lnTo>
                  <a:lnTo>
                    <a:pt x="4789" y="2967"/>
                  </a:lnTo>
                  <a:lnTo>
                    <a:pt x="4798" y="2967"/>
                  </a:lnTo>
                  <a:lnTo>
                    <a:pt x="4798" y="2955"/>
                  </a:lnTo>
                  <a:lnTo>
                    <a:pt x="4822" y="2955"/>
                  </a:lnTo>
                  <a:lnTo>
                    <a:pt x="4836" y="2984"/>
                  </a:lnTo>
                  <a:lnTo>
                    <a:pt x="4822" y="3000"/>
                  </a:lnTo>
                  <a:lnTo>
                    <a:pt x="4843" y="2991"/>
                  </a:lnTo>
                  <a:lnTo>
                    <a:pt x="4843" y="2984"/>
                  </a:lnTo>
                  <a:lnTo>
                    <a:pt x="4864" y="2991"/>
                  </a:lnTo>
                  <a:lnTo>
                    <a:pt x="4874" y="3000"/>
                  </a:lnTo>
                  <a:lnTo>
                    <a:pt x="4843" y="3012"/>
                  </a:lnTo>
                  <a:lnTo>
                    <a:pt x="4859" y="3012"/>
                  </a:lnTo>
                  <a:lnTo>
                    <a:pt x="4881" y="3045"/>
                  </a:lnTo>
                  <a:lnTo>
                    <a:pt x="4944" y="3057"/>
                  </a:lnTo>
                  <a:lnTo>
                    <a:pt x="4966" y="3045"/>
                  </a:lnTo>
                  <a:lnTo>
                    <a:pt x="4973" y="3066"/>
                  </a:lnTo>
                  <a:lnTo>
                    <a:pt x="4982" y="3078"/>
                  </a:lnTo>
                  <a:lnTo>
                    <a:pt x="4999" y="3066"/>
                  </a:lnTo>
                  <a:lnTo>
                    <a:pt x="5004" y="3066"/>
                  </a:lnTo>
                  <a:lnTo>
                    <a:pt x="5004" y="3057"/>
                  </a:lnTo>
                  <a:lnTo>
                    <a:pt x="5015" y="3045"/>
                  </a:lnTo>
                  <a:lnTo>
                    <a:pt x="5020" y="3078"/>
                  </a:lnTo>
                  <a:lnTo>
                    <a:pt x="4999" y="3095"/>
                  </a:lnTo>
                  <a:lnTo>
                    <a:pt x="5004" y="3100"/>
                  </a:lnTo>
                  <a:lnTo>
                    <a:pt x="4987" y="3111"/>
                  </a:lnTo>
                  <a:lnTo>
                    <a:pt x="4999" y="3123"/>
                  </a:lnTo>
                  <a:lnTo>
                    <a:pt x="4999" y="3135"/>
                  </a:lnTo>
                  <a:lnTo>
                    <a:pt x="5004" y="3140"/>
                  </a:lnTo>
                  <a:lnTo>
                    <a:pt x="5004" y="3156"/>
                  </a:lnTo>
                  <a:lnTo>
                    <a:pt x="4944" y="3168"/>
                  </a:lnTo>
                  <a:lnTo>
                    <a:pt x="4911" y="3156"/>
                  </a:lnTo>
                  <a:lnTo>
                    <a:pt x="4935" y="3173"/>
                  </a:lnTo>
                  <a:lnTo>
                    <a:pt x="4999" y="3173"/>
                  </a:lnTo>
                  <a:lnTo>
                    <a:pt x="5004" y="3177"/>
                  </a:lnTo>
                  <a:lnTo>
                    <a:pt x="5015" y="3206"/>
                  </a:lnTo>
                  <a:lnTo>
                    <a:pt x="4999" y="3222"/>
                  </a:lnTo>
                  <a:lnTo>
                    <a:pt x="5004" y="3234"/>
                  </a:lnTo>
                  <a:lnTo>
                    <a:pt x="4999" y="3234"/>
                  </a:lnTo>
                  <a:lnTo>
                    <a:pt x="5020" y="3234"/>
                  </a:lnTo>
                  <a:lnTo>
                    <a:pt x="5025" y="3234"/>
                  </a:lnTo>
                  <a:lnTo>
                    <a:pt x="5037" y="3251"/>
                  </a:lnTo>
                  <a:lnTo>
                    <a:pt x="5015" y="3251"/>
                  </a:lnTo>
                  <a:lnTo>
                    <a:pt x="5015" y="3263"/>
                  </a:lnTo>
                  <a:lnTo>
                    <a:pt x="5025" y="3263"/>
                  </a:lnTo>
                  <a:lnTo>
                    <a:pt x="5015" y="3267"/>
                  </a:lnTo>
                  <a:lnTo>
                    <a:pt x="5020" y="3284"/>
                  </a:lnTo>
                  <a:lnTo>
                    <a:pt x="5015" y="3296"/>
                  </a:lnTo>
                  <a:lnTo>
                    <a:pt x="5004" y="3296"/>
                  </a:lnTo>
                  <a:lnTo>
                    <a:pt x="5004" y="3284"/>
                  </a:lnTo>
                  <a:lnTo>
                    <a:pt x="4987" y="3267"/>
                  </a:lnTo>
                  <a:lnTo>
                    <a:pt x="4987" y="3296"/>
                  </a:lnTo>
                  <a:lnTo>
                    <a:pt x="4966" y="3300"/>
                  </a:lnTo>
                  <a:lnTo>
                    <a:pt x="4982" y="3300"/>
                  </a:lnTo>
                  <a:lnTo>
                    <a:pt x="4987" y="3317"/>
                  </a:lnTo>
                  <a:lnTo>
                    <a:pt x="5025" y="3284"/>
                  </a:lnTo>
                  <a:lnTo>
                    <a:pt x="5070" y="3284"/>
                  </a:lnTo>
                  <a:lnTo>
                    <a:pt x="5096" y="3300"/>
                  </a:lnTo>
                  <a:lnTo>
                    <a:pt x="5107" y="3333"/>
                  </a:lnTo>
                  <a:lnTo>
                    <a:pt x="5096" y="3362"/>
                  </a:lnTo>
                  <a:lnTo>
                    <a:pt x="5020" y="3407"/>
                  </a:lnTo>
                  <a:lnTo>
                    <a:pt x="5091" y="3374"/>
                  </a:lnTo>
                  <a:lnTo>
                    <a:pt x="5107" y="3333"/>
                  </a:lnTo>
                  <a:lnTo>
                    <a:pt x="5124" y="3317"/>
                  </a:lnTo>
                  <a:lnTo>
                    <a:pt x="5129" y="3322"/>
                  </a:lnTo>
                  <a:lnTo>
                    <a:pt x="5129" y="3350"/>
                  </a:lnTo>
                  <a:lnTo>
                    <a:pt x="5112" y="3374"/>
                  </a:lnTo>
                  <a:lnTo>
                    <a:pt x="5138" y="3350"/>
                  </a:lnTo>
                  <a:lnTo>
                    <a:pt x="5129" y="3333"/>
                  </a:lnTo>
                  <a:lnTo>
                    <a:pt x="5138" y="3333"/>
                  </a:lnTo>
                  <a:lnTo>
                    <a:pt x="5145" y="3333"/>
                  </a:lnTo>
                  <a:lnTo>
                    <a:pt x="5138" y="3350"/>
                  </a:lnTo>
                  <a:lnTo>
                    <a:pt x="5145" y="3355"/>
                  </a:lnTo>
                  <a:lnTo>
                    <a:pt x="5138" y="3390"/>
                  </a:lnTo>
                  <a:lnTo>
                    <a:pt x="5150" y="3355"/>
                  </a:lnTo>
                  <a:lnTo>
                    <a:pt x="5183" y="3338"/>
                  </a:lnTo>
                  <a:lnTo>
                    <a:pt x="5192" y="3322"/>
                  </a:lnTo>
                  <a:lnTo>
                    <a:pt x="5214" y="3322"/>
                  </a:lnTo>
                  <a:lnTo>
                    <a:pt x="5221" y="3305"/>
                  </a:lnTo>
                  <a:lnTo>
                    <a:pt x="5230" y="3296"/>
                  </a:lnTo>
                  <a:lnTo>
                    <a:pt x="5268" y="3317"/>
                  </a:lnTo>
                  <a:lnTo>
                    <a:pt x="5252" y="3350"/>
                  </a:lnTo>
                  <a:lnTo>
                    <a:pt x="5268" y="3333"/>
                  </a:lnTo>
                  <a:lnTo>
                    <a:pt x="5259" y="3333"/>
                  </a:lnTo>
                  <a:lnTo>
                    <a:pt x="5268" y="3317"/>
                  </a:lnTo>
                  <a:lnTo>
                    <a:pt x="5252" y="3300"/>
                  </a:lnTo>
                  <a:lnTo>
                    <a:pt x="5259" y="3296"/>
                  </a:lnTo>
                  <a:lnTo>
                    <a:pt x="5275" y="3296"/>
                  </a:lnTo>
                  <a:lnTo>
                    <a:pt x="5259" y="3284"/>
                  </a:lnTo>
                  <a:lnTo>
                    <a:pt x="5275" y="3267"/>
                  </a:lnTo>
                  <a:lnTo>
                    <a:pt x="5306" y="3267"/>
                  </a:lnTo>
                  <a:lnTo>
                    <a:pt x="5285" y="3263"/>
                  </a:lnTo>
                  <a:lnTo>
                    <a:pt x="5275" y="3246"/>
                  </a:lnTo>
                  <a:lnTo>
                    <a:pt x="5289" y="3251"/>
                  </a:lnTo>
                  <a:lnTo>
                    <a:pt x="5289" y="3234"/>
                  </a:lnTo>
                  <a:lnTo>
                    <a:pt x="5306" y="3246"/>
                  </a:lnTo>
                  <a:lnTo>
                    <a:pt x="5289" y="3222"/>
                  </a:lnTo>
                  <a:lnTo>
                    <a:pt x="5327" y="3234"/>
                  </a:lnTo>
                  <a:lnTo>
                    <a:pt x="5301" y="3222"/>
                  </a:lnTo>
                  <a:lnTo>
                    <a:pt x="5289" y="3194"/>
                  </a:lnTo>
                  <a:lnTo>
                    <a:pt x="5306" y="3177"/>
                  </a:lnTo>
                  <a:lnTo>
                    <a:pt x="5327" y="3189"/>
                  </a:lnTo>
                  <a:lnTo>
                    <a:pt x="5313" y="3177"/>
                  </a:lnTo>
                  <a:lnTo>
                    <a:pt x="5339" y="3123"/>
                  </a:lnTo>
                  <a:lnTo>
                    <a:pt x="5365" y="3135"/>
                  </a:lnTo>
                  <a:lnTo>
                    <a:pt x="5344" y="3140"/>
                  </a:lnTo>
                  <a:lnTo>
                    <a:pt x="5365" y="3140"/>
                  </a:lnTo>
                  <a:lnTo>
                    <a:pt x="5377" y="3151"/>
                  </a:lnTo>
                  <a:lnTo>
                    <a:pt x="5365" y="3156"/>
                  </a:lnTo>
                  <a:lnTo>
                    <a:pt x="5344" y="3168"/>
                  </a:lnTo>
                  <a:lnTo>
                    <a:pt x="5377" y="3156"/>
                  </a:lnTo>
                  <a:lnTo>
                    <a:pt x="5377" y="3173"/>
                  </a:lnTo>
                  <a:lnTo>
                    <a:pt x="5365" y="3177"/>
                  </a:lnTo>
                  <a:lnTo>
                    <a:pt x="5377" y="3173"/>
                  </a:lnTo>
                  <a:lnTo>
                    <a:pt x="5377" y="3168"/>
                  </a:lnTo>
                  <a:lnTo>
                    <a:pt x="5393" y="3168"/>
                  </a:lnTo>
                  <a:lnTo>
                    <a:pt x="5393" y="3189"/>
                  </a:lnTo>
                  <a:lnTo>
                    <a:pt x="5381" y="3189"/>
                  </a:lnTo>
                  <a:lnTo>
                    <a:pt x="5398" y="3206"/>
                  </a:lnTo>
                  <a:lnTo>
                    <a:pt x="5393" y="3222"/>
                  </a:lnTo>
                  <a:lnTo>
                    <a:pt x="5398" y="3206"/>
                  </a:lnTo>
                  <a:lnTo>
                    <a:pt x="5419" y="3222"/>
                  </a:lnTo>
                  <a:lnTo>
                    <a:pt x="5415" y="3227"/>
                  </a:lnTo>
                  <a:lnTo>
                    <a:pt x="5398" y="3234"/>
                  </a:lnTo>
                  <a:lnTo>
                    <a:pt x="5415" y="3234"/>
                  </a:lnTo>
                  <a:lnTo>
                    <a:pt x="5415" y="3246"/>
                  </a:lnTo>
                  <a:lnTo>
                    <a:pt x="5431" y="3234"/>
                  </a:lnTo>
                  <a:lnTo>
                    <a:pt x="5448" y="3251"/>
                  </a:lnTo>
                  <a:lnTo>
                    <a:pt x="5431" y="3267"/>
                  </a:lnTo>
                  <a:lnTo>
                    <a:pt x="5398" y="3267"/>
                  </a:lnTo>
                  <a:lnTo>
                    <a:pt x="5462" y="3267"/>
                  </a:lnTo>
                  <a:lnTo>
                    <a:pt x="5448" y="3267"/>
                  </a:lnTo>
                  <a:lnTo>
                    <a:pt x="5462" y="3284"/>
                  </a:lnTo>
                  <a:lnTo>
                    <a:pt x="5448" y="3296"/>
                  </a:lnTo>
                  <a:lnTo>
                    <a:pt x="5469" y="3284"/>
                  </a:lnTo>
                  <a:lnTo>
                    <a:pt x="5485" y="3305"/>
                  </a:lnTo>
                  <a:lnTo>
                    <a:pt x="5431" y="3350"/>
                  </a:lnTo>
                  <a:lnTo>
                    <a:pt x="5452" y="3333"/>
                  </a:lnTo>
                  <a:lnTo>
                    <a:pt x="5500" y="3333"/>
                  </a:lnTo>
                  <a:lnTo>
                    <a:pt x="5500" y="3350"/>
                  </a:lnTo>
                  <a:lnTo>
                    <a:pt x="5485" y="3355"/>
                  </a:lnTo>
                  <a:lnTo>
                    <a:pt x="5500" y="3355"/>
                  </a:lnTo>
                  <a:lnTo>
                    <a:pt x="5474" y="3362"/>
                  </a:lnTo>
                  <a:lnTo>
                    <a:pt x="5448" y="3378"/>
                  </a:lnTo>
                  <a:lnTo>
                    <a:pt x="5462" y="3378"/>
                  </a:lnTo>
                  <a:lnTo>
                    <a:pt x="5474" y="3362"/>
                  </a:lnTo>
                  <a:lnTo>
                    <a:pt x="5507" y="3362"/>
                  </a:lnTo>
                  <a:lnTo>
                    <a:pt x="5507" y="3374"/>
                  </a:lnTo>
                  <a:lnTo>
                    <a:pt x="5516" y="3362"/>
                  </a:lnTo>
                  <a:lnTo>
                    <a:pt x="5523" y="3378"/>
                  </a:lnTo>
                  <a:lnTo>
                    <a:pt x="5490" y="3390"/>
                  </a:lnTo>
                  <a:lnTo>
                    <a:pt x="5528" y="3378"/>
                  </a:lnTo>
                  <a:lnTo>
                    <a:pt x="5537" y="3390"/>
                  </a:lnTo>
                  <a:lnTo>
                    <a:pt x="5528" y="3407"/>
                  </a:lnTo>
                  <a:lnTo>
                    <a:pt x="5544" y="3416"/>
                  </a:lnTo>
                  <a:lnTo>
                    <a:pt x="5523" y="3433"/>
                  </a:lnTo>
                  <a:lnTo>
                    <a:pt x="5500" y="3433"/>
                  </a:lnTo>
                  <a:lnTo>
                    <a:pt x="5516" y="3444"/>
                  </a:lnTo>
                  <a:lnTo>
                    <a:pt x="5544" y="3444"/>
                  </a:lnTo>
                  <a:lnTo>
                    <a:pt x="5554" y="3444"/>
                  </a:lnTo>
                  <a:lnTo>
                    <a:pt x="5537" y="3461"/>
                  </a:lnTo>
                  <a:lnTo>
                    <a:pt x="5582" y="3473"/>
                  </a:lnTo>
                  <a:lnTo>
                    <a:pt x="5582" y="3482"/>
                  </a:lnTo>
                  <a:lnTo>
                    <a:pt x="5575" y="3489"/>
                  </a:lnTo>
                  <a:lnTo>
                    <a:pt x="5561" y="3506"/>
                  </a:lnTo>
                  <a:lnTo>
                    <a:pt x="5544" y="3506"/>
                  </a:lnTo>
                  <a:lnTo>
                    <a:pt x="5544" y="3518"/>
                  </a:lnTo>
                  <a:lnTo>
                    <a:pt x="5561" y="3518"/>
                  </a:lnTo>
                  <a:lnTo>
                    <a:pt x="5554" y="3518"/>
                  </a:lnTo>
                  <a:lnTo>
                    <a:pt x="5561" y="3522"/>
                  </a:lnTo>
                  <a:lnTo>
                    <a:pt x="5507" y="3506"/>
                  </a:lnTo>
                  <a:lnTo>
                    <a:pt x="5537" y="3499"/>
                  </a:lnTo>
                  <a:lnTo>
                    <a:pt x="5500" y="3506"/>
                  </a:lnTo>
                  <a:lnTo>
                    <a:pt x="5537" y="3522"/>
                  </a:lnTo>
                  <a:lnTo>
                    <a:pt x="5523" y="3522"/>
                  </a:lnTo>
                  <a:lnTo>
                    <a:pt x="5561" y="3527"/>
                  </a:lnTo>
                  <a:lnTo>
                    <a:pt x="5528" y="3539"/>
                  </a:lnTo>
                  <a:lnTo>
                    <a:pt x="5554" y="3544"/>
                  </a:lnTo>
                  <a:lnTo>
                    <a:pt x="5561" y="3560"/>
                  </a:lnTo>
                  <a:lnTo>
                    <a:pt x="5537" y="3555"/>
                  </a:lnTo>
                  <a:lnTo>
                    <a:pt x="5537" y="3560"/>
                  </a:lnTo>
                  <a:lnTo>
                    <a:pt x="5582" y="3560"/>
                  </a:lnTo>
                  <a:lnTo>
                    <a:pt x="5575" y="3577"/>
                  </a:lnTo>
                  <a:lnTo>
                    <a:pt x="5592" y="3577"/>
                  </a:lnTo>
                  <a:lnTo>
                    <a:pt x="5575" y="3584"/>
                  </a:lnTo>
                  <a:lnTo>
                    <a:pt x="5599" y="3584"/>
                  </a:lnTo>
                  <a:lnTo>
                    <a:pt x="5608" y="3593"/>
                  </a:lnTo>
                  <a:lnTo>
                    <a:pt x="5599" y="3593"/>
                  </a:lnTo>
                  <a:lnTo>
                    <a:pt x="5608" y="3600"/>
                  </a:lnTo>
                  <a:lnTo>
                    <a:pt x="5629" y="3600"/>
                  </a:lnTo>
                  <a:lnTo>
                    <a:pt x="5625" y="3610"/>
                  </a:lnTo>
                  <a:lnTo>
                    <a:pt x="5637" y="3600"/>
                  </a:lnTo>
                  <a:lnTo>
                    <a:pt x="5629" y="3626"/>
                  </a:lnTo>
                  <a:lnTo>
                    <a:pt x="5646" y="3600"/>
                  </a:lnTo>
                  <a:lnTo>
                    <a:pt x="5663" y="3610"/>
                  </a:lnTo>
                  <a:lnTo>
                    <a:pt x="5646" y="3626"/>
                  </a:lnTo>
                  <a:lnTo>
                    <a:pt x="5663" y="3626"/>
                  </a:lnTo>
                  <a:lnTo>
                    <a:pt x="5646" y="3650"/>
                  </a:lnTo>
                  <a:lnTo>
                    <a:pt x="5663" y="3633"/>
                  </a:lnTo>
                  <a:lnTo>
                    <a:pt x="5667" y="3638"/>
                  </a:lnTo>
                  <a:lnTo>
                    <a:pt x="5651" y="3650"/>
                  </a:lnTo>
                  <a:lnTo>
                    <a:pt x="5646" y="3666"/>
                  </a:lnTo>
                  <a:lnTo>
                    <a:pt x="5651" y="3655"/>
                  </a:lnTo>
                  <a:lnTo>
                    <a:pt x="5629" y="3688"/>
                  </a:lnTo>
                  <a:lnTo>
                    <a:pt x="5663" y="3666"/>
                  </a:lnTo>
                  <a:lnTo>
                    <a:pt x="5679" y="3666"/>
                  </a:lnTo>
                  <a:lnTo>
                    <a:pt x="5663" y="3683"/>
                  </a:lnTo>
                  <a:lnTo>
                    <a:pt x="5700" y="3655"/>
                  </a:lnTo>
                  <a:lnTo>
                    <a:pt x="5700" y="3666"/>
                  </a:lnTo>
                  <a:lnTo>
                    <a:pt x="5684" y="3671"/>
                  </a:lnTo>
                  <a:lnTo>
                    <a:pt x="5722" y="3671"/>
                  </a:lnTo>
                  <a:lnTo>
                    <a:pt x="5684" y="3711"/>
                  </a:lnTo>
                  <a:lnTo>
                    <a:pt x="5738" y="3666"/>
                  </a:lnTo>
                  <a:lnTo>
                    <a:pt x="5722" y="3688"/>
                  </a:lnTo>
                  <a:lnTo>
                    <a:pt x="5743" y="3671"/>
                  </a:lnTo>
                  <a:lnTo>
                    <a:pt x="5755" y="3671"/>
                  </a:lnTo>
                  <a:lnTo>
                    <a:pt x="5755" y="3683"/>
                  </a:lnTo>
                  <a:lnTo>
                    <a:pt x="5759" y="3688"/>
                  </a:lnTo>
                  <a:lnTo>
                    <a:pt x="5743" y="3695"/>
                  </a:lnTo>
                  <a:lnTo>
                    <a:pt x="5755" y="3704"/>
                  </a:lnTo>
                  <a:lnTo>
                    <a:pt x="5830" y="3711"/>
                  </a:lnTo>
                  <a:lnTo>
                    <a:pt x="5868" y="3728"/>
                  </a:lnTo>
                  <a:lnTo>
                    <a:pt x="5863" y="3737"/>
                  </a:lnTo>
                  <a:lnTo>
                    <a:pt x="5840" y="3737"/>
                  </a:lnTo>
                  <a:lnTo>
                    <a:pt x="5863" y="3744"/>
                  </a:lnTo>
                  <a:lnTo>
                    <a:pt x="5847" y="3749"/>
                  </a:lnTo>
                  <a:lnTo>
                    <a:pt x="5809" y="3749"/>
                  </a:lnTo>
                  <a:lnTo>
                    <a:pt x="5797" y="3749"/>
                  </a:lnTo>
                  <a:lnTo>
                    <a:pt x="5814" y="3749"/>
                  </a:lnTo>
                  <a:lnTo>
                    <a:pt x="5809" y="3761"/>
                  </a:lnTo>
                  <a:lnTo>
                    <a:pt x="5771" y="3766"/>
                  </a:lnTo>
                  <a:lnTo>
                    <a:pt x="5705" y="3782"/>
                  </a:lnTo>
                  <a:lnTo>
                    <a:pt x="5733" y="3782"/>
                  </a:lnTo>
                  <a:lnTo>
                    <a:pt x="5792" y="3761"/>
                  </a:lnTo>
                  <a:lnTo>
                    <a:pt x="5776" y="3782"/>
                  </a:lnTo>
                  <a:lnTo>
                    <a:pt x="5743" y="3782"/>
                  </a:lnTo>
                  <a:lnTo>
                    <a:pt x="5755" y="3782"/>
                  </a:lnTo>
                  <a:lnTo>
                    <a:pt x="5717" y="3799"/>
                  </a:lnTo>
                  <a:lnTo>
                    <a:pt x="5679" y="3806"/>
                  </a:lnTo>
                  <a:lnTo>
                    <a:pt x="5679" y="3832"/>
                  </a:lnTo>
                  <a:lnTo>
                    <a:pt x="5667" y="3832"/>
                  </a:lnTo>
                  <a:lnTo>
                    <a:pt x="5625" y="3806"/>
                  </a:lnTo>
                  <a:lnTo>
                    <a:pt x="5625" y="3815"/>
                  </a:lnTo>
                  <a:lnTo>
                    <a:pt x="5646" y="3815"/>
                  </a:lnTo>
                  <a:lnTo>
                    <a:pt x="5679" y="3832"/>
                  </a:lnTo>
                  <a:lnTo>
                    <a:pt x="5651" y="3848"/>
                  </a:lnTo>
                  <a:lnTo>
                    <a:pt x="5667" y="3855"/>
                  </a:lnTo>
                  <a:lnTo>
                    <a:pt x="5651" y="3855"/>
                  </a:lnTo>
                  <a:lnTo>
                    <a:pt x="5667" y="3855"/>
                  </a:lnTo>
                  <a:lnTo>
                    <a:pt x="5700" y="3839"/>
                  </a:lnTo>
                  <a:lnTo>
                    <a:pt x="5689" y="3832"/>
                  </a:lnTo>
                  <a:lnTo>
                    <a:pt x="5743" y="3815"/>
                  </a:lnTo>
                  <a:lnTo>
                    <a:pt x="5743" y="3806"/>
                  </a:lnTo>
                  <a:lnTo>
                    <a:pt x="5788" y="3782"/>
                  </a:lnTo>
                  <a:lnTo>
                    <a:pt x="5840" y="3777"/>
                  </a:lnTo>
                  <a:lnTo>
                    <a:pt x="5792" y="3777"/>
                  </a:lnTo>
                  <a:lnTo>
                    <a:pt x="5792" y="3766"/>
                  </a:lnTo>
                  <a:lnTo>
                    <a:pt x="5863" y="3766"/>
                  </a:lnTo>
                  <a:lnTo>
                    <a:pt x="5885" y="3799"/>
                  </a:lnTo>
                  <a:lnTo>
                    <a:pt x="5852" y="3822"/>
                  </a:lnTo>
                  <a:lnTo>
                    <a:pt x="5868" y="3832"/>
                  </a:lnTo>
                  <a:lnTo>
                    <a:pt x="5868" y="3839"/>
                  </a:lnTo>
                  <a:lnTo>
                    <a:pt x="5894" y="3815"/>
                  </a:lnTo>
                  <a:lnTo>
                    <a:pt x="5932" y="3806"/>
                  </a:lnTo>
                  <a:lnTo>
                    <a:pt x="5932" y="3815"/>
                  </a:lnTo>
                  <a:lnTo>
                    <a:pt x="5915" y="3815"/>
                  </a:lnTo>
                  <a:lnTo>
                    <a:pt x="5960" y="3832"/>
                  </a:lnTo>
                  <a:lnTo>
                    <a:pt x="5939" y="3832"/>
                  </a:lnTo>
                  <a:lnTo>
                    <a:pt x="5960" y="3848"/>
                  </a:lnTo>
                  <a:lnTo>
                    <a:pt x="5977" y="3848"/>
                  </a:lnTo>
                  <a:lnTo>
                    <a:pt x="5977" y="3872"/>
                  </a:lnTo>
                  <a:lnTo>
                    <a:pt x="5970" y="3877"/>
                  </a:lnTo>
                  <a:lnTo>
                    <a:pt x="5948" y="3877"/>
                  </a:lnTo>
                  <a:lnTo>
                    <a:pt x="5970" y="3893"/>
                  </a:lnTo>
                  <a:lnTo>
                    <a:pt x="5977" y="3905"/>
                  </a:lnTo>
                  <a:lnTo>
                    <a:pt x="5953" y="3910"/>
                  </a:lnTo>
                  <a:lnTo>
                    <a:pt x="5977" y="3917"/>
                  </a:lnTo>
                  <a:lnTo>
                    <a:pt x="5953" y="3917"/>
                  </a:lnTo>
                  <a:lnTo>
                    <a:pt x="5960" y="3917"/>
                  </a:lnTo>
                  <a:lnTo>
                    <a:pt x="5948" y="3926"/>
                  </a:lnTo>
                  <a:lnTo>
                    <a:pt x="5922" y="3926"/>
                  </a:lnTo>
                  <a:lnTo>
                    <a:pt x="5986" y="3943"/>
                  </a:lnTo>
                  <a:lnTo>
                    <a:pt x="5986" y="3950"/>
                  </a:lnTo>
                  <a:lnTo>
                    <a:pt x="5977" y="3950"/>
                  </a:lnTo>
                  <a:lnTo>
                    <a:pt x="5948" y="3943"/>
                  </a:lnTo>
                  <a:lnTo>
                    <a:pt x="5986" y="3959"/>
                  </a:lnTo>
                  <a:lnTo>
                    <a:pt x="5986" y="3971"/>
                  </a:lnTo>
                  <a:lnTo>
                    <a:pt x="5894" y="4037"/>
                  </a:lnTo>
                  <a:lnTo>
                    <a:pt x="5878" y="4025"/>
                  </a:lnTo>
                  <a:lnTo>
                    <a:pt x="5840" y="4025"/>
                  </a:lnTo>
                  <a:lnTo>
                    <a:pt x="5826" y="4044"/>
                  </a:lnTo>
                  <a:lnTo>
                    <a:pt x="5776" y="4054"/>
                  </a:lnTo>
                  <a:lnTo>
                    <a:pt x="5776" y="4061"/>
                  </a:lnTo>
                  <a:lnTo>
                    <a:pt x="5755" y="4077"/>
                  </a:lnTo>
                  <a:lnTo>
                    <a:pt x="5755" y="4094"/>
                  </a:lnTo>
                  <a:lnTo>
                    <a:pt x="5743" y="4099"/>
                  </a:lnTo>
                  <a:lnTo>
                    <a:pt x="5743" y="4094"/>
                  </a:lnTo>
                  <a:lnTo>
                    <a:pt x="5705" y="4127"/>
                  </a:lnTo>
                  <a:lnTo>
                    <a:pt x="5689" y="4132"/>
                  </a:lnTo>
                  <a:lnTo>
                    <a:pt x="5689" y="4137"/>
                  </a:lnTo>
                  <a:lnTo>
                    <a:pt x="5684" y="4148"/>
                  </a:lnTo>
                  <a:lnTo>
                    <a:pt x="5592" y="4153"/>
                  </a:lnTo>
                  <a:lnTo>
                    <a:pt x="5561" y="4165"/>
                  </a:lnTo>
                  <a:lnTo>
                    <a:pt x="5570" y="4153"/>
                  </a:lnTo>
                  <a:lnTo>
                    <a:pt x="5561" y="4153"/>
                  </a:lnTo>
                  <a:lnTo>
                    <a:pt x="5554" y="4148"/>
                  </a:lnTo>
                  <a:lnTo>
                    <a:pt x="5516" y="4137"/>
                  </a:lnTo>
                  <a:lnTo>
                    <a:pt x="5452" y="4148"/>
                  </a:lnTo>
                  <a:lnTo>
                    <a:pt x="5415" y="4137"/>
                  </a:lnTo>
                  <a:lnTo>
                    <a:pt x="5313" y="4137"/>
                  </a:lnTo>
                  <a:lnTo>
                    <a:pt x="5259" y="4137"/>
                  </a:lnTo>
                  <a:lnTo>
                    <a:pt x="5252" y="4153"/>
                  </a:lnTo>
                  <a:lnTo>
                    <a:pt x="5230" y="4148"/>
                  </a:lnTo>
                  <a:lnTo>
                    <a:pt x="5183" y="4188"/>
                  </a:lnTo>
                  <a:lnTo>
                    <a:pt x="5176" y="4222"/>
                  </a:lnTo>
                  <a:lnTo>
                    <a:pt x="5162" y="4238"/>
                  </a:lnTo>
                  <a:lnTo>
                    <a:pt x="5112" y="4243"/>
                  </a:lnTo>
                  <a:lnTo>
                    <a:pt x="5107" y="4248"/>
                  </a:lnTo>
                  <a:lnTo>
                    <a:pt x="5074" y="4259"/>
                  </a:lnTo>
                  <a:lnTo>
                    <a:pt x="5041" y="4281"/>
                  </a:lnTo>
                  <a:lnTo>
                    <a:pt x="5037" y="4297"/>
                  </a:lnTo>
                  <a:lnTo>
                    <a:pt x="5004" y="4349"/>
                  </a:lnTo>
                  <a:lnTo>
                    <a:pt x="4982" y="4333"/>
                  </a:lnTo>
                  <a:lnTo>
                    <a:pt x="4907" y="4316"/>
                  </a:lnTo>
                  <a:lnTo>
                    <a:pt x="4982" y="4337"/>
                  </a:lnTo>
                  <a:lnTo>
                    <a:pt x="4999" y="4349"/>
                  </a:lnTo>
                  <a:lnTo>
                    <a:pt x="4982" y="4375"/>
                  </a:lnTo>
                  <a:lnTo>
                    <a:pt x="4966" y="4403"/>
                  </a:lnTo>
                  <a:lnTo>
                    <a:pt x="4944" y="4408"/>
                  </a:lnTo>
                  <a:lnTo>
                    <a:pt x="4928" y="4441"/>
                  </a:lnTo>
                  <a:lnTo>
                    <a:pt x="4890" y="4470"/>
                  </a:lnTo>
                  <a:lnTo>
                    <a:pt x="4944" y="4448"/>
                  </a:lnTo>
                  <a:lnTo>
                    <a:pt x="5020" y="4354"/>
                  </a:lnTo>
                  <a:lnTo>
                    <a:pt x="5107" y="4297"/>
                  </a:lnTo>
                  <a:lnTo>
                    <a:pt x="5247" y="4243"/>
                  </a:lnTo>
                  <a:lnTo>
                    <a:pt x="5301" y="4243"/>
                  </a:lnTo>
                  <a:lnTo>
                    <a:pt x="5344" y="4248"/>
                  </a:lnTo>
                  <a:lnTo>
                    <a:pt x="5381" y="4276"/>
                  </a:lnTo>
                  <a:lnTo>
                    <a:pt x="5393" y="4292"/>
                  </a:lnTo>
                  <a:lnTo>
                    <a:pt x="5360" y="4276"/>
                  </a:lnTo>
                  <a:lnTo>
                    <a:pt x="5393" y="4297"/>
                  </a:lnTo>
                  <a:lnTo>
                    <a:pt x="5381" y="4297"/>
                  </a:lnTo>
                  <a:lnTo>
                    <a:pt x="5381" y="4316"/>
                  </a:lnTo>
                  <a:lnTo>
                    <a:pt x="5306" y="4354"/>
                  </a:lnTo>
                  <a:lnTo>
                    <a:pt x="5268" y="4337"/>
                  </a:lnTo>
                  <a:lnTo>
                    <a:pt x="5200" y="4354"/>
                  </a:lnTo>
                  <a:lnTo>
                    <a:pt x="5237" y="4354"/>
                  </a:lnTo>
                  <a:lnTo>
                    <a:pt x="5275" y="4370"/>
                  </a:lnTo>
                  <a:lnTo>
                    <a:pt x="5285" y="4392"/>
                  </a:lnTo>
                  <a:lnTo>
                    <a:pt x="5313" y="4370"/>
                  </a:lnTo>
                  <a:lnTo>
                    <a:pt x="5344" y="4375"/>
                  </a:lnTo>
                  <a:lnTo>
                    <a:pt x="5355" y="4387"/>
                  </a:lnTo>
                  <a:lnTo>
                    <a:pt x="5339" y="4392"/>
                  </a:lnTo>
                  <a:lnTo>
                    <a:pt x="5339" y="4415"/>
                  </a:lnTo>
                  <a:lnTo>
                    <a:pt x="5306" y="4441"/>
                  </a:lnTo>
                  <a:lnTo>
                    <a:pt x="5344" y="4441"/>
                  </a:lnTo>
                  <a:lnTo>
                    <a:pt x="5339" y="4465"/>
                  </a:lnTo>
                  <a:lnTo>
                    <a:pt x="5355" y="4481"/>
                  </a:lnTo>
                  <a:lnTo>
                    <a:pt x="5365" y="4519"/>
                  </a:lnTo>
                  <a:lnTo>
                    <a:pt x="5415" y="4526"/>
                  </a:lnTo>
                  <a:lnTo>
                    <a:pt x="5393" y="4536"/>
                  </a:lnTo>
                  <a:lnTo>
                    <a:pt x="5419" y="4552"/>
                  </a:lnTo>
                  <a:lnTo>
                    <a:pt x="5436" y="4552"/>
                  </a:lnTo>
                  <a:lnTo>
                    <a:pt x="5448" y="4552"/>
                  </a:lnTo>
                  <a:lnTo>
                    <a:pt x="5431" y="4552"/>
                  </a:lnTo>
                  <a:lnTo>
                    <a:pt x="5452" y="4559"/>
                  </a:lnTo>
                  <a:lnTo>
                    <a:pt x="5448" y="4559"/>
                  </a:lnTo>
                  <a:lnTo>
                    <a:pt x="5490" y="4559"/>
                  </a:lnTo>
                  <a:lnTo>
                    <a:pt x="5507" y="4576"/>
                  </a:lnTo>
                  <a:lnTo>
                    <a:pt x="5544" y="4552"/>
                  </a:lnTo>
                  <a:lnTo>
                    <a:pt x="5544" y="4569"/>
                  </a:lnTo>
                  <a:lnTo>
                    <a:pt x="5570" y="4576"/>
                  </a:lnTo>
                  <a:lnTo>
                    <a:pt x="5575" y="4569"/>
                  </a:lnTo>
                  <a:lnTo>
                    <a:pt x="5592" y="4581"/>
                  </a:lnTo>
                  <a:lnTo>
                    <a:pt x="5575" y="4597"/>
                  </a:lnTo>
                  <a:lnTo>
                    <a:pt x="5613" y="4597"/>
                  </a:lnTo>
                  <a:lnTo>
                    <a:pt x="5608" y="4609"/>
                  </a:lnTo>
                  <a:lnTo>
                    <a:pt x="5592" y="4609"/>
                  </a:lnTo>
                  <a:lnTo>
                    <a:pt x="5582" y="4614"/>
                  </a:lnTo>
                  <a:lnTo>
                    <a:pt x="5507" y="4637"/>
                  </a:lnTo>
                  <a:lnTo>
                    <a:pt x="5485" y="4654"/>
                  </a:lnTo>
                  <a:lnTo>
                    <a:pt x="5469" y="4647"/>
                  </a:lnTo>
                  <a:lnTo>
                    <a:pt x="5469" y="4654"/>
                  </a:lnTo>
                  <a:lnTo>
                    <a:pt x="5462" y="4647"/>
                  </a:lnTo>
                  <a:lnTo>
                    <a:pt x="5436" y="4663"/>
                  </a:lnTo>
                  <a:lnTo>
                    <a:pt x="5419" y="4654"/>
                  </a:lnTo>
                  <a:lnTo>
                    <a:pt x="5436" y="4670"/>
                  </a:lnTo>
                  <a:lnTo>
                    <a:pt x="5431" y="4680"/>
                  </a:lnTo>
                  <a:lnTo>
                    <a:pt x="5410" y="4670"/>
                  </a:lnTo>
                  <a:lnTo>
                    <a:pt x="5410" y="4654"/>
                  </a:lnTo>
                  <a:lnTo>
                    <a:pt x="5398" y="4663"/>
                  </a:lnTo>
                  <a:lnTo>
                    <a:pt x="5398" y="4670"/>
                  </a:lnTo>
                  <a:lnTo>
                    <a:pt x="5393" y="4680"/>
                  </a:lnTo>
                  <a:lnTo>
                    <a:pt x="5381" y="4663"/>
                  </a:lnTo>
                  <a:lnTo>
                    <a:pt x="5377" y="4680"/>
                  </a:lnTo>
                  <a:lnTo>
                    <a:pt x="5381" y="4692"/>
                  </a:lnTo>
                  <a:lnTo>
                    <a:pt x="5360" y="4703"/>
                  </a:lnTo>
                  <a:lnTo>
                    <a:pt x="5355" y="4720"/>
                  </a:lnTo>
                  <a:lnTo>
                    <a:pt x="5344" y="4720"/>
                  </a:lnTo>
                  <a:lnTo>
                    <a:pt x="5327" y="4741"/>
                  </a:lnTo>
                  <a:lnTo>
                    <a:pt x="5306" y="4741"/>
                  </a:lnTo>
                  <a:lnTo>
                    <a:pt x="5301" y="4765"/>
                  </a:lnTo>
                  <a:lnTo>
                    <a:pt x="5289" y="4758"/>
                  </a:lnTo>
                  <a:lnTo>
                    <a:pt x="5275" y="4758"/>
                  </a:lnTo>
                  <a:lnTo>
                    <a:pt x="5268" y="4736"/>
                  </a:lnTo>
                  <a:lnTo>
                    <a:pt x="5259" y="4741"/>
                  </a:lnTo>
                  <a:lnTo>
                    <a:pt x="5247" y="4725"/>
                  </a:lnTo>
                  <a:lnTo>
                    <a:pt x="5247" y="4708"/>
                  </a:lnTo>
                  <a:lnTo>
                    <a:pt x="5252" y="4687"/>
                  </a:lnTo>
                  <a:lnTo>
                    <a:pt x="5268" y="4663"/>
                  </a:lnTo>
                  <a:lnTo>
                    <a:pt x="5247" y="4680"/>
                  </a:lnTo>
                  <a:lnTo>
                    <a:pt x="5259" y="4663"/>
                  </a:lnTo>
                  <a:lnTo>
                    <a:pt x="5285" y="4663"/>
                  </a:lnTo>
                  <a:lnTo>
                    <a:pt x="5289" y="4654"/>
                  </a:lnTo>
                  <a:lnTo>
                    <a:pt x="5285" y="4654"/>
                  </a:lnTo>
                  <a:lnTo>
                    <a:pt x="5285" y="4647"/>
                  </a:lnTo>
                  <a:lnTo>
                    <a:pt x="5377" y="4597"/>
                  </a:lnTo>
                  <a:lnTo>
                    <a:pt x="5365" y="4597"/>
                  </a:lnTo>
                  <a:lnTo>
                    <a:pt x="5377" y="4597"/>
                  </a:lnTo>
                  <a:lnTo>
                    <a:pt x="5377" y="4614"/>
                  </a:lnTo>
                  <a:lnTo>
                    <a:pt x="5381" y="4614"/>
                  </a:lnTo>
                  <a:lnTo>
                    <a:pt x="5393" y="4630"/>
                  </a:lnTo>
                  <a:lnTo>
                    <a:pt x="5393" y="4609"/>
                  </a:lnTo>
                  <a:lnTo>
                    <a:pt x="5448" y="4597"/>
                  </a:lnTo>
                  <a:lnTo>
                    <a:pt x="5360" y="4592"/>
                  </a:lnTo>
                  <a:lnTo>
                    <a:pt x="5339" y="4597"/>
                  </a:lnTo>
                  <a:lnTo>
                    <a:pt x="5344" y="4581"/>
                  </a:lnTo>
                  <a:lnTo>
                    <a:pt x="5381" y="4559"/>
                  </a:lnTo>
                  <a:lnTo>
                    <a:pt x="5377" y="4552"/>
                  </a:lnTo>
                  <a:lnTo>
                    <a:pt x="5365" y="4559"/>
                  </a:lnTo>
                  <a:lnTo>
                    <a:pt x="5344" y="4526"/>
                  </a:lnTo>
                  <a:lnTo>
                    <a:pt x="5360" y="4552"/>
                  </a:lnTo>
                  <a:lnTo>
                    <a:pt x="5344" y="4576"/>
                  </a:lnTo>
                  <a:lnTo>
                    <a:pt x="5339" y="4576"/>
                  </a:lnTo>
                  <a:lnTo>
                    <a:pt x="5268" y="4609"/>
                  </a:lnTo>
                  <a:lnTo>
                    <a:pt x="5252" y="4597"/>
                  </a:lnTo>
                  <a:lnTo>
                    <a:pt x="5259" y="4581"/>
                  </a:lnTo>
                  <a:lnTo>
                    <a:pt x="5247" y="4597"/>
                  </a:lnTo>
                  <a:lnTo>
                    <a:pt x="5252" y="4609"/>
                  </a:lnTo>
                  <a:lnTo>
                    <a:pt x="5230" y="4625"/>
                  </a:lnTo>
                  <a:lnTo>
                    <a:pt x="5221" y="4614"/>
                  </a:lnTo>
                  <a:lnTo>
                    <a:pt x="5204" y="4625"/>
                  </a:lnTo>
                  <a:lnTo>
                    <a:pt x="5192" y="4614"/>
                  </a:lnTo>
                  <a:lnTo>
                    <a:pt x="5176" y="4614"/>
                  </a:lnTo>
                  <a:lnTo>
                    <a:pt x="5176" y="4614"/>
                  </a:lnTo>
                  <a:lnTo>
                    <a:pt x="5176" y="4614"/>
                  </a:lnTo>
                  <a:close/>
                  <a:moveTo>
                    <a:pt x="3201" y="1748"/>
                  </a:moveTo>
                  <a:lnTo>
                    <a:pt x="3208" y="1753"/>
                  </a:lnTo>
                  <a:lnTo>
                    <a:pt x="3208" y="1765"/>
                  </a:lnTo>
                  <a:lnTo>
                    <a:pt x="3192" y="1765"/>
                  </a:lnTo>
                  <a:lnTo>
                    <a:pt x="3201" y="1748"/>
                  </a:lnTo>
                  <a:lnTo>
                    <a:pt x="3201" y="1748"/>
                  </a:lnTo>
                  <a:lnTo>
                    <a:pt x="3201" y="1748"/>
                  </a:lnTo>
                  <a:close/>
                  <a:moveTo>
                    <a:pt x="3095" y="1765"/>
                  </a:moveTo>
                  <a:lnTo>
                    <a:pt x="3100" y="1765"/>
                  </a:lnTo>
                  <a:lnTo>
                    <a:pt x="3083" y="1770"/>
                  </a:lnTo>
                  <a:lnTo>
                    <a:pt x="3095" y="1765"/>
                  </a:lnTo>
                  <a:lnTo>
                    <a:pt x="3095" y="1765"/>
                  </a:lnTo>
                  <a:lnTo>
                    <a:pt x="3095" y="1765"/>
                  </a:lnTo>
                  <a:close/>
                  <a:moveTo>
                    <a:pt x="4751" y="1770"/>
                  </a:moveTo>
                  <a:lnTo>
                    <a:pt x="4755" y="1770"/>
                  </a:lnTo>
                  <a:lnTo>
                    <a:pt x="4734" y="1786"/>
                  </a:lnTo>
                  <a:lnTo>
                    <a:pt x="4751" y="1770"/>
                  </a:lnTo>
                  <a:lnTo>
                    <a:pt x="4751" y="1770"/>
                  </a:lnTo>
                  <a:lnTo>
                    <a:pt x="4751" y="1770"/>
                  </a:lnTo>
                  <a:close/>
                  <a:moveTo>
                    <a:pt x="4772" y="1781"/>
                  </a:moveTo>
                  <a:lnTo>
                    <a:pt x="4789" y="1786"/>
                  </a:lnTo>
                  <a:lnTo>
                    <a:pt x="4784" y="1793"/>
                  </a:lnTo>
                  <a:lnTo>
                    <a:pt x="4767" y="1786"/>
                  </a:lnTo>
                  <a:lnTo>
                    <a:pt x="4772" y="1781"/>
                  </a:lnTo>
                  <a:lnTo>
                    <a:pt x="4772" y="1781"/>
                  </a:lnTo>
                  <a:lnTo>
                    <a:pt x="4772" y="1781"/>
                  </a:lnTo>
                  <a:close/>
                  <a:moveTo>
                    <a:pt x="4767" y="1826"/>
                  </a:moveTo>
                  <a:lnTo>
                    <a:pt x="4751" y="1819"/>
                  </a:lnTo>
                  <a:lnTo>
                    <a:pt x="4746" y="1793"/>
                  </a:lnTo>
                  <a:lnTo>
                    <a:pt x="4755" y="1786"/>
                  </a:lnTo>
                  <a:lnTo>
                    <a:pt x="4767" y="1793"/>
                  </a:lnTo>
                  <a:lnTo>
                    <a:pt x="4755" y="1803"/>
                  </a:lnTo>
                  <a:lnTo>
                    <a:pt x="4772" y="1793"/>
                  </a:lnTo>
                  <a:lnTo>
                    <a:pt x="4784" y="1803"/>
                  </a:lnTo>
                  <a:lnTo>
                    <a:pt x="4767" y="1810"/>
                  </a:lnTo>
                  <a:lnTo>
                    <a:pt x="4772" y="1819"/>
                  </a:lnTo>
                  <a:lnTo>
                    <a:pt x="4767" y="1826"/>
                  </a:lnTo>
                  <a:lnTo>
                    <a:pt x="4767" y="1826"/>
                  </a:lnTo>
                  <a:lnTo>
                    <a:pt x="4767" y="1826"/>
                  </a:lnTo>
                  <a:close/>
                  <a:moveTo>
                    <a:pt x="2953" y="1826"/>
                  </a:moveTo>
                  <a:lnTo>
                    <a:pt x="2948" y="1819"/>
                  </a:lnTo>
                  <a:lnTo>
                    <a:pt x="2953" y="1819"/>
                  </a:lnTo>
                  <a:lnTo>
                    <a:pt x="2953" y="1826"/>
                  </a:lnTo>
                  <a:lnTo>
                    <a:pt x="2953" y="1826"/>
                  </a:lnTo>
                  <a:lnTo>
                    <a:pt x="2953" y="1826"/>
                  </a:lnTo>
                  <a:close/>
                  <a:moveTo>
                    <a:pt x="3116" y="1826"/>
                  </a:moveTo>
                  <a:lnTo>
                    <a:pt x="3126" y="1836"/>
                  </a:lnTo>
                  <a:lnTo>
                    <a:pt x="3116" y="1836"/>
                  </a:lnTo>
                  <a:lnTo>
                    <a:pt x="3116" y="1826"/>
                  </a:lnTo>
                  <a:lnTo>
                    <a:pt x="3116" y="1826"/>
                  </a:lnTo>
                  <a:lnTo>
                    <a:pt x="3116" y="1826"/>
                  </a:lnTo>
                  <a:close/>
                  <a:moveTo>
                    <a:pt x="4852" y="1859"/>
                  </a:moveTo>
                  <a:lnTo>
                    <a:pt x="4881" y="1864"/>
                  </a:lnTo>
                  <a:lnTo>
                    <a:pt x="4881" y="1876"/>
                  </a:lnTo>
                  <a:lnTo>
                    <a:pt x="4843" y="1892"/>
                  </a:lnTo>
                  <a:lnTo>
                    <a:pt x="4822" y="1876"/>
                  </a:lnTo>
                  <a:lnTo>
                    <a:pt x="4836" y="1876"/>
                  </a:lnTo>
                  <a:lnTo>
                    <a:pt x="4836" y="1859"/>
                  </a:lnTo>
                  <a:lnTo>
                    <a:pt x="4852" y="1859"/>
                  </a:lnTo>
                  <a:lnTo>
                    <a:pt x="4852" y="1859"/>
                  </a:lnTo>
                  <a:lnTo>
                    <a:pt x="4852" y="1859"/>
                  </a:lnTo>
                  <a:close/>
                  <a:moveTo>
                    <a:pt x="2844" y="1904"/>
                  </a:moveTo>
                  <a:lnTo>
                    <a:pt x="2861" y="1921"/>
                  </a:lnTo>
                  <a:lnTo>
                    <a:pt x="2861" y="1937"/>
                  </a:lnTo>
                  <a:lnTo>
                    <a:pt x="2830" y="1921"/>
                  </a:lnTo>
                  <a:lnTo>
                    <a:pt x="2830" y="1904"/>
                  </a:lnTo>
                  <a:lnTo>
                    <a:pt x="2844" y="1904"/>
                  </a:lnTo>
                  <a:lnTo>
                    <a:pt x="2844" y="1904"/>
                  </a:lnTo>
                  <a:lnTo>
                    <a:pt x="2844" y="1904"/>
                  </a:lnTo>
                  <a:close/>
                  <a:moveTo>
                    <a:pt x="903" y="1914"/>
                  </a:moveTo>
                  <a:lnTo>
                    <a:pt x="886" y="1921"/>
                  </a:lnTo>
                  <a:lnTo>
                    <a:pt x="898" y="1904"/>
                  </a:lnTo>
                  <a:lnTo>
                    <a:pt x="903" y="1914"/>
                  </a:lnTo>
                  <a:lnTo>
                    <a:pt x="903" y="1914"/>
                  </a:lnTo>
                  <a:lnTo>
                    <a:pt x="903" y="1914"/>
                  </a:lnTo>
                  <a:close/>
                  <a:moveTo>
                    <a:pt x="1675" y="1921"/>
                  </a:moveTo>
                  <a:lnTo>
                    <a:pt x="1663" y="1921"/>
                  </a:lnTo>
                  <a:lnTo>
                    <a:pt x="1692" y="1921"/>
                  </a:lnTo>
                  <a:lnTo>
                    <a:pt x="1675" y="1921"/>
                  </a:lnTo>
                  <a:lnTo>
                    <a:pt x="1675" y="1921"/>
                  </a:lnTo>
                  <a:lnTo>
                    <a:pt x="1675" y="1921"/>
                  </a:lnTo>
                  <a:close/>
                  <a:moveTo>
                    <a:pt x="1760" y="1921"/>
                  </a:moveTo>
                  <a:lnTo>
                    <a:pt x="1765" y="1921"/>
                  </a:lnTo>
                  <a:lnTo>
                    <a:pt x="1751" y="1921"/>
                  </a:lnTo>
                  <a:lnTo>
                    <a:pt x="1760" y="1921"/>
                  </a:lnTo>
                  <a:lnTo>
                    <a:pt x="1760" y="1921"/>
                  </a:lnTo>
                  <a:lnTo>
                    <a:pt x="1760" y="1921"/>
                  </a:lnTo>
                  <a:close/>
                  <a:moveTo>
                    <a:pt x="1734" y="1921"/>
                  </a:moveTo>
                  <a:lnTo>
                    <a:pt x="1744" y="1921"/>
                  </a:lnTo>
                  <a:lnTo>
                    <a:pt x="1718" y="1921"/>
                  </a:lnTo>
                  <a:lnTo>
                    <a:pt x="1734" y="1921"/>
                  </a:lnTo>
                  <a:lnTo>
                    <a:pt x="1734" y="1921"/>
                  </a:lnTo>
                  <a:lnTo>
                    <a:pt x="1734" y="1921"/>
                  </a:lnTo>
                  <a:close/>
                  <a:moveTo>
                    <a:pt x="2823" y="1954"/>
                  </a:moveTo>
                  <a:lnTo>
                    <a:pt x="2823" y="1959"/>
                  </a:lnTo>
                  <a:lnTo>
                    <a:pt x="2814" y="1954"/>
                  </a:lnTo>
                  <a:lnTo>
                    <a:pt x="2823" y="1954"/>
                  </a:lnTo>
                  <a:lnTo>
                    <a:pt x="2823" y="1954"/>
                  </a:lnTo>
                  <a:lnTo>
                    <a:pt x="2823" y="1954"/>
                  </a:lnTo>
                  <a:close/>
                  <a:moveTo>
                    <a:pt x="1966" y="1954"/>
                  </a:moveTo>
                  <a:lnTo>
                    <a:pt x="1949" y="1954"/>
                  </a:lnTo>
                  <a:lnTo>
                    <a:pt x="1966" y="1954"/>
                  </a:lnTo>
                  <a:lnTo>
                    <a:pt x="1966" y="1954"/>
                  </a:lnTo>
                  <a:lnTo>
                    <a:pt x="1966" y="1954"/>
                  </a:lnTo>
                  <a:close/>
                  <a:moveTo>
                    <a:pt x="3773" y="1975"/>
                  </a:moveTo>
                  <a:lnTo>
                    <a:pt x="3811" y="1975"/>
                  </a:lnTo>
                  <a:lnTo>
                    <a:pt x="3827" y="1992"/>
                  </a:lnTo>
                  <a:lnTo>
                    <a:pt x="3780" y="1992"/>
                  </a:lnTo>
                  <a:lnTo>
                    <a:pt x="3763" y="1975"/>
                  </a:lnTo>
                  <a:lnTo>
                    <a:pt x="3773" y="1975"/>
                  </a:lnTo>
                  <a:lnTo>
                    <a:pt x="3773" y="1975"/>
                  </a:lnTo>
                  <a:lnTo>
                    <a:pt x="3773" y="1975"/>
                  </a:lnTo>
                  <a:close/>
                  <a:moveTo>
                    <a:pt x="3062" y="2003"/>
                  </a:moveTo>
                  <a:lnTo>
                    <a:pt x="3071" y="2008"/>
                  </a:lnTo>
                  <a:lnTo>
                    <a:pt x="3057" y="2003"/>
                  </a:lnTo>
                  <a:lnTo>
                    <a:pt x="3062" y="2003"/>
                  </a:lnTo>
                  <a:lnTo>
                    <a:pt x="3062" y="2003"/>
                  </a:lnTo>
                  <a:lnTo>
                    <a:pt x="3062" y="2003"/>
                  </a:lnTo>
                  <a:close/>
                  <a:moveTo>
                    <a:pt x="2932" y="2140"/>
                  </a:moveTo>
                  <a:lnTo>
                    <a:pt x="2911" y="2119"/>
                  </a:lnTo>
                  <a:lnTo>
                    <a:pt x="2915" y="2103"/>
                  </a:lnTo>
                  <a:lnTo>
                    <a:pt x="2948" y="2103"/>
                  </a:lnTo>
                  <a:lnTo>
                    <a:pt x="2991" y="2081"/>
                  </a:lnTo>
                  <a:lnTo>
                    <a:pt x="2974" y="2065"/>
                  </a:lnTo>
                  <a:lnTo>
                    <a:pt x="2986" y="2065"/>
                  </a:lnTo>
                  <a:lnTo>
                    <a:pt x="2974" y="2058"/>
                  </a:lnTo>
                  <a:lnTo>
                    <a:pt x="2974" y="2048"/>
                  </a:lnTo>
                  <a:lnTo>
                    <a:pt x="3019" y="2065"/>
                  </a:lnTo>
                  <a:lnTo>
                    <a:pt x="2991" y="2041"/>
                  </a:lnTo>
                  <a:lnTo>
                    <a:pt x="3003" y="2013"/>
                  </a:lnTo>
                  <a:lnTo>
                    <a:pt x="3024" y="2008"/>
                  </a:lnTo>
                  <a:lnTo>
                    <a:pt x="3062" y="2029"/>
                  </a:lnTo>
                  <a:lnTo>
                    <a:pt x="3057" y="2029"/>
                  </a:lnTo>
                  <a:lnTo>
                    <a:pt x="3062" y="2048"/>
                  </a:lnTo>
                  <a:lnTo>
                    <a:pt x="3071" y="2029"/>
                  </a:lnTo>
                  <a:lnTo>
                    <a:pt x="3095" y="2058"/>
                  </a:lnTo>
                  <a:lnTo>
                    <a:pt x="3137" y="2081"/>
                  </a:lnTo>
                  <a:lnTo>
                    <a:pt x="3137" y="2115"/>
                  </a:lnTo>
                  <a:lnTo>
                    <a:pt x="3147" y="2119"/>
                  </a:lnTo>
                  <a:lnTo>
                    <a:pt x="3147" y="2098"/>
                  </a:lnTo>
                  <a:lnTo>
                    <a:pt x="3154" y="2086"/>
                  </a:lnTo>
                  <a:lnTo>
                    <a:pt x="3170" y="2136"/>
                  </a:lnTo>
                  <a:lnTo>
                    <a:pt x="3208" y="2140"/>
                  </a:lnTo>
                  <a:lnTo>
                    <a:pt x="3192" y="2157"/>
                  </a:lnTo>
                  <a:lnTo>
                    <a:pt x="3170" y="2152"/>
                  </a:lnTo>
                  <a:lnTo>
                    <a:pt x="3137" y="2181"/>
                  </a:lnTo>
                  <a:lnTo>
                    <a:pt x="3116" y="2192"/>
                  </a:lnTo>
                  <a:lnTo>
                    <a:pt x="3007" y="2157"/>
                  </a:lnTo>
                  <a:lnTo>
                    <a:pt x="2991" y="2136"/>
                  </a:lnTo>
                  <a:lnTo>
                    <a:pt x="2986" y="2152"/>
                  </a:lnTo>
                  <a:lnTo>
                    <a:pt x="2974" y="2152"/>
                  </a:lnTo>
                  <a:lnTo>
                    <a:pt x="2953" y="2140"/>
                  </a:lnTo>
                  <a:lnTo>
                    <a:pt x="2953" y="2124"/>
                  </a:lnTo>
                  <a:lnTo>
                    <a:pt x="2932" y="2140"/>
                  </a:lnTo>
                  <a:lnTo>
                    <a:pt x="2932" y="2140"/>
                  </a:lnTo>
                  <a:lnTo>
                    <a:pt x="2932" y="2140"/>
                  </a:lnTo>
                  <a:close/>
                  <a:moveTo>
                    <a:pt x="3470" y="2025"/>
                  </a:moveTo>
                  <a:lnTo>
                    <a:pt x="3456" y="2013"/>
                  </a:lnTo>
                  <a:lnTo>
                    <a:pt x="3478" y="2008"/>
                  </a:lnTo>
                  <a:lnTo>
                    <a:pt x="3470" y="2025"/>
                  </a:lnTo>
                  <a:lnTo>
                    <a:pt x="3470" y="2025"/>
                  </a:lnTo>
                  <a:lnTo>
                    <a:pt x="3470" y="2025"/>
                  </a:lnTo>
                  <a:close/>
                  <a:moveTo>
                    <a:pt x="4096" y="2008"/>
                  </a:moveTo>
                  <a:lnTo>
                    <a:pt x="4108" y="2013"/>
                  </a:lnTo>
                  <a:lnTo>
                    <a:pt x="4087" y="2008"/>
                  </a:lnTo>
                  <a:lnTo>
                    <a:pt x="4096" y="2008"/>
                  </a:lnTo>
                  <a:lnTo>
                    <a:pt x="4096" y="2008"/>
                  </a:lnTo>
                  <a:lnTo>
                    <a:pt x="4096" y="2008"/>
                  </a:lnTo>
                  <a:close/>
                  <a:moveTo>
                    <a:pt x="4028" y="2025"/>
                  </a:moveTo>
                  <a:lnTo>
                    <a:pt x="4016" y="2029"/>
                  </a:lnTo>
                  <a:lnTo>
                    <a:pt x="4000" y="2025"/>
                  </a:lnTo>
                  <a:lnTo>
                    <a:pt x="4028" y="2025"/>
                  </a:lnTo>
                  <a:lnTo>
                    <a:pt x="4028" y="2025"/>
                  </a:lnTo>
                  <a:lnTo>
                    <a:pt x="4028" y="2025"/>
                  </a:lnTo>
                  <a:close/>
                  <a:moveTo>
                    <a:pt x="4297" y="2025"/>
                  </a:moveTo>
                  <a:lnTo>
                    <a:pt x="4314" y="2013"/>
                  </a:lnTo>
                  <a:lnTo>
                    <a:pt x="4323" y="2029"/>
                  </a:lnTo>
                  <a:lnTo>
                    <a:pt x="4302" y="2041"/>
                  </a:lnTo>
                  <a:lnTo>
                    <a:pt x="4271" y="2041"/>
                  </a:lnTo>
                  <a:lnTo>
                    <a:pt x="4281" y="2058"/>
                  </a:lnTo>
                  <a:lnTo>
                    <a:pt x="4243" y="2029"/>
                  </a:lnTo>
                  <a:lnTo>
                    <a:pt x="4217" y="2029"/>
                  </a:lnTo>
                  <a:lnTo>
                    <a:pt x="4248" y="2013"/>
                  </a:lnTo>
                  <a:lnTo>
                    <a:pt x="4297" y="2025"/>
                  </a:lnTo>
                  <a:lnTo>
                    <a:pt x="4297" y="2025"/>
                  </a:lnTo>
                  <a:lnTo>
                    <a:pt x="4297" y="2025"/>
                  </a:lnTo>
                  <a:close/>
                  <a:moveTo>
                    <a:pt x="4082" y="2013"/>
                  </a:moveTo>
                  <a:lnTo>
                    <a:pt x="4104" y="2029"/>
                  </a:lnTo>
                  <a:lnTo>
                    <a:pt x="4082" y="2025"/>
                  </a:lnTo>
                  <a:lnTo>
                    <a:pt x="4082" y="2013"/>
                  </a:lnTo>
                  <a:lnTo>
                    <a:pt x="4082" y="2013"/>
                  </a:lnTo>
                  <a:lnTo>
                    <a:pt x="4082" y="2013"/>
                  </a:lnTo>
                  <a:close/>
                  <a:moveTo>
                    <a:pt x="4411" y="2025"/>
                  </a:moveTo>
                  <a:lnTo>
                    <a:pt x="4422" y="2041"/>
                  </a:lnTo>
                  <a:lnTo>
                    <a:pt x="4356" y="2065"/>
                  </a:lnTo>
                  <a:lnTo>
                    <a:pt x="4411" y="2025"/>
                  </a:lnTo>
                  <a:lnTo>
                    <a:pt x="4411" y="2025"/>
                  </a:lnTo>
                  <a:lnTo>
                    <a:pt x="4411" y="2025"/>
                  </a:lnTo>
                  <a:close/>
                  <a:moveTo>
                    <a:pt x="2731" y="2029"/>
                  </a:moveTo>
                  <a:lnTo>
                    <a:pt x="2731" y="2041"/>
                  </a:lnTo>
                  <a:lnTo>
                    <a:pt x="2722" y="2029"/>
                  </a:lnTo>
                  <a:lnTo>
                    <a:pt x="2731" y="2029"/>
                  </a:lnTo>
                  <a:lnTo>
                    <a:pt x="2731" y="2029"/>
                  </a:lnTo>
                  <a:lnTo>
                    <a:pt x="2731" y="2029"/>
                  </a:lnTo>
                  <a:close/>
                  <a:moveTo>
                    <a:pt x="378" y="2119"/>
                  </a:moveTo>
                  <a:lnTo>
                    <a:pt x="385" y="2119"/>
                  </a:lnTo>
                  <a:lnTo>
                    <a:pt x="357" y="2115"/>
                  </a:lnTo>
                  <a:lnTo>
                    <a:pt x="357" y="2086"/>
                  </a:lnTo>
                  <a:lnTo>
                    <a:pt x="385" y="2103"/>
                  </a:lnTo>
                  <a:lnTo>
                    <a:pt x="362" y="2086"/>
                  </a:lnTo>
                  <a:lnTo>
                    <a:pt x="385" y="2081"/>
                  </a:lnTo>
                  <a:lnTo>
                    <a:pt x="411" y="2086"/>
                  </a:lnTo>
                  <a:lnTo>
                    <a:pt x="400" y="2065"/>
                  </a:lnTo>
                  <a:lnTo>
                    <a:pt x="411" y="2065"/>
                  </a:lnTo>
                  <a:lnTo>
                    <a:pt x="466" y="2065"/>
                  </a:lnTo>
                  <a:lnTo>
                    <a:pt x="466" y="2041"/>
                  </a:lnTo>
                  <a:lnTo>
                    <a:pt x="454" y="2029"/>
                  </a:lnTo>
                  <a:lnTo>
                    <a:pt x="475" y="2029"/>
                  </a:lnTo>
                  <a:lnTo>
                    <a:pt x="475" y="2048"/>
                  </a:lnTo>
                  <a:lnTo>
                    <a:pt x="508" y="2048"/>
                  </a:lnTo>
                  <a:lnTo>
                    <a:pt x="466" y="2103"/>
                  </a:lnTo>
                  <a:lnTo>
                    <a:pt x="449" y="2119"/>
                  </a:lnTo>
                  <a:lnTo>
                    <a:pt x="475" y="2157"/>
                  </a:lnTo>
                  <a:lnTo>
                    <a:pt x="466" y="2157"/>
                  </a:lnTo>
                  <a:lnTo>
                    <a:pt x="433" y="2119"/>
                  </a:lnTo>
                  <a:lnTo>
                    <a:pt x="423" y="2136"/>
                  </a:lnTo>
                  <a:lnTo>
                    <a:pt x="357" y="2124"/>
                  </a:lnTo>
                  <a:lnTo>
                    <a:pt x="357" y="2115"/>
                  </a:lnTo>
                  <a:lnTo>
                    <a:pt x="378" y="2119"/>
                  </a:lnTo>
                  <a:lnTo>
                    <a:pt x="378" y="2119"/>
                  </a:lnTo>
                  <a:lnTo>
                    <a:pt x="378" y="2119"/>
                  </a:lnTo>
                  <a:close/>
                  <a:moveTo>
                    <a:pt x="5129" y="2029"/>
                  </a:moveTo>
                  <a:lnTo>
                    <a:pt x="5129" y="2041"/>
                  </a:lnTo>
                  <a:lnTo>
                    <a:pt x="5129" y="2058"/>
                  </a:lnTo>
                  <a:lnTo>
                    <a:pt x="5107" y="2048"/>
                  </a:lnTo>
                  <a:lnTo>
                    <a:pt x="5129" y="2029"/>
                  </a:lnTo>
                  <a:lnTo>
                    <a:pt x="5129" y="2029"/>
                  </a:lnTo>
                  <a:lnTo>
                    <a:pt x="5129" y="2029"/>
                  </a:lnTo>
                  <a:close/>
                  <a:moveTo>
                    <a:pt x="130" y="2058"/>
                  </a:moveTo>
                  <a:lnTo>
                    <a:pt x="114" y="2048"/>
                  </a:lnTo>
                  <a:lnTo>
                    <a:pt x="130" y="2041"/>
                  </a:lnTo>
                  <a:lnTo>
                    <a:pt x="152" y="2048"/>
                  </a:lnTo>
                  <a:lnTo>
                    <a:pt x="130" y="2058"/>
                  </a:lnTo>
                  <a:lnTo>
                    <a:pt x="130" y="2058"/>
                  </a:lnTo>
                  <a:lnTo>
                    <a:pt x="130" y="2058"/>
                  </a:lnTo>
                  <a:close/>
                  <a:moveTo>
                    <a:pt x="3192" y="2048"/>
                  </a:moveTo>
                  <a:lnTo>
                    <a:pt x="3201" y="2058"/>
                  </a:lnTo>
                  <a:lnTo>
                    <a:pt x="3192" y="2081"/>
                  </a:lnTo>
                  <a:lnTo>
                    <a:pt x="3180" y="2081"/>
                  </a:lnTo>
                  <a:lnTo>
                    <a:pt x="3180" y="2070"/>
                  </a:lnTo>
                  <a:lnTo>
                    <a:pt x="3180" y="2058"/>
                  </a:lnTo>
                  <a:lnTo>
                    <a:pt x="3170" y="2048"/>
                  </a:lnTo>
                  <a:lnTo>
                    <a:pt x="3163" y="2081"/>
                  </a:lnTo>
                  <a:lnTo>
                    <a:pt x="3154" y="2070"/>
                  </a:lnTo>
                  <a:lnTo>
                    <a:pt x="3154" y="2058"/>
                  </a:lnTo>
                  <a:lnTo>
                    <a:pt x="3163" y="2048"/>
                  </a:lnTo>
                  <a:lnTo>
                    <a:pt x="3192" y="2048"/>
                  </a:lnTo>
                  <a:lnTo>
                    <a:pt x="3192" y="2048"/>
                  </a:lnTo>
                  <a:lnTo>
                    <a:pt x="3192" y="2048"/>
                  </a:lnTo>
                  <a:close/>
                  <a:moveTo>
                    <a:pt x="5150" y="2058"/>
                  </a:moveTo>
                  <a:lnTo>
                    <a:pt x="5138" y="2058"/>
                  </a:lnTo>
                  <a:lnTo>
                    <a:pt x="5167" y="2048"/>
                  </a:lnTo>
                  <a:lnTo>
                    <a:pt x="5150" y="2058"/>
                  </a:lnTo>
                  <a:lnTo>
                    <a:pt x="5150" y="2058"/>
                  </a:lnTo>
                  <a:lnTo>
                    <a:pt x="5150" y="2058"/>
                  </a:lnTo>
                  <a:close/>
                  <a:moveTo>
                    <a:pt x="3147" y="2048"/>
                  </a:moveTo>
                  <a:lnTo>
                    <a:pt x="3147" y="2081"/>
                  </a:lnTo>
                  <a:lnTo>
                    <a:pt x="3109" y="2048"/>
                  </a:lnTo>
                  <a:lnTo>
                    <a:pt x="3147" y="2048"/>
                  </a:lnTo>
                  <a:lnTo>
                    <a:pt x="3147" y="2048"/>
                  </a:lnTo>
                  <a:lnTo>
                    <a:pt x="3147" y="2048"/>
                  </a:lnTo>
                  <a:close/>
                  <a:moveTo>
                    <a:pt x="2802" y="2058"/>
                  </a:moveTo>
                  <a:lnTo>
                    <a:pt x="2807" y="2065"/>
                  </a:lnTo>
                  <a:lnTo>
                    <a:pt x="2793" y="2070"/>
                  </a:lnTo>
                  <a:lnTo>
                    <a:pt x="2793" y="2065"/>
                  </a:lnTo>
                  <a:lnTo>
                    <a:pt x="2776" y="2058"/>
                  </a:lnTo>
                  <a:lnTo>
                    <a:pt x="2785" y="2048"/>
                  </a:lnTo>
                  <a:lnTo>
                    <a:pt x="2802" y="2058"/>
                  </a:lnTo>
                  <a:lnTo>
                    <a:pt x="2802" y="2058"/>
                  </a:lnTo>
                  <a:lnTo>
                    <a:pt x="2802" y="2058"/>
                  </a:lnTo>
                  <a:close/>
                  <a:moveTo>
                    <a:pt x="3563" y="2065"/>
                  </a:moveTo>
                  <a:lnTo>
                    <a:pt x="3563" y="2081"/>
                  </a:lnTo>
                  <a:lnTo>
                    <a:pt x="3558" y="2086"/>
                  </a:lnTo>
                  <a:lnTo>
                    <a:pt x="3541" y="2081"/>
                  </a:lnTo>
                  <a:lnTo>
                    <a:pt x="3563" y="2065"/>
                  </a:lnTo>
                  <a:lnTo>
                    <a:pt x="3563" y="2065"/>
                  </a:lnTo>
                  <a:lnTo>
                    <a:pt x="3563" y="2065"/>
                  </a:lnTo>
                  <a:close/>
                  <a:moveTo>
                    <a:pt x="4481" y="2065"/>
                  </a:moveTo>
                  <a:lnTo>
                    <a:pt x="4512" y="2065"/>
                  </a:lnTo>
                  <a:lnTo>
                    <a:pt x="4512" y="2081"/>
                  </a:lnTo>
                  <a:lnTo>
                    <a:pt x="4486" y="2103"/>
                  </a:lnTo>
                  <a:lnTo>
                    <a:pt x="4465" y="2103"/>
                  </a:lnTo>
                  <a:lnTo>
                    <a:pt x="4460" y="2086"/>
                  </a:lnTo>
                  <a:lnTo>
                    <a:pt x="4465" y="2070"/>
                  </a:lnTo>
                  <a:lnTo>
                    <a:pt x="4481" y="2065"/>
                  </a:lnTo>
                  <a:lnTo>
                    <a:pt x="4481" y="2065"/>
                  </a:lnTo>
                  <a:lnTo>
                    <a:pt x="4481" y="2065"/>
                  </a:lnTo>
                  <a:close/>
                  <a:moveTo>
                    <a:pt x="400" y="2081"/>
                  </a:moveTo>
                  <a:lnTo>
                    <a:pt x="385" y="2070"/>
                  </a:lnTo>
                  <a:lnTo>
                    <a:pt x="400" y="2070"/>
                  </a:lnTo>
                  <a:lnTo>
                    <a:pt x="400" y="2081"/>
                  </a:lnTo>
                  <a:lnTo>
                    <a:pt x="400" y="2081"/>
                  </a:lnTo>
                  <a:lnTo>
                    <a:pt x="400" y="2081"/>
                  </a:lnTo>
                  <a:close/>
                  <a:moveTo>
                    <a:pt x="4389" y="2070"/>
                  </a:moveTo>
                  <a:lnTo>
                    <a:pt x="4406" y="2081"/>
                  </a:lnTo>
                  <a:lnTo>
                    <a:pt x="4356" y="2136"/>
                  </a:lnTo>
                  <a:lnTo>
                    <a:pt x="4335" y="2140"/>
                  </a:lnTo>
                  <a:lnTo>
                    <a:pt x="4318" y="2136"/>
                  </a:lnTo>
                  <a:lnTo>
                    <a:pt x="4335" y="2115"/>
                  </a:lnTo>
                  <a:lnTo>
                    <a:pt x="4356" y="2103"/>
                  </a:lnTo>
                  <a:lnTo>
                    <a:pt x="4368" y="2081"/>
                  </a:lnTo>
                  <a:lnTo>
                    <a:pt x="4389" y="2070"/>
                  </a:lnTo>
                  <a:lnTo>
                    <a:pt x="4389" y="2070"/>
                  </a:lnTo>
                  <a:lnTo>
                    <a:pt x="4389" y="2070"/>
                  </a:lnTo>
                  <a:close/>
                  <a:moveTo>
                    <a:pt x="3541" y="2098"/>
                  </a:moveTo>
                  <a:lnTo>
                    <a:pt x="3525" y="2081"/>
                  </a:lnTo>
                  <a:lnTo>
                    <a:pt x="3532" y="2070"/>
                  </a:lnTo>
                  <a:lnTo>
                    <a:pt x="3546" y="2086"/>
                  </a:lnTo>
                  <a:lnTo>
                    <a:pt x="3541" y="2098"/>
                  </a:lnTo>
                  <a:lnTo>
                    <a:pt x="3541" y="2098"/>
                  </a:lnTo>
                  <a:lnTo>
                    <a:pt x="3541" y="2098"/>
                  </a:lnTo>
                  <a:close/>
                  <a:moveTo>
                    <a:pt x="2769" y="2098"/>
                  </a:moveTo>
                  <a:lnTo>
                    <a:pt x="2769" y="2115"/>
                  </a:lnTo>
                  <a:lnTo>
                    <a:pt x="2755" y="2115"/>
                  </a:lnTo>
                  <a:lnTo>
                    <a:pt x="2759" y="2098"/>
                  </a:lnTo>
                  <a:lnTo>
                    <a:pt x="2769" y="2098"/>
                  </a:lnTo>
                  <a:lnTo>
                    <a:pt x="2769" y="2098"/>
                  </a:lnTo>
                  <a:lnTo>
                    <a:pt x="2769" y="2098"/>
                  </a:lnTo>
                  <a:close/>
                  <a:moveTo>
                    <a:pt x="3563" y="2115"/>
                  </a:moveTo>
                  <a:lnTo>
                    <a:pt x="3570" y="2115"/>
                  </a:lnTo>
                  <a:lnTo>
                    <a:pt x="3558" y="2115"/>
                  </a:lnTo>
                  <a:lnTo>
                    <a:pt x="3563" y="2115"/>
                  </a:lnTo>
                  <a:lnTo>
                    <a:pt x="3563" y="2115"/>
                  </a:lnTo>
                  <a:lnTo>
                    <a:pt x="3563" y="2115"/>
                  </a:lnTo>
                  <a:close/>
                  <a:moveTo>
                    <a:pt x="2868" y="2103"/>
                  </a:moveTo>
                  <a:lnTo>
                    <a:pt x="2878" y="2119"/>
                  </a:lnTo>
                  <a:lnTo>
                    <a:pt x="2878" y="2124"/>
                  </a:lnTo>
                  <a:lnTo>
                    <a:pt x="2861" y="2119"/>
                  </a:lnTo>
                  <a:lnTo>
                    <a:pt x="2868" y="2103"/>
                  </a:lnTo>
                  <a:lnTo>
                    <a:pt x="2868" y="2103"/>
                  </a:lnTo>
                  <a:lnTo>
                    <a:pt x="2868" y="2103"/>
                  </a:lnTo>
                  <a:close/>
                  <a:moveTo>
                    <a:pt x="2856" y="2119"/>
                  </a:moveTo>
                  <a:lnTo>
                    <a:pt x="2868" y="2136"/>
                  </a:lnTo>
                  <a:lnTo>
                    <a:pt x="2861" y="2140"/>
                  </a:lnTo>
                  <a:lnTo>
                    <a:pt x="2856" y="2157"/>
                  </a:lnTo>
                  <a:lnTo>
                    <a:pt x="2830" y="2152"/>
                  </a:lnTo>
                  <a:lnTo>
                    <a:pt x="2830" y="2119"/>
                  </a:lnTo>
                  <a:lnTo>
                    <a:pt x="2856" y="2119"/>
                  </a:lnTo>
                  <a:lnTo>
                    <a:pt x="2856" y="2119"/>
                  </a:lnTo>
                  <a:lnTo>
                    <a:pt x="2856" y="2119"/>
                  </a:lnTo>
                  <a:close/>
                  <a:moveTo>
                    <a:pt x="3584" y="2124"/>
                  </a:moveTo>
                  <a:lnTo>
                    <a:pt x="3570" y="2119"/>
                  </a:lnTo>
                  <a:lnTo>
                    <a:pt x="3584" y="2119"/>
                  </a:lnTo>
                  <a:lnTo>
                    <a:pt x="3584" y="2124"/>
                  </a:lnTo>
                  <a:lnTo>
                    <a:pt x="3584" y="2124"/>
                  </a:lnTo>
                  <a:lnTo>
                    <a:pt x="3584" y="2124"/>
                  </a:lnTo>
                  <a:close/>
                  <a:moveTo>
                    <a:pt x="5129" y="2124"/>
                  </a:moveTo>
                  <a:lnTo>
                    <a:pt x="5129" y="2136"/>
                  </a:lnTo>
                  <a:lnTo>
                    <a:pt x="5124" y="2124"/>
                  </a:lnTo>
                  <a:lnTo>
                    <a:pt x="5129" y="2124"/>
                  </a:lnTo>
                  <a:lnTo>
                    <a:pt x="5129" y="2124"/>
                  </a:lnTo>
                  <a:lnTo>
                    <a:pt x="5129" y="2124"/>
                  </a:lnTo>
                  <a:close/>
                  <a:moveTo>
                    <a:pt x="3579" y="2157"/>
                  </a:moveTo>
                  <a:lnTo>
                    <a:pt x="3579" y="2152"/>
                  </a:lnTo>
                  <a:lnTo>
                    <a:pt x="3579" y="2140"/>
                  </a:lnTo>
                  <a:lnTo>
                    <a:pt x="3596" y="2152"/>
                  </a:lnTo>
                  <a:lnTo>
                    <a:pt x="3579" y="2157"/>
                  </a:lnTo>
                  <a:lnTo>
                    <a:pt x="3579" y="2157"/>
                  </a:lnTo>
                  <a:lnTo>
                    <a:pt x="3579" y="2157"/>
                  </a:lnTo>
                  <a:close/>
                  <a:moveTo>
                    <a:pt x="2759" y="2152"/>
                  </a:moveTo>
                  <a:lnTo>
                    <a:pt x="2759" y="2157"/>
                  </a:lnTo>
                  <a:lnTo>
                    <a:pt x="2748" y="2176"/>
                  </a:lnTo>
                  <a:lnTo>
                    <a:pt x="2717" y="2157"/>
                  </a:lnTo>
                  <a:lnTo>
                    <a:pt x="2738" y="2140"/>
                  </a:lnTo>
                  <a:lnTo>
                    <a:pt x="2759" y="2152"/>
                  </a:lnTo>
                  <a:lnTo>
                    <a:pt x="2759" y="2152"/>
                  </a:lnTo>
                  <a:lnTo>
                    <a:pt x="2759" y="2152"/>
                  </a:lnTo>
                  <a:close/>
                  <a:moveTo>
                    <a:pt x="4626" y="2157"/>
                  </a:moveTo>
                  <a:lnTo>
                    <a:pt x="4642" y="2181"/>
                  </a:lnTo>
                  <a:lnTo>
                    <a:pt x="4642" y="2209"/>
                  </a:lnTo>
                  <a:lnTo>
                    <a:pt x="4595" y="2181"/>
                  </a:lnTo>
                  <a:lnTo>
                    <a:pt x="4611" y="2157"/>
                  </a:lnTo>
                  <a:lnTo>
                    <a:pt x="4626" y="2157"/>
                  </a:lnTo>
                  <a:lnTo>
                    <a:pt x="4626" y="2157"/>
                  </a:lnTo>
                  <a:lnTo>
                    <a:pt x="4626" y="2157"/>
                  </a:lnTo>
                  <a:close/>
                  <a:moveTo>
                    <a:pt x="4642" y="2157"/>
                  </a:moveTo>
                  <a:lnTo>
                    <a:pt x="4663" y="2176"/>
                  </a:lnTo>
                  <a:lnTo>
                    <a:pt x="4637" y="2169"/>
                  </a:lnTo>
                  <a:lnTo>
                    <a:pt x="4642" y="2157"/>
                  </a:lnTo>
                  <a:lnTo>
                    <a:pt x="4642" y="2157"/>
                  </a:lnTo>
                  <a:lnTo>
                    <a:pt x="4642" y="2157"/>
                  </a:lnTo>
                  <a:close/>
                  <a:moveTo>
                    <a:pt x="4368" y="2192"/>
                  </a:moveTo>
                  <a:lnTo>
                    <a:pt x="4352" y="2181"/>
                  </a:lnTo>
                  <a:lnTo>
                    <a:pt x="4373" y="2176"/>
                  </a:lnTo>
                  <a:lnTo>
                    <a:pt x="4356" y="2169"/>
                  </a:lnTo>
                  <a:lnTo>
                    <a:pt x="4389" y="2169"/>
                  </a:lnTo>
                  <a:lnTo>
                    <a:pt x="4368" y="2192"/>
                  </a:lnTo>
                  <a:lnTo>
                    <a:pt x="4368" y="2192"/>
                  </a:lnTo>
                  <a:lnTo>
                    <a:pt x="4368" y="2192"/>
                  </a:lnTo>
                  <a:close/>
                  <a:moveTo>
                    <a:pt x="2516" y="2176"/>
                  </a:moveTo>
                  <a:lnTo>
                    <a:pt x="2521" y="2181"/>
                  </a:lnTo>
                  <a:lnTo>
                    <a:pt x="2504" y="2176"/>
                  </a:lnTo>
                  <a:lnTo>
                    <a:pt x="2516" y="2176"/>
                  </a:lnTo>
                  <a:lnTo>
                    <a:pt x="2516" y="2176"/>
                  </a:lnTo>
                  <a:lnTo>
                    <a:pt x="2516" y="2176"/>
                  </a:lnTo>
                  <a:close/>
                  <a:moveTo>
                    <a:pt x="2542" y="2176"/>
                  </a:moveTo>
                  <a:lnTo>
                    <a:pt x="2570" y="2192"/>
                  </a:lnTo>
                  <a:lnTo>
                    <a:pt x="2542" y="2197"/>
                  </a:lnTo>
                  <a:lnTo>
                    <a:pt x="2521" y="2176"/>
                  </a:lnTo>
                  <a:lnTo>
                    <a:pt x="2542" y="2176"/>
                  </a:lnTo>
                  <a:lnTo>
                    <a:pt x="2542" y="2176"/>
                  </a:lnTo>
                  <a:lnTo>
                    <a:pt x="2542" y="2176"/>
                  </a:lnTo>
                  <a:close/>
                  <a:moveTo>
                    <a:pt x="2129" y="2176"/>
                  </a:moveTo>
                  <a:lnTo>
                    <a:pt x="2138" y="2176"/>
                  </a:lnTo>
                  <a:lnTo>
                    <a:pt x="2122" y="2176"/>
                  </a:lnTo>
                  <a:lnTo>
                    <a:pt x="2129" y="2176"/>
                  </a:lnTo>
                  <a:lnTo>
                    <a:pt x="2129" y="2176"/>
                  </a:lnTo>
                  <a:lnTo>
                    <a:pt x="2129" y="2176"/>
                  </a:lnTo>
                  <a:close/>
                  <a:moveTo>
                    <a:pt x="2122" y="2181"/>
                  </a:moveTo>
                  <a:lnTo>
                    <a:pt x="2100" y="2181"/>
                  </a:lnTo>
                  <a:lnTo>
                    <a:pt x="2122" y="2176"/>
                  </a:lnTo>
                  <a:lnTo>
                    <a:pt x="2122" y="2181"/>
                  </a:lnTo>
                  <a:lnTo>
                    <a:pt x="2122" y="2181"/>
                  </a:lnTo>
                  <a:lnTo>
                    <a:pt x="2122" y="2181"/>
                  </a:lnTo>
                  <a:close/>
                  <a:moveTo>
                    <a:pt x="4675" y="2192"/>
                  </a:moveTo>
                  <a:lnTo>
                    <a:pt x="4696" y="2209"/>
                  </a:lnTo>
                  <a:lnTo>
                    <a:pt x="4680" y="2214"/>
                  </a:lnTo>
                  <a:lnTo>
                    <a:pt x="4675" y="2197"/>
                  </a:lnTo>
                  <a:lnTo>
                    <a:pt x="4675" y="2192"/>
                  </a:lnTo>
                  <a:lnTo>
                    <a:pt x="4675" y="2192"/>
                  </a:lnTo>
                  <a:lnTo>
                    <a:pt x="4675" y="2192"/>
                  </a:lnTo>
                  <a:close/>
                  <a:moveTo>
                    <a:pt x="2868" y="2197"/>
                  </a:moveTo>
                  <a:lnTo>
                    <a:pt x="2868" y="2214"/>
                  </a:lnTo>
                  <a:lnTo>
                    <a:pt x="2861" y="2209"/>
                  </a:lnTo>
                  <a:lnTo>
                    <a:pt x="2868" y="2197"/>
                  </a:lnTo>
                  <a:lnTo>
                    <a:pt x="2868" y="2197"/>
                  </a:lnTo>
                  <a:lnTo>
                    <a:pt x="2868" y="2197"/>
                  </a:lnTo>
                  <a:close/>
                  <a:moveTo>
                    <a:pt x="4340" y="2197"/>
                  </a:moveTo>
                  <a:lnTo>
                    <a:pt x="4368" y="2214"/>
                  </a:lnTo>
                  <a:lnTo>
                    <a:pt x="4340" y="2226"/>
                  </a:lnTo>
                  <a:lnTo>
                    <a:pt x="4335" y="2214"/>
                  </a:lnTo>
                  <a:lnTo>
                    <a:pt x="4340" y="2197"/>
                  </a:lnTo>
                  <a:lnTo>
                    <a:pt x="4340" y="2197"/>
                  </a:lnTo>
                  <a:lnTo>
                    <a:pt x="4340" y="2197"/>
                  </a:lnTo>
                  <a:close/>
                  <a:moveTo>
                    <a:pt x="4512" y="2341"/>
                  </a:moveTo>
                  <a:lnTo>
                    <a:pt x="4481" y="2337"/>
                  </a:lnTo>
                  <a:lnTo>
                    <a:pt x="4474" y="2308"/>
                  </a:lnTo>
                  <a:lnTo>
                    <a:pt x="4465" y="2285"/>
                  </a:lnTo>
                  <a:lnTo>
                    <a:pt x="4503" y="2214"/>
                  </a:lnTo>
                  <a:lnTo>
                    <a:pt x="4574" y="2209"/>
                  </a:lnTo>
                  <a:lnTo>
                    <a:pt x="4621" y="2214"/>
                  </a:lnTo>
                  <a:lnTo>
                    <a:pt x="4626" y="2230"/>
                  </a:lnTo>
                  <a:lnTo>
                    <a:pt x="4621" y="2252"/>
                  </a:lnTo>
                  <a:lnTo>
                    <a:pt x="4626" y="2292"/>
                  </a:lnTo>
                  <a:lnTo>
                    <a:pt x="4621" y="2308"/>
                  </a:lnTo>
                  <a:lnTo>
                    <a:pt x="4567" y="2337"/>
                  </a:lnTo>
                  <a:lnTo>
                    <a:pt x="4512" y="2341"/>
                  </a:lnTo>
                  <a:lnTo>
                    <a:pt x="4512" y="2341"/>
                  </a:lnTo>
                  <a:lnTo>
                    <a:pt x="4512" y="2341"/>
                  </a:lnTo>
                  <a:close/>
                  <a:moveTo>
                    <a:pt x="3827" y="2226"/>
                  </a:moveTo>
                  <a:lnTo>
                    <a:pt x="3834" y="2263"/>
                  </a:lnTo>
                  <a:lnTo>
                    <a:pt x="3818" y="2280"/>
                  </a:lnTo>
                  <a:lnTo>
                    <a:pt x="3796" y="2268"/>
                  </a:lnTo>
                  <a:lnTo>
                    <a:pt x="3796" y="2252"/>
                  </a:lnTo>
                  <a:lnTo>
                    <a:pt x="3801" y="2247"/>
                  </a:lnTo>
                  <a:lnTo>
                    <a:pt x="3785" y="2235"/>
                  </a:lnTo>
                  <a:lnTo>
                    <a:pt x="3811" y="2209"/>
                  </a:lnTo>
                  <a:lnTo>
                    <a:pt x="3827" y="2214"/>
                  </a:lnTo>
                  <a:lnTo>
                    <a:pt x="3827" y="2226"/>
                  </a:lnTo>
                  <a:lnTo>
                    <a:pt x="3827" y="2226"/>
                  </a:lnTo>
                  <a:lnTo>
                    <a:pt x="3827" y="2226"/>
                  </a:lnTo>
                  <a:close/>
                  <a:moveTo>
                    <a:pt x="5237" y="2230"/>
                  </a:moveTo>
                  <a:lnTo>
                    <a:pt x="5214" y="2226"/>
                  </a:lnTo>
                  <a:lnTo>
                    <a:pt x="5247" y="2214"/>
                  </a:lnTo>
                  <a:lnTo>
                    <a:pt x="5237" y="2230"/>
                  </a:lnTo>
                  <a:lnTo>
                    <a:pt x="5237" y="2230"/>
                  </a:lnTo>
                  <a:lnTo>
                    <a:pt x="5237" y="2230"/>
                  </a:lnTo>
                  <a:close/>
                  <a:moveTo>
                    <a:pt x="4696" y="2214"/>
                  </a:moveTo>
                  <a:lnTo>
                    <a:pt x="4696" y="2230"/>
                  </a:lnTo>
                  <a:lnTo>
                    <a:pt x="4692" y="2226"/>
                  </a:lnTo>
                  <a:lnTo>
                    <a:pt x="4696" y="2214"/>
                  </a:lnTo>
                  <a:lnTo>
                    <a:pt x="4696" y="2214"/>
                  </a:lnTo>
                  <a:lnTo>
                    <a:pt x="4696" y="2214"/>
                  </a:lnTo>
                  <a:close/>
                  <a:moveTo>
                    <a:pt x="2570" y="2226"/>
                  </a:moveTo>
                  <a:lnTo>
                    <a:pt x="2559" y="2235"/>
                  </a:lnTo>
                  <a:lnTo>
                    <a:pt x="2554" y="2230"/>
                  </a:lnTo>
                  <a:lnTo>
                    <a:pt x="2570" y="2226"/>
                  </a:lnTo>
                  <a:lnTo>
                    <a:pt x="2570" y="2226"/>
                  </a:lnTo>
                  <a:lnTo>
                    <a:pt x="2570" y="2226"/>
                  </a:lnTo>
                  <a:close/>
                  <a:moveTo>
                    <a:pt x="5285" y="2226"/>
                  </a:moveTo>
                  <a:lnTo>
                    <a:pt x="5301" y="2230"/>
                  </a:lnTo>
                  <a:lnTo>
                    <a:pt x="5285" y="2230"/>
                  </a:lnTo>
                  <a:lnTo>
                    <a:pt x="5285" y="2226"/>
                  </a:lnTo>
                  <a:lnTo>
                    <a:pt x="5285" y="2226"/>
                  </a:lnTo>
                  <a:lnTo>
                    <a:pt x="5285" y="2226"/>
                  </a:lnTo>
                  <a:close/>
                  <a:moveTo>
                    <a:pt x="4718" y="2247"/>
                  </a:moveTo>
                  <a:lnTo>
                    <a:pt x="4746" y="2247"/>
                  </a:lnTo>
                  <a:lnTo>
                    <a:pt x="4746" y="2268"/>
                  </a:lnTo>
                  <a:lnTo>
                    <a:pt x="4734" y="2280"/>
                  </a:lnTo>
                  <a:lnTo>
                    <a:pt x="4675" y="2268"/>
                  </a:lnTo>
                  <a:lnTo>
                    <a:pt x="4649" y="2263"/>
                  </a:lnTo>
                  <a:lnTo>
                    <a:pt x="4642" y="2247"/>
                  </a:lnTo>
                  <a:lnTo>
                    <a:pt x="4675" y="2226"/>
                  </a:lnTo>
                  <a:lnTo>
                    <a:pt x="4692" y="2235"/>
                  </a:lnTo>
                  <a:lnTo>
                    <a:pt x="4718" y="2247"/>
                  </a:lnTo>
                  <a:lnTo>
                    <a:pt x="4718" y="2247"/>
                  </a:lnTo>
                  <a:lnTo>
                    <a:pt x="4718" y="2247"/>
                  </a:lnTo>
                  <a:close/>
                  <a:moveTo>
                    <a:pt x="2214" y="2230"/>
                  </a:moveTo>
                  <a:lnTo>
                    <a:pt x="2219" y="2247"/>
                  </a:lnTo>
                  <a:lnTo>
                    <a:pt x="2209" y="2235"/>
                  </a:lnTo>
                  <a:lnTo>
                    <a:pt x="2214" y="2230"/>
                  </a:lnTo>
                  <a:lnTo>
                    <a:pt x="2214" y="2230"/>
                  </a:lnTo>
                  <a:lnTo>
                    <a:pt x="2214" y="2230"/>
                  </a:lnTo>
                  <a:close/>
                  <a:moveTo>
                    <a:pt x="2948" y="2235"/>
                  </a:moveTo>
                  <a:lnTo>
                    <a:pt x="2948" y="2247"/>
                  </a:lnTo>
                  <a:lnTo>
                    <a:pt x="2937" y="2235"/>
                  </a:lnTo>
                  <a:lnTo>
                    <a:pt x="2948" y="2235"/>
                  </a:lnTo>
                  <a:lnTo>
                    <a:pt x="2948" y="2235"/>
                  </a:lnTo>
                  <a:lnTo>
                    <a:pt x="2948" y="2235"/>
                  </a:lnTo>
                  <a:close/>
                  <a:moveTo>
                    <a:pt x="2252" y="2247"/>
                  </a:moveTo>
                  <a:lnTo>
                    <a:pt x="2252" y="2263"/>
                  </a:lnTo>
                  <a:lnTo>
                    <a:pt x="2230" y="2247"/>
                  </a:lnTo>
                  <a:lnTo>
                    <a:pt x="2252" y="2247"/>
                  </a:lnTo>
                  <a:lnTo>
                    <a:pt x="2252" y="2247"/>
                  </a:lnTo>
                  <a:lnTo>
                    <a:pt x="2252" y="2247"/>
                  </a:lnTo>
                  <a:close/>
                  <a:moveTo>
                    <a:pt x="3024" y="2263"/>
                  </a:moveTo>
                  <a:lnTo>
                    <a:pt x="3019" y="2263"/>
                  </a:lnTo>
                  <a:lnTo>
                    <a:pt x="3024" y="2263"/>
                  </a:lnTo>
                  <a:lnTo>
                    <a:pt x="3024" y="2263"/>
                  </a:lnTo>
                  <a:lnTo>
                    <a:pt x="3024" y="2263"/>
                  </a:lnTo>
                  <a:close/>
                  <a:moveTo>
                    <a:pt x="1895" y="2263"/>
                  </a:moveTo>
                  <a:lnTo>
                    <a:pt x="1874" y="2263"/>
                  </a:lnTo>
                  <a:lnTo>
                    <a:pt x="1895" y="2263"/>
                  </a:lnTo>
                  <a:lnTo>
                    <a:pt x="1895" y="2263"/>
                  </a:lnTo>
                  <a:lnTo>
                    <a:pt x="1895" y="2263"/>
                  </a:lnTo>
                  <a:close/>
                  <a:moveTo>
                    <a:pt x="2306" y="2308"/>
                  </a:moveTo>
                  <a:lnTo>
                    <a:pt x="2306" y="2285"/>
                  </a:lnTo>
                  <a:lnTo>
                    <a:pt x="2318" y="2285"/>
                  </a:lnTo>
                  <a:lnTo>
                    <a:pt x="2322" y="2303"/>
                  </a:lnTo>
                  <a:lnTo>
                    <a:pt x="2306" y="2308"/>
                  </a:lnTo>
                  <a:lnTo>
                    <a:pt x="2306" y="2308"/>
                  </a:lnTo>
                  <a:lnTo>
                    <a:pt x="2306" y="2308"/>
                  </a:lnTo>
                  <a:close/>
                  <a:moveTo>
                    <a:pt x="5410" y="2292"/>
                  </a:moveTo>
                  <a:lnTo>
                    <a:pt x="5415" y="2303"/>
                  </a:lnTo>
                  <a:lnTo>
                    <a:pt x="5398" y="2303"/>
                  </a:lnTo>
                  <a:lnTo>
                    <a:pt x="5410" y="2292"/>
                  </a:lnTo>
                  <a:lnTo>
                    <a:pt x="5410" y="2292"/>
                  </a:lnTo>
                  <a:lnTo>
                    <a:pt x="5410" y="2292"/>
                  </a:lnTo>
                  <a:close/>
                  <a:moveTo>
                    <a:pt x="2285" y="2292"/>
                  </a:moveTo>
                  <a:lnTo>
                    <a:pt x="2289" y="2292"/>
                  </a:lnTo>
                  <a:lnTo>
                    <a:pt x="2285" y="2292"/>
                  </a:lnTo>
                  <a:lnTo>
                    <a:pt x="2285" y="2292"/>
                  </a:lnTo>
                  <a:lnTo>
                    <a:pt x="2285" y="2292"/>
                  </a:lnTo>
                  <a:close/>
                  <a:moveTo>
                    <a:pt x="2306" y="2308"/>
                  </a:moveTo>
                  <a:lnTo>
                    <a:pt x="2301" y="2308"/>
                  </a:lnTo>
                  <a:lnTo>
                    <a:pt x="2301" y="2303"/>
                  </a:lnTo>
                  <a:lnTo>
                    <a:pt x="2306" y="2308"/>
                  </a:lnTo>
                  <a:lnTo>
                    <a:pt x="2306" y="2308"/>
                  </a:lnTo>
                  <a:lnTo>
                    <a:pt x="2306" y="2308"/>
                  </a:lnTo>
                  <a:close/>
                  <a:moveTo>
                    <a:pt x="2289" y="2308"/>
                  </a:moveTo>
                  <a:lnTo>
                    <a:pt x="2285" y="2303"/>
                  </a:lnTo>
                  <a:lnTo>
                    <a:pt x="2289" y="2303"/>
                  </a:lnTo>
                  <a:lnTo>
                    <a:pt x="2289" y="2308"/>
                  </a:lnTo>
                  <a:lnTo>
                    <a:pt x="2289" y="2308"/>
                  </a:lnTo>
                  <a:lnTo>
                    <a:pt x="2289" y="2308"/>
                  </a:lnTo>
                  <a:close/>
                  <a:moveTo>
                    <a:pt x="2322" y="2308"/>
                  </a:moveTo>
                  <a:lnTo>
                    <a:pt x="2322" y="2337"/>
                  </a:lnTo>
                  <a:lnTo>
                    <a:pt x="2306" y="2320"/>
                  </a:lnTo>
                  <a:lnTo>
                    <a:pt x="2322" y="2308"/>
                  </a:lnTo>
                  <a:lnTo>
                    <a:pt x="2322" y="2308"/>
                  </a:lnTo>
                  <a:lnTo>
                    <a:pt x="2322" y="2308"/>
                  </a:lnTo>
                  <a:close/>
                  <a:moveTo>
                    <a:pt x="5436" y="2337"/>
                  </a:moveTo>
                  <a:lnTo>
                    <a:pt x="5415" y="2337"/>
                  </a:lnTo>
                  <a:lnTo>
                    <a:pt x="5431" y="2325"/>
                  </a:lnTo>
                  <a:lnTo>
                    <a:pt x="5448" y="2337"/>
                  </a:lnTo>
                  <a:lnTo>
                    <a:pt x="5436" y="2337"/>
                  </a:lnTo>
                  <a:lnTo>
                    <a:pt x="5436" y="2337"/>
                  </a:lnTo>
                  <a:lnTo>
                    <a:pt x="5436" y="2337"/>
                  </a:lnTo>
                  <a:close/>
                  <a:moveTo>
                    <a:pt x="2339" y="2337"/>
                  </a:moveTo>
                  <a:lnTo>
                    <a:pt x="2339" y="2341"/>
                  </a:lnTo>
                  <a:lnTo>
                    <a:pt x="2339" y="2337"/>
                  </a:lnTo>
                  <a:lnTo>
                    <a:pt x="2339" y="2337"/>
                  </a:lnTo>
                  <a:lnTo>
                    <a:pt x="2339" y="2337"/>
                  </a:lnTo>
                  <a:close/>
                  <a:moveTo>
                    <a:pt x="2344" y="2341"/>
                  </a:moveTo>
                  <a:lnTo>
                    <a:pt x="2360" y="2358"/>
                  </a:lnTo>
                  <a:lnTo>
                    <a:pt x="2344" y="2358"/>
                  </a:lnTo>
                  <a:lnTo>
                    <a:pt x="2344" y="2341"/>
                  </a:lnTo>
                  <a:lnTo>
                    <a:pt x="2344" y="2341"/>
                  </a:lnTo>
                  <a:lnTo>
                    <a:pt x="2344" y="2341"/>
                  </a:lnTo>
                  <a:close/>
                  <a:moveTo>
                    <a:pt x="5474" y="2358"/>
                  </a:moveTo>
                  <a:lnTo>
                    <a:pt x="5500" y="2346"/>
                  </a:lnTo>
                  <a:lnTo>
                    <a:pt x="5516" y="2346"/>
                  </a:lnTo>
                  <a:lnTo>
                    <a:pt x="5490" y="2363"/>
                  </a:lnTo>
                  <a:lnTo>
                    <a:pt x="5474" y="2358"/>
                  </a:lnTo>
                  <a:lnTo>
                    <a:pt x="5474" y="2358"/>
                  </a:lnTo>
                  <a:lnTo>
                    <a:pt x="5474" y="2358"/>
                  </a:lnTo>
                  <a:close/>
                  <a:moveTo>
                    <a:pt x="5474" y="2363"/>
                  </a:moveTo>
                  <a:lnTo>
                    <a:pt x="5462" y="2358"/>
                  </a:lnTo>
                  <a:lnTo>
                    <a:pt x="5474" y="2363"/>
                  </a:lnTo>
                  <a:lnTo>
                    <a:pt x="5474" y="2363"/>
                  </a:lnTo>
                  <a:lnTo>
                    <a:pt x="5474" y="2363"/>
                  </a:lnTo>
                  <a:close/>
                  <a:moveTo>
                    <a:pt x="5462" y="2363"/>
                  </a:moveTo>
                  <a:lnTo>
                    <a:pt x="5469" y="2374"/>
                  </a:lnTo>
                  <a:lnTo>
                    <a:pt x="5462" y="2363"/>
                  </a:lnTo>
                  <a:lnTo>
                    <a:pt x="5462" y="2363"/>
                  </a:lnTo>
                  <a:lnTo>
                    <a:pt x="5462" y="2363"/>
                  </a:lnTo>
                  <a:close/>
                  <a:moveTo>
                    <a:pt x="2306" y="2363"/>
                  </a:moveTo>
                  <a:lnTo>
                    <a:pt x="2322" y="2374"/>
                  </a:lnTo>
                  <a:lnTo>
                    <a:pt x="2318" y="2379"/>
                  </a:lnTo>
                  <a:lnTo>
                    <a:pt x="2306" y="2363"/>
                  </a:lnTo>
                  <a:lnTo>
                    <a:pt x="2306" y="2363"/>
                  </a:lnTo>
                  <a:lnTo>
                    <a:pt x="2306" y="2363"/>
                  </a:lnTo>
                  <a:close/>
                  <a:moveTo>
                    <a:pt x="5192" y="2429"/>
                  </a:moveTo>
                  <a:lnTo>
                    <a:pt x="5200" y="2436"/>
                  </a:lnTo>
                  <a:lnTo>
                    <a:pt x="5192" y="2436"/>
                  </a:lnTo>
                  <a:lnTo>
                    <a:pt x="5192" y="2429"/>
                  </a:lnTo>
                  <a:lnTo>
                    <a:pt x="5192" y="2429"/>
                  </a:lnTo>
                  <a:lnTo>
                    <a:pt x="5192" y="2429"/>
                  </a:lnTo>
                  <a:close/>
                  <a:moveTo>
                    <a:pt x="5204" y="2448"/>
                  </a:moveTo>
                  <a:lnTo>
                    <a:pt x="5221" y="2452"/>
                  </a:lnTo>
                  <a:lnTo>
                    <a:pt x="5192" y="2436"/>
                  </a:lnTo>
                  <a:lnTo>
                    <a:pt x="5204" y="2448"/>
                  </a:lnTo>
                  <a:lnTo>
                    <a:pt x="5204" y="2448"/>
                  </a:lnTo>
                  <a:lnTo>
                    <a:pt x="5204" y="2448"/>
                  </a:lnTo>
                  <a:close/>
                  <a:moveTo>
                    <a:pt x="4070" y="2457"/>
                  </a:moveTo>
                  <a:lnTo>
                    <a:pt x="4066" y="2469"/>
                  </a:lnTo>
                  <a:lnTo>
                    <a:pt x="4049" y="2452"/>
                  </a:lnTo>
                  <a:lnTo>
                    <a:pt x="4070" y="2457"/>
                  </a:lnTo>
                  <a:lnTo>
                    <a:pt x="4070" y="2457"/>
                  </a:lnTo>
                  <a:lnTo>
                    <a:pt x="4070" y="2457"/>
                  </a:lnTo>
                  <a:close/>
                  <a:moveTo>
                    <a:pt x="5523" y="2457"/>
                  </a:moveTo>
                  <a:lnTo>
                    <a:pt x="5528" y="2457"/>
                  </a:lnTo>
                  <a:lnTo>
                    <a:pt x="5507" y="2457"/>
                  </a:lnTo>
                  <a:lnTo>
                    <a:pt x="5523" y="2457"/>
                  </a:lnTo>
                  <a:lnTo>
                    <a:pt x="5523" y="2457"/>
                  </a:lnTo>
                  <a:lnTo>
                    <a:pt x="5523" y="2457"/>
                  </a:lnTo>
                  <a:close/>
                  <a:moveTo>
                    <a:pt x="4000" y="2485"/>
                  </a:moveTo>
                  <a:lnTo>
                    <a:pt x="4016" y="2502"/>
                  </a:lnTo>
                  <a:lnTo>
                    <a:pt x="4016" y="2514"/>
                  </a:lnTo>
                  <a:lnTo>
                    <a:pt x="4054" y="2523"/>
                  </a:lnTo>
                  <a:lnTo>
                    <a:pt x="4044" y="2530"/>
                  </a:lnTo>
                  <a:lnTo>
                    <a:pt x="4011" y="2530"/>
                  </a:lnTo>
                  <a:lnTo>
                    <a:pt x="4016" y="2514"/>
                  </a:lnTo>
                  <a:lnTo>
                    <a:pt x="3990" y="2514"/>
                  </a:lnTo>
                  <a:lnTo>
                    <a:pt x="3990" y="2502"/>
                  </a:lnTo>
                  <a:lnTo>
                    <a:pt x="3974" y="2485"/>
                  </a:lnTo>
                  <a:lnTo>
                    <a:pt x="3962" y="2474"/>
                  </a:lnTo>
                  <a:lnTo>
                    <a:pt x="4000" y="2485"/>
                  </a:lnTo>
                  <a:lnTo>
                    <a:pt x="4000" y="2485"/>
                  </a:lnTo>
                  <a:lnTo>
                    <a:pt x="4000" y="2485"/>
                  </a:lnTo>
                  <a:close/>
                  <a:moveTo>
                    <a:pt x="3936" y="2490"/>
                  </a:moveTo>
                  <a:lnTo>
                    <a:pt x="3957" y="2523"/>
                  </a:lnTo>
                  <a:lnTo>
                    <a:pt x="3945" y="2540"/>
                  </a:lnTo>
                  <a:lnTo>
                    <a:pt x="3919" y="2514"/>
                  </a:lnTo>
                  <a:lnTo>
                    <a:pt x="3919" y="2490"/>
                  </a:lnTo>
                  <a:lnTo>
                    <a:pt x="3936" y="2490"/>
                  </a:lnTo>
                  <a:lnTo>
                    <a:pt x="3936" y="2490"/>
                  </a:lnTo>
                  <a:lnTo>
                    <a:pt x="3936" y="2490"/>
                  </a:lnTo>
                  <a:close/>
                  <a:moveTo>
                    <a:pt x="5528" y="2502"/>
                  </a:moveTo>
                  <a:lnTo>
                    <a:pt x="5528" y="2507"/>
                  </a:lnTo>
                  <a:lnTo>
                    <a:pt x="5523" y="2490"/>
                  </a:lnTo>
                  <a:lnTo>
                    <a:pt x="5528" y="2502"/>
                  </a:lnTo>
                  <a:lnTo>
                    <a:pt x="5528" y="2502"/>
                  </a:lnTo>
                  <a:lnTo>
                    <a:pt x="5528" y="2502"/>
                  </a:lnTo>
                  <a:close/>
                  <a:moveTo>
                    <a:pt x="4264" y="2745"/>
                  </a:moveTo>
                  <a:lnTo>
                    <a:pt x="4205" y="2785"/>
                  </a:lnTo>
                  <a:lnTo>
                    <a:pt x="4134" y="2762"/>
                  </a:lnTo>
                  <a:lnTo>
                    <a:pt x="4104" y="2762"/>
                  </a:lnTo>
                  <a:lnTo>
                    <a:pt x="4104" y="2752"/>
                  </a:lnTo>
                  <a:lnTo>
                    <a:pt x="4108" y="2745"/>
                  </a:lnTo>
                  <a:lnTo>
                    <a:pt x="4108" y="2729"/>
                  </a:lnTo>
                  <a:lnTo>
                    <a:pt x="4066" y="2729"/>
                  </a:lnTo>
                  <a:lnTo>
                    <a:pt x="4054" y="2724"/>
                  </a:lnTo>
                  <a:lnTo>
                    <a:pt x="4070" y="2707"/>
                  </a:lnTo>
                  <a:lnTo>
                    <a:pt x="4066" y="2696"/>
                  </a:lnTo>
                  <a:lnTo>
                    <a:pt x="4028" y="2712"/>
                  </a:lnTo>
                  <a:lnTo>
                    <a:pt x="4016" y="2724"/>
                  </a:lnTo>
                  <a:lnTo>
                    <a:pt x="4028" y="2729"/>
                  </a:lnTo>
                  <a:lnTo>
                    <a:pt x="4028" y="2745"/>
                  </a:lnTo>
                  <a:lnTo>
                    <a:pt x="3978" y="2769"/>
                  </a:lnTo>
                  <a:lnTo>
                    <a:pt x="3957" y="2802"/>
                  </a:lnTo>
                  <a:lnTo>
                    <a:pt x="3910" y="2823"/>
                  </a:lnTo>
                  <a:lnTo>
                    <a:pt x="3886" y="2818"/>
                  </a:lnTo>
                  <a:lnTo>
                    <a:pt x="3881" y="2790"/>
                  </a:lnTo>
                  <a:lnTo>
                    <a:pt x="3886" y="2762"/>
                  </a:lnTo>
                  <a:lnTo>
                    <a:pt x="3881" y="2752"/>
                  </a:lnTo>
                  <a:lnTo>
                    <a:pt x="3818" y="2762"/>
                  </a:lnTo>
                  <a:lnTo>
                    <a:pt x="3796" y="2778"/>
                  </a:lnTo>
                  <a:lnTo>
                    <a:pt x="3773" y="2762"/>
                  </a:lnTo>
                  <a:lnTo>
                    <a:pt x="3796" y="2729"/>
                  </a:lnTo>
                  <a:lnTo>
                    <a:pt x="3839" y="2712"/>
                  </a:lnTo>
                  <a:lnTo>
                    <a:pt x="3834" y="2674"/>
                  </a:lnTo>
                  <a:lnTo>
                    <a:pt x="3834" y="2651"/>
                  </a:lnTo>
                  <a:lnTo>
                    <a:pt x="3848" y="2625"/>
                  </a:lnTo>
                  <a:lnTo>
                    <a:pt x="3839" y="2613"/>
                  </a:lnTo>
                  <a:lnTo>
                    <a:pt x="3848" y="2596"/>
                  </a:lnTo>
                  <a:lnTo>
                    <a:pt x="3848" y="2563"/>
                  </a:lnTo>
                  <a:lnTo>
                    <a:pt x="3855" y="2514"/>
                  </a:lnTo>
                  <a:lnTo>
                    <a:pt x="3893" y="2502"/>
                  </a:lnTo>
                  <a:lnTo>
                    <a:pt x="3893" y="2514"/>
                  </a:lnTo>
                  <a:lnTo>
                    <a:pt x="3919" y="2514"/>
                  </a:lnTo>
                  <a:lnTo>
                    <a:pt x="3924" y="2530"/>
                  </a:lnTo>
                  <a:lnTo>
                    <a:pt x="3903" y="2540"/>
                  </a:lnTo>
                  <a:lnTo>
                    <a:pt x="3924" y="2556"/>
                  </a:lnTo>
                  <a:lnTo>
                    <a:pt x="3936" y="2580"/>
                  </a:lnTo>
                  <a:lnTo>
                    <a:pt x="3941" y="2580"/>
                  </a:lnTo>
                  <a:lnTo>
                    <a:pt x="3957" y="2547"/>
                  </a:lnTo>
                  <a:lnTo>
                    <a:pt x="3962" y="2556"/>
                  </a:lnTo>
                  <a:lnTo>
                    <a:pt x="3990" y="2563"/>
                  </a:lnTo>
                  <a:lnTo>
                    <a:pt x="3978" y="2568"/>
                  </a:lnTo>
                  <a:lnTo>
                    <a:pt x="3990" y="2580"/>
                  </a:lnTo>
                  <a:lnTo>
                    <a:pt x="4044" y="2585"/>
                  </a:lnTo>
                  <a:lnTo>
                    <a:pt x="4054" y="2613"/>
                  </a:lnTo>
                  <a:lnTo>
                    <a:pt x="4125" y="2641"/>
                  </a:lnTo>
                  <a:lnTo>
                    <a:pt x="4158" y="2667"/>
                  </a:lnTo>
                  <a:lnTo>
                    <a:pt x="4158" y="2691"/>
                  </a:lnTo>
                  <a:lnTo>
                    <a:pt x="4163" y="2707"/>
                  </a:lnTo>
                  <a:lnTo>
                    <a:pt x="4141" y="2724"/>
                  </a:lnTo>
                  <a:lnTo>
                    <a:pt x="4179" y="2712"/>
                  </a:lnTo>
                  <a:lnTo>
                    <a:pt x="4210" y="2724"/>
                  </a:lnTo>
                  <a:lnTo>
                    <a:pt x="4210" y="2712"/>
                  </a:lnTo>
                  <a:lnTo>
                    <a:pt x="4217" y="2707"/>
                  </a:lnTo>
                  <a:lnTo>
                    <a:pt x="4243" y="2724"/>
                  </a:lnTo>
                  <a:lnTo>
                    <a:pt x="4243" y="2729"/>
                  </a:lnTo>
                  <a:lnTo>
                    <a:pt x="4243" y="2736"/>
                  </a:lnTo>
                  <a:lnTo>
                    <a:pt x="4264" y="2745"/>
                  </a:lnTo>
                  <a:lnTo>
                    <a:pt x="4264" y="2745"/>
                  </a:lnTo>
                  <a:lnTo>
                    <a:pt x="4264" y="2745"/>
                  </a:lnTo>
                  <a:close/>
                  <a:moveTo>
                    <a:pt x="4044" y="2507"/>
                  </a:moveTo>
                  <a:lnTo>
                    <a:pt x="4028" y="2507"/>
                  </a:lnTo>
                  <a:lnTo>
                    <a:pt x="4049" y="2507"/>
                  </a:lnTo>
                  <a:lnTo>
                    <a:pt x="4044" y="2507"/>
                  </a:lnTo>
                  <a:lnTo>
                    <a:pt x="4044" y="2507"/>
                  </a:lnTo>
                  <a:lnTo>
                    <a:pt x="4044" y="2507"/>
                  </a:lnTo>
                  <a:close/>
                  <a:moveTo>
                    <a:pt x="5523" y="2523"/>
                  </a:moveTo>
                  <a:lnTo>
                    <a:pt x="5528" y="2530"/>
                  </a:lnTo>
                  <a:lnTo>
                    <a:pt x="5523" y="2530"/>
                  </a:lnTo>
                  <a:lnTo>
                    <a:pt x="5507" y="2523"/>
                  </a:lnTo>
                  <a:lnTo>
                    <a:pt x="5523" y="2523"/>
                  </a:lnTo>
                  <a:lnTo>
                    <a:pt x="5523" y="2523"/>
                  </a:lnTo>
                  <a:lnTo>
                    <a:pt x="5523" y="2523"/>
                  </a:lnTo>
                  <a:close/>
                  <a:moveTo>
                    <a:pt x="5485" y="2530"/>
                  </a:moveTo>
                  <a:lnTo>
                    <a:pt x="5490" y="2540"/>
                  </a:lnTo>
                  <a:lnTo>
                    <a:pt x="5474" y="2540"/>
                  </a:lnTo>
                  <a:lnTo>
                    <a:pt x="5485" y="2530"/>
                  </a:lnTo>
                  <a:lnTo>
                    <a:pt x="5485" y="2530"/>
                  </a:lnTo>
                  <a:lnTo>
                    <a:pt x="5485" y="2530"/>
                  </a:lnTo>
                  <a:close/>
                  <a:moveTo>
                    <a:pt x="5452" y="2568"/>
                  </a:moveTo>
                  <a:lnTo>
                    <a:pt x="5462" y="2568"/>
                  </a:lnTo>
                  <a:lnTo>
                    <a:pt x="5448" y="2568"/>
                  </a:lnTo>
                  <a:lnTo>
                    <a:pt x="5452" y="2568"/>
                  </a:lnTo>
                  <a:lnTo>
                    <a:pt x="5452" y="2568"/>
                  </a:lnTo>
                  <a:lnTo>
                    <a:pt x="5452" y="2568"/>
                  </a:lnTo>
                  <a:close/>
                  <a:moveTo>
                    <a:pt x="5448" y="2613"/>
                  </a:moveTo>
                  <a:lnTo>
                    <a:pt x="5452" y="2618"/>
                  </a:lnTo>
                  <a:lnTo>
                    <a:pt x="5436" y="2613"/>
                  </a:lnTo>
                  <a:lnTo>
                    <a:pt x="5448" y="2613"/>
                  </a:lnTo>
                  <a:lnTo>
                    <a:pt x="5448" y="2613"/>
                  </a:lnTo>
                  <a:lnTo>
                    <a:pt x="5448" y="2613"/>
                  </a:lnTo>
                  <a:close/>
                  <a:moveTo>
                    <a:pt x="5313" y="2641"/>
                  </a:moveTo>
                  <a:lnTo>
                    <a:pt x="5313" y="2651"/>
                  </a:lnTo>
                  <a:lnTo>
                    <a:pt x="5301" y="2667"/>
                  </a:lnTo>
                  <a:lnTo>
                    <a:pt x="5285" y="2667"/>
                  </a:lnTo>
                  <a:lnTo>
                    <a:pt x="5301" y="2641"/>
                  </a:lnTo>
                  <a:lnTo>
                    <a:pt x="5313" y="2641"/>
                  </a:lnTo>
                  <a:lnTo>
                    <a:pt x="5313" y="2641"/>
                  </a:lnTo>
                  <a:lnTo>
                    <a:pt x="5313" y="2641"/>
                  </a:lnTo>
                  <a:close/>
                  <a:moveTo>
                    <a:pt x="4734" y="2658"/>
                  </a:moveTo>
                  <a:lnTo>
                    <a:pt x="4729" y="2679"/>
                  </a:lnTo>
                  <a:lnTo>
                    <a:pt x="4718" y="2679"/>
                  </a:lnTo>
                  <a:lnTo>
                    <a:pt x="4729" y="2667"/>
                  </a:lnTo>
                  <a:lnTo>
                    <a:pt x="4718" y="2658"/>
                  </a:lnTo>
                  <a:lnTo>
                    <a:pt x="4734" y="2658"/>
                  </a:lnTo>
                  <a:lnTo>
                    <a:pt x="4734" y="2658"/>
                  </a:lnTo>
                  <a:lnTo>
                    <a:pt x="4734" y="2658"/>
                  </a:lnTo>
                  <a:close/>
                  <a:moveTo>
                    <a:pt x="4680" y="2658"/>
                  </a:moveTo>
                  <a:lnTo>
                    <a:pt x="4692" y="2667"/>
                  </a:lnTo>
                  <a:lnTo>
                    <a:pt x="4675" y="2658"/>
                  </a:lnTo>
                  <a:lnTo>
                    <a:pt x="4680" y="2658"/>
                  </a:lnTo>
                  <a:lnTo>
                    <a:pt x="4680" y="2658"/>
                  </a:lnTo>
                  <a:lnTo>
                    <a:pt x="4680" y="2658"/>
                  </a:lnTo>
                  <a:close/>
                  <a:moveTo>
                    <a:pt x="4718" y="2667"/>
                  </a:moveTo>
                  <a:lnTo>
                    <a:pt x="4713" y="2674"/>
                  </a:lnTo>
                  <a:lnTo>
                    <a:pt x="4718" y="2667"/>
                  </a:lnTo>
                  <a:lnTo>
                    <a:pt x="4718" y="2667"/>
                  </a:lnTo>
                  <a:lnTo>
                    <a:pt x="4718" y="2667"/>
                  </a:lnTo>
                  <a:close/>
                  <a:moveTo>
                    <a:pt x="4675" y="2667"/>
                  </a:moveTo>
                  <a:lnTo>
                    <a:pt x="4692" y="2674"/>
                  </a:lnTo>
                  <a:lnTo>
                    <a:pt x="4663" y="2667"/>
                  </a:lnTo>
                  <a:lnTo>
                    <a:pt x="4675" y="2667"/>
                  </a:lnTo>
                  <a:lnTo>
                    <a:pt x="4675" y="2667"/>
                  </a:lnTo>
                  <a:lnTo>
                    <a:pt x="4675" y="2667"/>
                  </a:lnTo>
                  <a:close/>
                  <a:moveTo>
                    <a:pt x="5339" y="2674"/>
                  </a:moveTo>
                  <a:lnTo>
                    <a:pt x="5344" y="2679"/>
                  </a:lnTo>
                  <a:lnTo>
                    <a:pt x="5339" y="2691"/>
                  </a:lnTo>
                  <a:lnTo>
                    <a:pt x="5327" y="2674"/>
                  </a:lnTo>
                  <a:lnTo>
                    <a:pt x="5339" y="2674"/>
                  </a:lnTo>
                  <a:lnTo>
                    <a:pt x="5339" y="2674"/>
                  </a:lnTo>
                  <a:lnTo>
                    <a:pt x="5339" y="2674"/>
                  </a:lnTo>
                  <a:close/>
                  <a:moveTo>
                    <a:pt x="4718" y="2674"/>
                  </a:moveTo>
                  <a:lnTo>
                    <a:pt x="4718" y="2691"/>
                  </a:lnTo>
                  <a:lnTo>
                    <a:pt x="4713" y="2679"/>
                  </a:lnTo>
                  <a:lnTo>
                    <a:pt x="4718" y="2674"/>
                  </a:lnTo>
                  <a:lnTo>
                    <a:pt x="4718" y="2674"/>
                  </a:lnTo>
                  <a:lnTo>
                    <a:pt x="4718" y="2674"/>
                  </a:lnTo>
                  <a:close/>
                  <a:moveTo>
                    <a:pt x="4701" y="2679"/>
                  </a:moveTo>
                  <a:lnTo>
                    <a:pt x="4701" y="2691"/>
                  </a:lnTo>
                  <a:lnTo>
                    <a:pt x="4701" y="2679"/>
                  </a:lnTo>
                  <a:lnTo>
                    <a:pt x="4701" y="2679"/>
                  </a:lnTo>
                  <a:lnTo>
                    <a:pt x="4701" y="2679"/>
                  </a:lnTo>
                  <a:close/>
                  <a:moveTo>
                    <a:pt x="5327" y="2679"/>
                  </a:moveTo>
                  <a:lnTo>
                    <a:pt x="5339" y="2691"/>
                  </a:lnTo>
                  <a:lnTo>
                    <a:pt x="5327" y="2696"/>
                  </a:lnTo>
                  <a:lnTo>
                    <a:pt x="5322" y="2679"/>
                  </a:lnTo>
                  <a:lnTo>
                    <a:pt x="5327" y="2679"/>
                  </a:lnTo>
                  <a:lnTo>
                    <a:pt x="5327" y="2679"/>
                  </a:lnTo>
                  <a:lnTo>
                    <a:pt x="5327" y="2679"/>
                  </a:lnTo>
                  <a:close/>
                  <a:moveTo>
                    <a:pt x="4583" y="2679"/>
                  </a:moveTo>
                  <a:lnTo>
                    <a:pt x="4595" y="2679"/>
                  </a:lnTo>
                  <a:lnTo>
                    <a:pt x="4583" y="2691"/>
                  </a:lnTo>
                  <a:lnTo>
                    <a:pt x="4583" y="2679"/>
                  </a:lnTo>
                  <a:lnTo>
                    <a:pt x="4583" y="2679"/>
                  </a:lnTo>
                  <a:lnTo>
                    <a:pt x="4583" y="2679"/>
                  </a:lnTo>
                  <a:close/>
                  <a:moveTo>
                    <a:pt x="5360" y="2691"/>
                  </a:moveTo>
                  <a:lnTo>
                    <a:pt x="5365" y="2696"/>
                  </a:lnTo>
                  <a:lnTo>
                    <a:pt x="5355" y="2691"/>
                  </a:lnTo>
                  <a:lnTo>
                    <a:pt x="5360" y="2691"/>
                  </a:lnTo>
                  <a:lnTo>
                    <a:pt x="5360" y="2691"/>
                  </a:lnTo>
                  <a:lnTo>
                    <a:pt x="5360" y="2691"/>
                  </a:lnTo>
                  <a:close/>
                  <a:moveTo>
                    <a:pt x="5365" y="2707"/>
                  </a:moveTo>
                  <a:lnTo>
                    <a:pt x="5360" y="2707"/>
                  </a:lnTo>
                  <a:lnTo>
                    <a:pt x="5365" y="2707"/>
                  </a:lnTo>
                  <a:lnTo>
                    <a:pt x="5365" y="2707"/>
                  </a:lnTo>
                  <a:lnTo>
                    <a:pt x="5365" y="2707"/>
                  </a:lnTo>
                  <a:close/>
                  <a:moveTo>
                    <a:pt x="5327" y="2707"/>
                  </a:moveTo>
                  <a:lnTo>
                    <a:pt x="5339" y="2712"/>
                  </a:lnTo>
                  <a:lnTo>
                    <a:pt x="5327" y="2707"/>
                  </a:lnTo>
                  <a:lnTo>
                    <a:pt x="5327" y="2707"/>
                  </a:lnTo>
                  <a:lnTo>
                    <a:pt x="5327" y="2707"/>
                  </a:lnTo>
                  <a:close/>
                  <a:moveTo>
                    <a:pt x="4444" y="2724"/>
                  </a:moveTo>
                  <a:lnTo>
                    <a:pt x="4432" y="2729"/>
                  </a:lnTo>
                  <a:lnTo>
                    <a:pt x="4422" y="2724"/>
                  </a:lnTo>
                  <a:lnTo>
                    <a:pt x="4448" y="2724"/>
                  </a:lnTo>
                  <a:lnTo>
                    <a:pt x="4444" y="2724"/>
                  </a:lnTo>
                  <a:lnTo>
                    <a:pt x="4444" y="2724"/>
                  </a:lnTo>
                  <a:lnTo>
                    <a:pt x="4444" y="2724"/>
                  </a:lnTo>
                  <a:close/>
                  <a:moveTo>
                    <a:pt x="5360" y="2736"/>
                  </a:moveTo>
                  <a:lnTo>
                    <a:pt x="5360" y="2745"/>
                  </a:lnTo>
                  <a:lnTo>
                    <a:pt x="5365" y="2745"/>
                  </a:lnTo>
                  <a:lnTo>
                    <a:pt x="5377" y="2752"/>
                  </a:lnTo>
                  <a:lnTo>
                    <a:pt x="5339" y="2745"/>
                  </a:lnTo>
                  <a:lnTo>
                    <a:pt x="5360" y="2736"/>
                  </a:lnTo>
                  <a:lnTo>
                    <a:pt x="5360" y="2736"/>
                  </a:lnTo>
                  <a:lnTo>
                    <a:pt x="5360" y="2736"/>
                  </a:lnTo>
                  <a:close/>
                  <a:moveTo>
                    <a:pt x="5377" y="2736"/>
                  </a:moveTo>
                  <a:lnTo>
                    <a:pt x="5393" y="2736"/>
                  </a:lnTo>
                  <a:lnTo>
                    <a:pt x="5393" y="2745"/>
                  </a:lnTo>
                  <a:lnTo>
                    <a:pt x="5377" y="2736"/>
                  </a:lnTo>
                  <a:lnTo>
                    <a:pt x="5377" y="2736"/>
                  </a:lnTo>
                  <a:lnTo>
                    <a:pt x="5377" y="2736"/>
                  </a:lnTo>
                  <a:close/>
                  <a:moveTo>
                    <a:pt x="5377" y="2745"/>
                  </a:moveTo>
                  <a:lnTo>
                    <a:pt x="5381" y="2752"/>
                  </a:lnTo>
                  <a:lnTo>
                    <a:pt x="5377" y="2752"/>
                  </a:lnTo>
                  <a:lnTo>
                    <a:pt x="5377" y="2745"/>
                  </a:lnTo>
                  <a:lnTo>
                    <a:pt x="5377" y="2745"/>
                  </a:lnTo>
                  <a:lnTo>
                    <a:pt x="5377" y="2745"/>
                  </a:lnTo>
                  <a:close/>
                  <a:moveTo>
                    <a:pt x="4789" y="2752"/>
                  </a:moveTo>
                  <a:lnTo>
                    <a:pt x="4798" y="2752"/>
                  </a:lnTo>
                  <a:lnTo>
                    <a:pt x="4789" y="2752"/>
                  </a:lnTo>
                  <a:lnTo>
                    <a:pt x="4789" y="2752"/>
                  </a:lnTo>
                  <a:lnTo>
                    <a:pt x="4789" y="2752"/>
                  </a:lnTo>
                  <a:close/>
                  <a:moveTo>
                    <a:pt x="4512" y="2785"/>
                  </a:moveTo>
                  <a:lnTo>
                    <a:pt x="4519" y="2785"/>
                  </a:lnTo>
                  <a:lnTo>
                    <a:pt x="4512" y="2790"/>
                  </a:lnTo>
                  <a:lnTo>
                    <a:pt x="4486" y="2790"/>
                  </a:lnTo>
                  <a:lnTo>
                    <a:pt x="4460" y="2762"/>
                  </a:lnTo>
                  <a:lnTo>
                    <a:pt x="4481" y="2762"/>
                  </a:lnTo>
                  <a:lnTo>
                    <a:pt x="4512" y="2769"/>
                  </a:lnTo>
                  <a:lnTo>
                    <a:pt x="4512" y="2785"/>
                  </a:lnTo>
                  <a:lnTo>
                    <a:pt x="4512" y="2785"/>
                  </a:lnTo>
                  <a:lnTo>
                    <a:pt x="4512" y="2785"/>
                  </a:lnTo>
                  <a:close/>
                  <a:moveTo>
                    <a:pt x="5377" y="2762"/>
                  </a:moveTo>
                  <a:lnTo>
                    <a:pt x="5381" y="2785"/>
                  </a:lnTo>
                  <a:lnTo>
                    <a:pt x="5398" y="2807"/>
                  </a:lnTo>
                  <a:lnTo>
                    <a:pt x="5365" y="2785"/>
                  </a:lnTo>
                  <a:lnTo>
                    <a:pt x="5365" y="2769"/>
                  </a:lnTo>
                  <a:lnTo>
                    <a:pt x="5377" y="2762"/>
                  </a:lnTo>
                  <a:lnTo>
                    <a:pt x="5377" y="2762"/>
                  </a:lnTo>
                  <a:lnTo>
                    <a:pt x="5377" y="2762"/>
                  </a:lnTo>
                  <a:close/>
                  <a:moveTo>
                    <a:pt x="5393" y="2762"/>
                  </a:moveTo>
                  <a:lnTo>
                    <a:pt x="5393" y="2785"/>
                  </a:lnTo>
                  <a:lnTo>
                    <a:pt x="5381" y="2769"/>
                  </a:lnTo>
                  <a:lnTo>
                    <a:pt x="5393" y="2762"/>
                  </a:lnTo>
                  <a:lnTo>
                    <a:pt x="5393" y="2762"/>
                  </a:lnTo>
                  <a:lnTo>
                    <a:pt x="5393" y="2762"/>
                  </a:lnTo>
                  <a:close/>
                  <a:moveTo>
                    <a:pt x="3470" y="2769"/>
                  </a:moveTo>
                  <a:lnTo>
                    <a:pt x="3487" y="2769"/>
                  </a:lnTo>
                  <a:lnTo>
                    <a:pt x="3470" y="2769"/>
                  </a:lnTo>
                  <a:lnTo>
                    <a:pt x="3470" y="2769"/>
                  </a:lnTo>
                  <a:lnTo>
                    <a:pt x="3470" y="2769"/>
                  </a:lnTo>
                  <a:close/>
                  <a:moveTo>
                    <a:pt x="4822" y="2769"/>
                  </a:moveTo>
                  <a:lnTo>
                    <a:pt x="4826" y="2778"/>
                  </a:lnTo>
                  <a:lnTo>
                    <a:pt x="4822" y="2778"/>
                  </a:lnTo>
                  <a:lnTo>
                    <a:pt x="4822" y="2769"/>
                  </a:lnTo>
                  <a:lnTo>
                    <a:pt x="4822" y="2769"/>
                  </a:lnTo>
                  <a:lnTo>
                    <a:pt x="4822" y="2769"/>
                  </a:lnTo>
                  <a:close/>
                  <a:moveTo>
                    <a:pt x="5339" y="2778"/>
                  </a:moveTo>
                  <a:lnTo>
                    <a:pt x="5339" y="2790"/>
                  </a:lnTo>
                  <a:lnTo>
                    <a:pt x="5327" y="2778"/>
                  </a:lnTo>
                  <a:lnTo>
                    <a:pt x="5339" y="2778"/>
                  </a:lnTo>
                  <a:lnTo>
                    <a:pt x="5339" y="2778"/>
                  </a:lnTo>
                  <a:lnTo>
                    <a:pt x="5339" y="2778"/>
                  </a:lnTo>
                  <a:close/>
                  <a:moveTo>
                    <a:pt x="4406" y="2778"/>
                  </a:moveTo>
                  <a:lnTo>
                    <a:pt x="4444" y="2785"/>
                  </a:lnTo>
                  <a:lnTo>
                    <a:pt x="4448" y="2807"/>
                  </a:lnTo>
                  <a:lnTo>
                    <a:pt x="4422" y="2823"/>
                  </a:lnTo>
                  <a:lnTo>
                    <a:pt x="4378" y="2785"/>
                  </a:lnTo>
                  <a:lnTo>
                    <a:pt x="4406" y="2778"/>
                  </a:lnTo>
                  <a:lnTo>
                    <a:pt x="4406" y="2778"/>
                  </a:lnTo>
                  <a:lnTo>
                    <a:pt x="4406" y="2778"/>
                  </a:lnTo>
                  <a:close/>
                  <a:moveTo>
                    <a:pt x="5129" y="2807"/>
                  </a:moveTo>
                  <a:lnTo>
                    <a:pt x="5138" y="2818"/>
                  </a:lnTo>
                  <a:lnTo>
                    <a:pt x="5129" y="2807"/>
                  </a:lnTo>
                  <a:lnTo>
                    <a:pt x="5129" y="2807"/>
                  </a:lnTo>
                  <a:lnTo>
                    <a:pt x="5129" y="2807"/>
                  </a:lnTo>
                  <a:close/>
                  <a:moveTo>
                    <a:pt x="5192" y="2823"/>
                  </a:moveTo>
                  <a:lnTo>
                    <a:pt x="5200" y="2840"/>
                  </a:lnTo>
                  <a:lnTo>
                    <a:pt x="5183" y="2823"/>
                  </a:lnTo>
                  <a:lnTo>
                    <a:pt x="5192" y="2823"/>
                  </a:lnTo>
                  <a:lnTo>
                    <a:pt x="5192" y="2823"/>
                  </a:lnTo>
                  <a:lnTo>
                    <a:pt x="5192" y="2823"/>
                  </a:lnTo>
                  <a:close/>
                  <a:moveTo>
                    <a:pt x="4125" y="2840"/>
                  </a:moveTo>
                  <a:lnTo>
                    <a:pt x="4151" y="2847"/>
                  </a:lnTo>
                  <a:lnTo>
                    <a:pt x="4141" y="2873"/>
                  </a:lnTo>
                  <a:lnTo>
                    <a:pt x="4066" y="2929"/>
                  </a:lnTo>
                  <a:lnTo>
                    <a:pt x="4044" y="2918"/>
                  </a:lnTo>
                  <a:lnTo>
                    <a:pt x="4016" y="2934"/>
                  </a:lnTo>
                  <a:lnTo>
                    <a:pt x="4016" y="2913"/>
                  </a:lnTo>
                  <a:lnTo>
                    <a:pt x="4000" y="2901"/>
                  </a:lnTo>
                  <a:lnTo>
                    <a:pt x="4044" y="2847"/>
                  </a:lnTo>
                  <a:lnTo>
                    <a:pt x="4066" y="2856"/>
                  </a:lnTo>
                  <a:lnTo>
                    <a:pt x="4125" y="2840"/>
                  </a:lnTo>
                  <a:lnTo>
                    <a:pt x="4125" y="2840"/>
                  </a:lnTo>
                  <a:lnTo>
                    <a:pt x="4125" y="2840"/>
                  </a:lnTo>
                  <a:close/>
                  <a:moveTo>
                    <a:pt x="5221" y="2847"/>
                  </a:moveTo>
                  <a:lnTo>
                    <a:pt x="5237" y="2856"/>
                  </a:lnTo>
                  <a:lnTo>
                    <a:pt x="5221" y="2847"/>
                  </a:lnTo>
                  <a:lnTo>
                    <a:pt x="5221" y="2847"/>
                  </a:lnTo>
                  <a:lnTo>
                    <a:pt x="5221" y="2847"/>
                  </a:lnTo>
                  <a:close/>
                  <a:moveTo>
                    <a:pt x="4935" y="2863"/>
                  </a:moveTo>
                  <a:lnTo>
                    <a:pt x="4966" y="2880"/>
                  </a:lnTo>
                  <a:lnTo>
                    <a:pt x="4928" y="2889"/>
                  </a:lnTo>
                  <a:lnTo>
                    <a:pt x="4918" y="2863"/>
                  </a:lnTo>
                  <a:lnTo>
                    <a:pt x="4897" y="2856"/>
                  </a:lnTo>
                  <a:lnTo>
                    <a:pt x="4890" y="2847"/>
                  </a:lnTo>
                  <a:lnTo>
                    <a:pt x="4935" y="2863"/>
                  </a:lnTo>
                  <a:lnTo>
                    <a:pt x="4935" y="2863"/>
                  </a:lnTo>
                  <a:lnTo>
                    <a:pt x="4935" y="2863"/>
                  </a:lnTo>
                  <a:close/>
                  <a:moveTo>
                    <a:pt x="4663" y="2863"/>
                  </a:moveTo>
                  <a:lnTo>
                    <a:pt x="4701" y="2880"/>
                  </a:lnTo>
                  <a:lnTo>
                    <a:pt x="4649" y="2863"/>
                  </a:lnTo>
                  <a:lnTo>
                    <a:pt x="4663" y="2863"/>
                  </a:lnTo>
                  <a:lnTo>
                    <a:pt x="4663" y="2863"/>
                  </a:lnTo>
                  <a:lnTo>
                    <a:pt x="4663" y="2863"/>
                  </a:lnTo>
                  <a:close/>
                  <a:moveTo>
                    <a:pt x="4432" y="2880"/>
                  </a:moveTo>
                  <a:lnTo>
                    <a:pt x="4444" y="2880"/>
                  </a:lnTo>
                  <a:lnTo>
                    <a:pt x="4432" y="2889"/>
                  </a:lnTo>
                  <a:lnTo>
                    <a:pt x="4432" y="2880"/>
                  </a:lnTo>
                  <a:lnTo>
                    <a:pt x="4432" y="2880"/>
                  </a:lnTo>
                  <a:lnTo>
                    <a:pt x="4432" y="2880"/>
                  </a:lnTo>
                  <a:close/>
                  <a:moveTo>
                    <a:pt x="4422" y="2880"/>
                  </a:moveTo>
                  <a:lnTo>
                    <a:pt x="4427" y="2889"/>
                  </a:lnTo>
                  <a:lnTo>
                    <a:pt x="4411" y="2889"/>
                  </a:lnTo>
                  <a:lnTo>
                    <a:pt x="4422" y="2880"/>
                  </a:lnTo>
                  <a:lnTo>
                    <a:pt x="4422" y="2880"/>
                  </a:lnTo>
                  <a:lnTo>
                    <a:pt x="4422" y="2880"/>
                  </a:lnTo>
                  <a:close/>
                  <a:moveTo>
                    <a:pt x="5377" y="2889"/>
                  </a:moveTo>
                  <a:lnTo>
                    <a:pt x="5360" y="2901"/>
                  </a:lnTo>
                  <a:lnTo>
                    <a:pt x="5327" y="2896"/>
                  </a:lnTo>
                  <a:lnTo>
                    <a:pt x="5344" y="2889"/>
                  </a:lnTo>
                  <a:lnTo>
                    <a:pt x="5377" y="2889"/>
                  </a:lnTo>
                  <a:lnTo>
                    <a:pt x="5377" y="2889"/>
                  </a:lnTo>
                  <a:lnTo>
                    <a:pt x="5377" y="2889"/>
                  </a:lnTo>
                  <a:close/>
                  <a:moveTo>
                    <a:pt x="4314" y="2967"/>
                  </a:moveTo>
                  <a:lnTo>
                    <a:pt x="4302" y="2991"/>
                  </a:lnTo>
                  <a:lnTo>
                    <a:pt x="4285" y="3000"/>
                  </a:lnTo>
                  <a:lnTo>
                    <a:pt x="4259" y="2967"/>
                  </a:lnTo>
                  <a:lnTo>
                    <a:pt x="4259" y="2934"/>
                  </a:lnTo>
                  <a:lnTo>
                    <a:pt x="4281" y="2901"/>
                  </a:lnTo>
                  <a:lnTo>
                    <a:pt x="4318" y="2901"/>
                  </a:lnTo>
                  <a:lnTo>
                    <a:pt x="4323" y="2918"/>
                  </a:lnTo>
                  <a:lnTo>
                    <a:pt x="4323" y="2929"/>
                  </a:lnTo>
                  <a:lnTo>
                    <a:pt x="4314" y="2967"/>
                  </a:lnTo>
                  <a:lnTo>
                    <a:pt x="4314" y="2967"/>
                  </a:lnTo>
                  <a:lnTo>
                    <a:pt x="4314" y="2967"/>
                  </a:lnTo>
                  <a:close/>
                  <a:moveTo>
                    <a:pt x="5268" y="2934"/>
                  </a:moveTo>
                  <a:lnTo>
                    <a:pt x="5259" y="2934"/>
                  </a:lnTo>
                  <a:lnTo>
                    <a:pt x="5268" y="2929"/>
                  </a:lnTo>
                  <a:lnTo>
                    <a:pt x="5268" y="2934"/>
                  </a:lnTo>
                  <a:lnTo>
                    <a:pt x="5268" y="2934"/>
                  </a:lnTo>
                  <a:lnTo>
                    <a:pt x="5268" y="2934"/>
                  </a:lnTo>
                  <a:close/>
                  <a:moveTo>
                    <a:pt x="5322" y="2955"/>
                  </a:moveTo>
                  <a:lnTo>
                    <a:pt x="5344" y="2974"/>
                  </a:lnTo>
                  <a:lnTo>
                    <a:pt x="5339" y="2974"/>
                  </a:lnTo>
                  <a:lnTo>
                    <a:pt x="5313" y="2955"/>
                  </a:lnTo>
                  <a:lnTo>
                    <a:pt x="5313" y="2951"/>
                  </a:lnTo>
                  <a:lnTo>
                    <a:pt x="5322" y="2955"/>
                  </a:lnTo>
                  <a:lnTo>
                    <a:pt x="5322" y="2955"/>
                  </a:lnTo>
                  <a:lnTo>
                    <a:pt x="5322" y="2955"/>
                  </a:lnTo>
                  <a:close/>
                  <a:moveTo>
                    <a:pt x="3364" y="2967"/>
                  </a:moveTo>
                  <a:lnTo>
                    <a:pt x="3352" y="2955"/>
                  </a:lnTo>
                  <a:lnTo>
                    <a:pt x="3369" y="2955"/>
                  </a:lnTo>
                  <a:lnTo>
                    <a:pt x="3364" y="2967"/>
                  </a:lnTo>
                  <a:lnTo>
                    <a:pt x="3364" y="2967"/>
                  </a:lnTo>
                  <a:lnTo>
                    <a:pt x="3364" y="2967"/>
                  </a:lnTo>
                  <a:close/>
                  <a:moveTo>
                    <a:pt x="5285" y="2967"/>
                  </a:moveTo>
                  <a:lnTo>
                    <a:pt x="5285" y="2974"/>
                  </a:lnTo>
                  <a:lnTo>
                    <a:pt x="5259" y="2974"/>
                  </a:lnTo>
                  <a:lnTo>
                    <a:pt x="5285" y="2967"/>
                  </a:lnTo>
                  <a:lnTo>
                    <a:pt x="5285" y="2967"/>
                  </a:lnTo>
                  <a:lnTo>
                    <a:pt x="5285" y="2967"/>
                  </a:lnTo>
                  <a:close/>
                  <a:moveTo>
                    <a:pt x="5355" y="2991"/>
                  </a:moveTo>
                  <a:lnTo>
                    <a:pt x="5355" y="3000"/>
                  </a:lnTo>
                  <a:lnTo>
                    <a:pt x="5355" y="3007"/>
                  </a:lnTo>
                  <a:lnTo>
                    <a:pt x="5339" y="3024"/>
                  </a:lnTo>
                  <a:lnTo>
                    <a:pt x="5301" y="2991"/>
                  </a:lnTo>
                  <a:lnTo>
                    <a:pt x="5327" y="2984"/>
                  </a:lnTo>
                  <a:lnTo>
                    <a:pt x="5355" y="2991"/>
                  </a:lnTo>
                  <a:lnTo>
                    <a:pt x="5355" y="2991"/>
                  </a:lnTo>
                  <a:lnTo>
                    <a:pt x="5355" y="2991"/>
                  </a:lnTo>
                  <a:close/>
                  <a:moveTo>
                    <a:pt x="4982" y="3057"/>
                  </a:moveTo>
                  <a:lnTo>
                    <a:pt x="4982" y="3062"/>
                  </a:lnTo>
                  <a:lnTo>
                    <a:pt x="4973" y="3057"/>
                  </a:lnTo>
                  <a:lnTo>
                    <a:pt x="4982" y="3057"/>
                  </a:lnTo>
                  <a:lnTo>
                    <a:pt x="4982" y="3057"/>
                  </a:lnTo>
                  <a:lnTo>
                    <a:pt x="4982" y="3057"/>
                  </a:lnTo>
                  <a:close/>
                  <a:moveTo>
                    <a:pt x="5124" y="3111"/>
                  </a:moveTo>
                  <a:lnTo>
                    <a:pt x="5138" y="3118"/>
                  </a:lnTo>
                  <a:lnTo>
                    <a:pt x="5129" y="3123"/>
                  </a:lnTo>
                  <a:lnTo>
                    <a:pt x="5091" y="3140"/>
                  </a:lnTo>
                  <a:lnTo>
                    <a:pt x="5112" y="3100"/>
                  </a:lnTo>
                  <a:lnTo>
                    <a:pt x="5124" y="3111"/>
                  </a:lnTo>
                  <a:lnTo>
                    <a:pt x="5124" y="3111"/>
                  </a:lnTo>
                  <a:lnTo>
                    <a:pt x="5124" y="3111"/>
                  </a:lnTo>
                  <a:close/>
                  <a:moveTo>
                    <a:pt x="5365" y="3123"/>
                  </a:moveTo>
                  <a:lnTo>
                    <a:pt x="5365" y="3135"/>
                  </a:lnTo>
                  <a:lnTo>
                    <a:pt x="5339" y="3118"/>
                  </a:lnTo>
                  <a:lnTo>
                    <a:pt x="5355" y="3118"/>
                  </a:lnTo>
                  <a:lnTo>
                    <a:pt x="5365" y="3123"/>
                  </a:lnTo>
                  <a:lnTo>
                    <a:pt x="5365" y="3123"/>
                  </a:lnTo>
                  <a:lnTo>
                    <a:pt x="5365" y="3123"/>
                  </a:lnTo>
                  <a:close/>
                  <a:moveTo>
                    <a:pt x="4281" y="3177"/>
                  </a:moveTo>
                  <a:lnTo>
                    <a:pt x="4281" y="3189"/>
                  </a:lnTo>
                  <a:lnTo>
                    <a:pt x="4264" y="3194"/>
                  </a:lnTo>
                  <a:lnTo>
                    <a:pt x="4281" y="3177"/>
                  </a:lnTo>
                  <a:lnTo>
                    <a:pt x="4281" y="3177"/>
                  </a:lnTo>
                  <a:lnTo>
                    <a:pt x="4281" y="3177"/>
                  </a:lnTo>
                  <a:close/>
                  <a:moveTo>
                    <a:pt x="5398" y="3177"/>
                  </a:moveTo>
                  <a:lnTo>
                    <a:pt x="5398" y="3194"/>
                  </a:lnTo>
                  <a:lnTo>
                    <a:pt x="5381" y="3194"/>
                  </a:lnTo>
                  <a:lnTo>
                    <a:pt x="5398" y="3177"/>
                  </a:lnTo>
                  <a:lnTo>
                    <a:pt x="5398" y="3177"/>
                  </a:lnTo>
                  <a:lnTo>
                    <a:pt x="5398" y="3177"/>
                  </a:lnTo>
                  <a:close/>
                  <a:moveTo>
                    <a:pt x="4264" y="3206"/>
                  </a:moveTo>
                  <a:lnTo>
                    <a:pt x="4259" y="3206"/>
                  </a:lnTo>
                  <a:lnTo>
                    <a:pt x="4264" y="3194"/>
                  </a:lnTo>
                  <a:lnTo>
                    <a:pt x="4264" y="3206"/>
                  </a:lnTo>
                  <a:lnTo>
                    <a:pt x="4264" y="3206"/>
                  </a:lnTo>
                  <a:lnTo>
                    <a:pt x="4264" y="3206"/>
                  </a:lnTo>
                  <a:close/>
                  <a:moveTo>
                    <a:pt x="5037" y="3263"/>
                  </a:moveTo>
                  <a:lnTo>
                    <a:pt x="5037" y="3279"/>
                  </a:lnTo>
                  <a:lnTo>
                    <a:pt x="5025" y="3279"/>
                  </a:lnTo>
                  <a:lnTo>
                    <a:pt x="5020" y="3263"/>
                  </a:lnTo>
                  <a:lnTo>
                    <a:pt x="5037" y="3263"/>
                  </a:lnTo>
                  <a:lnTo>
                    <a:pt x="5037" y="3263"/>
                  </a:lnTo>
                  <a:lnTo>
                    <a:pt x="5037" y="3263"/>
                  </a:lnTo>
                  <a:close/>
                  <a:moveTo>
                    <a:pt x="4373" y="3305"/>
                  </a:moveTo>
                  <a:lnTo>
                    <a:pt x="4389" y="3322"/>
                  </a:lnTo>
                  <a:lnTo>
                    <a:pt x="4373" y="3317"/>
                  </a:lnTo>
                  <a:lnTo>
                    <a:pt x="4373" y="3305"/>
                  </a:lnTo>
                  <a:lnTo>
                    <a:pt x="4373" y="3305"/>
                  </a:lnTo>
                  <a:lnTo>
                    <a:pt x="4373" y="3305"/>
                  </a:lnTo>
                  <a:close/>
                  <a:moveTo>
                    <a:pt x="5150" y="3338"/>
                  </a:moveTo>
                  <a:lnTo>
                    <a:pt x="5150" y="3350"/>
                  </a:lnTo>
                  <a:lnTo>
                    <a:pt x="5145" y="3350"/>
                  </a:lnTo>
                  <a:lnTo>
                    <a:pt x="5150" y="3338"/>
                  </a:lnTo>
                  <a:lnTo>
                    <a:pt x="5150" y="3338"/>
                  </a:lnTo>
                  <a:lnTo>
                    <a:pt x="5150" y="3338"/>
                  </a:lnTo>
                  <a:close/>
                  <a:moveTo>
                    <a:pt x="5544" y="3395"/>
                  </a:moveTo>
                  <a:lnTo>
                    <a:pt x="5544" y="3407"/>
                  </a:lnTo>
                  <a:lnTo>
                    <a:pt x="5528" y="3395"/>
                  </a:lnTo>
                  <a:lnTo>
                    <a:pt x="5537" y="3390"/>
                  </a:lnTo>
                  <a:lnTo>
                    <a:pt x="5544" y="3395"/>
                  </a:lnTo>
                  <a:lnTo>
                    <a:pt x="5544" y="3395"/>
                  </a:lnTo>
                  <a:lnTo>
                    <a:pt x="5544" y="3395"/>
                  </a:lnTo>
                  <a:close/>
                  <a:moveTo>
                    <a:pt x="5570" y="3407"/>
                  </a:moveTo>
                  <a:lnTo>
                    <a:pt x="5561" y="3411"/>
                  </a:lnTo>
                  <a:lnTo>
                    <a:pt x="5544" y="3407"/>
                  </a:lnTo>
                  <a:lnTo>
                    <a:pt x="5554" y="3395"/>
                  </a:lnTo>
                  <a:lnTo>
                    <a:pt x="5570" y="3407"/>
                  </a:lnTo>
                  <a:lnTo>
                    <a:pt x="5570" y="3407"/>
                  </a:lnTo>
                  <a:lnTo>
                    <a:pt x="5570" y="3407"/>
                  </a:lnTo>
                  <a:close/>
                  <a:moveTo>
                    <a:pt x="4297" y="3416"/>
                  </a:moveTo>
                  <a:lnTo>
                    <a:pt x="4285" y="3444"/>
                  </a:lnTo>
                  <a:lnTo>
                    <a:pt x="4285" y="3428"/>
                  </a:lnTo>
                  <a:lnTo>
                    <a:pt x="4297" y="3416"/>
                  </a:lnTo>
                  <a:lnTo>
                    <a:pt x="4297" y="3416"/>
                  </a:lnTo>
                  <a:lnTo>
                    <a:pt x="4297" y="3416"/>
                  </a:lnTo>
                  <a:close/>
                  <a:moveTo>
                    <a:pt x="5544" y="3433"/>
                  </a:moveTo>
                  <a:lnTo>
                    <a:pt x="5537" y="3428"/>
                  </a:lnTo>
                  <a:lnTo>
                    <a:pt x="5544" y="3416"/>
                  </a:lnTo>
                  <a:lnTo>
                    <a:pt x="5554" y="3428"/>
                  </a:lnTo>
                  <a:lnTo>
                    <a:pt x="5544" y="3433"/>
                  </a:lnTo>
                  <a:lnTo>
                    <a:pt x="5544" y="3433"/>
                  </a:lnTo>
                  <a:lnTo>
                    <a:pt x="5544" y="3433"/>
                  </a:lnTo>
                  <a:close/>
                  <a:moveTo>
                    <a:pt x="5570" y="3428"/>
                  </a:moveTo>
                  <a:lnTo>
                    <a:pt x="5570" y="3444"/>
                  </a:lnTo>
                  <a:lnTo>
                    <a:pt x="5544" y="3433"/>
                  </a:lnTo>
                  <a:lnTo>
                    <a:pt x="5570" y="3428"/>
                  </a:lnTo>
                  <a:lnTo>
                    <a:pt x="5570" y="3428"/>
                  </a:lnTo>
                  <a:lnTo>
                    <a:pt x="5570" y="3428"/>
                  </a:lnTo>
                  <a:close/>
                  <a:moveTo>
                    <a:pt x="4503" y="3444"/>
                  </a:moveTo>
                  <a:lnTo>
                    <a:pt x="4512" y="3449"/>
                  </a:lnTo>
                  <a:lnTo>
                    <a:pt x="4503" y="3444"/>
                  </a:lnTo>
                  <a:lnTo>
                    <a:pt x="4503" y="3444"/>
                  </a:lnTo>
                  <a:lnTo>
                    <a:pt x="4503" y="3444"/>
                  </a:lnTo>
                  <a:close/>
                  <a:moveTo>
                    <a:pt x="5561" y="3444"/>
                  </a:moveTo>
                  <a:lnTo>
                    <a:pt x="5570" y="3449"/>
                  </a:lnTo>
                  <a:lnTo>
                    <a:pt x="5554" y="3449"/>
                  </a:lnTo>
                  <a:lnTo>
                    <a:pt x="5561" y="3444"/>
                  </a:lnTo>
                  <a:lnTo>
                    <a:pt x="5561" y="3444"/>
                  </a:lnTo>
                  <a:lnTo>
                    <a:pt x="5561" y="3444"/>
                  </a:lnTo>
                  <a:close/>
                  <a:moveTo>
                    <a:pt x="5582" y="3489"/>
                  </a:moveTo>
                  <a:lnTo>
                    <a:pt x="5570" y="3506"/>
                  </a:lnTo>
                  <a:lnTo>
                    <a:pt x="5582" y="3506"/>
                  </a:lnTo>
                  <a:lnTo>
                    <a:pt x="5582" y="3522"/>
                  </a:lnTo>
                  <a:lnTo>
                    <a:pt x="5570" y="3506"/>
                  </a:lnTo>
                  <a:lnTo>
                    <a:pt x="5575" y="3489"/>
                  </a:lnTo>
                  <a:lnTo>
                    <a:pt x="5582" y="3489"/>
                  </a:lnTo>
                  <a:lnTo>
                    <a:pt x="5582" y="3489"/>
                  </a:lnTo>
                  <a:lnTo>
                    <a:pt x="5582" y="3489"/>
                  </a:lnTo>
                  <a:close/>
                  <a:moveTo>
                    <a:pt x="4297" y="3489"/>
                  </a:moveTo>
                  <a:lnTo>
                    <a:pt x="4297" y="3506"/>
                  </a:lnTo>
                  <a:lnTo>
                    <a:pt x="4285" y="3499"/>
                  </a:lnTo>
                  <a:lnTo>
                    <a:pt x="4297" y="3489"/>
                  </a:lnTo>
                  <a:lnTo>
                    <a:pt x="4297" y="3489"/>
                  </a:lnTo>
                  <a:lnTo>
                    <a:pt x="4297" y="3489"/>
                  </a:lnTo>
                  <a:close/>
                  <a:moveTo>
                    <a:pt x="4285" y="3499"/>
                  </a:moveTo>
                  <a:lnTo>
                    <a:pt x="4285" y="3506"/>
                  </a:lnTo>
                  <a:lnTo>
                    <a:pt x="4281" y="3506"/>
                  </a:lnTo>
                  <a:lnTo>
                    <a:pt x="4285" y="3499"/>
                  </a:lnTo>
                  <a:lnTo>
                    <a:pt x="4285" y="3499"/>
                  </a:lnTo>
                  <a:lnTo>
                    <a:pt x="4285" y="3499"/>
                  </a:lnTo>
                  <a:close/>
                  <a:moveTo>
                    <a:pt x="4314" y="3506"/>
                  </a:moveTo>
                  <a:lnTo>
                    <a:pt x="4314" y="3518"/>
                  </a:lnTo>
                  <a:lnTo>
                    <a:pt x="4314" y="3522"/>
                  </a:lnTo>
                  <a:lnTo>
                    <a:pt x="4314" y="3506"/>
                  </a:lnTo>
                  <a:lnTo>
                    <a:pt x="4314" y="3506"/>
                  </a:lnTo>
                  <a:lnTo>
                    <a:pt x="4314" y="3506"/>
                  </a:lnTo>
                  <a:close/>
                  <a:moveTo>
                    <a:pt x="5599" y="3522"/>
                  </a:moveTo>
                  <a:lnTo>
                    <a:pt x="5599" y="3518"/>
                  </a:lnTo>
                  <a:lnTo>
                    <a:pt x="5608" y="3518"/>
                  </a:lnTo>
                  <a:lnTo>
                    <a:pt x="5599" y="3522"/>
                  </a:lnTo>
                  <a:lnTo>
                    <a:pt x="5599" y="3522"/>
                  </a:lnTo>
                  <a:lnTo>
                    <a:pt x="5599" y="3522"/>
                  </a:lnTo>
                  <a:close/>
                  <a:moveTo>
                    <a:pt x="4335" y="3518"/>
                  </a:moveTo>
                  <a:lnTo>
                    <a:pt x="4340" y="3522"/>
                  </a:lnTo>
                  <a:lnTo>
                    <a:pt x="4323" y="3522"/>
                  </a:lnTo>
                  <a:lnTo>
                    <a:pt x="4335" y="3518"/>
                  </a:lnTo>
                  <a:lnTo>
                    <a:pt x="4335" y="3518"/>
                  </a:lnTo>
                  <a:lnTo>
                    <a:pt x="4335" y="3518"/>
                  </a:lnTo>
                  <a:close/>
                  <a:moveTo>
                    <a:pt x="4297" y="3610"/>
                  </a:moveTo>
                  <a:lnTo>
                    <a:pt x="4314" y="3572"/>
                  </a:lnTo>
                  <a:lnTo>
                    <a:pt x="4285" y="3600"/>
                  </a:lnTo>
                  <a:lnTo>
                    <a:pt x="4281" y="3593"/>
                  </a:lnTo>
                  <a:lnTo>
                    <a:pt x="4281" y="3584"/>
                  </a:lnTo>
                  <a:lnTo>
                    <a:pt x="4302" y="3560"/>
                  </a:lnTo>
                  <a:lnTo>
                    <a:pt x="4318" y="3527"/>
                  </a:lnTo>
                  <a:lnTo>
                    <a:pt x="4318" y="3539"/>
                  </a:lnTo>
                  <a:lnTo>
                    <a:pt x="4314" y="3572"/>
                  </a:lnTo>
                  <a:lnTo>
                    <a:pt x="4318" y="3560"/>
                  </a:lnTo>
                  <a:lnTo>
                    <a:pt x="4323" y="3527"/>
                  </a:lnTo>
                  <a:lnTo>
                    <a:pt x="4352" y="3539"/>
                  </a:lnTo>
                  <a:lnTo>
                    <a:pt x="4335" y="3593"/>
                  </a:lnTo>
                  <a:lnTo>
                    <a:pt x="4352" y="3544"/>
                  </a:lnTo>
                  <a:lnTo>
                    <a:pt x="4323" y="3600"/>
                  </a:lnTo>
                  <a:lnTo>
                    <a:pt x="4335" y="3560"/>
                  </a:lnTo>
                  <a:lnTo>
                    <a:pt x="4318" y="3600"/>
                  </a:lnTo>
                  <a:lnTo>
                    <a:pt x="4297" y="3610"/>
                  </a:lnTo>
                  <a:lnTo>
                    <a:pt x="4297" y="3610"/>
                  </a:lnTo>
                  <a:lnTo>
                    <a:pt x="4297" y="3610"/>
                  </a:lnTo>
                  <a:close/>
                  <a:moveTo>
                    <a:pt x="5570" y="3527"/>
                  </a:moveTo>
                  <a:lnTo>
                    <a:pt x="5599" y="3539"/>
                  </a:lnTo>
                  <a:lnTo>
                    <a:pt x="5570" y="3539"/>
                  </a:lnTo>
                  <a:lnTo>
                    <a:pt x="5582" y="3539"/>
                  </a:lnTo>
                  <a:lnTo>
                    <a:pt x="5570" y="3527"/>
                  </a:lnTo>
                  <a:lnTo>
                    <a:pt x="5570" y="3527"/>
                  </a:lnTo>
                  <a:lnTo>
                    <a:pt x="5570" y="3527"/>
                  </a:lnTo>
                  <a:close/>
                  <a:moveTo>
                    <a:pt x="4271" y="3572"/>
                  </a:moveTo>
                  <a:lnTo>
                    <a:pt x="4271" y="3555"/>
                  </a:lnTo>
                  <a:lnTo>
                    <a:pt x="4297" y="3544"/>
                  </a:lnTo>
                  <a:lnTo>
                    <a:pt x="4314" y="3527"/>
                  </a:lnTo>
                  <a:lnTo>
                    <a:pt x="4302" y="3555"/>
                  </a:lnTo>
                  <a:lnTo>
                    <a:pt x="4271" y="3572"/>
                  </a:lnTo>
                  <a:lnTo>
                    <a:pt x="4271" y="3572"/>
                  </a:lnTo>
                  <a:lnTo>
                    <a:pt x="4271" y="3572"/>
                  </a:lnTo>
                  <a:close/>
                  <a:moveTo>
                    <a:pt x="4352" y="3572"/>
                  </a:moveTo>
                  <a:lnTo>
                    <a:pt x="4356" y="3544"/>
                  </a:lnTo>
                  <a:lnTo>
                    <a:pt x="4373" y="3539"/>
                  </a:lnTo>
                  <a:lnTo>
                    <a:pt x="4373" y="3572"/>
                  </a:lnTo>
                  <a:lnTo>
                    <a:pt x="4352" y="3572"/>
                  </a:lnTo>
                  <a:lnTo>
                    <a:pt x="4352" y="3572"/>
                  </a:lnTo>
                  <a:lnTo>
                    <a:pt x="4352" y="3572"/>
                  </a:lnTo>
                  <a:close/>
                  <a:moveTo>
                    <a:pt x="5570" y="3544"/>
                  </a:moveTo>
                  <a:lnTo>
                    <a:pt x="5582" y="3555"/>
                  </a:lnTo>
                  <a:lnTo>
                    <a:pt x="5554" y="3544"/>
                  </a:lnTo>
                  <a:lnTo>
                    <a:pt x="5570" y="3544"/>
                  </a:lnTo>
                  <a:lnTo>
                    <a:pt x="5570" y="3544"/>
                  </a:lnTo>
                  <a:lnTo>
                    <a:pt x="5570" y="3544"/>
                  </a:lnTo>
                  <a:close/>
                  <a:moveTo>
                    <a:pt x="5608" y="3572"/>
                  </a:moveTo>
                  <a:lnTo>
                    <a:pt x="5613" y="3584"/>
                  </a:lnTo>
                  <a:lnTo>
                    <a:pt x="5592" y="3577"/>
                  </a:lnTo>
                  <a:lnTo>
                    <a:pt x="5608" y="3572"/>
                  </a:lnTo>
                  <a:lnTo>
                    <a:pt x="5608" y="3572"/>
                  </a:lnTo>
                  <a:lnTo>
                    <a:pt x="5608" y="3572"/>
                  </a:lnTo>
                  <a:close/>
                  <a:moveTo>
                    <a:pt x="4352" y="3577"/>
                  </a:moveTo>
                  <a:lnTo>
                    <a:pt x="4352" y="3584"/>
                  </a:lnTo>
                  <a:lnTo>
                    <a:pt x="4340" y="3610"/>
                  </a:lnTo>
                  <a:lnTo>
                    <a:pt x="4352" y="3577"/>
                  </a:lnTo>
                  <a:lnTo>
                    <a:pt x="4352" y="3577"/>
                  </a:lnTo>
                  <a:lnTo>
                    <a:pt x="4352" y="3577"/>
                  </a:lnTo>
                  <a:close/>
                  <a:moveTo>
                    <a:pt x="5629" y="3593"/>
                  </a:moveTo>
                  <a:lnTo>
                    <a:pt x="5613" y="3600"/>
                  </a:lnTo>
                  <a:lnTo>
                    <a:pt x="5625" y="3593"/>
                  </a:lnTo>
                  <a:lnTo>
                    <a:pt x="5629" y="3593"/>
                  </a:lnTo>
                  <a:lnTo>
                    <a:pt x="5629" y="3593"/>
                  </a:lnTo>
                  <a:lnTo>
                    <a:pt x="5629" y="3593"/>
                  </a:lnTo>
                  <a:close/>
                  <a:moveTo>
                    <a:pt x="5613" y="3593"/>
                  </a:moveTo>
                  <a:lnTo>
                    <a:pt x="5608" y="3600"/>
                  </a:lnTo>
                  <a:lnTo>
                    <a:pt x="5608" y="3593"/>
                  </a:lnTo>
                  <a:lnTo>
                    <a:pt x="5613" y="3593"/>
                  </a:lnTo>
                  <a:lnTo>
                    <a:pt x="5613" y="3593"/>
                  </a:lnTo>
                  <a:lnTo>
                    <a:pt x="5613" y="3593"/>
                  </a:lnTo>
                  <a:close/>
                  <a:moveTo>
                    <a:pt x="763" y="3683"/>
                  </a:moveTo>
                  <a:lnTo>
                    <a:pt x="756" y="3704"/>
                  </a:lnTo>
                  <a:lnTo>
                    <a:pt x="747" y="3711"/>
                  </a:lnTo>
                  <a:lnTo>
                    <a:pt x="740" y="3704"/>
                  </a:lnTo>
                  <a:lnTo>
                    <a:pt x="763" y="3683"/>
                  </a:lnTo>
                  <a:lnTo>
                    <a:pt x="763" y="3683"/>
                  </a:lnTo>
                  <a:lnTo>
                    <a:pt x="763" y="3683"/>
                  </a:lnTo>
                  <a:close/>
                  <a:moveTo>
                    <a:pt x="5826" y="3695"/>
                  </a:moveTo>
                  <a:lnTo>
                    <a:pt x="5826" y="3704"/>
                  </a:lnTo>
                  <a:lnTo>
                    <a:pt x="5830" y="3704"/>
                  </a:lnTo>
                  <a:lnTo>
                    <a:pt x="5814" y="3711"/>
                  </a:lnTo>
                  <a:lnTo>
                    <a:pt x="5809" y="3704"/>
                  </a:lnTo>
                  <a:lnTo>
                    <a:pt x="5826" y="3695"/>
                  </a:lnTo>
                  <a:lnTo>
                    <a:pt x="5826" y="3695"/>
                  </a:lnTo>
                  <a:lnTo>
                    <a:pt x="5826" y="3695"/>
                  </a:lnTo>
                  <a:close/>
                  <a:moveTo>
                    <a:pt x="740" y="3704"/>
                  </a:moveTo>
                  <a:lnTo>
                    <a:pt x="740" y="3711"/>
                  </a:lnTo>
                  <a:lnTo>
                    <a:pt x="735" y="3711"/>
                  </a:lnTo>
                  <a:lnTo>
                    <a:pt x="740" y="3704"/>
                  </a:lnTo>
                  <a:lnTo>
                    <a:pt x="740" y="3704"/>
                  </a:lnTo>
                  <a:lnTo>
                    <a:pt x="740" y="3704"/>
                  </a:lnTo>
                  <a:close/>
                  <a:moveTo>
                    <a:pt x="719" y="3728"/>
                  </a:moveTo>
                  <a:lnTo>
                    <a:pt x="702" y="3744"/>
                  </a:lnTo>
                  <a:lnTo>
                    <a:pt x="709" y="3721"/>
                  </a:lnTo>
                  <a:lnTo>
                    <a:pt x="719" y="3728"/>
                  </a:lnTo>
                  <a:lnTo>
                    <a:pt x="719" y="3728"/>
                  </a:lnTo>
                  <a:lnTo>
                    <a:pt x="719" y="3728"/>
                  </a:lnTo>
                  <a:close/>
                  <a:moveTo>
                    <a:pt x="5868" y="3728"/>
                  </a:moveTo>
                  <a:lnTo>
                    <a:pt x="5878" y="3737"/>
                  </a:lnTo>
                  <a:lnTo>
                    <a:pt x="5868" y="3737"/>
                  </a:lnTo>
                  <a:lnTo>
                    <a:pt x="5868" y="3728"/>
                  </a:lnTo>
                  <a:lnTo>
                    <a:pt x="5868" y="3728"/>
                  </a:lnTo>
                  <a:lnTo>
                    <a:pt x="5868" y="3728"/>
                  </a:lnTo>
                  <a:close/>
                  <a:moveTo>
                    <a:pt x="719" y="3766"/>
                  </a:moveTo>
                  <a:lnTo>
                    <a:pt x="726" y="3777"/>
                  </a:lnTo>
                  <a:lnTo>
                    <a:pt x="719" y="3766"/>
                  </a:lnTo>
                  <a:lnTo>
                    <a:pt x="719" y="3766"/>
                  </a:lnTo>
                  <a:lnTo>
                    <a:pt x="719" y="3766"/>
                  </a:lnTo>
                  <a:close/>
                  <a:moveTo>
                    <a:pt x="756" y="3766"/>
                  </a:moveTo>
                  <a:lnTo>
                    <a:pt x="763" y="3766"/>
                  </a:lnTo>
                  <a:lnTo>
                    <a:pt x="756" y="3777"/>
                  </a:lnTo>
                  <a:lnTo>
                    <a:pt x="756" y="3766"/>
                  </a:lnTo>
                  <a:lnTo>
                    <a:pt x="756" y="3766"/>
                  </a:lnTo>
                  <a:lnTo>
                    <a:pt x="756" y="3766"/>
                  </a:lnTo>
                  <a:close/>
                  <a:moveTo>
                    <a:pt x="563" y="3815"/>
                  </a:moveTo>
                  <a:lnTo>
                    <a:pt x="558" y="3799"/>
                  </a:lnTo>
                  <a:lnTo>
                    <a:pt x="558" y="3782"/>
                  </a:lnTo>
                  <a:lnTo>
                    <a:pt x="558" y="3766"/>
                  </a:lnTo>
                  <a:lnTo>
                    <a:pt x="596" y="3777"/>
                  </a:lnTo>
                  <a:lnTo>
                    <a:pt x="584" y="3794"/>
                  </a:lnTo>
                  <a:lnTo>
                    <a:pt x="600" y="3777"/>
                  </a:lnTo>
                  <a:lnTo>
                    <a:pt x="617" y="3777"/>
                  </a:lnTo>
                  <a:lnTo>
                    <a:pt x="626" y="3799"/>
                  </a:lnTo>
                  <a:lnTo>
                    <a:pt x="584" y="3815"/>
                  </a:lnTo>
                  <a:lnTo>
                    <a:pt x="600" y="3822"/>
                  </a:lnTo>
                  <a:lnTo>
                    <a:pt x="626" y="3815"/>
                  </a:lnTo>
                  <a:lnTo>
                    <a:pt x="626" y="3782"/>
                  </a:lnTo>
                  <a:lnTo>
                    <a:pt x="655" y="3766"/>
                  </a:lnTo>
                  <a:lnTo>
                    <a:pt x="638" y="3822"/>
                  </a:lnTo>
                  <a:lnTo>
                    <a:pt x="638" y="3848"/>
                  </a:lnTo>
                  <a:lnTo>
                    <a:pt x="633" y="3860"/>
                  </a:lnTo>
                  <a:lnTo>
                    <a:pt x="612" y="3860"/>
                  </a:lnTo>
                  <a:lnTo>
                    <a:pt x="626" y="3872"/>
                  </a:lnTo>
                  <a:lnTo>
                    <a:pt x="600" y="3872"/>
                  </a:lnTo>
                  <a:lnTo>
                    <a:pt x="584" y="3855"/>
                  </a:lnTo>
                  <a:lnTo>
                    <a:pt x="596" y="3855"/>
                  </a:lnTo>
                  <a:lnTo>
                    <a:pt x="579" y="3855"/>
                  </a:lnTo>
                  <a:lnTo>
                    <a:pt x="584" y="3848"/>
                  </a:lnTo>
                  <a:lnTo>
                    <a:pt x="600" y="3855"/>
                  </a:lnTo>
                  <a:lnTo>
                    <a:pt x="574" y="3839"/>
                  </a:lnTo>
                  <a:lnTo>
                    <a:pt x="563" y="3822"/>
                  </a:lnTo>
                  <a:lnTo>
                    <a:pt x="574" y="3822"/>
                  </a:lnTo>
                  <a:lnTo>
                    <a:pt x="563" y="3815"/>
                  </a:lnTo>
                  <a:lnTo>
                    <a:pt x="563" y="3815"/>
                  </a:lnTo>
                  <a:lnTo>
                    <a:pt x="563" y="3815"/>
                  </a:lnTo>
                  <a:close/>
                  <a:moveTo>
                    <a:pt x="747" y="3777"/>
                  </a:moveTo>
                  <a:lnTo>
                    <a:pt x="756" y="3794"/>
                  </a:lnTo>
                  <a:lnTo>
                    <a:pt x="747" y="3799"/>
                  </a:lnTo>
                  <a:lnTo>
                    <a:pt x="740" y="3799"/>
                  </a:lnTo>
                  <a:lnTo>
                    <a:pt x="747" y="3782"/>
                  </a:lnTo>
                  <a:lnTo>
                    <a:pt x="735" y="3794"/>
                  </a:lnTo>
                  <a:lnTo>
                    <a:pt x="726" y="3794"/>
                  </a:lnTo>
                  <a:lnTo>
                    <a:pt x="735" y="3799"/>
                  </a:lnTo>
                  <a:lnTo>
                    <a:pt x="726" y="3799"/>
                  </a:lnTo>
                  <a:lnTo>
                    <a:pt x="726" y="3782"/>
                  </a:lnTo>
                  <a:lnTo>
                    <a:pt x="747" y="3777"/>
                  </a:lnTo>
                  <a:lnTo>
                    <a:pt x="747" y="3777"/>
                  </a:lnTo>
                  <a:lnTo>
                    <a:pt x="747" y="3777"/>
                  </a:lnTo>
                  <a:close/>
                  <a:moveTo>
                    <a:pt x="801" y="3860"/>
                  </a:moveTo>
                  <a:lnTo>
                    <a:pt x="789" y="3848"/>
                  </a:lnTo>
                  <a:lnTo>
                    <a:pt x="778" y="3832"/>
                  </a:lnTo>
                  <a:lnTo>
                    <a:pt x="773" y="3822"/>
                  </a:lnTo>
                  <a:lnTo>
                    <a:pt x="778" y="3822"/>
                  </a:lnTo>
                  <a:lnTo>
                    <a:pt x="763" y="3815"/>
                  </a:lnTo>
                  <a:lnTo>
                    <a:pt x="756" y="3799"/>
                  </a:lnTo>
                  <a:lnTo>
                    <a:pt x="773" y="3806"/>
                  </a:lnTo>
                  <a:lnTo>
                    <a:pt x="811" y="3848"/>
                  </a:lnTo>
                  <a:lnTo>
                    <a:pt x="811" y="3860"/>
                  </a:lnTo>
                  <a:lnTo>
                    <a:pt x="801" y="3860"/>
                  </a:lnTo>
                  <a:lnTo>
                    <a:pt x="801" y="3860"/>
                  </a:lnTo>
                  <a:lnTo>
                    <a:pt x="801" y="3860"/>
                  </a:lnTo>
                  <a:close/>
                  <a:moveTo>
                    <a:pt x="756" y="3806"/>
                  </a:moveTo>
                  <a:lnTo>
                    <a:pt x="763" y="3832"/>
                  </a:lnTo>
                  <a:lnTo>
                    <a:pt x="747" y="3815"/>
                  </a:lnTo>
                  <a:lnTo>
                    <a:pt x="756" y="3806"/>
                  </a:lnTo>
                  <a:lnTo>
                    <a:pt x="756" y="3806"/>
                  </a:lnTo>
                  <a:lnTo>
                    <a:pt x="756" y="3806"/>
                  </a:lnTo>
                  <a:close/>
                  <a:moveTo>
                    <a:pt x="853" y="3815"/>
                  </a:moveTo>
                  <a:lnTo>
                    <a:pt x="832" y="3848"/>
                  </a:lnTo>
                  <a:lnTo>
                    <a:pt x="832" y="3822"/>
                  </a:lnTo>
                  <a:lnTo>
                    <a:pt x="853" y="3815"/>
                  </a:lnTo>
                  <a:lnTo>
                    <a:pt x="853" y="3815"/>
                  </a:lnTo>
                  <a:lnTo>
                    <a:pt x="853" y="3815"/>
                  </a:lnTo>
                  <a:close/>
                  <a:moveTo>
                    <a:pt x="747" y="3822"/>
                  </a:moveTo>
                  <a:lnTo>
                    <a:pt x="778" y="3839"/>
                  </a:lnTo>
                  <a:lnTo>
                    <a:pt x="794" y="3860"/>
                  </a:lnTo>
                  <a:lnTo>
                    <a:pt x="778" y="3872"/>
                  </a:lnTo>
                  <a:lnTo>
                    <a:pt x="735" y="3832"/>
                  </a:lnTo>
                  <a:lnTo>
                    <a:pt x="740" y="3822"/>
                  </a:lnTo>
                  <a:lnTo>
                    <a:pt x="747" y="3822"/>
                  </a:lnTo>
                  <a:lnTo>
                    <a:pt x="747" y="3822"/>
                  </a:lnTo>
                  <a:lnTo>
                    <a:pt x="747" y="3822"/>
                  </a:lnTo>
                  <a:close/>
                  <a:moveTo>
                    <a:pt x="844" y="3832"/>
                  </a:moveTo>
                  <a:lnTo>
                    <a:pt x="848" y="3855"/>
                  </a:lnTo>
                  <a:lnTo>
                    <a:pt x="832" y="3855"/>
                  </a:lnTo>
                  <a:lnTo>
                    <a:pt x="844" y="3832"/>
                  </a:lnTo>
                  <a:lnTo>
                    <a:pt x="844" y="3832"/>
                  </a:lnTo>
                  <a:lnTo>
                    <a:pt x="844" y="3832"/>
                  </a:lnTo>
                  <a:close/>
                  <a:moveTo>
                    <a:pt x="5970" y="3839"/>
                  </a:moveTo>
                  <a:lnTo>
                    <a:pt x="5977" y="3839"/>
                  </a:lnTo>
                  <a:lnTo>
                    <a:pt x="5977" y="3848"/>
                  </a:lnTo>
                  <a:lnTo>
                    <a:pt x="5960" y="3839"/>
                  </a:lnTo>
                  <a:lnTo>
                    <a:pt x="5970" y="3839"/>
                  </a:lnTo>
                  <a:lnTo>
                    <a:pt x="5970" y="3839"/>
                  </a:lnTo>
                  <a:lnTo>
                    <a:pt x="5970" y="3839"/>
                  </a:lnTo>
                  <a:close/>
                  <a:moveTo>
                    <a:pt x="815" y="3848"/>
                  </a:moveTo>
                  <a:lnTo>
                    <a:pt x="815" y="3855"/>
                  </a:lnTo>
                  <a:lnTo>
                    <a:pt x="811" y="3848"/>
                  </a:lnTo>
                  <a:lnTo>
                    <a:pt x="815" y="3848"/>
                  </a:lnTo>
                  <a:lnTo>
                    <a:pt x="815" y="3848"/>
                  </a:lnTo>
                  <a:lnTo>
                    <a:pt x="815" y="3848"/>
                  </a:lnTo>
                  <a:close/>
                  <a:moveTo>
                    <a:pt x="4281" y="3848"/>
                  </a:moveTo>
                  <a:lnTo>
                    <a:pt x="4281" y="3855"/>
                  </a:lnTo>
                  <a:lnTo>
                    <a:pt x="4271" y="3855"/>
                  </a:lnTo>
                  <a:lnTo>
                    <a:pt x="4281" y="3848"/>
                  </a:lnTo>
                  <a:lnTo>
                    <a:pt x="4281" y="3848"/>
                  </a:lnTo>
                  <a:lnTo>
                    <a:pt x="4281" y="3848"/>
                  </a:lnTo>
                  <a:close/>
                  <a:moveTo>
                    <a:pt x="827" y="3855"/>
                  </a:moveTo>
                  <a:lnTo>
                    <a:pt x="832" y="3872"/>
                  </a:lnTo>
                  <a:lnTo>
                    <a:pt x="815" y="3872"/>
                  </a:lnTo>
                  <a:lnTo>
                    <a:pt x="827" y="3855"/>
                  </a:lnTo>
                  <a:lnTo>
                    <a:pt x="827" y="3855"/>
                  </a:lnTo>
                  <a:lnTo>
                    <a:pt x="827" y="3855"/>
                  </a:lnTo>
                  <a:close/>
                  <a:moveTo>
                    <a:pt x="832" y="3905"/>
                  </a:moveTo>
                  <a:lnTo>
                    <a:pt x="853" y="3877"/>
                  </a:lnTo>
                  <a:lnTo>
                    <a:pt x="844" y="3872"/>
                  </a:lnTo>
                  <a:lnTo>
                    <a:pt x="853" y="3877"/>
                  </a:lnTo>
                  <a:lnTo>
                    <a:pt x="832" y="3893"/>
                  </a:lnTo>
                  <a:lnTo>
                    <a:pt x="844" y="3855"/>
                  </a:lnTo>
                  <a:lnTo>
                    <a:pt x="870" y="3872"/>
                  </a:lnTo>
                  <a:lnTo>
                    <a:pt x="870" y="3877"/>
                  </a:lnTo>
                  <a:lnTo>
                    <a:pt x="870" y="3917"/>
                  </a:lnTo>
                  <a:lnTo>
                    <a:pt x="865" y="3926"/>
                  </a:lnTo>
                  <a:lnTo>
                    <a:pt x="865" y="3888"/>
                  </a:lnTo>
                  <a:lnTo>
                    <a:pt x="853" y="3917"/>
                  </a:lnTo>
                  <a:lnTo>
                    <a:pt x="844" y="3910"/>
                  </a:lnTo>
                  <a:lnTo>
                    <a:pt x="832" y="3905"/>
                  </a:lnTo>
                  <a:lnTo>
                    <a:pt x="832" y="3905"/>
                  </a:lnTo>
                  <a:lnTo>
                    <a:pt x="832" y="3905"/>
                  </a:lnTo>
                  <a:close/>
                  <a:moveTo>
                    <a:pt x="617" y="3893"/>
                  </a:moveTo>
                  <a:lnTo>
                    <a:pt x="626" y="3888"/>
                  </a:lnTo>
                  <a:lnTo>
                    <a:pt x="600" y="3877"/>
                  </a:lnTo>
                  <a:lnTo>
                    <a:pt x="596" y="3872"/>
                  </a:lnTo>
                  <a:lnTo>
                    <a:pt x="626" y="3872"/>
                  </a:lnTo>
                  <a:lnTo>
                    <a:pt x="650" y="3860"/>
                  </a:lnTo>
                  <a:lnTo>
                    <a:pt x="664" y="3877"/>
                  </a:lnTo>
                  <a:lnTo>
                    <a:pt x="633" y="3877"/>
                  </a:lnTo>
                  <a:lnTo>
                    <a:pt x="655" y="3888"/>
                  </a:lnTo>
                  <a:lnTo>
                    <a:pt x="655" y="3893"/>
                  </a:lnTo>
                  <a:lnTo>
                    <a:pt x="633" y="3893"/>
                  </a:lnTo>
                  <a:lnTo>
                    <a:pt x="638" y="3893"/>
                  </a:lnTo>
                  <a:lnTo>
                    <a:pt x="671" y="3943"/>
                  </a:lnTo>
                  <a:lnTo>
                    <a:pt x="688" y="3943"/>
                  </a:lnTo>
                  <a:lnTo>
                    <a:pt x="681" y="3950"/>
                  </a:lnTo>
                  <a:lnTo>
                    <a:pt x="693" y="3950"/>
                  </a:lnTo>
                  <a:lnTo>
                    <a:pt x="702" y="3966"/>
                  </a:lnTo>
                  <a:lnTo>
                    <a:pt x="688" y="3966"/>
                  </a:lnTo>
                  <a:lnTo>
                    <a:pt x="664" y="3950"/>
                  </a:lnTo>
                  <a:lnTo>
                    <a:pt x="664" y="3943"/>
                  </a:lnTo>
                  <a:lnTo>
                    <a:pt x="626" y="3910"/>
                  </a:lnTo>
                  <a:lnTo>
                    <a:pt x="638" y="3910"/>
                  </a:lnTo>
                  <a:lnTo>
                    <a:pt x="633" y="3905"/>
                  </a:lnTo>
                  <a:lnTo>
                    <a:pt x="626" y="3910"/>
                  </a:lnTo>
                  <a:lnTo>
                    <a:pt x="612" y="3888"/>
                  </a:lnTo>
                  <a:lnTo>
                    <a:pt x="617" y="3893"/>
                  </a:lnTo>
                  <a:lnTo>
                    <a:pt x="617" y="3893"/>
                  </a:lnTo>
                  <a:lnTo>
                    <a:pt x="617" y="3893"/>
                  </a:lnTo>
                  <a:close/>
                  <a:moveTo>
                    <a:pt x="4205" y="3860"/>
                  </a:moveTo>
                  <a:lnTo>
                    <a:pt x="4226" y="3893"/>
                  </a:lnTo>
                  <a:lnTo>
                    <a:pt x="4226" y="3910"/>
                  </a:lnTo>
                  <a:lnTo>
                    <a:pt x="4134" y="3877"/>
                  </a:lnTo>
                  <a:lnTo>
                    <a:pt x="4151" y="3860"/>
                  </a:lnTo>
                  <a:lnTo>
                    <a:pt x="4205" y="3860"/>
                  </a:lnTo>
                  <a:lnTo>
                    <a:pt x="4205" y="3860"/>
                  </a:lnTo>
                  <a:lnTo>
                    <a:pt x="4205" y="3860"/>
                  </a:lnTo>
                  <a:close/>
                  <a:moveTo>
                    <a:pt x="811" y="3860"/>
                  </a:moveTo>
                  <a:lnTo>
                    <a:pt x="827" y="3888"/>
                  </a:lnTo>
                  <a:lnTo>
                    <a:pt x="801" y="3872"/>
                  </a:lnTo>
                  <a:lnTo>
                    <a:pt x="811" y="3860"/>
                  </a:lnTo>
                  <a:lnTo>
                    <a:pt x="811" y="3860"/>
                  </a:lnTo>
                  <a:lnTo>
                    <a:pt x="811" y="3860"/>
                  </a:lnTo>
                  <a:close/>
                  <a:moveTo>
                    <a:pt x="4285" y="3872"/>
                  </a:moveTo>
                  <a:lnTo>
                    <a:pt x="4297" y="3872"/>
                  </a:lnTo>
                  <a:lnTo>
                    <a:pt x="4281" y="3877"/>
                  </a:lnTo>
                  <a:lnTo>
                    <a:pt x="4285" y="3872"/>
                  </a:lnTo>
                  <a:lnTo>
                    <a:pt x="4285" y="3872"/>
                  </a:lnTo>
                  <a:lnTo>
                    <a:pt x="4285" y="3872"/>
                  </a:lnTo>
                  <a:close/>
                  <a:moveTo>
                    <a:pt x="794" y="3872"/>
                  </a:moveTo>
                  <a:lnTo>
                    <a:pt x="801" y="3877"/>
                  </a:lnTo>
                  <a:lnTo>
                    <a:pt x="794" y="3872"/>
                  </a:lnTo>
                  <a:lnTo>
                    <a:pt x="794" y="3872"/>
                  </a:lnTo>
                  <a:lnTo>
                    <a:pt x="794" y="3872"/>
                  </a:lnTo>
                  <a:close/>
                  <a:moveTo>
                    <a:pt x="5977" y="3877"/>
                  </a:moveTo>
                  <a:lnTo>
                    <a:pt x="5970" y="3877"/>
                  </a:lnTo>
                  <a:lnTo>
                    <a:pt x="5977" y="3877"/>
                  </a:lnTo>
                  <a:lnTo>
                    <a:pt x="5977" y="3877"/>
                  </a:lnTo>
                  <a:lnTo>
                    <a:pt x="5977" y="3877"/>
                  </a:lnTo>
                  <a:close/>
                  <a:moveTo>
                    <a:pt x="801" y="3877"/>
                  </a:moveTo>
                  <a:lnTo>
                    <a:pt x="811" y="3877"/>
                  </a:lnTo>
                  <a:lnTo>
                    <a:pt x="794" y="3877"/>
                  </a:lnTo>
                  <a:lnTo>
                    <a:pt x="801" y="3877"/>
                  </a:lnTo>
                  <a:lnTo>
                    <a:pt x="801" y="3877"/>
                  </a:lnTo>
                  <a:lnTo>
                    <a:pt x="801" y="3877"/>
                  </a:lnTo>
                  <a:close/>
                  <a:moveTo>
                    <a:pt x="801" y="3888"/>
                  </a:moveTo>
                  <a:lnTo>
                    <a:pt x="794" y="3877"/>
                  </a:lnTo>
                  <a:lnTo>
                    <a:pt x="801" y="3888"/>
                  </a:lnTo>
                  <a:lnTo>
                    <a:pt x="801" y="3888"/>
                  </a:lnTo>
                  <a:lnTo>
                    <a:pt x="801" y="3888"/>
                  </a:lnTo>
                  <a:close/>
                  <a:moveTo>
                    <a:pt x="903" y="3905"/>
                  </a:moveTo>
                  <a:lnTo>
                    <a:pt x="898" y="3926"/>
                  </a:lnTo>
                  <a:lnTo>
                    <a:pt x="886" y="3905"/>
                  </a:lnTo>
                  <a:lnTo>
                    <a:pt x="903" y="3905"/>
                  </a:lnTo>
                  <a:lnTo>
                    <a:pt x="903" y="3905"/>
                  </a:lnTo>
                  <a:lnTo>
                    <a:pt x="903" y="3905"/>
                  </a:lnTo>
                  <a:close/>
                  <a:moveTo>
                    <a:pt x="827" y="3905"/>
                  </a:moveTo>
                  <a:lnTo>
                    <a:pt x="848" y="3917"/>
                  </a:lnTo>
                  <a:lnTo>
                    <a:pt x="848" y="3933"/>
                  </a:lnTo>
                  <a:lnTo>
                    <a:pt x="827" y="3910"/>
                  </a:lnTo>
                  <a:lnTo>
                    <a:pt x="827" y="3905"/>
                  </a:lnTo>
                  <a:lnTo>
                    <a:pt x="827" y="3905"/>
                  </a:lnTo>
                  <a:lnTo>
                    <a:pt x="827" y="3905"/>
                  </a:lnTo>
                  <a:close/>
                  <a:moveTo>
                    <a:pt x="886" y="3905"/>
                  </a:moveTo>
                  <a:lnTo>
                    <a:pt x="898" y="3933"/>
                  </a:lnTo>
                  <a:lnTo>
                    <a:pt x="882" y="3943"/>
                  </a:lnTo>
                  <a:lnTo>
                    <a:pt x="882" y="3910"/>
                  </a:lnTo>
                  <a:lnTo>
                    <a:pt x="886" y="3905"/>
                  </a:lnTo>
                  <a:lnTo>
                    <a:pt x="886" y="3905"/>
                  </a:lnTo>
                  <a:lnTo>
                    <a:pt x="886" y="3905"/>
                  </a:lnTo>
                  <a:close/>
                  <a:moveTo>
                    <a:pt x="671" y="3910"/>
                  </a:moveTo>
                  <a:lnTo>
                    <a:pt x="671" y="3917"/>
                  </a:lnTo>
                  <a:lnTo>
                    <a:pt x="664" y="3926"/>
                  </a:lnTo>
                  <a:lnTo>
                    <a:pt x="655" y="3910"/>
                  </a:lnTo>
                  <a:lnTo>
                    <a:pt x="671" y="3910"/>
                  </a:lnTo>
                  <a:lnTo>
                    <a:pt x="671" y="3910"/>
                  </a:lnTo>
                  <a:lnTo>
                    <a:pt x="671" y="3910"/>
                  </a:lnTo>
                  <a:close/>
                  <a:moveTo>
                    <a:pt x="870" y="3917"/>
                  </a:moveTo>
                  <a:lnTo>
                    <a:pt x="882" y="3943"/>
                  </a:lnTo>
                  <a:lnTo>
                    <a:pt x="853" y="3926"/>
                  </a:lnTo>
                  <a:lnTo>
                    <a:pt x="870" y="3917"/>
                  </a:lnTo>
                  <a:lnTo>
                    <a:pt x="870" y="3917"/>
                  </a:lnTo>
                  <a:lnTo>
                    <a:pt x="870" y="3917"/>
                  </a:lnTo>
                  <a:close/>
                  <a:moveTo>
                    <a:pt x="870" y="3933"/>
                  </a:moveTo>
                  <a:lnTo>
                    <a:pt x="865" y="3959"/>
                  </a:lnTo>
                  <a:lnTo>
                    <a:pt x="853" y="3933"/>
                  </a:lnTo>
                  <a:lnTo>
                    <a:pt x="870" y="3933"/>
                  </a:lnTo>
                  <a:lnTo>
                    <a:pt x="870" y="3933"/>
                  </a:lnTo>
                  <a:lnTo>
                    <a:pt x="870" y="3933"/>
                  </a:lnTo>
                  <a:close/>
                  <a:moveTo>
                    <a:pt x="941" y="3966"/>
                  </a:moveTo>
                  <a:lnTo>
                    <a:pt x="936" y="3983"/>
                  </a:lnTo>
                  <a:lnTo>
                    <a:pt x="919" y="3983"/>
                  </a:lnTo>
                  <a:lnTo>
                    <a:pt x="924" y="3959"/>
                  </a:lnTo>
                  <a:lnTo>
                    <a:pt x="962" y="3943"/>
                  </a:lnTo>
                  <a:lnTo>
                    <a:pt x="962" y="3950"/>
                  </a:lnTo>
                  <a:lnTo>
                    <a:pt x="941" y="3966"/>
                  </a:lnTo>
                  <a:lnTo>
                    <a:pt x="941" y="3966"/>
                  </a:lnTo>
                  <a:lnTo>
                    <a:pt x="941" y="3966"/>
                  </a:lnTo>
                  <a:close/>
                  <a:moveTo>
                    <a:pt x="903" y="3943"/>
                  </a:moveTo>
                  <a:lnTo>
                    <a:pt x="908" y="3950"/>
                  </a:lnTo>
                  <a:lnTo>
                    <a:pt x="898" y="3950"/>
                  </a:lnTo>
                  <a:lnTo>
                    <a:pt x="903" y="3943"/>
                  </a:lnTo>
                  <a:lnTo>
                    <a:pt x="903" y="3943"/>
                  </a:lnTo>
                  <a:lnTo>
                    <a:pt x="903" y="3943"/>
                  </a:lnTo>
                  <a:close/>
                  <a:moveTo>
                    <a:pt x="919" y="3950"/>
                  </a:moveTo>
                  <a:lnTo>
                    <a:pt x="919" y="3966"/>
                  </a:lnTo>
                  <a:lnTo>
                    <a:pt x="903" y="3959"/>
                  </a:lnTo>
                  <a:lnTo>
                    <a:pt x="919" y="3950"/>
                  </a:lnTo>
                  <a:lnTo>
                    <a:pt x="919" y="3950"/>
                  </a:lnTo>
                  <a:lnTo>
                    <a:pt x="919" y="3950"/>
                  </a:lnTo>
                  <a:close/>
                  <a:moveTo>
                    <a:pt x="898" y="3966"/>
                  </a:moveTo>
                  <a:lnTo>
                    <a:pt x="886" y="3959"/>
                  </a:lnTo>
                  <a:lnTo>
                    <a:pt x="898" y="3959"/>
                  </a:lnTo>
                  <a:lnTo>
                    <a:pt x="898" y="3966"/>
                  </a:lnTo>
                  <a:lnTo>
                    <a:pt x="898" y="3966"/>
                  </a:lnTo>
                  <a:lnTo>
                    <a:pt x="898" y="3966"/>
                  </a:lnTo>
                  <a:close/>
                  <a:moveTo>
                    <a:pt x="886" y="3959"/>
                  </a:moveTo>
                  <a:lnTo>
                    <a:pt x="882" y="3966"/>
                  </a:lnTo>
                  <a:lnTo>
                    <a:pt x="886" y="3959"/>
                  </a:lnTo>
                  <a:lnTo>
                    <a:pt x="886" y="3959"/>
                  </a:lnTo>
                  <a:lnTo>
                    <a:pt x="886" y="3959"/>
                  </a:lnTo>
                  <a:close/>
                  <a:moveTo>
                    <a:pt x="903" y="3966"/>
                  </a:moveTo>
                  <a:lnTo>
                    <a:pt x="898" y="3983"/>
                  </a:lnTo>
                  <a:lnTo>
                    <a:pt x="898" y="3966"/>
                  </a:lnTo>
                  <a:lnTo>
                    <a:pt x="903" y="3966"/>
                  </a:lnTo>
                  <a:lnTo>
                    <a:pt x="903" y="3966"/>
                  </a:lnTo>
                  <a:lnTo>
                    <a:pt x="903" y="3966"/>
                  </a:lnTo>
                  <a:close/>
                  <a:moveTo>
                    <a:pt x="908" y="3966"/>
                  </a:moveTo>
                  <a:lnTo>
                    <a:pt x="919" y="3966"/>
                  </a:lnTo>
                  <a:lnTo>
                    <a:pt x="919" y="3971"/>
                  </a:lnTo>
                  <a:lnTo>
                    <a:pt x="903" y="3971"/>
                  </a:lnTo>
                  <a:lnTo>
                    <a:pt x="908" y="3966"/>
                  </a:lnTo>
                  <a:lnTo>
                    <a:pt x="908" y="3966"/>
                  </a:lnTo>
                  <a:lnTo>
                    <a:pt x="908" y="3966"/>
                  </a:lnTo>
                  <a:close/>
                  <a:moveTo>
                    <a:pt x="693" y="3966"/>
                  </a:moveTo>
                  <a:lnTo>
                    <a:pt x="702" y="3971"/>
                  </a:lnTo>
                  <a:lnTo>
                    <a:pt x="702" y="3988"/>
                  </a:lnTo>
                  <a:lnTo>
                    <a:pt x="693" y="3971"/>
                  </a:lnTo>
                  <a:lnTo>
                    <a:pt x="693" y="3966"/>
                  </a:lnTo>
                  <a:lnTo>
                    <a:pt x="693" y="3966"/>
                  </a:lnTo>
                  <a:lnTo>
                    <a:pt x="693" y="3966"/>
                  </a:lnTo>
                  <a:close/>
                  <a:moveTo>
                    <a:pt x="4323" y="3971"/>
                  </a:moveTo>
                  <a:lnTo>
                    <a:pt x="4318" y="3988"/>
                  </a:lnTo>
                  <a:lnTo>
                    <a:pt x="4302" y="3988"/>
                  </a:lnTo>
                  <a:lnTo>
                    <a:pt x="4302" y="3983"/>
                  </a:lnTo>
                  <a:lnTo>
                    <a:pt x="4323" y="3971"/>
                  </a:lnTo>
                  <a:lnTo>
                    <a:pt x="4323" y="3971"/>
                  </a:lnTo>
                  <a:lnTo>
                    <a:pt x="4323" y="3971"/>
                  </a:lnTo>
                  <a:close/>
                  <a:moveTo>
                    <a:pt x="919" y="3971"/>
                  </a:moveTo>
                  <a:lnTo>
                    <a:pt x="908" y="4004"/>
                  </a:lnTo>
                  <a:lnTo>
                    <a:pt x="903" y="4004"/>
                  </a:lnTo>
                  <a:lnTo>
                    <a:pt x="898" y="4000"/>
                  </a:lnTo>
                  <a:lnTo>
                    <a:pt x="903" y="3971"/>
                  </a:lnTo>
                  <a:lnTo>
                    <a:pt x="919" y="3971"/>
                  </a:lnTo>
                  <a:lnTo>
                    <a:pt x="919" y="3971"/>
                  </a:lnTo>
                  <a:lnTo>
                    <a:pt x="919" y="3971"/>
                  </a:lnTo>
                  <a:close/>
                  <a:moveTo>
                    <a:pt x="908" y="4004"/>
                  </a:moveTo>
                  <a:lnTo>
                    <a:pt x="919" y="4037"/>
                  </a:lnTo>
                  <a:lnTo>
                    <a:pt x="903" y="4021"/>
                  </a:lnTo>
                  <a:lnTo>
                    <a:pt x="908" y="4004"/>
                  </a:lnTo>
                  <a:lnTo>
                    <a:pt x="908" y="4004"/>
                  </a:lnTo>
                  <a:lnTo>
                    <a:pt x="908" y="4004"/>
                  </a:lnTo>
                  <a:close/>
                  <a:moveTo>
                    <a:pt x="6116" y="4316"/>
                  </a:moveTo>
                  <a:lnTo>
                    <a:pt x="6133" y="4304"/>
                  </a:lnTo>
                  <a:lnTo>
                    <a:pt x="6133" y="4316"/>
                  </a:lnTo>
                  <a:lnTo>
                    <a:pt x="6137" y="4297"/>
                  </a:lnTo>
                  <a:lnTo>
                    <a:pt x="6154" y="4304"/>
                  </a:lnTo>
                  <a:lnTo>
                    <a:pt x="6170" y="4292"/>
                  </a:lnTo>
                  <a:lnTo>
                    <a:pt x="6170" y="4297"/>
                  </a:lnTo>
                  <a:lnTo>
                    <a:pt x="6154" y="4321"/>
                  </a:lnTo>
                  <a:lnTo>
                    <a:pt x="6149" y="4321"/>
                  </a:lnTo>
                  <a:lnTo>
                    <a:pt x="6121" y="4337"/>
                  </a:lnTo>
                  <a:lnTo>
                    <a:pt x="6111" y="4337"/>
                  </a:lnTo>
                  <a:lnTo>
                    <a:pt x="6111" y="4349"/>
                  </a:lnTo>
                  <a:lnTo>
                    <a:pt x="6121" y="4354"/>
                  </a:lnTo>
                  <a:lnTo>
                    <a:pt x="6111" y="4354"/>
                  </a:lnTo>
                  <a:lnTo>
                    <a:pt x="6133" y="4354"/>
                  </a:lnTo>
                  <a:lnTo>
                    <a:pt x="6111" y="4375"/>
                  </a:lnTo>
                  <a:lnTo>
                    <a:pt x="6116" y="4392"/>
                  </a:lnTo>
                  <a:lnTo>
                    <a:pt x="6133" y="4403"/>
                  </a:lnTo>
                  <a:lnTo>
                    <a:pt x="6137" y="4375"/>
                  </a:lnTo>
                  <a:lnTo>
                    <a:pt x="6154" y="4354"/>
                  </a:lnTo>
                  <a:lnTo>
                    <a:pt x="6170" y="4354"/>
                  </a:lnTo>
                  <a:lnTo>
                    <a:pt x="6175" y="4337"/>
                  </a:lnTo>
                  <a:lnTo>
                    <a:pt x="6187" y="4349"/>
                  </a:lnTo>
                  <a:lnTo>
                    <a:pt x="6175" y="4354"/>
                  </a:lnTo>
                  <a:lnTo>
                    <a:pt x="6154" y="4392"/>
                  </a:lnTo>
                  <a:lnTo>
                    <a:pt x="6163" y="4408"/>
                  </a:lnTo>
                  <a:lnTo>
                    <a:pt x="6175" y="4392"/>
                  </a:lnTo>
                  <a:lnTo>
                    <a:pt x="6187" y="4375"/>
                  </a:lnTo>
                  <a:lnTo>
                    <a:pt x="6201" y="4403"/>
                  </a:lnTo>
                  <a:lnTo>
                    <a:pt x="6187" y="4415"/>
                  </a:lnTo>
                  <a:lnTo>
                    <a:pt x="6175" y="4465"/>
                  </a:lnTo>
                  <a:lnTo>
                    <a:pt x="6163" y="4481"/>
                  </a:lnTo>
                  <a:lnTo>
                    <a:pt x="6149" y="4470"/>
                  </a:lnTo>
                  <a:lnTo>
                    <a:pt x="6133" y="4481"/>
                  </a:lnTo>
                  <a:lnTo>
                    <a:pt x="6133" y="4432"/>
                  </a:lnTo>
                  <a:lnTo>
                    <a:pt x="6100" y="4465"/>
                  </a:lnTo>
                  <a:lnTo>
                    <a:pt x="6083" y="4465"/>
                  </a:lnTo>
                  <a:lnTo>
                    <a:pt x="6095" y="4448"/>
                  </a:lnTo>
                  <a:lnTo>
                    <a:pt x="6111" y="4408"/>
                  </a:lnTo>
                  <a:lnTo>
                    <a:pt x="6100" y="4375"/>
                  </a:lnTo>
                  <a:lnTo>
                    <a:pt x="6083" y="4370"/>
                  </a:lnTo>
                  <a:lnTo>
                    <a:pt x="6066" y="4408"/>
                  </a:lnTo>
                  <a:lnTo>
                    <a:pt x="6057" y="4415"/>
                  </a:lnTo>
                  <a:lnTo>
                    <a:pt x="6066" y="4392"/>
                  </a:lnTo>
                  <a:lnTo>
                    <a:pt x="6057" y="4408"/>
                  </a:lnTo>
                  <a:lnTo>
                    <a:pt x="6041" y="4408"/>
                  </a:lnTo>
                  <a:lnTo>
                    <a:pt x="6015" y="4460"/>
                  </a:lnTo>
                  <a:lnTo>
                    <a:pt x="5986" y="4465"/>
                  </a:lnTo>
                  <a:lnTo>
                    <a:pt x="5960" y="4448"/>
                  </a:lnTo>
                  <a:lnTo>
                    <a:pt x="5970" y="4441"/>
                  </a:lnTo>
                  <a:lnTo>
                    <a:pt x="6003" y="4432"/>
                  </a:lnTo>
                  <a:lnTo>
                    <a:pt x="6015" y="4408"/>
                  </a:lnTo>
                  <a:lnTo>
                    <a:pt x="6041" y="4392"/>
                  </a:lnTo>
                  <a:lnTo>
                    <a:pt x="6029" y="4392"/>
                  </a:lnTo>
                  <a:lnTo>
                    <a:pt x="6041" y="4375"/>
                  </a:lnTo>
                  <a:lnTo>
                    <a:pt x="6024" y="4392"/>
                  </a:lnTo>
                  <a:lnTo>
                    <a:pt x="6003" y="4387"/>
                  </a:lnTo>
                  <a:lnTo>
                    <a:pt x="6003" y="4403"/>
                  </a:lnTo>
                  <a:lnTo>
                    <a:pt x="5991" y="4408"/>
                  </a:lnTo>
                  <a:lnTo>
                    <a:pt x="5986" y="4403"/>
                  </a:lnTo>
                  <a:lnTo>
                    <a:pt x="5970" y="4408"/>
                  </a:lnTo>
                  <a:lnTo>
                    <a:pt x="5977" y="4392"/>
                  </a:lnTo>
                  <a:lnTo>
                    <a:pt x="5948" y="4403"/>
                  </a:lnTo>
                  <a:lnTo>
                    <a:pt x="5986" y="4387"/>
                  </a:lnTo>
                  <a:lnTo>
                    <a:pt x="5970" y="4387"/>
                  </a:lnTo>
                  <a:lnTo>
                    <a:pt x="5977" y="4359"/>
                  </a:lnTo>
                  <a:lnTo>
                    <a:pt x="5970" y="4375"/>
                  </a:lnTo>
                  <a:lnTo>
                    <a:pt x="5953" y="4387"/>
                  </a:lnTo>
                  <a:lnTo>
                    <a:pt x="5953" y="4375"/>
                  </a:lnTo>
                  <a:lnTo>
                    <a:pt x="5948" y="4392"/>
                  </a:lnTo>
                  <a:lnTo>
                    <a:pt x="5901" y="4403"/>
                  </a:lnTo>
                  <a:lnTo>
                    <a:pt x="5814" y="4387"/>
                  </a:lnTo>
                  <a:lnTo>
                    <a:pt x="5738" y="4392"/>
                  </a:lnTo>
                  <a:lnTo>
                    <a:pt x="5733" y="4392"/>
                  </a:lnTo>
                  <a:lnTo>
                    <a:pt x="5722" y="4370"/>
                  </a:lnTo>
                  <a:lnTo>
                    <a:pt x="5792" y="4316"/>
                  </a:lnTo>
                  <a:lnTo>
                    <a:pt x="5776" y="4304"/>
                  </a:lnTo>
                  <a:lnTo>
                    <a:pt x="5733" y="4316"/>
                  </a:lnTo>
                  <a:lnTo>
                    <a:pt x="5771" y="4281"/>
                  </a:lnTo>
                  <a:lnTo>
                    <a:pt x="5755" y="4297"/>
                  </a:lnTo>
                  <a:lnTo>
                    <a:pt x="5771" y="4304"/>
                  </a:lnTo>
                  <a:lnTo>
                    <a:pt x="5792" y="4248"/>
                  </a:lnTo>
                  <a:lnTo>
                    <a:pt x="5792" y="4259"/>
                  </a:lnTo>
                  <a:lnTo>
                    <a:pt x="5830" y="4264"/>
                  </a:lnTo>
                  <a:lnTo>
                    <a:pt x="5814" y="4264"/>
                  </a:lnTo>
                  <a:lnTo>
                    <a:pt x="5809" y="4248"/>
                  </a:lnTo>
                  <a:lnTo>
                    <a:pt x="5826" y="4248"/>
                  </a:lnTo>
                  <a:lnTo>
                    <a:pt x="5830" y="4248"/>
                  </a:lnTo>
                  <a:lnTo>
                    <a:pt x="5814" y="4248"/>
                  </a:lnTo>
                  <a:lnTo>
                    <a:pt x="5826" y="4243"/>
                  </a:lnTo>
                  <a:lnTo>
                    <a:pt x="5809" y="4243"/>
                  </a:lnTo>
                  <a:lnTo>
                    <a:pt x="5809" y="4226"/>
                  </a:lnTo>
                  <a:lnTo>
                    <a:pt x="5826" y="4210"/>
                  </a:lnTo>
                  <a:lnTo>
                    <a:pt x="5840" y="4222"/>
                  </a:lnTo>
                  <a:lnTo>
                    <a:pt x="5830" y="4210"/>
                  </a:lnTo>
                  <a:lnTo>
                    <a:pt x="5826" y="4205"/>
                  </a:lnTo>
                  <a:lnTo>
                    <a:pt x="5863" y="4115"/>
                  </a:lnTo>
                  <a:lnTo>
                    <a:pt x="5878" y="4111"/>
                  </a:lnTo>
                  <a:lnTo>
                    <a:pt x="5863" y="4111"/>
                  </a:lnTo>
                  <a:lnTo>
                    <a:pt x="5894" y="4082"/>
                  </a:lnTo>
                  <a:lnTo>
                    <a:pt x="5901" y="4077"/>
                  </a:lnTo>
                  <a:lnTo>
                    <a:pt x="5894" y="4070"/>
                  </a:lnTo>
                  <a:lnTo>
                    <a:pt x="5906" y="4061"/>
                  </a:lnTo>
                  <a:lnTo>
                    <a:pt x="5906" y="4054"/>
                  </a:lnTo>
                  <a:lnTo>
                    <a:pt x="5915" y="4044"/>
                  </a:lnTo>
                  <a:lnTo>
                    <a:pt x="5970" y="4016"/>
                  </a:lnTo>
                  <a:lnTo>
                    <a:pt x="5970" y="4025"/>
                  </a:lnTo>
                  <a:lnTo>
                    <a:pt x="5986" y="4025"/>
                  </a:lnTo>
                  <a:lnTo>
                    <a:pt x="5977" y="4021"/>
                  </a:lnTo>
                  <a:lnTo>
                    <a:pt x="6003" y="4021"/>
                  </a:lnTo>
                  <a:lnTo>
                    <a:pt x="5991" y="4044"/>
                  </a:lnTo>
                  <a:lnTo>
                    <a:pt x="5953" y="4044"/>
                  </a:lnTo>
                  <a:lnTo>
                    <a:pt x="5960" y="4061"/>
                  </a:lnTo>
                  <a:lnTo>
                    <a:pt x="5977" y="4054"/>
                  </a:lnTo>
                  <a:lnTo>
                    <a:pt x="5977" y="4070"/>
                  </a:lnTo>
                  <a:lnTo>
                    <a:pt x="5953" y="4099"/>
                  </a:lnTo>
                  <a:lnTo>
                    <a:pt x="5953" y="4082"/>
                  </a:lnTo>
                  <a:lnTo>
                    <a:pt x="5948" y="4115"/>
                  </a:lnTo>
                  <a:lnTo>
                    <a:pt x="5906" y="4170"/>
                  </a:lnTo>
                  <a:lnTo>
                    <a:pt x="5906" y="4188"/>
                  </a:lnTo>
                  <a:lnTo>
                    <a:pt x="5901" y="4193"/>
                  </a:lnTo>
                  <a:lnTo>
                    <a:pt x="5906" y="4193"/>
                  </a:lnTo>
                  <a:lnTo>
                    <a:pt x="5901" y="4210"/>
                  </a:lnTo>
                  <a:lnTo>
                    <a:pt x="5953" y="4153"/>
                  </a:lnTo>
                  <a:lnTo>
                    <a:pt x="5977" y="4181"/>
                  </a:lnTo>
                  <a:lnTo>
                    <a:pt x="6003" y="4170"/>
                  </a:lnTo>
                  <a:lnTo>
                    <a:pt x="6003" y="4181"/>
                  </a:lnTo>
                  <a:lnTo>
                    <a:pt x="5953" y="4205"/>
                  </a:lnTo>
                  <a:lnTo>
                    <a:pt x="5970" y="4205"/>
                  </a:lnTo>
                  <a:lnTo>
                    <a:pt x="5953" y="4226"/>
                  </a:lnTo>
                  <a:lnTo>
                    <a:pt x="5970" y="4222"/>
                  </a:lnTo>
                  <a:lnTo>
                    <a:pt x="5986" y="4226"/>
                  </a:lnTo>
                  <a:lnTo>
                    <a:pt x="5991" y="4222"/>
                  </a:lnTo>
                  <a:lnTo>
                    <a:pt x="5991" y="4226"/>
                  </a:lnTo>
                  <a:lnTo>
                    <a:pt x="6007" y="4222"/>
                  </a:lnTo>
                  <a:lnTo>
                    <a:pt x="6007" y="4238"/>
                  </a:lnTo>
                  <a:lnTo>
                    <a:pt x="6007" y="4210"/>
                  </a:lnTo>
                  <a:lnTo>
                    <a:pt x="6024" y="4210"/>
                  </a:lnTo>
                  <a:lnTo>
                    <a:pt x="6007" y="4259"/>
                  </a:lnTo>
                  <a:lnTo>
                    <a:pt x="6024" y="4226"/>
                  </a:lnTo>
                  <a:lnTo>
                    <a:pt x="6045" y="4243"/>
                  </a:lnTo>
                  <a:lnTo>
                    <a:pt x="6062" y="4210"/>
                  </a:lnTo>
                  <a:lnTo>
                    <a:pt x="6066" y="4222"/>
                  </a:lnTo>
                  <a:lnTo>
                    <a:pt x="6066" y="4243"/>
                  </a:lnTo>
                  <a:lnTo>
                    <a:pt x="6078" y="4226"/>
                  </a:lnTo>
                  <a:lnTo>
                    <a:pt x="6083" y="4226"/>
                  </a:lnTo>
                  <a:lnTo>
                    <a:pt x="6100" y="4222"/>
                  </a:lnTo>
                  <a:lnTo>
                    <a:pt x="6116" y="4226"/>
                  </a:lnTo>
                  <a:lnTo>
                    <a:pt x="6137" y="4243"/>
                  </a:lnTo>
                  <a:lnTo>
                    <a:pt x="6133" y="4259"/>
                  </a:lnTo>
                  <a:lnTo>
                    <a:pt x="6116" y="4259"/>
                  </a:lnTo>
                  <a:lnTo>
                    <a:pt x="6121" y="4264"/>
                  </a:lnTo>
                  <a:lnTo>
                    <a:pt x="6095" y="4281"/>
                  </a:lnTo>
                  <a:lnTo>
                    <a:pt x="6116" y="4281"/>
                  </a:lnTo>
                  <a:lnTo>
                    <a:pt x="6111" y="4297"/>
                  </a:lnTo>
                  <a:lnTo>
                    <a:pt x="6116" y="4292"/>
                  </a:lnTo>
                  <a:lnTo>
                    <a:pt x="6111" y="4297"/>
                  </a:lnTo>
                  <a:lnTo>
                    <a:pt x="6111" y="4292"/>
                  </a:lnTo>
                  <a:lnTo>
                    <a:pt x="6133" y="4292"/>
                  </a:lnTo>
                  <a:lnTo>
                    <a:pt x="6100" y="4304"/>
                  </a:lnTo>
                  <a:lnTo>
                    <a:pt x="6116" y="4304"/>
                  </a:lnTo>
                  <a:lnTo>
                    <a:pt x="6116" y="4316"/>
                  </a:lnTo>
                  <a:lnTo>
                    <a:pt x="6116" y="4316"/>
                  </a:lnTo>
                  <a:lnTo>
                    <a:pt x="6116" y="4316"/>
                  </a:lnTo>
                  <a:close/>
                  <a:moveTo>
                    <a:pt x="6100" y="4316"/>
                  </a:moveTo>
                  <a:lnTo>
                    <a:pt x="6095" y="4321"/>
                  </a:lnTo>
                  <a:lnTo>
                    <a:pt x="6116" y="4316"/>
                  </a:lnTo>
                  <a:lnTo>
                    <a:pt x="6100" y="4316"/>
                  </a:lnTo>
                  <a:lnTo>
                    <a:pt x="6100" y="4316"/>
                  </a:lnTo>
                  <a:lnTo>
                    <a:pt x="6100" y="4316"/>
                  </a:lnTo>
                  <a:close/>
                  <a:moveTo>
                    <a:pt x="5991" y="4077"/>
                  </a:moveTo>
                  <a:lnTo>
                    <a:pt x="5991" y="4082"/>
                  </a:lnTo>
                  <a:lnTo>
                    <a:pt x="5986" y="4082"/>
                  </a:lnTo>
                  <a:lnTo>
                    <a:pt x="5991" y="4077"/>
                  </a:lnTo>
                  <a:lnTo>
                    <a:pt x="5991" y="4077"/>
                  </a:lnTo>
                  <a:lnTo>
                    <a:pt x="5991" y="4077"/>
                  </a:lnTo>
                  <a:close/>
                  <a:moveTo>
                    <a:pt x="936" y="4082"/>
                  </a:moveTo>
                  <a:lnTo>
                    <a:pt x="936" y="4094"/>
                  </a:lnTo>
                  <a:lnTo>
                    <a:pt x="924" y="4082"/>
                  </a:lnTo>
                  <a:lnTo>
                    <a:pt x="936" y="4082"/>
                  </a:lnTo>
                  <a:lnTo>
                    <a:pt x="936" y="4082"/>
                  </a:lnTo>
                  <a:lnTo>
                    <a:pt x="936" y="4082"/>
                  </a:lnTo>
                  <a:close/>
                  <a:moveTo>
                    <a:pt x="1096" y="4137"/>
                  </a:moveTo>
                  <a:lnTo>
                    <a:pt x="1113" y="4181"/>
                  </a:lnTo>
                  <a:lnTo>
                    <a:pt x="1134" y="4193"/>
                  </a:lnTo>
                  <a:lnTo>
                    <a:pt x="1125" y="4205"/>
                  </a:lnTo>
                  <a:lnTo>
                    <a:pt x="1139" y="4222"/>
                  </a:lnTo>
                  <a:lnTo>
                    <a:pt x="1193" y="4243"/>
                  </a:lnTo>
                  <a:lnTo>
                    <a:pt x="1222" y="4281"/>
                  </a:lnTo>
                  <a:lnTo>
                    <a:pt x="1226" y="4297"/>
                  </a:lnTo>
                  <a:lnTo>
                    <a:pt x="1231" y="4292"/>
                  </a:lnTo>
                  <a:lnTo>
                    <a:pt x="1243" y="4321"/>
                  </a:lnTo>
                  <a:lnTo>
                    <a:pt x="1231" y="4316"/>
                  </a:lnTo>
                  <a:lnTo>
                    <a:pt x="1222" y="4333"/>
                  </a:lnTo>
                  <a:lnTo>
                    <a:pt x="1118" y="4292"/>
                  </a:lnTo>
                  <a:lnTo>
                    <a:pt x="1113" y="4281"/>
                  </a:lnTo>
                  <a:lnTo>
                    <a:pt x="1134" y="4259"/>
                  </a:lnTo>
                  <a:lnTo>
                    <a:pt x="1134" y="4243"/>
                  </a:lnTo>
                  <a:lnTo>
                    <a:pt x="1125" y="4264"/>
                  </a:lnTo>
                  <a:lnTo>
                    <a:pt x="1087" y="4276"/>
                  </a:lnTo>
                  <a:lnTo>
                    <a:pt x="1070" y="4259"/>
                  </a:lnTo>
                  <a:lnTo>
                    <a:pt x="1080" y="4243"/>
                  </a:lnTo>
                  <a:lnTo>
                    <a:pt x="1070" y="4248"/>
                  </a:lnTo>
                  <a:lnTo>
                    <a:pt x="1063" y="4238"/>
                  </a:lnTo>
                  <a:lnTo>
                    <a:pt x="1049" y="4243"/>
                  </a:lnTo>
                  <a:lnTo>
                    <a:pt x="1059" y="4226"/>
                  </a:lnTo>
                  <a:lnTo>
                    <a:pt x="1059" y="4238"/>
                  </a:lnTo>
                  <a:lnTo>
                    <a:pt x="1042" y="4226"/>
                  </a:lnTo>
                  <a:lnTo>
                    <a:pt x="1016" y="4226"/>
                  </a:lnTo>
                  <a:lnTo>
                    <a:pt x="1011" y="4210"/>
                  </a:lnTo>
                  <a:lnTo>
                    <a:pt x="1049" y="4205"/>
                  </a:lnTo>
                  <a:lnTo>
                    <a:pt x="1011" y="4193"/>
                  </a:lnTo>
                  <a:lnTo>
                    <a:pt x="1004" y="4181"/>
                  </a:lnTo>
                  <a:lnTo>
                    <a:pt x="995" y="4181"/>
                  </a:lnTo>
                  <a:lnTo>
                    <a:pt x="974" y="4188"/>
                  </a:lnTo>
                  <a:lnTo>
                    <a:pt x="962" y="4170"/>
                  </a:lnTo>
                  <a:lnTo>
                    <a:pt x="974" y="4165"/>
                  </a:lnTo>
                  <a:lnTo>
                    <a:pt x="957" y="4170"/>
                  </a:lnTo>
                  <a:lnTo>
                    <a:pt x="941" y="4153"/>
                  </a:lnTo>
                  <a:lnTo>
                    <a:pt x="919" y="4165"/>
                  </a:lnTo>
                  <a:lnTo>
                    <a:pt x="924" y="4148"/>
                  </a:lnTo>
                  <a:lnTo>
                    <a:pt x="924" y="4137"/>
                  </a:lnTo>
                  <a:lnTo>
                    <a:pt x="919" y="4137"/>
                  </a:lnTo>
                  <a:lnTo>
                    <a:pt x="919" y="4127"/>
                  </a:lnTo>
                  <a:lnTo>
                    <a:pt x="941" y="4127"/>
                  </a:lnTo>
                  <a:lnTo>
                    <a:pt x="952" y="4132"/>
                  </a:lnTo>
                  <a:lnTo>
                    <a:pt x="941" y="4127"/>
                  </a:lnTo>
                  <a:lnTo>
                    <a:pt x="957" y="4115"/>
                  </a:lnTo>
                  <a:lnTo>
                    <a:pt x="919" y="4111"/>
                  </a:lnTo>
                  <a:lnTo>
                    <a:pt x="941" y="4115"/>
                  </a:lnTo>
                  <a:lnTo>
                    <a:pt x="908" y="4132"/>
                  </a:lnTo>
                  <a:lnTo>
                    <a:pt x="886" y="4115"/>
                  </a:lnTo>
                  <a:lnTo>
                    <a:pt x="886" y="4099"/>
                  </a:lnTo>
                  <a:lnTo>
                    <a:pt x="919" y="4094"/>
                  </a:lnTo>
                  <a:lnTo>
                    <a:pt x="962" y="4111"/>
                  </a:lnTo>
                  <a:lnTo>
                    <a:pt x="1096" y="4137"/>
                  </a:lnTo>
                  <a:lnTo>
                    <a:pt x="1096" y="4137"/>
                  </a:lnTo>
                  <a:lnTo>
                    <a:pt x="1096" y="4137"/>
                  </a:lnTo>
                  <a:close/>
                  <a:moveTo>
                    <a:pt x="995" y="4099"/>
                  </a:moveTo>
                  <a:lnTo>
                    <a:pt x="990" y="4094"/>
                  </a:lnTo>
                  <a:lnTo>
                    <a:pt x="1011" y="4094"/>
                  </a:lnTo>
                  <a:lnTo>
                    <a:pt x="995" y="4099"/>
                  </a:lnTo>
                  <a:lnTo>
                    <a:pt x="995" y="4099"/>
                  </a:lnTo>
                  <a:lnTo>
                    <a:pt x="995" y="4099"/>
                  </a:lnTo>
                  <a:close/>
                  <a:moveTo>
                    <a:pt x="1033" y="4094"/>
                  </a:moveTo>
                  <a:lnTo>
                    <a:pt x="1042" y="4099"/>
                  </a:lnTo>
                  <a:lnTo>
                    <a:pt x="1033" y="4111"/>
                  </a:lnTo>
                  <a:lnTo>
                    <a:pt x="1011" y="4111"/>
                  </a:lnTo>
                  <a:lnTo>
                    <a:pt x="1033" y="4094"/>
                  </a:lnTo>
                  <a:lnTo>
                    <a:pt x="1033" y="4094"/>
                  </a:lnTo>
                  <a:lnTo>
                    <a:pt x="1033" y="4094"/>
                  </a:lnTo>
                  <a:close/>
                  <a:moveTo>
                    <a:pt x="1004" y="4099"/>
                  </a:moveTo>
                  <a:lnTo>
                    <a:pt x="1016" y="4099"/>
                  </a:lnTo>
                  <a:lnTo>
                    <a:pt x="1011" y="4111"/>
                  </a:lnTo>
                  <a:lnTo>
                    <a:pt x="1004" y="4099"/>
                  </a:lnTo>
                  <a:lnTo>
                    <a:pt x="1004" y="4099"/>
                  </a:lnTo>
                  <a:lnTo>
                    <a:pt x="1004" y="4099"/>
                  </a:lnTo>
                  <a:close/>
                  <a:moveTo>
                    <a:pt x="990" y="4115"/>
                  </a:moveTo>
                  <a:lnTo>
                    <a:pt x="974" y="4111"/>
                  </a:lnTo>
                  <a:lnTo>
                    <a:pt x="995" y="4111"/>
                  </a:lnTo>
                  <a:lnTo>
                    <a:pt x="990" y="4115"/>
                  </a:lnTo>
                  <a:lnTo>
                    <a:pt x="990" y="4115"/>
                  </a:lnTo>
                  <a:lnTo>
                    <a:pt x="990" y="4115"/>
                  </a:lnTo>
                  <a:close/>
                  <a:moveTo>
                    <a:pt x="1016" y="4111"/>
                  </a:moveTo>
                  <a:lnTo>
                    <a:pt x="1026" y="4115"/>
                  </a:lnTo>
                  <a:lnTo>
                    <a:pt x="1011" y="4115"/>
                  </a:lnTo>
                  <a:lnTo>
                    <a:pt x="1016" y="4111"/>
                  </a:lnTo>
                  <a:lnTo>
                    <a:pt x="1016" y="4111"/>
                  </a:lnTo>
                  <a:lnTo>
                    <a:pt x="1016" y="4111"/>
                  </a:lnTo>
                  <a:close/>
                  <a:moveTo>
                    <a:pt x="1033" y="4115"/>
                  </a:moveTo>
                  <a:lnTo>
                    <a:pt x="1011" y="4127"/>
                  </a:lnTo>
                  <a:lnTo>
                    <a:pt x="1033" y="4115"/>
                  </a:lnTo>
                  <a:lnTo>
                    <a:pt x="1033" y="4115"/>
                  </a:lnTo>
                  <a:lnTo>
                    <a:pt x="1033" y="4115"/>
                  </a:lnTo>
                  <a:close/>
                  <a:moveTo>
                    <a:pt x="1063" y="4127"/>
                  </a:moveTo>
                  <a:lnTo>
                    <a:pt x="1070" y="4132"/>
                  </a:lnTo>
                  <a:lnTo>
                    <a:pt x="1059" y="4132"/>
                  </a:lnTo>
                  <a:lnTo>
                    <a:pt x="1063" y="4127"/>
                  </a:lnTo>
                  <a:lnTo>
                    <a:pt x="1063" y="4127"/>
                  </a:lnTo>
                  <a:lnTo>
                    <a:pt x="1063" y="4127"/>
                  </a:lnTo>
                  <a:close/>
                  <a:moveTo>
                    <a:pt x="1096" y="4127"/>
                  </a:moveTo>
                  <a:lnTo>
                    <a:pt x="1096" y="4132"/>
                  </a:lnTo>
                  <a:lnTo>
                    <a:pt x="1087" y="4132"/>
                  </a:lnTo>
                  <a:lnTo>
                    <a:pt x="1096" y="4127"/>
                  </a:lnTo>
                  <a:lnTo>
                    <a:pt x="1096" y="4127"/>
                  </a:lnTo>
                  <a:lnTo>
                    <a:pt x="1096" y="4127"/>
                  </a:lnTo>
                  <a:close/>
                  <a:moveTo>
                    <a:pt x="1101" y="4132"/>
                  </a:moveTo>
                  <a:lnTo>
                    <a:pt x="1118" y="4148"/>
                  </a:lnTo>
                  <a:lnTo>
                    <a:pt x="1113" y="4153"/>
                  </a:lnTo>
                  <a:lnTo>
                    <a:pt x="1113" y="4137"/>
                  </a:lnTo>
                  <a:lnTo>
                    <a:pt x="1096" y="4137"/>
                  </a:lnTo>
                  <a:lnTo>
                    <a:pt x="1101" y="4132"/>
                  </a:lnTo>
                  <a:lnTo>
                    <a:pt x="1101" y="4132"/>
                  </a:lnTo>
                  <a:lnTo>
                    <a:pt x="1101" y="4132"/>
                  </a:lnTo>
                  <a:close/>
                  <a:moveTo>
                    <a:pt x="1080" y="4132"/>
                  </a:moveTo>
                  <a:lnTo>
                    <a:pt x="1070" y="4132"/>
                  </a:lnTo>
                  <a:lnTo>
                    <a:pt x="1087" y="4132"/>
                  </a:lnTo>
                  <a:lnTo>
                    <a:pt x="1080" y="4132"/>
                  </a:lnTo>
                  <a:lnTo>
                    <a:pt x="1080" y="4132"/>
                  </a:lnTo>
                  <a:lnTo>
                    <a:pt x="1080" y="4132"/>
                  </a:lnTo>
                  <a:close/>
                  <a:moveTo>
                    <a:pt x="1139" y="4137"/>
                  </a:moveTo>
                  <a:lnTo>
                    <a:pt x="1151" y="4148"/>
                  </a:lnTo>
                  <a:lnTo>
                    <a:pt x="1139" y="4153"/>
                  </a:lnTo>
                  <a:lnTo>
                    <a:pt x="1134" y="4148"/>
                  </a:lnTo>
                  <a:lnTo>
                    <a:pt x="1139" y="4137"/>
                  </a:lnTo>
                  <a:lnTo>
                    <a:pt x="1139" y="4137"/>
                  </a:lnTo>
                  <a:lnTo>
                    <a:pt x="1139" y="4137"/>
                  </a:lnTo>
                  <a:close/>
                  <a:moveTo>
                    <a:pt x="1134" y="4137"/>
                  </a:moveTo>
                  <a:lnTo>
                    <a:pt x="1139" y="4153"/>
                  </a:lnTo>
                  <a:lnTo>
                    <a:pt x="1134" y="4165"/>
                  </a:lnTo>
                  <a:lnTo>
                    <a:pt x="1125" y="4148"/>
                  </a:lnTo>
                  <a:lnTo>
                    <a:pt x="1134" y="4137"/>
                  </a:lnTo>
                  <a:lnTo>
                    <a:pt x="1134" y="4137"/>
                  </a:lnTo>
                  <a:lnTo>
                    <a:pt x="1134" y="4137"/>
                  </a:lnTo>
                  <a:close/>
                  <a:moveTo>
                    <a:pt x="1096" y="4148"/>
                  </a:moveTo>
                  <a:lnTo>
                    <a:pt x="1113" y="4148"/>
                  </a:lnTo>
                  <a:lnTo>
                    <a:pt x="1113" y="4170"/>
                  </a:lnTo>
                  <a:lnTo>
                    <a:pt x="1096" y="4148"/>
                  </a:lnTo>
                  <a:lnTo>
                    <a:pt x="1096" y="4148"/>
                  </a:lnTo>
                  <a:lnTo>
                    <a:pt x="1096" y="4148"/>
                  </a:lnTo>
                  <a:close/>
                  <a:moveTo>
                    <a:pt x="1125" y="4148"/>
                  </a:moveTo>
                  <a:lnTo>
                    <a:pt x="1134" y="4165"/>
                  </a:lnTo>
                  <a:lnTo>
                    <a:pt x="1125" y="4165"/>
                  </a:lnTo>
                  <a:lnTo>
                    <a:pt x="1118" y="4165"/>
                  </a:lnTo>
                  <a:lnTo>
                    <a:pt x="1125" y="4148"/>
                  </a:lnTo>
                  <a:lnTo>
                    <a:pt x="1125" y="4148"/>
                  </a:lnTo>
                  <a:lnTo>
                    <a:pt x="1125" y="4148"/>
                  </a:lnTo>
                  <a:close/>
                  <a:moveTo>
                    <a:pt x="5436" y="4188"/>
                  </a:moveTo>
                  <a:lnTo>
                    <a:pt x="5500" y="4210"/>
                  </a:lnTo>
                  <a:lnTo>
                    <a:pt x="5523" y="4226"/>
                  </a:lnTo>
                  <a:lnTo>
                    <a:pt x="5544" y="4238"/>
                  </a:lnTo>
                  <a:lnTo>
                    <a:pt x="5561" y="4248"/>
                  </a:lnTo>
                  <a:lnTo>
                    <a:pt x="5528" y="4259"/>
                  </a:lnTo>
                  <a:lnTo>
                    <a:pt x="5462" y="4243"/>
                  </a:lnTo>
                  <a:lnTo>
                    <a:pt x="5431" y="4226"/>
                  </a:lnTo>
                  <a:lnTo>
                    <a:pt x="5410" y="4205"/>
                  </a:lnTo>
                  <a:lnTo>
                    <a:pt x="5365" y="4188"/>
                  </a:lnTo>
                  <a:lnTo>
                    <a:pt x="5381" y="4170"/>
                  </a:lnTo>
                  <a:lnTo>
                    <a:pt x="5436" y="4188"/>
                  </a:lnTo>
                  <a:lnTo>
                    <a:pt x="5436" y="4188"/>
                  </a:lnTo>
                  <a:lnTo>
                    <a:pt x="5436" y="4188"/>
                  </a:lnTo>
                  <a:close/>
                  <a:moveTo>
                    <a:pt x="1004" y="4181"/>
                  </a:moveTo>
                  <a:lnTo>
                    <a:pt x="1011" y="4193"/>
                  </a:lnTo>
                  <a:lnTo>
                    <a:pt x="1011" y="4210"/>
                  </a:lnTo>
                  <a:lnTo>
                    <a:pt x="990" y="4193"/>
                  </a:lnTo>
                  <a:lnTo>
                    <a:pt x="990" y="4188"/>
                  </a:lnTo>
                  <a:lnTo>
                    <a:pt x="1004" y="4181"/>
                  </a:lnTo>
                  <a:lnTo>
                    <a:pt x="1004" y="4181"/>
                  </a:lnTo>
                  <a:lnTo>
                    <a:pt x="1004" y="4181"/>
                  </a:lnTo>
                  <a:close/>
                  <a:moveTo>
                    <a:pt x="1189" y="4222"/>
                  </a:moveTo>
                  <a:lnTo>
                    <a:pt x="1151" y="4188"/>
                  </a:lnTo>
                  <a:lnTo>
                    <a:pt x="1172" y="4193"/>
                  </a:lnTo>
                  <a:lnTo>
                    <a:pt x="1189" y="4222"/>
                  </a:lnTo>
                  <a:lnTo>
                    <a:pt x="1189" y="4222"/>
                  </a:lnTo>
                  <a:lnTo>
                    <a:pt x="1189" y="4222"/>
                  </a:lnTo>
                  <a:close/>
                  <a:moveTo>
                    <a:pt x="1193" y="4193"/>
                  </a:moveTo>
                  <a:lnTo>
                    <a:pt x="1189" y="4205"/>
                  </a:lnTo>
                  <a:lnTo>
                    <a:pt x="1177" y="4205"/>
                  </a:lnTo>
                  <a:lnTo>
                    <a:pt x="1193" y="4193"/>
                  </a:lnTo>
                  <a:lnTo>
                    <a:pt x="1193" y="4193"/>
                  </a:lnTo>
                  <a:lnTo>
                    <a:pt x="1193" y="4193"/>
                  </a:lnTo>
                  <a:close/>
                  <a:moveTo>
                    <a:pt x="6095" y="4193"/>
                  </a:moveTo>
                  <a:lnTo>
                    <a:pt x="6100" y="4205"/>
                  </a:lnTo>
                  <a:lnTo>
                    <a:pt x="6078" y="4210"/>
                  </a:lnTo>
                  <a:lnTo>
                    <a:pt x="6078" y="4193"/>
                  </a:lnTo>
                  <a:lnTo>
                    <a:pt x="6095" y="4193"/>
                  </a:lnTo>
                  <a:lnTo>
                    <a:pt x="6095" y="4193"/>
                  </a:lnTo>
                  <a:lnTo>
                    <a:pt x="6095" y="4193"/>
                  </a:lnTo>
                  <a:close/>
                  <a:moveTo>
                    <a:pt x="6062" y="4205"/>
                  </a:moveTo>
                  <a:lnTo>
                    <a:pt x="6041" y="4222"/>
                  </a:lnTo>
                  <a:lnTo>
                    <a:pt x="6041" y="4210"/>
                  </a:lnTo>
                  <a:lnTo>
                    <a:pt x="6045" y="4210"/>
                  </a:lnTo>
                  <a:lnTo>
                    <a:pt x="6062" y="4205"/>
                  </a:lnTo>
                  <a:lnTo>
                    <a:pt x="6062" y="4205"/>
                  </a:lnTo>
                  <a:lnTo>
                    <a:pt x="6062" y="4205"/>
                  </a:lnTo>
                  <a:close/>
                  <a:moveTo>
                    <a:pt x="5986" y="4205"/>
                  </a:moveTo>
                  <a:lnTo>
                    <a:pt x="5991" y="4210"/>
                  </a:lnTo>
                  <a:lnTo>
                    <a:pt x="5977" y="4210"/>
                  </a:lnTo>
                  <a:lnTo>
                    <a:pt x="5986" y="4205"/>
                  </a:lnTo>
                  <a:lnTo>
                    <a:pt x="5986" y="4205"/>
                  </a:lnTo>
                  <a:lnTo>
                    <a:pt x="5986" y="4205"/>
                  </a:lnTo>
                  <a:close/>
                  <a:moveTo>
                    <a:pt x="1243" y="4222"/>
                  </a:moveTo>
                  <a:lnTo>
                    <a:pt x="1231" y="4226"/>
                  </a:lnTo>
                  <a:lnTo>
                    <a:pt x="1231" y="4222"/>
                  </a:lnTo>
                  <a:lnTo>
                    <a:pt x="1243" y="4222"/>
                  </a:lnTo>
                  <a:lnTo>
                    <a:pt x="1243" y="4222"/>
                  </a:lnTo>
                  <a:lnTo>
                    <a:pt x="1243" y="4222"/>
                  </a:lnTo>
                  <a:close/>
                  <a:moveTo>
                    <a:pt x="1042" y="4226"/>
                  </a:moveTo>
                  <a:lnTo>
                    <a:pt x="1049" y="4243"/>
                  </a:lnTo>
                  <a:lnTo>
                    <a:pt x="1033" y="4238"/>
                  </a:lnTo>
                  <a:lnTo>
                    <a:pt x="1033" y="4226"/>
                  </a:lnTo>
                  <a:lnTo>
                    <a:pt x="1042" y="4226"/>
                  </a:lnTo>
                  <a:lnTo>
                    <a:pt x="1042" y="4226"/>
                  </a:lnTo>
                  <a:lnTo>
                    <a:pt x="1042" y="4226"/>
                  </a:lnTo>
                  <a:close/>
                  <a:moveTo>
                    <a:pt x="1063" y="4243"/>
                  </a:moveTo>
                  <a:lnTo>
                    <a:pt x="1063" y="4248"/>
                  </a:lnTo>
                  <a:lnTo>
                    <a:pt x="1059" y="4243"/>
                  </a:lnTo>
                  <a:lnTo>
                    <a:pt x="1063" y="4243"/>
                  </a:lnTo>
                  <a:lnTo>
                    <a:pt x="1063" y="4243"/>
                  </a:lnTo>
                  <a:lnTo>
                    <a:pt x="1063" y="4243"/>
                  </a:lnTo>
                  <a:close/>
                  <a:moveTo>
                    <a:pt x="1205" y="4248"/>
                  </a:moveTo>
                  <a:lnTo>
                    <a:pt x="1210" y="4248"/>
                  </a:lnTo>
                  <a:lnTo>
                    <a:pt x="1205" y="4248"/>
                  </a:lnTo>
                  <a:lnTo>
                    <a:pt x="1205" y="4248"/>
                  </a:lnTo>
                  <a:lnTo>
                    <a:pt x="1205" y="4248"/>
                  </a:lnTo>
                  <a:close/>
                  <a:moveTo>
                    <a:pt x="1222" y="4259"/>
                  </a:moveTo>
                  <a:lnTo>
                    <a:pt x="1243" y="4276"/>
                  </a:lnTo>
                  <a:lnTo>
                    <a:pt x="1226" y="4264"/>
                  </a:lnTo>
                  <a:lnTo>
                    <a:pt x="1222" y="4259"/>
                  </a:lnTo>
                  <a:lnTo>
                    <a:pt x="1222" y="4259"/>
                  </a:lnTo>
                  <a:lnTo>
                    <a:pt x="1222" y="4259"/>
                  </a:lnTo>
                  <a:close/>
                  <a:moveTo>
                    <a:pt x="1226" y="4276"/>
                  </a:moveTo>
                  <a:lnTo>
                    <a:pt x="1231" y="4292"/>
                  </a:lnTo>
                  <a:lnTo>
                    <a:pt x="1226" y="4292"/>
                  </a:lnTo>
                  <a:lnTo>
                    <a:pt x="1226" y="4276"/>
                  </a:lnTo>
                  <a:lnTo>
                    <a:pt x="1226" y="4276"/>
                  </a:lnTo>
                  <a:lnTo>
                    <a:pt x="1226" y="4276"/>
                  </a:lnTo>
                  <a:close/>
                  <a:moveTo>
                    <a:pt x="6133" y="4337"/>
                  </a:moveTo>
                  <a:lnTo>
                    <a:pt x="6133" y="4349"/>
                  </a:lnTo>
                  <a:lnTo>
                    <a:pt x="6121" y="4354"/>
                  </a:lnTo>
                  <a:lnTo>
                    <a:pt x="6111" y="4337"/>
                  </a:lnTo>
                  <a:lnTo>
                    <a:pt x="6133" y="4337"/>
                  </a:lnTo>
                  <a:lnTo>
                    <a:pt x="6133" y="4337"/>
                  </a:lnTo>
                  <a:lnTo>
                    <a:pt x="6133" y="4337"/>
                  </a:lnTo>
                  <a:close/>
                  <a:moveTo>
                    <a:pt x="5365" y="4354"/>
                  </a:moveTo>
                  <a:lnTo>
                    <a:pt x="5365" y="4359"/>
                  </a:lnTo>
                  <a:lnTo>
                    <a:pt x="5360" y="4359"/>
                  </a:lnTo>
                  <a:lnTo>
                    <a:pt x="5365" y="4354"/>
                  </a:lnTo>
                  <a:lnTo>
                    <a:pt x="5365" y="4354"/>
                  </a:lnTo>
                  <a:lnTo>
                    <a:pt x="5365" y="4354"/>
                  </a:lnTo>
                  <a:close/>
                  <a:moveTo>
                    <a:pt x="5365" y="4359"/>
                  </a:moveTo>
                  <a:lnTo>
                    <a:pt x="5360" y="4375"/>
                  </a:lnTo>
                  <a:lnTo>
                    <a:pt x="5355" y="4375"/>
                  </a:lnTo>
                  <a:lnTo>
                    <a:pt x="5355" y="4370"/>
                  </a:lnTo>
                  <a:lnTo>
                    <a:pt x="5365" y="4359"/>
                  </a:lnTo>
                  <a:lnTo>
                    <a:pt x="5365" y="4359"/>
                  </a:lnTo>
                  <a:lnTo>
                    <a:pt x="5365" y="4359"/>
                  </a:lnTo>
                  <a:close/>
                  <a:moveTo>
                    <a:pt x="5970" y="4387"/>
                  </a:moveTo>
                  <a:lnTo>
                    <a:pt x="5970" y="4392"/>
                  </a:lnTo>
                  <a:lnTo>
                    <a:pt x="5953" y="4387"/>
                  </a:lnTo>
                  <a:lnTo>
                    <a:pt x="5970" y="4387"/>
                  </a:lnTo>
                  <a:lnTo>
                    <a:pt x="5970" y="4387"/>
                  </a:lnTo>
                  <a:lnTo>
                    <a:pt x="5970" y="4387"/>
                  </a:lnTo>
                  <a:close/>
                  <a:moveTo>
                    <a:pt x="6095" y="4392"/>
                  </a:moveTo>
                  <a:lnTo>
                    <a:pt x="6083" y="4408"/>
                  </a:lnTo>
                  <a:lnTo>
                    <a:pt x="6078" y="4408"/>
                  </a:lnTo>
                  <a:lnTo>
                    <a:pt x="6095" y="4392"/>
                  </a:lnTo>
                  <a:lnTo>
                    <a:pt x="6095" y="4392"/>
                  </a:lnTo>
                  <a:lnTo>
                    <a:pt x="6095" y="4392"/>
                  </a:lnTo>
                  <a:close/>
                  <a:moveTo>
                    <a:pt x="5582" y="4392"/>
                  </a:moveTo>
                  <a:lnTo>
                    <a:pt x="5570" y="4403"/>
                  </a:lnTo>
                  <a:lnTo>
                    <a:pt x="5544" y="4425"/>
                  </a:lnTo>
                  <a:lnTo>
                    <a:pt x="5554" y="4425"/>
                  </a:lnTo>
                  <a:lnTo>
                    <a:pt x="5537" y="4425"/>
                  </a:lnTo>
                  <a:lnTo>
                    <a:pt x="5544" y="4408"/>
                  </a:lnTo>
                  <a:lnTo>
                    <a:pt x="5582" y="4392"/>
                  </a:lnTo>
                  <a:lnTo>
                    <a:pt x="5582" y="4392"/>
                  </a:lnTo>
                  <a:lnTo>
                    <a:pt x="5582" y="4392"/>
                  </a:lnTo>
                  <a:close/>
                  <a:moveTo>
                    <a:pt x="5523" y="4503"/>
                  </a:moveTo>
                  <a:lnTo>
                    <a:pt x="5500" y="4519"/>
                  </a:lnTo>
                  <a:lnTo>
                    <a:pt x="5507" y="4526"/>
                  </a:lnTo>
                  <a:lnTo>
                    <a:pt x="5507" y="4536"/>
                  </a:lnTo>
                  <a:lnTo>
                    <a:pt x="5485" y="4543"/>
                  </a:lnTo>
                  <a:lnTo>
                    <a:pt x="5474" y="4526"/>
                  </a:lnTo>
                  <a:lnTo>
                    <a:pt x="5462" y="4519"/>
                  </a:lnTo>
                  <a:lnTo>
                    <a:pt x="5474" y="4514"/>
                  </a:lnTo>
                  <a:lnTo>
                    <a:pt x="5452" y="4526"/>
                  </a:lnTo>
                  <a:lnTo>
                    <a:pt x="5419" y="4519"/>
                  </a:lnTo>
                  <a:lnTo>
                    <a:pt x="5415" y="4514"/>
                  </a:lnTo>
                  <a:lnTo>
                    <a:pt x="5415" y="4503"/>
                  </a:lnTo>
                  <a:lnTo>
                    <a:pt x="5393" y="4503"/>
                  </a:lnTo>
                  <a:lnTo>
                    <a:pt x="5393" y="4481"/>
                  </a:lnTo>
                  <a:lnTo>
                    <a:pt x="5377" y="4481"/>
                  </a:lnTo>
                  <a:lnTo>
                    <a:pt x="5365" y="4470"/>
                  </a:lnTo>
                  <a:lnTo>
                    <a:pt x="5398" y="4441"/>
                  </a:lnTo>
                  <a:lnTo>
                    <a:pt x="5398" y="4460"/>
                  </a:lnTo>
                  <a:lnTo>
                    <a:pt x="5393" y="4465"/>
                  </a:lnTo>
                  <a:lnTo>
                    <a:pt x="5415" y="4481"/>
                  </a:lnTo>
                  <a:lnTo>
                    <a:pt x="5415" y="4498"/>
                  </a:lnTo>
                  <a:lnTo>
                    <a:pt x="5419" y="4498"/>
                  </a:lnTo>
                  <a:lnTo>
                    <a:pt x="5419" y="4486"/>
                  </a:lnTo>
                  <a:lnTo>
                    <a:pt x="5452" y="4503"/>
                  </a:lnTo>
                  <a:lnTo>
                    <a:pt x="5544" y="4498"/>
                  </a:lnTo>
                  <a:lnTo>
                    <a:pt x="5523" y="4503"/>
                  </a:lnTo>
                  <a:lnTo>
                    <a:pt x="5523" y="4503"/>
                  </a:lnTo>
                  <a:lnTo>
                    <a:pt x="5523" y="4503"/>
                  </a:lnTo>
                  <a:close/>
                  <a:moveTo>
                    <a:pt x="5608" y="4552"/>
                  </a:moveTo>
                  <a:lnTo>
                    <a:pt x="5599" y="4569"/>
                  </a:lnTo>
                  <a:lnTo>
                    <a:pt x="5625" y="4569"/>
                  </a:lnTo>
                  <a:lnTo>
                    <a:pt x="5646" y="4543"/>
                  </a:lnTo>
                  <a:lnTo>
                    <a:pt x="5651" y="4536"/>
                  </a:lnTo>
                  <a:lnTo>
                    <a:pt x="5629" y="4552"/>
                  </a:lnTo>
                  <a:lnTo>
                    <a:pt x="5625" y="4543"/>
                  </a:lnTo>
                  <a:lnTo>
                    <a:pt x="5663" y="4519"/>
                  </a:lnTo>
                  <a:lnTo>
                    <a:pt x="5637" y="4536"/>
                  </a:lnTo>
                  <a:lnTo>
                    <a:pt x="5663" y="4514"/>
                  </a:lnTo>
                  <a:lnTo>
                    <a:pt x="5689" y="4519"/>
                  </a:lnTo>
                  <a:lnTo>
                    <a:pt x="5689" y="4526"/>
                  </a:lnTo>
                  <a:lnTo>
                    <a:pt x="5689" y="4543"/>
                  </a:lnTo>
                  <a:lnTo>
                    <a:pt x="5667" y="4552"/>
                  </a:lnTo>
                  <a:lnTo>
                    <a:pt x="5663" y="4569"/>
                  </a:lnTo>
                  <a:lnTo>
                    <a:pt x="5646" y="4576"/>
                  </a:lnTo>
                  <a:lnTo>
                    <a:pt x="5599" y="4576"/>
                  </a:lnTo>
                  <a:lnTo>
                    <a:pt x="5582" y="4576"/>
                  </a:lnTo>
                  <a:lnTo>
                    <a:pt x="5575" y="4569"/>
                  </a:lnTo>
                  <a:lnTo>
                    <a:pt x="5575" y="4536"/>
                  </a:lnTo>
                  <a:lnTo>
                    <a:pt x="5575" y="4526"/>
                  </a:lnTo>
                  <a:lnTo>
                    <a:pt x="5592" y="4519"/>
                  </a:lnTo>
                  <a:lnTo>
                    <a:pt x="5637" y="4448"/>
                  </a:lnTo>
                  <a:lnTo>
                    <a:pt x="5646" y="4448"/>
                  </a:lnTo>
                  <a:lnTo>
                    <a:pt x="5646" y="4460"/>
                  </a:lnTo>
                  <a:lnTo>
                    <a:pt x="5663" y="4465"/>
                  </a:lnTo>
                  <a:lnTo>
                    <a:pt x="5637" y="4519"/>
                  </a:lnTo>
                  <a:lnTo>
                    <a:pt x="5651" y="4514"/>
                  </a:lnTo>
                  <a:lnTo>
                    <a:pt x="5637" y="4526"/>
                  </a:lnTo>
                  <a:lnTo>
                    <a:pt x="5599" y="4543"/>
                  </a:lnTo>
                  <a:lnTo>
                    <a:pt x="5629" y="4536"/>
                  </a:lnTo>
                  <a:lnTo>
                    <a:pt x="5625" y="4543"/>
                  </a:lnTo>
                  <a:lnTo>
                    <a:pt x="5608" y="4552"/>
                  </a:lnTo>
                  <a:lnTo>
                    <a:pt x="5613" y="4552"/>
                  </a:lnTo>
                  <a:lnTo>
                    <a:pt x="5608" y="4552"/>
                  </a:lnTo>
                  <a:lnTo>
                    <a:pt x="5608" y="4552"/>
                  </a:lnTo>
                  <a:lnTo>
                    <a:pt x="5608" y="4552"/>
                  </a:lnTo>
                  <a:close/>
                  <a:moveTo>
                    <a:pt x="5613" y="4576"/>
                  </a:moveTo>
                  <a:lnTo>
                    <a:pt x="5608" y="4581"/>
                  </a:lnTo>
                  <a:lnTo>
                    <a:pt x="5599" y="4581"/>
                  </a:lnTo>
                  <a:lnTo>
                    <a:pt x="5613" y="4576"/>
                  </a:lnTo>
                  <a:lnTo>
                    <a:pt x="5613" y="4576"/>
                  </a:lnTo>
                  <a:lnTo>
                    <a:pt x="5613" y="4576"/>
                  </a:lnTo>
                  <a:close/>
                  <a:moveTo>
                    <a:pt x="5204" y="4647"/>
                  </a:moveTo>
                  <a:lnTo>
                    <a:pt x="5204" y="4654"/>
                  </a:lnTo>
                  <a:lnTo>
                    <a:pt x="5200" y="4663"/>
                  </a:lnTo>
                  <a:lnTo>
                    <a:pt x="5204" y="4647"/>
                  </a:lnTo>
                  <a:lnTo>
                    <a:pt x="5204" y="4647"/>
                  </a:lnTo>
                  <a:lnTo>
                    <a:pt x="5204" y="4647"/>
                  </a:lnTo>
                  <a:close/>
                  <a:moveTo>
                    <a:pt x="5679" y="4720"/>
                  </a:moveTo>
                  <a:lnTo>
                    <a:pt x="5700" y="4720"/>
                  </a:lnTo>
                  <a:lnTo>
                    <a:pt x="5689" y="4725"/>
                  </a:lnTo>
                  <a:lnTo>
                    <a:pt x="5679" y="4720"/>
                  </a:lnTo>
                  <a:lnTo>
                    <a:pt x="5679" y="4720"/>
                  </a:lnTo>
                  <a:lnTo>
                    <a:pt x="5679" y="472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0" name="Freeform 409">
              <a:extLst>
                <a:ext uri="{FF2B5EF4-FFF2-40B4-BE49-F238E27FC236}">
                  <a16:creationId xmlns:a16="http://schemas.microsoft.com/office/drawing/2014/main" id="{D610723F-76EE-444A-81CD-CE11DDD9C9AD}"/>
                </a:ext>
              </a:extLst>
            </p:cNvPr>
            <p:cNvSpPr>
              <a:spLocks noEditPoints="1"/>
            </p:cNvSpPr>
            <p:nvPr/>
          </p:nvSpPr>
          <p:spPr bwMode="gray">
            <a:xfrm>
              <a:off x="16093173" y="3766490"/>
              <a:ext cx="119791" cy="102117"/>
            </a:xfrm>
            <a:custGeom>
              <a:avLst/>
              <a:gdLst>
                <a:gd name="T0" fmla="*/ 28 w 366"/>
                <a:gd name="T1" fmla="*/ 187 h 312"/>
                <a:gd name="T2" fmla="*/ 12 w 366"/>
                <a:gd name="T3" fmla="*/ 147 h 312"/>
                <a:gd name="T4" fmla="*/ 0 w 366"/>
                <a:gd name="T5" fmla="*/ 97 h 312"/>
                <a:gd name="T6" fmla="*/ 21 w 366"/>
                <a:gd name="T7" fmla="*/ 76 h 312"/>
                <a:gd name="T8" fmla="*/ 28 w 366"/>
                <a:gd name="T9" fmla="*/ 66 h 312"/>
                <a:gd name="T10" fmla="*/ 59 w 366"/>
                <a:gd name="T11" fmla="*/ 22 h 312"/>
                <a:gd name="T12" fmla="*/ 114 w 366"/>
                <a:gd name="T13" fmla="*/ 22 h 312"/>
                <a:gd name="T14" fmla="*/ 189 w 366"/>
                <a:gd name="T15" fmla="*/ 22 h 312"/>
                <a:gd name="T16" fmla="*/ 199 w 366"/>
                <a:gd name="T17" fmla="*/ 22 h 312"/>
                <a:gd name="T18" fmla="*/ 227 w 366"/>
                <a:gd name="T19" fmla="*/ 38 h 312"/>
                <a:gd name="T20" fmla="*/ 258 w 366"/>
                <a:gd name="T21" fmla="*/ 55 h 312"/>
                <a:gd name="T22" fmla="*/ 258 w 366"/>
                <a:gd name="T23" fmla="*/ 22 h 312"/>
                <a:gd name="T24" fmla="*/ 274 w 366"/>
                <a:gd name="T25" fmla="*/ 10 h 312"/>
                <a:gd name="T26" fmla="*/ 295 w 366"/>
                <a:gd name="T27" fmla="*/ 5 h 312"/>
                <a:gd name="T28" fmla="*/ 366 w 366"/>
                <a:gd name="T29" fmla="*/ 0 h 312"/>
                <a:gd name="T30" fmla="*/ 359 w 366"/>
                <a:gd name="T31" fmla="*/ 55 h 312"/>
                <a:gd name="T32" fmla="*/ 366 w 366"/>
                <a:gd name="T33" fmla="*/ 81 h 312"/>
                <a:gd name="T34" fmla="*/ 366 w 366"/>
                <a:gd name="T35" fmla="*/ 147 h 312"/>
                <a:gd name="T36" fmla="*/ 359 w 366"/>
                <a:gd name="T37" fmla="*/ 175 h 312"/>
                <a:gd name="T38" fmla="*/ 333 w 366"/>
                <a:gd name="T39" fmla="*/ 170 h 312"/>
                <a:gd name="T40" fmla="*/ 279 w 366"/>
                <a:gd name="T41" fmla="*/ 192 h 312"/>
                <a:gd name="T42" fmla="*/ 258 w 366"/>
                <a:gd name="T43" fmla="*/ 208 h 312"/>
                <a:gd name="T44" fmla="*/ 241 w 366"/>
                <a:gd name="T45" fmla="*/ 225 h 312"/>
                <a:gd name="T46" fmla="*/ 269 w 366"/>
                <a:gd name="T47" fmla="*/ 263 h 312"/>
                <a:gd name="T48" fmla="*/ 241 w 366"/>
                <a:gd name="T49" fmla="*/ 263 h 312"/>
                <a:gd name="T50" fmla="*/ 215 w 366"/>
                <a:gd name="T51" fmla="*/ 274 h 312"/>
                <a:gd name="T52" fmla="*/ 189 w 366"/>
                <a:gd name="T53" fmla="*/ 274 h 312"/>
                <a:gd name="T54" fmla="*/ 182 w 366"/>
                <a:gd name="T55" fmla="*/ 296 h 312"/>
                <a:gd name="T56" fmla="*/ 151 w 366"/>
                <a:gd name="T57" fmla="*/ 312 h 312"/>
                <a:gd name="T58" fmla="*/ 114 w 366"/>
                <a:gd name="T59" fmla="*/ 296 h 312"/>
                <a:gd name="T60" fmla="*/ 80 w 366"/>
                <a:gd name="T61" fmla="*/ 296 h 312"/>
                <a:gd name="T62" fmla="*/ 97 w 366"/>
                <a:gd name="T63" fmla="*/ 274 h 312"/>
                <a:gd name="T64" fmla="*/ 76 w 366"/>
                <a:gd name="T65" fmla="*/ 274 h 312"/>
                <a:gd name="T66" fmla="*/ 54 w 366"/>
                <a:gd name="T67" fmla="*/ 241 h 312"/>
                <a:gd name="T68" fmla="*/ 43 w 366"/>
                <a:gd name="T69" fmla="*/ 220 h 312"/>
                <a:gd name="T70" fmla="*/ 43 w 366"/>
                <a:gd name="T71" fmla="*/ 220 h 312"/>
                <a:gd name="T72" fmla="*/ 43 w 366"/>
                <a:gd name="T73" fmla="*/ 225 h 312"/>
                <a:gd name="T74" fmla="*/ 43 w 366"/>
                <a:gd name="T75" fmla="*/ 220 h 312"/>
                <a:gd name="T76" fmla="*/ 66 w 366"/>
                <a:gd name="T77" fmla="*/ 286 h 312"/>
                <a:gd name="T78" fmla="*/ 66 w 366"/>
                <a:gd name="T79" fmla="*/ 286 h 312"/>
                <a:gd name="T80" fmla="*/ 66 w 366"/>
                <a:gd name="T81" fmla="*/ 286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6" h="312">
                  <a:moveTo>
                    <a:pt x="43" y="220"/>
                  </a:moveTo>
                  <a:lnTo>
                    <a:pt x="28" y="187"/>
                  </a:lnTo>
                  <a:lnTo>
                    <a:pt x="28" y="163"/>
                  </a:lnTo>
                  <a:lnTo>
                    <a:pt x="12" y="147"/>
                  </a:lnTo>
                  <a:lnTo>
                    <a:pt x="12" y="121"/>
                  </a:lnTo>
                  <a:lnTo>
                    <a:pt x="0" y="97"/>
                  </a:lnTo>
                  <a:lnTo>
                    <a:pt x="7" y="76"/>
                  </a:lnTo>
                  <a:lnTo>
                    <a:pt x="21" y="76"/>
                  </a:lnTo>
                  <a:lnTo>
                    <a:pt x="12" y="66"/>
                  </a:lnTo>
                  <a:lnTo>
                    <a:pt x="28" y="66"/>
                  </a:lnTo>
                  <a:lnTo>
                    <a:pt x="43" y="38"/>
                  </a:lnTo>
                  <a:lnTo>
                    <a:pt x="59" y="22"/>
                  </a:lnTo>
                  <a:lnTo>
                    <a:pt x="92" y="10"/>
                  </a:lnTo>
                  <a:lnTo>
                    <a:pt x="114" y="22"/>
                  </a:lnTo>
                  <a:lnTo>
                    <a:pt x="173" y="10"/>
                  </a:lnTo>
                  <a:lnTo>
                    <a:pt x="189" y="22"/>
                  </a:lnTo>
                  <a:lnTo>
                    <a:pt x="189" y="38"/>
                  </a:lnTo>
                  <a:lnTo>
                    <a:pt x="199" y="22"/>
                  </a:lnTo>
                  <a:lnTo>
                    <a:pt x="215" y="43"/>
                  </a:lnTo>
                  <a:lnTo>
                    <a:pt x="227" y="38"/>
                  </a:lnTo>
                  <a:lnTo>
                    <a:pt x="253" y="55"/>
                  </a:lnTo>
                  <a:lnTo>
                    <a:pt x="258" y="55"/>
                  </a:lnTo>
                  <a:lnTo>
                    <a:pt x="269" y="43"/>
                  </a:lnTo>
                  <a:lnTo>
                    <a:pt x="258" y="22"/>
                  </a:lnTo>
                  <a:lnTo>
                    <a:pt x="274" y="22"/>
                  </a:lnTo>
                  <a:lnTo>
                    <a:pt x="274" y="10"/>
                  </a:lnTo>
                  <a:lnTo>
                    <a:pt x="279" y="10"/>
                  </a:lnTo>
                  <a:lnTo>
                    <a:pt x="295" y="5"/>
                  </a:lnTo>
                  <a:lnTo>
                    <a:pt x="312" y="26"/>
                  </a:lnTo>
                  <a:lnTo>
                    <a:pt x="366" y="0"/>
                  </a:lnTo>
                  <a:lnTo>
                    <a:pt x="350" y="38"/>
                  </a:lnTo>
                  <a:lnTo>
                    <a:pt x="359" y="55"/>
                  </a:lnTo>
                  <a:lnTo>
                    <a:pt x="359" y="59"/>
                  </a:lnTo>
                  <a:lnTo>
                    <a:pt x="366" y="81"/>
                  </a:lnTo>
                  <a:lnTo>
                    <a:pt x="359" y="121"/>
                  </a:lnTo>
                  <a:lnTo>
                    <a:pt x="366" y="147"/>
                  </a:lnTo>
                  <a:lnTo>
                    <a:pt x="366" y="170"/>
                  </a:lnTo>
                  <a:lnTo>
                    <a:pt x="359" y="175"/>
                  </a:lnTo>
                  <a:lnTo>
                    <a:pt x="350" y="170"/>
                  </a:lnTo>
                  <a:lnTo>
                    <a:pt x="333" y="170"/>
                  </a:lnTo>
                  <a:lnTo>
                    <a:pt x="307" y="192"/>
                  </a:lnTo>
                  <a:lnTo>
                    <a:pt x="279" y="192"/>
                  </a:lnTo>
                  <a:lnTo>
                    <a:pt x="291" y="220"/>
                  </a:lnTo>
                  <a:lnTo>
                    <a:pt x="258" y="208"/>
                  </a:lnTo>
                  <a:lnTo>
                    <a:pt x="253" y="220"/>
                  </a:lnTo>
                  <a:lnTo>
                    <a:pt x="241" y="225"/>
                  </a:lnTo>
                  <a:lnTo>
                    <a:pt x="241" y="246"/>
                  </a:lnTo>
                  <a:lnTo>
                    <a:pt x="269" y="263"/>
                  </a:lnTo>
                  <a:lnTo>
                    <a:pt x="269" y="279"/>
                  </a:lnTo>
                  <a:lnTo>
                    <a:pt x="241" y="263"/>
                  </a:lnTo>
                  <a:lnTo>
                    <a:pt x="220" y="274"/>
                  </a:lnTo>
                  <a:lnTo>
                    <a:pt x="215" y="274"/>
                  </a:lnTo>
                  <a:lnTo>
                    <a:pt x="199" y="274"/>
                  </a:lnTo>
                  <a:lnTo>
                    <a:pt x="189" y="274"/>
                  </a:lnTo>
                  <a:lnTo>
                    <a:pt x="189" y="286"/>
                  </a:lnTo>
                  <a:lnTo>
                    <a:pt x="182" y="296"/>
                  </a:lnTo>
                  <a:lnTo>
                    <a:pt x="161" y="303"/>
                  </a:lnTo>
                  <a:lnTo>
                    <a:pt x="151" y="312"/>
                  </a:lnTo>
                  <a:lnTo>
                    <a:pt x="135" y="296"/>
                  </a:lnTo>
                  <a:lnTo>
                    <a:pt x="114" y="296"/>
                  </a:lnTo>
                  <a:lnTo>
                    <a:pt x="92" y="303"/>
                  </a:lnTo>
                  <a:lnTo>
                    <a:pt x="80" y="296"/>
                  </a:lnTo>
                  <a:lnTo>
                    <a:pt x="97" y="286"/>
                  </a:lnTo>
                  <a:lnTo>
                    <a:pt x="97" y="274"/>
                  </a:lnTo>
                  <a:lnTo>
                    <a:pt x="80" y="258"/>
                  </a:lnTo>
                  <a:lnTo>
                    <a:pt x="76" y="274"/>
                  </a:lnTo>
                  <a:lnTo>
                    <a:pt x="59" y="274"/>
                  </a:lnTo>
                  <a:lnTo>
                    <a:pt x="54" y="241"/>
                  </a:lnTo>
                  <a:lnTo>
                    <a:pt x="43" y="225"/>
                  </a:lnTo>
                  <a:lnTo>
                    <a:pt x="43" y="220"/>
                  </a:lnTo>
                  <a:lnTo>
                    <a:pt x="54" y="220"/>
                  </a:lnTo>
                  <a:lnTo>
                    <a:pt x="43" y="220"/>
                  </a:lnTo>
                  <a:lnTo>
                    <a:pt x="38" y="208"/>
                  </a:lnTo>
                  <a:lnTo>
                    <a:pt x="43" y="225"/>
                  </a:lnTo>
                  <a:lnTo>
                    <a:pt x="43" y="220"/>
                  </a:lnTo>
                  <a:lnTo>
                    <a:pt x="43" y="220"/>
                  </a:lnTo>
                  <a:lnTo>
                    <a:pt x="43" y="220"/>
                  </a:lnTo>
                  <a:close/>
                  <a:moveTo>
                    <a:pt x="66" y="286"/>
                  </a:moveTo>
                  <a:lnTo>
                    <a:pt x="59" y="279"/>
                  </a:lnTo>
                  <a:lnTo>
                    <a:pt x="66" y="286"/>
                  </a:lnTo>
                  <a:lnTo>
                    <a:pt x="66" y="286"/>
                  </a:lnTo>
                  <a:lnTo>
                    <a:pt x="66" y="286"/>
                  </a:lnTo>
                  <a:lnTo>
                    <a:pt x="66" y="28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1" name="Freeform 410">
              <a:extLst>
                <a:ext uri="{FF2B5EF4-FFF2-40B4-BE49-F238E27FC236}">
                  <a16:creationId xmlns:a16="http://schemas.microsoft.com/office/drawing/2014/main" id="{8A0D9A3F-A35E-4697-9A6A-34B63A2A2F9D}"/>
                </a:ext>
              </a:extLst>
            </p:cNvPr>
            <p:cNvSpPr>
              <a:spLocks/>
            </p:cNvSpPr>
            <p:nvPr/>
          </p:nvSpPr>
          <p:spPr bwMode="gray">
            <a:xfrm>
              <a:off x="14052806" y="3551783"/>
              <a:ext cx="241218" cy="384246"/>
            </a:xfrm>
            <a:custGeom>
              <a:avLst/>
              <a:gdLst>
                <a:gd name="T0" fmla="*/ 17 w 737"/>
                <a:gd name="T1" fmla="*/ 720 h 1174"/>
                <a:gd name="T2" fmla="*/ 17 w 737"/>
                <a:gd name="T3" fmla="*/ 659 h 1174"/>
                <a:gd name="T4" fmla="*/ 69 w 737"/>
                <a:gd name="T5" fmla="*/ 569 h 1174"/>
                <a:gd name="T6" fmla="*/ 161 w 737"/>
                <a:gd name="T7" fmla="*/ 264 h 1174"/>
                <a:gd name="T8" fmla="*/ 156 w 737"/>
                <a:gd name="T9" fmla="*/ 198 h 1174"/>
                <a:gd name="T10" fmla="*/ 123 w 737"/>
                <a:gd name="T11" fmla="*/ 144 h 1174"/>
                <a:gd name="T12" fmla="*/ 107 w 737"/>
                <a:gd name="T13" fmla="*/ 33 h 1174"/>
                <a:gd name="T14" fmla="*/ 452 w 737"/>
                <a:gd name="T15" fmla="*/ 137 h 1174"/>
                <a:gd name="T16" fmla="*/ 737 w 737"/>
                <a:gd name="T17" fmla="*/ 581 h 1174"/>
                <a:gd name="T18" fmla="*/ 666 w 737"/>
                <a:gd name="T19" fmla="*/ 588 h 1174"/>
                <a:gd name="T20" fmla="*/ 666 w 737"/>
                <a:gd name="T21" fmla="*/ 621 h 1174"/>
                <a:gd name="T22" fmla="*/ 645 w 737"/>
                <a:gd name="T23" fmla="*/ 654 h 1174"/>
                <a:gd name="T24" fmla="*/ 641 w 737"/>
                <a:gd name="T25" fmla="*/ 692 h 1174"/>
                <a:gd name="T26" fmla="*/ 607 w 737"/>
                <a:gd name="T27" fmla="*/ 720 h 1174"/>
                <a:gd name="T28" fmla="*/ 603 w 737"/>
                <a:gd name="T29" fmla="*/ 770 h 1174"/>
                <a:gd name="T30" fmla="*/ 603 w 737"/>
                <a:gd name="T31" fmla="*/ 803 h 1174"/>
                <a:gd name="T32" fmla="*/ 615 w 737"/>
                <a:gd name="T33" fmla="*/ 791 h 1174"/>
                <a:gd name="T34" fmla="*/ 631 w 737"/>
                <a:gd name="T35" fmla="*/ 819 h 1174"/>
                <a:gd name="T36" fmla="*/ 641 w 737"/>
                <a:gd name="T37" fmla="*/ 881 h 1174"/>
                <a:gd name="T38" fmla="*/ 662 w 737"/>
                <a:gd name="T39" fmla="*/ 885 h 1174"/>
                <a:gd name="T40" fmla="*/ 662 w 737"/>
                <a:gd name="T41" fmla="*/ 930 h 1174"/>
                <a:gd name="T42" fmla="*/ 577 w 737"/>
                <a:gd name="T43" fmla="*/ 952 h 1174"/>
                <a:gd name="T44" fmla="*/ 570 w 737"/>
                <a:gd name="T45" fmla="*/ 987 h 1174"/>
                <a:gd name="T46" fmla="*/ 548 w 737"/>
                <a:gd name="T47" fmla="*/ 996 h 1174"/>
                <a:gd name="T48" fmla="*/ 494 w 737"/>
                <a:gd name="T49" fmla="*/ 1046 h 1174"/>
                <a:gd name="T50" fmla="*/ 463 w 737"/>
                <a:gd name="T51" fmla="*/ 1053 h 1174"/>
                <a:gd name="T52" fmla="*/ 392 w 737"/>
                <a:gd name="T53" fmla="*/ 1070 h 1174"/>
                <a:gd name="T54" fmla="*/ 397 w 737"/>
                <a:gd name="T55" fmla="*/ 1098 h 1174"/>
                <a:gd name="T56" fmla="*/ 291 w 737"/>
                <a:gd name="T57" fmla="*/ 1141 h 1174"/>
                <a:gd name="T58" fmla="*/ 220 w 737"/>
                <a:gd name="T59" fmla="*/ 1157 h 1174"/>
                <a:gd name="T60" fmla="*/ 211 w 737"/>
                <a:gd name="T61" fmla="*/ 1164 h 1174"/>
                <a:gd name="T62" fmla="*/ 144 w 737"/>
                <a:gd name="T63" fmla="*/ 1174 h 1174"/>
                <a:gd name="T64" fmla="*/ 144 w 737"/>
                <a:gd name="T65" fmla="*/ 1152 h 1174"/>
                <a:gd name="T66" fmla="*/ 59 w 737"/>
                <a:gd name="T67" fmla="*/ 1053 h 1174"/>
                <a:gd name="T68" fmla="*/ 52 w 737"/>
                <a:gd name="T69" fmla="*/ 996 h 1174"/>
                <a:gd name="T70" fmla="*/ 161 w 737"/>
                <a:gd name="T71" fmla="*/ 996 h 1174"/>
                <a:gd name="T72" fmla="*/ 114 w 737"/>
                <a:gd name="T73" fmla="*/ 935 h 1174"/>
                <a:gd name="T74" fmla="*/ 114 w 737"/>
                <a:gd name="T75" fmla="*/ 885 h 1174"/>
                <a:gd name="T76" fmla="*/ 102 w 737"/>
                <a:gd name="T77" fmla="*/ 843 h 1174"/>
                <a:gd name="T78" fmla="*/ 76 w 737"/>
                <a:gd name="T79" fmla="*/ 791 h 1174"/>
                <a:gd name="T80" fmla="*/ 48 w 737"/>
                <a:gd name="T81" fmla="*/ 770 h 1174"/>
                <a:gd name="T82" fmla="*/ 48 w 737"/>
                <a:gd name="T83" fmla="*/ 770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7" h="1174">
                  <a:moveTo>
                    <a:pt x="48" y="770"/>
                  </a:moveTo>
                  <a:lnTo>
                    <a:pt x="17" y="720"/>
                  </a:lnTo>
                  <a:lnTo>
                    <a:pt x="0" y="663"/>
                  </a:lnTo>
                  <a:lnTo>
                    <a:pt x="17" y="659"/>
                  </a:lnTo>
                  <a:lnTo>
                    <a:pt x="31" y="626"/>
                  </a:lnTo>
                  <a:lnTo>
                    <a:pt x="69" y="569"/>
                  </a:lnTo>
                  <a:lnTo>
                    <a:pt x="144" y="486"/>
                  </a:lnTo>
                  <a:lnTo>
                    <a:pt x="161" y="264"/>
                  </a:lnTo>
                  <a:lnTo>
                    <a:pt x="178" y="231"/>
                  </a:lnTo>
                  <a:lnTo>
                    <a:pt x="156" y="198"/>
                  </a:lnTo>
                  <a:lnTo>
                    <a:pt x="156" y="182"/>
                  </a:lnTo>
                  <a:lnTo>
                    <a:pt x="123" y="144"/>
                  </a:lnTo>
                  <a:lnTo>
                    <a:pt x="123" y="104"/>
                  </a:lnTo>
                  <a:lnTo>
                    <a:pt x="107" y="33"/>
                  </a:lnTo>
                  <a:lnTo>
                    <a:pt x="178" y="0"/>
                  </a:lnTo>
                  <a:lnTo>
                    <a:pt x="452" y="137"/>
                  </a:lnTo>
                  <a:lnTo>
                    <a:pt x="737" y="293"/>
                  </a:lnTo>
                  <a:lnTo>
                    <a:pt x="737" y="581"/>
                  </a:lnTo>
                  <a:lnTo>
                    <a:pt x="678" y="581"/>
                  </a:lnTo>
                  <a:lnTo>
                    <a:pt x="666" y="588"/>
                  </a:lnTo>
                  <a:lnTo>
                    <a:pt x="666" y="604"/>
                  </a:lnTo>
                  <a:lnTo>
                    <a:pt x="666" y="621"/>
                  </a:lnTo>
                  <a:lnTo>
                    <a:pt x="645" y="642"/>
                  </a:lnTo>
                  <a:lnTo>
                    <a:pt x="645" y="654"/>
                  </a:lnTo>
                  <a:lnTo>
                    <a:pt x="631" y="659"/>
                  </a:lnTo>
                  <a:lnTo>
                    <a:pt x="641" y="692"/>
                  </a:lnTo>
                  <a:lnTo>
                    <a:pt x="615" y="708"/>
                  </a:lnTo>
                  <a:lnTo>
                    <a:pt x="607" y="720"/>
                  </a:lnTo>
                  <a:lnTo>
                    <a:pt x="624" y="748"/>
                  </a:lnTo>
                  <a:lnTo>
                    <a:pt x="603" y="770"/>
                  </a:lnTo>
                  <a:lnTo>
                    <a:pt x="586" y="791"/>
                  </a:lnTo>
                  <a:lnTo>
                    <a:pt x="603" y="803"/>
                  </a:lnTo>
                  <a:lnTo>
                    <a:pt x="607" y="803"/>
                  </a:lnTo>
                  <a:lnTo>
                    <a:pt x="615" y="791"/>
                  </a:lnTo>
                  <a:lnTo>
                    <a:pt x="631" y="803"/>
                  </a:lnTo>
                  <a:lnTo>
                    <a:pt x="631" y="819"/>
                  </a:lnTo>
                  <a:lnTo>
                    <a:pt x="645" y="848"/>
                  </a:lnTo>
                  <a:lnTo>
                    <a:pt x="641" y="881"/>
                  </a:lnTo>
                  <a:lnTo>
                    <a:pt x="657" y="885"/>
                  </a:lnTo>
                  <a:lnTo>
                    <a:pt x="662" y="885"/>
                  </a:lnTo>
                  <a:lnTo>
                    <a:pt x="666" y="902"/>
                  </a:lnTo>
                  <a:lnTo>
                    <a:pt x="662" y="930"/>
                  </a:lnTo>
                  <a:lnTo>
                    <a:pt x="631" y="919"/>
                  </a:lnTo>
                  <a:lnTo>
                    <a:pt x="577" y="952"/>
                  </a:lnTo>
                  <a:lnTo>
                    <a:pt x="577" y="975"/>
                  </a:lnTo>
                  <a:lnTo>
                    <a:pt x="570" y="987"/>
                  </a:lnTo>
                  <a:lnTo>
                    <a:pt x="555" y="996"/>
                  </a:lnTo>
                  <a:lnTo>
                    <a:pt x="548" y="996"/>
                  </a:lnTo>
                  <a:lnTo>
                    <a:pt x="518" y="1041"/>
                  </a:lnTo>
                  <a:lnTo>
                    <a:pt x="494" y="1046"/>
                  </a:lnTo>
                  <a:lnTo>
                    <a:pt x="485" y="1063"/>
                  </a:lnTo>
                  <a:lnTo>
                    <a:pt x="463" y="1053"/>
                  </a:lnTo>
                  <a:lnTo>
                    <a:pt x="452" y="1063"/>
                  </a:lnTo>
                  <a:lnTo>
                    <a:pt x="392" y="1070"/>
                  </a:lnTo>
                  <a:lnTo>
                    <a:pt x="383" y="1079"/>
                  </a:lnTo>
                  <a:lnTo>
                    <a:pt x="397" y="1098"/>
                  </a:lnTo>
                  <a:lnTo>
                    <a:pt x="359" y="1136"/>
                  </a:lnTo>
                  <a:lnTo>
                    <a:pt x="291" y="1141"/>
                  </a:lnTo>
                  <a:lnTo>
                    <a:pt x="237" y="1174"/>
                  </a:lnTo>
                  <a:lnTo>
                    <a:pt x="220" y="1157"/>
                  </a:lnTo>
                  <a:lnTo>
                    <a:pt x="220" y="1152"/>
                  </a:lnTo>
                  <a:lnTo>
                    <a:pt x="211" y="1164"/>
                  </a:lnTo>
                  <a:lnTo>
                    <a:pt x="178" y="1174"/>
                  </a:lnTo>
                  <a:lnTo>
                    <a:pt x="144" y="1174"/>
                  </a:lnTo>
                  <a:lnTo>
                    <a:pt x="156" y="1157"/>
                  </a:lnTo>
                  <a:lnTo>
                    <a:pt x="144" y="1152"/>
                  </a:lnTo>
                  <a:lnTo>
                    <a:pt x="123" y="1103"/>
                  </a:lnTo>
                  <a:lnTo>
                    <a:pt x="59" y="1053"/>
                  </a:lnTo>
                  <a:lnTo>
                    <a:pt x="38" y="1025"/>
                  </a:lnTo>
                  <a:lnTo>
                    <a:pt x="52" y="996"/>
                  </a:lnTo>
                  <a:lnTo>
                    <a:pt x="90" y="996"/>
                  </a:lnTo>
                  <a:lnTo>
                    <a:pt x="161" y="996"/>
                  </a:lnTo>
                  <a:lnTo>
                    <a:pt x="140" y="975"/>
                  </a:lnTo>
                  <a:lnTo>
                    <a:pt x="114" y="935"/>
                  </a:lnTo>
                  <a:lnTo>
                    <a:pt x="114" y="902"/>
                  </a:lnTo>
                  <a:lnTo>
                    <a:pt x="114" y="885"/>
                  </a:lnTo>
                  <a:lnTo>
                    <a:pt x="114" y="843"/>
                  </a:lnTo>
                  <a:lnTo>
                    <a:pt x="102" y="843"/>
                  </a:lnTo>
                  <a:lnTo>
                    <a:pt x="102" y="803"/>
                  </a:lnTo>
                  <a:lnTo>
                    <a:pt x="76" y="791"/>
                  </a:lnTo>
                  <a:lnTo>
                    <a:pt x="69" y="770"/>
                  </a:lnTo>
                  <a:lnTo>
                    <a:pt x="48" y="770"/>
                  </a:lnTo>
                  <a:lnTo>
                    <a:pt x="48" y="770"/>
                  </a:lnTo>
                  <a:lnTo>
                    <a:pt x="48" y="77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2" name="Freeform 411">
              <a:extLst>
                <a:ext uri="{FF2B5EF4-FFF2-40B4-BE49-F238E27FC236}">
                  <a16:creationId xmlns:a16="http://schemas.microsoft.com/office/drawing/2014/main" id="{01D4CCAF-770A-4D80-9170-771B640AE6BB}"/>
                </a:ext>
              </a:extLst>
            </p:cNvPr>
            <p:cNvSpPr>
              <a:spLocks noEditPoints="1"/>
            </p:cNvSpPr>
            <p:nvPr/>
          </p:nvSpPr>
          <p:spPr bwMode="gray">
            <a:xfrm>
              <a:off x="15572117" y="3881698"/>
              <a:ext cx="51058" cy="91970"/>
            </a:xfrm>
            <a:custGeom>
              <a:avLst/>
              <a:gdLst>
                <a:gd name="T0" fmla="*/ 17 w 156"/>
                <a:gd name="T1" fmla="*/ 182 h 281"/>
                <a:gd name="T2" fmla="*/ 12 w 156"/>
                <a:gd name="T3" fmla="*/ 116 h 281"/>
                <a:gd name="T4" fmla="*/ 12 w 156"/>
                <a:gd name="T5" fmla="*/ 111 h 281"/>
                <a:gd name="T6" fmla="*/ 12 w 156"/>
                <a:gd name="T7" fmla="*/ 133 h 281"/>
                <a:gd name="T8" fmla="*/ 17 w 156"/>
                <a:gd name="T9" fmla="*/ 133 h 281"/>
                <a:gd name="T10" fmla="*/ 17 w 156"/>
                <a:gd name="T11" fmla="*/ 95 h 281"/>
                <a:gd name="T12" fmla="*/ 28 w 156"/>
                <a:gd name="T13" fmla="*/ 88 h 281"/>
                <a:gd name="T14" fmla="*/ 28 w 156"/>
                <a:gd name="T15" fmla="*/ 59 h 281"/>
                <a:gd name="T16" fmla="*/ 33 w 156"/>
                <a:gd name="T17" fmla="*/ 55 h 281"/>
                <a:gd name="T18" fmla="*/ 33 w 156"/>
                <a:gd name="T19" fmla="*/ 33 h 281"/>
                <a:gd name="T20" fmla="*/ 38 w 156"/>
                <a:gd name="T21" fmla="*/ 22 h 281"/>
                <a:gd name="T22" fmla="*/ 33 w 156"/>
                <a:gd name="T23" fmla="*/ 17 h 281"/>
                <a:gd name="T24" fmla="*/ 71 w 156"/>
                <a:gd name="T25" fmla="*/ 33 h 281"/>
                <a:gd name="T26" fmla="*/ 28 w 156"/>
                <a:gd name="T27" fmla="*/ 5 h 281"/>
                <a:gd name="T28" fmla="*/ 28 w 156"/>
                <a:gd name="T29" fmla="*/ 0 h 281"/>
                <a:gd name="T30" fmla="*/ 33 w 156"/>
                <a:gd name="T31" fmla="*/ 0 h 281"/>
                <a:gd name="T32" fmla="*/ 54 w 156"/>
                <a:gd name="T33" fmla="*/ 17 h 281"/>
                <a:gd name="T34" fmla="*/ 38 w 156"/>
                <a:gd name="T35" fmla="*/ 0 h 281"/>
                <a:gd name="T36" fmla="*/ 50 w 156"/>
                <a:gd name="T37" fmla="*/ 0 h 281"/>
                <a:gd name="T38" fmla="*/ 85 w 156"/>
                <a:gd name="T39" fmla="*/ 38 h 281"/>
                <a:gd name="T40" fmla="*/ 92 w 156"/>
                <a:gd name="T41" fmla="*/ 59 h 281"/>
                <a:gd name="T42" fmla="*/ 102 w 156"/>
                <a:gd name="T43" fmla="*/ 59 h 281"/>
                <a:gd name="T44" fmla="*/ 106 w 156"/>
                <a:gd name="T45" fmla="*/ 88 h 281"/>
                <a:gd name="T46" fmla="*/ 118 w 156"/>
                <a:gd name="T47" fmla="*/ 95 h 281"/>
                <a:gd name="T48" fmla="*/ 106 w 156"/>
                <a:gd name="T49" fmla="*/ 95 h 281"/>
                <a:gd name="T50" fmla="*/ 123 w 156"/>
                <a:gd name="T51" fmla="*/ 95 h 281"/>
                <a:gd name="T52" fmla="*/ 123 w 156"/>
                <a:gd name="T53" fmla="*/ 116 h 281"/>
                <a:gd name="T54" fmla="*/ 156 w 156"/>
                <a:gd name="T55" fmla="*/ 170 h 281"/>
                <a:gd name="T56" fmla="*/ 156 w 156"/>
                <a:gd name="T57" fmla="*/ 206 h 281"/>
                <a:gd name="T58" fmla="*/ 139 w 156"/>
                <a:gd name="T59" fmla="*/ 244 h 281"/>
                <a:gd name="T60" fmla="*/ 118 w 156"/>
                <a:gd name="T61" fmla="*/ 260 h 281"/>
                <a:gd name="T62" fmla="*/ 71 w 156"/>
                <a:gd name="T63" fmla="*/ 281 h 281"/>
                <a:gd name="T64" fmla="*/ 38 w 156"/>
                <a:gd name="T65" fmla="*/ 277 h 281"/>
                <a:gd name="T66" fmla="*/ 33 w 156"/>
                <a:gd name="T67" fmla="*/ 260 h 281"/>
                <a:gd name="T68" fmla="*/ 17 w 156"/>
                <a:gd name="T69" fmla="*/ 222 h 281"/>
                <a:gd name="T70" fmla="*/ 17 w 156"/>
                <a:gd name="T71" fmla="*/ 182 h 281"/>
                <a:gd name="T72" fmla="*/ 17 w 156"/>
                <a:gd name="T73" fmla="*/ 182 h 281"/>
                <a:gd name="T74" fmla="*/ 17 w 156"/>
                <a:gd name="T75" fmla="*/ 182 h 281"/>
                <a:gd name="T76" fmla="*/ 17 w 156"/>
                <a:gd name="T77" fmla="*/ 5 h 281"/>
                <a:gd name="T78" fmla="*/ 28 w 156"/>
                <a:gd name="T79" fmla="*/ 17 h 281"/>
                <a:gd name="T80" fmla="*/ 17 w 156"/>
                <a:gd name="T81" fmla="*/ 5 h 281"/>
                <a:gd name="T82" fmla="*/ 17 w 156"/>
                <a:gd name="T83" fmla="*/ 5 h 281"/>
                <a:gd name="T84" fmla="*/ 17 w 156"/>
                <a:gd name="T85" fmla="*/ 5 h 281"/>
                <a:gd name="T86" fmla="*/ 17 w 156"/>
                <a:gd name="T87" fmla="*/ 5 h 281"/>
                <a:gd name="T88" fmla="*/ 12 w 156"/>
                <a:gd name="T89" fmla="*/ 55 h 281"/>
                <a:gd name="T90" fmla="*/ 17 w 156"/>
                <a:gd name="T91" fmla="*/ 59 h 281"/>
                <a:gd name="T92" fmla="*/ 0 w 156"/>
                <a:gd name="T93" fmla="*/ 55 h 281"/>
                <a:gd name="T94" fmla="*/ 12 w 156"/>
                <a:gd name="T95" fmla="*/ 55 h 281"/>
                <a:gd name="T96" fmla="*/ 12 w 156"/>
                <a:gd name="T97" fmla="*/ 55 h 281"/>
                <a:gd name="T98" fmla="*/ 12 w 156"/>
                <a:gd name="T99" fmla="*/ 55 h 281"/>
                <a:gd name="T100" fmla="*/ 144 w 156"/>
                <a:gd name="T101" fmla="*/ 154 h 281"/>
                <a:gd name="T102" fmla="*/ 156 w 156"/>
                <a:gd name="T103" fmla="*/ 170 h 281"/>
                <a:gd name="T104" fmla="*/ 144 w 156"/>
                <a:gd name="T105" fmla="*/ 149 h 281"/>
                <a:gd name="T106" fmla="*/ 144 w 156"/>
                <a:gd name="T107" fmla="*/ 154 h 281"/>
                <a:gd name="T108" fmla="*/ 144 w 156"/>
                <a:gd name="T109" fmla="*/ 154 h 281"/>
                <a:gd name="T110" fmla="*/ 144 w 156"/>
                <a:gd name="T111" fmla="*/ 15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6" h="281">
                  <a:moveTo>
                    <a:pt x="17" y="182"/>
                  </a:moveTo>
                  <a:lnTo>
                    <a:pt x="12" y="116"/>
                  </a:lnTo>
                  <a:lnTo>
                    <a:pt x="12" y="111"/>
                  </a:lnTo>
                  <a:lnTo>
                    <a:pt x="12" y="133"/>
                  </a:lnTo>
                  <a:lnTo>
                    <a:pt x="17" y="133"/>
                  </a:lnTo>
                  <a:lnTo>
                    <a:pt x="17" y="95"/>
                  </a:lnTo>
                  <a:lnTo>
                    <a:pt x="28" y="88"/>
                  </a:lnTo>
                  <a:lnTo>
                    <a:pt x="28" y="59"/>
                  </a:lnTo>
                  <a:lnTo>
                    <a:pt x="33" y="55"/>
                  </a:lnTo>
                  <a:lnTo>
                    <a:pt x="33" y="33"/>
                  </a:lnTo>
                  <a:lnTo>
                    <a:pt x="38" y="22"/>
                  </a:lnTo>
                  <a:lnTo>
                    <a:pt x="33" y="17"/>
                  </a:lnTo>
                  <a:lnTo>
                    <a:pt x="71" y="33"/>
                  </a:lnTo>
                  <a:lnTo>
                    <a:pt x="28" y="5"/>
                  </a:lnTo>
                  <a:lnTo>
                    <a:pt x="28" y="0"/>
                  </a:lnTo>
                  <a:lnTo>
                    <a:pt x="33" y="0"/>
                  </a:lnTo>
                  <a:lnTo>
                    <a:pt x="54" y="17"/>
                  </a:lnTo>
                  <a:lnTo>
                    <a:pt x="38" y="0"/>
                  </a:lnTo>
                  <a:lnTo>
                    <a:pt x="50" y="0"/>
                  </a:lnTo>
                  <a:lnTo>
                    <a:pt x="85" y="38"/>
                  </a:lnTo>
                  <a:lnTo>
                    <a:pt x="92" y="59"/>
                  </a:lnTo>
                  <a:lnTo>
                    <a:pt x="102" y="59"/>
                  </a:lnTo>
                  <a:lnTo>
                    <a:pt x="106" y="88"/>
                  </a:lnTo>
                  <a:lnTo>
                    <a:pt x="118" y="95"/>
                  </a:lnTo>
                  <a:lnTo>
                    <a:pt x="106" y="95"/>
                  </a:lnTo>
                  <a:lnTo>
                    <a:pt x="123" y="95"/>
                  </a:lnTo>
                  <a:lnTo>
                    <a:pt x="123" y="116"/>
                  </a:lnTo>
                  <a:lnTo>
                    <a:pt x="156" y="170"/>
                  </a:lnTo>
                  <a:lnTo>
                    <a:pt x="156" y="206"/>
                  </a:lnTo>
                  <a:lnTo>
                    <a:pt x="139" y="244"/>
                  </a:lnTo>
                  <a:lnTo>
                    <a:pt x="118" y="260"/>
                  </a:lnTo>
                  <a:lnTo>
                    <a:pt x="71" y="281"/>
                  </a:lnTo>
                  <a:lnTo>
                    <a:pt x="38" y="277"/>
                  </a:lnTo>
                  <a:lnTo>
                    <a:pt x="33" y="260"/>
                  </a:lnTo>
                  <a:lnTo>
                    <a:pt x="17" y="222"/>
                  </a:lnTo>
                  <a:lnTo>
                    <a:pt x="17" y="182"/>
                  </a:lnTo>
                  <a:lnTo>
                    <a:pt x="17" y="182"/>
                  </a:lnTo>
                  <a:lnTo>
                    <a:pt x="17" y="182"/>
                  </a:lnTo>
                  <a:close/>
                  <a:moveTo>
                    <a:pt x="17" y="5"/>
                  </a:moveTo>
                  <a:lnTo>
                    <a:pt x="28" y="17"/>
                  </a:lnTo>
                  <a:lnTo>
                    <a:pt x="17" y="5"/>
                  </a:lnTo>
                  <a:lnTo>
                    <a:pt x="17" y="5"/>
                  </a:lnTo>
                  <a:lnTo>
                    <a:pt x="17" y="5"/>
                  </a:lnTo>
                  <a:lnTo>
                    <a:pt x="17" y="5"/>
                  </a:lnTo>
                  <a:close/>
                  <a:moveTo>
                    <a:pt x="12" y="55"/>
                  </a:moveTo>
                  <a:lnTo>
                    <a:pt x="17" y="59"/>
                  </a:lnTo>
                  <a:lnTo>
                    <a:pt x="0" y="55"/>
                  </a:lnTo>
                  <a:lnTo>
                    <a:pt x="12" y="55"/>
                  </a:lnTo>
                  <a:lnTo>
                    <a:pt x="12" y="55"/>
                  </a:lnTo>
                  <a:lnTo>
                    <a:pt x="12" y="55"/>
                  </a:lnTo>
                  <a:close/>
                  <a:moveTo>
                    <a:pt x="144" y="154"/>
                  </a:moveTo>
                  <a:lnTo>
                    <a:pt x="156" y="170"/>
                  </a:lnTo>
                  <a:lnTo>
                    <a:pt x="144" y="149"/>
                  </a:lnTo>
                  <a:lnTo>
                    <a:pt x="144" y="154"/>
                  </a:lnTo>
                  <a:lnTo>
                    <a:pt x="144" y="154"/>
                  </a:lnTo>
                  <a:lnTo>
                    <a:pt x="144" y="15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3" name="Freeform 412">
              <a:extLst>
                <a:ext uri="{FF2B5EF4-FFF2-40B4-BE49-F238E27FC236}">
                  <a16:creationId xmlns:a16="http://schemas.microsoft.com/office/drawing/2014/main" id="{DA8F54AF-709C-4279-BA5D-D9E8F4EA7393}"/>
                </a:ext>
              </a:extLst>
            </p:cNvPr>
            <p:cNvSpPr>
              <a:spLocks/>
            </p:cNvSpPr>
            <p:nvPr/>
          </p:nvSpPr>
          <p:spPr bwMode="gray">
            <a:xfrm>
              <a:off x="13999457" y="4027018"/>
              <a:ext cx="170849" cy="205870"/>
            </a:xfrm>
            <a:custGeom>
              <a:avLst/>
              <a:gdLst>
                <a:gd name="T0" fmla="*/ 123 w 522"/>
                <a:gd name="T1" fmla="*/ 589 h 629"/>
                <a:gd name="T2" fmla="*/ 107 w 522"/>
                <a:gd name="T3" fmla="*/ 596 h 629"/>
                <a:gd name="T4" fmla="*/ 85 w 522"/>
                <a:gd name="T5" fmla="*/ 612 h 629"/>
                <a:gd name="T6" fmla="*/ 59 w 522"/>
                <a:gd name="T7" fmla="*/ 629 h 629"/>
                <a:gd name="T8" fmla="*/ 48 w 522"/>
                <a:gd name="T9" fmla="*/ 596 h 629"/>
                <a:gd name="T10" fmla="*/ 5 w 522"/>
                <a:gd name="T11" fmla="*/ 534 h 629"/>
                <a:gd name="T12" fmla="*/ 48 w 522"/>
                <a:gd name="T13" fmla="*/ 534 h 629"/>
                <a:gd name="T14" fmla="*/ 52 w 522"/>
                <a:gd name="T15" fmla="*/ 522 h 629"/>
                <a:gd name="T16" fmla="*/ 38 w 522"/>
                <a:gd name="T17" fmla="*/ 501 h 629"/>
                <a:gd name="T18" fmla="*/ 38 w 522"/>
                <a:gd name="T19" fmla="*/ 468 h 629"/>
                <a:gd name="T20" fmla="*/ 38 w 522"/>
                <a:gd name="T21" fmla="*/ 452 h 629"/>
                <a:gd name="T22" fmla="*/ 48 w 522"/>
                <a:gd name="T23" fmla="*/ 444 h 629"/>
                <a:gd name="T24" fmla="*/ 69 w 522"/>
                <a:gd name="T25" fmla="*/ 444 h 629"/>
                <a:gd name="T26" fmla="*/ 90 w 522"/>
                <a:gd name="T27" fmla="*/ 407 h 629"/>
                <a:gd name="T28" fmla="*/ 107 w 522"/>
                <a:gd name="T29" fmla="*/ 395 h 629"/>
                <a:gd name="T30" fmla="*/ 128 w 522"/>
                <a:gd name="T31" fmla="*/ 440 h 629"/>
                <a:gd name="T32" fmla="*/ 182 w 522"/>
                <a:gd name="T33" fmla="*/ 423 h 629"/>
                <a:gd name="T34" fmla="*/ 211 w 522"/>
                <a:gd name="T35" fmla="*/ 444 h 629"/>
                <a:gd name="T36" fmla="*/ 232 w 522"/>
                <a:gd name="T37" fmla="*/ 407 h 629"/>
                <a:gd name="T38" fmla="*/ 232 w 522"/>
                <a:gd name="T39" fmla="*/ 340 h 629"/>
                <a:gd name="T40" fmla="*/ 232 w 522"/>
                <a:gd name="T41" fmla="*/ 300 h 629"/>
                <a:gd name="T42" fmla="*/ 211 w 522"/>
                <a:gd name="T43" fmla="*/ 284 h 629"/>
                <a:gd name="T44" fmla="*/ 194 w 522"/>
                <a:gd name="T45" fmla="*/ 279 h 629"/>
                <a:gd name="T46" fmla="*/ 211 w 522"/>
                <a:gd name="T47" fmla="*/ 229 h 629"/>
                <a:gd name="T48" fmla="*/ 237 w 522"/>
                <a:gd name="T49" fmla="*/ 201 h 629"/>
                <a:gd name="T50" fmla="*/ 182 w 522"/>
                <a:gd name="T51" fmla="*/ 168 h 629"/>
                <a:gd name="T52" fmla="*/ 144 w 522"/>
                <a:gd name="T53" fmla="*/ 168 h 629"/>
                <a:gd name="T54" fmla="*/ 156 w 522"/>
                <a:gd name="T55" fmla="*/ 111 h 629"/>
                <a:gd name="T56" fmla="*/ 265 w 522"/>
                <a:gd name="T57" fmla="*/ 118 h 629"/>
                <a:gd name="T58" fmla="*/ 345 w 522"/>
                <a:gd name="T59" fmla="*/ 152 h 629"/>
                <a:gd name="T60" fmla="*/ 345 w 522"/>
                <a:gd name="T61" fmla="*/ 111 h 629"/>
                <a:gd name="T62" fmla="*/ 378 w 522"/>
                <a:gd name="T63" fmla="*/ 62 h 629"/>
                <a:gd name="T64" fmla="*/ 383 w 522"/>
                <a:gd name="T65" fmla="*/ 7 h 629"/>
                <a:gd name="T66" fmla="*/ 447 w 522"/>
                <a:gd name="T67" fmla="*/ 0 h 629"/>
                <a:gd name="T68" fmla="*/ 468 w 522"/>
                <a:gd name="T69" fmla="*/ 7 h 629"/>
                <a:gd name="T70" fmla="*/ 492 w 522"/>
                <a:gd name="T71" fmla="*/ 19 h 629"/>
                <a:gd name="T72" fmla="*/ 522 w 522"/>
                <a:gd name="T73" fmla="*/ 19 h 629"/>
                <a:gd name="T74" fmla="*/ 485 w 522"/>
                <a:gd name="T75" fmla="*/ 102 h 629"/>
                <a:gd name="T76" fmla="*/ 480 w 522"/>
                <a:gd name="T77" fmla="*/ 201 h 629"/>
                <a:gd name="T78" fmla="*/ 463 w 522"/>
                <a:gd name="T79" fmla="*/ 279 h 629"/>
                <a:gd name="T80" fmla="*/ 437 w 522"/>
                <a:gd name="T81" fmla="*/ 340 h 629"/>
                <a:gd name="T82" fmla="*/ 378 w 522"/>
                <a:gd name="T83" fmla="*/ 407 h 629"/>
                <a:gd name="T84" fmla="*/ 362 w 522"/>
                <a:gd name="T85" fmla="*/ 506 h 629"/>
                <a:gd name="T86" fmla="*/ 307 w 522"/>
                <a:gd name="T87" fmla="*/ 555 h 629"/>
                <a:gd name="T88" fmla="*/ 286 w 522"/>
                <a:gd name="T89" fmla="*/ 579 h 629"/>
                <a:gd name="T90" fmla="*/ 248 w 522"/>
                <a:gd name="T91" fmla="*/ 617 h 629"/>
                <a:gd name="T92" fmla="*/ 232 w 522"/>
                <a:gd name="T93" fmla="*/ 596 h 629"/>
                <a:gd name="T94" fmla="*/ 232 w 522"/>
                <a:gd name="T95" fmla="*/ 579 h 629"/>
                <a:gd name="T96" fmla="*/ 182 w 522"/>
                <a:gd name="T97" fmla="*/ 589 h 629"/>
                <a:gd name="T98" fmla="*/ 166 w 522"/>
                <a:gd name="T99" fmla="*/ 612 h 629"/>
                <a:gd name="T100" fmla="*/ 140 w 522"/>
                <a:gd name="T101" fmla="*/ 596 h 629"/>
                <a:gd name="T102" fmla="*/ 140 w 522"/>
                <a:gd name="T103" fmla="*/ 605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2" h="629">
                  <a:moveTo>
                    <a:pt x="140" y="605"/>
                  </a:moveTo>
                  <a:lnTo>
                    <a:pt x="123" y="589"/>
                  </a:lnTo>
                  <a:lnTo>
                    <a:pt x="114" y="589"/>
                  </a:lnTo>
                  <a:lnTo>
                    <a:pt x="107" y="596"/>
                  </a:lnTo>
                  <a:lnTo>
                    <a:pt x="90" y="605"/>
                  </a:lnTo>
                  <a:lnTo>
                    <a:pt x="85" y="612"/>
                  </a:lnTo>
                  <a:lnTo>
                    <a:pt x="76" y="612"/>
                  </a:lnTo>
                  <a:lnTo>
                    <a:pt x="59" y="629"/>
                  </a:lnTo>
                  <a:lnTo>
                    <a:pt x="48" y="612"/>
                  </a:lnTo>
                  <a:lnTo>
                    <a:pt x="48" y="596"/>
                  </a:lnTo>
                  <a:lnTo>
                    <a:pt x="0" y="551"/>
                  </a:lnTo>
                  <a:lnTo>
                    <a:pt x="5" y="534"/>
                  </a:lnTo>
                  <a:lnTo>
                    <a:pt x="31" y="522"/>
                  </a:lnTo>
                  <a:lnTo>
                    <a:pt x="48" y="534"/>
                  </a:lnTo>
                  <a:lnTo>
                    <a:pt x="52" y="534"/>
                  </a:lnTo>
                  <a:lnTo>
                    <a:pt x="52" y="522"/>
                  </a:lnTo>
                  <a:lnTo>
                    <a:pt x="59" y="506"/>
                  </a:lnTo>
                  <a:lnTo>
                    <a:pt x="38" y="501"/>
                  </a:lnTo>
                  <a:lnTo>
                    <a:pt x="48" y="485"/>
                  </a:lnTo>
                  <a:lnTo>
                    <a:pt x="38" y="468"/>
                  </a:lnTo>
                  <a:lnTo>
                    <a:pt x="31" y="478"/>
                  </a:lnTo>
                  <a:lnTo>
                    <a:pt x="38" y="452"/>
                  </a:lnTo>
                  <a:lnTo>
                    <a:pt x="31" y="440"/>
                  </a:lnTo>
                  <a:lnTo>
                    <a:pt x="48" y="444"/>
                  </a:lnTo>
                  <a:lnTo>
                    <a:pt x="59" y="440"/>
                  </a:lnTo>
                  <a:lnTo>
                    <a:pt x="69" y="444"/>
                  </a:lnTo>
                  <a:lnTo>
                    <a:pt x="90" y="440"/>
                  </a:lnTo>
                  <a:lnTo>
                    <a:pt x="90" y="407"/>
                  </a:lnTo>
                  <a:lnTo>
                    <a:pt x="102" y="407"/>
                  </a:lnTo>
                  <a:lnTo>
                    <a:pt x="107" y="395"/>
                  </a:lnTo>
                  <a:lnTo>
                    <a:pt x="123" y="407"/>
                  </a:lnTo>
                  <a:lnTo>
                    <a:pt x="128" y="440"/>
                  </a:lnTo>
                  <a:lnTo>
                    <a:pt x="166" y="444"/>
                  </a:lnTo>
                  <a:lnTo>
                    <a:pt x="182" y="423"/>
                  </a:lnTo>
                  <a:lnTo>
                    <a:pt x="194" y="444"/>
                  </a:lnTo>
                  <a:lnTo>
                    <a:pt x="211" y="444"/>
                  </a:lnTo>
                  <a:lnTo>
                    <a:pt x="220" y="411"/>
                  </a:lnTo>
                  <a:lnTo>
                    <a:pt x="232" y="407"/>
                  </a:lnTo>
                  <a:lnTo>
                    <a:pt x="237" y="357"/>
                  </a:lnTo>
                  <a:lnTo>
                    <a:pt x="232" y="340"/>
                  </a:lnTo>
                  <a:lnTo>
                    <a:pt x="237" y="312"/>
                  </a:lnTo>
                  <a:lnTo>
                    <a:pt x="232" y="300"/>
                  </a:lnTo>
                  <a:lnTo>
                    <a:pt x="215" y="300"/>
                  </a:lnTo>
                  <a:lnTo>
                    <a:pt x="211" y="284"/>
                  </a:lnTo>
                  <a:lnTo>
                    <a:pt x="194" y="284"/>
                  </a:lnTo>
                  <a:lnTo>
                    <a:pt x="194" y="279"/>
                  </a:lnTo>
                  <a:lnTo>
                    <a:pt x="199" y="246"/>
                  </a:lnTo>
                  <a:lnTo>
                    <a:pt x="211" y="229"/>
                  </a:lnTo>
                  <a:lnTo>
                    <a:pt x="220" y="222"/>
                  </a:lnTo>
                  <a:lnTo>
                    <a:pt x="237" y="201"/>
                  </a:lnTo>
                  <a:lnTo>
                    <a:pt x="215" y="168"/>
                  </a:lnTo>
                  <a:lnTo>
                    <a:pt x="182" y="168"/>
                  </a:lnTo>
                  <a:lnTo>
                    <a:pt x="144" y="185"/>
                  </a:lnTo>
                  <a:lnTo>
                    <a:pt x="144" y="168"/>
                  </a:lnTo>
                  <a:lnTo>
                    <a:pt x="140" y="147"/>
                  </a:lnTo>
                  <a:lnTo>
                    <a:pt x="156" y="111"/>
                  </a:lnTo>
                  <a:lnTo>
                    <a:pt x="237" y="111"/>
                  </a:lnTo>
                  <a:lnTo>
                    <a:pt x="265" y="118"/>
                  </a:lnTo>
                  <a:lnTo>
                    <a:pt x="324" y="128"/>
                  </a:lnTo>
                  <a:lnTo>
                    <a:pt x="345" y="152"/>
                  </a:lnTo>
                  <a:lnTo>
                    <a:pt x="355" y="147"/>
                  </a:lnTo>
                  <a:lnTo>
                    <a:pt x="345" y="111"/>
                  </a:lnTo>
                  <a:lnTo>
                    <a:pt x="355" y="102"/>
                  </a:lnTo>
                  <a:lnTo>
                    <a:pt x="378" y="62"/>
                  </a:lnTo>
                  <a:lnTo>
                    <a:pt x="378" y="41"/>
                  </a:lnTo>
                  <a:lnTo>
                    <a:pt x="383" y="7"/>
                  </a:lnTo>
                  <a:lnTo>
                    <a:pt x="437" y="7"/>
                  </a:lnTo>
                  <a:lnTo>
                    <a:pt x="447" y="0"/>
                  </a:lnTo>
                  <a:lnTo>
                    <a:pt x="468" y="7"/>
                  </a:lnTo>
                  <a:lnTo>
                    <a:pt x="468" y="7"/>
                  </a:lnTo>
                  <a:lnTo>
                    <a:pt x="492" y="7"/>
                  </a:lnTo>
                  <a:lnTo>
                    <a:pt x="492" y="19"/>
                  </a:lnTo>
                  <a:lnTo>
                    <a:pt x="518" y="0"/>
                  </a:lnTo>
                  <a:lnTo>
                    <a:pt x="522" y="19"/>
                  </a:lnTo>
                  <a:lnTo>
                    <a:pt x="522" y="41"/>
                  </a:lnTo>
                  <a:lnTo>
                    <a:pt x="485" y="102"/>
                  </a:lnTo>
                  <a:lnTo>
                    <a:pt x="485" y="156"/>
                  </a:lnTo>
                  <a:lnTo>
                    <a:pt x="480" y="201"/>
                  </a:lnTo>
                  <a:lnTo>
                    <a:pt x="480" y="239"/>
                  </a:lnTo>
                  <a:lnTo>
                    <a:pt x="463" y="279"/>
                  </a:lnTo>
                  <a:lnTo>
                    <a:pt x="463" y="312"/>
                  </a:lnTo>
                  <a:lnTo>
                    <a:pt x="437" y="340"/>
                  </a:lnTo>
                  <a:lnTo>
                    <a:pt x="400" y="357"/>
                  </a:lnTo>
                  <a:lnTo>
                    <a:pt x="378" y="407"/>
                  </a:lnTo>
                  <a:lnTo>
                    <a:pt x="355" y="423"/>
                  </a:lnTo>
                  <a:lnTo>
                    <a:pt x="362" y="506"/>
                  </a:lnTo>
                  <a:lnTo>
                    <a:pt x="329" y="551"/>
                  </a:lnTo>
                  <a:lnTo>
                    <a:pt x="307" y="555"/>
                  </a:lnTo>
                  <a:lnTo>
                    <a:pt x="307" y="572"/>
                  </a:lnTo>
                  <a:lnTo>
                    <a:pt x="286" y="579"/>
                  </a:lnTo>
                  <a:lnTo>
                    <a:pt x="265" y="612"/>
                  </a:lnTo>
                  <a:lnTo>
                    <a:pt x="248" y="617"/>
                  </a:lnTo>
                  <a:lnTo>
                    <a:pt x="232" y="617"/>
                  </a:lnTo>
                  <a:lnTo>
                    <a:pt x="232" y="596"/>
                  </a:lnTo>
                  <a:lnTo>
                    <a:pt x="237" y="589"/>
                  </a:lnTo>
                  <a:lnTo>
                    <a:pt x="232" y="579"/>
                  </a:lnTo>
                  <a:lnTo>
                    <a:pt x="199" y="589"/>
                  </a:lnTo>
                  <a:lnTo>
                    <a:pt x="182" y="589"/>
                  </a:lnTo>
                  <a:lnTo>
                    <a:pt x="182" y="612"/>
                  </a:lnTo>
                  <a:lnTo>
                    <a:pt x="166" y="612"/>
                  </a:lnTo>
                  <a:lnTo>
                    <a:pt x="161" y="617"/>
                  </a:lnTo>
                  <a:lnTo>
                    <a:pt x="140" y="596"/>
                  </a:lnTo>
                  <a:lnTo>
                    <a:pt x="140" y="605"/>
                  </a:lnTo>
                  <a:lnTo>
                    <a:pt x="140" y="605"/>
                  </a:lnTo>
                  <a:lnTo>
                    <a:pt x="140" y="60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4" name="Freeform 413">
              <a:extLst>
                <a:ext uri="{FF2B5EF4-FFF2-40B4-BE49-F238E27FC236}">
                  <a16:creationId xmlns:a16="http://schemas.microsoft.com/office/drawing/2014/main" id="{2218A85C-0DCE-4758-B052-3E052DDBCA07}"/>
                </a:ext>
              </a:extLst>
            </p:cNvPr>
            <p:cNvSpPr>
              <a:spLocks noEditPoints="1"/>
            </p:cNvSpPr>
            <p:nvPr/>
          </p:nvSpPr>
          <p:spPr bwMode="gray">
            <a:xfrm>
              <a:off x="14024331" y="3987087"/>
              <a:ext cx="439887" cy="446760"/>
            </a:xfrm>
            <a:custGeom>
              <a:avLst/>
              <a:gdLst>
                <a:gd name="T0" fmla="*/ 38 w 1344"/>
                <a:gd name="T1" fmla="*/ 819 h 1365"/>
                <a:gd name="T2" fmla="*/ 28 w 1344"/>
                <a:gd name="T3" fmla="*/ 748 h 1365"/>
                <a:gd name="T4" fmla="*/ 87 w 1344"/>
                <a:gd name="T5" fmla="*/ 737 h 1365"/>
                <a:gd name="T6" fmla="*/ 125 w 1344"/>
                <a:gd name="T7" fmla="*/ 708 h 1365"/>
                <a:gd name="T8" fmla="*/ 158 w 1344"/>
                <a:gd name="T9" fmla="*/ 737 h 1365"/>
                <a:gd name="T10" fmla="*/ 234 w 1344"/>
                <a:gd name="T11" fmla="*/ 692 h 1365"/>
                <a:gd name="T12" fmla="*/ 281 w 1344"/>
                <a:gd name="T13" fmla="*/ 543 h 1365"/>
                <a:gd name="T14" fmla="*/ 390 w 1344"/>
                <a:gd name="T15" fmla="*/ 432 h 1365"/>
                <a:gd name="T16" fmla="*/ 411 w 1344"/>
                <a:gd name="T17" fmla="*/ 276 h 1365"/>
                <a:gd name="T18" fmla="*/ 458 w 1344"/>
                <a:gd name="T19" fmla="*/ 99 h 1365"/>
                <a:gd name="T20" fmla="*/ 503 w 1344"/>
                <a:gd name="T21" fmla="*/ 16 h 1365"/>
                <a:gd name="T22" fmla="*/ 588 w 1344"/>
                <a:gd name="T23" fmla="*/ 70 h 1365"/>
                <a:gd name="T24" fmla="*/ 713 w 1344"/>
                <a:gd name="T25" fmla="*/ 87 h 1365"/>
                <a:gd name="T26" fmla="*/ 751 w 1344"/>
                <a:gd name="T27" fmla="*/ 44 h 1365"/>
                <a:gd name="T28" fmla="*/ 857 w 1344"/>
                <a:gd name="T29" fmla="*/ 16 h 1365"/>
                <a:gd name="T30" fmla="*/ 933 w 1344"/>
                <a:gd name="T31" fmla="*/ 0 h 1365"/>
                <a:gd name="T32" fmla="*/ 1020 w 1344"/>
                <a:gd name="T33" fmla="*/ 16 h 1365"/>
                <a:gd name="T34" fmla="*/ 1091 w 1344"/>
                <a:gd name="T35" fmla="*/ 44 h 1365"/>
                <a:gd name="T36" fmla="*/ 1198 w 1344"/>
                <a:gd name="T37" fmla="*/ 70 h 1365"/>
                <a:gd name="T38" fmla="*/ 1235 w 1344"/>
                <a:gd name="T39" fmla="*/ 70 h 1365"/>
                <a:gd name="T40" fmla="*/ 1290 w 1344"/>
                <a:gd name="T41" fmla="*/ 127 h 1365"/>
                <a:gd name="T42" fmla="*/ 1311 w 1344"/>
                <a:gd name="T43" fmla="*/ 144 h 1365"/>
                <a:gd name="T44" fmla="*/ 1311 w 1344"/>
                <a:gd name="T45" fmla="*/ 214 h 1365"/>
                <a:gd name="T46" fmla="*/ 1268 w 1344"/>
                <a:gd name="T47" fmla="*/ 304 h 1365"/>
                <a:gd name="T48" fmla="*/ 1231 w 1344"/>
                <a:gd name="T49" fmla="*/ 382 h 1365"/>
                <a:gd name="T50" fmla="*/ 1188 w 1344"/>
                <a:gd name="T51" fmla="*/ 526 h 1365"/>
                <a:gd name="T52" fmla="*/ 1181 w 1344"/>
                <a:gd name="T53" fmla="*/ 588 h 1365"/>
                <a:gd name="T54" fmla="*/ 1205 w 1344"/>
                <a:gd name="T55" fmla="*/ 682 h 1365"/>
                <a:gd name="T56" fmla="*/ 1214 w 1344"/>
                <a:gd name="T57" fmla="*/ 819 h 1365"/>
                <a:gd name="T58" fmla="*/ 1273 w 1344"/>
                <a:gd name="T59" fmla="*/ 904 h 1365"/>
                <a:gd name="T60" fmla="*/ 1167 w 1344"/>
                <a:gd name="T61" fmla="*/ 1025 h 1365"/>
                <a:gd name="T62" fmla="*/ 1150 w 1344"/>
                <a:gd name="T63" fmla="*/ 1126 h 1365"/>
                <a:gd name="T64" fmla="*/ 1143 w 1344"/>
                <a:gd name="T65" fmla="*/ 1247 h 1365"/>
                <a:gd name="T66" fmla="*/ 1214 w 1344"/>
                <a:gd name="T67" fmla="*/ 1287 h 1365"/>
                <a:gd name="T68" fmla="*/ 1219 w 1344"/>
                <a:gd name="T69" fmla="*/ 1358 h 1365"/>
                <a:gd name="T70" fmla="*/ 1181 w 1344"/>
                <a:gd name="T71" fmla="*/ 1358 h 1365"/>
                <a:gd name="T72" fmla="*/ 1096 w 1344"/>
                <a:gd name="T73" fmla="*/ 1280 h 1365"/>
                <a:gd name="T74" fmla="*/ 1053 w 1344"/>
                <a:gd name="T75" fmla="*/ 1225 h 1365"/>
                <a:gd name="T76" fmla="*/ 966 w 1344"/>
                <a:gd name="T77" fmla="*/ 1247 h 1365"/>
                <a:gd name="T78" fmla="*/ 881 w 1344"/>
                <a:gd name="T79" fmla="*/ 1209 h 1365"/>
                <a:gd name="T80" fmla="*/ 827 w 1344"/>
                <a:gd name="T81" fmla="*/ 1176 h 1365"/>
                <a:gd name="T82" fmla="*/ 730 w 1344"/>
                <a:gd name="T83" fmla="*/ 1181 h 1365"/>
                <a:gd name="T84" fmla="*/ 713 w 1344"/>
                <a:gd name="T85" fmla="*/ 1136 h 1365"/>
                <a:gd name="T86" fmla="*/ 680 w 1344"/>
                <a:gd name="T87" fmla="*/ 1003 h 1365"/>
                <a:gd name="T88" fmla="*/ 588 w 1344"/>
                <a:gd name="T89" fmla="*/ 914 h 1365"/>
                <a:gd name="T90" fmla="*/ 520 w 1344"/>
                <a:gd name="T91" fmla="*/ 892 h 1365"/>
                <a:gd name="T92" fmla="*/ 444 w 1344"/>
                <a:gd name="T93" fmla="*/ 959 h 1365"/>
                <a:gd name="T94" fmla="*/ 406 w 1344"/>
                <a:gd name="T95" fmla="*/ 970 h 1365"/>
                <a:gd name="T96" fmla="*/ 319 w 1344"/>
                <a:gd name="T97" fmla="*/ 848 h 1365"/>
                <a:gd name="T98" fmla="*/ 272 w 1344"/>
                <a:gd name="T99" fmla="*/ 810 h 1365"/>
                <a:gd name="T100" fmla="*/ 54 w 1344"/>
                <a:gd name="T101" fmla="*/ 810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4" h="1365">
                  <a:moveTo>
                    <a:pt x="272" y="810"/>
                  </a:moveTo>
                  <a:lnTo>
                    <a:pt x="71" y="810"/>
                  </a:lnTo>
                  <a:lnTo>
                    <a:pt x="50" y="810"/>
                  </a:lnTo>
                  <a:lnTo>
                    <a:pt x="38" y="819"/>
                  </a:lnTo>
                  <a:lnTo>
                    <a:pt x="16" y="819"/>
                  </a:lnTo>
                  <a:lnTo>
                    <a:pt x="0" y="803"/>
                  </a:lnTo>
                  <a:lnTo>
                    <a:pt x="28" y="803"/>
                  </a:lnTo>
                  <a:lnTo>
                    <a:pt x="28" y="748"/>
                  </a:lnTo>
                  <a:lnTo>
                    <a:pt x="50" y="732"/>
                  </a:lnTo>
                  <a:lnTo>
                    <a:pt x="66" y="725"/>
                  </a:lnTo>
                  <a:lnTo>
                    <a:pt x="66" y="715"/>
                  </a:lnTo>
                  <a:lnTo>
                    <a:pt x="87" y="737"/>
                  </a:lnTo>
                  <a:lnTo>
                    <a:pt x="92" y="732"/>
                  </a:lnTo>
                  <a:lnTo>
                    <a:pt x="109" y="732"/>
                  </a:lnTo>
                  <a:lnTo>
                    <a:pt x="109" y="708"/>
                  </a:lnTo>
                  <a:lnTo>
                    <a:pt x="125" y="708"/>
                  </a:lnTo>
                  <a:lnTo>
                    <a:pt x="158" y="699"/>
                  </a:lnTo>
                  <a:lnTo>
                    <a:pt x="163" y="708"/>
                  </a:lnTo>
                  <a:lnTo>
                    <a:pt x="158" y="715"/>
                  </a:lnTo>
                  <a:lnTo>
                    <a:pt x="158" y="737"/>
                  </a:lnTo>
                  <a:lnTo>
                    <a:pt x="172" y="737"/>
                  </a:lnTo>
                  <a:lnTo>
                    <a:pt x="189" y="732"/>
                  </a:lnTo>
                  <a:lnTo>
                    <a:pt x="210" y="699"/>
                  </a:lnTo>
                  <a:lnTo>
                    <a:pt x="234" y="692"/>
                  </a:lnTo>
                  <a:lnTo>
                    <a:pt x="234" y="675"/>
                  </a:lnTo>
                  <a:lnTo>
                    <a:pt x="255" y="670"/>
                  </a:lnTo>
                  <a:lnTo>
                    <a:pt x="286" y="625"/>
                  </a:lnTo>
                  <a:lnTo>
                    <a:pt x="281" y="543"/>
                  </a:lnTo>
                  <a:lnTo>
                    <a:pt x="302" y="526"/>
                  </a:lnTo>
                  <a:lnTo>
                    <a:pt x="324" y="477"/>
                  </a:lnTo>
                  <a:lnTo>
                    <a:pt x="361" y="460"/>
                  </a:lnTo>
                  <a:lnTo>
                    <a:pt x="390" y="432"/>
                  </a:lnTo>
                  <a:lnTo>
                    <a:pt x="390" y="399"/>
                  </a:lnTo>
                  <a:lnTo>
                    <a:pt x="406" y="359"/>
                  </a:lnTo>
                  <a:lnTo>
                    <a:pt x="406" y="321"/>
                  </a:lnTo>
                  <a:lnTo>
                    <a:pt x="411" y="276"/>
                  </a:lnTo>
                  <a:lnTo>
                    <a:pt x="411" y="222"/>
                  </a:lnTo>
                  <a:lnTo>
                    <a:pt x="449" y="160"/>
                  </a:lnTo>
                  <a:lnTo>
                    <a:pt x="449" y="139"/>
                  </a:lnTo>
                  <a:lnTo>
                    <a:pt x="458" y="99"/>
                  </a:lnTo>
                  <a:lnTo>
                    <a:pt x="449" y="70"/>
                  </a:lnTo>
                  <a:lnTo>
                    <a:pt x="458" y="70"/>
                  </a:lnTo>
                  <a:lnTo>
                    <a:pt x="482" y="33"/>
                  </a:lnTo>
                  <a:lnTo>
                    <a:pt x="503" y="16"/>
                  </a:lnTo>
                  <a:lnTo>
                    <a:pt x="534" y="16"/>
                  </a:lnTo>
                  <a:lnTo>
                    <a:pt x="572" y="44"/>
                  </a:lnTo>
                  <a:lnTo>
                    <a:pt x="583" y="54"/>
                  </a:lnTo>
                  <a:lnTo>
                    <a:pt x="588" y="70"/>
                  </a:lnTo>
                  <a:lnTo>
                    <a:pt x="621" y="66"/>
                  </a:lnTo>
                  <a:lnTo>
                    <a:pt x="638" y="82"/>
                  </a:lnTo>
                  <a:lnTo>
                    <a:pt x="676" y="82"/>
                  </a:lnTo>
                  <a:lnTo>
                    <a:pt x="713" y="87"/>
                  </a:lnTo>
                  <a:lnTo>
                    <a:pt x="730" y="82"/>
                  </a:lnTo>
                  <a:lnTo>
                    <a:pt x="730" y="66"/>
                  </a:lnTo>
                  <a:lnTo>
                    <a:pt x="735" y="66"/>
                  </a:lnTo>
                  <a:lnTo>
                    <a:pt x="751" y="44"/>
                  </a:lnTo>
                  <a:lnTo>
                    <a:pt x="789" y="54"/>
                  </a:lnTo>
                  <a:lnTo>
                    <a:pt x="798" y="49"/>
                  </a:lnTo>
                  <a:lnTo>
                    <a:pt x="857" y="28"/>
                  </a:lnTo>
                  <a:lnTo>
                    <a:pt x="857" y="16"/>
                  </a:lnTo>
                  <a:lnTo>
                    <a:pt x="881" y="33"/>
                  </a:lnTo>
                  <a:lnTo>
                    <a:pt x="919" y="28"/>
                  </a:lnTo>
                  <a:lnTo>
                    <a:pt x="928" y="0"/>
                  </a:lnTo>
                  <a:lnTo>
                    <a:pt x="933" y="0"/>
                  </a:lnTo>
                  <a:lnTo>
                    <a:pt x="966" y="11"/>
                  </a:lnTo>
                  <a:lnTo>
                    <a:pt x="983" y="11"/>
                  </a:lnTo>
                  <a:lnTo>
                    <a:pt x="1004" y="28"/>
                  </a:lnTo>
                  <a:lnTo>
                    <a:pt x="1020" y="16"/>
                  </a:lnTo>
                  <a:lnTo>
                    <a:pt x="1025" y="28"/>
                  </a:lnTo>
                  <a:lnTo>
                    <a:pt x="1042" y="11"/>
                  </a:lnTo>
                  <a:lnTo>
                    <a:pt x="1075" y="28"/>
                  </a:lnTo>
                  <a:lnTo>
                    <a:pt x="1091" y="44"/>
                  </a:lnTo>
                  <a:lnTo>
                    <a:pt x="1096" y="54"/>
                  </a:lnTo>
                  <a:lnTo>
                    <a:pt x="1134" y="82"/>
                  </a:lnTo>
                  <a:lnTo>
                    <a:pt x="1167" y="54"/>
                  </a:lnTo>
                  <a:lnTo>
                    <a:pt x="1198" y="70"/>
                  </a:lnTo>
                  <a:lnTo>
                    <a:pt x="1214" y="49"/>
                  </a:lnTo>
                  <a:lnTo>
                    <a:pt x="1219" y="49"/>
                  </a:lnTo>
                  <a:lnTo>
                    <a:pt x="1235" y="54"/>
                  </a:lnTo>
                  <a:lnTo>
                    <a:pt x="1235" y="70"/>
                  </a:lnTo>
                  <a:lnTo>
                    <a:pt x="1257" y="87"/>
                  </a:lnTo>
                  <a:lnTo>
                    <a:pt x="1268" y="103"/>
                  </a:lnTo>
                  <a:lnTo>
                    <a:pt x="1290" y="103"/>
                  </a:lnTo>
                  <a:lnTo>
                    <a:pt x="1290" y="127"/>
                  </a:lnTo>
                  <a:lnTo>
                    <a:pt x="1306" y="120"/>
                  </a:lnTo>
                  <a:lnTo>
                    <a:pt x="1311" y="139"/>
                  </a:lnTo>
                  <a:lnTo>
                    <a:pt x="1311" y="139"/>
                  </a:lnTo>
                  <a:lnTo>
                    <a:pt x="1311" y="144"/>
                  </a:lnTo>
                  <a:lnTo>
                    <a:pt x="1306" y="165"/>
                  </a:lnTo>
                  <a:lnTo>
                    <a:pt x="1311" y="181"/>
                  </a:lnTo>
                  <a:lnTo>
                    <a:pt x="1294" y="210"/>
                  </a:lnTo>
                  <a:lnTo>
                    <a:pt x="1311" y="214"/>
                  </a:lnTo>
                  <a:lnTo>
                    <a:pt x="1323" y="214"/>
                  </a:lnTo>
                  <a:lnTo>
                    <a:pt x="1344" y="231"/>
                  </a:lnTo>
                  <a:lnTo>
                    <a:pt x="1285" y="304"/>
                  </a:lnTo>
                  <a:lnTo>
                    <a:pt x="1268" y="304"/>
                  </a:lnTo>
                  <a:lnTo>
                    <a:pt x="1257" y="321"/>
                  </a:lnTo>
                  <a:lnTo>
                    <a:pt x="1242" y="325"/>
                  </a:lnTo>
                  <a:lnTo>
                    <a:pt x="1242" y="349"/>
                  </a:lnTo>
                  <a:lnTo>
                    <a:pt x="1231" y="382"/>
                  </a:lnTo>
                  <a:lnTo>
                    <a:pt x="1219" y="453"/>
                  </a:lnTo>
                  <a:lnTo>
                    <a:pt x="1219" y="486"/>
                  </a:lnTo>
                  <a:lnTo>
                    <a:pt x="1198" y="505"/>
                  </a:lnTo>
                  <a:lnTo>
                    <a:pt x="1188" y="526"/>
                  </a:lnTo>
                  <a:lnTo>
                    <a:pt x="1188" y="548"/>
                  </a:lnTo>
                  <a:lnTo>
                    <a:pt x="1167" y="559"/>
                  </a:lnTo>
                  <a:lnTo>
                    <a:pt x="1176" y="581"/>
                  </a:lnTo>
                  <a:lnTo>
                    <a:pt x="1181" y="588"/>
                  </a:lnTo>
                  <a:lnTo>
                    <a:pt x="1181" y="588"/>
                  </a:lnTo>
                  <a:lnTo>
                    <a:pt x="1198" y="604"/>
                  </a:lnTo>
                  <a:lnTo>
                    <a:pt x="1198" y="670"/>
                  </a:lnTo>
                  <a:lnTo>
                    <a:pt x="1205" y="682"/>
                  </a:lnTo>
                  <a:lnTo>
                    <a:pt x="1205" y="708"/>
                  </a:lnTo>
                  <a:lnTo>
                    <a:pt x="1205" y="748"/>
                  </a:lnTo>
                  <a:lnTo>
                    <a:pt x="1219" y="803"/>
                  </a:lnTo>
                  <a:lnTo>
                    <a:pt x="1214" y="819"/>
                  </a:lnTo>
                  <a:lnTo>
                    <a:pt x="1219" y="843"/>
                  </a:lnTo>
                  <a:lnTo>
                    <a:pt x="1231" y="864"/>
                  </a:lnTo>
                  <a:lnTo>
                    <a:pt x="1252" y="881"/>
                  </a:lnTo>
                  <a:lnTo>
                    <a:pt x="1273" y="904"/>
                  </a:lnTo>
                  <a:lnTo>
                    <a:pt x="1306" y="975"/>
                  </a:lnTo>
                  <a:lnTo>
                    <a:pt x="1176" y="1003"/>
                  </a:lnTo>
                  <a:lnTo>
                    <a:pt x="1176" y="1015"/>
                  </a:lnTo>
                  <a:lnTo>
                    <a:pt x="1167" y="1025"/>
                  </a:lnTo>
                  <a:lnTo>
                    <a:pt x="1134" y="1058"/>
                  </a:lnTo>
                  <a:lnTo>
                    <a:pt x="1143" y="1065"/>
                  </a:lnTo>
                  <a:lnTo>
                    <a:pt x="1160" y="1098"/>
                  </a:lnTo>
                  <a:lnTo>
                    <a:pt x="1150" y="1126"/>
                  </a:lnTo>
                  <a:lnTo>
                    <a:pt x="1160" y="1159"/>
                  </a:lnTo>
                  <a:lnTo>
                    <a:pt x="1150" y="1176"/>
                  </a:lnTo>
                  <a:lnTo>
                    <a:pt x="1134" y="1225"/>
                  </a:lnTo>
                  <a:lnTo>
                    <a:pt x="1143" y="1247"/>
                  </a:lnTo>
                  <a:lnTo>
                    <a:pt x="1167" y="1263"/>
                  </a:lnTo>
                  <a:lnTo>
                    <a:pt x="1181" y="1287"/>
                  </a:lnTo>
                  <a:lnTo>
                    <a:pt x="1198" y="1287"/>
                  </a:lnTo>
                  <a:lnTo>
                    <a:pt x="1214" y="1287"/>
                  </a:lnTo>
                  <a:lnTo>
                    <a:pt x="1214" y="1270"/>
                  </a:lnTo>
                  <a:lnTo>
                    <a:pt x="1235" y="1270"/>
                  </a:lnTo>
                  <a:lnTo>
                    <a:pt x="1235" y="1365"/>
                  </a:lnTo>
                  <a:lnTo>
                    <a:pt x="1219" y="1358"/>
                  </a:lnTo>
                  <a:lnTo>
                    <a:pt x="1231" y="1346"/>
                  </a:lnTo>
                  <a:lnTo>
                    <a:pt x="1219" y="1346"/>
                  </a:lnTo>
                  <a:lnTo>
                    <a:pt x="1188" y="1358"/>
                  </a:lnTo>
                  <a:lnTo>
                    <a:pt x="1181" y="1358"/>
                  </a:lnTo>
                  <a:lnTo>
                    <a:pt x="1160" y="1325"/>
                  </a:lnTo>
                  <a:lnTo>
                    <a:pt x="1150" y="1320"/>
                  </a:lnTo>
                  <a:lnTo>
                    <a:pt x="1143" y="1292"/>
                  </a:lnTo>
                  <a:lnTo>
                    <a:pt x="1096" y="1280"/>
                  </a:lnTo>
                  <a:lnTo>
                    <a:pt x="1079" y="1280"/>
                  </a:lnTo>
                  <a:lnTo>
                    <a:pt x="1075" y="1254"/>
                  </a:lnTo>
                  <a:lnTo>
                    <a:pt x="1058" y="1237"/>
                  </a:lnTo>
                  <a:lnTo>
                    <a:pt x="1053" y="1225"/>
                  </a:lnTo>
                  <a:lnTo>
                    <a:pt x="1042" y="1230"/>
                  </a:lnTo>
                  <a:lnTo>
                    <a:pt x="1037" y="1247"/>
                  </a:lnTo>
                  <a:lnTo>
                    <a:pt x="1025" y="1254"/>
                  </a:lnTo>
                  <a:lnTo>
                    <a:pt x="966" y="1247"/>
                  </a:lnTo>
                  <a:lnTo>
                    <a:pt x="928" y="1230"/>
                  </a:lnTo>
                  <a:lnTo>
                    <a:pt x="919" y="1209"/>
                  </a:lnTo>
                  <a:lnTo>
                    <a:pt x="919" y="1197"/>
                  </a:lnTo>
                  <a:lnTo>
                    <a:pt x="881" y="1209"/>
                  </a:lnTo>
                  <a:lnTo>
                    <a:pt x="857" y="1214"/>
                  </a:lnTo>
                  <a:lnTo>
                    <a:pt x="853" y="1209"/>
                  </a:lnTo>
                  <a:lnTo>
                    <a:pt x="857" y="1192"/>
                  </a:lnTo>
                  <a:lnTo>
                    <a:pt x="827" y="1176"/>
                  </a:lnTo>
                  <a:lnTo>
                    <a:pt x="820" y="1181"/>
                  </a:lnTo>
                  <a:lnTo>
                    <a:pt x="789" y="1181"/>
                  </a:lnTo>
                  <a:lnTo>
                    <a:pt x="768" y="1192"/>
                  </a:lnTo>
                  <a:lnTo>
                    <a:pt x="730" y="1181"/>
                  </a:lnTo>
                  <a:lnTo>
                    <a:pt x="702" y="1197"/>
                  </a:lnTo>
                  <a:lnTo>
                    <a:pt x="702" y="1176"/>
                  </a:lnTo>
                  <a:lnTo>
                    <a:pt x="713" y="1169"/>
                  </a:lnTo>
                  <a:lnTo>
                    <a:pt x="713" y="1136"/>
                  </a:lnTo>
                  <a:lnTo>
                    <a:pt x="697" y="1103"/>
                  </a:lnTo>
                  <a:lnTo>
                    <a:pt x="680" y="1086"/>
                  </a:lnTo>
                  <a:lnTo>
                    <a:pt x="676" y="1065"/>
                  </a:lnTo>
                  <a:lnTo>
                    <a:pt x="680" y="1003"/>
                  </a:lnTo>
                  <a:lnTo>
                    <a:pt x="676" y="959"/>
                  </a:lnTo>
                  <a:lnTo>
                    <a:pt x="680" y="930"/>
                  </a:lnTo>
                  <a:lnTo>
                    <a:pt x="676" y="914"/>
                  </a:lnTo>
                  <a:lnTo>
                    <a:pt x="588" y="914"/>
                  </a:lnTo>
                  <a:lnTo>
                    <a:pt x="595" y="892"/>
                  </a:lnTo>
                  <a:lnTo>
                    <a:pt x="572" y="892"/>
                  </a:lnTo>
                  <a:lnTo>
                    <a:pt x="572" y="892"/>
                  </a:lnTo>
                  <a:lnTo>
                    <a:pt x="520" y="892"/>
                  </a:lnTo>
                  <a:lnTo>
                    <a:pt x="520" y="930"/>
                  </a:lnTo>
                  <a:lnTo>
                    <a:pt x="503" y="937"/>
                  </a:lnTo>
                  <a:lnTo>
                    <a:pt x="503" y="959"/>
                  </a:lnTo>
                  <a:lnTo>
                    <a:pt x="444" y="959"/>
                  </a:lnTo>
                  <a:lnTo>
                    <a:pt x="444" y="959"/>
                  </a:lnTo>
                  <a:lnTo>
                    <a:pt x="416" y="970"/>
                  </a:lnTo>
                  <a:lnTo>
                    <a:pt x="416" y="970"/>
                  </a:lnTo>
                  <a:lnTo>
                    <a:pt x="406" y="970"/>
                  </a:lnTo>
                  <a:lnTo>
                    <a:pt x="378" y="970"/>
                  </a:lnTo>
                  <a:lnTo>
                    <a:pt x="335" y="904"/>
                  </a:lnTo>
                  <a:lnTo>
                    <a:pt x="335" y="892"/>
                  </a:lnTo>
                  <a:lnTo>
                    <a:pt x="319" y="848"/>
                  </a:lnTo>
                  <a:lnTo>
                    <a:pt x="319" y="836"/>
                  </a:lnTo>
                  <a:lnTo>
                    <a:pt x="307" y="819"/>
                  </a:lnTo>
                  <a:lnTo>
                    <a:pt x="272" y="810"/>
                  </a:lnTo>
                  <a:lnTo>
                    <a:pt x="272" y="810"/>
                  </a:lnTo>
                  <a:lnTo>
                    <a:pt x="272" y="810"/>
                  </a:lnTo>
                  <a:close/>
                  <a:moveTo>
                    <a:pt x="38" y="819"/>
                  </a:moveTo>
                  <a:lnTo>
                    <a:pt x="50" y="810"/>
                  </a:lnTo>
                  <a:lnTo>
                    <a:pt x="54" y="810"/>
                  </a:lnTo>
                  <a:lnTo>
                    <a:pt x="38" y="819"/>
                  </a:lnTo>
                  <a:lnTo>
                    <a:pt x="38" y="819"/>
                  </a:lnTo>
                  <a:lnTo>
                    <a:pt x="38" y="81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5" name="Freeform 414">
              <a:extLst>
                <a:ext uri="{FF2B5EF4-FFF2-40B4-BE49-F238E27FC236}">
                  <a16:creationId xmlns:a16="http://schemas.microsoft.com/office/drawing/2014/main" id="{F6EAE736-70F5-4FF0-AEE5-787E47DBECA0}"/>
                </a:ext>
              </a:extLst>
            </p:cNvPr>
            <p:cNvSpPr>
              <a:spLocks noEditPoints="1"/>
            </p:cNvSpPr>
            <p:nvPr/>
          </p:nvSpPr>
          <p:spPr bwMode="gray">
            <a:xfrm>
              <a:off x="15434653" y="2715867"/>
              <a:ext cx="1403121" cy="966507"/>
            </a:xfrm>
            <a:custGeom>
              <a:avLst/>
              <a:gdLst>
                <a:gd name="T0" fmla="*/ 361 w 4287"/>
                <a:gd name="T1" fmla="*/ 1833 h 2953"/>
                <a:gd name="T2" fmla="*/ 314 w 4287"/>
                <a:gd name="T3" fmla="*/ 1606 h 2953"/>
                <a:gd name="T4" fmla="*/ 54 w 4287"/>
                <a:gd name="T5" fmla="*/ 1462 h 2953"/>
                <a:gd name="T6" fmla="*/ 7 w 4287"/>
                <a:gd name="T7" fmla="*/ 1273 h 2953"/>
                <a:gd name="T8" fmla="*/ 233 w 4287"/>
                <a:gd name="T9" fmla="*/ 1146 h 2953"/>
                <a:gd name="T10" fmla="*/ 474 w 4287"/>
                <a:gd name="T11" fmla="*/ 869 h 2953"/>
                <a:gd name="T12" fmla="*/ 777 w 4287"/>
                <a:gd name="T13" fmla="*/ 614 h 2953"/>
                <a:gd name="T14" fmla="*/ 999 w 4287"/>
                <a:gd name="T15" fmla="*/ 432 h 2953"/>
                <a:gd name="T16" fmla="*/ 1216 w 4287"/>
                <a:gd name="T17" fmla="*/ 680 h 2953"/>
                <a:gd name="T18" fmla="*/ 1821 w 4287"/>
                <a:gd name="T19" fmla="*/ 1014 h 2953"/>
                <a:gd name="T20" fmla="*/ 2581 w 4287"/>
                <a:gd name="T21" fmla="*/ 985 h 2953"/>
                <a:gd name="T22" fmla="*/ 3030 w 4287"/>
                <a:gd name="T23" fmla="*/ 669 h 2953"/>
                <a:gd name="T24" fmla="*/ 3099 w 4287"/>
                <a:gd name="T25" fmla="*/ 520 h 2953"/>
                <a:gd name="T26" fmla="*/ 3191 w 4287"/>
                <a:gd name="T27" fmla="*/ 298 h 2953"/>
                <a:gd name="T28" fmla="*/ 3569 w 4287"/>
                <a:gd name="T29" fmla="*/ 26 h 2953"/>
                <a:gd name="T30" fmla="*/ 3732 w 4287"/>
                <a:gd name="T31" fmla="*/ 222 h 2953"/>
                <a:gd name="T32" fmla="*/ 3947 w 4287"/>
                <a:gd name="T33" fmla="*/ 425 h 2953"/>
                <a:gd name="T34" fmla="*/ 4287 w 4287"/>
                <a:gd name="T35" fmla="*/ 553 h 2953"/>
                <a:gd name="T36" fmla="*/ 4055 w 4287"/>
                <a:gd name="T37" fmla="*/ 796 h 2953"/>
                <a:gd name="T38" fmla="*/ 3921 w 4287"/>
                <a:gd name="T39" fmla="*/ 1025 h 2953"/>
                <a:gd name="T40" fmla="*/ 3607 w 4287"/>
                <a:gd name="T41" fmla="*/ 1195 h 2953"/>
                <a:gd name="T42" fmla="*/ 3363 w 4287"/>
                <a:gd name="T43" fmla="*/ 1295 h 2953"/>
                <a:gd name="T44" fmla="*/ 3283 w 4287"/>
                <a:gd name="T45" fmla="*/ 1207 h 2953"/>
                <a:gd name="T46" fmla="*/ 3203 w 4287"/>
                <a:gd name="T47" fmla="*/ 1472 h 2953"/>
                <a:gd name="T48" fmla="*/ 3408 w 4287"/>
                <a:gd name="T49" fmla="*/ 1495 h 2953"/>
                <a:gd name="T50" fmla="*/ 3278 w 4287"/>
                <a:gd name="T51" fmla="*/ 1540 h 2953"/>
                <a:gd name="T52" fmla="*/ 3354 w 4287"/>
                <a:gd name="T53" fmla="*/ 1862 h 2953"/>
                <a:gd name="T54" fmla="*/ 3300 w 4287"/>
                <a:gd name="T55" fmla="*/ 1888 h 2953"/>
                <a:gd name="T56" fmla="*/ 3370 w 4287"/>
                <a:gd name="T57" fmla="*/ 2048 h 2953"/>
                <a:gd name="T58" fmla="*/ 3363 w 4287"/>
                <a:gd name="T59" fmla="*/ 2105 h 2953"/>
                <a:gd name="T60" fmla="*/ 3295 w 4287"/>
                <a:gd name="T61" fmla="*/ 2199 h 2953"/>
                <a:gd name="T62" fmla="*/ 3245 w 4287"/>
                <a:gd name="T63" fmla="*/ 2294 h 2953"/>
                <a:gd name="T64" fmla="*/ 3191 w 4287"/>
                <a:gd name="T65" fmla="*/ 2343 h 2953"/>
                <a:gd name="T66" fmla="*/ 3170 w 4287"/>
                <a:gd name="T67" fmla="*/ 2426 h 2953"/>
                <a:gd name="T68" fmla="*/ 3120 w 4287"/>
                <a:gd name="T69" fmla="*/ 2492 h 2953"/>
                <a:gd name="T70" fmla="*/ 2938 w 4287"/>
                <a:gd name="T71" fmla="*/ 2608 h 2953"/>
                <a:gd name="T72" fmla="*/ 2841 w 4287"/>
                <a:gd name="T73" fmla="*/ 2624 h 2953"/>
                <a:gd name="T74" fmla="*/ 2787 w 4287"/>
                <a:gd name="T75" fmla="*/ 2653 h 2953"/>
                <a:gd name="T76" fmla="*/ 2624 w 4287"/>
                <a:gd name="T77" fmla="*/ 2698 h 2953"/>
                <a:gd name="T78" fmla="*/ 2591 w 4287"/>
                <a:gd name="T79" fmla="*/ 2776 h 2953"/>
                <a:gd name="T80" fmla="*/ 2522 w 4287"/>
                <a:gd name="T81" fmla="*/ 2698 h 2953"/>
                <a:gd name="T82" fmla="*/ 2430 w 4287"/>
                <a:gd name="T83" fmla="*/ 2691 h 2953"/>
                <a:gd name="T84" fmla="*/ 2241 w 4287"/>
                <a:gd name="T85" fmla="*/ 2580 h 2953"/>
                <a:gd name="T86" fmla="*/ 1972 w 4287"/>
                <a:gd name="T87" fmla="*/ 2624 h 2953"/>
                <a:gd name="T88" fmla="*/ 1851 w 4287"/>
                <a:gd name="T89" fmla="*/ 2681 h 2953"/>
                <a:gd name="T90" fmla="*/ 1691 w 4287"/>
                <a:gd name="T91" fmla="*/ 2525 h 2953"/>
                <a:gd name="T92" fmla="*/ 1766 w 4287"/>
                <a:gd name="T93" fmla="*/ 2294 h 2953"/>
                <a:gd name="T94" fmla="*/ 1582 w 4287"/>
                <a:gd name="T95" fmla="*/ 2126 h 2953"/>
                <a:gd name="T96" fmla="*/ 1313 w 4287"/>
                <a:gd name="T97" fmla="*/ 2216 h 2953"/>
                <a:gd name="T98" fmla="*/ 1015 w 4287"/>
                <a:gd name="T99" fmla="*/ 2204 h 2953"/>
                <a:gd name="T100" fmla="*/ 810 w 4287"/>
                <a:gd name="T101" fmla="*/ 2150 h 2953"/>
                <a:gd name="T102" fmla="*/ 529 w 4287"/>
                <a:gd name="T103" fmla="*/ 2039 h 2953"/>
                <a:gd name="T104" fmla="*/ 3229 w 4287"/>
                <a:gd name="T105" fmla="*/ 1866 h 2953"/>
                <a:gd name="T106" fmla="*/ 3401 w 4287"/>
                <a:gd name="T107" fmla="*/ 2032 h 2953"/>
                <a:gd name="T108" fmla="*/ 3418 w 4287"/>
                <a:gd name="T109" fmla="*/ 2048 h 2953"/>
                <a:gd name="T110" fmla="*/ 3337 w 4287"/>
                <a:gd name="T111" fmla="*/ 2192 h 2953"/>
                <a:gd name="T112" fmla="*/ 3115 w 4287"/>
                <a:gd name="T113" fmla="*/ 2476 h 2953"/>
                <a:gd name="T114" fmla="*/ 2851 w 4287"/>
                <a:gd name="T115" fmla="*/ 2641 h 2953"/>
                <a:gd name="T116" fmla="*/ 2683 w 4287"/>
                <a:gd name="T117" fmla="*/ 2691 h 2953"/>
                <a:gd name="T118" fmla="*/ 2570 w 4287"/>
                <a:gd name="T119" fmla="*/ 2731 h 2953"/>
                <a:gd name="T120" fmla="*/ 2560 w 4287"/>
                <a:gd name="T121" fmla="*/ 2809 h 2953"/>
                <a:gd name="T122" fmla="*/ 2527 w 4287"/>
                <a:gd name="T123" fmla="*/ 2941 h 2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87" h="2953">
                  <a:moveTo>
                    <a:pt x="524" y="2032"/>
                  </a:moveTo>
                  <a:lnTo>
                    <a:pt x="491" y="2010"/>
                  </a:lnTo>
                  <a:lnTo>
                    <a:pt x="460" y="1999"/>
                  </a:lnTo>
                  <a:lnTo>
                    <a:pt x="470" y="1982"/>
                  </a:lnTo>
                  <a:lnTo>
                    <a:pt x="437" y="1973"/>
                  </a:lnTo>
                  <a:lnTo>
                    <a:pt x="415" y="1973"/>
                  </a:lnTo>
                  <a:lnTo>
                    <a:pt x="385" y="1928"/>
                  </a:lnTo>
                  <a:lnTo>
                    <a:pt x="368" y="1944"/>
                  </a:lnTo>
                  <a:lnTo>
                    <a:pt x="361" y="1937"/>
                  </a:lnTo>
                  <a:lnTo>
                    <a:pt x="361" y="1921"/>
                  </a:lnTo>
                  <a:lnTo>
                    <a:pt x="368" y="1916"/>
                  </a:lnTo>
                  <a:lnTo>
                    <a:pt x="352" y="1904"/>
                  </a:lnTo>
                  <a:lnTo>
                    <a:pt x="361" y="1888"/>
                  </a:lnTo>
                  <a:lnTo>
                    <a:pt x="340" y="1866"/>
                  </a:lnTo>
                  <a:lnTo>
                    <a:pt x="340" y="1845"/>
                  </a:lnTo>
                  <a:lnTo>
                    <a:pt x="361" y="1833"/>
                  </a:lnTo>
                  <a:lnTo>
                    <a:pt x="361" y="1850"/>
                  </a:lnTo>
                  <a:lnTo>
                    <a:pt x="378" y="1862"/>
                  </a:lnTo>
                  <a:lnTo>
                    <a:pt x="394" y="1850"/>
                  </a:lnTo>
                  <a:lnTo>
                    <a:pt x="399" y="1850"/>
                  </a:lnTo>
                  <a:lnTo>
                    <a:pt x="415" y="1828"/>
                  </a:lnTo>
                  <a:lnTo>
                    <a:pt x="399" y="1812"/>
                  </a:lnTo>
                  <a:lnTo>
                    <a:pt x="406" y="1795"/>
                  </a:lnTo>
                  <a:lnTo>
                    <a:pt x="378" y="1776"/>
                  </a:lnTo>
                  <a:lnTo>
                    <a:pt x="361" y="1760"/>
                  </a:lnTo>
                  <a:lnTo>
                    <a:pt x="361" y="1717"/>
                  </a:lnTo>
                  <a:lnTo>
                    <a:pt x="378" y="1706"/>
                  </a:lnTo>
                  <a:lnTo>
                    <a:pt x="378" y="1701"/>
                  </a:lnTo>
                  <a:lnTo>
                    <a:pt x="352" y="1684"/>
                  </a:lnTo>
                  <a:lnTo>
                    <a:pt x="330" y="1677"/>
                  </a:lnTo>
                  <a:lnTo>
                    <a:pt x="309" y="1623"/>
                  </a:lnTo>
                  <a:lnTo>
                    <a:pt x="314" y="1606"/>
                  </a:lnTo>
                  <a:lnTo>
                    <a:pt x="297" y="1606"/>
                  </a:lnTo>
                  <a:lnTo>
                    <a:pt x="271" y="1606"/>
                  </a:lnTo>
                  <a:lnTo>
                    <a:pt x="233" y="1595"/>
                  </a:lnTo>
                  <a:lnTo>
                    <a:pt x="205" y="1583"/>
                  </a:lnTo>
                  <a:lnTo>
                    <a:pt x="205" y="1573"/>
                  </a:lnTo>
                  <a:lnTo>
                    <a:pt x="184" y="1583"/>
                  </a:lnTo>
                  <a:lnTo>
                    <a:pt x="179" y="1566"/>
                  </a:lnTo>
                  <a:lnTo>
                    <a:pt x="163" y="1557"/>
                  </a:lnTo>
                  <a:lnTo>
                    <a:pt x="167" y="1540"/>
                  </a:lnTo>
                  <a:lnTo>
                    <a:pt x="163" y="1512"/>
                  </a:lnTo>
                  <a:lnTo>
                    <a:pt x="146" y="1500"/>
                  </a:lnTo>
                  <a:lnTo>
                    <a:pt x="129" y="1500"/>
                  </a:lnTo>
                  <a:lnTo>
                    <a:pt x="125" y="1484"/>
                  </a:lnTo>
                  <a:lnTo>
                    <a:pt x="108" y="1479"/>
                  </a:lnTo>
                  <a:lnTo>
                    <a:pt x="70" y="1479"/>
                  </a:lnTo>
                  <a:lnTo>
                    <a:pt x="54" y="1462"/>
                  </a:lnTo>
                  <a:lnTo>
                    <a:pt x="82" y="1455"/>
                  </a:lnTo>
                  <a:lnTo>
                    <a:pt x="82" y="1462"/>
                  </a:lnTo>
                  <a:lnTo>
                    <a:pt x="92" y="1462"/>
                  </a:lnTo>
                  <a:lnTo>
                    <a:pt x="113" y="1446"/>
                  </a:lnTo>
                  <a:lnTo>
                    <a:pt x="92" y="1422"/>
                  </a:lnTo>
                  <a:lnTo>
                    <a:pt x="96" y="1417"/>
                  </a:lnTo>
                  <a:lnTo>
                    <a:pt x="82" y="1389"/>
                  </a:lnTo>
                  <a:lnTo>
                    <a:pt x="92" y="1363"/>
                  </a:lnTo>
                  <a:lnTo>
                    <a:pt x="54" y="1347"/>
                  </a:lnTo>
                  <a:lnTo>
                    <a:pt x="37" y="1347"/>
                  </a:lnTo>
                  <a:lnTo>
                    <a:pt x="28" y="1351"/>
                  </a:lnTo>
                  <a:lnTo>
                    <a:pt x="16" y="1347"/>
                  </a:lnTo>
                  <a:lnTo>
                    <a:pt x="7" y="1318"/>
                  </a:lnTo>
                  <a:lnTo>
                    <a:pt x="16" y="1311"/>
                  </a:lnTo>
                  <a:lnTo>
                    <a:pt x="0" y="1295"/>
                  </a:lnTo>
                  <a:lnTo>
                    <a:pt x="7" y="1273"/>
                  </a:lnTo>
                  <a:lnTo>
                    <a:pt x="16" y="1273"/>
                  </a:lnTo>
                  <a:lnTo>
                    <a:pt x="21" y="1262"/>
                  </a:lnTo>
                  <a:lnTo>
                    <a:pt x="16" y="1252"/>
                  </a:lnTo>
                  <a:lnTo>
                    <a:pt x="28" y="1224"/>
                  </a:lnTo>
                  <a:lnTo>
                    <a:pt x="54" y="1219"/>
                  </a:lnTo>
                  <a:lnTo>
                    <a:pt x="75" y="1202"/>
                  </a:lnTo>
                  <a:lnTo>
                    <a:pt x="92" y="1202"/>
                  </a:lnTo>
                  <a:lnTo>
                    <a:pt x="82" y="1186"/>
                  </a:lnTo>
                  <a:lnTo>
                    <a:pt x="113" y="1195"/>
                  </a:lnTo>
                  <a:lnTo>
                    <a:pt x="134" y="1179"/>
                  </a:lnTo>
                  <a:lnTo>
                    <a:pt x="146" y="1202"/>
                  </a:lnTo>
                  <a:lnTo>
                    <a:pt x="179" y="1195"/>
                  </a:lnTo>
                  <a:lnTo>
                    <a:pt x="189" y="1202"/>
                  </a:lnTo>
                  <a:lnTo>
                    <a:pt x="217" y="1179"/>
                  </a:lnTo>
                  <a:lnTo>
                    <a:pt x="217" y="1162"/>
                  </a:lnTo>
                  <a:lnTo>
                    <a:pt x="233" y="1146"/>
                  </a:lnTo>
                  <a:lnTo>
                    <a:pt x="314" y="1141"/>
                  </a:lnTo>
                  <a:lnTo>
                    <a:pt x="330" y="1125"/>
                  </a:lnTo>
                  <a:lnTo>
                    <a:pt x="340" y="1108"/>
                  </a:lnTo>
                  <a:lnTo>
                    <a:pt x="399" y="1075"/>
                  </a:lnTo>
                  <a:lnTo>
                    <a:pt x="432" y="1068"/>
                  </a:lnTo>
                  <a:lnTo>
                    <a:pt x="437" y="1058"/>
                  </a:lnTo>
                  <a:lnTo>
                    <a:pt x="460" y="1051"/>
                  </a:lnTo>
                  <a:lnTo>
                    <a:pt x="460" y="1042"/>
                  </a:lnTo>
                  <a:lnTo>
                    <a:pt x="470" y="1035"/>
                  </a:lnTo>
                  <a:lnTo>
                    <a:pt x="460" y="1002"/>
                  </a:lnTo>
                  <a:lnTo>
                    <a:pt x="470" y="985"/>
                  </a:lnTo>
                  <a:lnTo>
                    <a:pt x="491" y="980"/>
                  </a:lnTo>
                  <a:lnTo>
                    <a:pt x="474" y="969"/>
                  </a:lnTo>
                  <a:lnTo>
                    <a:pt x="507" y="957"/>
                  </a:lnTo>
                  <a:lnTo>
                    <a:pt x="503" y="931"/>
                  </a:lnTo>
                  <a:lnTo>
                    <a:pt x="474" y="869"/>
                  </a:lnTo>
                  <a:lnTo>
                    <a:pt x="474" y="829"/>
                  </a:lnTo>
                  <a:lnTo>
                    <a:pt x="486" y="820"/>
                  </a:lnTo>
                  <a:lnTo>
                    <a:pt x="470" y="813"/>
                  </a:lnTo>
                  <a:lnTo>
                    <a:pt x="448" y="813"/>
                  </a:lnTo>
                  <a:lnTo>
                    <a:pt x="437" y="803"/>
                  </a:lnTo>
                  <a:lnTo>
                    <a:pt x="453" y="791"/>
                  </a:lnTo>
                  <a:lnTo>
                    <a:pt x="566" y="763"/>
                  </a:lnTo>
                  <a:lnTo>
                    <a:pt x="583" y="780"/>
                  </a:lnTo>
                  <a:lnTo>
                    <a:pt x="611" y="775"/>
                  </a:lnTo>
                  <a:lnTo>
                    <a:pt x="633" y="780"/>
                  </a:lnTo>
                  <a:lnTo>
                    <a:pt x="633" y="758"/>
                  </a:lnTo>
                  <a:lnTo>
                    <a:pt x="611" y="742"/>
                  </a:lnTo>
                  <a:lnTo>
                    <a:pt x="663" y="614"/>
                  </a:lnTo>
                  <a:lnTo>
                    <a:pt x="663" y="593"/>
                  </a:lnTo>
                  <a:lnTo>
                    <a:pt x="725" y="614"/>
                  </a:lnTo>
                  <a:lnTo>
                    <a:pt x="777" y="614"/>
                  </a:lnTo>
                  <a:lnTo>
                    <a:pt x="784" y="626"/>
                  </a:lnTo>
                  <a:lnTo>
                    <a:pt x="784" y="631"/>
                  </a:lnTo>
                  <a:lnTo>
                    <a:pt x="815" y="610"/>
                  </a:lnTo>
                  <a:lnTo>
                    <a:pt x="838" y="610"/>
                  </a:lnTo>
                  <a:lnTo>
                    <a:pt x="848" y="593"/>
                  </a:lnTo>
                  <a:lnTo>
                    <a:pt x="848" y="581"/>
                  </a:lnTo>
                  <a:lnTo>
                    <a:pt x="838" y="569"/>
                  </a:lnTo>
                  <a:lnTo>
                    <a:pt x="838" y="527"/>
                  </a:lnTo>
                  <a:lnTo>
                    <a:pt x="852" y="487"/>
                  </a:lnTo>
                  <a:lnTo>
                    <a:pt x="907" y="470"/>
                  </a:lnTo>
                  <a:lnTo>
                    <a:pt x="923" y="458"/>
                  </a:lnTo>
                  <a:lnTo>
                    <a:pt x="918" y="432"/>
                  </a:lnTo>
                  <a:lnTo>
                    <a:pt x="935" y="416"/>
                  </a:lnTo>
                  <a:lnTo>
                    <a:pt x="961" y="425"/>
                  </a:lnTo>
                  <a:lnTo>
                    <a:pt x="999" y="416"/>
                  </a:lnTo>
                  <a:lnTo>
                    <a:pt x="999" y="432"/>
                  </a:lnTo>
                  <a:lnTo>
                    <a:pt x="994" y="442"/>
                  </a:lnTo>
                  <a:lnTo>
                    <a:pt x="1015" y="458"/>
                  </a:lnTo>
                  <a:lnTo>
                    <a:pt x="1011" y="470"/>
                  </a:lnTo>
                  <a:lnTo>
                    <a:pt x="1048" y="487"/>
                  </a:lnTo>
                  <a:lnTo>
                    <a:pt x="1053" y="503"/>
                  </a:lnTo>
                  <a:lnTo>
                    <a:pt x="1086" y="520"/>
                  </a:lnTo>
                  <a:lnTo>
                    <a:pt x="1117" y="520"/>
                  </a:lnTo>
                  <a:lnTo>
                    <a:pt x="1133" y="536"/>
                  </a:lnTo>
                  <a:lnTo>
                    <a:pt x="1155" y="536"/>
                  </a:lnTo>
                  <a:lnTo>
                    <a:pt x="1155" y="543"/>
                  </a:lnTo>
                  <a:lnTo>
                    <a:pt x="1178" y="569"/>
                  </a:lnTo>
                  <a:lnTo>
                    <a:pt x="1188" y="581"/>
                  </a:lnTo>
                  <a:lnTo>
                    <a:pt x="1204" y="610"/>
                  </a:lnTo>
                  <a:lnTo>
                    <a:pt x="1216" y="626"/>
                  </a:lnTo>
                  <a:lnTo>
                    <a:pt x="1226" y="652"/>
                  </a:lnTo>
                  <a:lnTo>
                    <a:pt x="1216" y="680"/>
                  </a:lnTo>
                  <a:lnTo>
                    <a:pt x="1226" y="704"/>
                  </a:lnTo>
                  <a:lnTo>
                    <a:pt x="1204" y="725"/>
                  </a:lnTo>
                  <a:lnTo>
                    <a:pt x="1192" y="747"/>
                  </a:lnTo>
                  <a:lnTo>
                    <a:pt x="1209" y="775"/>
                  </a:lnTo>
                  <a:lnTo>
                    <a:pt x="1259" y="791"/>
                  </a:lnTo>
                  <a:lnTo>
                    <a:pt x="1405" y="796"/>
                  </a:lnTo>
                  <a:lnTo>
                    <a:pt x="1481" y="853"/>
                  </a:lnTo>
                  <a:lnTo>
                    <a:pt x="1502" y="858"/>
                  </a:lnTo>
                  <a:lnTo>
                    <a:pt x="1528" y="858"/>
                  </a:lnTo>
                  <a:lnTo>
                    <a:pt x="1528" y="886"/>
                  </a:lnTo>
                  <a:lnTo>
                    <a:pt x="1540" y="886"/>
                  </a:lnTo>
                  <a:lnTo>
                    <a:pt x="1566" y="947"/>
                  </a:lnTo>
                  <a:lnTo>
                    <a:pt x="1594" y="980"/>
                  </a:lnTo>
                  <a:lnTo>
                    <a:pt x="1594" y="997"/>
                  </a:lnTo>
                  <a:lnTo>
                    <a:pt x="1646" y="985"/>
                  </a:lnTo>
                  <a:lnTo>
                    <a:pt x="1821" y="1014"/>
                  </a:lnTo>
                  <a:lnTo>
                    <a:pt x="1873" y="997"/>
                  </a:lnTo>
                  <a:lnTo>
                    <a:pt x="1911" y="997"/>
                  </a:lnTo>
                  <a:lnTo>
                    <a:pt x="1981" y="1014"/>
                  </a:lnTo>
                  <a:lnTo>
                    <a:pt x="1998" y="1035"/>
                  </a:lnTo>
                  <a:lnTo>
                    <a:pt x="2040" y="1042"/>
                  </a:lnTo>
                  <a:lnTo>
                    <a:pt x="2090" y="1068"/>
                  </a:lnTo>
                  <a:lnTo>
                    <a:pt x="2123" y="1075"/>
                  </a:lnTo>
                  <a:lnTo>
                    <a:pt x="2166" y="1068"/>
                  </a:lnTo>
                  <a:lnTo>
                    <a:pt x="2166" y="1084"/>
                  </a:lnTo>
                  <a:lnTo>
                    <a:pt x="2199" y="1091"/>
                  </a:lnTo>
                  <a:lnTo>
                    <a:pt x="2203" y="1091"/>
                  </a:lnTo>
                  <a:lnTo>
                    <a:pt x="2220" y="1084"/>
                  </a:lnTo>
                  <a:lnTo>
                    <a:pt x="2258" y="1058"/>
                  </a:lnTo>
                  <a:lnTo>
                    <a:pt x="2376" y="1018"/>
                  </a:lnTo>
                  <a:lnTo>
                    <a:pt x="2506" y="1018"/>
                  </a:lnTo>
                  <a:lnTo>
                    <a:pt x="2581" y="985"/>
                  </a:lnTo>
                  <a:lnTo>
                    <a:pt x="2624" y="940"/>
                  </a:lnTo>
                  <a:lnTo>
                    <a:pt x="2690" y="907"/>
                  </a:lnTo>
                  <a:lnTo>
                    <a:pt x="2683" y="886"/>
                  </a:lnTo>
                  <a:lnTo>
                    <a:pt x="2652" y="853"/>
                  </a:lnTo>
                  <a:lnTo>
                    <a:pt x="2678" y="796"/>
                  </a:lnTo>
                  <a:lnTo>
                    <a:pt x="2700" y="780"/>
                  </a:lnTo>
                  <a:lnTo>
                    <a:pt x="2721" y="791"/>
                  </a:lnTo>
                  <a:lnTo>
                    <a:pt x="2754" y="803"/>
                  </a:lnTo>
                  <a:lnTo>
                    <a:pt x="2808" y="813"/>
                  </a:lnTo>
                  <a:lnTo>
                    <a:pt x="2867" y="775"/>
                  </a:lnTo>
                  <a:lnTo>
                    <a:pt x="2867" y="758"/>
                  </a:lnTo>
                  <a:lnTo>
                    <a:pt x="2938" y="758"/>
                  </a:lnTo>
                  <a:lnTo>
                    <a:pt x="2985" y="737"/>
                  </a:lnTo>
                  <a:lnTo>
                    <a:pt x="3002" y="692"/>
                  </a:lnTo>
                  <a:lnTo>
                    <a:pt x="3023" y="680"/>
                  </a:lnTo>
                  <a:lnTo>
                    <a:pt x="3030" y="669"/>
                  </a:lnTo>
                  <a:lnTo>
                    <a:pt x="3068" y="669"/>
                  </a:lnTo>
                  <a:lnTo>
                    <a:pt x="3068" y="652"/>
                  </a:lnTo>
                  <a:lnTo>
                    <a:pt x="3099" y="652"/>
                  </a:lnTo>
                  <a:lnTo>
                    <a:pt x="3137" y="636"/>
                  </a:lnTo>
                  <a:lnTo>
                    <a:pt x="3170" y="647"/>
                  </a:lnTo>
                  <a:lnTo>
                    <a:pt x="3174" y="636"/>
                  </a:lnTo>
                  <a:lnTo>
                    <a:pt x="3207" y="647"/>
                  </a:lnTo>
                  <a:lnTo>
                    <a:pt x="3229" y="652"/>
                  </a:lnTo>
                  <a:lnTo>
                    <a:pt x="3245" y="636"/>
                  </a:lnTo>
                  <a:lnTo>
                    <a:pt x="3245" y="626"/>
                  </a:lnTo>
                  <a:lnTo>
                    <a:pt x="3229" y="598"/>
                  </a:lnTo>
                  <a:lnTo>
                    <a:pt x="3191" y="569"/>
                  </a:lnTo>
                  <a:lnTo>
                    <a:pt x="3191" y="553"/>
                  </a:lnTo>
                  <a:lnTo>
                    <a:pt x="3170" y="543"/>
                  </a:lnTo>
                  <a:lnTo>
                    <a:pt x="3153" y="520"/>
                  </a:lnTo>
                  <a:lnTo>
                    <a:pt x="3099" y="520"/>
                  </a:lnTo>
                  <a:lnTo>
                    <a:pt x="3068" y="553"/>
                  </a:lnTo>
                  <a:lnTo>
                    <a:pt x="3040" y="536"/>
                  </a:lnTo>
                  <a:lnTo>
                    <a:pt x="2992" y="536"/>
                  </a:lnTo>
                  <a:lnTo>
                    <a:pt x="2969" y="553"/>
                  </a:lnTo>
                  <a:lnTo>
                    <a:pt x="2948" y="527"/>
                  </a:lnTo>
                  <a:lnTo>
                    <a:pt x="2938" y="515"/>
                  </a:lnTo>
                  <a:lnTo>
                    <a:pt x="2959" y="499"/>
                  </a:lnTo>
                  <a:lnTo>
                    <a:pt x="2959" y="470"/>
                  </a:lnTo>
                  <a:lnTo>
                    <a:pt x="2976" y="449"/>
                  </a:lnTo>
                  <a:lnTo>
                    <a:pt x="3023" y="354"/>
                  </a:lnTo>
                  <a:lnTo>
                    <a:pt x="3111" y="388"/>
                  </a:lnTo>
                  <a:lnTo>
                    <a:pt x="3153" y="347"/>
                  </a:lnTo>
                  <a:lnTo>
                    <a:pt x="3191" y="338"/>
                  </a:lnTo>
                  <a:lnTo>
                    <a:pt x="3207" y="331"/>
                  </a:lnTo>
                  <a:lnTo>
                    <a:pt x="3207" y="305"/>
                  </a:lnTo>
                  <a:lnTo>
                    <a:pt x="3191" y="298"/>
                  </a:lnTo>
                  <a:lnTo>
                    <a:pt x="3219" y="265"/>
                  </a:lnTo>
                  <a:lnTo>
                    <a:pt x="3224" y="248"/>
                  </a:lnTo>
                  <a:lnTo>
                    <a:pt x="3240" y="239"/>
                  </a:lnTo>
                  <a:lnTo>
                    <a:pt x="3262" y="182"/>
                  </a:lnTo>
                  <a:lnTo>
                    <a:pt x="3300" y="154"/>
                  </a:lnTo>
                  <a:lnTo>
                    <a:pt x="3309" y="132"/>
                  </a:lnTo>
                  <a:lnTo>
                    <a:pt x="3300" y="116"/>
                  </a:lnTo>
                  <a:lnTo>
                    <a:pt x="3300" y="95"/>
                  </a:lnTo>
                  <a:lnTo>
                    <a:pt x="3283" y="83"/>
                  </a:lnTo>
                  <a:lnTo>
                    <a:pt x="3262" y="95"/>
                  </a:lnTo>
                  <a:lnTo>
                    <a:pt x="3257" y="71"/>
                  </a:lnTo>
                  <a:lnTo>
                    <a:pt x="3309" y="21"/>
                  </a:lnTo>
                  <a:lnTo>
                    <a:pt x="3510" y="0"/>
                  </a:lnTo>
                  <a:lnTo>
                    <a:pt x="3543" y="17"/>
                  </a:lnTo>
                  <a:lnTo>
                    <a:pt x="3552" y="17"/>
                  </a:lnTo>
                  <a:lnTo>
                    <a:pt x="3569" y="26"/>
                  </a:lnTo>
                  <a:lnTo>
                    <a:pt x="3597" y="38"/>
                  </a:lnTo>
                  <a:lnTo>
                    <a:pt x="3618" y="26"/>
                  </a:lnTo>
                  <a:lnTo>
                    <a:pt x="3649" y="43"/>
                  </a:lnTo>
                  <a:lnTo>
                    <a:pt x="3656" y="54"/>
                  </a:lnTo>
                  <a:lnTo>
                    <a:pt x="3649" y="62"/>
                  </a:lnTo>
                  <a:lnTo>
                    <a:pt x="3677" y="78"/>
                  </a:lnTo>
                  <a:lnTo>
                    <a:pt x="3673" y="95"/>
                  </a:lnTo>
                  <a:lnTo>
                    <a:pt x="3687" y="95"/>
                  </a:lnTo>
                  <a:lnTo>
                    <a:pt x="3703" y="111"/>
                  </a:lnTo>
                  <a:lnTo>
                    <a:pt x="3694" y="132"/>
                  </a:lnTo>
                  <a:lnTo>
                    <a:pt x="3715" y="132"/>
                  </a:lnTo>
                  <a:lnTo>
                    <a:pt x="3703" y="149"/>
                  </a:lnTo>
                  <a:lnTo>
                    <a:pt x="3725" y="170"/>
                  </a:lnTo>
                  <a:lnTo>
                    <a:pt x="3732" y="203"/>
                  </a:lnTo>
                  <a:lnTo>
                    <a:pt x="3741" y="203"/>
                  </a:lnTo>
                  <a:lnTo>
                    <a:pt x="3732" y="222"/>
                  </a:lnTo>
                  <a:lnTo>
                    <a:pt x="3741" y="210"/>
                  </a:lnTo>
                  <a:lnTo>
                    <a:pt x="3741" y="239"/>
                  </a:lnTo>
                  <a:lnTo>
                    <a:pt x="3762" y="265"/>
                  </a:lnTo>
                  <a:lnTo>
                    <a:pt x="3770" y="281"/>
                  </a:lnTo>
                  <a:lnTo>
                    <a:pt x="3762" y="293"/>
                  </a:lnTo>
                  <a:lnTo>
                    <a:pt x="3770" y="305"/>
                  </a:lnTo>
                  <a:lnTo>
                    <a:pt x="3786" y="314"/>
                  </a:lnTo>
                  <a:lnTo>
                    <a:pt x="3779" y="331"/>
                  </a:lnTo>
                  <a:lnTo>
                    <a:pt x="3779" y="354"/>
                  </a:lnTo>
                  <a:lnTo>
                    <a:pt x="3800" y="376"/>
                  </a:lnTo>
                  <a:lnTo>
                    <a:pt x="3871" y="376"/>
                  </a:lnTo>
                  <a:lnTo>
                    <a:pt x="3892" y="404"/>
                  </a:lnTo>
                  <a:lnTo>
                    <a:pt x="3921" y="392"/>
                  </a:lnTo>
                  <a:lnTo>
                    <a:pt x="3925" y="404"/>
                  </a:lnTo>
                  <a:lnTo>
                    <a:pt x="3930" y="409"/>
                  </a:lnTo>
                  <a:lnTo>
                    <a:pt x="3947" y="425"/>
                  </a:lnTo>
                  <a:lnTo>
                    <a:pt x="3975" y="442"/>
                  </a:lnTo>
                  <a:lnTo>
                    <a:pt x="4001" y="442"/>
                  </a:lnTo>
                  <a:lnTo>
                    <a:pt x="3996" y="465"/>
                  </a:lnTo>
                  <a:lnTo>
                    <a:pt x="4013" y="499"/>
                  </a:lnTo>
                  <a:lnTo>
                    <a:pt x="4001" y="515"/>
                  </a:lnTo>
                  <a:lnTo>
                    <a:pt x="4018" y="527"/>
                  </a:lnTo>
                  <a:lnTo>
                    <a:pt x="4027" y="553"/>
                  </a:lnTo>
                  <a:lnTo>
                    <a:pt x="4136" y="553"/>
                  </a:lnTo>
                  <a:lnTo>
                    <a:pt x="4140" y="536"/>
                  </a:lnTo>
                  <a:lnTo>
                    <a:pt x="4174" y="515"/>
                  </a:lnTo>
                  <a:lnTo>
                    <a:pt x="4202" y="520"/>
                  </a:lnTo>
                  <a:lnTo>
                    <a:pt x="4216" y="499"/>
                  </a:lnTo>
                  <a:lnTo>
                    <a:pt x="4266" y="487"/>
                  </a:lnTo>
                  <a:lnTo>
                    <a:pt x="4287" y="499"/>
                  </a:lnTo>
                  <a:lnTo>
                    <a:pt x="4270" y="520"/>
                  </a:lnTo>
                  <a:lnTo>
                    <a:pt x="4287" y="553"/>
                  </a:lnTo>
                  <a:lnTo>
                    <a:pt x="4270" y="569"/>
                  </a:lnTo>
                  <a:lnTo>
                    <a:pt x="4249" y="581"/>
                  </a:lnTo>
                  <a:lnTo>
                    <a:pt x="4249" y="610"/>
                  </a:lnTo>
                  <a:lnTo>
                    <a:pt x="4244" y="610"/>
                  </a:lnTo>
                  <a:lnTo>
                    <a:pt x="4233" y="647"/>
                  </a:lnTo>
                  <a:lnTo>
                    <a:pt x="4228" y="664"/>
                  </a:lnTo>
                  <a:lnTo>
                    <a:pt x="4233" y="669"/>
                  </a:lnTo>
                  <a:lnTo>
                    <a:pt x="4228" y="680"/>
                  </a:lnTo>
                  <a:lnTo>
                    <a:pt x="4195" y="721"/>
                  </a:lnTo>
                  <a:lnTo>
                    <a:pt x="4195" y="742"/>
                  </a:lnTo>
                  <a:lnTo>
                    <a:pt x="4174" y="758"/>
                  </a:lnTo>
                  <a:lnTo>
                    <a:pt x="4174" y="780"/>
                  </a:lnTo>
                  <a:lnTo>
                    <a:pt x="4157" y="791"/>
                  </a:lnTo>
                  <a:lnTo>
                    <a:pt x="4093" y="775"/>
                  </a:lnTo>
                  <a:lnTo>
                    <a:pt x="4088" y="763"/>
                  </a:lnTo>
                  <a:lnTo>
                    <a:pt x="4055" y="796"/>
                  </a:lnTo>
                  <a:lnTo>
                    <a:pt x="4018" y="803"/>
                  </a:lnTo>
                  <a:lnTo>
                    <a:pt x="4034" y="820"/>
                  </a:lnTo>
                  <a:lnTo>
                    <a:pt x="4051" y="874"/>
                  </a:lnTo>
                  <a:lnTo>
                    <a:pt x="4039" y="924"/>
                  </a:lnTo>
                  <a:lnTo>
                    <a:pt x="4051" y="940"/>
                  </a:lnTo>
                  <a:lnTo>
                    <a:pt x="4034" y="964"/>
                  </a:lnTo>
                  <a:lnTo>
                    <a:pt x="4034" y="980"/>
                  </a:lnTo>
                  <a:lnTo>
                    <a:pt x="3985" y="997"/>
                  </a:lnTo>
                  <a:lnTo>
                    <a:pt x="3996" y="1002"/>
                  </a:lnTo>
                  <a:lnTo>
                    <a:pt x="3996" y="1018"/>
                  </a:lnTo>
                  <a:lnTo>
                    <a:pt x="3996" y="1014"/>
                  </a:lnTo>
                  <a:lnTo>
                    <a:pt x="3975" y="997"/>
                  </a:lnTo>
                  <a:lnTo>
                    <a:pt x="3975" y="980"/>
                  </a:lnTo>
                  <a:lnTo>
                    <a:pt x="3947" y="969"/>
                  </a:lnTo>
                  <a:lnTo>
                    <a:pt x="3930" y="1018"/>
                  </a:lnTo>
                  <a:lnTo>
                    <a:pt x="3921" y="1025"/>
                  </a:lnTo>
                  <a:lnTo>
                    <a:pt x="3909" y="1018"/>
                  </a:lnTo>
                  <a:lnTo>
                    <a:pt x="3904" y="1035"/>
                  </a:lnTo>
                  <a:lnTo>
                    <a:pt x="3876" y="1058"/>
                  </a:lnTo>
                  <a:lnTo>
                    <a:pt x="3817" y="1058"/>
                  </a:lnTo>
                  <a:lnTo>
                    <a:pt x="3824" y="1075"/>
                  </a:lnTo>
                  <a:lnTo>
                    <a:pt x="3833" y="1091"/>
                  </a:lnTo>
                  <a:lnTo>
                    <a:pt x="3824" y="1113"/>
                  </a:lnTo>
                  <a:lnTo>
                    <a:pt x="3762" y="1108"/>
                  </a:lnTo>
                  <a:lnTo>
                    <a:pt x="3741" y="1075"/>
                  </a:lnTo>
                  <a:lnTo>
                    <a:pt x="3715" y="1091"/>
                  </a:lnTo>
                  <a:lnTo>
                    <a:pt x="3711" y="1113"/>
                  </a:lnTo>
                  <a:lnTo>
                    <a:pt x="3677" y="1151"/>
                  </a:lnTo>
                  <a:lnTo>
                    <a:pt x="3656" y="1151"/>
                  </a:lnTo>
                  <a:lnTo>
                    <a:pt x="3635" y="1169"/>
                  </a:lnTo>
                  <a:lnTo>
                    <a:pt x="3607" y="1186"/>
                  </a:lnTo>
                  <a:lnTo>
                    <a:pt x="3607" y="1195"/>
                  </a:lnTo>
                  <a:lnTo>
                    <a:pt x="3597" y="1186"/>
                  </a:lnTo>
                  <a:lnTo>
                    <a:pt x="3564" y="1219"/>
                  </a:lnTo>
                  <a:lnTo>
                    <a:pt x="3552" y="1236"/>
                  </a:lnTo>
                  <a:lnTo>
                    <a:pt x="3543" y="1240"/>
                  </a:lnTo>
                  <a:lnTo>
                    <a:pt x="3514" y="1240"/>
                  </a:lnTo>
                  <a:lnTo>
                    <a:pt x="3493" y="1252"/>
                  </a:lnTo>
                  <a:lnTo>
                    <a:pt x="3477" y="1240"/>
                  </a:lnTo>
                  <a:lnTo>
                    <a:pt x="3488" y="1257"/>
                  </a:lnTo>
                  <a:lnTo>
                    <a:pt x="3422" y="1278"/>
                  </a:lnTo>
                  <a:lnTo>
                    <a:pt x="3392" y="1311"/>
                  </a:lnTo>
                  <a:lnTo>
                    <a:pt x="3370" y="1311"/>
                  </a:lnTo>
                  <a:lnTo>
                    <a:pt x="3370" y="1330"/>
                  </a:lnTo>
                  <a:lnTo>
                    <a:pt x="3333" y="1335"/>
                  </a:lnTo>
                  <a:lnTo>
                    <a:pt x="3333" y="1318"/>
                  </a:lnTo>
                  <a:lnTo>
                    <a:pt x="3370" y="1306"/>
                  </a:lnTo>
                  <a:lnTo>
                    <a:pt x="3363" y="1295"/>
                  </a:lnTo>
                  <a:lnTo>
                    <a:pt x="3380" y="1278"/>
                  </a:lnTo>
                  <a:lnTo>
                    <a:pt x="3363" y="1278"/>
                  </a:lnTo>
                  <a:lnTo>
                    <a:pt x="3354" y="1273"/>
                  </a:lnTo>
                  <a:lnTo>
                    <a:pt x="3337" y="1262"/>
                  </a:lnTo>
                  <a:lnTo>
                    <a:pt x="3363" y="1257"/>
                  </a:lnTo>
                  <a:lnTo>
                    <a:pt x="3354" y="1240"/>
                  </a:lnTo>
                  <a:lnTo>
                    <a:pt x="3385" y="1236"/>
                  </a:lnTo>
                  <a:lnTo>
                    <a:pt x="3418" y="1186"/>
                  </a:lnTo>
                  <a:lnTo>
                    <a:pt x="3401" y="1162"/>
                  </a:lnTo>
                  <a:lnTo>
                    <a:pt x="3337" y="1151"/>
                  </a:lnTo>
                  <a:lnTo>
                    <a:pt x="3325" y="1162"/>
                  </a:lnTo>
                  <a:lnTo>
                    <a:pt x="3316" y="1162"/>
                  </a:lnTo>
                  <a:lnTo>
                    <a:pt x="3325" y="1169"/>
                  </a:lnTo>
                  <a:lnTo>
                    <a:pt x="3309" y="1169"/>
                  </a:lnTo>
                  <a:lnTo>
                    <a:pt x="3295" y="1195"/>
                  </a:lnTo>
                  <a:lnTo>
                    <a:pt x="3283" y="1207"/>
                  </a:lnTo>
                  <a:lnTo>
                    <a:pt x="3224" y="1240"/>
                  </a:lnTo>
                  <a:lnTo>
                    <a:pt x="3207" y="1252"/>
                  </a:lnTo>
                  <a:lnTo>
                    <a:pt x="3203" y="1278"/>
                  </a:lnTo>
                  <a:lnTo>
                    <a:pt x="3174" y="1306"/>
                  </a:lnTo>
                  <a:lnTo>
                    <a:pt x="3186" y="1295"/>
                  </a:lnTo>
                  <a:lnTo>
                    <a:pt x="3153" y="1295"/>
                  </a:lnTo>
                  <a:lnTo>
                    <a:pt x="3137" y="1311"/>
                  </a:lnTo>
                  <a:lnTo>
                    <a:pt x="3115" y="1295"/>
                  </a:lnTo>
                  <a:lnTo>
                    <a:pt x="3094" y="1306"/>
                  </a:lnTo>
                  <a:lnTo>
                    <a:pt x="3082" y="1347"/>
                  </a:lnTo>
                  <a:lnTo>
                    <a:pt x="3094" y="1368"/>
                  </a:lnTo>
                  <a:lnTo>
                    <a:pt x="3120" y="1384"/>
                  </a:lnTo>
                  <a:lnTo>
                    <a:pt x="3170" y="1384"/>
                  </a:lnTo>
                  <a:lnTo>
                    <a:pt x="3186" y="1406"/>
                  </a:lnTo>
                  <a:lnTo>
                    <a:pt x="3174" y="1455"/>
                  </a:lnTo>
                  <a:lnTo>
                    <a:pt x="3203" y="1472"/>
                  </a:lnTo>
                  <a:lnTo>
                    <a:pt x="3240" y="1472"/>
                  </a:lnTo>
                  <a:lnTo>
                    <a:pt x="3245" y="1462"/>
                  </a:lnTo>
                  <a:lnTo>
                    <a:pt x="3245" y="1446"/>
                  </a:lnTo>
                  <a:lnTo>
                    <a:pt x="3309" y="1406"/>
                  </a:lnTo>
                  <a:lnTo>
                    <a:pt x="3316" y="1417"/>
                  </a:lnTo>
                  <a:lnTo>
                    <a:pt x="3333" y="1429"/>
                  </a:lnTo>
                  <a:lnTo>
                    <a:pt x="3363" y="1446"/>
                  </a:lnTo>
                  <a:lnTo>
                    <a:pt x="3401" y="1429"/>
                  </a:lnTo>
                  <a:lnTo>
                    <a:pt x="3408" y="1446"/>
                  </a:lnTo>
                  <a:lnTo>
                    <a:pt x="3434" y="1446"/>
                  </a:lnTo>
                  <a:lnTo>
                    <a:pt x="3439" y="1462"/>
                  </a:lnTo>
                  <a:lnTo>
                    <a:pt x="3422" y="1472"/>
                  </a:lnTo>
                  <a:lnTo>
                    <a:pt x="3422" y="1479"/>
                  </a:lnTo>
                  <a:lnTo>
                    <a:pt x="3434" y="1479"/>
                  </a:lnTo>
                  <a:lnTo>
                    <a:pt x="3434" y="1484"/>
                  </a:lnTo>
                  <a:lnTo>
                    <a:pt x="3408" y="1495"/>
                  </a:lnTo>
                  <a:lnTo>
                    <a:pt x="3408" y="1484"/>
                  </a:lnTo>
                  <a:lnTo>
                    <a:pt x="3392" y="1479"/>
                  </a:lnTo>
                  <a:lnTo>
                    <a:pt x="3363" y="1500"/>
                  </a:lnTo>
                  <a:lnTo>
                    <a:pt x="3363" y="1495"/>
                  </a:lnTo>
                  <a:lnTo>
                    <a:pt x="3325" y="1517"/>
                  </a:lnTo>
                  <a:lnTo>
                    <a:pt x="3309" y="1512"/>
                  </a:lnTo>
                  <a:lnTo>
                    <a:pt x="3309" y="1517"/>
                  </a:lnTo>
                  <a:lnTo>
                    <a:pt x="3316" y="1512"/>
                  </a:lnTo>
                  <a:lnTo>
                    <a:pt x="3325" y="1517"/>
                  </a:lnTo>
                  <a:lnTo>
                    <a:pt x="3316" y="1533"/>
                  </a:lnTo>
                  <a:lnTo>
                    <a:pt x="3309" y="1528"/>
                  </a:lnTo>
                  <a:lnTo>
                    <a:pt x="3300" y="1528"/>
                  </a:lnTo>
                  <a:lnTo>
                    <a:pt x="3300" y="1550"/>
                  </a:lnTo>
                  <a:lnTo>
                    <a:pt x="3278" y="1557"/>
                  </a:lnTo>
                  <a:lnTo>
                    <a:pt x="3278" y="1550"/>
                  </a:lnTo>
                  <a:lnTo>
                    <a:pt x="3278" y="1540"/>
                  </a:lnTo>
                  <a:lnTo>
                    <a:pt x="3262" y="1550"/>
                  </a:lnTo>
                  <a:lnTo>
                    <a:pt x="3271" y="1566"/>
                  </a:lnTo>
                  <a:lnTo>
                    <a:pt x="3245" y="1583"/>
                  </a:lnTo>
                  <a:lnTo>
                    <a:pt x="3245" y="1590"/>
                  </a:lnTo>
                  <a:lnTo>
                    <a:pt x="3229" y="1595"/>
                  </a:lnTo>
                  <a:lnTo>
                    <a:pt x="3207" y="1639"/>
                  </a:lnTo>
                  <a:lnTo>
                    <a:pt x="3203" y="1639"/>
                  </a:lnTo>
                  <a:lnTo>
                    <a:pt x="3191" y="1651"/>
                  </a:lnTo>
                  <a:lnTo>
                    <a:pt x="3203" y="1661"/>
                  </a:lnTo>
                  <a:lnTo>
                    <a:pt x="3219" y="1668"/>
                  </a:lnTo>
                  <a:lnTo>
                    <a:pt x="3229" y="1684"/>
                  </a:lnTo>
                  <a:lnTo>
                    <a:pt x="3271" y="1701"/>
                  </a:lnTo>
                  <a:lnTo>
                    <a:pt x="3283" y="1755"/>
                  </a:lnTo>
                  <a:lnTo>
                    <a:pt x="3316" y="1812"/>
                  </a:lnTo>
                  <a:lnTo>
                    <a:pt x="3316" y="1833"/>
                  </a:lnTo>
                  <a:lnTo>
                    <a:pt x="3354" y="1862"/>
                  </a:lnTo>
                  <a:lnTo>
                    <a:pt x="3354" y="1871"/>
                  </a:lnTo>
                  <a:lnTo>
                    <a:pt x="3380" y="1888"/>
                  </a:lnTo>
                  <a:lnTo>
                    <a:pt x="3385" y="1904"/>
                  </a:lnTo>
                  <a:lnTo>
                    <a:pt x="3385" y="1916"/>
                  </a:lnTo>
                  <a:lnTo>
                    <a:pt x="3347" y="1899"/>
                  </a:lnTo>
                  <a:lnTo>
                    <a:pt x="3325" y="1899"/>
                  </a:lnTo>
                  <a:lnTo>
                    <a:pt x="3295" y="1883"/>
                  </a:lnTo>
                  <a:lnTo>
                    <a:pt x="3262" y="1888"/>
                  </a:lnTo>
                  <a:lnTo>
                    <a:pt x="3240" y="1862"/>
                  </a:lnTo>
                  <a:lnTo>
                    <a:pt x="3229" y="1866"/>
                  </a:lnTo>
                  <a:lnTo>
                    <a:pt x="3224" y="1871"/>
                  </a:lnTo>
                  <a:lnTo>
                    <a:pt x="3240" y="1871"/>
                  </a:lnTo>
                  <a:lnTo>
                    <a:pt x="3245" y="1888"/>
                  </a:lnTo>
                  <a:lnTo>
                    <a:pt x="3262" y="1888"/>
                  </a:lnTo>
                  <a:lnTo>
                    <a:pt x="3283" y="1883"/>
                  </a:lnTo>
                  <a:lnTo>
                    <a:pt x="3300" y="1888"/>
                  </a:lnTo>
                  <a:lnTo>
                    <a:pt x="3309" y="1899"/>
                  </a:lnTo>
                  <a:lnTo>
                    <a:pt x="3300" y="1899"/>
                  </a:lnTo>
                  <a:lnTo>
                    <a:pt x="3333" y="1904"/>
                  </a:lnTo>
                  <a:lnTo>
                    <a:pt x="3370" y="1937"/>
                  </a:lnTo>
                  <a:lnTo>
                    <a:pt x="3385" y="1973"/>
                  </a:lnTo>
                  <a:lnTo>
                    <a:pt x="3385" y="1977"/>
                  </a:lnTo>
                  <a:lnTo>
                    <a:pt x="3354" y="1977"/>
                  </a:lnTo>
                  <a:lnTo>
                    <a:pt x="3325" y="1999"/>
                  </a:lnTo>
                  <a:lnTo>
                    <a:pt x="3309" y="2015"/>
                  </a:lnTo>
                  <a:lnTo>
                    <a:pt x="3283" y="2015"/>
                  </a:lnTo>
                  <a:lnTo>
                    <a:pt x="3262" y="2032"/>
                  </a:lnTo>
                  <a:lnTo>
                    <a:pt x="3295" y="2015"/>
                  </a:lnTo>
                  <a:lnTo>
                    <a:pt x="3295" y="2032"/>
                  </a:lnTo>
                  <a:lnTo>
                    <a:pt x="3309" y="2039"/>
                  </a:lnTo>
                  <a:lnTo>
                    <a:pt x="3347" y="2027"/>
                  </a:lnTo>
                  <a:lnTo>
                    <a:pt x="3370" y="2048"/>
                  </a:lnTo>
                  <a:lnTo>
                    <a:pt x="3401" y="2055"/>
                  </a:lnTo>
                  <a:lnTo>
                    <a:pt x="3370" y="2081"/>
                  </a:lnTo>
                  <a:lnTo>
                    <a:pt x="3363" y="2081"/>
                  </a:lnTo>
                  <a:lnTo>
                    <a:pt x="3354" y="2088"/>
                  </a:lnTo>
                  <a:lnTo>
                    <a:pt x="3380" y="2081"/>
                  </a:lnTo>
                  <a:lnTo>
                    <a:pt x="3380" y="2088"/>
                  </a:lnTo>
                  <a:lnTo>
                    <a:pt x="3385" y="2081"/>
                  </a:lnTo>
                  <a:lnTo>
                    <a:pt x="3380" y="2081"/>
                  </a:lnTo>
                  <a:lnTo>
                    <a:pt x="3385" y="2072"/>
                  </a:lnTo>
                  <a:lnTo>
                    <a:pt x="3392" y="2081"/>
                  </a:lnTo>
                  <a:lnTo>
                    <a:pt x="3385" y="2105"/>
                  </a:lnTo>
                  <a:lnTo>
                    <a:pt x="3392" y="2105"/>
                  </a:lnTo>
                  <a:lnTo>
                    <a:pt x="3385" y="2110"/>
                  </a:lnTo>
                  <a:lnTo>
                    <a:pt x="3380" y="2093"/>
                  </a:lnTo>
                  <a:lnTo>
                    <a:pt x="3380" y="2110"/>
                  </a:lnTo>
                  <a:lnTo>
                    <a:pt x="3363" y="2105"/>
                  </a:lnTo>
                  <a:lnTo>
                    <a:pt x="3354" y="2110"/>
                  </a:lnTo>
                  <a:lnTo>
                    <a:pt x="3370" y="2121"/>
                  </a:lnTo>
                  <a:lnTo>
                    <a:pt x="3370" y="2126"/>
                  </a:lnTo>
                  <a:lnTo>
                    <a:pt x="3354" y="2126"/>
                  </a:lnTo>
                  <a:lnTo>
                    <a:pt x="3370" y="2138"/>
                  </a:lnTo>
                  <a:lnTo>
                    <a:pt x="3363" y="2143"/>
                  </a:lnTo>
                  <a:lnTo>
                    <a:pt x="3347" y="2143"/>
                  </a:lnTo>
                  <a:lnTo>
                    <a:pt x="3333" y="2138"/>
                  </a:lnTo>
                  <a:lnTo>
                    <a:pt x="3354" y="2150"/>
                  </a:lnTo>
                  <a:lnTo>
                    <a:pt x="3370" y="2176"/>
                  </a:lnTo>
                  <a:lnTo>
                    <a:pt x="3363" y="2183"/>
                  </a:lnTo>
                  <a:lnTo>
                    <a:pt x="3354" y="2176"/>
                  </a:lnTo>
                  <a:lnTo>
                    <a:pt x="3347" y="2192"/>
                  </a:lnTo>
                  <a:lnTo>
                    <a:pt x="3337" y="2176"/>
                  </a:lnTo>
                  <a:lnTo>
                    <a:pt x="3316" y="2199"/>
                  </a:lnTo>
                  <a:lnTo>
                    <a:pt x="3295" y="2199"/>
                  </a:lnTo>
                  <a:lnTo>
                    <a:pt x="3316" y="2204"/>
                  </a:lnTo>
                  <a:lnTo>
                    <a:pt x="3316" y="2216"/>
                  </a:lnTo>
                  <a:lnTo>
                    <a:pt x="3295" y="2232"/>
                  </a:lnTo>
                  <a:lnTo>
                    <a:pt x="3300" y="2249"/>
                  </a:lnTo>
                  <a:lnTo>
                    <a:pt x="3283" y="2258"/>
                  </a:lnTo>
                  <a:lnTo>
                    <a:pt x="3278" y="2254"/>
                  </a:lnTo>
                  <a:lnTo>
                    <a:pt x="3271" y="2254"/>
                  </a:lnTo>
                  <a:lnTo>
                    <a:pt x="3271" y="2258"/>
                  </a:lnTo>
                  <a:lnTo>
                    <a:pt x="3283" y="2270"/>
                  </a:lnTo>
                  <a:lnTo>
                    <a:pt x="3271" y="2270"/>
                  </a:lnTo>
                  <a:lnTo>
                    <a:pt x="3271" y="2287"/>
                  </a:lnTo>
                  <a:lnTo>
                    <a:pt x="3257" y="2287"/>
                  </a:lnTo>
                  <a:lnTo>
                    <a:pt x="3262" y="2310"/>
                  </a:lnTo>
                  <a:lnTo>
                    <a:pt x="3245" y="2315"/>
                  </a:lnTo>
                  <a:lnTo>
                    <a:pt x="3262" y="2294"/>
                  </a:lnTo>
                  <a:lnTo>
                    <a:pt x="3245" y="2294"/>
                  </a:lnTo>
                  <a:lnTo>
                    <a:pt x="3245" y="2310"/>
                  </a:lnTo>
                  <a:lnTo>
                    <a:pt x="3240" y="2294"/>
                  </a:lnTo>
                  <a:lnTo>
                    <a:pt x="3229" y="2294"/>
                  </a:lnTo>
                  <a:lnTo>
                    <a:pt x="3229" y="2303"/>
                  </a:lnTo>
                  <a:lnTo>
                    <a:pt x="3224" y="2294"/>
                  </a:lnTo>
                  <a:lnTo>
                    <a:pt x="3224" y="2310"/>
                  </a:lnTo>
                  <a:lnTo>
                    <a:pt x="3229" y="2310"/>
                  </a:lnTo>
                  <a:lnTo>
                    <a:pt x="3240" y="2327"/>
                  </a:lnTo>
                  <a:lnTo>
                    <a:pt x="3229" y="2315"/>
                  </a:lnTo>
                  <a:lnTo>
                    <a:pt x="3224" y="2327"/>
                  </a:lnTo>
                  <a:lnTo>
                    <a:pt x="3229" y="2332"/>
                  </a:lnTo>
                  <a:lnTo>
                    <a:pt x="3240" y="2327"/>
                  </a:lnTo>
                  <a:lnTo>
                    <a:pt x="3245" y="2327"/>
                  </a:lnTo>
                  <a:lnTo>
                    <a:pt x="3229" y="2332"/>
                  </a:lnTo>
                  <a:lnTo>
                    <a:pt x="3219" y="2360"/>
                  </a:lnTo>
                  <a:lnTo>
                    <a:pt x="3191" y="2343"/>
                  </a:lnTo>
                  <a:lnTo>
                    <a:pt x="3207" y="2360"/>
                  </a:lnTo>
                  <a:lnTo>
                    <a:pt x="3224" y="2348"/>
                  </a:lnTo>
                  <a:lnTo>
                    <a:pt x="3229" y="2360"/>
                  </a:lnTo>
                  <a:lnTo>
                    <a:pt x="3224" y="2365"/>
                  </a:lnTo>
                  <a:lnTo>
                    <a:pt x="3224" y="2381"/>
                  </a:lnTo>
                  <a:lnTo>
                    <a:pt x="3219" y="2381"/>
                  </a:lnTo>
                  <a:lnTo>
                    <a:pt x="3229" y="2402"/>
                  </a:lnTo>
                  <a:lnTo>
                    <a:pt x="3207" y="2386"/>
                  </a:lnTo>
                  <a:lnTo>
                    <a:pt x="3191" y="2402"/>
                  </a:lnTo>
                  <a:lnTo>
                    <a:pt x="3207" y="2414"/>
                  </a:lnTo>
                  <a:lnTo>
                    <a:pt x="3191" y="2426"/>
                  </a:lnTo>
                  <a:lnTo>
                    <a:pt x="3186" y="2419"/>
                  </a:lnTo>
                  <a:lnTo>
                    <a:pt x="3186" y="2414"/>
                  </a:lnTo>
                  <a:lnTo>
                    <a:pt x="3174" y="2414"/>
                  </a:lnTo>
                  <a:lnTo>
                    <a:pt x="3186" y="2419"/>
                  </a:lnTo>
                  <a:lnTo>
                    <a:pt x="3170" y="2426"/>
                  </a:lnTo>
                  <a:lnTo>
                    <a:pt x="3186" y="2438"/>
                  </a:lnTo>
                  <a:lnTo>
                    <a:pt x="3165" y="2443"/>
                  </a:lnTo>
                  <a:lnTo>
                    <a:pt x="3165" y="2438"/>
                  </a:lnTo>
                  <a:lnTo>
                    <a:pt x="3153" y="2443"/>
                  </a:lnTo>
                  <a:lnTo>
                    <a:pt x="3153" y="2454"/>
                  </a:lnTo>
                  <a:lnTo>
                    <a:pt x="3170" y="2454"/>
                  </a:lnTo>
                  <a:lnTo>
                    <a:pt x="3153" y="2471"/>
                  </a:lnTo>
                  <a:lnTo>
                    <a:pt x="3148" y="2459"/>
                  </a:lnTo>
                  <a:lnTo>
                    <a:pt x="3132" y="2471"/>
                  </a:lnTo>
                  <a:lnTo>
                    <a:pt x="3120" y="2459"/>
                  </a:lnTo>
                  <a:lnTo>
                    <a:pt x="3111" y="2471"/>
                  </a:lnTo>
                  <a:lnTo>
                    <a:pt x="3115" y="2471"/>
                  </a:lnTo>
                  <a:lnTo>
                    <a:pt x="3115" y="2476"/>
                  </a:lnTo>
                  <a:lnTo>
                    <a:pt x="3099" y="2476"/>
                  </a:lnTo>
                  <a:lnTo>
                    <a:pt x="3115" y="2476"/>
                  </a:lnTo>
                  <a:lnTo>
                    <a:pt x="3120" y="2492"/>
                  </a:lnTo>
                  <a:lnTo>
                    <a:pt x="3094" y="2513"/>
                  </a:lnTo>
                  <a:lnTo>
                    <a:pt x="3099" y="2509"/>
                  </a:lnTo>
                  <a:lnTo>
                    <a:pt x="3082" y="2525"/>
                  </a:lnTo>
                  <a:lnTo>
                    <a:pt x="3061" y="2530"/>
                  </a:lnTo>
                  <a:lnTo>
                    <a:pt x="3056" y="2537"/>
                  </a:lnTo>
                  <a:lnTo>
                    <a:pt x="3040" y="2530"/>
                  </a:lnTo>
                  <a:lnTo>
                    <a:pt x="3023" y="2563"/>
                  </a:lnTo>
                  <a:lnTo>
                    <a:pt x="3007" y="2554"/>
                  </a:lnTo>
                  <a:lnTo>
                    <a:pt x="3030" y="2570"/>
                  </a:lnTo>
                  <a:lnTo>
                    <a:pt x="3007" y="2570"/>
                  </a:lnTo>
                  <a:lnTo>
                    <a:pt x="3007" y="2587"/>
                  </a:lnTo>
                  <a:lnTo>
                    <a:pt x="2992" y="2591"/>
                  </a:lnTo>
                  <a:lnTo>
                    <a:pt x="2959" y="2603"/>
                  </a:lnTo>
                  <a:lnTo>
                    <a:pt x="2948" y="2591"/>
                  </a:lnTo>
                  <a:lnTo>
                    <a:pt x="2938" y="2591"/>
                  </a:lnTo>
                  <a:lnTo>
                    <a:pt x="2938" y="2608"/>
                  </a:lnTo>
                  <a:lnTo>
                    <a:pt x="2917" y="2603"/>
                  </a:lnTo>
                  <a:lnTo>
                    <a:pt x="2893" y="2608"/>
                  </a:lnTo>
                  <a:lnTo>
                    <a:pt x="2893" y="2620"/>
                  </a:lnTo>
                  <a:lnTo>
                    <a:pt x="2884" y="2620"/>
                  </a:lnTo>
                  <a:lnTo>
                    <a:pt x="2884" y="2603"/>
                  </a:lnTo>
                  <a:lnTo>
                    <a:pt x="2867" y="2608"/>
                  </a:lnTo>
                  <a:lnTo>
                    <a:pt x="2879" y="2624"/>
                  </a:lnTo>
                  <a:lnTo>
                    <a:pt x="2867" y="2624"/>
                  </a:lnTo>
                  <a:lnTo>
                    <a:pt x="2863" y="2620"/>
                  </a:lnTo>
                  <a:lnTo>
                    <a:pt x="2846" y="2620"/>
                  </a:lnTo>
                  <a:lnTo>
                    <a:pt x="2851" y="2624"/>
                  </a:lnTo>
                  <a:lnTo>
                    <a:pt x="2863" y="2624"/>
                  </a:lnTo>
                  <a:lnTo>
                    <a:pt x="2851" y="2636"/>
                  </a:lnTo>
                  <a:lnTo>
                    <a:pt x="2851" y="2641"/>
                  </a:lnTo>
                  <a:lnTo>
                    <a:pt x="2829" y="2636"/>
                  </a:lnTo>
                  <a:lnTo>
                    <a:pt x="2841" y="2624"/>
                  </a:lnTo>
                  <a:lnTo>
                    <a:pt x="2825" y="2624"/>
                  </a:lnTo>
                  <a:lnTo>
                    <a:pt x="2813" y="2603"/>
                  </a:lnTo>
                  <a:lnTo>
                    <a:pt x="2808" y="2591"/>
                  </a:lnTo>
                  <a:lnTo>
                    <a:pt x="2796" y="2580"/>
                  </a:lnTo>
                  <a:lnTo>
                    <a:pt x="2825" y="2580"/>
                  </a:lnTo>
                  <a:lnTo>
                    <a:pt x="2813" y="2570"/>
                  </a:lnTo>
                  <a:lnTo>
                    <a:pt x="2796" y="2580"/>
                  </a:lnTo>
                  <a:lnTo>
                    <a:pt x="2796" y="2591"/>
                  </a:lnTo>
                  <a:lnTo>
                    <a:pt x="2792" y="2591"/>
                  </a:lnTo>
                  <a:lnTo>
                    <a:pt x="2796" y="2620"/>
                  </a:lnTo>
                  <a:lnTo>
                    <a:pt x="2796" y="2641"/>
                  </a:lnTo>
                  <a:lnTo>
                    <a:pt x="2796" y="2653"/>
                  </a:lnTo>
                  <a:lnTo>
                    <a:pt x="2792" y="2653"/>
                  </a:lnTo>
                  <a:lnTo>
                    <a:pt x="2775" y="2620"/>
                  </a:lnTo>
                  <a:lnTo>
                    <a:pt x="2792" y="2653"/>
                  </a:lnTo>
                  <a:lnTo>
                    <a:pt x="2787" y="2653"/>
                  </a:lnTo>
                  <a:lnTo>
                    <a:pt x="2775" y="2658"/>
                  </a:lnTo>
                  <a:lnTo>
                    <a:pt x="2770" y="2658"/>
                  </a:lnTo>
                  <a:lnTo>
                    <a:pt x="2770" y="2641"/>
                  </a:lnTo>
                  <a:lnTo>
                    <a:pt x="2759" y="2674"/>
                  </a:lnTo>
                  <a:lnTo>
                    <a:pt x="2754" y="2665"/>
                  </a:lnTo>
                  <a:lnTo>
                    <a:pt x="2737" y="2681"/>
                  </a:lnTo>
                  <a:lnTo>
                    <a:pt x="2733" y="2674"/>
                  </a:lnTo>
                  <a:lnTo>
                    <a:pt x="2716" y="2681"/>
                  </a:lnTo>
                  <a:lnTo>
                    <a:pt x="2683" y="2665"/>
                  </a:lnTo>
                  <a:lnTo>
                    <a:pt x="2690" y="2681"/>
                  </a:lnTo>
                  <a:lnTo>
                    <a:pt x="2683" y="2691"/>
                  </a:lnTo>
                  <a:lnTo>
                    <a:pt x="2666" y="2674"/>
                  </a:lnTo>
                  <a:lnTo>
                    <a:pt x="2678" y="2691"/>
                  </a:lnTo>
                  <a:lnTo>
                    <a:pt x="2666" y="2698"/>
                  </a:lnTo>
                  <a:lnTo>
                    <a:pt x="2629" y="2707"/>
                  </a:lnTo>
                  <a:lnTo>
                    <a:pt x="2624" y="2698"/>
                  </a:lnTo>
                  <a:lnTo>
                    <a:pt x="2624" y="2707"/>
                  </a:lnTo>
                  <a:lnTo>
                    <a:pt x="2629" y="2698"/>
                  </a:lnTo>
                  <a:lnTo>
                    <a:pt x="2607" y="2707"/>
                  </a:lnTo>
                  <a:lnTo>
                    <a:pt x="2598" y="2714"/>
                  </a:lnTo>
                  <a:lnTo>
                    <a:pt x="2607" y="2707"/>
                  </a:lnTo>
                  <a:lnTo>
                    <a:pt x="2598" y="2707"/>
                  </a:lnTo>
                  <a:lnTo>
                    <a:pt x="2598" y="2719"/>
                  </a:lnTo>
                  <a:lnTo>
                    <a:pt x="2591" y="2719"/>
                  </a:lnTo>
                  <a:lnTo>
                    <a:pt x="2581" y="2719"/>
                  </a:lnTo>
                  <a:lnTo>
                    <a:pt x="2581" y="2707"/>
                  </a:lnTo>
                  <a:lnTo>
                    <a:pt x="2581" y="2719"/>
                  </a:lnTo>
                  <a:lnTo>
                    <a:pt x="2560" y="2736"/>
                  </a:lnTo>
                  <a:lnTo>
                    <a:pt x="2560" y="2747"/>
                  </a:lnTo>
                  <a:lnTo>
                    <a:pt x="2577" y="2747"/>
                  </a:lnTo>
                  <a:lnTo>
                    <a:pt x="2577" y="2764"/>
                  </a:lnTo>
                  <a:lnTo>
                    <a:pt x="2591" y="2776"/>
                  </a:lnTo>
                  <a:lnTo>
                    <a:pt x="2577" y="2792"/>
                  </a:lnTo>
                  <a:lnTo>
                    <a:pt x="2553" y="2792"/>
                  </a:lnTo>
                  <a:lnTo>
                    <a:pt x="2544" y="2792"/>
                  </a:lnTo>
                  <a:lnTo>
                    <a:pt x="2544" y="2785"/>
                  </a:lnTo>
                  <a:lnTo>
                    <a:pt x="2553" y="2776"/>
                  </a:lnTo>
                  <a:lnTo>
                    <a:pt x="2539" y="2764"/>
                  </a:lnTo>
                  <a:lnTo>
                    <a:pt x="2527" y="2747"/>
                  </a:lnTo>
                  <a:lnTo>
                    <a:pt x="2539" y="2714"/>
                  </a:lnTo>
                  <a:lnTo>
                    <a:pt x="2553" y="2707"/>
                  </a:lnTo>
                  <a:lnTo>
                    <a:pt x="2539" y="2707"/>
                  </a:lnTo>
                  <a:lnTo>
                    <a:pt x="2539" y="2691"/>
                  </a:lnTo>
                  <a:lnTo>
                    <a:pt x="2539" y="2698"/>
                  </a:lnTo>
                  <a:lnTo>
                    <a:pt x="2527" y="2698"/>
                  </a:lnTo>
                  <a:lnTo>
                    <a:pt x="2522" y="2681"/>
                  </a:lnTo>
                  <a:lnTo>
                    <a:pt x="2522" y="2691"/>
                  </a:lnTo>
                  <a:lnTo>
                    <a:pt x="2522" y="2698"/>
                  </a:lnTo>
                  <a:lnTo>
                    <a:pt x="2489" y="2707"/>
                  </a:lnTo>
                  <a:lnTo>
                    <a:pt x="2489" y="2691"/>
                  </a:lnTo>
                  <a:lnTo>
                    <a:pt x="2473" y="2681"/>
                  </a:lnTo>
                  <a:lnTo>
                    <a:pt x="2468" y="2674"/>
                  </a:lnTo>
                  <a:lnTo>
                    <a:pt x="2473" y="2691"/>
                  </a:lnTo>
                  <a:lnTo>
                    <a:pt x="2468" y="2691"/>
                  </a:lnTo>
                  <a:lnTo>
                    <a:pt x="2463" y="2665"/>
                  </a:lnTo>
                  <a:lnTo>
                    <a:pt x="2447" y="2665"/>
                  </a:lnTo>
                  <a:lnTo>
                    <a:pt x="2447" y="2674"/>
                  </a:lnTo>
                  <a:lnTo>
                    <a:pt x="2451" y="2681"/>
                  </a:lnTo>
                  <a:lnTo>
                    <a:pt x="2447" y="2691"/>
                  </a:lnTo>
                  <a:lnTo>
                    <a:pt x="2435" y="2698"/>
                  </a:lnTo>
                  <a:lnTo>
                    <a:pt x="2447" y="2691"/>
                  </a:lnTo>
                  <a:lnTo>
                    <a:pt x="2435" y="2681"/>
                  </a:lnTo>
                  <a:lnTo>
                    <a:pt x="2430" y="2698"/>
                  </a:lnTo>
                  <a:lnTo>
                    <a:pt x="2430" y="2691"/>
                  </a:lnTo>
                  <a:lnTo>
                    <a:pt x="2414" y="2698"/>
                  </a:lnTo>
                  <a:lnTo>
                    <a:pt x="2397" y="2691"/>
                  </a:lnTo>
                  <a:lnTo>
                    <a:pt x="2364" y="2691"/>
                  </a:lnTo>
                  <a:lnTo>
                    <a:pt x="2359" y="2681"/>
                  </a:lnTo>
                  <a:lnTo>
                    <a:pt x="2343" y="2674"/>
                  </a:lnTo>
                  <a:lnTo>
                    <a:pt x="2343" y="2665"/>
                  </a:lnTo>
                  <a:lnTo>
                    <a:pt x="2322" y="2658"/>
                  </a:lnTo>
                  <a:lnTo>
                    <a:pt x="2322" y="2641"/>
                  </a:lnTo>
                  <a:lnTo>
                    <a:pt x="2312" y="2624"/>
                  </a:lnTo>
                  <a:lnTo>
                    <a:pt x="2326" y="2603"/>
                  </a:lnTo>
                  <a:lnTo>
                    <a:pt x="2322" y="2591"/>
                  </a:lnTo>
                  <a:lnTo>
                    <a:pt x="2305" y="2587"/>
                  </a:lnTo>
                  <a:lnTo>
                    <a:pt x="2289" y="2591"/>
                  </a:lnTo>
                  <a:lnTo>
                    <a:pt x="2284" y="2587"/>
                  </a:lnTo>
                  <a:lnTo>
                    <a:pt x="2258" y="2591"/>
                  </a:lnTo>
                  <a:lnTo>
                    <a:pt x="2241" y="2580"/>
                  </a:lnTo>
                  <a:lnTo>
                    <a:pt x="2229" y="2563"/>
                  </a:lnTo>
                  <a:lnTo>
                    <a:pt x="2199" y="2570"/>
                  </a:lnTo>
                  <a:lnTo>
                    <a:pt x="2182" y="2603"/>
                  </a:lnTo>
                  <a:lnTo>
                    <a:pt x="2175" y="2591"/>
                  </a:lnTo>
                  <a:lnTo>
                    <a:pt x="2161" y="2608"/>
                  </a:lnTo>
                  <a:lnTo>
                    <a:pt x="2149" y="2603"/>
                  </a:lnTo>
                  <a:lnTo>
                    <a:pt x="2149" y="2591"/>
                  </a:lnTo>
                  <a:lnTo>
                    <a:pt x="2133" y="2603"/>
                  </a:lnTo>
                  <a:lnTo>
                    <a:pt x="2128" y="2624"/>
                  </a:lnTo>
                  <a:lnTo>
                    <a:pt x="2107" y="2603"/>
                  </a:lnTo>
                  <a:lnTo>
                    <a:pt x="2095" y="2620"/>
                  </a:lnTo>
                  <a:lnTo>
                    <a:pt x="2078" y="2603"/>
                  </a:lnTo>
                  <a:lnTo>
                    <a:pt x="2069" y="2624"/>
                  </a:lnTo>
                  <a:lnTo>
                    <a:pt x="2024" y="2603"/>
                  </a:lnTo>
                  <a:lnTo>
                    <a:pt x="2003" y="2636"/>
                  </a:lnTo>
                  <a:lnTo>
                    <a:pt x="1972" y="2624"/>
                  </a:lnTo>
                  <a:lnTo>
                    <a:pt x="1960" y="2641"/>
                  </a:lnTo>
                  <a:lnTo>
                    <a:pt x="1965" y="2665"/>
                  </a:lnTo>
                  <a:lnTo>
                    <a:pt x="1972" y="2674"/>
                  </a:lnTo>
                  <a:lnTo>
                    <a:pt x="1972" y="2714"/>
                  </a:lnTo>
                  <a:lnTo>
                    <a:pt x="1981" y="2719"/>
                  </a:lnTo>
                  <a:lnTo>
                    <a:pt x="1972" y="2731"/>
                  </a:lnTo>
                  <a:lnTo>
                    <a:pt x="1960" y="2719"/>
                  </a:lnTo>
                  <a:lnTo>
                    <a:pt x="1944" y="2719"/>
                  </a:lnTo>
                  <a:lnTo>
                    <a:pt x="1934" y="2691"/>
                  </a:lnTo>
                  <a:lnTo>
                    <a:pt x="1927" y="2681"/>
                  </a:lnTo>
                  <a:lnTo>
                    <a:pt x="1889" y="2707"/>
                  </a:lnTo>
                  <a:lnTo>
                    <a:pt x="1880" y="2698"/>
                  </a:lnTo>
                  <a:lnTo>
                    <a:pt x="1863" y="2707"/>
                  </a:lnTo>
                  <a:lnTo>
                    <a:pt x="1859" y="2698"/>
                  </a:lnTo>
                  <a:lnTo>
                    <a:pt x="1859" y="2691"/>
                  </a:lnTo>
                  <a:lnTo>
                    <a:pt x="1851" y="2681"/>
                  </a:lnTo>
                  <a:lnTo>
                    <a:pt x="1851" y="2658"/>
                  </a:lnTo>
                  <a:lnTo>
                    <a:pt x="1788" y="2653"/>
                  </a:lnTo>
                  <a:lnTo>
                    <a:pt x="1809" y="2624"/>
                  </a:lnTo>
                  <a:lnTo>
                    <a:pt x="1804" y="2608"/>
                  </a:lnTo>
                  <a:lnTo>
                    <a:pt x="1821" y="2587"/>
                  </a:lnTo>
                  <a:lnTo>
                    <a:pt x="1821" y="2580"/>
                  </a:lnTo>
                  <a:lnTo>
                    <a:pt x="1788" y="2580"/>
                  </a:lnTo>
                  <a:lnTo>
                    <a:pt x="1771" y="2570"/>
                  </a:lnTo>
                  <a:lnTo>
                    <a:pt x="1771" y="2554"/>
                  </a:lnTo>
                  <a:lnTo>
                    <a:pt x="1766" y="2547"/>
                  </a:lnTo>
                  <a:lnTo>
                    <a:pt x="1766" y="2530"/>
                  </a:lnTo>
                  <a:lnTo>
                    <a:pt x="1755" y="2525"/>
                  </a:lnTo>
                  <a:lnTo>
                    <a:pt x="1755" y="2513"/>
                  </a:lnTo>
                  <a:lnTo>
                    <a:pt x="1771" y="2497"/>
                  </a:lnTo>
                  <a:lnTo>
                    <a:pt x="1717" y="2497"/>
                  </a:lnTo>
                  <a:lnTo>
                    <a:pt x="1691" y="2525"/>
                  </a:lnTo>
                  <a:lnTo>
                    <a:pt x="1679" y="2513"/>
                  </a:lnTo>
                  <a:lnTo>
                    <a:pt x="1696" y="2497"/>
                  </a:lnTo>
                  <a:lnTo>
                    <a:pt x="1691" y="2476"/>
                  </a:lnTo>
                  <a:lnTo>
                    <a:pt x="1679" y="2476"/>
                  </a:lnTo>
                  <a:lnTo>
                    <a:pt x="1679" y="2454"/>
                  </a:lnTo>
                  <a:lnTo>
                    <a:pt x="1696" y="2438"/>
                  </a:lnTo>
                  <a:lnTo>
                    <a:pt x="1696" y="2414"/>
                  </a:lnTo>
                  <a:lnTo>
                    <a:pt x="1700" y="2419"/>
                  </a:lnTo>
                  <a:lnTo>
                    <a:pt x="1712" y="2414"/>
                  </a:lnTo>
                  <a:lnTo>
                    <a:pt x="1729" y="2386"/>
                  </a:lnTo>
                  <a:lnTo>
                    <a:pt x="1733" y="2386"/>
                  </a:lnTo>
                  <a:lnTo>
                    <a:pt x="1750" y="2365"/>
                  </a:lnTo>
                  <a:lnTo>
                    <a:pt x="1755" y="2365"/>
                  </a:lnTo>
                  <a:lnTo>
                    <a:pt x="1750" y="2348"/>
                  </a:lnTo>
                  <a:lnTo>
                    <a:pt x="1766" y="2343"/>
                  </a:lnTo>
                  <a:lnTo>
                    <a:pt x="1766" y="2294"/>
                  </a:lnTo>
                  <a:lnTo>
                    <a:pt x="1755" y="2237"/>
                  </a:lnTo>
                  <a:lnTo>
                    <a:pt x="1745" y="2232"/>
                  </a:lnTo>
                  <a:lnTo>
                    <a:pt x="1733" y="2237"/>
                  </a:lnTo>
                  <a:lnTo>
                    <a:pt x="1717" y="2192"/>
                  </a:lnTo>
                  <a:lnTo>
                    <a:pt x="1712" y="2183"/>
                  </a:lnTo>
                  <a:lnTo>
                    <a:pt x="1679" y="2159"/>
                  </a:lnTo>
                  <a:lnTo>
                    <a:pt x="1674" y="2176"/>
                  </a:lnTo>
                  <a:lnTo>
                    <a:pt x="1663" y="2183"/>
                  </a:lnTo>
                  <a:lnTo>
                    <a:pt x="1646" y="2176"/>
                  </a:lnTo>
                  <a:lnTo>
                    <a:pt x="1641" y="2176"/>
                  </a:lnTo>
                  <a:lnTo>
                    <a:pt x="1620" y="2166"/>
                  </a:lnTo>
                  <a:lnTo>
                    <a:pt x="1594" y="2176"/>
                  </a:lnTo>
                  <a:lnTo>
                    <a:pt x="1594" y="2159"/>
                  </a:lnTo>
                  <a:lnTo>
                    <a:pt x="1608" y="2143"/>
                  </a:lnTo>
                  <a:lnTo>
                    <a:pt x="1603" y="2121"/>
                  </a:lnTo>
                  <a:lnTo>
                    <a:pt x="1582" y="2126"/>
                  </a:lnTo>
                  <a:lnTo>
                    <a:pt x="1582" y="2121"/>
                  </a:lnTo>
                  <a:lnTo>
                    <a:pt x="1594" y="2105"/>
                  </a:lnTo>
                  <a:lnTo>
                    <a:pt x="1587" y="2105"/>
                  </a:lnTo>
                  <a:lnTo>
                    <a:pt x="1570" y="2088"/>
                  </a:lnTo>
                  <a:lnTo>
                    <a:pt x="1540" y="2105"/>
                  </a:lnTo>
                  <a:lnTo>
                    <a:pt x="1528" y="2121"/>
                  </a:lnTo>
                  <a:lnTo>
                    <a:pt x="1485" y="2110"/>
                  </a:lnTo>
                  <a:lnTo>
                    <a:pt x="1474" y="2093"/>
                  </a:lnTo>
                  <a:lnTo>
                    <a:pt x="1448" y="2121"/>
                  </a:lnTo>
                  <a:lnTo>
                    <a:pt x="1426" y="2150"/>
                  </a:lnTo>
                  <a:lnTo>
                    <a:pt x="1389" y="2150"/>
                  </a:lnTo>
                  <a:lnTo>
                    <a:pt x="1372" y="2176"/>
                  </a:lnTo>
                  <a:lnTo>
                    <a:pt x="1339" y="2192"/>
                  </a:lnTo>
                  <a:lnTo>
                    <a:pt x="1339" y="2204"/>
                  </a:lnTo>
                  <a:lnTo>
                    <a:pt x="1322" y="2216"/>
                  </a:lnTo>
                  <a:lnTo>
                    <a:pt x="1313" y="2216"/>
                  </a:lnTo>
                  <a:lnTo>
                    <a:pt x="1285" y="2221"/>
                  </a:lnTo>
                  <a:lnTo>
                    <a:pt x="1263" y="2221"/>
                  </a:lnTo>
                  <a:lnTo>
                    <a:pt x="1263" y="2204"/>
                  </a:lnTo>
                  <a:lnTo>
                    <a:pt x="1242" y="2199"/>
                  </a:lnTo>
                  <a:lnTo>
                    <a:pt x="1226" y="2204"/>
                  </a:lnTo>
                  <a:lnTo>
                    <a:pt x="1178" y="2199"/>
                  </a:lnTo>
                  <a:lnTo>
                    <a:pt x="1178" y="2183"/>
                  </a:lnTo>
                  <a:lnTo>
                    <a:pt x="1150" y="2176"/>
                  </a:lnTo>
                  <a:lnTo>
                    <a:pt x="1117" y="2199"/>
                  </a:lnTo>
                  <a:lnTo>
                    <a:pt x="1070" y="2254"/>
                  </a:lnTo>
                  <a:lnTo>
                    <a:pt x="1065" y="2237"/>
                  </a:lnTo>
                  <a:lnTo>
                    <a:pt x="1070" y="2216"/>
                  </a:lnTo>
                  <a:lnTo>
                    <a:pt x="1070" y="2199"/>
                  </a:lnTo>
                  <a:lnTo>
                    <a:pt x="1053" y="2192"/>
                  </a:lnTo>
                  <a:lnTo>
                    <a:pt x="1041" y="2199"/>
                  </a:lnTo>
                  <a:lnTo>
                    <a:pt x="1015" y="2204"/>
                  </a:lnTo>
                  <a:lnTo>
                    <a:pt x="1015" y="2216"/>
                  </a:lnTo>
                  <a:lnTo>
                    <a:pt x="999" y="2204"/>
                  </a:lnTo>
                  <a:lnTo>
                    <a:pt x="989" y="2216"/>
                  </a:lnTo>
                  <a:lnTo>
                    <a:pt x="956" y="2216"/>
                  </a:lnTo>
                  <a:lnTo>
                    <a:pt x="918" y="2192"/>
                  </a:lnTo>
                  <a:lnTo>
                    <a:pt x="907" y="2192"/>
                  </a:lnTo>
                  <a:lnTo>
                    <a:pt x="902" y="2204"/>
                  </a:lnTo>
                  <a:lnTo>
                    <a:pt x="885" y="2199"/>
                  </a:lnTo>
                  <a:lnTo>
                    <a:pt x="885" y="2192"/>
                  </a:lnTo>
                  <a:lnTo>
                    <a:pt x="881" y="2192"/>
                  </a:lnTo>
                  <a:lnTo>
                    <a:pt x="881" y="2204"/>
                  </a:lnTo>
                  <a:lnTo>
                    <a:pt x="869" y="2204"/>
                  </a:lnTo>
                  <a:lnTo>
                    <a:pt x="864" y="2192"/>
                  </a:lnTo>
                  <a:lnTo>
                    <a:pt x="848" y="2183"/>
                  </a:lnTo>
                  <a:lnTo>
                    <a:pt x="810" y="2176"/>
                  </a:lnTo>
                  <a:lnTo>
                    <a:pt x="810" y="2150"/>
                  </a:lnTo>
                  <a:lnTo>
                    <a:pt x="800" y="2150"/>
                  </a:lnTo>
                  <a:lnTo>
                    <a:pt x="784" y="2159"/>
                  </a:lnTo>
                  <a:lnTo>
                    <a:pt x="763" y="2143"/>
                  </a:lnTo>
                  <a:lnTo>
                    <a:pt x="746" y="2126"/>
                  </a:lnTo>
                  <a:lnTo>
                    <a:pt x="739" y="2105"/>
                  </a:lnTo>
                  <a:lnTo>
                    <a:pt x="725" y="2105"/>
                  </a:lnTo>
                  <a:lnTo>
                    <a:pt x="708" y="2110"/>
                  </a:lnTo>
                  <a:lnTo>
                    <a:pt x="701" y="2110"/>
                  </a:lnTo>
                  <a:lnTo>
                    <a:pt x="670" y="2072"/>
                  </a:lnTo>
                  <a:lnTo>
                    <a:pt x="649" y="2072"/>
                  </a:lnTo>
                  <a:lnTo>
                    <a:pt x="616" y="2039"/>
                  </a:lnTo>
                  <a:lnTo>
                    <a:pt x="600" y="2039"/>
                  </a:lnTo>
                  <a:lnTo>
                    <a:pt x="595" y="2015"/>
                  </a:lnTo>
                  <a:lnTo>
                    <a:pt x="545" y="2015"/>
                  </a:lnTo>
                  <a:lnTo>
                    <a:pt x="545" y="2032"/>
                  </a:lnTo>
                  <a:lnTo>
                    <a:pt x="529" y="2039"/>
                  </a:lnTo>
                  <a:lnTo>
                    <a:pt x="524" y="2039"/>
                  </a:lnTo>
                  <a:lnTo>
                    <a:pt x="524" y="2032"/>
                  </a:lnTo>
                  <a:lnTo>
                    <a:pt x="524" y="2032"/>
                  </a:lnTo>
                  <a:lnTo>
                    <a:pt x="524" y="2032"/>
                  </a:lnTo>
                  <a:close/>
                  <a:moveTo>
                    <a:pt x="3354" y="1278"/>
                  </a:moveTo>
                  <a:lnTo>
                    <a:pt x="3337" y="1278"/>
                  </a:lnTo>
                  <a:lnTo>
                    <a:pt x="3354" y="1273"/>
                  </a:lnTo>
                  <a:lnTo>
                    <a:pt x="3354" y="1278"/>
                  </a:lnTo>
                  <a:lnTo>
                    <a:pt x="3354" y="1278"/>
                  </a:lnTo>
                  <a:lnTo>
                    <a:pt x="3354" y="1278"/>
                  </a:lnTo>
                  <a:close/>
                  <a:moveTo>
                    <a:pt x="3229" y="1866"/>
                  </a:moveTo>
                  <a:lnTo>
                    <a:pt x="3240" y="1866"/>
                  </a:lnTo>
                  <a:lnTo>
                    <a:pt x="3245" y="1883"/>
                  </a:lnTo>
                  <a:lnTo>
                    <a:pt x="3229" y="1866"/>
                  </a:lnTo>
                  <a:lnTo>
                    <a:pt x="3229" y="1866"/>
                  </a:lnTo>
                  <a:lnTo>
                    <a:pt x="3229" y="1866"/>
                  </a:lnTo>
                  <a:close/>
                  <a:moveTo>
                    <a:pt x="3337" y="1904"/>
                  </a:moveTo>
                  <a:lnTo>
                    <a:pt x="3347" y="1899"/>
                  </a:lnTo>
                  <a:lnTo>
                    <a:pt x="3385" y="1928"/>
                  </a:lnTo>
                  <a:lnTo>
                    <a:pt x="3363" y="1921"/>
                  </a:lnTo>
                  <a:lnTo>
                    <a:pt x="3337" y="1904"/>
                  </a:lnTo>
                  <a:lnTo>
                    <a:pt x="3337" y="1904"/>
                  </a:lnTo>
                  <a:lnTo>
                    <a:pt x="3337" y="1904"/>
                  </a:lnTo>
                  <a:close/>
                  <a:moveTo>
                    <a:pt x="3401" y="2027"/>
                  </a:moveTo>
                  <a:lnTo>
                    <a:pt x="3408" y="2015"/>
                  </a:lnTo>
                  <a:lnTo>
                    <a:pt x="3408" y="2027"/>
                  </a:lnTo>
                  <a:lnTo>
                    <a:pt x="3401" y="2027"/>
                  </a:lnTo>
                  <a:lnTo>
                    <a:pt x="3401" y="2027"/>
                  </a:lnTo>
                  <a:lnTo>
                    <a:pt x="3401" y="2027"/>
                  </a:lnTo>
                  <a:close/>
                  <a:moveTo>
                    <a:pt x="3392" y="2039"/>
                  </a:moveTo>
                  <a:lnTo>
                    <a:pt x="3392" y="2032"/>
                  </a:lnTo>
                  <a:lnTo>
                    <a:pt x="3401" y="2032"/>
                  </a:lnTo>
                  <a:lnTo>
                    <a:pt x="3418" y="2039"/>
                  </a:lnTo>
                  <a:lnTo>
                    <a:pt x="3418" y="2048"/>
                  </a:lnTo>
                  <a:lnTo>
                    <a:pt x="3392" y="2039"/>
                  </a:lnTo>
                  <a:lnTo>
                    <a:pt x="3392" y="2039"/>
                  </a:lnTo>
                  <a:lnTo>
                    <a:pt x="3392" y="2039"/>
                  </a:lnTo>
                  <a:close/>
                  <a:moveTo>
                    <a:pt x="3385" y="2039"/>
                  </a:moveTo>
                  <a:lnTo>
                    <a:pt x="3385" y="2048"/>
                  </a:lnTo>
                  <a:lnTo>
                    <a:pt x="3385" y="2039"/>
                  </a:lnTo>
                  <a:lnTo>
                    <a:pt x="3385" y="2039"/>
                  </a:lnTo>
                  <a:lnTo>
                    <a:pt x="3385" y="2039"/>
                  </a:lnTo>
                  <a:close/>
                  <a:moveTo>
                    <a:pt x="3418" y="2048"/>
                  </a:moveTo>
                  <a:lnTo>
                    <a:pt x="3422" y="2048"/>
                  </a:lnTo>
                  <a:lnTo>
                    <a:pt x="3422" y="2055"/>
                  </a:lnTo>
                  <a:lnTo>
                    <a:pt x="3418" y="2048"/>
                  </a:lnTo>
                  <a:lnTo>
                    <a:pt x="3418" y="2048"/>
                  </a:lnTo>
                  <a:lnTo>
                    <a:pt x="3418" y="2048"/>
                  </a:lnTo>
                  <a:close/>
                  <a:moveTo>
                    <a:pt x="3401" y="2072"/>
                  </a:moveTo>
                  <a:lnTo>
                    <a:pt x="3392" y="2065"/>
                  </a:lnTo>
                  <a:lnTo>
                    <a:pt x="3401" y="2065"/>
                  </a:lnTo>
                  <a:lnTo>
                    <a:pt x="3408" y="2072"/>
                  </a:lnTo>
                  <a:lnTo>
                    <a:pt x="3401" y="2072"/>
                  </a:lnTo>
                  <a:lnTo>
                    <a:pt x="3401" y="2072"/>
                  </a:lnTo>
                  <a:lnTo>
                    <a:pt x="3401" y="2072"/>
                  </a:lnTo>
                  <a:close/>
                  <a:moveTo>
                    <a:pt x="3385" y="2121"/>
                  </a:moveTo>
                  <a:lnTo>
                    <a:pt x="3385" y="2110"/>
                  </a:lnTo>
                  <a:lnTo>
                    <a:pt x="3392" y="2110"/>
                  </a:lnTo>
                  <a:lnTo>
                    <a:pt x="3385" y="2121"/>
                  </a:lnTo>
                  <a:lnTo>
                    <a:pt x="3385" y="2121"/>
                  </a:lnTo>
                  <a:lnTo>
                    <a:pt x="3385" y="2121"/>
                  </a:lnTo>
                  <a:close/>
                  <a:moveTo>
                    <a:pt x="3333" y="2192"/>
                  </a:moveTo>
                  <a:lnTo>
                    <a:pt x="3337" y="2183"/>
                  </a:lnTo>
                  <a:lnTo>
                    <a:pt x="3337" y="2192"/>
                  </a:lnTo>
                  <a:lnTo>
                    <a:pt x="3337" y="2199"/>
                  </a:lnTo>
                  <a:lnTo>
                    <a:pt x="3333" y="2192"/>
                  </a:lnTo>
                  <a:lnTo>
                    <a:pt x="3333" y="2192"/>
                  </a:lnTo>
                  <a:lnTo>
                    <a:pt x="3333" y="2192"/>
                  </a:lnTo>
                  <a:close/>
                  <a:moveTo>
                    <a:pt x="3229" y="2398"/>
                  </a:moveTo>
                  <a:lnTo>
                    <a:pt x="3229" y="2386"/>
                  </a:lnTo>
                  <a:lnTo>
                    <a:pt x="3240" y="2381"/>
                  </a:lnTo>
                  <a:lnTo>
                    <a:pt x="3240" y="2386"/>
                  </a:lnTo>
                  <a:lnTo>
                    <a:pt x="3240" y="2402"/>
                  </a:lnTo>
                  <a:lnTo>
                    <a:pt x="3229" y="2398"/>
                  </a:lnTo>
                  <a:lnTo>
                    <a:pt x="3229" y="2398"/>
                  </a:lnTo>
                  <a:lnTo>
                    <a:pt x="3229" y="2398"/>
                  </a:lnTo>
                  <a:close/>
                  <a:moveTo>
                    <a:pt x="3115" y="2476"/>
                  </a:moveTo>
                  <a:lnTo>
                    <a:pt x="3120" y="2471"/>
                  </a:lnTo>
                  <a:lnTo>
                    <a:pt x="3115" y="2476"/>
                  </a:lnTo>
                  <a:lnTo>
                    <a:pt x="3115" y="2476"/>
                  </a:lnTo>
                  <a:lnTo>
                    <a:pt x="3115" y="2476"/>
                  </a:lnTo>
                  <a:close/>
                  <a:moveTo>
                    <a:pt x="3077" y="2530"/>
                  </a:moveTo>
                  <a:lnTo>
                    <a:pt x="3068" y="2537"/>
                  </a:lnTo>
                  <a:lnTo>
                    <a:pt x="3061" y="2537"/>
                  </a:lnTo>
                  <a:lnTo>
                    <a:pt x="3068" y="2525"/>
                  </a:lnTo>
                  <a:lnTo>
                    <a:pt x="3077" y="2530"/>
                  </a:lnTo>
                  <a:lnTo>
                    <a:pt x="3077" y="2530"/>
                  </a:lnTo>
                  <a:lnTo>
                    <a:pt x="3077" y="2530"/>
                  </a:lnTo>
                  <a:close/>
                  <a:moveTo>
                    <a:pt x="3056" y="2547"/>
                  </a:moveTo>
                  <a:lnTo>
                    <a:pt x="3056" y="2554"/>
                  </a:lnTo>
                  <a:lnTo>
                    <a:pt x="3040" y="2554"/>
                  </a:lnTo>
                  <a:lnTo>
                    <a:pt x="3056" y="2547"/>
                  </a:lnTo>
                  <a:lnTo>
                    <a:pt x="3056" y="2547"/>
                  </a:lnTo>
                  <a:lnTo>
                    <a:pt x="3056" y="2547"/>
                  </a:lnTo>
                  <a:close/>
                  <a:moveTo>
                    <a:pt x="2846" y="2641"/>
                  </a:moveTo>
                  <a:lnTo>
                    <a:pt x="2851" y="2641"/>
                  </a:lnTo>
                  <a:lnTo>
                    <a:pt x="2846" y="2641"/>
                  </a:lnTo>
                  <a:lnTo>
                    <a:pt x="2846" y="2641"/>
                  </a:lnTo>
                  <a:lnTo>
                    <a:pt x="2846" y="2641"/>
                  </a:lnTo>
                  <a:close/>
                  <a:moveTo>
                    <a:pt x="2792" y="2658"/>
                  </a:moveTo>
                  <a:lnTo>
                    <a:pt x="2787" y="2658"/>
                  </a:lnTo>
                  <a:lnTo>
                    <a:pt x="2792" y="2658"/>
                  </a:lnTo>
                  <a:lnTo>
                    <a:pt x="2792" y="2658"/>
                  </a:lnTo>
                  <a:lnTo>
                    <a:pt x="2792" y="2658"/>
                  </a:lnTo>
                  <a:close/>
                  <a:moveTo>
                    <a:pt x="2742" y="2691"/>
                  </a:moveTo>
                  <a:lnTo>
                    <a:pt x="2742" y="2681"/>
                  </a:lnTo>
                  <a:lnTo>
                    <a:pt x="2754" y="2681"/>
                  </a:lnTo>
                  <a:lnTo>
                    <a:pt x="2742" y="2691"/>
                  </a:lnTo>
                  <a:lnTo>
                    <a:pt x="2742" y="2691"/>
                  </a:lnTo>
                  <a:lnTo>
                    <a:pt x="2742" y="2691"/>
                  </a:lnTo>
                  <a:close/>
                  <a:moveTo>
                    <a:pt x="2683" y="2698"/>
                  </a:moveTo>
                  <a:lnTo>
                    <a:pt x="2683" y="2691"/>
                  </a:lnTo>
                  <a:lnTo>
                    <a:pt x="2690" y="2691"/>
                  </a:lnTo>
                  <a:lnTo>
                    <a:pt x="2683" y="2698"/>
                  </a:lnTo>
                  <a:lnTo>
                    <a:pt x="2683" y="2698"/>
                  </a:lnTo>
                  <a:lnTo>
                    <a:pt x="2683" y="2698"/>
                  </a:lnTo>
                  <a:close/>
                  <a:moveTo>
                    <a:pt x="2591" y="2719"/>
                  </a:moveTo>
                  <a:lnTo>
                    <a:pt x="2598" y="2719"/>
                  </a:lnTo>
                  <a:lnTo>
                    <a:pt x="2591" y="2731"/>
                  </a:lnTo>
                  <a:lnTo>
                    <a:pt x="2581" y="2719"/>
                  </a:lnTo>
                  <a:lnTo>
                    <a:pt x="2591" y="2719"/>
                  </a:lnTo>
                  <a:lnTo>
                    <a:pt x="2591" y="2719"/>
                  </a:lnTo>
                  <a:lnTo>
                    <a:pt x="2591" y="2719"/>
                  </a:lnTo>
                  <a:close/>
                  <a:moveTo>
                    <a:pt x="2581" y="2731"/>
                  </a:moveTo>
                  <a:lnTo>
                    <a:pt x="2591" y="2731"/>
                  </a:lnTo>
                  <a:lnTo>
                    <a:pt x="2591" y="2736"/>
                  </a:lnTo>
                  <a:lnTo>
                    <a:pt x="2570" y="2736"/>
                  </a:lnTo>
                  <a:lnTo>
                    <a:pt x="2570" y="2731"/>
                  </a:lnTo>
                  <a:lnTo>
                    <a:pt x="2581" y="2731"/>
                  </a:lnTo>
                  <a:lnTo>
                    <a:pt x="2581" y="2731"/>
                  </a:lnTo>
                  <a:lnTo>
                    <a:pt x="2581" y="2731"/>
                  </a:lnTo>
                  <a:close/>
                  <a:moveTo>
                    <a:pt x="2527" y="2941"/>
                  </a:moveTo>
                  <a:lnTo>
                    <a:pt x="2522" y="2953"/>
                  </a:lnTo>
                  <a:lnTo>
                    <a:pt x="2515" y="2941"/>
                  </a:lnTo>
                  <a:lnTo>
                    <a:pt x="2463" y="2920"/>
                  </a:lnTo>
                  <a:lnTo>
                    <a:pt x="2451" y="2880"/>
                  </a:lnTo>
                  <a:lnTo>
                    <a:pt x="2463" y="2858"/>
                  </a:lnTo>
                  <a:lnTo>
                    <a:pt x="2506" y="2830"/>
                  </a:lnTo>
                  <a:lnTo>
                    <a:pt x="2489" y="2830"/>
                  </a:lnTo>
                  <a:lnTo>
                    <a:pt x="2506" y="2818"/>
                  </a:lnTo>
                  <a:lnTo>
                    <a:pt x="2515" y="2825"/>
                  </a:lnTo>
                  <a:lnTo>
                    <a:pt x="2522" y="2809"/>
                  </a:lnTo>
                  <a:lnTo>
                    <a:pt x="2553" y="2818"/>
                  </a:lnTo>
                  <a:lnTo>
                    <a:pt x="2560" y="2809"/>
                  </a:lnTo>
                  <a:lnTo>
                    <a:pt x="2591" y="2809"/>
                  </a:lnTo>
                  <a:lnTo>
                    <a:pt x="2598" y="2802"/>
                  </a:lnTo>
                  <a:lnTo>
                    <a:pt x="2607" y="2809"/>
                  </a:lnTo>
                  <a:lnTo>
                    <a:pt x="2614" y="2809"/>
                  </a:lnTo>
                  <a:lnTo>
                    <a:pt x="2624" y="2842"/>
                  </a:lnTo>
                  <a:lnTo>
                    <a:pt x="2607" y="2847"/>
                  </a:lnTo>
                  <a:lnTo>
                    <a:pt x="2591" y="2875"/>
                  </a:lnTo>
                  <a:lnTo>
                    <a:pt x="2581" y="2875"/>
                  </a:lnTo>
                  <a:lnTo>
                    <a:pt x="2591" y="2880"/>
                  </a:lnTo>
                  <a:lnTo>
                    <a:pt x="2591" y="2901"/>
                  </a:lnTo>
                  <a:lnTo>
                    <a:pt x="2560" y="2920"/>
                  </a:lnTo>
                  <a:lnTo>
                    <a:pt x="2553" y="2936"/>
                  </a:lnTo>
                  <a:lnTo>
                    <a:pt x="2539" y="2936"/>
                  </a:lnTo>
                  <a:lnTo>
                    <a:pt x="2527" y="2941"/>
                  </a:lnTo>
                  <a:lnTo>
                    <a:pt x="2527" y="2941"/>
                  </a:lnTo>
                  <a:lnTo>
                    <a:pt x="2527" y="294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6" name="Freeform 415">
              <a:extLst>
                <a:ext uri="{FF2B5EF4-FFF2-40B4-BE49-F238E27FC236}">
                  <a16:creationId xmlns:a16="http://schemas.microsoft.com/office/drawing/2014/main" id="{BA69FCE7-BCFF-4053-9DE0-C4B3116CCE64}"/>
                </a:ext>
              </a:extLst>
            </p:cNvPr>
            <p:cNvSpPr>
              <a:spLocks noEditPoints="1"/>
            </p:cNvSpPr>
            <p:nvPr/>
          </p:nvSpPr>
          <p:spPr bwMode="gray">
            <a:xfrm>
              <a:off x="11232491" y="4530400"/>
              <a:ext cx="987454" cy="1061423"/>
            </a:xfrm>
            <a:custGeom>
              <a:avLst/>
              <a:gdLst>
                <a:gd name="T0" fmla="*/ 2915 w 3017"/>
                <a:gd name="T1" fmla="*/ 404 h 3243"/>
                <a:gd name="T2" fmla="*/ 2736 w 3017"/>
                <a:gd name="T3" fmla="*/ 1103 h 3243"/>
                <a:gd name="T4" fmla="*/ 2698 w 3017"/>
                <a:gd name="T5" fmla="*/ 1609 h 3243"/>
                <a:gd name="T6" fmla="*/ 2643 w 3017"/>
                <a:gd name="T7" fmla="*/ 2086 h 3243"/>
                <a:gd name="T8" fmla="*/ 2596 w 3017"/>
                <a:gd name="T9" fmla="*/ 2490 h 3243"/>
                <a:gd name="T10" fmla="*/ 2811 w 3017"/>
                <a:gd name="T11" fmla="*/ 2877 h 3243"/>
                <a:gd name="T12" fmla="*/ 2651 w 3017"/>
                <a:gd name="T13" fmla="*/ 2939 h 3243"/>
                <a:gd name="T14" fmla="*/ 2596 w 3017"/>
                <a:gd name="T15" fmla="*/ 2917 h 3243"/>
                <a:gd name="T16" fmla="*/ 2551 w 3017"/>
                <a:gd name="T17" fmla="*/ 2877 h 3243"/>
                <a:gd name="T18" fmla="*/ 2537 w 3017"/>
                <a:gd name="T19" fmla="*/ 2872 h 3243"/>
                <a:gd name="T20" fmla="*/ 2466 w 3017"/>
                <a:gd name="T21" fmla="*/ 2712 h 3243"/>
                <a:gd name="T22" fmla="*/ 2483 w 3017"/>
                <a:gd name="T23" fmla="*/ 2580 h 3243"/>
                <a:gd name="T24" fmla="*/ 2504 w 3017"/>
                <a:gd name="T25" fmla="*/ 2457 h 3243"/>
                <a:gd name="T26" fmla="*/ 2407 w 3017"/>
                <a:gd name="T27" fmla="*/ 2358 h 3243"/>
                <a:gd name="T28" fmla="*/ 2483 w 3017"/>
                <a:gd name="T29" fmla="*/ 2346 h 3243"/>
                <a:gd name="T30" fmla="*/ 2542 w 3017"/>
                <a:gd name="T31" fmla="*/ 2069 h 3243"/>
                <a:gd name="T32" fmla="*/ 2483 w 3017"/>
                <a:gd name="T33" fmla="*/ 1857 h 3243"/>
                <a:gd name="T34" fmla="*/ 2665 w 3017"/>
                <a:gd name="T35" fmla="*/ 1165 h 3243"/>
                <a:gd name="T36" fmla="*/ 2736 w 3017"/>
                <a:gd name="T37" fmla="*/ 421 h 3243"/>
                <a:gd name="T38" fmla="*/ 2462 w 3017"/>
                <a:gd name="T39" fmla="*/ 2053 h 3243"/>
                <a:gd name="T40" fmla="*/ 2513 w 3017"/>
                <a:gd name="T41" fmla="*/ 2029 h 3243"/>
                <a:gd name="T42" fmla="*/ 2445 w 3017"/>
                <a:gd name="T43" fmla="*/ 2086 h 3243"/>
                <a:gd name="T44" fmla="*/ 2483 w 3017"/>
                <a:gd name="T45" fmla="*/ 2135 h 3243"/>
                <a:gd name="T46" fmla="*/ 2499 w 3017"/>
                <a:gd name="T47" fmla="*/ 2152 h 3243"/>
                <a:gd name="T48" fmla="*/ 2537 w 3017"/>
                <a:gd name="T49" fmla="*/ 2173 h 3243"/>
                <a:gd name="T50" fmla="*/ 2483 w 3017"/>
                <a:gd name="T51" fmla="*/ 2173 h 3243"/>
                <a:gd name="T52" fmla="*/ 2466 w 3017"/>
                <a:gd name="T53" fmla="*/ 2190 h 3243"/>
                <a:gd name="T54" fmla="*/ 2483 w 3017"/>
                <a:gd name="T55" fmla="*/ 2197 h 3243"/>
                <a:gd name="T56" fmla="*/ 2504 w 3017"/>
                <a:gd name="T57" fmla="*/ 2235 h 3243"/>
                <a:gd name="T58" fmla="*/ 2450 w 3017"/>
                <a:gd name="T59" fmla="*/ 2263 h 3243"/>
                <a:gd name="T60" fmla="*/ 2450 w 3017"/>
                <a:gd name="T61" fmla="*/ 2272 h 3243"/>
                <a:gd name="T62" fmla="*/ 2488 w 3017"/>
                <a:gd name="T63" fmla="*/ 2301 h 3243"/>
                <a:gd name="T64" fmla="*/ 2488 w 3017"/>
                <a:gd name="T65" fmla="*/ 2395 h 3243"/>
                <a:gd name="T66" fmla="*/ 2488 w 3017"/>
                <a:gd name="T67" fmla="*/ 2473 h 3243"/>
                <a:gd name="T68" fmla="*/ 2395 w 3017"/>
                <a:gd name="T69" fmla="*/ 2490 h 3243"/>
                <a:gd name="T70" fmla="*/ 2450 w 3017"/>
                <a:gd name="T71" fmla="*/ 2511 h 3243"/>
                <a:gd name="T72" fmla="*/ 2395 w 3017"/>
                <a:gd name="T73" fmla="*/ 2551 h 3243"/>
                <a:gd name="T74" fmla="*/ 2412 w 3017"/>
                <a:gd name="T75" fmla="*/ 2622 h 3243"/>
                <a:gd name="T76" fmla="*/ 2407 w 3017"/>
                <a:gd name="T77" fmla="*/ 2561 h 3243"/>
                <a:gd name="T78" fmla="*/ 2424 w 3017"/>
                <a:gd name="T79" fmla="*/ 2601 h 3243"/>
                <a:gd name="T80" fmla="*/ 2428 w 3017"/>
                <a:gd name="T81" fmla="*/ 2679 h 3243"/>
                <a:gd name="T82" fmla="*/ 2391 w 3017"/>
                <a:gd name="T83" fmla="*/ 2745 h 3243"/>
                <a:gd name="T84" fmla="*/ 2462 w 3017"/>
                <a:gd name="T85" fmla="*/ 2745 h 3243"/>
                <a:gd name="T86" fmla="*/ 2424 w 3017"/>
                <a:gd name="T87" fmla="*/ 2790 h 3243"/>
                <a:gd name="T88" fmla="*/ 2391 w 3017"/>
                <a:gd name="T89" fmla="*/ 2823 h 3243"/>
                <a:gd name="T90" fmla="*/ 2488 w 3017"/>
                <a:gd name="T91" fmla="*/ 2823 h 3243"/>
                <a:gd name="T92" fmla="*/ 2504 w 3017"/>
                <a:gd name="T93" fmla="*/ 2877 h 3243"/>
                <a:gd name="T94" fmla="*/ 2445 w 3017"/>
                <a:gd name="T95" fmla="*/ 2877 h 3243"/>
                <a:gd name="T96" fmla="*/ 2731 w 3017"/>
                <a:gd name="T97" fmla="*/ 3116 h 3243"/>
                <a:gd name="T98" fmla="*/ 2752 w 3017"/>
                <a:gd name="T99" fmla="*/ 3106 h 3243"/>
                <a:gd name="T100" fmla="*/ 2736 w 3017"/>
                <a:gd name="T101" fmla="*/ 2950 h 3243"/>
                <a:gd name="T102" fmla="*/ 2530 w 3017"/>
                <a:gd name="T103" fmla="*/ 2983 h 3243"/>
                <a:gd name="T104" fmla="*/ 2537 w 3017"/>
                <a:gd name="T105" fmla="*/ 3012 h 3243"/>
                <a:gd name="T106" fmla="*/ 2499 w 3017"/>
                <a:gd name="T107" fmla="*/ 3012 h 3243"/>
                <a:gd name="T108" fmla="*/ 2643 w 3017"/>
                <a:gd name="T109" fmla="*/ 3045 h 3243"/>
                <a:gd name="T110" fmla="*/ 2747 w 3017"/>
                <a:gd name="T111" fmla="*/ 3078 h 3243"/>
                <a:gd name="T112" fmla="*/ 2714 w 3017"/>
                <a:gd name="T113" fmla="*/ 3139 h 3243"/>
                <a:gd name="T114" fmla="*/ 2953 w 3017"/>
                <a:gd name="T115" fmla="*/ 3149 h 3243"/>
                <a:gd name="T116" fmla="*/ 2891 w 3017"/>
                <a:gd name="T117" fmla="*/ 3177 h 3243"/>
                <a:gd name="T118" fmla="*/ 2967 w 3017"/>
                <a:gd name="T119" fmla="*/ 3156 h 3243"/>
                <a:gd name="T120" fmla="*/ 2785 w 3017"/>
                <a:gd name="T121" fmla="*/ 3194 h 3243"/>
                <a:gd name="T122" fmla="*/ 2929 w 3017"/>
                <a:gd name="T123" fmla="*/ 3243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17" h="3243">
                  <a:moveTo>
                    <a:pt x="2736" y="66"/>
                  </a:moveTo>
                  <a:lnTo>
                    <a:pt x="2769" y="54"/>
                  </a:lnTo>
                  <a:lnTo>
                    <a:pt x="2785" y="38"/>
                  </a:lnTo>
                  <a:lnTo>
                    <a:pt x="2773" y="17"/>
                  </a:lnTo>
                  <a:lnTo>
                    <a:pt x="2790" y="17"/>
                  </a:lnTo>
                  <a:lnTo>
                    <a:pt x="2802" y="0"/>
                  </a:lnTo>
                  <a:lnTo>
                    <a:pt x="2811" y="38"/>
                  </a:lnTo>
                  <a:lnTo>
                    <a:pt x="2828" y="38"/>
                  </a:lnTo>
                  <a:lnTo>
                    <a:pt x="2823" y="50"/>
                  </a:lnTo>
                  <a:lnTo>
                    <a:pt x="2839" y="111"/>
                  </a:lnTo>
                  <a:lnTo>
                    <a:pt x="2877" y="144"/>
                  </a:lnTo>
                  <a:lnTo>
                    <a:pt x="2854" y="165"/>
                  </a:lnTo>
                  <a:lnTo>
                    <a:pt x="2865" y="182"/>
                  </a:lnTo>
                  <a:lnTo>
                    <a:pt x="2865" y="189"/>
                  </a:lnTo>
                  <a:lnTo>
                    <a:pt x="2854" y="199"/>
                  </a:lnTo>
                  <a:lnTo>
                    <a:pt x="2854" y="215"/>
                  </a:lnTo>
                  <a:lnTo>
                    <a:pt x="2854" y="222"/>
                  </a:lnTo>
                  <a:lnTo>
                    <a:pt x="2877" y="239"/>
                  </a:lnTo>
                  <a:lnTo>
                    <a:pt x="2865" y="250"/>
                  </a:lnTo>
                  <a:lnTo>
                    <a:pt x="2865" y="255"/>
                  </a:lnTo>
                  <a:lnTo>
                    <a:pt x="2877" y="260"/>
                  </a:lnTo>
                  <a:lnTo>
                    <a:pt x="2891" y="288"/>
                  </a:lnTo>
                  <a:lnTo>
                    <a:pt x="2891" y="310"/>
                  </a:lnTo>
                  <a:lnTo>
                    <a:pt x="2899" y="343"/>
                  </a:lnTo>
                  <a:lnTo>
                    <a:pt x="2908" y="350"/>
                  </a:lnTo>
                  <a:lnTo>
                    <a:pt x="2915" y="383"/>
                  </a:lnTo>
                  <a:lnTo>
                    <a:pt x="2915" y="404"/>
                  </a:lnTo>
                  <a:lnTo>
                    <a:pt x="2936" y="404"/>
                  </a:lnTo>
                  <a:lnTo>
                    <a:pt x="2962" y="404"/>
                  </a:lnTo>
                  <a:lnTo>
                    <a:pt x="2979" y="416"/>
                  </a:lnTo>
                  <a:lnTo>
                    <a:pt x="2953" y="494"/>
                  </a:lnTo>
                  <a:lnTo>
                    <a:pt x="2882" y="527"/>
                  </a:lnTo>
                  <a:lnTo>
                    <a:pt x="2865" y="548"/>
                  </a:lnTo>
                  <a:lnTo>
                    <a:pt x="2882" y="581"/>
                  </a:lnTo>
                  <a:lnTo>
                    <a:pt x="2865" y="581"/>
                  </a:lnTo>
                  <a:lnTo>
                    <a:pt x="2861" y="605"/>
                  </a:lnTo>
                  <a:lnTo>
                    <a:pt x="2877" y="659"/>
                  </a:lnTo>
                  <a:lnTo>
                    <a:pt x="2865" y="666"/>
                  </a:lnTo>
                  <a:lnTo>
                    <a:pt x="2861" y="683"/>
                  </a:lnTo>
                  <a:lnTo>
                    <a:pt x="2882" y="716"/>
                  </a:lnTo>
                  <a:lnTo>
                    <a:pt x="2877" y="732"/>
                  </a:lnTo>
                  <a:lnTo>
                    <a:pt x="2844" y="732"/>
                  </a:lnTo>
                  <a:lnTo>
                    <a:pt x="2823" y="803"/>
                  </a:lnTo>
                  <a:lnTo>
                    <a:pt x="2790" y="832"/>
                  </a:lnTo>
                  <a:lnTo>
                    <a:pt x="2785" y="886"/>
                  </a:lnTo>
                  <a:lnTo>
                    <a:pt x="2757" y="905"/>
                  </a:lnTo>
                  <a:lnTo>
                    <a:pt x="2773" y="976"/>
                  </a:lnTo>
                  <a:lnTo>
                    <a:pt x="2769" y="980"/>
                  </a:lnTo>
                  <a:lnTo>
                    <a:pt x="2752" y="992"/>
                  </a:lnTo>
                  <a:lnTo>
                    <a:pt x="2747" y="1025"/>
                  </a:lnTo>
                  <a:lnTo>
                    <a:pt x="2747" y="1037"/>
                  </a:lnTo>
                  <a:lnTo>
                    <a:pt x="2731" y="1054"/>
                  </a:lnTo>
                  <a:lnTo>
                    <a:pt x="2719" y="1082"/>
                  </a:lnTo>
                  <a:lnTo>
                    <a:pt x="2736" y="1103"/>
                  </a:lnTo>
                  <a:lnTo>
                    <a:pt x="2752" y="1108"/>
                  </a:lnTo>
                  <a:lnTo>
                    <a:pt x="2736" y="1124"/>
                  </a:lnTo>
                  <a:lnTo>
                    <a:pt x="2747" y="1136"/>
                  </a:lnTo>
                  <a:lnTo>
                    <a:pt x="2752" y="1160"/>
                  </a:lnTo>
                  <a:lnTo>
                    <a:pt x="2752" y="1176"/>
                  </a:lnTo>
                  <a:lnTo>
                    <a:pt x="2769" y="1193"/>
                  </a:lnTo>
                  <a:lnTo>
                    <a:pt x="2757" y="1214"/>
                  </a:lnTo>
                  <a:lnTo>
                    <a:pt x="2769" y="1219"/>
                  </a:lnTo>
                  <a:lnTo>
                    <a:pt x="2773" y="1219"/>
                  </a:lnTo>
                  <a:lnTo>
                    <a:pt x="2785" y="1231"/>
                  </a:lnTo>
                  <a:lnTo>
                    <a:pt x="2769" y="1259"/>
                  </a:lnTo>
                  <a:lnTo>
                    <a:pt x="2773" y="1292"/>
                  </a:lnTo>
                  <a:lnTo>
                    <a:pt x="2757" y="1304"/>
                  </a:lnTo>
                  <a:lnTo>
                    <a:pt x="2736" y="1370"/>
                  </a:lnTo>
                  <a:lnTo>
                    <a:pt x="2719" y="1380"/>
                  </a:lnTo>
                  <a:lnTo>
                    <a:pt x="2736" y="1387"/>
                  </a:lnTo>
                  <a:lnTo>
                    <a:pt x="2747" y="1424"/>
                  </a:lnTo>
                  <a:lnTo>
                    <a:pt x="2736" y="1453"/>
                  </a:lnTo>
                  <a:lnTo>
                    <a:pt x="2714" y="1458"/>
                  </a:lnTo>
                  <a:lnTo>
                    <a:pt x="2714" y="1474"/>
                  </a:lnTo>
                  <a:lnTo>
                    <a:pt x="2693" y="1481"/>
                  </a:lnTo>
                  <a:lnTo>
                    <a:pt x="2681" y="1507"/>
                  </a:lnTo>
                  <a:lnTo>
                    <a:pt x="2693" y="1531"/>
                  </a:lnTo>
                  <a:lnTo>
                    <a:pt x="2681" y="1547"/>
                  </a:lnTo>
                  <a:lnTo>
                    <a:pt x="2693" y="1564"/>
                  </a:lnTo>
                  <a:lnTo>
                    <a:pt x="2681" y="1580"/>
                  </a:lnTo>
                  <a:lnTo>
                    <a:pt x="2698" y="1609"/>
                  </a:lnTo>
                  <a:lnTo>
                    <a:pt x="2698" y="1642"/>
                  </a:lnTo>
                  <a:lnTo>
                    <a:pt x="2702" y="1658"/>
                  </a:lnTo>
                  <a:lnTo>
                    <a:pt x="2698" y="1663"/>
                  </a:lnTo>
                  <a:lnTo>
                    <a:pt x="2665" y="1680"/>
                  </a:lnTo>
                  <a:lnTo>
                    <a:pt x="2665" y="1713"/>
                  </a:lnTo>
                  <a:lnTo>
                    <a:pt x="2660" y="1746"/>
                  </a:lnTo>
                  <a:lnTo>
                    <a:pt x="2643" y="1736"/>
                  </a:lnTo>
                  <a:lnTo>
                    <a:pt x="2651" y="1769"/>
                  </a:lnTo>
                  <a:lnTo>
                    <a:pt x="2639" y="1791"/>
                  </a:lnTo>
                  <a:lnTo>
                    <a:pt x="2643" y="1802"/>
                  </a:lnTo>
                  <a:lnTo>
                    <a:pt x="2639" y="1807"/>
                  </a:lnTo>
                  <a:lnTo>
                    <a:pt x="2627" y="1840"/>
                  </a:lnTo>
                  <a:lnTo>
                    <a:pt x="2639" y="1857"/>
                  </a:lnTo>
                  <a:lnTo>
                    <a:pt x="2639" y="1913"/>
                  </a:lnTo>
                  <a:lnTo>
                    <a:pt x="2627" y="1918"/>
                  </a:lnTo>
                  <a:lnTo>
                    <a:pt x="2643" y="1951"/>
                  </a:lnTo>
                  <a:lnTo>
                    <a:pt x="2627" y="1958"/>
                  </a:lnTo>
                  <a:lnTo>
                    <a:pt x="2622" y="1958"/>
                  </a:lnTo>
                  <a:lnTo>
                    <a:pt x="2613" y="1975"/>
                  </a:lnTo>
                  <a:lnTo>
                    <a:pt x="2622" y="1975"/>
                  </a:lnTo>
                  <a:lnTo>
                    <a:pt x="2613" y="1996"/>
                  </a:lnTo>
                  <a:lnTo>
                    <a:pt x="2613" y="2041"/>
                  </a:lnTo>
                  <a:lnTo>
                    <a:pt x="2643" y="2046"/>
                  </a:lnTo>
                  <a:lnTo>
                    <a:pt x="2643" y="2062"/>
                  </a:lnTo>
                  <a:lnTo>
                    <a:pt x="2627" y="2062"/>
                  </a:lnTo>
                  <a:lnTo>
                    <a:pt x="2627" y="2069"/>
                  </a:lnTo>
                  <a:lnTo>
                    <a:pt x="2643" y="2086"/>
                  </a:lnTo>
                  <a:lnTo>
                    <a:pt x="2643" y="2095"/>
                  </a:lnTo>
                  <a:lnTo>
                    <a:pt x="2639" y="2102"/>
                  </a:lnTo>
                  <a:lnTo>
                    <a:pt x="2651" y="2119"/>
                  </a:lnTo>
                  <a:lnTo>
                    <a:pt x="2639" y="2135"/>
                  </a:lnTo>
                  <a:lnTo>
                    <a:pt x="2639" y="2157"/>
                  </a:lnTo>
                  <a:lnTo>
                    <a:pt x="2681" y="2157"/>
                  </a:lnTo>
                  <a:lnTo>
                    <a:pt x="2693" y="2161"/>
                  </a:lnTo>
                  <a:lnTo>
                    <a:pt x="2676" y="2190"/>
                  </a:lnTo>
                  <a:lnTo>
                    <a:pt x="2622" y="2190"/>
                  </a:lnTo>
                  <a:lnTo>
                    <a:pt x="2622" y="2206"/>
                  </a:lnTo>
                  <a:lnTo>
                    <a:pt x="2651" y="2206"/>
                  </a:lnTo>
                  <a:lnTo>
                    <a:pt x="2676" y="2235"/>
                  </a:lnTo>
                  <a:lnTo>
                    <a:pt x="2660" y="2251"/>
                  </a:lnTo>
                  <a:lnTo>
                    <a:pt x="2643" y="2263"/>
                  </a:lnTo>
                  <a:lnTo>
                    <a:pt x="2639" y="2268"/>
                  </a:lnTo>
                  <a:lnTo>
                    <a:pt x="2643" y="2284"/>
                  </a:lnTo>
                  <a:lnTo>
                    <a:pt x="2651" y="2301"/>
                  </a:lnTo>
                  <a:lnTo>
                    <a:pt x="2627" y="2317"/>
                  </a:lnTo>
                  <a:lnTo>
                    <a:pt x="2643" y="2324"/>
                  </a:lnTo>
                  <a:lnTo>
                    <a:pt x="2643" y="2362"/>
                  </a:lnTo>
                  <a:lnTo>
                    <a:pt x="2627" y="2374"/>
                  </a:lnTo>
                  <a:lnTo>
                    <a:pt x="2627" y="2395"/>
                  </a:lnTo>
                  <a:lnTo>
                    <a:pt x="2639" y="2412"/>
                  </a:lnTo>
                  <a:lnTo>
                    <a:pt x="2596" y="2433"/>
                  </a:lnTo>
                  <a:lnTo>
                    <a:pt x="2596" y="2440"/>
                  </a:lnTo>
                  <a:lnTo>
                    <a:pt x="2589" y="2473"/>
                  </a:lnTo>
                  <a:lnTo>
                    <a:pt x="2596" y="2490"/>
                  </a:lnTo>
                  <a:lnTo>
                    <a:pt x="2606" y="2511"/>
                  </a:lnTo>
                  <a:lnTo>
                    <a:pt x="2584" y="2523"/>
                  </a:lnTo>
                  <a:lnTo>
                    <a:pt x="2584" y="2551"/>
                  </a:lnTo>
                  <a:lnTo>
                    <a:pt x="2551" y="2568"/>
                  </a:lnTo>
                  <a:lnTo>
                    <a:pt x="2542" y="2596"/>
                  </a:lnTo>
                  <a:lnTo>
                    <a:pt x="2551" y="2601"/>
                  </a:lnTo>
                  <a:lnTo>
                    <a:pt x="2542" y="2601"/>
                  </a:lnTo>
                  <a:lnTo>
                    <a:pt x="2521" y="2601"/>
                  </a:lnTo>
                  <a:lnTo>
                    <a:pt x="2513" y="2622"/>
                  </a:lnTo>
                  <a:lnTo>
                    <a:pt x="2521" y="2650"/>
                  </a:lnTo>
                  <a:lnTo>
                    <a:pt x="2513" y="2655"/>
                  </a:lnTo>
                  <a:lnTo>
                    <a:pt x="2521" y="2662"/>
                  </a:lnTo>
                  <a:lnTo>
                    <a:pt x="2521" y="2679"/>
                  </a:lnTo>
                  <a:lnTo>
                    <a:pt x="2537" y="2695"/>
                  </a:lnTo>
                  <a:lnTo>
                    <a:pt x="2542" y="2733"/>
                  </a:lnTo>
                  <a:lnTo>
                    <a:pt x="2575" y="2728"/>
                  </a:lnTo>
                  <a:lnTo>
                    <a:pt x="2606" y="2728"/>
                  </a:lnTo>
                  <a:lnTo>
                    <a:pt x="2606" y="2761"/>
                  </a:lnTo>
                  <a:lnTo>
                    <a:pt x="2596" y="2773"/>
                  </a:lnTo>
                  <a:lnTo>
                    <a:pt x="2606" y="2783"/>
                  </a:lnTo>
                  <a:lnTo>
                    <a:pt x="2596" y="2806"/>
                  </a:lnTo>
                  <a:lnTo>
                    <a:pt x="2606" y="2828"/>
                  </a:lnTo>
                  <a:lnTo>
                    <a:pt x="2627" y="2844"/>
                  </a:lnTo>
                  <a:lnTo>
                    <a:pt x="2627" y="2856"/>
                  </a:lnTo>
                  <a:lnTo>
                    <a:pt x="2769" y="2856"/>
                  </a:lnTo>
                  <a:lnTo>
                    <a:pt x="2877" y="2894"/>
                  </a:lnTo>
                  <a:lnTo>
                    <a:pt x="2811" y="2877"/>
                  </a:lnTo>
                  <a:lnTo>
                    <a:pt x="2802" y="2884"/>
                  </a:lnTo>
                  <a:lnTo>
                    <a:pt x="2802" y="2894"/>
                  </a:lnTo>
                  <a:lnTo>
                    <a:pt x="2790" y="2910"/>
                  </a:lnTo>
                  <a:lnTo>
                    <a:pt x="2773" y="2901"/>
                  </a:lnTo>
                  <a:lnTo>
                    <a:pt x="2702" y="2927"/>
                  </a:lnTo>
                  <a:lnTo>
                    <a:pt x="2702" y="2950"/>
                  </a:lnTo>
                  <a:lnTo>
                    <a:pt x="2698" y="2988"/>
                  </a:lnTo>
                  <a:lnTo>
                    <a:pt x="2698" y="3028"/>
                  </a:lnTo>
                  <a:lnTo>
                    <a:pt x="2676" y="3045"/>
                  </a:lnTo>
                  <a:lnTo>
                    <a:pt x="2613" y="3021"/>
                  </a:lnTo>
                  <a:lnTo>
                    <a:pt x="2589" y="2995"/>
                  </a:lnTo>
                  <a:lnTo>
                    <a:pt x="2606" y="2983"/>
                  </a:lnTo>
                  <a:lnTo>
                    <a:pt x="2613" y="2983"/>
                  </a:lnTo>
                  <a:lnTo>
                    <a:pt x="2622" y="2988"/>
                  </a:lnTo>
                  <a:lnTo>
                    <a:pt x="2606" y="2995"/>
                  </a:lnTo>
                  <a:lnTo>
                    <a:pt x="2613" y="2995"/>
                  </a:lnTo>
                  <a:lnTo>
                    <a:pt x="2622" y="2988"/>
                  </a:lnTo>
                  <a:lnTo>
                    <a:pt x="2622" y="2972"/>
                  </a:lnTo>
                  <a:lnTo>
                    <a:pt x="2639" y="2972"/>
                  </a:lnTo>
                  <a:lnTo>
                    <a:pt x="2639" y="2995"/>
                  </a:lnTo>
                  <a:lnTo>
                    <a:pt x="2622" y="3012"/>
                  </a:lnTo>
                  <a:lnTo>
                    <a:pt x="2639" y="3005"/>
                  </a:lnTo>
                  <a:lnTo>
                    <a:pt x="2643" y="2972"/>
                  </a:lnTo>
                  <a:lnTo>
                    <a:pt x="2665" y="2967"/>
                  </a:lnTo>
                  <a:lnTo>
                    <a:pt x="2681" y="2939"/>
                  </a:lnTo>
                  <a:lnTo>
                    <a:pt x="2681" y="2934"/>
                  </a:lnTo>
                  <a:lnTo>
                    <a:pt x="2651" y="2939"/>
                  </a:lnTo>
                  <a:lnTo>
                    <a:pt x="2622" y="2967"/>
                  </a:lnTo>
                  <a:lnTo>
                    <a:pt x="2606" y="2955"/>
                  </a:lnTo>
                  <a:lnTo>
                    <a:pt x="2584" y="2967"/>
                  </a:lnTo>
                  <a:lnTo>
                    <a:pt x="2613" y="2972"/>
                  </a:lnTo>
                  <a:lnTo>
                    <a:pt x="2589" y="2972"/>
                  </a:lnTo>
                  <a:lnTo>
                    <a:pt x="2596" y="2983"/>
                  </a:lnTo>
                  <a:lnTo>
                    <a:pt x="2589" y="2988"/>
                  </a:lnTo>
                  <a:lnTo>
                    <a:pt x="2575" y="2988"/>
                  </a:lnTo>
                  <a:lnTo>
                    <a:pt x="2596" y="3005"/>
                  </a:lnTo>
                  <a:lnTo>
                    <a:pt x="2537" y="2972"/>
                  </a:lnTo>
                  <a:lnTo>
                    <a:pt x="2537" y="2967"/>
                  </a:lnTo>
                  <a:lnTo>
                    <a:pt x="2558" y="2972"/>
                  </a:lnTo>
                  <a:lnTo>
                    <a:pt x="2575" y="2983"/>
                  </a:lnTo>
                  <a:lnTo>
                    <a:pt x="2568" y="2972"/>
                  </a:lnTo>
                  <a:lnTo>
                    <a:pt x="2575" y="2967"/>
                  </a:lnTo>
                  <a:lnTo>
                    <a:pt x="2558" y="2967"/>
                  </a:lnTo>
                  <a:lnTo>
                    <a:pt x="2568" y="2955"/>
                  </a:lnTo>
                  <a:lnTo>
                    <a:pt x="2558" y="2939"/>
                  </a:lnTo>
                  <a:lnTo>
                    <a:pt x="2575" y="2927"/>
                  </a:lnTo>
                  <a:lnTo>
                    <a:pt x="2589" y="2934"/>
                  </a:lnTo>
                  <a:lnTo>
                    <a:pt x="2613" y="2917"/>
                  </a:lnTo>
                  <a:lnTo>
                    <a:pt x="2639" y="2927"/>
                  </a:lnTo>
                  <a:lnTo>
                    <a:pt x="2660" y="2917"/>
                  </a:lnTo>
                  <a:lnTo>
                    <a:pt x="2660" y="2910"/>
                  </a:lnTo>
                  <a:lnTo>
                    <a:pt x="2613" y="2910"/>
                  </a:lnTo>
                  <a:lnTo>
                    <a:pt x="2596" y="2910"/>
                  </a:lnTo>
                  <a:lnTo>
                    <a:pt x="2596" y="2917"/>
                  </a:lnTo>
                  <a:lnTo>
                    <a:pt x="2584" y="2917"/>
                  </a:lnTo>
                  <a:lnTo>
                    <a:pt x="2596" y="2910"/>
                  </a:lnTo>
                  <a:lnTo>
                    <a:pt x="2568" y="2910"/>
                  </a:lnTo>
                  <a:lnTo>
                    <a:pt x="2558" y="2917"/>
                  </a:lnTo>
                  <a:lnTo>
                    <a:pt x="2575" y="2917"/>
                  </a:lnTo>
                  <a:lnTo>
                    <a:pt x="2551" y="2939"/>
                  </a:lnTo>
                  <a:lnTo>
                    <a:pt x="2558" y="2955"/>
                  </a:lnTo>
                  <a:lnTo>
                    <a:pt x="2542" y="2967"/>
                  </a:lnTo>
                  <a:lnTo>
                    <a:pt x="2521" y="2955"/>
                  </a:lnTo>
                  <a:lnTo>
                    <a:pt x="2537" y="2939"/>
                  </a:lnTo>
                  <a:lnTo>
                    <a:pt x="2513" y="2934"/>
                  </a:lnTo>
                  <a:lnTo>
                    <a:pt x="2537" y="2934"/>
                  </a:lnTo>
                  <a:lnTo>
                    <a:pt x="2542" y="2910"/>
                  </a:lnTo>
                  <a:lnTo>
                    <a:pt x="2558" y="2910"/>
                  </a:lnTo>
                  <a:lnTo>
                    <a:pt x="2542" y="2901"/>
                  </a:lnTo>
                  <a:lnTo>
                    <a:pt x="2537" y="2927"/>
                  </a:lnTo>
                  <a:lnTo>
                    <a:pt x="2530" y="2917"/>
                  </a:lnTo>
                  <a:lnTo>
                    <a:pt x="2504" y="2927"/>
                  </a:lnTo>
                  <a:lnTo>
                    <a:pt x="2504" y="2917"/>
                  </a:lnTo>
                  <a:lnTo>
                    <a:pt x="2513" y="2910"/>
                  </a:lnTo>
                  <a:lnTo>
                    <a:pt x="2504" y="2901"/>
                  </a:lnTo>
                  <a:lnTo>
                    <a:pt x="2513" y="2884"/>
                  </a:lnTo>
                  <a:lnTo>
                    <a:pt x="2504" y="2861"/>
                  </a:lnTo>
                  <a:lnTo>
                    <a:pt x="2513" y="2877"/>
                  </a:lnTo>
                  <a:lnTo>
                    <a:pt x="2530" y="2877"/>
                  </a:lnTo>
                  <a:lnTo>
                    <a:pt x="2551" y="2861"/>
                  </a:lnTo>
                  <a:lnTo>
                    <a:pt x="2551" y="2877"/>
                  </a:lnTo>
                  <a:lnTo>
                    <a:pt x="2568" y="2884"/>
                  </a:lnTo>
                  <a:lnTo>
                    <a:pt x="2568" y="2861"/>
                  </a:lnTo>
                  <a:lnTo>
                    <a:pt x="2558" y="2877"/>
                  </a:lnTo>
                  <a:lnTo>
                    <a:pt x="2558" y="2861"/>
                  </a:lnTo>
                  <a:lnTo>
                    <a:pt x="2568" y="2856"/>
                  </a:lnTo>
                  <a:lnTo>
                    <a:pt x="2575" y="2856"/>
                  </a:lnTo>
                  <a:lnTo>
                    <a:pt x="2589" y="2877"/>
                  </a:lnTo>
                  <a:lnTo>
                    <a:pt x="2584" y="2884"/>
                  </a:lnTo>
                  <a:lnTo>
                    <a:pt x="2558" y="2901"/>
                  </a:lnTo>
                  <a:lnTo>
                    <a:pt x="2589" y="2884"/>
                  </a:lnTo>
                  <a:lnTo>
                    <a:pt x="2589" y="2877"/>
                  </a:lnTo>
                  <a:lnTo>
                    <a:pt x="2575" y="2856"/>
                  </a:lnTo>
                  <a:lnTo>
                    <a:pt x="2589" y="2856"/>
                  </a:lnTo>
                  <a:lnTo>
                    <a:pt x="2589" y="2839"/>
                  </a:lnTo>
                  <a:lnTo>
                    <a:pt x="2575" y="2816"/>
                  </a:lnTo>
                  <a:lnTo>
                    <a:pt x="2537" y="2806"/>
                  </a:lnTo>
                  <a:lnTo>
                    <a:pt x="2584" y="2839"/>
                  </a:lnTo>
                  <a:lnTo>
                    <a:pt x="2575" y="2839"/>
                  </a:lnTo>
                  <a:lnTo>
                    <a:pt x="2537" y="2823"/>
                  </a:lnTo>
                  <a:lnTo>
                    <a:pt x="2537" y="2828"/>
                  </a:lnTo>
                  <a:lnTo>
                    <a:pt x="2551" y="2839"/>
                  </a:lnTo>
                  <a:lnTo>
                    <a:pt x="2542" y="2844"/>
                  </a:lnTo>
                  <a:lnTo>
                    <a:pt x="2558" y="2844"/>
                  </a:lnTo>
                  <a:lnTo>
                    <a:pt x="2542" y="2856"/>
                  </a:lnTo>
                  <a:lnTo>
                    <a:pt x="2537" y="2861"/>
                  </a:lnTo>
                  <a:lnTo>
                    <a:pt x="2530" y="2823"/>
                  </a:lnTo>
                  <a:lnTo>
                    <a:pt x="2537" y="2872"/>
                  </a:lnTo>
                  <a:lnTo>
                    <a:pt x="2513" y="2861"/>
                  </a:lnTo>
                  <a:lnTo>
                    <a:pt x="2504" y="2839"/>
                  </a:lnTo>
                  <a:lnTo>
                    <a:pt x="2530" y="2861"/>
                  </a:lnTo>
                  <a:lnTo>
                    <a:pt x="2513" y="2828"/>
                  </a:lnTo>
                  <a:lnTo>
                    <a:pt x="2521" y="2828"/>
                  </a:lnTo>
                  <a:lnTo>
                    <a:pt x="2504" y="2839"/>
                  </a:lnTo>
                  <a:lnTo>
                    <a:pt x="2499" y="2823"/>
                  </a:lnTo>
                  <a:lnTo>
                    <a:pt x="2488" y="2823"/>
                  </a:lnTo>
                  <a:lnTo>
                    <a:pt x="2488" y="2799"/>
                  </a:lnTo>
                  <a:lnTo>
                    <a:pt x="2513" y="2823"/>
                  </a:lnTo>
                  <a:lnTo>
                    <a:pt x="2499" y="2783"/>
                  </a:lnTo>
                  <a:lnTo>
                    <a:pt x="2504" y="2790"/>
                  </a:lnTo>
                  <a:lnTo>
                    <a:pt x="2504" y="2773"/>
                  </a:lnTo>
                  <a:lnTo>
                    <a:pt x="2488" y="2783"/>
                  </a:lnTo>
                  <a:lnTo>
                    <a:pt x="2476" y="2783"/>
                  </a:lnTo>
                  <a:lnTo>
                    <a:pt x="2466" y="2761"/>
                  </a:lnTo>
                  <a:lnTo>
                    <a:pt x="2476" y="2750"/>
                  </a:lnTo>
                  <a:lnTo>
                    <a:pt x="2499" y="2750"/>
                  </a:lnTo>
                  <a:lnTo>
                    <a:pt x="2504" y="2728"/>
                  </a:lnTo>
                  <a:lnTo>
                    <a:pt x="2521" y="2733"/>
                  </a:lnTo>
                  <a:lnTo>
                    <a:pt x="2521" y="2728"/>
                  </a:lnTo>
                  <a:lnTo>
                    <a:pt x="2504" y="2717"/>
                  </a:lnTo>
                  <a:lnTo>
                    <a:pt x="2513" y="2707"/>
                  </a:lnTo>
                  <a:lnTo>
                    <a:pt x="2499" y="2717"/>
                  </a:lnTo>
                  <a:lnTo>
                    <a:pt x="2499" y="2745"/>
                  </a:lnTo>
                  <a:lnTo>
                    <a:pt x="2483" y="2745"/>
                  </a:lnTo>
                  <a:lnTo>
                    <a:pt x="2466" y="2712"/>
                  </a:lnTo>
                  <a:lnTo>
                    <a:pt x="2488" y="2717"/>
                  </a:lnTo>
                  <a:lnTo>
                    <a:pt x="2466" y="2707"/>
                  </a:lnTo>
                  <a:lnTo>
                    <a:pt x="2433" y="2688"/>
                  </a:lnTo>
                  <a:lnTo>
                    <a:pt x="2445" y="2679"/>
                  </a:lnTo>
                  <a:lnTo>
                    <a:pt x="2462" y="2672"/>
                  </a:lnTo>
                  <a:lnTo>
                    <a:pt x="2466" y="2688"/>
                  </a:lnTo>
                  <a:lnTo>
                    <a:pt x="2499" y="2695"/>
                  </a:lnTo>
                  <a:lnTo>
                    <a:pt x="2476" y="2688"/>
                  </a:lnTo>
                  <a:lnTo>
                    <a:pt x="2462" y="2662"/>
                  </a:lnTo>
                  <a:lnTo>
                    <a:pt x="2466" y="2662"/>
                  </a:lnTo>
                  <a:lnTo>
                    <a:pt x="2488" y="2672"/>
                  </a:lnTo>
                  <a:lnTo>
                    <a:pt x="2466" y="2655"/>
                  </a:lnTo>
                  <a:lnTo>
                    <a:pt x="2462" y="2650"/>
                  </a:lnTo>
                  <a:lnTo>
                    <a:pt x="2483" y="2639"/>
                  </a:lnTo>
                  <a:lnTo>
                    <a:pt x="2466" y="2639"/>
                  </a:lnTo>
                  <a:lnTo>
                    <a:pt x="2462" y="2634"/>
                  </a:lnTo>
                  <a:lnTo>
                    <a:pt x="2488" y="2622"/>
                  </a:lnTo>
                  <a:lnTo>
                    <a:pt x="2504" y="2639"/>
                  </a:lnTo>
                  <a:lnTo>
                    <a:pt x="2499" y="2634"/>
                  </a:lnTo>
                  <a:lnTo>
                    <a:pt x="2488" y="2622"/>
                  </a:lnTo>
                  <a:lnTo>
                    <a:pt x="2476" y="2617"/>
                  </a:lnTo>
                  <a:lnTo>
                    <a:pt x="2483" y="2601"/>
                  </a:lnTo>
                  <a:lnTo>
                    <a:pt x="2499" y="2606"/>
                  </a:lnTo>
                  <a:lnTo>
                    <a:pt x="2483" y="2601"/>
                  </a:lnTo>
                  <a:lnTo>
                    <a:pt x="2483" y="2584"/>
                  </a:lnTo>
                  <a:lnTo>
                    <a:pt x="2499" y="2580"/>
                  </a:lnTo>
                  <a:lnTo>
                    <a:pt x="2483" y="2580"/>
                  </a:lnTo>
                  <a:lnTo>
                    <a:pt x="2466" y="2622"/>
                  </a:lnTo>
                  <a:lnTo>
                    <a:pt x="2462" y="2617"/>
                  </a:lnTo>
                  <a:lnTo>
                    <a:pt x="2450" y="2551"/>
                  </a:lnTo>
                  <a:lnTo>
                    <a:pt x="2462" y="2544"/>
                  </a:lnTo>
                  <a:lnTo>
                    <a:pt x="2483" y="2551"/>
                  </a:lnTo>
                  <a:lnTo>
                    <a:pt x="2462" y="2544"/>
                  </a:lnTo>
                  <a:lnTo>
                    <a:pt x="2462" y="2539"/>
                  </a:lnTo>
                  <a:lnTo>
                    <a:pt x="2466" y="2523"/>
                  </a:lnTo>
                  <a:lnTo>
                    <a:pt x="2483" y="2528"/>
                  </a:lnTo>
                  <a:lnTo>
                    <a:pt x="2483" y="2523"/>
                  </a:lnTo>
                  <a:lnTo>
                    <a:pt x="2466" y="2511"/>
                  </a:lnTo>
                  <a:lnTo>
                    <a:pt x="2476" y="2511"/>
                  </a:lnTo>
                  <a:lnTo>
                    <a:pt x="2433" y="2485"/>
                  </a:lnTo>
                  <a:lnTo>
                    <a:pt x="2450" y="2485"/>
                  </a:lnTo>
                  <a:lnTo>
                    <a:pt x="2466" y="2506"/>
                  </a:lnTo>
                  <a:lnTo>
                    <a:pt x="2462" y="2485"/>
                  </a:lnTo>
                  <a:lnTo>
                    <a:pt x="2499" y="2485"/>
                  </a:lnTo>
                  <a:lnTo>
                    <a:pt x="2513" y="2506"/>
                  </a:lnTo>
                  <a:lnTo>
                    <a:pt x="2521" y="2495"/>
                  </a:lnTo>
                  <a:lnTo>
                    <a:pt x="2530" y="2495"/>
                  </a:lnTo>
                  <a:lnTo>
                    <a:pt x="2537" y="2490"/>
                  </a:lnTo>
                  <a:lnTo>
                    <a:pt x="2530" y="2495"/>
                  </a:lnTo>
                  <a:lnTo>
                    <a:pt x="2521" y="2490"/>
                  </a:lnTo>
                  <a:lnTo>
                    <a:pt x="2504" y="2473"/>
                  </a:lnTo>
                  <a:lnTo>
                    <a:pt x="2537" y="2485"/>
                  </a:lnTo>
                  <a:lnTo>
                    <a:pt x="2521" y="2473"/>
                  </a:lnTo>
                  <a:lnTo>
                    <a:pt x="2504" y="2457"/>
                  </a:lnTo>
                  <a:lnTo>
                    <a:pt x="2504" y="2452"/>
                  </a:lnTo>
                  <a:lnTo>
                    <a:pt x="2504" y="2433"/>
                  </a:lnTo>
                  <a:lnTo>
                    <a:pt x="2499" y="2457"/>
                  </a:lnTo>
                  <a:lnTo>
                    <a:pt x="2488" y="2469"/>
                  </a:lnTo>
                  <a:lnTo>
                    <a:pt x="2433" y="2457"/>
                  </a:lnTo>
                  <a:lnTo>
                    <a:pt x="2445" y="2440"/>
                  </a:lnTo>
                  <a:lnTo>
                    <a:pt x="2462" y="2440"/>
                  </a:lnTo>
                  <a:lnTo>
                    <a:pt x="2466" y="2457"/>
                  </a:lnTo>
                  <a:lnTo>
                    <a:pt x="2476" y="2457"/>
                  </a:lnTo>
                  <a:lnTo>
                    <a:pt x="2466" y="2457"/>
                  </a:lnTo>
                  <a:lnTo>
                    <a:pt x="2466" y="2452"/>
                  </a:lnTo>
                  <a:lnTo>
                    <a:pt x="2483" y="2440"/>
                  </a:lnTo>
                  <a:lnTo>
                    <a:pt x="2462" y="2440"/>
                  </a:lnTo>
                  <a:lnTo>
                    <a:pt x="2445" y="2428"/>
                  </a:lnTo>
                  <a:lnTo>
                    <a:pt x="2462" y="2412"/>
                  </a:lnTo>
                  <a:lnTo>
                    <a:pt x="2476" y="2412"/>
                  </a:lnTo>
                  <a:lnTo>
                    <a:pt x="2476" y="2417"/>
                  </a:lnTo>
                  <a:lnTo>
                    <a:pt x="2476" y="2412"/>
                  </a:lnTo>
                  <a:lnTo>
                    <a:pt x="2488" y="2395"/>
                  </a:lnTo>
                  <a:lnTo>
                    <a:pt x="2476" y="2384"/>
                  </a:lnTo>
                  <a:lnTo>
                    <a:pt x="2466" y="2374"/>
                  </a:lnTo>
                  <a:lnTo>
                    <a:pt x="2445" y="2374"/>
                  </a:lnTo>
                  <a:lnTo>
                    <a:pt x="2450" y="2379"/>
                  </a:lnTo>
                  <a:lnTo>
                    <a:pt x="2412" y="2374"/>
                  </a:lnTo>
                  <a:lnTo>
                    <a:pt x="2407" y="2358"/>
                  </a:lnTo>
                  <a:lnTo>
                    <a:pt x="2424" y="2341"/>
                  </a:lnTo>
                  <a:lnTo>
                    <a:pt x="2407" y="2358"/>
                  </a:lnTo>
                  <a:lnTo>
                    <a:pt x="2369" y="2374"/>
                  </a:lnTo>
                  <a:lnTo>
                    <a:pt x="2379" y="2362"/>
                  </a:lnTo>
                  <a:lnTo>
                    <a:pt x="2391" y="2379"/>
                  </a:lnTo>
                  <a:lnTo>
                    <a:pt x="2379" y="2384"/>
                  </a:lnTo>
                  <a:lnTo>
                    <a:pt x="2374" y="2384"/>
                  </a:lnTo>
                  <a:lnTo>
                    <a:pt x="2369" y="2362"/>
                  </a:lnTo>
                  <a:lnTo>
                    <a:pt x="2369" y="2346"/>
                  </a:lnTo>
                  <a:lnTo>
                    <a:pt x="2395" y="2329"/>
                  </a:lnTo>
                  <a:lnTo>
                    <a:pt x="2395" y="2341"/>
                  </a:lnTo>
                  <a:lnTo>
                    <a:pt x="2407" y="2317"/>
                  </a:lnTo>
                  <a:lnTo>
                    <a:pt x="2428" y="2308"/>
                  </a:lnTo>
                  <a:lnTo>
                    <a:pt x="2433" y="2284"/>
                  </a:lnTo>
                  <a:lnTo>
                    <a:pt x="2462" y="2284"/>
                  </a:lnTo>
                  <a:lnTo>
                    <a:pt x="2476" y="2284"/>
                  </a:lnTo>
                  <a:lnTo>
                    <a:pt x="2483" y="2301"/>
                  </a:lnTo>
                  <a:lnTo>
                    <a:pt x="2476" y="2308"/>
                  </a:lnTo>
                  <a:lnTo>
                    <a:pt x="2483" y="2301"/>
                  </a:lnTo>
                  <a:lnTo>
                    <a:pt x="2488" y="2308"/>
                  </a:lnTo>
                  <a:lnTo>
                    <a:pt x="2462" y="2324"/>
                  </a:lnTo>
                  <a:lnTo>
                    <a:pt x="2450" y="2317"/>
                  </a:lnTo>
                  <a:lnTo>
                    <a:pt x="2462" y="2324"/>
                  </a:lnTo>
                  <a:lnTo>
                    <a:pt x="2483" y="2317"/>
                  </a:lnTo>
                  <a:lnTo>
                    <a:pt x="2499" y="2329"/>
                  </a:lnTo>
                  <a:lnTo>
                    <a:pt x="2483" y="2317"/>
                  </a:lnTo>
                  <a:lnTo>
                    <a:pt x="2488" y="2317"/>
                  </a:lnTo>
                  <a:lnTo>
                    <a:pt x="2499" y="2324"/>
                  </a:lnTo>
                  <a:lnTo>
                    <a:pt x="2483" y="2346"/>
                  </a:lnTo>
                  <a:lnTo>
                    <a:pt x="2499" y="2358"/>
                  </a:lnTo>
                  <a:lnTo>
                    <a:pt x="2521" y="2308"/>
                  </a:lnTo>
                  <a:lnTo>
                    <a:pt x="2504" y="2329"/>
                  </a:lnTo>
                  <a:lnTo>
                    <a:pt x="2504" y="2301"/>
                  </a:lnTo>
                  <a:lnTo>
                    <a:pt x="2530" y="2272"/>
                  </a:lnTo>
                  <a:lnTo>
                    <a:pt x="2542" y="2268"/>
                  </a:lnTo>
                  <a:lnTo>
                    <a:pt x="2530" y="2268"/>
                  </a:lnTo>
                  <a:lnTo>
                    <a:pt x="2513" y="2272"/>
                  </a:lnTo>
                  <a:lnTo>
                    <a:pt x="2521" y="2251"/>
                  </a:lnTo>
                  <a:lnTo>
                    <a:pt x="2537" y="2235"/>
                  </a:lnTo>
                  <a:lnTo>
                    <a:pt x="2551" y="2251"/>
                  </a:lnTo>
                  <a:lnTo>
                    <a:pt x="2568" y="2247"/>
                  </a:lnTo>
                  <a:lnTo>
                    <a:pt x="2537" y="2230"/>
                  </a:lnTo>
                  <a:lnTo>
                    <a:pt x="2521" y="2235"/>
                  </a:lnTo>
                  <a:lnTo>
                    <a:pt x="2521" y="2230"/>
                  </a:lnTo>
                  <a:lnTo>
                    <a:pt x="2537" y="2218"/>
                  </a:lnTo>
                  <a:lnTo>
                    <a:pt x="2530" y="2206"/>
                  </a:lnTo>
                  <a:lnTo>
                    <a:pt x="2568" y="2190"/>
                  </a:lnTo>
                  <a:lnTo>
                    <a:pt x="2584" y="2161"/>
                  </a:lnTo>
                  <a:lnTo>
                    <a:pt x="2584" y="2157"/>
                  </a:lnTo>
                  <a:lnTo>
                    <a:pt x="2575" y="2161"/>
                  </a:lnTo>
                  <a:lnTo>
                    <a:pt x="2537" y="2135"/>
                  </a:lnTo>
                  <a:lnTo>
                    <a:pt x="2551" y="2102"/>
                  </a:lnTo>
                  <a:lnTo>
                    <a:pt x="2568" y="2102"/>
                  </a:lnTo>
                  <a:lnTo>
                    <a:pt x="2568" y="2095"/>
                  </a:lnTo>
                  <a:lnTo>
                    <a:pt x="2551" y="2095"/>
                  </a:lnTo>
                  <a:lnTo>
                    <a:pt x="2542" y="2069"/>
                  </a:lnTo>
                  <a:lnTo>
                    <a:pt x="2551" y="2062"/>
                  </a:lnTo>
                  <a:lnTo>
                    <a:pt x="2558" y="2053"/>
                  </a:lnTo>
                  <a:lnTo>
                    <a:pt x="2568" y="2041"/>
                  </a:lnTo>
                  <a:lnTo>
                    <a:pt x="2575" y="2041"/>
                  </a:lnTo>
                  <a:lnTo>
                    <a:pt x="2568" y="1996"/>
                  </a:lnTo>
                  <a:lnTo>
                    <a:pt x="2568" y="1991"/>
                  </a:lnTo>
                  <a:lnTo>
                    <a:pt x="2589" y="1996"/>
                  </a:lnTo>
                  <a:lnTo>
                    <a:pt x="2568" y="1968"/>
                  </a:lnTo>
                  <a:lnTo>
                    <a:pt x="2584" y="1958"/>
                  </a:lnTo>
                  <a:lnTo>
                    <a:pt x="2596" y="1984"/>
                  </a:lnTo>
                  <a:lnTo>
                    <a:pt x="2589" y="1942"/>
                  </a:lnTo>
                  <a:lnTo>
                    <a:pt x="2575" y="1942"/>
                  </a:lnTo>
                  <a:lnTo>
                    <a:pt x="2568" y="1935"/>
                  </a:lnTo>
                  <a:lnTo>
                    <a:pt x="2575" y="1930"/>
                  </a:lnTo>
                  <a:lnTo>
                    <a:pt x="2596" y="1918"/>
                  </a:lnTo>
                  <a:lnTo>
                    <a:pt x="2606" y="1897"/>
                  </a:lnTo>
                  <a:lnTo>
                    <a:pt x="2596" y="1918"/>
                  </a:lnTo>
                  <a:lnTo>
                    <a:pt x="2584" y="1918"/>
                  </a:lnTo>
                  <a:lnTo>
                    <a:pt x="2558" y="1902"/>
                  </a:lnTo>
                  <a:lnTo>
                    <a:pt x="2551" y="1902"/>
                  </a:lnTo>
                  <a:lnTo>
                    <a:pt x="2551" y="1918"/>
                  </a:lnTo>
                  <a:lnTo>
                    <a:pt x="2537" y="1930"/>
                  </a:lnTo>
                  <a:lnTo>
                    <a:pt x="2504" y="1930"/>
                  </a:lnTo>
                  <a:lnTo>
                    <a:pt x="2521" y="1902"/>
                  </a:lnTo>
                  <a:lnTo>
                    <a:pt x="2504" y="1913"/>
                  </a:lnTo>
                  <a:lnTo>
                    <a:pt x="2488" y="1902"/>
                  </a:lnTo>
                  <a:lnTo>
                    <a:pt x="2483" y="1857"/>
                  </a:lnTo>
                  <a:lnTo>
                    <a:pt x="2504" y="1819"/>
                  </a:lnTo>
                  <a:lnTo>
                    <a:pt x="2504" y="1791"/>
                  </a:lnTo>
                  <a:lnTo>
                    <a:pt x="2504" y="1786"/>
                  </a:lnTo>
                  <a:lnTo>
                    <a:pt x="2504" y="1774"/>
                  </a:lnTo>
                  <a:lnTo>
                    <a:pt x="2530" y="1769"/>
                  </a:lnTo>
                  <a:lnTo>
                    <a:pt x="2537" y="1729"/>
                  </a:lnTo>
                  <a:lnTo>
                    <a:pt x="2513" y="1642"/>
                  </a:lnTo>
                  <a:lnTo>
                    <a:pt x="2521" y="1609"/>
                  </a:lnTo>
                  <a:lnTo>
                    <a:pt x="2504" y="1585"/>
                  </a:lnTo>
                  <a:lnTo>
                    <a:pt x="2513" y="1564"/>
                  </a:lnTo>
                  <a:lnTo>
                    <a:pt x="2504" y="1552"/>
                  </a:lnTo>
                  <a:lnTo>
                    <a:pt x="2513" y="1535"/>
                  </a:lnTo>
                  <a:lnTo>
                    <a:pt x="2530" y="1535"/>
                  </a:lnTo>
                  <a:lnTo>
                    <a:pt x="2542" y="1531"/>
                  </a:lnTo>
                  <a:lnTo>
                    <a:pt x="2542" y="1498"/>
                  </a:lnTo>
                  <a:lnTo>
                    <a:pt x="2551" y="1498"/>
                  </a:lnTo>
                  <a:lnTo>
                    <a:pt x="2568" y="1436"/>
                  </a:lnTo>
                  <a:lnTo>
                    <a:pt x="2584" y="1424"/>
                  </a:lnTo>
                  <a:lnTo>
                    <a:pt x="2584" y="1403"/>
                  </a:lnTo>
                  <a:lnTo>
                    <a:pt x="2606" y="1363"/>
                  </a:lnTo>
                  <a:lnTo>
                    <a:pt x="2627" y="1309"/>
                  </a:lnTo>
                  <a:lnTo>
                    <a:pt x="2622" y="1287"/>
                  </a:lnTo>
                  <a:lnTo>
                    <a:pt x="2639" y="1259"/>
                  </a:lnTo>
                  <a:lnTo>
                    <a:pt x="2651" y="1252"/>
                  </a:lnTo>
                  <a:lnTo>
                    <a:pt x="2643" y="1202"/>
                  </a:lnTo>
                  <a:lnTo>
                    <a:pt x="2651" y="1198"/>
                  </a:lnTo>
                  <a:lnTo>
                    <a:pt x="2665" y="1165"/>
                  </a:lnTo>
                  <a:lnTo>
                    <a:pt x="2665" y="1148"/>
                  </a:lnTo>
                  <a:lnTo>
                    <a:pt x="2660" y="1136"/>
                  </a:lnTo>
                  <a:lnTo>
                    <a:pt x="2660" y="1091"/>
                  </a:lnTo>
                  <a:lnTo>
                    <a:pt x="2643" y="1013"/>
                  </a:lnTo>
                  <a:lnTo>
                    <a:pt x="2643" y="980"/>
                  </a:lnTo>
                  <a:lnTo>
                    <a:pt x="2665" y="976"/>
                  </a:lnTo>
                  <a:lnTo>
                    <a:pt x="2676" y="954"/>
                  </a:lnTo>
                  <a:lnTo>
                    <a:pt x="2676" y="914"/>
                  </a:lnTo>
                  <a:lnTo>
                    <a:pt x="2660" y="898"/>
                  </a:lnTo>
                  <a:lnTo>
                    <a:pt x="2660" y="869"/>
                  </a:lnTo>
                  <a:lnTo>
                    <a:pt x="2681" y="827"/>
                  </a:lnTo>
                  <a:lnTo>
                    <a:pt x="2693" y="787"/>
                  </a:lnTo>
                  <a:lnTo>
                    <a:pt x="2698" y="770"/>
                  </a:lnTo>
                  <a:lnTo>
                    <a:pt x="2698" y="737"/>
                  </a:lnTo>
                  <a:lnTo>
                    <a:pt x="2702" y="721"/>
                  </a:lnTo>
                  <a:lnTo>
                    <a:pt x="2702" y="716"/>
                  </a:lnTo>
                  <a:lnTo>
                    <a:pt x="2719" y="666"/>
                  </a:lnTo>
                  <a:lnTo>
                    <a:pt x="2719" y="643"/>
                  </a:lnTo>
                  <a:lnTo>
                    <a:pt x="2714" y="626"/>
                  </a:lnTo>
                  <a:lnTo>
                    <a:pt x="2736" y="593"/>
                  </a:lnTo>
                  <a:lnTo>
                    <a:pt x="2719" y="548"/>
                  </a:lnTo>
                  <a:lnTo>
                    <a:pt x="2731" y="482"/>
                  </a:lnTo>
                  <a:lnTo>
                    <a:pt x="2736" y="461"/>
                  </a:lnTo>
                  <a:lnTo>
                    <a:pt x="2731" y="454"/>
                  </a:lnTo>
                  <a:lnTo>
                    <a:pt x="2719" y="454"/>
                  </a:lnTo>
                  <a:lnTo>
                    <a:pt x="2719" y="421"/>
                  </a:lnTo>
                  <a:lnTo>
                    <a:pt x="2736" y="421"/>
                  </a:lnTo>
                  <a:lnTo>
                    <a:pt x="2747" y="404"/>
                  </a:lnTo>
                  <a:lnTo>
                    <a:pt x="2752" y="317"/>
                  </a:lnTo>
                  <a:lnTo>
                    <a:pt x="2757" y="293"/>
                  </a:lnTo>
                  <a:lnTo>
                    <a:pt x="2752" y="250"/>
                  </a:lnTo>
                  <a:lnTo>
                    <a:pt x="2757" y="189"/>
                  </a:lnTo>
                  <a:lnTo>
                    <a:pt x="2747" y="104"/>
                  </a:lnTo>
                  <a:lnTo>
                    <a:pt x="2747" y="71"/>
                  </a:lnTo>
                  <a:lnTo>
                    <a:pt x="2736" y="66"/>
                  </a:lnTo>
                  <a:lnTo>
                    <a:pt x="2736" y="66"/>
                  </a:lnTo>
                  <a:lnTo>
                    <a:pt x="2736" y="66"/>
                  </a:lnTo>
                  <a:close/>
                  <a:moveTo>
                    <a:pt x="0" y="737"/>
                  </a:moveTo>
                  <a:lnTo>
                    <a:pt x="0" y="732"/>
                  </a:lnTo>
                  <a:lnTo>
                    <a:pt x="17" y="732"/>
                  </a:lnTo>
                  <a:lnTo>
                    <a:pt x="0" y="737"/>
                  </a:lnTo>
                  <a:lnTo>
                    <a:pt x="0" y="737"/>
                  </a:lnTo>
                  <a:lnTo>
                    <a:pt x="0" y="737"/>
                  </a:lnTo>
                  <a:close/>
                  <a:moveTo>
                    <a:pt x="2138" y="1252"/>
                  </a:moveTo>
                  <a:lnTo>
                    <a:pt x="2143" y="1247"/>
                  </a:lnTo>
                  <a:lnTo>
                    <a:pt x="2152" y="1247"/>
                  </a:lnTo>
                  <a:lnTo>
                    <a:pt x="2138" y="1252"/>
                  </a:lnTo>
                  <a:lnTo>
                    <a:pt x="2138" y="1252"/>
                  </a:lnTo>
                  <a:lnTo>
                    <a:pt x="2138" y="1252"/>
                  </a:lnTo>
                  <a:close/>
                  <a:moveTo>
                    <a:pt x="2513" y="2029"/>
                  </a:moveTo>
                  <a:lnTo>
                    <a:pt x="2521" y="2046"/>
                  </a:lnTo>
                  <a:lnTo>
                    <a:pt x="2499" y="2046"/>
                  </a:lnTo>
                  <a:lnTo>
                    <a:pt x="2504" y="2069"/>
                  </a:lnTo>
                  <a:lnTo>
                    <a:pt x="2462" y="2053"/>
                  </a:lnTo>
                  <a:lnTo>
                    <a:pt x="2476" y="2024"/>
                  </a:lnTo>
                  <a:lnTo>
                    <a:pt x="2476" y="1996"/>
                  </a:lnTo>
                  <a:lnTo>
                    <a:pt x="2466" y="1991"/>
                  </a:lnTo>
                  <a:lnTo>
                    <a:pt x="2476" y="1968"/>
                  </a:lnTo>
                  <a:lnTo>
                    <a:pt x="2483" y="1951"/>
                  </a:lnTo>
                  <a:lnTo>
                    <a:pt x="2483" y="1930"/>
                  </a:lnTo>
                  <a:lnTo>
                    <a:pt x="2488" y="1930"/>
                  </a:lnTo>
                  <a:lnTo>
                    <a:pt x="2483" y="1935"/>
                  </a:lnTo>
                  <a:lnTo>
                    <a:pt x="2488" y="1935"/>
                  </a:lnTo>
                  <a:lnTo>
                    <a:pt x="2504" y="1930"/>
                  </a:lnTo>
                  <a:lnTo>
                    <a:pt x="2521" y="1935"/>
                  </a:lnTo>
                  <a:lnTo>
                    <a:pt x="2521" y="1942"/>
                  </a:lnTo>
                  <a:lnTo>
                    <a:pt x="2521" y="1951"/>
                  </a:lnTo>
                  <a:lnTo>
                    <a:pt x="2521" y="1958"/>
                  </a:lnTo>
                  <a:lnTo>
                    <a:pt x="2530" y="1968"/>
                  </a:lnTo>
                  <a:lnTo>
                    <a:pt x="2530" y="1975"/>
                  </a:lnTo>
                  <a:lnTo>
                    <a:pt x="2504" y="1975"/>
                  </a:lnTo>
                  <a:lnTo>
                    <a:pt x="2513" y="1991"/>
                  </a:lnTo>
                  <a:lnTo>
                    <a:pt x="2504" y="1991"/>
                  </a:lnTo>
                  <a:lnTo>
                    <a:pt x="2499" y="1984"/>
                  </a:lnTo>
                  <a:lnTo>
                    <a:pt x="2499" y="1991"/>
                  </a:lnTo>
                  <a:lnTo>
                    <a:pt x="2499" y="1996"/>
                  </a:lnTo>
                  <a:lnTo>
                    <a:pt x="2521" y="2013"/>
                  </a:lnTo>
                  <a:lnTo>
                    <a:pt x="2521" y="2024"/>
                  </a:lnTo>
                  <a:lnTo>
                    <a:pt x="2504" y="2024"/>
                  </a:lnTo>
                  <a:lnTo>
                    <a:pt x="2513" y="2029"/>
                  </a:lnTo>
                  <a:lnTo>
                    <a:pt x="2513" y="2029"/>
                  </a:lnTo>
                  <a:lnTo>
                    <a:pt x="2513" y="2029"/>
                  </a:lnTo>
                  <a:close/>
                  <a:moveTo>
                    <a:pt x="2589" y="1958"/>
                  </a:moveTo>
                  <a:lnTo>
                    <a:pt x="2584" y="1958"/>
                  </a:lnTo>
                  <a:lnTo>
                    <a:pt x="2589" y="1951"/>
                  </a:lnTo>
                  <a:lnTo>
                    <a:pt x="2589" y="1958"/>
                  </a:lnTo>
                  <a:lnTo>
                    <a:pt x="2589" y="1958"/>
                  </a:lnTo>
                  <a:lnTo>
                    <a:pt x="2589" y="1958"/>
                  </a:lnTo>
                  <a:close/>
                  <a:moveTo>
                    <a:pt x="2542" y="1975"/>
                  </a:moveTo>
                  <a:lnTo>
                    <a:pt x="2542" y="1968"/>
                  </a:lnTo>
                  <a:lnTo>
                    <a:pt x="2551" y="1968"/>
                  </a:lnTo>
                  <a:lnTo>
                    <a:pt x="2542" y="1975"/>
                  </a:lnTo>
                  <a:lnTo>
                    <a:pt x="2542" y="1975"/>
                  </a:lnTo>
                  <a:lnTo>
                    <a:pt x="2542" y="1975"/>
                  </a:lnTo>
                  <a:close/>
                  <a:moveTo>
                    <a:pt x="2521" y="1996"/>
                  </a:moveTo>
                  <a:lnTo>
                    <a:pt x="2504" y="1984"/>
                  </a:lnTo>
                  <a:lnTo>
                    <a:pt x="2521" y="1984"/>
                  </a:lnTo>
                  <a:lnTo>
                    <a:pt x="2521" y="1996"/>
                  </a:lnTo>
                  <a:lnTo>
                    <a:pt x="2521" y="1996"/>
                  </a:lnTo>
                  <a:lnTo>
                    <a:pt x="2521" y="1996"/>
                  </a:lnTo>
                  <a:close/>
                  <a:moveTo>
                    <a:pt x="2513" y="1996"/>
                  </a:moveTo>
                  <a:lnTo>
                    <a:pt x="2504" y="1996"/>
                  </a:lnTo>
                  <a:lnTo>
                    <a:pt x="2513" y="1996"/>
                  </a:lnTo>
                  <a:lnTo>
                    <a:pt x="2513" y="1996"/>
                  </a:lnTo>
                  <a:lnTo>
                    <a:pt x="2513" y="1996"/>
                  </a:lnTo>
                  <a:close/>
                  <a:moveTo>
                    <a:pt x="2428" y="2095"/>
                  </a:moveTo>
                  <a:lnTo>
                    <a:pt x="2424" y="2086"/>
                  </a:lnTo>
                  <a:lnTo>
                    <a:pt x="2445" y="2086"/>
                  </a:lnTo>
                  <a:lnTo>
                    <a:pt x="2428" y="2095"/>
                  </a:lnTo>
                  <a:lnTo>
                    <a:pt x="2428" y="2095"/>
                  </a:lnTo>
                  <a:lnTo>
                    <a:pt x="2428" y="2095"/>
                  </a:lnTo>
                  <a:close/>
                  <a:moveTo>
                    <a:pt x="2483" y="2119"/>
                  </a:moveTo>
                  <a:lnTo>
                    <a:pt x="2476" y="2107"/>
                  </a:lnTo>
                  <a:lnTo>
                    <a:pt x="2476" y="2102"/>
                  </a:lnTo>
                  <a:lnTo>
                    <a:pt x="2499" y="2102"/>
                  </a:lnTo>
                  <a:lnTo>
                    <a:pt x="2499" y="2107"/>
                  </a:lnTo>
                  <a:lnTo>
                    <a:pt x="2488" y="2107"/>
                  </a:lnTo>
                  <a:lnTo>
                    <a:pt x="2483" y="2119"/>
                  </a:lnTo>
                  <a:lnTo>
                    <a:pt x="2483" y="2119"/>
                  </a:lnTo>
                  <a:lnTo>
                    <a:pt x="2483" y="2119"/>
                  </a:lnTo>
                  <a:close/>
                  <a:moveTo>
                    <a:pt x="2542" y="2124"/>
                  </a:moveTo>
                  <a:lnTo>
                    <a:pt x="2537" y="2119"/>
                  </a:lnTo>
                  <a:lnTo>
                    <a:pt x="2537" y="2107"/>
                  </a:lnTo>
                  <a:lnTo>
                    <a:pt x="2542" y="2107"/>
                  </a:lnTo>
                  <a:lnTo>
                    <a:pt x="2542" y="2124"/>
                  </a:lnTo>
                  <a:lnTo>
                    <a:pt x="2542" y="2124"/>
                  </a:lnTo>
                  <a:lnTo>
                    <a:pt x="2542" y="2124"/>
                  </a:lnTo>
                  <a:close/>
                  <a:moveTo>
                    <a:pt x="2504" y="2135"/>
                  </a:moveTo>
                  <a:lnTo>
                    <a:pt x="2504" y="2119"/>
                  </a:lnTo>
                  <a:lnTo>
                    <a:pt x="2513" y="2124"/>
                  </a:lnTo>
                  <a:lnTo>
                    <a:pt x="2504" y="2135"/>
                  </a:lnTo>
                  <a:lnTo>
                    <a:pt x="2504" y="2135"/>
                  </a:lnTo>
                  <a:lnTo>
                    <a:pt x="2504" y="2135"/>
                  </a:lnTo>
                  <a:close/>
                  <a:moveTo>
                    <a:pt x="2488" y="2140"/>
                  </a:moveTo>
                  <a:lnTo>
                    <a:pt x="2483" y="2135"/>
                  </a:lnTo>
                  <a:lnTo>
                    <a:pt x="2488" y="2135"/>
                  </a:lnTo>
                  <a:lnTo>
                    <a:pt x="2488" y="2140"/>
                  </a:lnTo>
                  <a:lnTo>
                    <a:pt x="2488" y="2140"/>
                  </a:lnTo>
                  <a:lnTo>
                    <a:pt x="2488" y="2140"/>
                  </a:lnTo>
                  <a:close/>
                  <a:moveTo>
                    <a:pt x="2462" y="2140"/>
                  </a:moveTo>
                  <a:lnTo>
                    <a:pt x="2462" y="2135"/>
                  </a:lnTo>
                  <a:lnTo>
                    <a:pt x="2466" y="2135"/>
                  </a:lnTo>
                  <a:lnTo>
                    <a:pt x="2462" y="2140"/>
                  </a:lnTo>
                  <a:lnTo>
                    <a:pt x="2462" y="2140"/>
                  </a:lnTo>
                  <a:lnTo>
                    <a:pt x="2462" y="2140"/>
                  </a:lnTo>
                  <a:close/>
                  <a:moveTo>
                    <a:pt x="2483" y="2152"/>
                  </a:moveTo>
                  <a:lnTo>
                    <a:pt x="2476" y="2140"/>
                  </a:lnTo>
                  <a:lnTo>
                    <a:pt x="2483" y="2135"/>
                  </a:lnTo>
                  <a:lnTo>
                    <a:pt x="2488" y="2140"/>
                  </a:lnTo>
                  <a:lnTo>
                    <a:pt x="2483" y="2152"/>
                  </a:lnTo>
                  <a:lnTo>
                    <a:pt x="2483" y="2152"/>
                  </a:lnTo>
                  <a:lnTo>
                    <a:pt x="2483" y="2152"/>
                  </a:lnTo>
                  <a:close/>
                  <a:moveTo>
                    <a:pt x="2504" y="2152"/>
                  </a:moveTo>
                  <a:lnTo>
                    <a:pt x="2499" y="2140"/>
                  </a:lnTo>
                  <a:lnTo>
                    <a:pt x="2504" y="2140"/>
                  </a:lnTo>
                  <a:lnTo>
                    <a:pt x="2504" y="2152"/>
                  </a:lnTo>
                  <a:lnTo>
                    <a:pt x="2504" y="2152"/>
                  </a:lnTo>
                  <a:lnTo>
                    <a:pt x="2504" y="2152"/>
                  </a:lnTo>
                  <a:close/>
                  <a:moveTo>
                    <a:pt x="2499" y="2152"/>
                  </a:moveTo>
                  <a:lnTo>
                    <a:pt x="2488" y="2152"/>
                  </a:lnTo>
                  <a:lnTo>
                    <a:pt x="2499" y="2140"/>
                  </a:lnTo>
                  <a:lnTo>
                    <a:pt x="2499" y="2152"/>
                  </a:lnTo>
                  <a:lnTo>
                    <a:pt x="2499" y="2152"/>
                  </a:lnTo>
                  <a:lnTo>
                    <a:pt x="2499" y="2152"/>
                  </a:lnTo>
                  <a:close/>
                  <a:moveTo>
                    <a:pt x="2537" y="2157"/>
                  </a:moveTo>
                  <a:lnTo>
                    <a:pt x="2537" y="2152"/>
                  </a:lnTo>
                  <a:lnTo>
                    <a:pt x="2542" y="2157"/>
                  </a:lnTo>
                  <a:lnTo>
                    <a:pt x="2537" y="2157"/>
                  </a:lnTo>
                  <a:lnTo>
                    <a:pt x="2537" y="2157"/>
                  </a:lnTo>
                  <a:lnTo>
                    <a:pt x="2537" y="2157"/>
                  </a:lnTo>
                  <a:close/>
                  <a:moveTo>
                    <a:pt x="2488" y="2157"/>
                  </a:moveTo>
                  <a:lnTo>
                    <a:pt x="2476" y="2152"/>
                  </a:lnTo>
                  <a:lnTo>
                    <a:pt x="2488" y="2152"/>
                  </a:lnTo>
                  <a:lnTo>
                    <a:pt x="2488" y="2157"/>
                  </a:lnTo>
                  <a:lnTo>
                    <a:pt x="2488" y="2157"/>
                  </a:lnTo>
                  <a:lnTo>
                    <a:pt x="2488" y="2157"/>
                  </a:lnTo>
                  <a:close/>
                  <a:moveTo>
                    <a:pt x="2504" y="2157"/>
                  </a:moveTo>
                  <a:lnTo>
                    <a:pt x="2499" y="2157"/>
                  </a:lnTo>
                  <a:lnTo>
                    <a:pt x="2504" y="2152"/>
                  </a:lnTo>
                  <a:lnTo>
                    <a:pt x="2504" y="2157"/>
                  </a:lnTo>
                  <a:lnTo>
                    <a:pt x="2504" y="2157"/>
                  </a:lnTo>
                  <a:lnTo>
                    <a:pt x="2504" y="2157"/>
                  </a:lnTo>
                  <a:close/>
                  <a:moveTo>
                    <a:pt x="2568" y="2190"/>
                  </a:moveTo>
                  <a:lnTo>
                    <a:pt x="2537" y="2206"/>
                  </a:lnTo>
                  <a:lnTo>
                    <a:pt x="2530" y="2197"/>
                  </a:lnTo>
                  <a:lnTo>
                    <a:pt x="2537" y="2190"/>
                  </a:lnTo>
                  <a:lnTo>
                    <a:pt x="2530" y="2190"/>
                  </a:lnTo>
                  <a:lnTo>
                    <a:pt x="2521" y="2180"/>
                  </a:lnTo>
                  <a:lnTo>
                    <a:pt x="2537" y="2173"/>
                  </a:lnTo>
                  <a:lnTo>
                    <a:pt x="2537" y="2157"/>
                  </a:lnTo>
                  <a:lnTo>
                    <a:pt x="2551" y="2157"/>
                  </a:lnTo>
                  <a:lnTo>
                    <a:pt x="2575" y="2161"/>
                  </a:lnTo>
                  <a:lnTo>
                    <a:pt x="2568" y="2180"/>
                  </a:lnTo>
                  <a:lnTo>
                    <a:pt x="2551" y="2173"/>
                  </a:lnTo>
                  <a:lnTo>
                    <a:pt x="2568" y="2180"/>
                  </a:lnTo>
                  <a:lnTo>
                    <a:pt x="2568" y="2190"/>
                  </a:lnTo>
                  <a:lnTo>
                    <a:pt x="2568" y="2190"/>
                  </a:lnTo>
                  <a:lnTo>
                    <a:pt x="2568" y="2190"/>
                  </a:lnTo>
                  <a:close/>
                  <a:moveTo>
                    <a:pt x="2488" y="2161"/>
                  </a:moveTo>
                  <a:lnTo>
                    <a:pt x="2488" y="2157"/>
                  </a:lnTo>
                  <a:lnTo>
                    <a:pt x="2499" y="2157"/>
                  </a:lnTo>
                  <a:lnTo>
                    <a:pt x="2488" y="2161"/>
                  </a:lnTo>
                  <a:lnTo>
                    <a:pt x="2488" y="2161"/>
                  </a:lnTo>
                  <a:lnTo>
                    <a:pt x="2488" y="2161"/>
                  </a:lnTo>
                  <a:close/>
                  <a:moveTo>
                    <a:pt x="2462" y="2173"/>
                  </a:moveTo>
                  <a:lnTo>
                    <a:pt x="2445" y="2161"/>
                  </a:lnTo>
                  <a:lnTo>
                    <a:pt x="2462" y="2157"/>
                  </a:lnTo>
                  <a:lnTo>
                    <a:pt x="2466" y="2161"/>
                  </a:lnTo>
                  <a:lnTo>
                    <a:pt x="2462" y="2173"/>
                  </a:lnTo>
                  <a:lnTo>
                    <a:pt x="2462" y="2173"/>
                  </a:lnTo>
                  <a:lnTo>
                    <a:pt x="2462" y="2173"/>
                  </a:lnTo>
                  <a:close/>
                  <a:moveTo>
                    <a:pt x="2483" y="2173"/>
                  </a:moveTo>
                  <a:lnTo>
                    <a:pt x="2476" y="2157"/>
                  </a:lnTo>
                  <a:lnTo>
                    <a:pt x="2488" y="2161"/>
                  </a:lnTo>
                  <a:lnTo>
                    <a:pt x="2488" y="2173"/>
                  </a:lnTo>
                  <a:lnTo>
                    <a:pt x="2483" y="2173"/>
                  </a:lnTo>
                  <a:lnTo>
                    <a:pt x="2483" y="2173"/>
                  </a:lnTo>
                  <a:lnTo>
                    <a:pt x="2483" y="2173"/>
                  </a:lnTo>
                  <a:close/>
                  <a:moveTo>
                    <a:pt x="2462" y="2173"/>
                  </a:moveTo>
                  <a:lnTo>
                    <a:pt x="2462" y="2161"/>
                  </a:lnTo>
                  <a:lnTo>
                    <a:pt x="2466" y="2161"/>
                  </a:lnTo>
                  <a:lnTo>
                    <a:pt x="2476" y="2173"/>
                  </a:lnTo>
                  <a:lnTo>
                    <a:pt x="2462" y="2173"/>
                  </a:lnTo>
                  <a:lnTo>
                    <a:pt x="2462" y="2173"/>
                  </a:lnTo>
                  <a:lnTo>
                    <a:pt x="2462" y="2173"/>
                  </a:lnTo>
                  <a:close/>
                  <a:moveTo>
                    <a:pt x="2504" y="2190"/>
                  </a:moveTo>
                  <a:lnTo>
                    <a:pt x="2499" y="2173"/>
                  </a:lnTo>
                  <a:lnTo>
                    <a:pt x="2504" y="2173"/>
                  </a:lnTo>
                  <a:lnTo>
                    <a:pt x="2513" y="2180"/>
                  </a:lnTo>
                  <a:lnTo>
                    <a:pt x="2504" y="2190"/>
                  </a:lnTo>
                  <a:lnTo>
                    <a:pt x="2504" y="2190"/>
                  </a:lnTo>
                  <a:lnTo>
                    <a:pt x="2504" y="2190"/>
                  </a:lnTo>
                  <a:close/>
                  <a:moveTo>
                    <a:pt x="2428" y="2180"/>
                  </a:moveTo>
                  <a:lnTo>
                    <a:pt x="2428" y="2173"/>
                  </a:lnTo>
                  <a:lnTo>
                    <a:pt x="2433" y="2173"/>
                  </a:lnTo>
                  <a:lnTo>
                    <a:pt x="2428" y="2180"/>
                  </a:lnTo>
                  <a:lnTo>
                    <a:pt x="2428" y="2180"/>
                  </a:lnTo>
                  <a:lnTo>
                    <a:pt x="2428" y="2180"/>
                  </a:lnTo>
                  <a:close/>
                  <a:moveTo>
                    <a:pt x="2466" y="2190"/>
                  </a:moveTo>
                  <a:lnTo>
                    <a:pt x="2462" y="2180"/>
                  </a:lnTo>
                  <a:lnTo>
                    <a:pt x="2483" y="2173"/>
                  </a:lnTo>
                  <a:lnTo>
                    <a:pt x="2488" y="2180"/>
                  </a:lnTo>
                  <a:lnTo>
                    <a:pt x="2466" y="2190"/>
                  </a:lnTo>
                  <a:lnTo>
                    <a:pt x="2466" y="2190"/>
                  </a:lnTo>
                  <a:lnTo>
                    <a:pt x="2466" y="2190"/>
                  </a:lnTo>
                  <a:close/>
                  <a:moveTo>
                    <a:pt x="2450" y="2180"/>
                  </a:moveTo>
                  <a:lnTo>
                    <a:pt x="2433" y="2180"/>
                  </a:lnTo>
                  <a:lnTo>
                    <a:pt x="2445" y="2173"/>
                  </a:lnTo>
                  <a:lnTo>
                    <a:pt x="2450" y="2180"/>
                  </a:lnTo>
                  <a:lnTo>
                    <a:pt x="2450" y="2180"/>
                  </a:lnTo>
                  <a:lnTo>
                    <a:pt x="2450" y="2180"/>
                  </a:lnTo>
                  <a:close/>
                  <a:moveTo>
                    <a:pt x="2462" y="2197"/>
                  </a:moveTo>
                  <a:lnTo>
                    <a:pt x="2445" y="2190"/>
                  </a:lnTo>
                  <a:lnTo>
                    <a:pt x="2450" y="2190"/>
                  </a:lnTo>
                  <a:lnTo>
                    <a:pt x="2462" y="2197"/>
                  </a:lnTo>
                  <a:lnTo>
                    <a:pt x="2462" y="2197"/>
                  </a:lnTo>
                  <a:lnTo>
                    <a:pt x="2462" y="2197"/>
                  </a:lnTo>
                  <a:close/>
                  <a:moveTo>
                    <a:pt x="2504" y="2197"/>
                  </a:moveTo>
                  <a:lnTo>
                    <a:pt x="2504" y="2190"/>
                  </a:lnTo>
                  <a:lnTo>
                    <a:pt x="2513" y="2190"/>
                  </a:lnTo>
                  <a:lnTo>
                    <a:pt x="2504" y="2197"/>
                  </a:lnTo>
                  <a:lnTo>
                    <a:pt x="2504" y="2197"/>
                  </a:lnTo>
                  <a:lnTo>
                    <a:pt x="2504" y="2197"/>
                  </a:lnTo>
                  <a:close/>
                  <a:moveTo>
                    <a:pt x="2499" y="2206"/>
                  </a:moveTo>
                  <a:lnTo>
                    <a:pt x="2488" y="2197"/>
                  </a:lnTo>
                  <a:lnTo>
                    <a:pt x="2488" y="2190"/>
                  </a:lnTo>
                  <a:lnTo>
                    <a:pt x="2499" y="2206"/>
                  </a:lnTo>
                  <a:lnTo>
                    <a:pt x="2499" y="2206"/>
                  </a:lnTo>
                  <a:lnTo>
                    <a:pt x="2499" y="2206"/>
                  </a:lnTo>
                  <a:close/>
                  <a:moveTo>
                    <a:pt x="2483" y="2197"/>
                  </a:moveTo>
                  <a:lnTo>
                    <a:pt x="2476" y="2197"/>
                  </a:lnTo>
                  <a:lnTo>
                    <a:pt x="2488" y="2190"/>
                  </a:lnTo>
                  <a:lnTo>
                    <a:pt x="2483" y="2197"/>
                  </a:lnTo>
                  <a:lnTo>
                    <a:pt x="2483" y="2197"/>
                  </a:lnTo>
                  <a:lnTo>
                    <a:pt x="2483" y="2197"/>
                  </a:lnTo>
                  <a:close/>
                  <a:moveTo>
                    <a:pt x="2407" y="2206"/>
                  </a:moveTo>
                  <a:lnTo>
                    <a:pt x="2407" y="2197"/>
                  </a:lnTo>
                  <a:lnTo>
                    <a:pt x="2407" y="2190"/>
                  </a:lnTo>
                  <a:lnTo>
                    <a:pt x="2412" y="2197"/>
                  </a:lnTo>
                  <a:lnTo>
                    <a:pt x="2407" y="2206"/>
                  </a:lnTo>
                  <a:lnTo>
                    <a:pt x="2407" y="2206"/>
                  </a:lnTo>
                  <a:lnTo>
                    <a:pt x="2407" y="2206"/>
                  </a:lnTo>
                  <a:close/>
                  <a:moveTo>
                    <a:pt x="2466" y="2213"/>
                  </a:moveTo>
                  <a:lnTo>
                    <a:pt x="2462" y="2213"/>
                  </a:lnTo>
                  <a:lnTo>
                    <a:pt x="2476" y="2197"/>
                  </a:lnTo>
                  <a:lnTo>
                    <a:pt x="2488" y="2206"/>
                  </a:lnTo>
                  <a:lnTo>
                    <a:pt x="2466" y="2213"/>
                  </a:lnTo>
                  <a:lnTo>
                    <a:pt x="2466" y="2213"/>
                  </a:lnTo>
                  <a:lnTo>
                    <a:pt x="2466" y="2213"/>
                  </a:lnTo>
                  <a:close/>
                  <a:moveTo>
                    <a:pt x="2504" y="2235"/>
                  </a:moveTo>
                  <a:lnTo>
                    <a:pt x="2466" y="2230"/>
                  </a:lnTo>
                  <a:lnTo>
                    <a:pt x="2466" y="2218"/>
                  </a:lnTo>
                  <a:lnTo>
                    <a:pt x="2499" y="2213"/>
                  </a:lnTo>
                  <a:lnTo>
                    <a:pt x="2504" y="2218"/>
                  </a:lnTo>
                  <a:lnTo>
                    <a:pt x="2504" y="2235"/>
                  </a:lnTo>
                  <a:lnTo>
                    <a:pt x="2504" y="2235"/>
                  </a:lnTo>
                  <a:lnTo>
                    <a:pt x="2504" y="2235"/>
                  </a:lnTo>
                  <a:close/>
                  <a:moveTo>
                    <a:pt x="2462" y="2235"/>
                  </a:moveTo>
                  <a:lnTo>
                    <a:pt x="2450" y="2230"/>
                  </a:lnTo>
                  <a:lnTo>
                    <a:pt x="2462" y="2218"/>
                  </a:lnTo>
                  <a:lnTo>
                    <a:pt x="2466" y="2230"/>
                  </a:lnTo>
                  <a:lnTo>
                    <a:pt x="2462" y="2235"/>
                  </a:lnTo>
                  <a:lnTo>
                    <a:pt x="2462" y="2235"/>
                  </a:lnTo>
                  <a:lnTo>
                    <a:pt x="2462" y="2235"/>
                  </a:lnTo>
                  <a:close/>
                  <a:moveTo>
                    <a:pt x="2483" y="2247"/>
                  </a:moveTo>
                  <a:lnTo>
                    <a:pt x="2476" y="2230"/>
                  </a:lnTo>
                  <a:lnTo>
                    <a:pt x="2483" y="2230"/>
                  </a:lnTo>
                  <a:lnTo>
                    <a:pt x="2499" y="2235"/>
                  </a:lnTo>
                  <a:lnTo>
                    <a:pt x="2483" y="2247"/>
                  </a:lnTo>
                  <a:lnTo>
                    <a:pt x="2483" y="2247"/>
                  </a:lnTo>
                  <a:lnTo>
                    <a:pt x="2483" y="2247"/>
                  </a:lnTo>
                  <a:close/>
                  <a:moveTo>
                    <a:pt x="2462" y="2247"/>
                  </a:moveTo>
                  <a:lnTo>
                    <a:pt x="2445" y="2235"/>
                  </a:lnTo>
                  <a:lnTo>
                    <a:pt x="2462" y="2235"/>
                  </a:lnTo>
                  <a:lnTo>
                    <a:pt x="2462" y="2247"/>
                  </a:lnTo>
                  <a:lnTo>
                    <a:pt x="2462" y="2247"/>
                  </a:lnTo>
                  <a:lnTo>
                    <a:pt x="2462" y="2247"/>
                  </a:lnTo>
                  <a:close/>
                  <a:moveTo>
                    <a:pt x="2488" y="2251"/>
                  </a:moveTo>
                  <a:lnTo>
                    <a:pt x="2483" y="2247"/>
                  </a:lnTo>
                  <a:lnTo>
                    <a:pt x="2499" y="2247"/>
                  </a:lnTo>
                  <a:lnTo>
                    <a:pt x="2488" y="2251"/>
                  </a:lnTo>
                  <a:lnTo>
                    <a:pt x="2488" y="2251"/>
                  </a:lnTo>
                  <a:lnTo>
                    <a:pt x="2488" y="2251"/>
                  </a:lnTo>
                  <a:close/>
                  <a:moveTo>
                    <a:pt x="2450" y="2263"/>
                  </a:moveTo>
                  <a:lnTo>
                    <a:pt x="2445" y="2263"/>
                  </a:lnTo>
                  <a:lnTo>
                    <a:pt x="2450" y="2247"/>
                  </a:lnTo>
                  <a:lnTo>
                    <a:pt x="2450" y="2263"/>
                  </a:lnTo>
                  <a:lnTo>
                    <a:pt x="2450" y="2263"/>
                  </a:lnTo>
                  <a:lnTo>
                    <a:pt x="2450" y="2263"/>
                  </a:lnTo>
                  <a:close/>
                  <a:moveTo>
                    <a:pt x="2476" y="2263"/>
                  </a:moveTo>
                  <a:lnTo>
                    <a:pt x="2483" y="2247"/>
                  </a:lnTo>
                  <a:lnTo>
                    <a:pt x="2499" y="2251"/>
                  </a:lnTo>
                  <a:lnTo>
                    <a:pt x="2499" y="2263"/>
                  </a:lnTo>
                  <a:lnTo>
                    <a:pt x="2483" y="2251"/>
                  </a:lnTo>
                  <a:lnTo>
                    <a:pt x="2476" y="2263"/>
                  </a:lnTo>
                  <a:lnTo>
                    <a:pt x="2476" y="2263"/>
                  </a:lnTo>
                  <a:lnTo>
                    <a:pt x="2476" y="2263"/>
                  </a:lnTo>
                  <a:close/>
                  <a:moveTo>
                    <a:pt x="2504" y="2272"/>
                  </a:moveTo>
                  <a:lnTo>
                    <a:pt x="2499" y="2268"/>
                  </a:lnTo>
                  <a:lnTo>
                    <a:pt x="2504" y="2251"/>
                  </a:lnTo>
                  <a:lnTo>
                    <a:pt x="2513" y="2251"/>
                  </a:lnTo>
                  <a:lnTo>
                    <a:pt x="2504" y="2272"/>
                  </a:lnTo>
                  <a:lnTo>
                    <a:pt x="2504" y="2272"/>
                  </a:lnTo>
                  <a:lnTo>
                    <a:pt x="2504" y="2272"/>
                  </a:lnTo>
                  <a:close/>
                  <a:moveTo>
                    <a:pt x="2450" y="2272"/>
                  </a:moveTo>
                  <a:lnTo>
                    <a:pt x="2450" y="2263"/>
                  </a:lnTo>
                  <a:lnTo>
                    <a:pt x="2462" y="2251"/>
                  </a:lnTo>
                  <a:lnTo>
                    <a:pt x="2466" y="2268"/>
                  </a:lnTo>
                  <a:lnTo>
                    <a:pt x="2450" y="2272"/>
                  </a:lnTo>
                  <a:lnTo>
                    <a:pt x="2450" y="2272"/>
                  </a:lnTo>
                  <a:lnTo>
                    <a:pt x="2450" y="2272"/>
                  </a:lnTo>
                  <a:close/>
                  <a:moveTo>
                    <a:pt x="2483" y="2272"/>
                  </a:moveTo>
                  <a:lnTo>
                    <a:pt x="2476" y="2263"/>
                  </a:lnTo>
                  <a:lnTo>
                    <a:pt x="2483" y="2263"/>
                  </a:lnTo>
                  <a:lnTo>
                    <a:pt x="2488" y="2268"/>
                  </a:lnTo>
                  <a:lnTo>
                    <a:pt x="2483" y="2272"/>
                  </a:lnTo>
                  <a:lnTo>
                    <a:pt x="2483" y="2272"/>
                  </a:lnTo>
                  <a:lnTo>
                    <a:pt x="2483" y="2272"/>
                  </a:lnTo>
                  <a:close/>
                  <a:moveTo>
                    <a:pt x="2433" y="2272"/>
                  </a:moveTo>
                  <a:lnTo>
                    <a:pt x="2433" y="2268"/>
                  </a:lnTo>
                  <a:lnTo>
                    <a:pt x="2445" y="2263"/>
                  </a:lnTo>
                  <a:lnTo>
                    <a:pt x="2445" y="2272"/>
                  </a:lnTo>
                  <a:lnTo>
                    <a:pt x="2433" y="2272"/>
                  </a:lnTo>
                  <a:lnTo>
                    <a:pt x="2433" y="2272"/>
                  </a:lnTo>
                  <a:lnTo>
                    <a:pt x="2433" y="2272"/>
                  </a:lnTo>
                  <a:close/>
                  <a:moveTo>
                    <a:pt x="2483" y="2289"/>
                  </a:moveTo>
                  <a:lnTo>
                    <a:pt x="2476" y="2284"/>
                  </a:lnTo>
                  <a:lnTo>
                    <a:pt x="2483" y="2272"/>
                  </a:lnTo>
                  <a:lnTo>
                    <a:pt x="2488" y="2284"/>
                  </a:lnTo>
                  <a:lnTo>
                    <a:pt x="2483" y="2289"/>
                  </a:lnTo>
                  <a:lnTo>
                    <a:pt x="2483" y="2289"/>
                  </a:lnTo>
                  <a:lnTo>
                    <a:pt x="2483" y="2289"/>
                  </a:lnTo>
                  <a:close/>
                  <a:moveTo>
                    <a:pt x="2488" y="2301"/>
                  </a:moveTo>
                  <a:lnTo>
                    <a:pt x="2488" y="2289"/>
                  </a:lnTo>
                  <a:lnTo>
                    <a:pt x="2504" y="2284"/>
                  </a:lnTo>
                  <a:lnTo>
                    <a:pt x="2504" y="2289"/>
                  </a:lnTo>
                  <a:lnTo>
                    <a:pt x="2488" y="2301"/>
                  </a:lnTo>
                  <a:lnTo>
                    <a:pt x="2488" y="2301"/>
                  </a:lnTo>
                  <a:lnTo>
                    <a:pt x="2488" y="2301"/>
                  </a:lnTo>
                  <a:close/>
                  <a:moveTo>
                    <a:pt x="2412" y="2308"/>
                  </a:moveTo>
                  <a:lnTo>
                    <a:pt x="2407" y="2301"/>
                  </a:lnTo>
                  <a:lnTo>
                    <a:pt x="2424" y="2301"/>
                  </a:lnTo>
                  <a:lnTo>
                    <a:pt x="2412" y="2301"/>
                  </a:lnTo>
                  <a:lnTo>
                    <a:pt x="2407" y="2289"/>
                  </a:lnTo>
                  <a:lnTo>
                    <a:pt x="2424" y="2289"/>
                  </a:lnTo>
                  <a:lnTo>
                    <a:pt x="2433" y="2284"/>
                  </a:lnTo>
                  <a:lnTo>
                    <a:pt x="2428" y="2301"/>
                  </a:lnTo>
                  <a:lnTo>
                    <a:pt x="2412" y="2308"/>
                  </a:lnTo>
                  <a:lnTo>
                    <a:pt x="2412" y="2308"/>
                  </a:lnTo>
                  <a:lnTo>
                    <a:pt x="2412" y="2308"/>
                  </a:lnTo>
                  <a:close/>
                  <a:moveTo>
                    <a:pt x="2504" y="2301"/>
                  </a:moveTo>
                  <a:lnTo>
                    <a:pt x="2499" y="2301"/>
                  </a:lnTo>
                  <a:lnTo>
                    <a:pt x="2499" y="2289"/>
                  </a:lnTo>
                  <a:lnTo>
                    <a:pt x="2504" y="2301"/>
                  </a:lnTo>
                  <a:lnTo>
                    <a:pt x="2504" y="2301"/>
                  </a:lnTo>
                  <a:lnTo>
                    <a:pt x="2504" y="2301"/>
                  </a:lnTo>
                  <a:close/>
                  <a:moveTo>
                    <a:pt x="2499" y="2317"/>
                  </a:moveTo>
                  <a:lnTo>
                    <a:pt x="2488" y="2301"/>
                  </a:lnTo>
                  <a:lnTo>
                    <a:pt x="2504" y="2308"/>
                  </a:lnTo>
                  <a:lnTo>
                    <a:pt x="2499" y="2317"/>
                  </a:lnTo>
                  <a:lnTo>
                    <a:pt x="2499" y="2317"/>
                  </a:lnTo>
                  <a:lnTo>
                    <a:pt x="2499" y="2317"/>
                  </a:lnTo>
                  <a:close/>
                  <a:moveTo>
                    <a:pt x="2476" y="2400"/>
                  </a:moveTo>
                  <a:lnTo>
                    <a:pt x="2476" y="2395"/>
                  </a:lnTo>
                  <a:lnTo>
                    <a:pt x="2488" y="2395"/>
                  </a:lnTo>
                  <a:lnTo>
                    <a:pt x="2476" y="2400"/>
                  </a:lnTo>
                  <a:lnTo>
                    <a:pt x="2476" y="2400"/>
                  </a:lnTo>
                  <a:lnTo>
                    <a:pt x="2476" y="2400"/>
                  </a:lnTo>
                  <a:close/>
                  <a:moveTo>
                    <a:pt x="2450" y="2400"/>
                  </a:moveTo>
                  <a:lnTo>
                    <a:pt x="2450" y="2395"/>
                  </a:lnTo>
                  <a:lnTo>
                    <a:pt x="2462" y="2395"/>
                  </a:lnTo>
                  <a:lnTo>
                    <a:pt x="2450" y="2400"/>
                  </a:lnTo>
                  <a:lnTo>
                    <a:pt x="2450" y="2400"/>
                  </a:lnTo>
                  <a:lnTo>
                    <a:pt x="2450" y="2400"/>
                  </a:lnTo>
                  <a:close/>
                  <a:moveTo>
                    <a:pt x="2412" y="2457"/>
                  </a:moveTo>
                  <a:lnTo>
                    <a:pt x="2407" y="2452"/>
                  </a:lnTo>
                  <a:lnTo>
                    <a:pt x="2424" y="2457"/>
                  </a:lnTo>
                  <a:lnTo>
                    <a:pt x="2412" y="2457"/>
                  </a:lnTo>
                  <a:lnTo>
                    <a:pt x="2412" y="2457"/>
                  </a:lnTo>
                  <a:lnTo>
                    <a:pt x="2412" y="2457"/>
                  </a:lnTo>
                  <a:close/>
                  <a:moveTo>
                    <a:pt x="2407" y="2469"/>
                  </a:moveTo>
                  <a:lnTo>
                    <a:pt x="2391" y="2457"/>
                  </a:lnTo>
                  <a:lnTo>
                    <a:pt x="2407" y="2452"/>
                  </a:lnTo>
                  <a:lnTo>
                    <a:pt x="2412" y="2469"/>
                  </a:lnTo>
                  <a:lnTo>
                    <a:pt x="2407" y="2469"/>
                  </a:lnTo>
                  <a:lnTo>
                    <a:pt x="2407" y="2469"/>
                  </a:lnTo>
                  <a:lnTo>
                    <a:pt x="2407" y="2469"/>
                  </a:lnTo>
                  <a:close/>
                  <a:moveTo>
                    <a:pt x="2462" y="2485"/>
                  </a:moveTo>
                  <a:lnTo>
                    <a:pt x="2450" y="2473"/>
                  </a:lnTo>
                  <a:lnTo>
                    <a:pt x="2466" y="2469"/>
                  </a:lnTo>
                  <a:lnTo>
                    <a:pt x="2499" y="2473"/>
                  </a:lnTo>
                  <a:lnTo>
                    <a:pt x="2488" y="2473"/>
                  </a:lnTo>
                  <a:lnTo>
                    <a:pt x="2462" y="2485"/>
                  </a:lnTo>
                  <a:lnTo>
                    <a:pt x="2462" y="2485"/>
                  </a:lnTo>
                  <a:lnTo>
                    <a:pt x="2462" y="2485"/>
                  </a:lnTo>
                  <a:close/>
                  <a:moveTo>
                    <a:pt x="2424" y="2490"/>
                  </a:moveTo>
                  <a:lnTo>
                    <a:pt x="2412" y="2485"/>
                  </a:lnTo>
                  <a:lnTo>
                    <a:pt x="2395" y="2485"/>
                  </a:lnTo>
                  <a:lnTo>
                    <a:pt x="2428" y="2469"/>
                  </a:lnTo>
                  <a:lnTo>
                    <a:pt x="2428" y="2485"/>
                  </a:lnTo>
                  <a:lnTo>
                    <a:pt x="2424" y="2490"/>
                  </a:lnTo>
                  <a:lnTo>
                    <a:pt x="2424" y="2490"/>
                  </a:lnTo>
                  <a:lnTo>
                    <a:pt x="2424" y="2490"/>
                  </a:lnTo>
                  <a:close/>
                  <a:moveTo>
                    <a:pt x="2395" y="2544"/>
                  </a:moveTo>
                  <a:lnTo>
                    <a:pt x="2395" y="2539"/>
                  </a:lnTo>
                  <a:lnTo>
                    <a:pt x="2391" y="2523"/>
                  </a:lnTo>
                  <a:lnTo>
                    <a:pt x="2374" y="2523"/>
                  </a:lnTo>
                  <a:lnTo>
                    <a:pt x="2391" y="2506"/>
                  </a:lnTo>
                  <a:lnTo>
                    <a:pt x="2374" y="2511"/>
                  </a:lnTo>
                  <a:lnTo>
                    <a:pt x="2374" y="2490"/>
                  </a:lnTo>
                  <a:lnTo>
                    <a:pt x="2379" y="2485"/>
                  </a:lnTo>
                  <a:lnTo>
                    <a:pt x="2391" y="2485"/>
                  </a:lnTo>
                  <a:lnTo>
                    <a:pt x="2407" y="2528"/>
                  </a:lnTo>
                  <a:lnTo>
                    <a:pt x="2407" y="2539"/>
                  </a:lnTo>
                  <a:lnTo>
                    <a:pt x="2395" y="2544"/>
                  </a:lnTo>
                  <a:lnTo>
                    <a:pt x="2395" y="2544"/>
                  </a:lnTo>
                  <a:lnTo>
                    <a:pt x="2395" y="2544"/>
                  </a:lnTo>
                  <a:close/>
                  <a:moveTo>
                    <a:pt x="2412" y="2523"/>
                  </a:moveTo>
                  <a:lnTo>
                    <a:pt x="2395" y="2490"/>
                  </a:lnTo>
                  <a:lnTo>
                    <a:pt x="2428" y="2495"/>
                  </a:lnTo>
                  <a:lnTo>
                    <a:pt x="2428" y="2511"/>
                  </a:lnTo>
                  <a:lnTo>
                    <a:pt x="2412" y="2523"/>
                  </a:lnTo>
                  <a:lnTo>
                    <a:pt x="2412" y="2523"/>
                  </a:lnTo>
                  <a:lnTo>
                    <a:pt x="2412" y="2523"/>
                  </a:lnTo>
                  <a:close/>
                  <a:moveTo>
                    <a:pt x="2445" y="2511"/>
                  </a:moveTo>
                  <a:lnTo>
                    <a:pt x="2445" y="2506"/>
                  </a:lnTo>
                  <a:lnTo>
                    <a:pt x="2445" y="2490"/>
                  </a:lnTo>
                  <a:lnTo>
                    <a:pt x="2462" y="2506"/>
                  </a:lnTo>
                  <a:lnTo>
                    <a:pt x="2445" y="2511"/>
                  </a:lnTo>
                  <a:lnTo>
                    <a:pt x="2445" y="2511"/>
                  </a:lnTo>
                  <a:lnTo>
                    <a:pt x="2445" y="2511"/>
                  </a:lnTo>
                  <a:close/>
                  <a:moveTo>
                    <a:pt x="2445" y="2544"/>
                  </a:moveTo>
                  <a:lnTo>
                    <a:pt x="2412" y="2539"/>
                  </a:lnTo>
                  <a:lnTo>
                    <a:pt x="2412" y="2528"/>
                  </a:lnTo>
                  <a:lnTo>
                    <a:pt x="2424" y="2523"/>
                  </a:lnTo>
                  <a:lnTo>
                    <a:pt x="2433" y="2523"/>
                  </a:lnTo>
                  <a:lnTo>
                    <a:pt x="2428" y="2511"/>
                  </a:lnTo>
                  <a:lnTo>
                    <a:pt x="2433" y="2490"/>
                  </a:lnTo>
                  <a:lnTo>
                    <a:pt x="2445" y="2523"/>
                  </a:lnTo>
                  <a:lnTo>
                    <a:pt x="2445" y="2539"/>
                  </a:lnTo>
                  <a:lnTo>
                    <a:pt x="2450" y="2539"/>
                  </a:lnTo>
                  <a:lnTo>
                    <a:pt x="2445" y="2544"/>
                  </a:lnTo>
                  <a:lnTo>
                    <a:pt x="2445" y="2544"/>
                  </a:lnTo>
                  <a:lnTo>
                    <a:pt x="2445" y="2544"/>
                  </a:lnTo>
                  <a:close/>
                  <a:moveTo>
                    <a:pt x="2466" y="2523"/>
                  </a:moveTo>
                  <a:lnTo>
                    <a:pt x="2450" y="2511"/>
                  </a:lnTo>
                  <a:lnTo>
                    <a:pt x="2462" y="2506"/>
                  </a:lnTo>
                  <a:lnTo>
                    <a:pt x="2466" y="2523"/>
                  </a:lnTo>
                  <a:lnTo>
                    <a:pt x="2466" y="2523"/>
                  </a:lnTo>
                  <a:lnTo>
                    <a:pt x="2466" y="2523"/>
                  </a:lnTo>
                  <a:close/>
                  <a:moveTo>
                    <a:pt x="2483" y="2528"/>
                  </a:moveTo>
                  <a:lnTo>
                    <a:pt x="2466" y="2511"/>
                  </a:lnTo>
                  <a:lnTo>
                    <a:pt x="2483" y="2523"/>
                  </a:lnTo>
                  <a:lnTo>
                    <a:pt x="2483" y="2528"/>
                  </a:lnTo>
                  <a:lnTo>
                    <a:pt x="2483" y="2528"/>
                  </a:lnTo>
                  <a:lnTo>
                    <a:pt x="2483" y="2528"/>
                  </a:lnTo>
                  <a:close/>
                  <a:moveTo>
                    <a:pt x="2450" y="2528"/>
                  </a:moveTo>
                  <a:lnTo>
                    <a:pt x="2450" y="2523"/>
                  </a:lnTo>
                  <a:lnTo>
                    <a:pt x="2466" y="2523"/>
                  </a:lnTo>
                  <a:lnTo>
                    <a:pt x="2450" y="2528"/>
                  </a:lnTo>
                  <a:lnTo>
                    <a:pt x="2450" y="2528"/>
                  </a:lnTo>
                  <a:lnTo>
                    <a:pt x="2450" y="2528"/>
                  </a:lnTo>
                  <a:close/>
                  <a:moveTo>
                    <a:pt x="2374" y="2544"/>
                  </a:moveTo>
                  <a:lnTo>
                    <a:pt x="2379" y="2539"/>
                  </a:lnTo>
                  <a:lnTo>
                    <a:pt x="2369" y="2539"/>
                  </a:lnTo>
                  <a:lnTo>
                    <a:pt x="2374" y="2523"/>
                  </a:lnTo>
                  <a:lnTo>
                    <a:pt x="2391" y="2523"/>
                  </a:lnTo>
                  <a:lnTo>
                    <a:pt x="2391" y="2539"/>
                  </a:lnTo>
                  <a:lnTo>
                    <a:pt x="2374" y="2544"/>
                  </a:lnTo>
                  <a:lnTo>
                    <a:pt x="2374" y="2544"/>
                  </a:lnTo>
                  <a:lnTo>
                    <a:pt x="2374" y="2544"/>
                  </a:lnTo>
                  <a:close/>
                  <a:moveTo>
                    <a:pt x="2407" y="2561"/>
                  </a:moveTo>
                  <a:lnTo>
                    <a:pt x="2395" y="2551"/>
                  </a:lnTo>
                  <a:lnTo>
                    <a:pt x="2412" y="2539"/>
                  </a:lnTo>
                  <a:lnTo>
                    <a:pt x="2407" y="2561"/>
                  </a:lnTo>
                  <a:lnTo>
                    <a:pt x="2407" y="2561"/>
                  </a:lnTo>
                  <a:lnTo>
                    <a:pt x="2407" y="2561"/>
                  </a:lnTo>
                  <a:close/>
                  <a:moveTo>
                    <a:pt x="2374" y="2551"/>
                  </a:moveTo>
                  <a:lnTo>
                    <a:pt x="2369" y="2544"/>
                  </a:lnTo>
                  <a:lnTo>
                    <a:pt x="2391" y="2539"/>
                  </a:lnTo>
                  <a:lnTo>
                    <a:pt x="2395" y="2544"/>
                  </a:lnTo>
                  <a:lnTo>
                    <a:pt x="2374" y="2551"/>
                  </a:lnTo>
                  <a:lnTo>
                    <a:pt x="2374" y="2551"/>
                  </a:lnTo>
                  <a:lnTo>
                    <a:pt x="2374" y="2551"/>
                  </a:lnTo>
                  <a:close/>
                  <a:moveTo>
                    <a:pt x="2412" y="2551"/>
                  </a:moveTo>
                  <a:lnTo>
                    <a:pt x="2412" y="2539"/>
                  </a:lnTo>
                  <a:lnTo>
                    <a:pt x="2428" y="2544"/>
                  </a:lnTo>
                  <a:lnTo>
                    <a:pt x="2412" y="2551"/>
                  </a:lnTo>
                  <a:lnTo>
                    <a:pt x="2412" y="2551"/>
                  </a:lnTo>
                  <a:lnTo>
                    <a:pt x="2412" y="2551"/>
                  </a:lnTo>
                  <a:close/>
                  <a:moveTo>
                    <a:pt x="2428" y="2672"/>
                  </a:moveTo>
                  <a:lnTo>
                    <a:pt x="2424" y="2662"/>
                  </a:lnTo>
                  <a:lnTo>
                    <a:pt x="2433" y="2662"/>
                  </a:lnTo>
                  <a:lnTo>
                    <a:pt x="2433" y="2655"/>
                  </a:lnTo>
                  <a:lnTo>
                    <a:pt x="2424" y="2662"/>
                  </a:lnTo>
                  <a:lnTo>
                    <a:pt x="2424" y="2639"/>
                  </a:lnTo>
                  <a:lnTo>
                    <a:pt x="2424" y="2622"/>
                  </a:lnTo>
                  <a:lnTo>
                    <a:pt x="2433" y="2606"/>
                  </a:lnTo>
                  <a:lnTo>
                    <a:pt x="2424" y="2622"/>
                  </a:lnTo>
                  <a:lnTo>
                    <a:pt x="2412" y="2622"/>
                  </a:lnTo>
                  <a:lnTo>
                    <a:pt x="2412" y="2655"/>
                  </a:lnTo>
                  <a:lnTo>
                    <a:pt x="2407" y="2655"/>
                  </a:lnTo>
                  <a:lnTo>
                    <a:pt x="2391" y="2634"/>
                  </a:lnTo>
                  <a:lnTo>
                    <a:pt x="2395" y="2617"/>
                  </a:lnTo>
                  <a:lnTo>
                    <a:pt x="2379" y="2617"/>
                  </a:lnTo>
                  <a:lnTo>
                    <a:pt x="2379" y="2601"/>
                  </a:lnTo>
                  <a:lnTo>
                    <a:pt x="2391" y="2601"/>
                  </a:lnTo>
                  <a:lnTo>
                    <a:pt x="2407" y="2617"/>
                  </a:lnTo>
                  <a:lnTo>
                    <a:pt x="2391" y="2601"/>
                  </a:lnTo>
                  <a:lnTo>
                    <a:pt x="2407" y="2606"/>
                  </a:lnTo>
                  <a:lnTo>
                    <a:pt x="2407" y="2596"/>
                  </a:lnTo>
                  <a:lnTo>
                    <a:pt x="2424" y="2601"/>
                  </a:lnTo>
                  <a:lnTo>
                    <a:pt x="2428" y="2584"/>
                  </a:lnTo>
                  <a:lnTo>
                    <a:pt x="2412" y="2561"/>
                  </a:lnTo>
                  <a:lnTo>
                    <a:pt x="2428" y="2544"/>
                  </a:lnTo>
                  <a:lnTo>
                    <a:pt x="2450" y="2544"/>
                  </a:lnTo>
                  <a:lnTo>
                    <a:pt x="2450" y="2601"/>
                  </a:lnTo>
                  <a:lnTo>
                    <a:pt x="2445" y="2639"/>
                  </a:lnTo>
                  <a:lnTo>
                    <a:pt x="2450" y="2634"/>
                  </a:lnTo>
                  <a:lnTo>
                    <a:pt x="2462" y="2639"/>
                  </a:lnTo>
                  <a:lnTo>
                    <a:pt x="2450" y="2662"/>
                  </a:lnTo>
                  <a:lnTo>
                    <a:pt x="2428" y="2672"/>
                  </a:lnTo>
                  <a:lnTo>
                    <a:pt x="2428" y="2672"/>
                  </a:lnTo>
                  <a:lnTo>
                    <a:pt x="2428" y="2672"/>
                  </a:lnTo>
                  <a:close/>
                  <a:moveTo>
                    <a:pt x="2395" y="2568"/>
                  </a:moveTo>
                  <a:lnTo>
                    <a:pt x="2391" y="2551"/>
                  </a:lnTo>
                  <a:lnTo>
                    <a:pt x="2407" y="2561"/>
                  </a:lnTo>
                  <a:lnTo>
                    <a:pt x="2412" y="2568"/>
                  </a:lnTo>
                  <a:lnTo>
                    <a:pt x="2395" y="2568"/>
                  </a:lnTo>
                  <a:lnTo>
                    <a:pt x="2395" y="2568"/>
                  </a:lnTo>
                  <a:lnTo>
                    <a:pt x="2395" y="2568"/>
                  </a:lnTo>
                  <a:close/>
                  <a:moveTo>
                    <a:pt x="2395" y="2584"/>
                  </a:moveTo>
                  <a:lnTo>
                    <a:pt x="2391" y="2568"/>
                  </a:lnTo>
                  <a:lnTo>
                    <a:pt x="2379" y="2580"/>
                  </a:lnTo>
                  <a:lnTo>
                    <a:pt x="2369" y="2561"/>
                  </a:lnTo>
                  <a:lnTo>
                    <a:pt x="2391" y="2561"/>
                  </a:lnTo>
                  <a:lnTo>
                    <a:pt x="2395" y="2580"/>
                  </a:lnTo>
                  <a:lnTo>
                    <a:pt x="2395" y="2584"/>
                  </a:lnTo>
                  <a:lnTo>
                    <a:pt x="2395" y="2584"/>
                  </a:lnTo>
                  <a:lnTo>
                    <a:pt x="2395" y="2584"/>
                  </a:lnTo>
                  <a:close/>
                  <a:moveTo>
                    <a:pt x="2374" y="2601"/>
                  </a:moveTo>
                  <a:lnTo>
                    <a:pt x="2369" y="2596"/>
                  </a:lnTo>
                  <a:lnTo>
                    <a:pt x="2391" y="2568"/>
                  </a:lnTo>
                  <a:lnTo>
                    <a:pt x="2395" y="2584"/>
                  </a:lnTo>
                  <a:lnTo>
                    <a:pt x="2374" y="2601"/>
                  </a:lnTo>
                  <a:lnTo>
                    <a:pt x="2374" y="2601"/>
                  </a:lnTo>
                  <a:lnTo>
                    <a:pt x="2374" y="2601"/>
                  </a:lnTo>
                  <a:close/>
                  <a:moveTo>
                    <a:pt x="2424" y="2601"/>
                  </a:moveTo>
                  <a:lnTo>
                    <a:pt x="2395" y="2584"/>
                  </a:lnTo>
                  <a:lnTo>
                    <a:pt x="2407" y="2580"/>
                  </a:lnTo>
                  <a:lnTo>
                    <a:pt x="2412" y="2580"/>
                  </a:lnTo>
                  <a:lnTo>
                    <a:pt x="2424" y="2584"/>
                  </a:lnTo>
                  <a:lnTo>
                    <a:pt x="2424" y="2601"/>
                  </a:lnTo>
                  <a:lnTo>
                    <a:pt x="2424" y="2601"/>
                  </a:lnTo>
                  <a:lnTo>
                    <a:pt x="2424" y="2601"/>
                  </a:lnTo>
                  <a:close/>
                  <a:moveTo>
                    <a:pt x="2450" y="2634"/>
                  </a:moveTo>
                  <a:lnTo>
                    <a:pt x="2450" y="2617"/>
                  </a:lnTo>
                  <a:lnTo>
                    <a:pt x="2466" y="2622"/>
                  </a:lnTo>
                  <a:lnTo>
                    <a:pt x="2450" y="2634"/>
                  </a:lnTo>
                  <a:lnTo>
                    <a:pt x="2450" y="2634"/>
                  </a:lnTo>
                  <a:lnTo>
                    <a:pt x="2450" y="2634"/>
                  </a:lnTo>
                  <a:close/>
                  <a:moveTo>
                    <a:pt x="2407" y="2655"/>
                  </a:moveTo>
                  <a:lnTo>
                    <a:pt x="2379" y="2650"/>
                  </a:lnTo>
                  <a:lnTo>
                    <a:pt x="2374" y="2650"/>
                  </a:lnTo>
                  <a:lnTo>
                    <a:pt x="2374" y="2634"/>
                  </a:lnTo>
                  <a:lnTo>
                    <a:pt x="2391" y="2634"/>
                  </a:lnTo>
                  <a:lnTo>
                    <a:pt x="2407" y="2655"/>
                  </a:lnTo>
                  <a:lnTo>
                    <a:pt x="2407" y="2655"/>
                  </a:lnTo>
                  <a:lnTo>
                    <a:pt x="2407" y="2655"/>
                  </a:lnTo>
                  <a:close/>
                  <a:moveTo>
                    <a:pt x="2412" y="2695"/>
                  </a:moveTo>
                  <a:lnTo>
                    <a:pt x="2395" y="2712"/>
                  </a:lnTo>
                  <a:lnTo>
                    <a:pt x="2391" y="2707"/>
                  </a:lnTo>
                  <a:lnTo>
                    <a:pt x="2395" y="2695"/>
                  </a:lnTo>
                  <a:lnTo>
                    <a:pt x="2379" y="2707"/>
                  </a:lnTo>
                  <a:lnTo>
                    <a:pt x="2391" y="2679"/>
                  </a:lnTo>
                  <a:lnTo>
                    <a:pt x="2407" y="2688"/>
                  </a:lnTo>
                  <a:lnTo>
                    <a:pt x="2391" y="2672"/>
                  </a:lnTo>
                  <a:lnTo>
                    <a:pt x="2407" y="2672"/>
                  </a:lnTo>
                  <a:lnTo>
                    <a:pt x="2412" y="2679"/>
                  </a:lnTo>
                  <a:lnTo>
                    <a:pt x="2412" y="2688"/>
                  </a:lnTo>
                  <a:lnTo>
                    <a:pt x="2428" y="2679"/>
                  </a:lnTo>
                  <a:lnTo>
                    <a:pt x="2428" y="2688"/>
                  </a:lnTo>
                  <a:lnTo>
                    <a:pt x="2412" y="2695"/>
                  </a:lnTo>
                  <a:lnTo>
                    <a:pt x="2412" y="2695"/>
                  </a:lnTo>
                  <a:lnTo>
                    <a:pt x="2412" y="2695"/>
                  </a:lnTo>
                  <a:close/>
                  <a:moveTo>
                    <a:pt x="2428" y="2712"/>
                  </a:moveTo>
                  <a:lnTo>
                    <a:pt x="2428" y="2707"/>
                  </a:lnTo>
                  <a:lnTo>
                    <a:pt x="2445" y="2707"/>
                  </a:lnTo>
                  <a:lnTo>
                    <a:pt x="2428" y="2712"/>
                  </a:lnTo>
                  <a:lnTo>
                    <a:pt x="2428" y="2712"/>
                  </a:lnTo>
                  <a:lnTo>
                    <a:pt x="2428" y="2712"/>
                  </a:lnTo>
                  <a:close/>
                  <a:moveTo>
                    <a:pt x="2466" y="2745"/>
                  </a:moveTo>
                  <a:lnTo>
                    <a:pt x="2445" y="2728"/>
                  </a:lnTo>
                  <a:lnTo>
                    <a:pt x="2450" y="2717"/>
                  </a:lnTo>
                  <a:lnTo>
                    <a:pt x="2433" y="2712"/>
                  </a:lnTo>
                  <a:lnTo>
                    <a:pt x="2445" y="2707"/>
                  </a:lnTo>
                  <a:lnTo>
                    <a:pt x="2462" y="2712"/>
                  </a:lnTo>
                  <a:lnTo>
                    <a:pt x="2476" y="2745"/>
                  </a:lnTo>
                  <a:lnTo>
                    <a:pt x="2466" y="2745"/>
                  </a:lnTo>
                  <a:lnTo>
                    <a:pt x="2466" y="2745"/>
                  </a:lnTo>
                  <a:lnTo>
                    <a:pt x="2466" y="2745"/>
                  </a:lnTo>
                  <a:close/>
                  <a:moveTo>
                    <a:pt x="2391" y="2745"/>
                  </a:moveTo>
                  <a:lnTo>
                    <a:pt x="2374" y="2728"/>
                  </a:lnTo>
                  <a:lnTo>
                    <a:pt x="2391" y="2728"/>
                  </a:lnTo>
                  <a:lnTo>
                    <a:pt x="2379" y="2712"/>
                  </a:lnTo>
                  <a:lnTo>
                    <a:pt x="2407" y="2712"/>
                  </a:lnTo>
                  <a:lnTo>
                    <a:pt x="2395" y="2717"/>
                  </a:lnTo>
                  <a:lnTo>
                    <a:pt x="2391" y="2745"/>
                  </a:lnTo>
                  <a:lnTo>
                    <a:pt x="2391" y="2745"/>
                  </a:lnTo>
                  <a:lnTo>
                    <a:pt x="2391" y="2745"/>
                  </a:lnTo>
                  <a:close/>
                  <a:moveTo>
                    <a:pt x="2433" y="2717"/>
                  </a:moveTo>
                  <a:lnTo>
                    <a:pt x="2433" y="2712"/>
                  </a:lnTo>
                  <a:lnTo>
                    <a:pt x="2445" y="2717"/>
                  </a:lnTo>
                  <a:lnTo>
                    <a:pt x="2433" y="2717"/>
                  </a:lnTo>
                  <a:lnTo>
                    <a:pt x="2433" y="2717"/>
                  </a:lnTo>
                  <a:lnTo>
                    <a:pt x="2433" y="2717"/>
                  </a:lnTo>
                  <a:close/>
                  <a:moveTo>
                    <a:pt x="2412" y="2745"/>
                  </a:moveTo>
                  <a:lnTo>
                    <a:pt x="2407" y="2733"/>
                  </a:lnTo>
                  <a:lnTo>
                    <a:pt x="2412" y="2728"/>
                  </a:lnTo>
                  <a:lnTo>
                    <a:pt x="2412" y="2745"/>
                  </a:lnTo>
                  <a:lnTo>
                    <a:pt x="2412" y="2745"/>
                  </a:lnTo>
                  <a:lnTo>
                    <a:pt x="2412" y="2745"/>
                  </a:lnTo>
                  <a:close/>
                  <a:moveTo>
                    <a:pt x="2433" y="2750"/>
                  </a:moveTo>
                  <a:lnTo>
                    <a:pt x="2424" y="2750"/>
                  </a:lnTo>
                  <a:lnTo>
                    <a:pt x="2424" y="2733"/>
                  </a:lnTo>
                  <a:lnTo>
                    <a:pt x="2428" y="2733"/>
                  </a:lnTo>
                  <a:lnTo>
                    <a:pt x="2433" y="2750"/>
                  </a:lnTo>
                  <a:lnTo>
                    <a:pt x="2433" y="2750"/>
                  </a:lnTo>
                  <a:lnTo>
                    <a:pt x="2433" y="2750"/>
                  </a:lnTo>
                  <a:close/>
                  <a:moveTo>
                    <a:pt x="2433" y="2773"/>
                  </a:moveTo>
                  <a:lnTo>
                    <a:pt x="2424" y="2766"/>
                  </a:lnTo>
                  <a:lnTo>
                    <a:pt x="2424" y="2750"/>
                  </a:lnTo>
                  <a:lnTo>
                    <a:pt x="2445" y="2750"/>
                  </a:lnTo>
                  <a:lnTo>
                    <a:pt x="2433" y="2733"/>
                  </a:lnTo>
                  <a:lnTo>
                    <a:pt x="2462" y="2745"/>
                  </a:lnTo>
                  <a:lnTo>
                    <a:pt x="2462" y="2766"/>
                  </a:lnTo>
                  <a:lnTo>
                    <a:pt x="2450" y="2761"/>
                  </a:lnTo>
                  <a:lnTo>
                    <a:pt x="2433" y="2773"/>
                  </a:lnTo>
                  <a:lnTo>
                    <a:pt x="2433" y="2773"/>
                  </a:lnTo>
                  <a:lnTo>
                    <a:pt x="2433" y="2773"/>
                  </a:lnTo>
                  <a:close/>
                  <a:moveTo>
                    <a:pt x="2466" y="2783"/>
                  </a:moveTo>
                  <a:lnTo>
                    <a:pt x="2462" y="2750"/>
                  </a:lnTo>
                  <a:lnTo>
                    <a:pt x="2476" y="2783"/>
                  </a:lnTo>
                  <a:lnTo>
                    <a:pt x="2466" y="2783"/>
                  </a:lnTo>
                  <a:lnTo>
                    <a:pt x="2466" y="2783"/>
                  </a:lnTo>
                  <a:lnTo>
                    <a:pt x="2466" y="2783"/>
                  </a:lnTo>
                  <a:close/>
                  <a:moveTo>
                    <a:pt x="2450" y="2783"/>
                  </a:moveTo>
                  <a:lnTo>
                    <a:pt x="2445" y="2766"/>
                  </a:lnTo>
                  <a:lnTo>
                    <a:pt x="2450" y="2766"/>
                  </a:lnTo>
                  <a:lnTo>
                    <a:pt x="2462" y="2773"/>
                  </a:lnTo>
                  <a:lnTo>
                    <a:pt x="2450" y="2783"/>
                  </a:lnTo>
                  <a:lnTo>
                    <a:pt x="2450" y="2783"/>
                  </a:lnTo>
                  <a:lnTo>
                    <a:pt x="2450" y="2783"/>
                  </a:lnTo>
                  <a:close/>
                  <a:moveTo>
                    <a:pt x="2412" y="2773"/>
                  </a:moveTo>
                  <a:lnTo>
                    <a:pt x="2424" y="2766"/>
                  </a:lnTo>
                  <a:lnTo>
                    <a:pt x="2424" y="2773"/>
                  </a:lnTo>
                  <a:lnTo>
                    <a:pt x="2412" y="2773"/>
                  </a:lnTo>
                  <a:lnTo>
                    <a:pt x="2412" y="2773"/>
                  </a:lnTo>
                  <a:lnTo>
                    <a:pt x="2412" y="2773"/>
                  </a:lnTo>
                  <a:close/>
                  <a:moveTo>
                    <a:pt x="2412" y="2806"/>
                  </a:moveTo>
                  <a:lnTo>
                    <a:pt x="2428" y="2790"/>
                  </a:lnTo>
                  <a:lnTo>
                    <a:pt x="2424" y="2790"/>
                  </a:lnTo>
                  <a:lnTo>
                    <a:pt x="2428" y="2783"/>
                  </a:lnTo>
                  <a:lnTo>
                    <a:pt x="2445" y="2783"/>
                  </a:lnTo>
                  <a:lnTo>
                    <a:pt x="2445" y="2790"/>
                  </a:lnTo>
                  <a:lnTo>
                    <a:pt x="2445" y="2799"/>
                  </a:lnTo>
                  <a:lnTo>
                    <a:pt x="2433" y="2790"/>
                  </a:lnTo>
                  <a:lnTo>
                    <a:pt x="2412" y="2806"/>
                  </a:lnTo>
                  <a:lnTo>
                    <a:pt x="2412" y="2806"/>
                  </a:lnTo>
                  <a:lnTo>
                    <a:pt x="2412" y="2806"/>
                  </a:lnTo>
                  <a:close/>
                  <a:moveTo>
                    <a:pt x="2483" y="2799"/>
                  </a:moveTo>
                  <a:lnTo>
                    <a:pt x="2476" y="2783"/>
                  </a:lnTo>
                  <a:lnTo>
                    <a:pt x="2488" y="2783"/>
                  </a:lnTo>
                  <a:lnTo>
                    <a:pt x="2488" y="2790"/>
                  </a:lnTo>
                  <a:lnTo>
                    <a:pt x="2483" y="2799"/>
                  </a:lnTo>
                  <a:lnTo>
                    <a:pt x="2483" y="2799"/>
                  </a:lnTo>
                  <a:lnTo>
                    <a:pt x="2483" y="2799"/>
                  </a:lnTo>
                  <a:close/>
                  <a:moveTo>
                    <a:pt x="2499" y="2799"/>
                  </a:moveTo>
                  <a:lnTo>
                    <a:pt x="2488" y="2790"/>
                  </a:lnTo>
                  <a:lnTo>
                    <a:pt x="2499" y="2783"/>
                  </a:lnTo>
                  <a:lnTo>
                    <a:pt x="2499" y="2799"/>
                  </a:lnTo>
                  <a:lnTo>
                    <a:pt x="2499" y="2799"/>
                  </a:lnTo>
                  <a:lnTo>
                    <a:pt x="2499" y="2799"/>
                  </a:lnTo>
                  <a:close/>
                  <a:moveTo>
                    <a:pt x="2391" y="2823"/>
                  </a:moveTo>
                  <a:lnTo>
                    <a:pt x="2395" y="2790"/>
                  </a:lnTo>
                  <a:lnTo>
                    <a:pt x="2412" y="2790"/>
                  </a:lnTo>
                  <a:lnTo>
                    <a:pt x="2407" y="2816"/>
                  </a:lnTo>
                  <a:lnTo>
                    <a:pt x="2391" y="2823"/>
                  </a:lnTo>
                  <a:lnTo>
                    <a:pt x="2391" y="2823"/>
                  </a:lnTo>
                  <a:lnTo>
                    <a:pt x="2391" y="2823"/>
                  </a:lnTo>
                  <a:close/>
                  <a:moveTo>
                    <a:pt x="2476" y="2806"/>
                  </a:moveTo>
                  <a:lnTo>
                    <a:pt x="2466" y="2799"/>
                  </a:lnTo>
                  <a:lnTo>
                    <a:pt x="2466" y="2790"/>
                  </a:lnTo>
                  <a:lnTo>
                    <a:pt x="2476" y="2790"/>
                  </a:lnTo>
                  <a:lnTo>
                    <a:pt x="2476" y="2806"/>
                  </a:lnTo>
                  <a:lnTo>
                    <a:pt x="2476" y="2806"/>
                  </a:lnTo>
                  <a:lnTo>
                    <a:pt x="2476" y="2806"/>
                  </a:lnTo>
                  <a:close/>
                  <a:moveTo>
                    <a:pt x="2483" y="2839"/>
                  </a:moveTo>
                  <a:lnTo>
                    <a:pt x="2466" y="2828"/>
                  </a:lnTo>
                  <a:lnTo>
                    <a:pt x="2476" y="2816"/>
                  </a:lnTo>
                  <a:lnTo>
                    <a:pt x="2488" y="2828"/>
                  </a:lnTo>
                  <a:lnTo>
                    <a:pt x="2483" y="2839"/>
                  </a:lnTo>
                  <a:lnTo>
                    <a:pt x="2483" y="2839"/>
                  </a:lnTo>
                  <a:lnTo>
                    <a:pt x="2483" y="2839"/>
                  </a:lnTo>
                  <a:close/>
                  <a:moveTo>
                    <a:pt x="2412" y="2872"/>
                  </a:moveTo>
                  <a:lnTo>
                    <a:pt x="2412" y="2856"/>
                  </a:lnTo>
                  <a:lnTo>
                    <a:pt x="2424" y="2839"/>
                  </a:lnTo>
                  <a:lnTo>
                    <a:pt x="2428" y="2839"/>
                  </a:lnTo>
                  <a:lnTo>
                    <a:pt x="2424" y="2823"/>
                  </a:lnTo>
                  <a:lnTo>
                    <a:pt x="2428" y="2823"/>
                  </a:lnTo>
                  <a:lnTo>
                    <a:pt x="2428" y="2839"/>
                  </a:lnTo>
                  <a:lnTo>
                    <a:pt x="2412" y="2872"/>
                  </a:lnTo>
                  <a:lnTo>
                    <a:pt x="2412" y="2872"/>
                  </a:lnTo>
                  <a:lnTo>
                    <a:pt x="2412" y="2872"/>
                  </a:lnTo>
                  <a:close/>
                  <a:moveTo>
                    <a:pt x="2499" y="2839"/>
                  </a:moveTo>
                  <a:lnTo>
                    <a:pt x="2488" y="2823"/>
                  </a:lnTo>
                  <a:lnTo>
                    <a:pt x="2499" y="2828"/>
                  </a:lnTo>
                  <a:lnTo>
                    <a:pt x="2499" y="2839"/>
                  </a:lnTo>
                  <a:lnTo>
                    <a:pt x="2499" y="2839"/>
                  </a:lnTo>
                  <a:lnTo>
                    <a:pt x="2499" y="2839"/>
                  </a:lnTo>
                  <a:close/>
                  <a:moveTo>
                    <a:pt x="2476" y="2856"/>
                  </a:moveTo>
                  <a:lnTo>
                    <a:pt x="2462" y="2844"/>
                  </a:lnTo>
                  <a:lnTo>
                    <a:pt x="2450" y="2828"/>
                  </a:lnTo>
                  <a:lnTo>
                    <a:pt x="2476" y="2844"/>
                  </a:lnTo>
                  <a:lnTo>
                    <a:pt x="2476" y="2856"/>
                  </a:lnTo>
                  <a:lnTo>
                    <a:pt x="2476" y="2856"/>
                  </a:lnTo>
                  <a:lnTo>
                    <a:pt x="2476" y="2856"/>
                  </a:lnTo>
                  <a:close/>
                  <a:moveTo>
                    <a:pt x="2407" y="2844"/>
                  </a:moveTo>
                  <a:lnTo>
                    <a:pt x="2412" y="2828"/>
                  </a:lnTo>
                  <a:lnTo>
                    <a:pt x="2407" y="2844"/>
                  </a:lnTo>
                  <a:lnTo>
                    <a:pt x="2407" y="2844"/>
                  </a:lnTo>
                  <a:lnTo>
                    <a:pt x="2407" y="2844"/>
                  </a:lnTo>
                  <a:close/>
                  <a:moveTo>
                    <a:pt x="2424" y="2872"/>
                  </a:moveTo>
                  <a:lnTo>
                    <a:pt x="2428" y="2839"/>
                  </a:lnTo>
                  <a:lnTo>
                    <a:pt x="2445" y="2839"/>
                  </a:lnTo>
                  <a:lnTo>
                    <a:pt x="2424" y="2872"/>
                  </a:lnTo>
                  <a:lnTo>
                    <a:pt x="2424" y="2872"/>
                  </a:lnTo>
                  <a:lnTo>
                    <a:pt x="2424" y="2872"/>
                  </a:lnTo>
                  <a:close/>
                  <a:moveTo>
                    <a:pt x="2504" y="2877"/>
                  </a:moveTo>
                  <a:lnTo>
                    <a:pt x="2476" y="2856"/>
                  </a:lnTo>
                  <a:lnTo>
                    <a:pt x="2476" y="2844"/>
                  </a:lnTo>
                  <a:lnTo>
                    <a:pt x="2499" y="2861"/>
                  </a:lnTo>
                  <a:lnTo>
                    <a:pt x="2504" y="2877"/>
                  </a:lnTo>
                  <a:lnTo>
                    <a:pt x="2504" y="2877"/>
                  </a:lnTo>
                  <a:lnTo>
                    <a:pt x="2504" y="2877"/>
                  </a:lnTo>
                  <a:close/>
                  <a:moveTo>
                    <a:pt x="2428" y="2877"/>
                  </a:moveTo>
                  <a:lnTo>
                    <a:pt x="2428" y="2872"/>
                  </a:lnTo>
                  <a:lnTo>
                    <a:pt x="2445" y="2861"/>
                  </a:lnTo>
                  <a:lnTo>
                    <a:pt x="2428" y="2877"/>
                  </a:lnTo>
                  <a:lnTo>
                    <a:pt x="2428" y="2877"/>
                  </a:lnTo>
                  <a:lnTo>
                    <a:pt x="2428" y="2877"/>
                  </a:lnTo>
                  <a:close/>
                  <a:moveTo>
                    <a:pt x="2476" y="2894"/>
                  </a:moveTo>
                  <a:lnTo>
                    <a:pt x="2466" y="2877"/>
                  </a:lnTo>
                  <a:lnTo>
                    <a:pt x="2476" y="2877"/>
                  </a:lnTo>
                  <a:lnTo>
                    <a:pt x="2450" y="2872"/>
                  </a:lnTo>
                  <a:lnTo>
                    <a:pt x="2466" y="2861"/>
                  </a:lnTo>
                  <a:lnTo>
                    <a:pt x="2488" y="2884"/>
                  </a:lnTo>
                  <a:lnTo>
                    <a:pt x="2476" y="2894"/>
                  </a:lnTo>
                  <a:lnTo>
                    <a:pt x="2476" y="2894"/>
                  </a:lnTo>
                  <a:lnTo>
                    <a:pt x="2476" y="2894"/>
                  </a:lnTo>
                  <a:close/>
                  <a:moveTo>
                    <a:pt x="2499" y="2894"/>
                  </a:moveTo>
                  <a:lnTo>
                    <a:pt x="2476" y="2872"/>
                  </a:lnTo>
                  <a:lnTo>
                    <a:pt x="2499" y="2884"/>
                  </a:lnTo>
                  <a:lnTo>
                    <a:pt x="2504" y="2894"/>
                  </a:lnTo>
                  <a:lnTo>
                    <a:pt x="2499" y="2894"/>
                  </a:lnTo>
                  <a:lnTo>
                    <a:pt x="2499" y="2894"/>
                  </a:lnTo>
                  <a:lnTo>
                    <a:pt x="2499" y="2894"/>
                  </a:lnTo>
                  <a:close/>
                  <a:moveTo>
                    <a:pt x="2428" y="2884"/>
                  </a:moveTo>
                  <a:lnTo>
                    <a:pt x="2428" y="2877"/>
                  </a:lnTo>
                  <a:lnTo>
                    <a:pt x="2445" y="2877"/>
                  </a:lnTo>
                  <a:lnTo>
                    <a:pt x="2428" y="2884"/>
                  </a:lnTo>
                  <a:lnTo>
                    <a:pt x="2428" y="2884"/>
                  </a:lnTo>
                  <a:lnTo>
                    <a:pt x="2428" y="2884"/>
                  </a:lnTo>
                  <a:close/>
                  <a:moveTo>
                    <a:pt x="2488" y="2927"/>
                  </a:moveTo>
                  <a:lnTo>
                    <a:pt x="2483" y="2910"/>
                  </a:lnTo>
                  <a:lnTo>
                    <a:pt x="2504" y="2894"/>
                  </a:lnTo>
                  <a:lnTo>
                    <a:pt x="2504" y="2901"/>
                  </a:lnTo>
                  <a:lnTo>
                    <a:pt x="2504" y="2917"/>
                  </a:lnTo>
                  <a:lnTo>
                    <a:pt x="2488" y="2927"/>
                  </a:lnTo>
                  <a:lnTo>
                    <a:pt x="2488" y="2927"/>
                  </a:lnTo>
                  <a:lnTo>
                    <a:pt x="2488" y="2927"/>
                  </a:lnTo>
                  <a:close/>
                  <a:moveTo>
                    <a:pt x="2861" y="2917"/>
                  </a:moveTo>
                  <a:lnTo>
                    <a:pt x="2861" y="3132"/>
                  </a:lnTo>
                  <a:lnTo>
                    <a:pt x="2861" y="3139"/>
                  </a:lnTo>
                  <a:lnTo>
                    <a:pt x="2844" y="3132"/>
                  </a:lnTo>
                  <a:lnTo>
                    <a:pt x="2854" y="3139"/>
                  </a:lnTo>
                  <a:lnTo>
                    <a:pt x="2828" y="3149"/>
                  </a:lnTo>
                  <a:lnTo>
                    <a:pt x="2790" y="3132"/>
                  </a:lnTo>
                  <a:lnTo>
                    <a:pt x="2790" y="3123"/>
                  </a:lnTo>
                  <a:lnTo>
                    <a:pt x="2785" y="3132"/>
                  </a:lnTo>
                  <a:lnTo>
                    <a:pt x="2747" y="3139"/>
                  </a:lnTo>
                  <a:lnTo>
                    <a:pt x="2747" y="3132"/>
                  </a:lnTo>
                  <a:lnTo>
                    <a:pt x="2747" y="3123"/>
                  </a:lnTo>
                  <a:lnTo>
                    <a:pt x="2736" y="3132"/>
                  </a:lnTo>
                  <a:lnTo>
                    <a:pt x="2714" y="3139"/>
                  </a:lnTo>
                  <a:lnTo>
                    <a:pt x="2702" y="3132"/>
                  </a:lnTo>
                  <a:lnTo>
                    <a:pt x="2731" y="3116"/>
                  </a:lnTo>
                  <a:lnTo>
                    <a:pt x="2693" y="3132"/>
                  </a:lnTo>
                  <a:lnTo>
                    <a:pt x="2698" y="3116"/>
                  </a:lnTo>
                  <a:lnTo>
                    <a:pt x="2676" y="3123"/>
                  </a:lnTo>
                  <a:lnTo>
                    <a:pt x="2665" y="3106"/>
                  </a:lnTo>
                  <a:lnTo>
                    <a:pt x="2660" y="3123"/>
                  </a:lnTo>
                  <a:lnTo>
                    <a:pt x="2643" y="3116"/>
                  </a:lnTo>
                  <a:lnTo>
                    <a:pt x="2627" y="3116"/>
                  </a:lnTo>
                  <a:lnTo>
                    <a:pt x="2622" y="3099"/>
                  </a:lnTo>
                  <a:lnTo>
                    <a:pt x="2627" y="3099"/>
                  </a:lnTo>
                  <a:lnTo>
                    <a:pt x="2643" y="3106"/>
                  </a:lnTo>
                  <a:lnTo>
                    <a:pt x="2651" y="3106"/>
                  </a:lnTo>
                  <a:lnTo>
                    <a:pt x="2639" y="3095"/>
                  </a:lnTo>
                  <a:lnTo>
                    <a:pt x="2643" y="3095"/>
                  </a:lnTo>
                  <a:lnTo>
                    <a:pt x="2651" y="3099"/>
                  </a:lnTo>
                  <a:lnTo>
                    <a:pt x="2660" y="3099"/>
                  </a:lnTo>
                  <a:lnTo>
                    <a:pt x="2651" y="3095"/>
                  </a:lnTo>
                  <a:lnTo>
                    <a:pt x="2665" y="3095"/>
                  </a:lnTo>
                  <a:lnTo>
                    <a:pt x="2698" y="3099"/>
                  </a:lnTo>
                  <a:lnTo>
                    <a:pt x="2698" y="3083"/>
                  </a:lnTo>
                  <a:lnTo>
                    <a:pt x="2702" y="3083"/>
                  </a:lnTo>
                  <a:lnTo>
                    <a:pt x="2719" y="3083"/>
                  </a:lnTo>
                  <a:lnTo>
                    <a:pt x="2714" y="3106"/>
                  </a:lnTo>
                  <a:lnTo>
                    <a:pt x="2719" y="3116"/>
                  </a:lnTo>
                  <a:lnTo>
                    <a:pt x="2714" y="3106"/>
                  </a:lnTo>
                  <a:lnTo>
                    <a:pt x="2719" y="3095"/>
                  </a:lnTo>
                  <a:lnTo>
                    <a:pt x="2747" y="3106"/>
                  </a:lnTo>
                  <a:lnTo>
                    <a:pt x="2752" y="3106"/>
                  </a:lnTo>
                  <a:lnTo>
                    <a:pt x="2736" y="3095"/>
                  </a:lnTo>
                  <a:lnTo>
                    <a:pt x="2719" y="3083"/>
                  </a:lnTo>
                  <a:lnTo>
                    <a:pt x="2702" y="3078"/>
                  </a:lnTo>
                  <a:lnTo>
                    <a:pt x="2702" y="3066"/>
                  </a:lnTo>
                  <a:lnTo>
                    <a:pt x="2752" y="3095"/>
                  </a:lnTo>
                  <a:lnTo>
                    <a:pt x="2757" y="3095"/>
                  </a:lnTo>
                  <a:lnTo>
                    <a:pt x="2752" y="3083"/>
                  </a:lnTo>
                  <a:lnTo>
                    <a:pt x="2757" y="3078"/>
                  </a:lnTo>
                  <a:lnTo>
                    <a:pt x="2785" y="3106"/>
                  </a:lnTo>
                  <a:lnTo>
                    <a:pt x="2773" y="3083"/>
                  </a:lnTo>
                  <a:lnTo>
                    <a:pt x="2823" y="3099"/>
                  </a:lnTo>
                  <a:lnTo>
                    <a:pt x="2806" y="3116"/>
                  </a:lnTo>
                  <a:lnTo>
                    <a:pt x="2806" y="3123"/>
                  </a:lnTo>
                  <a:lnTo>
                    <a:pt x="2811" y="3106"/>
                  </a:lnTo>
                  <a:lnTo>
                    <a:pt x="2823" y="3106"/>
                  </a:lnTo>
                  <a:lnTo>
                    <a:pt x="2823" y="3099"/>
                  </a:lnTo>
                  <a:lnTo>
                    <a:pt x="2839" y="3095"/>
                  </a:lnTo>
                  <a:lnTo>
                    <a:pt x="2757" y="3061"/>
                  </a:lnTo>
                  <a:lnTo>
                    <a:pt x="2752" y="3038"/>
                  </a:lnTo>
                  <a:lnTo>
                    <a:pt x="2769" y="3021"/>
                  </a:lnTo>
                  <a:lnTo>
                    <a:pt x="2811" y="3005"/>
                  </a:lnTo>
                  <a:lnTo>
                    <a:pt x="2806" y="2988"/>
                  </a:lnTo>
                  <a:lnTo>
                    <a:pt x="2773" y="2988"/>
                  </a:lnTo>
                  <a:lnTo>
                    <a:pt x="2752" y="2995"/>
                  </a:lnTo>
                  <a:lnTo>
                    <a:pt x="2736" y="2988"/>
                  </a:lnTo>
                  <a:lnTo>
                    <a:pt x="2736" y="2955"/>
                  </a:lnTo>
                  <a:lnTo>
                    <a:pt x="2736" y="2950"/>
                  </a:lnTo>
                  <a:lnTo>
                    <a:pt x="2747" y="2955"/>
                  </a:lnTo>
                  <a:lnTo>
                    <a:pt x="2752" y="2955"/>
                  </a:lnTo>
                  <a:lnTo>
                    <a:pt x="2757" y="2939"/>
                  </a:lnTo>
                  <a:lnTo>
                    <a:pt x="2736" y="2934"/>
                  </a:lnTo>
                  <a:lnTo>
                    <a:pt x="2752" y="2927"/>
                  </a:lnTo>
                  <a:lnTo>
                    <a:pt x="2769" y="2934"/>
                  </a:lnTo>
                  <a:lnTo>
                    <a:pt x="2785" y="2934"/>
                  </a:lnTo>
                  <a:lnTo>
                    <a:pt x="2790" y="2910"/>
                  </a:lnTo>
                  <a:lnTo>
                    <a:pt x="2806" y="2901"/>
                  </a:lnTo>
                  <a:lnTo>
                    <a:pt x="2823" y="2927"/>
                  </a:lnTo>
                  <a:lnTo>
                    <a:pt x="2844" y="2910"/>
                  </a:lnTo>
                  <a:lnTo>
                    <a:pt x="2861" y="2917"/>
                  </a:lnTo>
                  <a:lnTo>
                    <a:pt x="2861" y="2917"/>
                  </a:lnTo>
                  <a:lnTo>
                    <a:pt x="2861" y="2917"/>
                  </a:lnTo>
                  <a:close/>
                  <a:moveTo>
                    <a:pt x="2530" y="2983"/>
                  </a:moveTo>
                  <a:lnTo>
                    <a:pt x="2551" y="2988"/>
                  </a:lnTo>
                  <a:lnTo>
                    <a:pt x="2521" y="2988"/>
                  </a:lnTo>
                  <a:lnTo>
                    <a:pt x="2488" y="2955"/>
                  </a:lnTo>
                  <a:lnTo>
                    <a:pt x="2462" y="2967"/>
                  </a:lnTo>
                  <a:lnTo>
                    <a:pt x="2433" y="2934"/>
                  </a:lnTo>
                  <a:lnTo>
                    <a:pt x="2433" y="2927"/>
                  </a:lnTo>
                  <a:lnTo>
                    <a:pt x="2462" y="2950"/>
                  </a:lnTo>
                  <a:lnTo>
                    <a:pt x="2513" y="2955"/>
                  </a:lnTo>
                  <a:lnTo>
                    <a:pt x="2521" y="2983"/>
                  </a:lnTo>
                  <a:lnTo>
                    <a:pt x="2521" y="2967"/>
                  </a:lnTo>
                  <a:lnTo>
                    <a:pt x="2537" y="2983"/>
                  </a:lnTo>
                  <a:lnTo>
                    <a:pt x="2530" y="2983"/>
                  </a:lnTo>
                  <a:lnTo>
                    <a:pt x="2530" y="2983"/>
                  </a:lnTo>
                  <a:lnTo>
                    <a:pt x="2530" y="2983"/>
                  </a:lnTo>
                  <a:close/>
                  <a:moveTo>
                    <a:pt x="2530" y="2950"/>
                  </a:moveTo>
                  <a:lnTo>
                    <a:pt x="2504" y="2939"/>
                  </a:lnTo>
                  <a:lnTo>
                    <a:pt x="2521" y="2939"/>
                  </a:lnTo>
                  <a:lnTo>
                    <a:pt x="2530" y="2950"/>
                  </a:lnTo>
                  <a:lnTo>
                    <a:pt x="2530" y="2950"/>
                  </a:lnTo>
                  <a:lnTo>
                    <a:pt x="2530" y="2950"/>
                  </a:lnTo>
                  <a:close/>
                  <a:moveTo>
                    <a:pt x="2521" y="2995"/>
                  </a:moveTo>
                  <a:lnTo>
                    <a:pt x="2530" y="3005"/>
                  </a:lnTo>
                  <a:lnTo>
                    <a:pt x="2521" y="3012"/>
                  </a:lnTo>
                  <a:lnTo>
                    <a:pt x="2499" y="2995"/>
                  </a:lnTo>
                  <a:lnTo>
                    <a:pt x="2513" y="2995"/>
                  </a:lnTo>
                  <a:lnTo>
                    <a:pt x="2521" y="2995"/>
                  </a:lnTo>
                  <a:lnTo>
                    <a:pt x="2513" y="2988"/>
                  </a:lnTo>
                  <a:lnTo>
                    <a:pt x="2521" y="2995"/>
                  </a:lnTo>
                  <a:lnTo>
                    <a:pt x="2521" y="2995"/>
                  </a:lnTo>
                  <a:lnTo>
                    <a:pt x="2521" y="2995"/>
                  </a:lnTo>
                  <a:close/>
                  <a:moveTo>
                    <a:pt x="2537" y="3038"/>
                  </a:moveTo>
                  <a:lnTo>
                    <a:pt x="2537" y="3021"/>
                  </a:lnTo>
                  <a:lnTo>
                    <a:pt x="2513" y="3028"/>
                  </a:lnTo>
                  <a:lnTo>
                    <a:pt x="2521" y="3021"/>
                  </a:lnTo>
                  <a:lnTo>
                    <a:pt x="2513" y="3012"/>
                  </a:lnTo>
                  <a:lnTo>
                    <a:pt x="2521" y="3012"/>
                  </a:lnTo>
                  <a:lnTo>
                    <a:pt x="2537" y="3021"/>
                  </a:lnTo>
                  <a:lnTo>
                    <a:pt x="2558" y="3021"/>
                  </a:lnTo>
                  <a:lnTo>
                    <a:pt x="2537" y="3012"/>
                  </a:lnTo>
                  <a:lnTo>
                    <a:pt x="2521" y="2995"/>
                  </a:lnTo>
                  <a:lnTo>
                    <a:pt x="2542" y="3005"/>
                  </a:lnTo>
                  <a:lnTo>
                    <a:pt x="2542" y="2995"/>
                  </a:lnTo>
                  <a:lnTo>
                    <a:pt x="2551" y="2995"/>
                  </a:lnTo>
                  <a:lnTo>
                    <a:pt x="2558" y="2995"/>
                  </a:lnTo>
                  <a:lnTo>
                    <a:pt x="2558" y="3021"/>
                  </a:lnTo>
                  <a:lnTo>
                    <a:pt x="2568" y="2995"/>
                  </a:lnTo>
                  <a:lnTo>
                    <a:pt x="2575" y="3012"/>
                  </a:lnTo>
                  <a:lnTo>
                    <a:pt x="2589" y="3012"/>
                  </a:lnTo>
                  <a:lnTo>
                    <a:pt x="2589" y="3028"/>
                  </a:lnTo>
                  <a:lnTo>
                    <a:pt x="2596" y="3021"/>
                  </a:lnTo>
                  <a:lnTo>
                    <a:pt x="2613" y="3038"/>
                  </a:lnTo>
                  <a:lnTo>
                    <a:pt x="2596" y="3045"/>
                  </a:lnTo>
                  <a:lnTo>
                    <a:pt x="2596" y="3061"/>
                  </a:lnTo>
                  <a:lnTo>
                    <a:pt x="2568" y="3066"/>
                  </a:lnTo>
                  <a:lnTo>
                    <a:pt x="2551" y="3061"/>
                  </a:lnTo>
                  <a:lnTo>
                    <a:pt x="2568" y="3050"/>
                  </a:lnTo>
                  <a:lnTo>
                    <a:pt x="2575" y="3038"/>
                  </a:lnTo>
                  <a:lnTo>
                    <a:pt x="2551" y="3038"/>
                  </a:lnTo>
                  <a:lnTo>
                    <a:pt x="2542" y="3050"/>
                  </a:lnTo>
                  <a:lnTo>
                    <a:pt x="2537" y="3038"/>
                  </a:lnTo>
                  <a:lnTo>
                    <a:pt x="2537" y="3038"/>
                  </a:lnTo>
                  <a:lnTo>
                    <a:pt x="2537" y="3038"/>
                  </a:lnTo>
                  <a:close/>
                  <a:moveTo>
                    <a:pt x="2499" y="3012"/>
                  </a:moveTo>
                  <a:lnTo>
                    <a:pt x="2499" y="2995"/>
                  </a:lnTo>
                  <a:lnTo>
                    <a:pt x="2504" y="3005"/>
                  </a:lnTo>
                  <a:lnTo>
                    <a:pt x="2499" y="3012"/>
                  </a:lnTo>
                  <a:lnTo>
                    <a:pt x="2499" y="3012"/>
                  </a:lnTo>
                  <a:lnTo>
                    <a:pt x="2499" y="3012"/>
                  </a:lnTo>
                  <a:close/>
                  <a:moveTo>
                    <a:pt x="2731" y="3078"/>
                  </a:moveTo>
                  <a:lnTo>
                    <a:pt x="2702" y="3061"/>
                  </a:lnTo>
                  <a:lnTo>
                    <a:pt x="2698" y="3038"/>
                  </a:lnTo>
                  <a:lnTo>
                    <a:pt x="2719" y="3038"/>
                  </a:lnTo>
                  <a:lnTo>
                    <a:pt x="2714" y="3021"/>
                  </a:lnTo>
                  <a:lnTo>
                    <a:pt x="2731" y="3012"/>
                  </a:lnTo>
                  <a:lnTo>
                    <a:pt x="2736" y="3050"/>
                  </a:lnTo>
                  <a:lnTo>
                    <a:pt x="2731" y="3050"/>
                  </a:lnTo>
                  <a:lnTo>
                    <a:pt x="2719" y="3045"/>
                  </a:lnTo>
                  <a:lnTo>
                    <a:pt x="2731" y="3078"/>
                  </a:lnTo>
                  <a:lnTo>
                    <a:pt x="2731" y="3078"/>
                  </a:lnTo>
                  <a:lnTo>
                    <a:pt x="2731" y="3078"/>
                  </a:lnTo>
                  <a:close/>
                  <a:moveTo>
                    <a:pt x="2643" y="3045"/>
                  </a:moveTo>
                  <a:lnTo>
                    <a:pt x="2651" y="3061"/>
                  </a:lnTo>
                  <a:lnTo>
                    <a:pt x="2643" y="3066"/>
                  </a:lnTo>
                  <a:lnTo>
                    <a:pt x="2627" y="3050"/>
                  </a:lnTo>
                  <a:lnTo>
                    <a:pt x="2643" y="3078"/>
                  </a:lnTo>
                  <a:lnTo>
                    <a:pt x="2639" y="3083"/>
                  </a:lnTo>
                  <a:lnTo>
                    <a:pt x="2613" y="3061"/>
                  </a:lnTo>
                  <a:lnTo>
                    <a:pt x="2606" y="3045"/>
                  </a:lnTo>
                  <a:lnTo>
                    <a:pt x="2622" y="3050"/>
                  </a:lnTo>
                  <a:lnTo>
                    <a:pt x="2627" y="3038"/>
                  </a:lnTo>
                  <a:lnTo>
                    <a:pt x="2643" y="3045"/>
                  </a:lnTo>
                  <a:lnTo>
                    <a:pt x="2643" y="3045"/>
                  </a:lnTo>
                  <a:lnTo>
                    <a:pt x="2643" y="3045"/>
                  </a:lnTo>
                  <a:close/>
                  <a:moveTo>
                    <a:pt x="2676" y="3050"/>
                  </a:moveTo>
                  <a:lnTo>
                    <a:pt x="2693" y="3061"/>
                  </a:lnTo>
                  <a:lnTo>
                    <a:pt x="2698" y="3078"/>
                  </a:lnTo>
                  <a:lnTo>
                    <a:pt x="2681" y="3095"/>
                  </a:lnTo>
                  <a:lnTo>
                    <a:pt x="2665" y="3083"/>
                  </a:lnTo>
                  <a:lnTo>
                    <a:pt x="2660" y="3066"/>
                  </a:lnTo>
                  <a:lnTo>
                    <a:pt x="2665" y="3061"/>
                  </a:lnTo>
                  <a:lnTo>
                    <a:pt x="2660" y="3078"/>
                  </a:lnTo>
                  <a:lnTo>
                    <a:pt x="2643" y="3066"/>
                  </a:lnTo>
                  <a:lnTo>
                    <a:pt x="2651" y="3045"/>
                  </a:lnTo>
                  <a:lnTo>
                    <a:pt x="2676" y="3050"/>
                  </a:lnTo>
                  <a:lnTo>
                    <a:pt x="2676" y="3050"/>
                  </a:lnTo>
                  <a:lnTo>
                    <a:pt x="2676" y="3050"/>
                  </a:lnTo>
                  <a:close/>
                  <a:moveTo>
                    <a:pt x="2537" y="3066"/>
                  </a:moveTo>
                  <a:lnTo>
                    <a:pt x="2521" y="3061"/>
                  </a:lnTo>
                  <a:lnTo>
                    <a:pt x="2542" y="3061"/>
                  </a:lnTo>
                  <a:lnTo>
                    <a:pt x="2537" y="3066"/>
                  </a:lnTo>
                  <a:lnTo>
                    <a:pt x="2537" y="3066"/>
                  </a:lnTo>
                  <a:lnTo>
                    <a:pt x="2537" y="3066"/>
                  </a:lnTo>
                  <a:close/>
                  <a:moveTo>
                    <a:pt x="2606" y="3061"/>
                  </a:moveTo>
                  <a:lnTo>
                    <a:pt x="2613" y="3066"/>
                  </a:lnTo>
                  <a:lnTo>
                    <a:pt x="2606" y="3078"/>
                  </a:lnTo>
                  <a:lnTo>
                    <a:pt x="2589" y="3078"/>
                  </a:lnTo>
                  <a:lnTo>
                    <a:pt x="2606" y="3061"/>
                  </a:lnTo>
                  <a:lnTo>
                    <a:pt x="2606" y="3061"/>
                  </a:lnTo>
                  <a:lnTo>
                    <a:pt x="2606" y="3061"/>
                  </a:lnTo>
                  <a:close/>
                  <a:moveTo>
                    <a:pt x="2747" y="3078"/>
                  </a:moveTo>
                  <a:lnTo>
                    <a:pt x="2731" y="3066"/>
                  </a:lnTo>
                  <a:lnTo>
                    <a:pt x="2752" y="3078"/>
                  </a:lnTo>
                  <a:lnTo>
                    <a:pt x="2747" y="3078"/>
                  </a:lnTo>
                  <a:lnTo>
                    <a:pt x="2747" y="3078"/>
                  </a:lnTo>
                  <a:lnTo>
                    <a:pt x="2747" y="3078"/>
                  </a:lnTo>
                  <a:close/>
                  <a:moveTo>
                    <a:pt x="2589" y="3095"/>
                  </a:moveTo>
                  <a:lnTo>
                    <a:pt x="2589" y="3083"/>
                  </a:lnTo>
                  <a:lnTo>
                    <a:pt x="2606" y="3083"/>
                  </a:lnTo>
                  <a:lnTo>
                    <a:pt x="2589" y="3095"/>
                  </a:lnTo>
                  <a:lnTo>
                    <a:pt x="2589" y="3095"/>
                  </a:lnTo>
                  <a:lnTo>
                    <a:pt x="2589" y="3095"/>
                  </a:lnTo>
                  <a:close/>
                  <a:moveTo>
                    <a:pt x="2627" y="3132"/>
                  </a:moveTo>
                  <a:lnTo>
                    <a:pt x="2622" y="3116"/>
                  </a:lnTo>
                  <a:lnTo>
                    <a:pt x="2627" y="3123"/>
                  </a:lnTo>
                  <a:lnTo>
                    <a:pt x="2627" y="3132"/>
                  </a:lnTo>
                  <a:lnTo>
                    <a:pt x="2627" y="3132"/>
                  </a:lnTo>
                  <a:lnTo>
                    <a:pt x="2627" y="3132"/>
                  </a:lnTo>
                  <a:close/>
                  <a:moveTo>
                    <a:pt x="2693" y="3149"/>
                  </a:moveTo>
                  <a:lnTo>
                    <a:pt x="2660" y="3139"/>
                  </a:lnTo>
                  <a:lnTo>
                    <a:pt x="2665" y="3132"/>
                  </a:lnTo>
                  <a:lnTo>
                    <a:pt x="2698" y="3149"/>
                  </a:lnTo>
                  <a:lnTo>
                    <a:pt x="2693" y="3149"/>
                  </a:lnTo>
                  <a:lnTo>
                    <a:pt x="2693" y="3149"/>
                  </a:lnTo>
                  <a:lnTo>
                    <a:pt x="2693" y="3149"/>
                  </a:lnTo>
                  <a:close/>
                  <a:moveTo>
                    <a:pt x="2731" y="3139"/>
                  </a:moveTo>
                  <a:lnTo>
                    <a:pt x="2736" y="3139"/>
                  </a:lnTo>
                  <a:lnTo>
                    <a:pt x="2714" y="3139"/>
                  </a:lnTo>
                  <a:lnTo>
                    <a:pt x="2731" y="3139"/>
                  </a:lnTo>
                  <a:lnTo>
                    <a:pt x="2731" y="3139"/>
                  </a:lnTo>
                  <a:lnTo>
                    <a:pt x="2731" y="3139"/>
                  </a:lnTo>
                  <a:close/>
                  <a:moveTo>
                    <a:pt x="2769" y="3156"/>
                  </a:moveTo>
                  <a:lnTo>
                    <a:pt x="2769" y="3149"/>
                  </a:lnTo>
                  <a:lnTo>
                    <a:pt x="2773" y="3139"/>
                  </a:lnTo>
                  <a:lnTo>
                    <a:pt x="2823" y="3149"/>
                  </a:lnTo>
                  <a:lnTo>
                    <a:pt x="2769" y="3156"/>
                  </a:lnTo>
                  <a:lnTo>
                    <a:pt x="2769" y="3156"/>
                  </a:lnTo>
                  <a:lnTo>
                    <a:pt x="2769" y="3156"/>
                  </a:lnTo>
                  <a:close/>
                  <a:moveTo>
                    <a:pt x="2736" y="3139"/>
                  </a:moveTo>
                  <a:lnTo>
                    <a:pt x="2714" y="3156"/>
                  </a:lnTo>
                  <a:lnTo>
                    <a:pt x="2747" y="3156"/>
                  </a:lnTo>
                  <a:lnTo>
                    <a:pt x="2747" y="3161"/>
                  </a:lnTo>
                  <a:lnTo>
                    <a:pt x="2736" y="3161"/>
                  </a:lnTo>
                  <a:lnTo>
                    <a:pt x="2736" y="3172"/>
                  </a:lnTo>
                  <a:lnTo>
                    <a:pt x="2731" y="3172"/>
                  </a:lnTo>
                  <a:lnTo>
                    <a:pt x="2719" y="3161"/>
                  </a:lnTo>
                  <a:lnTo>
                    <a:pt x="2714" y="3161"/>
                  </a:lnTo>
                  <a:lnTo>
                    <a:pt x="2693" y="3156"/>
                  </a:lnTo>
                  <a:lnTo>
                    <a:pt x="2698" y="3149"/>
                  </a:lnTo>
                  <a:lnTo>
                    <a:pt x="2719" y="3149"/>
                  </a:lnTo>
                  <a:lnTo>
                    <a:pt x="2736" y="3139"/>
                  </a:lnTo>
                  <a:lnTo>
                    <a:pt x="2736" y="3139"/>
                  </a:lnTo>
                  <a:lnTo>
                    <a:pt x="2736" y="3139"/>
                  </a:lnTo>
                  <a:close/>
                  <a:moveTo>
                    <a:pt x="2899" y="3139"/>
                  </a:moveTo>
                  <a:lnTo>
                    <a:pt x="2953" y="3149"/>
                  </a:lnTo>
                  <a:lnTo>
                    <a:pt x="2967" y="3161"/>
                  </a:lnTo>
                  <a:lnTo>
                    <a:pt x="2962" y="3177"/>
                  </a:lnTo>
                  <a:lnTo>
                    <a:pt x="2946" y="3177"/>
                  </a:lnTo>
                  <a:lnTo>
                    <a:pt x="2946" y="3172"/>
                  </a:lnTo>
                  <a:lnTo>
                    <a:pt x="2936" y="3172"/>
                  </a:lnTo>
                  <a:lnTo>
                    <a:pt x="2929" y="3177"/>
                  </a:lnTo>
                  <a:lnTo>
                    <a:pt x="2915" y="3177"/>
                  </a:lnTo>
                  <a:lnTo>
                    <a:pt x="2915" y="3172"/>
                  </a:lnTo>
                  <a:lnTo>
                    <a:pt x="2899" y="3177"/>
                  </a:lnTo>
                  <a:lnTo>
                    <a:pt x="2891" y="3149"/>
                  </a:lnTo>
                  <a:lnTo>
                    <a:pt x="2877" y="3149"/>
                  </a:lnTo>
                  <a:lnTo>
                    <a:pt x="2899" y="3139"/>
                  </a:lnTo>
                  <a:lnTo>
                    <a:pt x="2899" y="3139"/>
                  </a:lnTo>
                  <a:lnTo>
                    <a:pt x="2899" y="3139"/>
                  </a:lnTo>
                  <a:close/>
                  <a:moveTo>
                    <a:pt x="2802" y="3189"/>
                  </a:moveTo>
                  <a:lnTo>
                    <a:pt x="2785" y="3177"/>
                  </a:lnTo>
                  <a:lnTo>
                    <a:pt x="2802" y="3172"/>
                  </a:lnTo>
                  <a:lnTo>
                    <a:pt x="2773" y="3177"/>
                  </a:lnTo>
                  <a:lnTo>
                    <a:pt x="2757" y="3161"/>
                  </a:lnTo>
                  <a:lnTo>
                    <a:pt x="2773" y="3156"/>
                  </a:lnTo>
                  <a:lnTo>
                    <a:pt x="2865" y="3149"/>
                  </a:lnTo>
                  <a:lnTo>
                    <a:pt x="2882" y="3156"/>
                  </a:lnTo>
                  <a:lnTo>
                    <a:pt x="2861" y="3172"/>
                  </a:lnTo>
                  <a:lnTo>
                    <a:pt x="2828" y="3156"/>
                  </a:lnTo>
                  <a:lnTo>
                    <a:pt x="2854" y="3172"/>
                  </a:lnTo>
                  <a:lnTo>
                    <a:pt x="2882" y="3172"/>
                  </a:lnTo>
                  <a:lnTo>
                    <a:pt x="2891" y="3177"/>
                  </a:lnTo>
                  <a:lnTo>
                    <a:pt x="2854" y="3177"/>
                  </a:lnTo>
                  <a:lnTo>
                    <a:pt x="2891" y="3194"/>
                  </a:lnTo>
                  <a:lnTo>
                    <a:pt x="2908" y="3210"/>
                  </a:lnTo>
                  <a:lnTo>
                    <a:pt x="2899" y="3227"/>
                  </a:lnTo>
                  <a:lnTo>
                    <a:pt x="2877" y="3206"/>
                  </a:lnTo>
                  <a:lnTo>
                    <a:pt x="2844" y="3206"/>
                  </a:lnTo>
                  <a:lnTo>
                    <a:pt x="2839" y="3194"/>
                  </a:lnTo>
                  <a:lnTo>
                    <a:pt x="2854" y="3189"/>
                  </a:lnTo>
                  <a:lnTo>
                    <a:pt x="2844" y="3189"/>
                  </a:lnTo>
                  <a:lnTo>
                    <a:pt x="2844" y="3172"/>
                  </a:lnTo>
                  <a:lnTo>
                    <a:pt x="2828" y="3177"/>
                  </a:lnTo>
                  <a:lnTo>
                    <a:pt x="2823" y="3161"/>
                  </a:lnTo>
                  <a:lnTo>
                    <a:pt x="2806" y="3172"/>
                  </a:lnTo>
                  <a:lnTo>
                    <a:pt x="2811" y="3172"/>
                  </a:lnTo>
                  <a:lnTo>
                    <a:pt x="2806" y="3177"/>
                  </a:lnTo>
                  <a:lnTo>
                    <a:pt x="2811" y="3194"/>
                  </a:lnTo>
                  <a:lnTo>
                    <a:pt x="2823" y="3194"/>
                  </a:lnTo>
                  <a:lnTo>
                    <a:pt x="2823" y="3206"/>
                  </a:lnTo>
                  <a:lnTo>
                    <a:pt x="2806" y="3206"/>
                  </a:lnTo>
                  <a:lnTo>
                    <a:pt x="2802" y="3194"/>
                  </a:lnTo>
                  <a:lnTo>
                    <a:pt x="2806" y="3189"/>
                  </a:lnTo>
                  <a:lnTo>
                    <a:pt x="2802" y="3189"/>
                  </a:lnTo>
                  <a:lnTo>
                    <a:pt x="2802" y="3189"/>
                  </a:lnTo>
                  <a:lnTo>
                    <a:pt x="2802" y="3189"/>
                  </a:lnTo>
                  <a:close/>
                  <a:moveTo>
                    <a:pt x="2979" y="3156"/>
                  </a:moveTo>
                  <a:lnTo>
                    <a:pt x="2988" y="3161"/>
                  </a:lnTo>
                  <a:lnTo>
                    <a:pt x="2967" y="3156"/>
                  </a:lnTo>
                  <a:lnTo>
                    <a:pt x="2979" y="3156"/>
                  </a:lnTo>
                  <a:lnTo>
                    <a:pt x="2979" y="3156"/>
                  </a:lnTo>
                  <a:lnTo>
                    <a:pt x="2979" y="3156"/>
                  </a:lnTo>
                  <a:close/>
                  <a:moveTo>
                    <a:pt x="3005" y="3177"/>
                  </a:moveTo>
                  <a:lnTo>
                    <a:pt x="3000" y="3172"/>
                  </a:lnTo>
                  <a:lnTo>
                    <a:pt x="3017" y="3172"/>
                  </a:lnTo>
                  <a:lnTo>
                    <a:pt x="3005" y="3177"/>
                  </a:lnTo>
                  <a:lnTo>
                    <a:pt x="3005" y="3177"/>
                  </a:lnTo>
                  <a:lnTo>
                    <a:pt x="3005" y="3177"/>
                  </a:lnTo>
                  <a:close/>
                  <a:moveTo>
                    <a:pt x="2984" y="3177"/>
                  </a:moveTo>
                  <a:lnTo>
                    <a:pt x="2984" y="3189"/>
                  </a:lnTo>
                  <a:lnTo>
                    <a:pt x="2967" y="3189"/>
                  </a:lnTo>
                  <a:lnTo>
                    <a:pt x="2979" y="3177"/>
                  </a:lnTo>
                  <a:lnTo>
                    <a:pt x="2984" y="3177"/>
                  </a:lnTo>
                  <a:lnTo>
                    <a:pt x="2984" y="3177"/>
                  </a:lnTo>
                  <a:lnTo>
                    <a:pt x="2984" y="3177"/>
                  </a:lnTo>
                  <a:close/>
                  <a:moveTo>
                    <a:pt x="2769" y="3189"/>
                  </a:moveTo>
                  <a:lnTo>
                    <a:pt x="2757" y="3177"/>
                  </a:lnTo>
                  <a:lnTo>
                    <a:pt x="2769" y="3177"/>
                  </a:lnTo>
                  <a:lnTo>
                    <a:pt x="2769" y="3189"/>
                  </a:lnTo>
                  <a:lnTo>
                    <a:pt x="2769" y="3189"/>
                  </a:lnTo>
                  <a:lnTo>
                    <a:pt x="2769" y="3189"/>
                  </a:lnTo>
                  <a:close/>
                  <a:moveTo>
                    <a:pt x="2785" y="3194"/>
                  </a:moveTo>
                  <a:lnTo>
                    <a:pt x="2785" y="3189"/>
                  </a:lnTo>
                  <a:lnTo>
                    <a:pt x="2790" y="3189"/>
                  </a:lnTo>
                  <a:lnTo>
                    <a:pt x="2785" y="3194"/>
                  </a:lnTo>
                  <a:lnTo>
                    <a:pt x="2785" y="3194"/>
                  </a:lnTo>
                  <a:lnTo>
                    <a:pt x="2785" y="3194"/>
                  </a:lnTo>
                  <a:close/>
                  <a:moveTo>
                    <a:pt x="2925" y="3210"/>
                  </a:moveTo>
                  <a:lnTo>
                    <a:pt x="2929" y="3206"/>
                  </a:lnTo>
                  <a:lnTo>
                    <a:pt x="2936" y="3206"/>
                  </a:lnTo>
                  <a:lnTo>
                    <a:pt x="2925" y="3210"/>
                  </a:lnTo>
                  <a:lnTo>
                    <a:pt x="2925" y="3210"/>
                  </a:lnTo>
                  <a:lnTo>
                    <a:pt x="2925" y="3210"/>
                  </a:lnTo>
                  <a:close/>
                  <a:moveTo>
                    <a:pt x="2953" y="3234"/>
                  </a:moveTo>
                  <a:lnTo>
                    <a:pt x="2936" y="3227"/>
                  </a:lnTo>
                  <a:lnTo>
                    <a:pt x="2936" y="3217"/>
                  </a:lnTo>
                  <a:lnTo>
                    <a:pt x="2953" y="3210"/>
                  </a:lnTo>
                  <a:lnTo>
                    <a:pt x="2962" y="3227"/>
                  </a:lnTo>
                  <a:lnTo>
                    <a:pt x="2953" y="3234"/>
                  </a:lnTo>
                  <a:lnTo>
                    <a:pt x="2953" y="3234"/>
                  </a:lnTo>
                  <a:lnTo>
                    <a:pt x="2953" y="3234"/>
                  </a:lnTo>
                  <a:close/>
                  <a:moveTo>
                    <a:pt x="2967" y="3243"/>
                  </a:moveTo>
                  <a:lnTo>
                    <a:pt x="2962" y="3243"/>
                  </a:lnTo>
                  <a:lnTo>
                    <a:pt x="2967" y="3234"/>
                  </a:lnTo>
                  <a:lnTo>
                    <a:pt x="2967" y="3243"/>
                  </a:lnTo>
                  <a:lnTo>
                    <a:pt x="2967" y="3243"/>
                  </a:lnTo>
                  <a:lnTo>
                    <a:pt x="2967" y="3243"/>
                  </a:lnTo>
                  <a:close/>
                  <a:moveTo>
                    <a:pt x="2929" y="3243"/>
                  </a:moveTo>
                  <a:lnTo>
                    <a:pt x="2915" y="3234"/>
                  </a:lnTo>
                  <a:lnTo>
                    <a:pt x="2936" y="3234"/>
                  </a:lnTo>
                  <a:lnTo>
                    <a:pt x="2929" y="3243"/>
                  </a:lnTo>
                  <a:lnTo>
                    <a:pt x="2929" y="3243"/>
                  </a:lnTo>
                  <a:lnTo>
                    <a:pt x="2929" y="3243"/>
                  </a:lnTo>
                  <a:close/>
                  <a:moveTo>
                    <a:pt x="2962" y="3243"/>
                  </a:moveTo>
                  <a:lnTo>
                    <a:pt x="2946" y="3234"/>
                  </a:lnTo>
                  <a:lnTo>
                    <a:pt x="2962" y="3234"/>
                  </a:lnTo>
                  <a:lnTo>
                    <a:pt x="2962" y="3243"/>
                  </a:lnTo>
                  <a:lnTo>
                    <a:pt x="2962" y="3243"/>
                  </a:lnTo>
                  <a:lnTo>
                    <a:pt x="2962" y="324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7" name="Freeform 416">
              <a:extLst>
                <a:ext uri="{FF2B5EF4-FFF2-40B4-BE49-F238E27FC236}">
                  <a16:creationId xmlns:a16="http://schemas.microsoft.com/office/drawing/2014/main" id="{29B0D498-F83E-49DB-B5D2-5A10AE20FA5F}"/>
                </a:ext>
              </a:extLst>
            </p:cNvPr>
            <p:cNvSpPr>
              <a:spLocks/>
            </p:cNvSpPr>
            <p:nvPr/>
          </p:nvSpPr>
          <p:spPr bwMode="gray">
            <a:xfrm>
              <a:off x="13939234" y="3804456"/>
              <a:ext cx="176413" cy="272311"/>
            </a:xfrm>
            <a:custGeom>
              <a:avLst/>
              <a:gdLst>
                <a:gd name="T0" fmla="*/ 21 w 539"/>
                <a:gd name="T1" fmla="*/ 572 h 832"/>
                <a:gd name="T2" fmla="*/ 26 w 539"/>
                <a:gd name="T3" fmla="*/ 522 h 832"/>
                <a:gd name="T4" fmla="*/ 80 w 539"/>
                <a:gd name="T5" fmla="*/ 477 h 832"/>
                <a:gd name="T6" fmla="*/ 97 w 539"/>
                <a:gd name="T7" fmla="*/ 461 h 832"/>
                <a:gd name="T8" fmla="*/ 123 w 539"/>
                <a:gd name="T9" fmla="*/ 449 h 832"/>
                <a:gd name="T10" fmla="*/ 144 w 539"/>
                <a:gd name="T11" fmla="*/ 437 h 832"/>
                <a:gd name="T12" fmla="*/ 182 w 539"/>
                <a:gd name="T13" fmla="*/ 482 h 832"/>
                <a:gd name="T14" fmla="*/ 215 w 539"/>
                <a:gd name="T15" fmla="*/ 465 h 832"/>
                <a:gd name="T16" fmla="*/ 236 w 539"/>
                <a:gd name="T17" fmla="*/ 437 h 832"/>
                <a:gd name="T18" fmla="*/ 232 w 539"/>
                <a:gd name="T19" fmla="*/ 421 h 832"/>
                <a:gd name="T20" fmla="*/ 243 w 539"/>
                <a:gd name="T21" fmla="*/ 387 h 832"/>
                <a:gd name="T22" fmla="*/ 258 w 539"/>
                <a:gd name="T23" fmla="*/ 338 h 832"/>
                <a:gd name="T24" fmla="*/ 274 w 539"/>
                <a:gd name="T25" fmla="*/ 326 h 832"/>
                <a:gd name="T26" fmla="*/ 295 w 539"/>
                <a:gd name="T27" fmla="*/ 317 h 832"/>
                <a:gd name="T28" fmla="*/ 328 w 539"/>
                <a:gd name="T29" fmla="*/ 255 h 832"/>
                <a:gd name="T30" fmla="*/ 345 w 539"/>
                <a:gd name="T31" fmla="*/ 215 h 832"/>
                <a:gd name="T32" fmla="*/ 366 w 539"/>
                <a:gd name="T33" fmla="*/ 149 h 832"/>
                <a:gd name="T34" fmla="*/ 399 w 539"/>
                <a:gd name="T35" fmla="*/ 132 h 832"/>
                <a:gd name="T36" fmla="*/ 432 w 539"/>
                <a:gd name="T37" fmla="*/ 95 h 832"/>
                <a:gd name="T38" fmla="*/ 421 w 539"/>
                <a:gd name="T39" fmla="*/ 54 h 832"/>
                <a:gd name="T40" fmla="*/ 395 w 539"/>
                <a:gd name="T41" fmla="*/ 0 h 832"/>
                <a:gd name="T42" fmla="*/ 421 w 539"/>
                <a:gd name="T43" fmla="*/ 21 h 832"/>
                <a:gd name="T44" fmla="*/ 449 w 539"/>
                <a:gd name="T45" fmla="*/ 71 h 832"/>
                <a:gd name="T46" fmla="*/ 458 w 539"/>
                <a:gd name="T47" fmla="*/ 116 h 832"/>
                <a:gd name="T48" fmla="*/ 458 w 539"/>
                <a:gd name="T49" fmla="*/ 165 h 832"/>
                <a:gd name="T50" fmla="*/ 508 w 539"/>
                <a:gd name="T51" fmla="*/ 227 h 832"/>
                <a:gd name="T52" fmla="*/ 399 w 539"/>
                <a:gd name="T53" fmla="*/ 227 h 832"/>
                <a:gd name="T54" fmla="*/ 404 w 539"/>
                <a:gd name="T55" fmla="*/ 281 h 832"/>
                <a:gd name="T56" fmla="*/ 491 w 539"/>
                <a:gd name="T57" fmla="*/ 383 h 832"/>
                <a:gd name="T58" fmla="*/ 491 w 539"/>
                <a:gd name="T59" fmla="*/ 404 h 832"/>
                <a:gd name="T60" fmla="*/ 449 w 539"/>
                <a:gd name="T61" fmla="*/ 494 h 832"/>
                <a:gd name="T62" fmla="*/ 421 w 539"/>
                <a:gd name="T63" fmla="*/ 522 h 832"/>
                <a:gd name="T64" fmla="*/ 432 w 539"/>
                <a:gd name="T65" fmla="*/ 548 h 832"/>
                <a:gd name="T66" fmla="*/ 432 w 539"/>
                <a:gd name="T67" fmla="*/ 572 h 832"/>
                <a:gd name="T68" fmla="*/ 458 w 539"/>
                <a:gd name="T69" fmla="*/ 631 h 832"/>
                <a:gd name="T70" fmla="*/ 458 w 539"/>
                <a:gd name="T71" fmla="*/ 659 h 832"/>
                <a:gd name="T72" fmla="*/ 529 w 539"/>
                <a:gd name="T73" fmla="*/ 737 h 832"/>
                <a:gd name="T74" fmla="*/ 539 w 539"/>
                <a:gd name="T75" fmla="*/ 782 h 832"/>
                <a:gd name="T76" fmla="*/ 539 w 539"/>
                <a:gd name="T77" fmla="*/ 827 h 832"/>
                <a:gd name="T78" fmla="*/ 508 w 539"/>
                <a:gd name="T79" fmla="*/ 810 h 832"/>
                <a:gd name="T80" fmla="*/ 421 w 539"/>
                <a:gd name="T81" fmla="*/ 794 h 832"/>
                <a:gd name="T82" fmla="*/ 328 w 539"/>
                <a:gd name="T83" fmla="*/ 782 h 832"/>
                <a:gd name="T84" fmla="*/ 269 w 539"/>
                <a:gd name="T85" fmla="*/ 782 h 832"/>
                <a:gd name="T86" fmla="*/ 199 w 539"/>
                <a:gd name="T87" fmla="*/ 794 h 832"/>
                <a:gd name="T88" fmla="*/ 90 w 539"/>
                <a:gd name="T89" fmla="*/ 777 h 832"/>
                <a:gd name="T90" fmla="*/ 97 w 539"/>
                <a:gd name="T91" fmla="*/ 716 h 832"/>
                <a:gd name="T92" fmla="*/ 90 w 539"/>
                <a:gd name="T93" fmla="*/ 687 h 832"/>
                <a:gd name="T94" fmla="*/ 76 w 539"/>
                <a:gd name="T95" fmla="*/ 671 h 832"/>
                <a:gd name="T96" fmla="*/ 69 w 539"/>
                <a:gd name="T97" fmla="*/ 650 h 832"/>
                <a:gd name="T98" fmla="*/ 69 w 539"/>
                <a:gd name="T99" fmla="*/ 666 h 832"/>
                <a:gd name="T100" fmla="*/ 26 w 539"/>
                <a:gd name="T101" fmla="*/ 614 h 832"/>
                <a:gd name="T102" fmla="*/ 26 w 539"/>
                <a:gd name="T103" fmla="*/ 614 h 832"/>
                <a:gd name="T104" fmla="*/ 14 w 539"/>
                <a:gd name="T105" fmla="*/ 626 h 832"/>
                <a:gd name="T106" fmla="*/ 5 w 539"/>
                <a:gd name="T107" fmla="*/ 605 h 832"/>
                <a:gd name="T108" fmla="*/ 5 w 539"/>
                <a:gd name="T109" fmla="*/ 605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9" h="832">
                  <a:moveTo>
                    <a:pt x="5" y="605"/>
                  </a:moveTo>
                  <a:lnTo>
                    <a:pt x="21" y="572"/>
                  </a:lnTo>
                  <a:lnTo>
                    <a:pt x="26" y="548"/>
                  </a:lnTo>
                  <a:lnTo>
                    <a:pt x="26" y="522"/>
                  </a:lnTo>
                  <a:lnTo>
                    <a:pt x="59" y="494"/>
                  </a:lnTo>
                  <a:lnTo>
                    <a:pt x="80" y="477"/>
                  </a:lnTo>
                  <a:lnTo>
                    <a:pt x="90" y="461"/>
                  </a:lnTo>
                  <a:lnTo>
                    <a:pt x="97" y="461"/>
                  </a:lnTo>
                  <a:lnTo>
                    <a:pt x="113" y="444"/>
                  </a:lnTo>
                  <a:lnTo>
                    <a:pt x="123" y="449"/>
                  </a:lnTo>
                  <a:lnTo>
                    <a:pt x="144" y="449"/>
                  </a:lnTo>
                  <a:lnTo>
                    <a:pt x="144" y="437"/>
                  </a:lnTo>
                  <a:lnTo>
                    <a:pt x="182" y="461"/>
                  </a:lnTo>
                  <a:lnTo>
                    <a:pt x="182" y="482"/>
                  </a:lnTo>
                  <a:lnTo>
                    <a:pt x="199" y="482"/>
                  </a:lnTo>
                  <a:lnTo>
                    <a:pt x="215" y="465"/>
                  </a:lnTo>
                  <a:lnTo>
                    <a:pt x="215" y="449"/>
                  </a:lnTo>
                  <a:lnTo>
                    <a:pt x="236" y="437"/>
                  </a:lnTo>
                  <a:lnTo>
                    <a:pt x="232" y="421"/>
                  </a:lnTo>
                  <a:lnTo>
                    <a:pt x="232" y="421"/>
                  </a:lnTo>
                  <a:lnTo>
                    <a:pt x="243" y="404"/>
                  </a:lnTo>
                  <a:lnTo>
                    <a:pt x="243" y="387"/>
                  </a:lnTo>
                  <a:lnTo>
                    <a:pt x="258" y="371"/>
                  </a:lnTo>
                  <a:lnTo>
                    <a:pt x="258" y="338"/>
                  </a:lnTo>
                  <a:lnTo>
                    <a:pt x="274" y="333"/>
                  </a:lnTo>
                  <a:lnTo>
                    <a:pt x="274" y="326"/>
                  </a:lnTo>
                  <a:lnTo>
                    <a:pt x="291" y="326"/>
                  </a:lnTo>
                  <a:lnTo>
                    <a:pt x="295" y="317"/>
                  </a:lnTo>
                  <a:lnTo>
                    <a:pt x="307" y="272"/>
                  </a:lnTo>
                  <a:lnTo>
                    <a:pt x="328" y="255"/>
                  </a:lnTo>
                  <a:lnTo>
                    <a:pt x="340" y="222"/>
                  </a:lnTo>
                  <a:lnTo>
                    <a:pt x="345" y="215"/>
                  </a:lnTo>
                  <a:lnTo>
                    <a:pt x="350" y="182"/>
                  </a:lnTo>
                  <a:lnTo>
                    <a:pt x="366" y="149"/>
                  </a:lnTo>
                  <a:lnTo>
                    <a:pt x="383" y="132"/>
                  </a:lnTo>
                  <a:lnTo>
                    <a:pt x="399" y="132"/>
                  </a:lnTo>
                  <a:lnTo>
                    <a:pt x="432" y="111"/>
                  </a:lnTo>
                  <a:lnTo>
                    <a:pt x="432" y="95"/>
                  </a:lnTo>
                  <a:lnTo>
                    <a:pt x="432" y="59"/>
                  </a:lnTo>
                  <a:lnTo>
                    <a:pt x="421" y="54"/>
                  </a:lnTo>
                  <a:lnTo>
                    <a:pt x="399" y="50"/>
                  </a:lnTo>
                  <a:lnTo>
                    <a:pt x="395" y="0"/>
                  </a:lnTo>
                  <a:lnTo>
                    <a:pt x="416" y="0"/>
                  </a:lnTo>
                  <a:lnTo>
                    <a:pt x="421" y="21"/>
                  </a:lnTo>
                  <a:lnTo>
                    <a:pt x="449" y="33"/>
                  </a:lnTo>
                  <a:lnTo>
                    <a:pt x="449" y="71"/>
                  </a:lnTo>
                  <a:lnTo>
                    <a:pt x="458" y="71"/>
                  </a:lnTo>
                  <a:lnTo>
                    <a:pt x="458" y="116"/>
                  </a:lnTo>
                  <a:lnTo>
                    <a:pt x="458" y="132"/>
                  </a:lnTo>
                  <a:lnTo>
                    <a:pt x="458" y="165"/>
                  </a:lnTo>
                  <a:lnTo>
                    <a:pt x="487" y="206"/>
                  </a:lnTo>
                  <a:lnTo>
                    <a:pt x="508" y="227"/>
                  </a:lnTo>
                  <a:lnTo>
                    <a:pt x="437" y="227"/>
                  </a:lnTo>
                  <a:lnTo>
                    <a:pt x="399" y="227"/>
                  </a:lnTo>
                  <a:lnTo>
                    <a:pt x="383" y="255"/>
                  </a:lnTo>
                  <a:lnTo>
                    <a:pt x="404" y="281"/>
                  </a:lnTo>
                  <a:lnTo>
                    <a:pt x="470" y="333"/>
                  </a:lnTo>
                  <a:lnTo>
                    <a:pt x="491" y="383"/>
                  </a:lnTo>
                  <a:lnTo>
                    <a:pt x="501" y="387"/>
                  </a:lnTo>
                  <a:lnTo>
                    <a:pt x="491" y="404"/>
                  </a:lnTo>
                  <a:lnTo>
                    <a:pt x="470" y="428"/>
                  </a:lnTo>
                  <a:lnTo>
                    <a:pt x="449" y="494"/>
                  </a:lnTo>
                  <a:lnTo>
                    <a:pt x="416" y="515"/>
                  </a:lnTo>
                  <a:lnTo>
                    <a:pt x="421" y="522"/>
                  </a:lnTo>
                  <a:lnTo>
                    <a:pt x="432" y="522"/>
                  </a:lnTo>
                  <a:lnTo>
                    <a:pt x="432" y="548"/>
                  </a:lnTo>
                  <a:lnTo>
                    <a:pt x="421" y="560"/>
                  </a:lnTo>
                  <a:lnTo>
                    <a:pt x="432" y="572"/>
                  </a:lnTo>
                  <a:lnTo>
                    <a:pt x="437" y="614"/>
                  </a:lnTo>
                  <a:lnTo>
                    <a:pt x="458" y="631"/>
                  </a:lnTo>
                  <a:lnTo>
                    <a:pt x="470" y="659"/>
                  </a:lnTo>
                  <a:lnTo>
                    <a:pt x="458" y="659"/>
                  </a:lnTo>
                  <a:lnTo>
                    <a:pt x="475" y="683"/>
                  </a:lnTo>
                  <a:lnTo>
                    <a:pt x="529" y="737"/>
                  </a:lnTo>
                  <a:lnTo>
                    <a:pt x="529" y="770"/>
                  </a:lnTo>
                  <a:lnTo>
                    <a:pt x="539" y="782"/>
                  </a:lnTo>
                  <a:lnTo>
                    <a:pt x="529" y="794"/>
                  </a:lnTo>
                  <a:lnTo>
                    <a:pt x="539" y="827"/>
                  </a:lnTo>
                  <a:lnTo>
                    <a:pt x="529" y="832"/>
                  </a:lnTo>
                  <a:lnTo>
                    <a:pt x="508" y="810"/>
                  </a:lnTo>
                  <a:lnTo>
                    <a:pt x="449" y="798"/>
                  </a:lnTo>
                  <a:lnTo>
                    <a:pt x="421" y="794"/>
                  </a:lnTo>
                  <a:lnTo>
                    <a:pt x="340" y="794"/>
                  </a:lnTo>
                  <a:lnTo>
                    <a:pt x="328" y="782"/>
                  </a:lnTo>
                  <a:lnTo>
                    <a:pt x="295" y="782"/>
                  </a:lnTo>
                  <a:lnTo>
                    <a:pt x="269" y="782"/>
                  </a:lnTo>
                  <a:lnTo>
                    <a:pt x="199" y="782"/>
                  </a:lnTo>
                  <a:lnTo>
                    <a:pt x="199" y="794"/>
                  </a:lnTo>
                  <a:lnTo>
                    <a:pt x="106" y="794"/>
                  </a:lnTo>
                  <a:lnTo>
                    <a:pt x="90" y="777"/>
                  </a:lnTo>
                  <a:lnTo>
                    <a:pt x="106" y="725"/>
                  </a:lnTo>
                  <a:lnTo>
                    <a:pt x="97" y="716"/>
                  </a:lnTo>
                  <a:lnTo>
                    <a:pt x="80" y="687"/>
                  </a:lnTo>
                  <a:lnTo>
                    <a:pt x="90" y="687"/>
                  </a:lnTo>
                  <a:lnTo>
                    <a:pt x="80" y="687"/>
                  </a:lnTo>
                  <a:lnTo>
                    <a:pt x="76" y="671"/>
                  </a:lnTo>
                  <a:lnTo>
                    <a:pt x="80" y="666"/>
                  </a:lnTo>
                  <a:lnTo>
                    <a:pt x="69" y="650"/>
                  </a:lnTo>
                  <a:lnTo>
                    <a:pt x="76" y="659"/>
                  </a:lnTo>
                  <a:lnTo>
                    <a:pt x="69" y="666"/>
                  </a:lnTo>
                  <a:lnTo>
                    <a:pt x="38" y="650"/>
                  </a:lnTo>
                  <a:lnTo>
                    <a:pt x="26" y="614"/>
                  </a:lnTo>
                  <a:lnTo>
                    <a:pt x="21" y="609"/>
                  </a:lnTo>
                  <a:lnTo>
                    <a:pt x="26" y="614"/>
                  </a:lnTo>
                  <a:lnTo>
                    <a:pt x="14" y="609"/>
                  </a:lnTo>
                  <a:lnTo>
                    <a:pt x="14" y="626"/>
                  </a:lnTo>
                  <a:lnTo>
                    <a:pt x="0" y="614"/>
                  </a:lnTo>
                  <a:lnTo>
                    <a:pt x="5" y="605"/>
                  </a:lnTo>
                  <a:lnTo>
                    <a:pt x="5" y="605"/>
                  </a:lnTo>
                  <a:lnTo>
                    <a:pt x="5" y="60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8" name="Freeform 417">
              <a:extLst>
                <a:ext uri="{FF2B5EF4-FFF2-40B4-BE49-F238E27FC236}">
                  <a16:creationId xmlns:a16="http://schemas.microsoft.com/office/drawing/2014/main" id="{7B414860-C0A1-4EBF-984A-34BCC39D43E2}"/>
                </a:ext>
              </a:extLst>
            </p:cNvPr>
            <p:cNvSpPr>
              <a:spLocks noEditPoints="1"/>
            </p:cNvSpPr>
            <p:nvPr/>
          </p:nvSpPr>
          <p:spPr bwMode="gray">
            <a:xfrm>
              <a:off x="14736529" y="4384426"/>
              <a:ext cx="30111" cy="23893"/>
            </a:xfrm>
            <a:custGeom>
              <a:avLst/>
              <a:gdLst>
                <a:gd name="T0" fmla="*/ 16 w 92"/>
                <a:gd name="T1" fmla="*/ 40 h 73"/>
                <a:gd name="T2" fmla="*/ 0 w 92"/>
                <a:gd name="T3" fmla="*/ 21 h 73"/>
                <a:gd name="T4" fmla="*/ 0 w 92"/>
                <a:gd name="T5" fmla="*/ 0 h 73"/>
                <a:gd name="T6" fmla="*/ 16 w 92"/>
                <a:gd name="T7" fmla="*/ 0 h 73"/>
                <a:gd name="T8" fmla="*/ 16 w 92"/>
                <a:gd name="T9" fmla="*/ 40 h 73"/>
                <a:gd name="T10" fmla="*/ 16 w 92"/>
                <a:gd name="T11" fmla="*/ 40 h 73"/>
                <a:gd name="T12" fmla="*/ 16 w 92"/>
                <a:gd name="T13" fmla="*/ 40 h 73"/>
                <a:gd name="T14" fmla="*/ 92 w 92"/>
                <a:gd name="T15" fmla="*/ 73 h 73"/>
                <a:gd name="T16" fmla="*/ 70 w 92"/>
                <a:gd name="T17" fmla="*/ 56 h 73"/>
                <a:gd name="T18" fmla="*/ 80 w 92"/>
                <a:gd name="T19" fmla="*/ 56 h 73"/>
                <a:gd name="T20" fmla="*/ 85 w 92"/>
                <a:gd name="T21" fmla="*/ 49 h 73"/>
                <a:gd name="T22" fmla="*/ 92 w 92"/>
                <a:gd name="T23" fmla="*/ 73 h 73"/>
                <a:gd name="T24" fmla="*/ 92 w 92"/>
                <a:gd name="T25" fmla="*/ 73 h 73"/>
                <a:gd name="T26" fmla="*/ 92 w 92"/>
                <a:gd name="T27" fmla="*/ 73 h 73"/>
                <a:gd name="T28" fmla="*/ 49 w 92"/>
                <a:gd name="T29" fmla="*/ 73 h 73"/>
                <a:gd name="T30" fmla="*/ 33 w 92"/>
                <a:gd name="T31" fmla="*/ 73 h 73"/>
                <a:gd name="T32" fmla="*/ 33 w 92"/>
                <a:gd name="T33" fmla="*/ 66 h 73"/>
                <a:gd name="T34" fmla="*/ 49 w 92"/>
                <a:gd name="T35" fmla="*/ 73 h 73"/>
                <a:gd name="T36" fmla="*/ 49 w 92"/>
                <a:gd name="T37" fmla="*/ 73 h 73"/>
                <a:gd name="T38" fmla="*/ 49 w 92"/>
                <a:gd name="T3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 h="73">
                  <a:moveTo>
                    <a:pt x="16" y="40"/>
                  </a:moveTo>
                  <a:lnTo>
                    <a:pt x="0" y="21"/>
                  </a:lnTo>
                  <a:lnTo>
                    <a:pt x="0" y="0"/>
                  </a:lnTo>
                  <a:lnTo>
                    <a:pt x="16" y="0"/>
                  </a:lnTo>
                  <a:lnTo>
                    <a:pt x="16" y="40"/>
                  </a:lnTo>
                  <a:lnTo>
                    <a:pt x="16" y="40"/>
                  </a:lnTo>
                  <a:lnTo>
                    <a:pt x="16" y="40"/>
                  </a:lnTo>
                  <a:close/>
                  <a:moveTo>
                    <a:pt x="92" y="73"/>
                  </a:moveTo>
                  <a:lnTo>
                    <a:pt x="70" y="56"/>
                  </a:lnTo>
                  <a:lnTo>
                    <a:pt x="80" y="56"/>
                  </a:lnTo>
                  <a:lnTo>
                    <a:pt x="85" y="49"/>
                  </a:lnTo>
                  <a:lnTo>
                    <a:pt x="92" y="73"/>
                  </a:lnTo>
                  <a:lnTo>
                    <a:pt x="92" y="73"/>
                  </a:lnTo>
                  <a:lnTo>
                    <a:pt x="92" y="73"/>
                  </a:lnTo>
                  <a:close/>
                  <a:moveTo>
                    <a:pt x="49" y="73"/>
                  </a:moveTo>
                  <a:lnTo>
                    <a:pt x="33" y="73"/>
                  </a:lnTo>
                  <a:lnTo>
                    <a:pt x="33" y="66"/>
                  </a:lnTo>
                  <a:lnTo>
                    <a:pt x="49" y="73"/>
                  </a:lnTo>
                  <a:lnTo>
                    <a:pt x="49" y="73"/>
                  </a:lnTo>
                  <a:lnTo>
                    <a:pt x="49" y="7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9" name="Freeform 418">
              <a:extLst>
                <a:ext uri="{FF2B5EF4-FFF2-40B4-BE49-F238E27FC236}">
                  <a16:creationId xmlns:a16="http://schemas.microsoft.com/office/drawing/2014/main" id="{642A3839-40C1-49B1-A12D-289C1810751F}"/>
                </a:ext>
              </a:extLst>
            </p:cNvPr>
            <p:cNvSpPr>
              <a:spLocks noEditPoints="1"/>
            </p:cNvSpPr>
            <p:nvPr/>
          </p:nvSpPr>
          <p:spPr bwMode="gray">
            <a:xfrm>
              <a:off x="11927669" y="3820821"/>
              <a:ext cx="280493" cy="393411"/>
            </a:xfrm>
            <a:custGeom>
              <a:avLst/>
              <a:gdLst>
                <a:gd name="T0" fmla="*/ 92 w 857"/>
                <a:gd name="T1" fmla="*/ 337 h 1202"/>
                <a:gd name="T2" fmla="*/ 134 w 857"/>
                <a:gd name="T3" fmla="*/ 321 h 1202"/>
                <a:gd name="T4" fmla="*/ 146 w 857"/>
                <a:gd name="T5" fmla="*/ 304 h 1202"/>
                <a:gd name="T6" fmla="*/ 163 w 857"/>
                <a:gd name="T7" fmla="*/ 288 h 1202"/>
                <a:gd name="T8" fmla="*/ 243 w 857"/>
                <a:gd name="T9" fmla="*/ 212 h 1202"/>
                <a:gd name="T10" fmla="*/ 269 w 857"/>
                <a:gd name="T11" fmla="*/ 122 h 1202"/>
                <a:gd name="T12" fmla="*/ 323 w 857"/>
                <a:gd name="T13" fmla="*/ 101 h 1202"/>
                <a:gd name="T14" fmla="*/ 335 w 857"/>
                <a:gd name="T15" fmla="*/ 122 h 1202"/>
                <a:gd name="T16" fmla="*/ 479 w 857"/>
                <a:gd name="T17" fmla="*/ 40 h 1202"/>
                <a:gd name="T18" fmla="*/ 496 w 857"/>
                <a:gd name="T19" fmla="*/ 11 h 1202"/>
                <a:gd name="T20" fmla="*/ 517 w 857"/>
                <a:gd name="T21" fmla="*/ 0 h 1202"/>
                <a:gd name="T22" fmla="*/ 503 w 857"/>
                <a:gd name="T23" fmla="*/ 56 h 1202"/>
                <a:gd name="T24" fmla="*/ 427 w 857"/>
                <a:gd name="T25" fmla="*/ 193 h 1202"/>
                <a:gd name="T26" fmla="*/ 441 w 857"/>
                <a:gd name="T27" fmla="*/ 245 h 1202"/>
                <a:gd name="T28" fmla="*/ 465 w 857"/>
                <a:gd name="T29" fmla="*/ 321 h 1202"/>
                <a:gd name="T30" fmla="*/ 524 w 857"/>
                <a:gd name="T31" fmla="*/ 389 h 1202"/>
                <a:gd name="T32" fmla="*/ 630 w 857"/>
                <a:gd name="T33" fmla="*/ 394 h 1202"/>
                <a:gd name="T34" fmla="*/ 701 w 857"/>
                <a:gd name="T35" fmla="*/ 448 h 1202"/>
                <a:gd name="T36" fmla="*/ 819 w 857"/>
                <a:gd name="T37" fmla="*/ 448 h 1202"/>
                <a:gd name="T38" fmla="*/ 789 w 857"/>
                <a:gd name="T39" fmla="*/ 510 h 1202"/>
                <a:gd name="T40" fmla="*/ 827 w 857"/>
                <a:gd name="T41" fmla="*/ 654 h 1202"/>
                <a:gd name="T42" fmla="*/ 836 w 857"/>
                <a:gd name="T43" fmla="*/ 732 h 1202"/>
                <a:gd name="T44" fmla="*/ 827 w 857"/>
                <a:gd name="T45" fmla="*/ 744 h 1202"/>
                <a:gd name="T46" fmla="*/ 756 w 857"/>
                <a:gd name="T47" fmla="*/ 765 h 1202"/>
                <a:gd name="T48" fmla="*/ 647 w 857"/>
                <a:gd name="T49" fmla="*/ 819 h 1202"/>
                <a:gd name="T50" fmla="*/ 685 w 857"/>
                <a:gd name="T51" fmla="*/ 852 h 1202"/>
                <a:gd name="T52" fmla="*/ 664 w 857"/>
                <a:gd name="T53" fmla="*/ 930 h 1202"/>
                <a:gd name="T54" fmla="*/ 642 w 857"/>
                <a:gd name="T55" fmla="*/ 1202 h 1202"/>
                <a:gd name="T56" fmla="*/ 630 w 857"/>
                <a:gd name="T57" fmla="*/ 1098 h 1202"/>
                <a:gd name="T58" fmla="*/ 541 w 857"/>
                <a:gd name="T59" fmla="*/ 1070 h 1202"/>
                <a:gd name="T60" fmla="*/ 479 w 857"/>
                <a:gd name="T61" fmla="*/ 1074 h 1202"/>
                <a:gd name="T62" fmla="*/ 415 w 857"/>
                <a:gd name="T63" fmla="*/ 1070 h 1202"/>
                <a:gd name="T64" fmla="*/ 411 w 857"/>
                <a:gd name="T65" fmla="*/ 1037 h 1202"/>
                <a:gd name="T66" fmla="*/ 340 w 857"/>
                <a:gd name="T67" fmla="*/ 970 h 1202"/>
                <a:gd name="T68" fmla="*/ 297 w 857"/>
                <a:gd name="T69" fmla="*/ 914 h 1202"/>
                <a:gd name="T70" fmla="*/ 215 w 857"/>
                <a:gd name="T71" fmla="*/ 876 h 1202"/>
                <a:gd name="T72" fmla="*/ 177 w 857"/>
                <a:gd name="T73" fmla="*/ 888 h 1202"/>
                <a:gd name="T74" fmla="*/ 101 w 857"/>
                <a:gd name="T75" fmla="*/ 836 h 1202"/>
                <a:gd name="T76" fmla="*/ 16 w 857"/>
                <a:gd name="T77" fmla="*/ 786 h 1202"/>
                <a:gd name="T78" fmla="*/ 38 w 857"/>
                <a:gd name="T79" fmla="*/ 760 h 1202"/>
                <a:gd name="T80" fmla="*/ 54 w 857"/>
                <a:gd name="T81" fmla="*/ 720 h 1202"/>
                <a:gd name="T82" fmla="*/ 87 w 857"/>
                <a:gd name="T83" fmla="*/ 708 h 1202"/>
                <a:gd name="T84" fmla="*/ 118 w 857"/>
                <a:gd name="T85" fmla="*/ 654 h 1202"/>
                <a:gd name="T86" fmla="*/ 125 w 857"/>
                <a:gd name="T87" fmla="*/ 616 h 1202"/>
                <a:gd name="T88" fmla="*/ 118 w 857"/>
                <a:gd name="T89" fmla="*/ 609 h 1202"/>
                <a:gd name="T90" fmla="*/ 125 w 857"/>
                <a:gd name="T91" fmla="*/ 567 h 1202"/>
                <a:gd name="T92" fmla="*/ 134 w 857"/>
                <a:gd name="T93" fmla="*/ 482 h 1202"/>
                <a:gd name="T94" fmla="*/ 125 w 857"/>
                <a:gd name="T95" fmla="*/ 427 h 1202"/>
                <a:gd name="T96" fmla="*/ 118 w 857"/>
                <a:gd name="T97" fmla="*/ 583 h 1202"/>
                <a:gd name="T98" fmla="*/ 118 w 857"/>
                <a:gd name="T99" fmla="*/ 583 h 1202"/>
                <a:gd name="T100" fmla="*/ 118 w 857"/>
                <a:gd name="T101" fmla="*/ 609 h 1202"/>
                <a:gd name="T102" fmla="*/ 118 w 857"/>
                <a:gd name="T103" fmla="*/ 666 h 1202"/>
                <a:gd name="T104" fmla="*/ 118 w 857"/>
                <a:gd name="T105" fmla="*/ 666 h 1202"/>
                <a:gd name="T106" fmla="*/ 108 w 857"/>
                <a:gd name="T107" fmla="*/ 675 h 1202"/>
                <a:gd name="T108" fmla="*/ 108 w 857"/>
                <a:gd name="T109" fmla="*/ 671 h 1202"/>
                <a:gd name="T110" fmla="*/ 87 w 857"/>
                <a:gd name="T111" fmla="*/ 708 h 1202"/>
                <a:gd name="T112" fmla="*/ 71 w 857"/>
                <a:gd name="T113" fmla="*/ 708 h 1202"/>
                <a:gd name="T114" fmla="*/ 80 w 857"/>
                <a:gd name="T115" fmla="*/ 720 h 1202"/>
                <a:gd name="T116" fmla="*/ 71 w 857"/>
                <a:gd name="T117" fmla="*/ 72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7" h="1202">
                  <a:moveTo>
                    <a:pt x="87" y="378"/>
                  </a:moveTo>
                  <a:lnTo>
                    <a:pt x="92" y="361"/>
                  </a:lnTo>
                  <a:lnTo>
                    <a:pt x="92" y="354"/>
                  </a:lnTo>
                  <a:lnTo>
                    <a:pt x="92" y="337"/>
                  </a:lnTo>
                  <a:lnTo>
                    <a:pt x="108" y="354"/>
                  </a:lnTo>
                  <a:lnTo>
                    <a:pt x="125" y="345"/>
                  </a:lnTo>
                  <a:lnTo>
                    <a:pt x="125" y="337"/>
                  </a:lnTo>
                  <a:lnTo>
                    <a:pt x="134" y="321"/>
                  </a:lnTo>
                  <a:lnTo>
                    <a:pt x="134" y="316"/>
                  </a:lnTo>
                  <a:lnTo>
                    <a:pt x="118" y="283"/>
                  </a:lnTo>
                  <a:lnTo>
                    <a:pt x="125" y="278"/>
                  </a:lnTo>
                  <a:lnTo>
                    <a:pt x="146" y="304"/>
                  </a:lnTo>
                  <a:lnTo>
                    <a:pt x="156" y="316"/>
                  </a:lnTo>
                  <a:lnTo>
                    <a:pt x="156" y="321"/>
                  </a:lnTo>
                  <a:lnTo>
                    <a:pt x="163" y="333"/>
                  </a:lnTo>
                  <a:lnTo>
                    <a:pt x="163" y="288"/>
                  </a:lnTo>
                  <a:lnTo>
                    <a:pt x="156" y="283"/>
                  </a:lnTo>
                  <a:lnTo>
                    <a:pt x="193" y="250"/>
                  </a:lnTo>
                  <a:lnTo>
                    <a:pt x="210" y="229"/>
                  </a:lnTo>
                  <a:lnTo>
                    <a:pt x="243" y="212"/>
                  </a:lnTo>
                  <a:lnTo>
                    <a:pt x="248" y="205"/>
                  </a:lnTo>
                  <a:lnTo>
                    <a:pt x="243" y="193"/>
                  </a:lnTo>
                  <a:lnTo>
                    <a:pt x="252" y="134"/>
                  </a:lnTo>
                  <a:lnTo>
                    <a:pt x="269" y="122"/>
                  </a:lnTo>
                  <a:lnTo>
                    <a:pt x="269" y="118"/>
                  </a:lnTo>
                  <a:lnTo>
                    <a:pt x="286" y="111"/>
                  </a:lnTo>
                  <a:lnTo>
                    <a:pt x="297" y="94"/>
                  </a:lnTo>
                  <a:lnTo>
                    <a:pt x="323" y="101"/>
                  </a:lnTo>
                  <a:lnTo>
                    <a:pt x="340" y="101"/>
                  </a:lnTo>
                  <a:lnTo>
                    <a:pt x="319" y="111"/>
                  </a:lnTo>
                  <a:lnTo>
                    <a:pt x="319" y="118"/>
                  </a:lnTo>
                  <a:lnTo>
                    <a:pt x="335" y="122"/>
                  </a:lnTo>
                  <a:lnTo>
                    <a:pt x="352" y="78"/>
                  </a:lnTo>
                  <a:lnTo>
                    <a:pt x="411" y="85"/>
                  </a:lnTo>
                  <a:lnTo>
                    <a:pt x="449" y="56"/>
                  </a:lnTo>
                  <a:lnTo>
                    <a:pt x="479" y="40"/>
                  </a:lnTo>
                  <a:lnTo>
                    <a:pt x="486" y="23"/>
                  </a:lnTo>
                  <a:lnTo>
                    <a:pt x="486" y="11"/>
                  </a:lnTo>
                  <a:lnTo>
                    <a:pt x="503" y="11"/>
                  </a:lnTo>
                  <a:lnTo>
                    <a:pt x="496" y="11"/>
                  </a:lnTo>
                  <a:lnTo>
                    <a:pt x="503" y="23"/>
                  </a:lnTo>
                  <a:lnTo>
                    <a:pt x="524" y="0"/>
                  </a:lnTo>
                  <a:lnTo>
                    <a:pt x="517" y="0"/>
                  </a:lnTo>
                  <a:lnTo>
                    <a:pt x="517" y="0"/>
                  </a:lnTo>
                  <a:lnTo>
                    <a:pt x="555" y="7"/>
                  </a:lnTo>
                  <a:lnTo>
                    <a:pt x="555" y="28"/>
                  </a:lnTo>
                  <a:lnTo>
                    <a:pt x="550" y="40"/>
                  </a:lnTo>
                  <a:lnTo>
                    <a:pt x="503" y="56"/>
                  </a:lnTo>
                  <a:lnTo>
                    <a:pt x="486" y="85"/>
                  </a:lnTo>
                  <a:lnTo>
                    <a:pt x="465" y="94"/>
                  </a:lnTo>
                  <a:lnTo>
                    <a:pt x="432" y="139"/>
                  </a:lnTo>
                  <a:lnTo>
                    <a:pt x="427" y="193"/>
                  </a:lnTo>
                  <a:lnTo>
                    <a:pt x="404" y="234"/>
                  </a:lnTo>
                  <a:lnTo>
                    <a:pt x="427" y="229"/>
                  </a:lnTo>
                  <a:lnTo>
                    <a:pt x="432" y="234"/>
                  </a:lnTo>
                  <a:lnTo>
                    <a:pt x="441" y="245"/>
                  </a:lnTo>
                  <a:lnTo>
                    <a:pt x="449" y="278"/>
                  </a:lnTo>
                  <a:lnTo>
                    <a:pt x="470" y="288"/>
                  </a:lnTo>
                  <a:lnTo>
                    <a:pt x="470" y="316"/>
                  </a:lnTo>
                  <a:lnTo>
                    <a:pt x="465" y="321"/>
                  </a:lnTo>
                  <a:lnTo>
                    <a:pt x="465" y="354"/>
                  </a:lnTo>
                  <a:lnTo>
                    <a:pt x="486" y="373"/>
                  </a:lnTo>
                  <a:lnTo>
                    <a:pt x="496" y="394"/>
                  </a:lnTo>
                  <a:lnTo>
                    <a:pt x="524" y="389"/>
                  </a:lnTo>
                  <a:lnTo>
                    <a:pt x="555" y="394"/>
                  </a:lnTo>
                  <a:lnTo>
                    <a:pt x="588" y="389"/>
                  </a:lnTo>
                  <a:lnTo>
                    <a:pt x="621" y="394"/>
                  </a:lnTo>
                  <a:lnTo>
                    <a:pt x="630" y="394"/>
                  </a:lnTo>
                  <a:lnTo>
                    <a:pt x="680" y="456"/>
                  </a:lnTo>
                  <a:lnTo>
                    <a:pt x="685" y="456"/>
                  </a:lnTo>
                  <a:lnTo>
                    <a:pt x="697" y="456"/>
                  </a:lnTo>
                  <a:lnTo>
                    <a:pt x="701" y="448"/>
                  </a:lnTo>
                  <a:lnTo>
                    <a:pt x="734" y="456"/>
                  </a:lnTo>
                  <a:lnTo>
                    <a:pt x="782" y="448"/>
                  </a:lnTo>
                  <a:lnTo>
                    <a:pt x="789" y="444"/>
                  </a:lnTo>
                  <a:lnTo>
                    <a:pt x="819" y="448"/>
                  </a:lnTo>
                  <a:lnTo>
                    <a:pt x="819" y="465"/>
                  </a:lnTo>
                  <a:lnTo>
                    <a:pt x="805" y="482"/>
                  </a:lnTo>
                  <a:lnTo>
                    <a:pt x="805" y="498"/>
                  </a:lnTo>
                  <a:lnTo>
                    <a:pt x="789" y="510"/>
                  </a:lnTo>
                  <a:lnTo>
                    <a:pt x="789" y="567"/>
                  </a:lnTo>
                  <a:lnTo>
                    <a:pt x="805" y="621"/>
                  </a:lnTo>
                  <a:lnTo>
                    <a:pt x="810" y="633"/>
                  </a:lnTo>
                  <a:lnTo>
                    <a:pt x="827" y="654"/>
                  </a:lnTo>
                  <a:lnTo>
                    <a:pt x="789" y="692"/>
                  </a:lnTo>
                  <a:lnTo>
                    <a:pt x="805" y="692"/>
                  </a:lnTo>
                  <a:lnTo>
                    <a:pt x="836" y="727"/>
                  </a:lnTo>
                  <a:lnTo>
                    <a:pt x="836" y="732"/>
                  </a:lnTo>
                  <a:lnTo>
                    <a:pt x="857" y="815"/>
                  </a:lnTo>
                  <a:lnTo>
                    <a:pt x="843" y="815"/>
                  </a:lnTo>
                  <a:lnTo>
                    <a:pt x="843" y="782"/>
                  </a:lnTo>
                  <a:lnTo>
                    <a:pt x="827" y="744"/>
                  </a:lnTo>
                  <a:lnTo>
                    <a:pt x="819" y="744"/>
                  </a:lnTo>
                  <a:lnTo>
                    <a:pt x="789" y="777"/>
                  </a:lnTo>
                  <a:lnTo>
                    <a:pt x="767" y="760"/>
                  </a:lnTo>
                  <a:lnTo>
                    <a:pt x="756" y="765"/>
                  </a:lnTo>
                  <a:lnTo>
                    <a:pt x="767" y="777"/>
                  </a:lnTo>
                  <a:lnTo>
                    <a:pt x="675" y="765"/>
                  </a:lnTo>
                  <a:lnTo>
                    <a:pt x="647" y="777"/>
                  </a:lnTo>
                  <a:lnTo>
                    <a:pt x="647" y="819"/>
                  </a:lnTo>
                  <a:lnTo>
                    <a:pt x="685" y="819"/>
                  </a:lnTo>
                  <a:lnTo>
                    <a:pt x="697" y="836"/>
                  </a:lnTo>
                  <a:lnTo>
                    <a:pt x="701" y="852"/>
                  </a:lnTo>
                  <a:lnTo>
                    <a:pt x="685" y="852"/>
                  </a:lnTo>
                  <a:lnTo>
                    <a:pt x="680" y="848"/>
                  </a:lnTo>
                  <a:lnTo>
                    <a:pt x="630" y="852"/>
                  </a:lnTo>
                  <a:lnTo>
                    <a:pt x="630" y="909"/>
                  </a:lnTo>
                  <a:lnTo>
                    <a:pt x="664" y="930"/>
                  </a:lnTo>
                  <a:lnTo>
                    <a:pt x="664" y="947"/>
                  </a:lnTo>
                  <a:lnTo>
                    <a:pt x="680" y="970"/>
                  </a:lnTo>
                  <a:lnTo>
                    <a:pt x="680" y="996"/>
                  </a:lnTo>
                  <a:lnTo>
                    <a:pt x="642" y="1202"/>
                  </a:lnTo>
                  <a:lnTo>
                    <a:pt x="621" y="1169"/>
                  </a:lnTo>
                  <a:lnTo>
                    <a:pt x="604" y="1181"/>
                  </a:lnTo>
                  <a:lnTo>
                    <a:pt x="588" y="1169"/>
                  </a:lnTo>
                  <a:lnTo>
                    <a:pt x="630" y="1098"/>
                  </a:lnTo>
                  <a:lnTo>
                    <a:pt x="621" y="1074"/>
                  </a:lnTo>
                  <a:lnTo>
                    <a:pt x="593" y="1074"/>
                  </a:lnTo>
                  <a:lnTo>
                    <a:pt x="578" y="1058"/>
                  </a:lnTo>
                  <a:lnTo>
                    <a:pt x="541" y="1070"/>
                  </a:lnTo>
                  <a:lnTo>
                    <a:pt x="517" y="1058"/>
                  </a:lnTo>
                  <a:lnTo>
                    <a:pt x="517" y="1053"/>
                  </a:lnTo>
                  <a:lnTo>
                    <a:pt x="503" y="1070"/>
                  </a:lnTo>
                  <a:lnTo>
                    <a:pt x="479" y="1074"/>
                  </a:lnTo>
                  <a:lnTo>
                    <a:pt x="458" y="1070"/>
                  </a:lnTo>
                  <a:lnTo>
                    <a:pt x="432" y="1074"/>
                  </a:lnTo>
                  <a:lnTo>
                    <a:pt x="432" y="1070"/>
                  </a:lnTo>
                  <a:lnTo>
                    <a:pt x="415" y="1070"/>
                  </a:lnTo>
                  <a:lnTo>
                    <a:pt x="427" y="1053"/>
                  </a:lnTo>
                  <a:lnTo>
                    <a:pt x="415" y="1025"/>
                  </a:lnTo>
                  <a:lnTo>
                    <a:pt x="415" y="1025"/>
                  </a:lnTo>
                  <a:lnTo>
                    <a:pt x="411" y="1037"/>
                  </a:lnTo>
                  <a:lnTo>
                    <a:pt x="394" y="1020"/>
                  </a:lnTo>
                  <a:lnTo>
                    <a:pt x="394" y="1013"/>
                  </a:lnTo>
                  <a:lnTo>
                    <a:pt x="389" y="996"/>
                  </a:lnTo>
                  <a:lnTo>
                    <a:pt x="340" y="970"/>
                  </a:lnTo>
                  <a:lnTo>
                    <a:pt x="335" y="942"/>
                  </a:lnTo>
                  <a:lnTo>
                    <a:pt x="307" y="926"/>
                  </a:lnTo>
                  <a:lnTo>
                    <a:pt x="302" y="909"/>
                  </a:lnTo>
                  <a:lnTo>
                    <a:pt x="297" y="914"/>
                  </a:lnTo>
                  <a:lnTo>
                    <a:pt x="269" y="904"/>
                  </a:lnTo>
                  <a:lnTo>
                    <a:pt x="269" y="909"/>
                  </a:lnTo>
                  <a:lnTo>
                    <a:pt x="231" y="893"/>
                  </a:lnTo>
                  <a:lnTo>
                    <a:pt x="215" y="876"/>
                  </a:lnTo>
                  <a:lnTo>
                    <a:pt x="201" y="869"/>
                  </a:lnTo>
                  <a:lnTo>
                    <a:pt x="189" y="869"/>
                  </a:lnTo>
                  <a:lnTo>
                    <a:pt x="189" y="876"/>
                  </a:lnTo>
                  <a:lnTo>
                    <a:pt x="177" y="888"/>
                  </a:lnTo>
                  <a:lnTo>
                    <a:pt x="125" y="869"/>
                  </a:lnTo>
                  <a:lnTo>
                    <a:pt x="118" y="852"/>
                  </a:lnTo>
                  <a:lnTo>
                    <a:pt x="101" y="848"/>
                  </a:lnTo>
                  <a:lnTo>
                    <a:pt x="101" y="836"/>
                  </a:lnTo>
                  <a:lnTo>
                    <a:pt x="87" y="836"/>
                  </a:lnTo>
                  <a:lnTo>
                    <a:pt x="71" y="831"/>
                  </a:lnTo>
                  <a:lnTo>
                    <a:pt x="26" y="798"/>
                  </a:lnTo>
                  <a:lnTo>
                    <a:pt x="16" y="786"/>
                  </a:lnTo>
                  <a:lnTo>
                    <a:pt x="0" y="782"/>
                  </a:lnTo>
                  <a:lnTo>
                    <a:pt x="16" y="765"/>
                  </a:lnTo>
                  <a:lnTo>
                    <a:pt x="38" y="777"/>
                  </a:lnTo>
                  <a:lnTo>
                    <a:pt x="38" y="760"/>
                  </a:lnTo>
                  <a:lnTo>
                    <a:pt x="33" y="744"/>
                  </a:lnTo>
                  <a:lnTo>
                    <a:pt x="38" y="727"/>
                  </a:lnTo>
                  <a:lnTo>
                    <a:pt x="49" y="720"/>
                  </a:lnTo>
                  <a:lnTo>
                    <a:pt x="54" y="720"/>
                  </a:lnTo>
                  <a:lnTo>
                    <a:pt x="64" y="720"/>
                  </a:lnTo>
                  <a:lnTo>
                    <a:pt x="80" y="720"/>
                  </a:lnTo>
                  <a:lnTo>
                    <a:pt x="80" y="704"/>
                  </a:lnTo>
                  <a:lnTo>
                    <a:pt x="87" y="708"/>
                  </a:lnTo>
                  <a:lnTo>
                    <a:pt x="92" y="708"/>
                  </a:lnTo>
                  <a:lnTo>
                    <a:pt x="92" y="704"/>
                  </a:lnTo>
                  <a:lnTo>
                    <a:pt x="118" y="666"/>
                  </a:lnTo>
                  <a:lnTo>
                    <a:pt x="118" y="654"/>
                  </a:lnTo>
                  <a:lnTo>
                    <a:pt x="139" y="633"/>
                  </a:lnTo>
                  <a:lnTo>
                    <a:pt x="146" y="616"/>
                  </a:lnTo>
                  <a:lnTo>
                    <a:pt x="134" y="621"/>
                  </a:lnTo>
                  <a:lnTo>
                    <a:pt x="125" y="616"/>
                  </a:lnTo>
                  <a:lnTo>
                    <a:pt x="134" y="609"/>
                  </a:lnTo>
                  <a:lnTo>
                    <a:pt x="134" y="600"/>
                  </a:lnTo>
                  <a:lnTo>
                    <a:pt x="125" y="616"/>
                  </a:lnTo>
                  <a:lnTo>
                    <a:pt x="118" y="609"/>
                  </a:lnTo>
                  <a:lnTo>
                    <a:pt x="118" y="600"/>
                  </a:lnTo>
                  <a:lnTo>
                    <a:pt x="134" y="593"/>
                  </a:lnTo>
                  <a:lnTo>
                    <a:pt x="118" y="583"/>
                  </a:lnTo>
                  <a:lnTo>
                    <a:pt x="125" y="567"/>
                  </a:lnTo>
                  <a:lnTo>
                    <a:pt x="125" y="522"/>
                  </a:lnTo>
                  <a:lnTo>
                    <a:pt x="118" y="505"/>
                  </a:lnTo>
                  <a:lnTo>
                    <a:pt x="108" y="498"/>
                  </a:lnTo>
                  <a:lnTo>
                    <a:pt x="134" y="482"/>
                  </a:lnTo>
                  <a:lnTo>
                    <a:pt x="118" y="448"/>
                  </a:lnTo>
                  <a:lnTo>
                    <a:pt x="118" y="444"/>
                  </a:lnTo>
                  <a:lnTo>
                    <a:pt x="118" y="448"/>
                  </a:lnTo>
                  <a:lnTo>
                    <a:pt x="125" y="427"/>
                  </a:lnTo>
                  <a:lnTo>
                    <a:pt x="87" y="378"/>
                  </a:lnTo>
                  <a:lnTo>
                    <a:pt x="87" y="378"/>
                  </a:lnTo>
                  <a:lnTo>
                    <a:pt x="87" y="378"/>
                  </a:lnTo>
                  <a:close/>
                  <a:moveTo>
                    <a:pt x="118" y="583"/>
                  </a:moveTo>
                  <a:lnTo>
                    <a:pt x="125" y="593"/>
                  </a:lnTo>
                  <a:lnTo>
                    <a:pt x="108" y="593"/>
                  </a:lnTo>
                  <a:lnTo>
                    <a:pt x="118" y="583"/>
                  </a:lnTo>
                  <a:lnTo>
                    <a:pt x="118" y="583"/>
                  </a:lnTo>
                  <a:lnTo>
                    <a:pt x="118" y="583"/>
                  </a:lnTo>
                  <a:close/>
                  <a:moveTo>
                    <a:pt x="108" y="600"/>
                  </a:moveTo>
                  <a:lnTo>
                    <a:pt x="118" y="600"/>
                  </a:lnTo>
                  <a:lnTo>
                    <a:pt x="118" y="609"/>
                  </a:lnTo>
                  <a:lnTo>
                    <a:pt x="108" y="600"/>
                  </a:lnTo>
                  <a:lnTo>
                    <a:pt x="108" y="600"/>
                  </a:lnTo>
                  <a:lnTo>
                    <a:pt x="108" y="600"/>
                  </a:lnTo>
                  <a:close/>
                  <a:moveTo>
                    <a:pt x="118" y="666"/>
                  </a:moveTo>
                  <a:lnTo>
                    <a:pt x="108" y="666"/>
                  </a:lnTo>
                  <a:lnTo>
                    <a:pt x="118" y="666"/>
                  </a:lnTo>
                  <a:lnTo>
                    <a:pt x="118" y="666"/>
                  </a:lnTo>
                  <a:lnTo>
                    <a:pt x="118" y="666"/>
                  </a:lnTo>
                  <a:lnTo>
                    <a:pt x="118" y="666"/>
                  </a:lnTo>
                  <a:close/>
                  <a:moveTo>
                    <a:pt x="108" y="671"/>
                  </a:moveTo>
                  <a:lnTo>
                    <a:pt x="108" y="666"/>
                  </a:lnTo>
                  <a:lnTo>
                    <a:pt x="108" y="675"/>
                  </a:lnTo>
                  <a:lnTo>
                    <a:pt x="101" y="675"/>
                  </a:lnTo>
                  <a:lnTo>
                    <a:pt x="108" y="671"/>
                  </a:lnTo>
                  <a:lnTo>
                    <a:pt x="108" y="671"/>
                  </a:lnTo>
                  <a:lnTo>
                    <a:pt x="108" y="671"/>
                  </a:lnTo>
                  <a:close/>
                  <a:moveTo>
                    <a:pt x="87" y="708"/>
                  </a:moveTo>
                  <a:lnTo>
                    <a:pt x="87" y="704"/>
                  </a:lnTo>
                  <a:lnTo>
                    <a:pt x="92" y="708"/>
                  </a:lnTo>
                  <a:lnTo>
                    <a:pt x="87" y="708"/>
                  </a:lnTo>
                  <a:lnTo>
                    <a:pt x="87" y="708"/>
                  </a:lnTo>
                  <a:lnTo>
                    <a:pt x="87" y="708"/>
                  </a:lnTo>
                  <a:close/>
                  <a:moveTo>
                    <a:pt x="80" y="720"/>
                  </a:moveTo>
                  <a:lnTo>
                    <a:pt x="71" y="708"/>
                  </a:lnTo>
                  <a:lnTo>
                    <a:pt x="80" y="704"/>
                  </a:lnTo>
                  <a:lnTo>
                    <a:pt x="80" y="720"/>
                  </a:lnTo>
                  <a:lnTo>
                    <a:pt x="80" y="720"/>
                  </a:lnTo>
                  <a:lnTo>
                    <a:pt x="80" y="720"/>
                  </a:lnTo>
                  <a:close/>
                  <a:moveTo>
                    <a:pt x="71" y="720"/>
                  </a:moveTo>
                  <a:lnTo>
                    <a:pt x="64" y="708"/>
                  </a:lnTo>
                  <a:lnTo>
                    <a:pt x="71" y="708"/>
                  </a:lnTo>
                  <a:lnTo>
                    <a:pt x="71" y="720"/>
                  </a:lnTo>
                  <a:lnTo>
                    <a:pt x="71" y="720"/>
                  </a:lnTo>
                  <a:lnTo>
                    <a:pt x="71" y="72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0" name="Freeform 419">
              <a:extLst>
                <a:ext uri="{FF2B5EF4-FFF2-40B4-BE49-F238E27FC236}">
                  <a16:creationId xmlns:a16="http://schemas.microsoft.com/office/drawing/2014/main" id="{4AE62755-6058-422A-A276-A4D8C8821B59}"/>
                </a:ext>
              </a:extLst>
            </p:cNvPr>
            <p:cNvSpPr>
              <a:spLocks noEditPoints="1"/>
            </p:cNvSpPr>
            <p:nvPr/>
          </p:nvSpPr>
          <p:spPr bwMode="gray">
            <a:xfrm>
              <a:off x="17073427" y="3751107"/>
              <a:ext cx="18656" cy="29457"/>
            </a:xfrm>
            <a:custGeom>
              <a:avLst/>
              <a:gdLst>
                <a:gd name="T0" fmla="*/ 52 w 57"/>
                <a:gd name="T1" fmla="*/ 10 h 90"/>
                <a:gd name="T2" fmla="*/ 52 w 57"/>
                <a:gd name="T3" fmla="*/ 10 h 90"/>
                <a:gd name="T4" fmla="*/ 57 w 57"/>
                <a:gd name="T5" fmla="*/ 0 h 90"/>
                <a:gd name="T6" fmla="*/ 52 w 57"/>
                <a:gd name="T7" fmla="*/ 10 h 90"/>
                <a:gd name="T8" fmla="*/ 52 w 57"/>
                <a:gd name="T9" fmla="*/ 10 h 90"/>
                <a:gd name="T10" fmla="*/ 52 w 57"/>
                <a:gd name="T11" fmla="*/ 10 h 90"/>
                <a:gd name="T12" fmla="*/ 45 w 57"/>
                <a:gd name="T13" fmla="*/ 28 h 90"/>
                <a:gd name="T14" fmla="*/ 33 w 57"/>
                <a:gd name="T15" fmla="*/ 17 h 90"/>
                <a:gd name="T16" fmla="*/ 45 w 57"/>
                <a:gd name="T17" fmla="*/ 10 h 90"/>
                <a:gd name="T18" fmla="*/ 45 w 57"/>
                <a:gd name="T19" fmla="*/ 28 h 90"/>
                <a:gd name="T20" fmla="*/ 45 w 57"/>
                <a:gd name="T21" fmla="*/ 28 h 90"/>
                <a:gd name="T22" fmla="*/ 45 w 57"/>
                <a:gd name="T23" fmla="*/ 28 h 90"/>
                <a:gd name="T24" fmla="*/ 12 w 57"/>
                <a:gd name="T25" fmla="*/ 90 h 90"/>
                <a:gd name="T26" fmla="*/ 0 w 57"/>
                <a:gd name="T27" fmla="*/ 83 h 90"/>
                <a:gd name="T28" fmla="*/ 17 w 57"/>
                <a:gd name="T29" fmla="*/ 83 h 90"/>
                <a:gd name="T30" fmla="*/ 12 w 57"/>
                <a:gd name="T31" fmla="*/ 90 h 90"/>
                <a:gd name="T32" fmla="*/ 12 w 57"/>
                <a:gd name="T33" fmla="*/ 90 h 90"/>
                <a:gd name="T34" fmla="*/ 12 w 57"/>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90">
                  <a:moveTo>
                    <a:pt x="52" y="10"/>
                  </a:moveTo>
                  <a:lnTo>
                    <a:pt x="52" y="10"/>
                  </a:lnTo>
                  <a:lnTo>
                    <a:pt x="57" y="0"/>
                  </a:lnTo>
                  <a:lnTo>
                    <a:pt x="52" y="10"/>
                  </a:lnTo>
                  <a:lnTo>
                    <a:pt x="52" y="10"/>
                  </a:lnTo>
                  <a:lnTo>
                    <a:pt x="52" y="10"/>
                  </a:lnTo>
                  <a:close/>
                  <a:moveTo>
                    <a:pt x="45" y="28"/>
                  </a:moveTo>
                  <a:lnTo>
                    <a:pt x="33" y="17"/>
                  </a:lnTo>
                  <a:lnTo>
                    <a:pt x="45" y="10"/>
                  </a:lnTo>
                  <a:lnTo>
                    <a:pt x="45" y="28"/>
                  </a:lnTo>
                  <a:lnTo>
                    <a:pt x="45" y="28"/>
                  </a:lnTo>
                  <a:lnTo>
                    <a:pt x="45" y="28"/>
                  </a:lnTo>
                  <a:close/>
                  <a:moveTo>
                    <a:pt x="12" y="90"/>
                  </a:moveTo>
                  <a:lnTo>
                    <a:pt x="0" y="83"/>
                  </a:lnTo>
                  <a:lnTo>
                    <a:pt x="17" y="83"/>
                  </a:lnTo>
                  <a:lnTo>
                    <a:pt x="12" y="90"/>
                  </a:lnTo>
                  <a:lnTo>
                    <a:pt x="12" y="90"/>
                  </a:lnTo>
                  <a:lnTo>
                    <a:pt x="12" y="9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1" name="Freeform 420">
              <a:extLst>
                <a:ext uri="{FF2B5EF4-FFF2-40B4-BE49-F238E27FC236}">
                  <a16:creationId xmlns:a16="http://schemas.microsoft.com/office/drawing/2014/main" id="{05D39E5A-CD8A-431B-B670-679582A6E50A}"/>
                </a:ext>
              </a:extLst>
            </p:cNvPr>
            <p:cNvSpPr>
              <a:spLocks/>
            </p:cNvSpPr>
            <p:nvPr/>
          </p:nvSpPr>
          <p:spPr bwMode="gray">
            <a:xfrm>
              <a:off x="11772858" y="3847659"/>
              <a:ext cx="75933" cy="75933"/>
            </a:xfrm>
            <a:custGeom>
              <a:avLst/>
              <a:gdLst>
                <a:gd name="T0" fmla="*/ 232 w 232"/>
                <a:gd name="T1" fmla="*/ 121 h 232"/>
                <a:gd name="T2" fmla="*/ 232 w 232"/>
                <a:gd name="T3" fmla="*/ 128 h 232"/>
                <a:gd name="T4" fmla="*/ 215 w 232"/>
                <a:gd name="T5" fmla="*/ 121 h 232"/>
                <a:gd name="T6" fmla="*/ 206 w 232"/>
                <a:gd name="T7" fmla="*/ 128 h 232"/>
                <a:gd name="T8" fmla="*/ 206 w 232"/>
                <a:gd name="T9" fmla="*/ 161 h 232"/>
                <a:gd name="T10" fmla="*/ 222 w 232"/>
                <a:gd name="T11" fmla="*/ 166 h 232"/>
                <a:gd name="T12" fmla="*/ 206 w 232"/>
                <a:gd name="T13" fmla="*/ 182 h 232"/>
                <a:gd name="T14" fmla="*/ 215 w 232"/>
                <a:gd name="T15" fmla="*/ 199 h 232"/>
                <a:gd name="T16" fmla="*/ 201 w 232"/>
                <a:gd name="T17" fmla="*/ 215 h 232"/>
                <a:gd name="T18" fmla="*/ 206 w 232"/>
                <a:gd name="T19" fmla="*/ 215 h 232"/>
                <a:gd name="T20" fmla="*/ 206 w 232"/>
                <a:gd name="T21" fmla="*/ 232 h 232"/>
                <a:gd name="T22" fmla="*/ 206 w 232"/>
                <a:gd name="T23" fmla="*/ 220 h 232"/>
                <a:gd name="T24" fmla="*/ 189 w 232"/>
                <a:gd name="T25" fmla="*/ 203 h 232"/>
                <a:gd name="T26" fmla="*/ 201 w 232"/>
                <a:gd name="T27" fmla="*/ 203 h 232"/>
                <a:gd name="T28" fmla="*/ 189 w 232"/>
                <a:gd name="T29" fmla="*/ 194 h 232"/>
                <a:gd name="T30" fmla="*/ 180 w 232"/>
                <a:gd name="T31" fmla="*/ 182 h 232"/>
                <a:gd name="T32" fmla="*/ 168 w 232"/>
                <a:gd name="T33" fmla="*/ 182 h 232"/>
                <a:gd name="T34" fmla="*/ 185 w 232"/>
                <a:gd name="T35" fmla="*/ 199 h 232"/>
                <a:gd name="T36" fmla="*/ 185 w 232"/>
                <a:gd name="T37" fmla="*/ 203 h 232"/>
                <a:gd name="T38" fmla="*/ 151 w 232"/>
                <a:gd name="T39" fmla="*/ 194 h 232"/>
                <a:gd name="T40" fmla="*/ 163 w 232"/>
                <a:gd name="T41" fmla="*/ 177 h 232"/>
                <a:gd name="T42" fmla="*/ 163 w 232"/>
                <a:gd name="T43" fmla="*/ 161 h 232"/>
                <a:gd name="T44" fmla="*/ 114 w 232"/>
                <a:gd name="T45" fmla="*/ 128 h 232"/>
                <a:gd name="T46" fmla="*/ 92 w 232"/>
                <a:gd name="T47" fmla="*/ 121 h 232"/>
                <a:gd name="T48" fmla="*/ 81 w 232"/>
                <a:gd name="T49" fmla="*/ 95 h 232"/>
                <a:gd name="T50" fmla="*/ 43 w 232"/>
                <a:gd name="T51" fmla="*/ 83 h 232"/>
                <a:gd name="T52" fmla="*/ 43 w 232"/>
                <a:gd name="T53" fmla="*/ 88 h 232"/>
                <a:gd name="T54" fmla="*/ 71 w 232"/>
                <a:gd name="T55" fmla="*/ 104 h 232"/>
                <a:gd name="T56" fmla="*/ 55 w 232"/>
                <a:gd name="T57" fmla="*/ 121 h 232"/>
                <a:gd name="T58" fmla="*/ 38 w 232"/>
                <a:gd name="T59" fmla="*/ 104 h 232"/>
                <a:gd name="T60" fmla="*/ 17 w 232"/>
                <a:gd name="T61" fmla="*/ 95 h 232"/>
                <a:gd name="T62" fmla="*/ 0 w 232"/>
                <a:gd name="T63" fmla="*/ 66 h 232"/>
                <a:gd name="T64" fmla="*/ 22 w 232"/>
                <a:gd name="T65" fmla="*/ 50 h 232"/>
                <a:gd name="T66" fmla="*/ 17 w 232"/>
                <a:gd name="T67" fmla="*/ 33 h 232"/>
                <a:gd name="T68" fmla="*/ 0 w 232"/>
                <a:gd name="T69" fmla="*/ 29 h 232"/>
                <a:gd name="T70" fmla="*/ 17 w 232"/>
                <a:gd name="T71" fmla="*/ 29 h 232"/>
                <a:gd name="T72" fmla="*/ 17 w 232"/>
                <a:gd name="T73" fmla="*/ 17 h 232"/>
                <a:gd name="T74" fmla="*/ 22 w 232"/>
                <a:gd name="T75" fmla="*/ 0 h 232"/>
                <a:gd name="T76" fmla="*/ 71 w 232"/>
                <a:gd name="T77" fmla="*/ 29 h 232"/>
                <a:gd name="T78" fmla="*/ 81 w 232"/>
                <a:gd name="T79" fmla="*/ 17 h 232"/>
                <a:gd name="T80" fmla="*/ 135 w 232"/>
                <a:gd name="T81" fmla="*/ 38 h 232"/>
                <a:gd name="T82" fmla="*/ 151 w 232"/>
                <a:gd name="T83" fmla="*/ 33 h 232"/>
                <a:gd name="T84" fmla="*/ 163 w 232"/>
                <a:gd name="T85" fmla="*/ 29 h 232"/>
                <a:gd name="T86" fmla="*/ 180 w 232"/>
                <a:gd name="T87" fmla="*/ 71 h 232"/>
                <a:gd name="T88" fmla="*/ 222 w 232"/>
                <a:gd name="T89" fmla="*/ 121 h 232"/>
                <a:gd name="T90" fmla="*/ 232 w 232"/>
                <a:gd name="T91" fmla="*/ 121 h 232"/>
                <a:gd name="T92" fmla="*/ 232 w 232"/>
                <a:gd name="T93" fmla="*/ 121 h 232"/>
                <a:gd name="T94" fmla="*/ 232 w 232"/>
                <a:gd name="T95" fmla="*/ 12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2" h="232">
                  <a:moveTo>
                    <a:pt x="232" y="121"/>
                  </a:moveTo>
                  <a:lnTo>
                    <a:pt x="232" y="128"/>
                  </a:lnTo>
                  <a:lnTo>
                    <a:pt x="215" y="121"/>
                  </a:lnTo>
                  <a:lnTo>
                    <a:pt x="206" y="128"/>
                  </a:lnTo>
                  <a:lnTo>
                    <a:pt x="206" y="161"/>
                  </a:lnTo>
                  <a:lnTo>
                    <a:pt x="222" y="166"/>
                  </a:lnTo>
                  <a:lnTo>
                    <a:pt x="206" y="182"/>
                  </a:lnTo>
                  <a:lnTo>
                    <a:pt x="215" y="199"/>
                  </a:lnTo>
                  <a:lnTo>
                    <a:pt x="201" y="215"/>
                  </a:lnTo>
                  <a:lnTo>
                    <a:pt x="206" y="215"/>
                  </a:lnTo>
                  <a:lnTo>
                    <a:pt x="206" y="232"/>
                  </a:lnTo>
                  <a:lnTo>
                    <a:pt x="206" y="220"/>
                  </a:lnTo>
                  <a:lnTo>
                    <a:pt x="189" y="203"/>
                  </a:lnTo>
                  <a:lnTo>
                    <a:pt x="201" y="203"/>
                  </a:lnTo>
                  <a:lnTo>
                    <a:pt x="189" y="194"/>
                  </a:lnTo>
                  <a:lnTo>
                    <a:pt x="180" y="182"/>
                  </a:lnTo>
                  <a:lnTo>
                    <a:pt x="168" y="182"/>
                  </a:lnTo>
                  <a:lnTo>
                    <a:pt x="185" y="199"/>
                  </a:lnTo>
                  <a:lnTo>
                    <a:pt x="185" y="203"/>
                  </a:lnTo>
                  <a:lnTo>
                    <a:pt x="151" y="194"/>
                  </a:lnTo>
                  <a:lnTo>
                    <a:pt x="163" y="177"/>
                  </a:lnTo>
                  <a:lnTo>
                    <a:pt x="163" y="161"/>
                  </a:lnTo>
                  <a:lnTo>
                    <a:pt x="114" y="128"/>
                  </a:lnTo>
                  <a:lnTo>
                    <a:pt x="92" y="121"/>
                  </a:lnTo>
                  <a:lnTo>
                    <a:pt x="81" y="95"/>
                  </a:lnTo>
                  <a:lnTo>
                    <a:pt x="43" y="83"/>
                  </a:lnTo>
                  <a:lnTo>
                    <a:pt x="43" y="88"/>
                  </a:lnTo>
                  <a:lnTo>
                    <a:pt x="71" y="104"/>
                  </a:lnTo>
                  <a:lnTo>
                    <a:pt x="55" y="121"/>
                  </a:lnTo>
                  <a:lnTo>
                    <a:pt x="38" y="104"/>
                  </a:lnTo>
                  <a:lnTo>
                    <a:pt x="17" y="95"/>
                  </a:lnTo>
                  <a:lnTo>
                    <a:pt x="0" y="66"/>
                  </a:lnTo>
                  <a:lnTo>
                    <a:pt x="22" y="50"/>
                  </a:lnTo>
                  <a:lnTo>
                    <a:pt x="17" y="33"/>
                  </a:lnTo>
                  <a:lnTo>
                    <a:pt x="0" y="29"/>
                  </a:lnTo>
                  <a:lnTo>
                    <a:pt x="17" y="29"/>
                  </a:lnTo>
                  <a:lnTo>
                    <a:pt x="17" y="17"/>
                  </a:lnTo>
                  <a:lnTo>
                    <a:pt x="22" y="0"/>
                  </a:lnTo>
                  <a:lnTo>
                    <a:pt x="71" y="29"/>
                  </a:lnTo>
                  <a:lnTo>
                    <a:pt x="81" y="17"/>
                  </a:lnTo>
                  <a:lnTo>
                    <a:pt x="135" y="38"/>
                  </a:lnTo>
                  <a:lnTo>
                    <a:pt x="151" y="33"/>
                  </a:lnTo>
                  <a:lnTo>
                    <a:pt x="163" y="29"/>
                  </a:lnTo>
                  <a:lnTo>
                    <a:pt x="180" y="71"/>
                  </a:lnTo>
                  <a:lnTo>
                    <a:pt x="222" y="121"/>
                  </a:lnTo>
                  <a:lnTo>
                    <a:pt x="232" y="121"/>
                  </a:lnTo>
                  <a:lnTo>
                    <a:pt x="232" y="121"/>
                  </a:lnTo>
                  <a:lnTo>
                    <a:pt x="232" y="12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2" name="Freeform 421">
              <a:extLst>
                <a:ext uri="{FF2B5EF4-FFF2-40B4-BE49-F238E27FC236}">
                  <a16:creationId xmlns:a16="http://schemas.microsoft.com/office/drawing/2014/main" id="{FD881E87-9575-4654-B113-ED462CAC4A55}"/>
                </a:ext>
              </a:extLst>
            </p:cNvPr>
            <p:cNvSpPr>
              <a:spLocks/>
            </p:cNvSpPr>
            <p:nvPr/>
          </p:nvSpPr>
          <p:spPr bwMode="gray">
            <a:xfrm>
              <a:off x="14075390" y="3853223"/>
              <a:ext cx="299804" cy="206524"/>
            </a:xfrm>
            <a:custGeom>
              <a:avLst/>
              <a:gdLst>
                <a:gd name="T0" fmla="*/ 416 w 916"/>
                <a:gd name="T1" fmla="*/ 453 h 631"/>
                <a:gd name="T2" fmla="*/ 345 w 916"/>
                <a:gd name="T3" fmla="*/ 427 h 631"/>
                <a:gd name="T4" fmla="*/ 302 w 916"/>
                <a:gd name="T5" fmla="*/ 482 h 631"/>
                <a:gd name="T6" fmla="*/ 302 w 916"/>
                <a:gd name="T7" fmla="*/ 510 h 631"/>
                <a:gd name="T8" fmla="*/ 286 w 916"/>
                <a:gd name="T9" fmla="*/ 531 h 631"/>
                <a:gd name="T10" fmla="*/ 260 w 916"/>
                <a:gd name="T11" fmla="*/ 536 h 631"/>
                <a:gd name="T12" fmla="*/ 236 w 916"/>
                <a:gd name="T13" fmla="*/ 536 h 631"/>
                <a:gd name="T14" fmla="*/ 205 w 916"/>
                <a:gd name="T15" fmla="*/ 536 h 631"/>
                <a:gd name="T16" fmla="*/ 144 w 916"/>
                <a:gd name="T17" fmla="*/ 572 h 631"/>
                <a:gd name="T18" fmla="*/ 123 w 916"/>
                <a:gd name="T19" fmla="*/ 631 h 631"/>
                <a:gd name="T20" fmla="*/ 113 w 916"/>
                <a:gd name="T21" fmla="*/ 588 h 631"/>
                <a:gd name="T22" fmla="*/ 42 w 916"/>
                <a:gd name="T23" fmla="*/ 510 h 631"/>
                <a:gd name="T24" fmla="*/ 42 w 916"/>
                <a:gd name="T25" fmla="*/ 482 h 631"/>
                <a:gd name="T26" fmla="*/ 16 w 916"/>
                <a:gd name="T27" fmla="*/ 420 h 631"/>
                <a:gd name="T28" fmla="*/ 16 w 916"/>
                <a:gd name="T29" fmla="*/ 399 h 631"/>
                <a:gd name="T30" fmla="*/ 5 w 916"/>
                <a:gd name="T31" fmla="*/ 371 h 631"/>
                <a:gd name="T32" fmla="*/ 31 w 916"/>
                <a:gd name="T33" fmla="*/ 342 h 631"/>
                <a:gd name="T34" fmla="*/ 75 w 916"/>
                <a:gd name="T35" fmla="*/ 255 h 631"/>
                <a:gd name="T36" fmla="*/ 139 w 916"/>
                <a:gd name="T37" fmla="*/ 243 h 631"/>
                <a:gd name="T38" fmla="*/ 151 w 916"/>
                <a:gd name="T39" fmla="*/ 238 h 631"/>
                <a:gd name="T40" fmla="*/ 220 w 916"/>
                <a:gd name="T41" fmla="*/ 222 h 631"/>
                <a:gd name="T42" fmla="*/ 328 w 916"/>
                <a:gd name="T43" fmla="*/ 177 h 631"/>
                <a:gd name="T44" fmla="*/ 323 w 916"/>
                <a:gd name="T45" fmla="*/ 149 h 631"/>
                <a:gd name="T46" fmla="*/ 394 w 916"/>
                <a:gd name="T47" fmla="*/ 132 h 631"/>
                <a:gd name="T48" fmla="*/ 425 w 916"/>
                <a:gd name="T49" fmla="*/ 127 h 631"/>
                <a:gd name="T50" fmla="*/ 479 w 916"/>
                <a:gd name="T51" fmla="*/ 78 h 631"/>
                <a:gd name="T52" fmla="*/ 501 w 916"/>
                <a:gd name="T53" fmla="*/ 66 h 631"/>
                <a:gd name="T54" fmla="*/ 508 w 916"/>
                <a:gd name="T55" fmla="*/ 33 h 631"/>
                <a:gd name="T56" fmla="*/ 593 w 916"/>
                <a:gd name="T57" fmla="*/ 12 h 631"/>
                <a:gd name="T58" fmla="*/ 647 w 916"/>
                <a:gd name="T59" fmla="*/ 90 h 631"/>
                <a:gd name="T60" fmla="*/ 642 w 916"/>
                <a:gd name="T61" fmla="*/ 132 h 631"/>
                <a:gd name="T62" fmla="*/ 642 w 916"/>
                <a:gd name="T63" fmla="*/ 149 h 631"/>
                <a:gd name="T64" fmla="*/ 685 w 916"/>
                <a:gd name="T65" fmla="*/ 168 h 631"/>
                <a:gd name="T66" fmla="*/ 685 w 916"/>
                <a:gd name="T67" fmla="*/ 184 h 631"/>
                <a:gd name="T68" fmla="*/ 723 w 916"/>
                <a:gd name="T69" fmla="*/ 205 h 631"/>
                <a:gd name="T70" fmla="*/ 760 w 916"/>
                <a:gd name="T71" fmla="*/ 234 h 631"/>
                <a:gd name="T72" fmla="*/ 756 w 916"/>
                <a:gd name="T73" fmla="*/ 255 h 631"/>
                <a:gd name="T74" fmla="*/ 810 w 916"/>
                <a:gd name="T75" fmla="*/ 293 h 631"/>
                <a:gd name="T76" fmla="*/ 841 w 916"/>
                <a:gd name="T77" fmla="*/ 316 h 631"/>
                <a:gd name="T78" fmla="*/ 848 w 916"/>
                <a:gd name="T79" fmla="*/ 349 h 631"/>
                <a:gd name="T80" fmla="*/ 869 w 916"/>
                <a:gd name="T81" fmla="*/ 366 h 631"/>
                <a:gd name="T82" fmla="*/ 902 w 916"/>
                <a:gd name="T83" fmla="*/ 399 h 631"/>
                <a:gd name="T84" fmla="*/ 916 w 916"/>
                <a:gd name="T85" fmla="*/ 437 h 631"/>
                <a:gd name="T86" fmla="*/ 869 w 916"/>
                <a:gd name="T87" fmla="*/ 437 h 631"/>
                <a:gd name="T88" fmla="*/ 848 w 916"/>
                <a:gd name="T89" fmla="*/ 437 h 631"/>
                <a:gd name="T90" fmla="*/ 810 w 916"/>
                <a:gd name="T91" fmla="*/ 420 h 631"/>
                <a:gd name="T92" fmla="*/ 772 w 916"/>
                <a:gd name="T93" fmla="*/ 411 h 631"/>
                <a:gd name="T94" fmla="*/ 723 w 916"/>
                <a:gd name="T95" fmla="*/ 444 h 631"/>
                <a:gd name="T96" fmla="*/ 701 w 916"/>
                <a:gd name="T97" fmla="*/ 437 h 631"/>
                <a:gd name="T98" fmla="*/ 631 w 916"/>
                <a:gd name="T99" fmla="*/ 465 h 631"/>
                <a:gd name="T100" fmla="*/ 576 w 916"/>
                <a:gd name="T101" fmla="*/ 477 h 631"/>
                <a:gd name="T102" fmla="*/ 572 w 916"/>
                <a:gd name="T103" fmla="*/ 494 h 631"/>
                <a:gd name="T104" fmla="*/ 517 w 916"/>
                <a:gd name="T105" fmla="*/ 494 h 631"/>
                <a:gd name="T106" fmla="*/ 463 w 916"/>
                <a:gd name="T107" fmla="*/ 477 h 631"/>
                <a:gd name="T108" fmla="*/ 425 w 916"/>
                <a:gd name="T109" fmla="*/ 465 h 631"/>
                <a:gd name="T110" fmla="*/ 425 w 916"/>
                <a:gd name="T111" fmla="*/ 465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16" h="631">
                  <a:moveTo>
                    <a:pt x="425" y="465"/>
                  </a:moveTo>
                  <a:lnTo>
                    <a:pt x="416" y="453"/>
                  </a:lnTo>
                  <a:lnTo>
                    <a:pt x="378" y="427"/>
                  </a:lnTo>
                  <a:lnTo>
                    <a:pt x="345" y="427"/>
                  </a:lnTo>
                  <a:lnTo>
                    <a:pt x="323" y="444"/>
                  </a:lnTo>
                  <a:lnTo>
                    <a:pt x="302" y="482"/>
                  </a:lnTo>
                  <a:lnTo>
                    <a:pt x="290" y="482"/>
                  </a:lnTo>
                  <a:lnTo>
                    <a:pt x="302" y="510"/>
                  </a:lnTo>
                  <a:lnTo>
                    <a:pt x="290" y="548"/>
                  </a:lnTo>
                  <a:lnTo>
                    <a:pt x="286" y="531"/>
                  </a:lnTo>
                  <a:lnTo>
                    <a:pt x="260" y="548"/>
                  </a:lnTo>
                  <a:lnTo>
                    <a:pt x="260" y="536"/>
                  </a:lnTo>
                  <a:lnTo>
                    <a:pt x="236" y="536"/>
                  </a:lnTo>
                  <a:lnTo>
                    <a:pt x="236" y="536"/>
                  </a:lnTo>
                  <a:lnTo>
                    <a:pt x="215" y="531"/>
                  </a:lnTo>
                  <a:lnTo>
                    <a:pt x="205" y="536"/>
                  </a:lnTo>
                  <a:lnTo>
                    <a:pt x="151" y="536"/>
                  </a:lnTo>
                  <a:lnTo>
                    <a:pt x="144" y="572"/>
                  </a:lnTo>
                  <a:lnTo>
                    <a:pt x="144" y="593"/>
                  </a:lnTo>
                  <a:lnTo>
                    <a:pt x="123" y="631"/>
                  </a:lnTo>
                  <a:lnTo>
                    <a:pt x="113" y="621"/>
                  </a:lnTo>
                  <a:lnTo>
                    <a:pt x="113" y="588"/>
                  </a:lnTo>
                  <a:lnTo>
                    <a:pt x="59" y="531"/>
                  </a:lnTo>
                  <a:lnTo>
                    <a:pt x="42" y="510"/>
                  </a:lnTo>
                  <a:lnTo>
                    <a:pt x="54" y="510"/>
                  </a:lnTo>
                  <a:lnTo>
                    <a:pt x="42" y="482"/>
                  </a:lnTo>
                  <a:lnTo>
                    <a:pt x="21" y="465"/>
                  </a:lnTo>
                  <a:lnTo>
                    <a:pt x="16" y="420"/>
                  </a:lnTo>
                  <a:lnTo>
                    <a:pt x="5" y="411"/>
                  </a:lnTo>
                  <a:lnTo>
                    <a:pt x="16" y="399"/>
                  </a:lnTo>
                  <a:lnTo>
                    <a:pt x="16" y="371"/>
                  </a:lnTo>
                  <a:lnTo>
                    <a:pt x="5" y="371"/>
                  </a:lnTo>
                  <a:lnTo>
                    <a:pt x="0" y="366"/>
                  </a:lnTo>
                  <a:lnTo>
                    <a:pt x="31" y="342"/>
                  </a:lnTo>
                  <a:lnTo>
                    <a:pt x="54" y="276"/>
                  </a:lnTo>
                  <a:lnTo>
                    <a:pt x="75" y="255"/>
                  </a:lnTo>
                  <a:lnTo>
                    <a:pt x="106" y="255"/>
                  </a:lnTo>
                  <a:lnTo>
                    <a:pt x="139" y="243"/>
                  </a:lnTo>
                  <a:lnTo>
                    <a:pt x="151" y="234"/>
                  </a:lnTo>
                  <a:lnTo>
                    <a:pt x="151" y="238"/>
                  </a:lnTo>
                  <a:lnTo>
                    <a:pt x="168" y="255"/>
                  </a:lnTo>
                  <a:lnTo>
                    <a:pt x="220" y="222"/>
                  </a:lnTo>
                  <a:lnTo>
                    <a:pt x="290" y="217"/>
                  </a:lnTo>
                  <a:lnTo>
                    <a:pt x="328" y="177"/>
                  </a:lnTo>
                  <a:lnTo>
                    <a:pt x="312" y="160"/>
                  </a:lnTo>
                  <a:lnTo>
                    <a:pt x="323" y="149"/>
                  </a:lnTo>
                  <a:lnTo>
                    <a:pt x="383" y="144"/>
                  </a:lnTo>
                  <a:lnTo>
                    <a:pt x="394" y="132"/>
                  </a:lnTo>
                  <a:lnTo>
                    <a:pt x="416" y="144"/>
                  </a:lnTo>
                  <a:lnTo>
                    <a:pt x="425" y="127"/>
                  </a:lnTo>
                  <a:lnTo>
                    <a:pt x="449" y="123"/>
                  </a:lnTo>
                  <a:lnTo>
                    <a:pt x="479" y="78"/>
                  </a:lnTo>
                  <a:lnTo>
                    <a:pt x="486" y="78"/>
                  </a:lnTo>
                  <a:lnTo>
                    <a:pt x="501" y="66"/>
                  </a:lnTo>
                  <a:lnTo>
                    <a:pt x="508" y="57"/>
                  </a:lnTo>
                  <a:lnTo>
                    <a:pt x="508" y="33"/>
                  </a:lnTo>
                  <a:lnTo>
                    <a:pt x="562" y="0"/>
                  </a:lnTo>
                  <a:lnTo>
                    <a:pt x="593" y="12"/>
                  </a:lnTo>
                  <a:lnTo>
                    <a:pt x="626" y="40"/>
                  </a:lnTo>
                  <a:lnTo>
                    <a:pt x="647" y="90"/>
                  </a:lnTo>
                  <a:lnTo>
                    <a:pt x="647" y="127"/>
                  </a:lnTo>
                  <a:lnTo>
                    <a:pt x="642" y="132"/>
                  </a:lnTo>
                  <a:lnTo>
                    <a:pt x="631" y="144"/>
                  </a:lnTo>
                  <a:lnTo>
                    <a:pt x="642" y="149"/>
                  </a:lnTo>
                  <a:lnTo>
                    <a:pt x="642" y="168"/>
                  </a:lnTo>
                  <a:lnTo>
                    <a:pt x="685" y="168"/>
                  </a:lnTo>
                  <a:lnTo>
                    <a:pt x="697" y="177"/>
                  </a:lnTo>
                  <a:lnTo>
                    <a:pt x="685" y="184"/>
                  </a:lnTo>
                  <a:lnTo>
                    <a:pt x="685" y="201"/>
                  </a:lnTo>
                  <a:lnTo>
                    <a:pt x="723" y="205"/>
                  </a:lnTo>
                  <a:lnTo>
                    <a:pt x="751" y="234"/>
                  </a:lnTo>
                  <a:lnTo>
                    <a:pt x="760" y="234"/>
                  </a:lnTo>
                  <a:lnTo>
                    <a:pt x="760" y="243"/>
                  </a:lnTo>
                  <a:lnTo>
                    <a:pt x="756" y="255"/>
                  </a:lnTo>
                  <a:lnTo>
                    <a:pt x="756" y="255"/>
                  </a:lnTo>
                  <a:lnTo>
                    <a:pt x="810" y="293"/>
                  </a:lnTo>
                  <a:lnTo>
                    <a:pt x="815" y="300"/>
                  </a:lnTo>
                  <a:lnTo>
                    <a:pt x="841" y="316"/>
                  </a:lnTo>
                  <a:lnTo>
                    <a:pt x="831" y="333"/>
                  </a:lnTo>
                  <a:lnTo>
                    <a:pt x="848" y="349"/>
                  </a:lnTo>
                  <a:lnTo>
                    <a:pt x="841" y="354"/>
                  </a:lnTo>
                  <a:lnTo>
                    <a:pt x="869" y="366"/>
                  </a:lnTo>
                  <a:lnTo>
                    <a:pt x="895" y="383"/>
                  </a:lnTo>
                  <a:lnTo>
                    <a:pt x="902" y="399"/>
                  </a:lnTo>
                  <a:lnTo>
                    <a:pt x="902" y="411"/>
                  </a:lnTo>
                  <a:lnTo>
                    <a:pt x="916" y="437"/>
                  </a:lnTo>
                  <a:lnTo>
                    <a:pt x="886" y="420"/>
                  </a:lnTo>
                  <a:lnTo>
                    <a:pt x="869" y="437"/>
                  </a:lnTo>
                  <a:lnTo>
                    <a:pt x="864" y="427"/>
                  </a:lnTo>
                  <a:lnTo>
                    <a:pt x="848" y="437"/>
                  </a:lnTo>
                  <a:lnTo>
                    <a:pt x="827" y="420"/>
                  </a:lnTo>
                  <a:lnTo>
                    <a:pt x="810" y="420"/>
                  </a:lnTo>
                  <a:lnTo>
                    <a:pt x="777" y="411"/>
                  </a:lnTo>
                  <a:lnTo>
                    <a:pt x="772" y="411"/>
                  </a:lnTo>
                  <a:lnTo>
                    <a:pt x="760" y="437"/>
                  </a:lnTo>
                  <a:lnTo>
                    <a:pt x="723" y="444"/>
                  </a:lnTo>
                  <a:lnTo>
                    <a:pt x="701" y="427"/>
                  </a:lnTo>
                  <a:lnTo>
                    <a:pt x="701" y="437"/>
                  </a:lnTo>
                  <a:lnTo>
                    <a:pt x="642" y="460"/>
                  </a:lnTo>
                  <a:lnTo>
                    <a:pt x="631" y="465"/>
                  </a:lnTo>
                  <a:lnTo>
                    <a:pt x="593" y="453"/>
                  </a:lnTo>
                  <a:lnTo>
                    <a:pt x="576" y="477"/>
                  </a:lnTo>
                  <a:lnTo>
                    <a:pt x="572" y="477"/>
                  </a:lnTo>
                  <a:lnTo>
                    <a:pt x="572" y="494"/>
                  </a:lnTo>
                  <a:lnTo>
                    <a:pt x="555" y="498"/>
                  </a:lnTo>
                  <a:lnTo>
                    <a:pt x="517" y="494"/>
                  </a:lnTo>
                  <a:lnTo>
                    <a:pt x="479" y="494"/>
                  </a:lnTo>
                  <a:lnTo>
                    <a:pt x="463" y="477"/>
                  </a:lnTo>
                  <a:lnTo>
                    <a:pt x="432" y="482"/>
                  </a:lnTo>
                  <a:lnTo>
                    <a:pt x="425" y="465"/>
                  </a:lnTo>
                  <a:lnTo>
                    <a:pt x="425" y="465"/>
                  </a:lnTo>
                  <a:lnTo>
                    <a:pt x="425" y="46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3" name="Freeform 422">
              <a:extLst>
                <a:ext uri="{FF2B5EF4-FFF2-40B4-BE49-F238E27FC236}">
                  <a16:creationId xmlns:a16="http://schemas.microsoft.com/office/drawing/2014/main" id="{8F1C60BF-29A7-481A-B898-0E74AC487441}"/>
                </a:ext>
              </a:extLst>
            </p:cNvPr>
            <p:cNvSpPr>
              <a:spLocks noEditPoints="1"/>
            </p:cNvSpPr>
            <p:nvPr/>
          </p:nvSpPr>
          <p:spPr bwMode="gray">
            <a:xfrm>
              <a:off x="11795441" y="3557020"/>
              <a:ext cx="247436" cy="84443"/>
            </a:xfrm>
            <a:custGeom>
              <a:avLst/>
              <a:gdLst>
                <a:gd name="T0" fmla="*/ 685 w 756"/>
                <a:gd name="T1" fmla="*/ 241 h 258"/>
                <a:gd name="T2" fmla="*/ 605 w 756"/>
                <a:gd name="T3" fmla="*/ 241 h 258"/>
                <a:gd name="T4" fmla="*/ 545 w 756"/>
                <a:gd name="T5" fmla="*/ 217 h 258"/>
                <a:gd name="T6" fmla="*/ 475 w 756"/>
                <a:gd name="T7" fmla="*/ 196 h 258"/>
                <a:gd name="T8" fmla="*/ 432 w 756"/>
                <a:gd name="T9" fmla="*/ 123 h 258"/>
                <a:gd name="T10" fmla="*/ 314 w 756"/>
                <a:gd name="T11" fmla="*/ 95 h 258"/>
                <a:gd name="T12" fmla="*/ 281 w 756"/>
                <a:gd name="T13" fmla="*/ 90 h 258"/>
                <a:gd name="T14" fmla="*/ 243 w 756"/>
                <a:gd name="T15" fmla="*/ 83 h 258"/>
                <a:gd name="T16" fmla="*/ 227 w 756"/>
                <a:gd name="T17" fmla="*/ 57 h 258"/>
                <a:gd name="T18" fmla="*/ 151 w 756"/>
                <a:gd name="T19" fmla="*/ 40 h 258"/>
                <a:gd name="T20" fmla="*/ 59 w 756"/>
                <a:gd name="T21" fmla="*/ 95 h 258"/>
                <a:gd name="T22" fmla="*/ 28 w 756"/>
                <a:gd name="T23" fmla="*/ 95 h 258"/>
                <a:gd name="T24" fmla="*/ 28 w 756"/>
                <a:gd name="T25" fmla="*/ 90 h 258"/>
                <a:gd name="T26" fmla="*/ 54 w 756"/>
                <a:gd name="T27" fmla="*/ 50 h 258"/>
                <a:gd name="T28" fmla="*/ 189 w 756"/>
                <a:gd name="T29" fmla="*/ 0 h 258"/>
                <a:gd name="T30" fmla="*/ 260 w 756"/>
                <a:gd name="T31" fmla="*/ 0 h 258"/>
                <a:gd name="T32" fmla="*/ 297 w 756"/>
                <a:gd name="T33" fmla="*/ 12 h 258"/>
                <a:gd name="T34" fmla="*/ 368 w 756"/>
                <a:gd name="T35" fmla="*/ 33 h 258"/>
                <a:gd name="T36" fmla="*/ 444 w 756"/>
                <a:gd name="T37" fmla="*/ 66 h 258"/>
                <a:gd name="T38" fmla="*/ 524 w 756"/>
                <a:gd name="T39" fmla="*/ 111 h 258"/>
                <a:gd name="T40" fmla="*/ 508 w 756"/>
                <a:gd name="T41" fmla="*/ 106 h 258"/>
                <a:gd name="T42" fmla="*/ 545 w 756"/>
                <a:gd name="T43" fmla="*/ 123 h 258"/>
                <a:gd name="T44" fmla="*/ 545 w 756"/>
                <a:gd name="T45" fmla="*/ 123 h 258"/>
                <a:gd name="T46" fmla="*/ 567 w 756"/>
                <a:gd name="T47" fmla="*/ 140 h 258"/>
                <a:gd name="T48" fmla="*/ 595 w 756"/>
                <a:gd name="T49" fmla="*/ 151 h 258"/>
                <a:gd name="T50" fmla="*/ 621 w 756"/>
                <a:gd name="T51" fmla="*/ 163 h 258"/>
                <a:gd name="T52" fmla="*/ 647 w 756"/>
                <a:gd name="T53" fmla="*/ 180 h 258"/>
                <a:gd name="T54" fmla="*/ 701 w 756"/>
                <a:gd name="T55" fmla="*/ 196 h 258"/>
                <a:gd name="T56" fmla="*/ 744 w 756"/>
                <a:gd name="T57" fmla="*/ 241 h 258"/>
                <a:gd name="T58" fmla="*/ 685 w 756"/>
                <a:gd name="T59" fmla="*/ 253 h 258"/>
                <a:gd name="T60" fmla="*/ 437 w 756"/>
                <a:gd name="T61" fmla="*/ 50 h 258"/>
                <a:gd name="T62" fmla="*/ 453 w 756"/>
                <a:gd name="T63" fmla="*/ 57 h 258"/>
                <a:gd name="T64" fmla="*/ 486 w 756"/>
                <a:gd name="T65" fmla="*/ 73 h 258"/>
                <a:gd name="T66" fmla="*/ 486 w 756"/>
                <a:gd name="T67" fmla="*/ 73 h 258"/>
                <a:gd name="T68" fmla="*/ 491 w 756"/>
                <a:gd name="T69" fmla="*/ 83 h 258"/>
                <a:gd name="T70" fmla="*/ 491 w 756"/>
                <a:gd name="T71" fmla="*/ 73 h 258"/>
                <a:gd name="T72" fmla="*/ 491 w 756"/>
                <a:gd name="T73" fmla="*/ 83 h 258"/>
                <a:gd name="T74" fmla="*/ 508 w 756"/>
                <a:gd name="T75" fmla="*/ 90 h 258"/>
                <a:gd name="T76" fmla="*/ 508 w 756"/>
                <a:gd name="T77" fmla="*/ 95 h 258"/>
                <a:gd name="T78" fmla="*/ 120 w 756"/>
                <a:gd name="T79" fmla="*/ 123 h 258"/>
                <a:gd name="T80" fmla="*/ 130 w 756"/>
                <a:gd name="T81" fmla="*/ 106 h 258"/>
                <a:gd name="T82" fmla="*/ 168 w 756"/>
                <a:gd name="T83" fmla="*/ 123 h 258"/>
                <a:gd name="T84" fmla="*/ 134 w 756"/>
                <a:gd name="T85" fmla="*/ 14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6" h="258">
                  <a:moveTo>
                    <a:pt x="685" y="253"/>
                  </a:moveTo>
                  <a:lnTo>
                    <a:pt x="685" y="253"/>
                  </a:lnTo>
                  <a:lnTo>
                    <a:pt x="685" y="241"/>
                  </a:lnTo>
                  <a:lnTo>
                    <a:pt x="685" y="253"/>
                  </a:lnTo>
                  <a:lnTo>
                    <a:pt x="675" y="253"/>
                  </a:lnTo>
                  <a:lnTo>
                    <a:pt x="605" y="241"/>
                  </a:lnTo>
                  <a:lnTo>
                    <a:pt x="496" y="258"/>
                  </a:lnTo>
                  <a:lnTo>
                    <a:pt x="512" y="241"/>
                  </a:lnTo>
                  <a:lnTo>
                    <a:pt x="545" y="217"/>
                  </a:lnTo>
                  <a:lnTo>
                    <a:pt x="545" y="208"/>
                  </a:lnTo>
                  <a:lnTo>
                    <a:pt x="541" y="196"/>
                  </a:lnTo>
                  <a:lnTo>
                    <a:pt x="475" y="196"/>
                  </a:lnTo>
                  <a:lnTo>
                    <a:pt x="444" y="168"/>
                  </a:lnTo>
                  <a:lnTo>
                    <a:pt x="437" y="128"/>
                  </a:lnTo>
                  <a:lnTo>
                    <a:pt x="432" y="123"/>
                  </a:lnTo>
                  <a:lnTo>
                    <a:pt x="399" y="128"/>
                  </a:lnTo>
                  <a:lnTo>
                    <a:pt x="345" y="111"/>
                  </a:lnTo>
                  <a:lnTo>
                    <a:pt x="314" y="95"/>
                  </a:lnTo>
                  <a:lnTo>
                    <a:pt x="307" y="83"/>
                  </a:lnTo>
                  <a:lnTo>
                    <a:pt x="297" y="90"/>
                  </a:lnTo>
                  <a:lnTo>
                    <a:pt x="281" y="90"/>
                  </a:lnTo>
                  <a:lnTo>
                    <a:pt x="260" y="83"/>
                  </a:lnTo>
                  <a:lnTo>
                    <a:pt x="243" y="90"/>
                  </a:lnTo>
                  <a:lnTo>
                    <a:pt x="243" y="83"/>
                  </a:lnTo>
                  <a:lnTo>
                    <a:pt x="217" y="83"/>
                  </a:lnTo>
                  <a:lnTo>
                    <a:pt x="189" y="66"/>
                  </a:lnTo>
                  <a:lnTo>
                    <a:pt x="227" y="57"/>
                  </a:lnTo>
                  <a:lnTo>
                    <a:pt x="227" y="50"/>
                  </a:lnTo>
                  <a:lnTo>
                    <a:pt x="217" y="40"/>
                  </a:lnTo>
                  <a:lnTo>
                    <a:pt x="151" y="40"/>
                  </a:lnTo>
                  <a:lnTo>
                    <a:pt x="108" y="73"/>
                  </a:lnTo>
                  <a:lnTo>
                    <a:pt x="66" y="83"/>
                  </a:lnTo>
                  <a:lnTo>
                    <a:pt x="59" y="95"/>
                  </a:lnTo>
                  <a:lnTo>
                    <a:pt x="45" y="95"/>
                  </a:lnTo>
                  <a:lnTo>
                    <a:pt x="28" y="111"/>
                  </a:lnTo>
                  <a:lnTo>
                    <a:pt x="28" y="95"/>
                  </a:lnTo>
                  <a:lnTo>
                    <a:pt x="7" y="106"/>
                  </a:lnTo>
                  <a:lnTo>
                    <a:pt x="0" y="106"/>
                  </a:lnTo>
                  <a:lnTo>
                    <a:pt x="28" y="90"/>
                  </a:lnTo>
                  <a:lnTo>
                    <a:pt x="38" y="90"/>
                  </a:lnTo>
                  <a:lnTo>
                    <a:pt x="28" y="73"/>
                  </a:lnTo>
                  <a:lnTo>
                    <a:pt x="54" y="50"/>
                  </a:lnTo>
                  <a:lnTo>
                    <a:pt x="113" y="17"/>
                  </a:lnTo>
                  <a:lnTo>
                    <a:pt x="134" y="17"/>
                  </a:lnTo>
                  <a:lnTo>
                    <a:pt x="189" y="0"/>
                  </a:lnTo>
                  <a:lnTo>
                    <a:pt x="227" y="0"/>
                  </a:lnTo>
                  <a:lnTo>
                    <a:pt x="238" y="12"/>
                  </a:lnTo>
                  <a:lnTo>
                    <a:pt x="260" y="0"/>
                  </a:lnTo>
                  <a:lnTo>
                    <a:pt x="255" y="12"/>
                  </a:lnTo>
                  <a:lnTo>
                    <a:pt x="260" y="17"/>
                  </a:lnTo>
                  <a:lnTo>
                    <a:pt x="297" y="12"/>
                  </a:lnTo>
                  <a:lnTo>
                    <a:pt x="323" y="21"/>
                  </a:lnTo>
                  <a:lnTo>
                    <a:pt x="335" y="17"/>
                  </a:lnTo>
                  <a:lnTo>
                    <a:pt x="368" y="33"/>
                  </a:lnTo>
                  <a:lnTo>
                    <a:pt x="390" y="66"/>
                  </a:lnTo>
                  <a:lnTo>
                    <a:pt x="420" y="66"/>
                  </a:lnTo>
                  <a:lnTo>
                    <a:pt x="444" y="66"/>
                  </a:lnTo>
                  <a:lnTo>
                    <a:pt x="475" y="90"/>
                  </a:lnTo>
                  <a:lnTo>
                    <a:pt x="496" y="106"/>
                  </a:lnTo>
                  <a:lnTo>
                    <a:pt x="524" y="111"/>
                  </a:lnTo>
                  <a:lnTo>
                    <a:pt x="524" y="123"/>
                  </a:lnTo>
                  <a:lnTo>
                    <a:pt x="529" y="123"/>
                  </a:lnTo>
                  <a:lnTo>
                    <a:pt x="508" y="106"/>
                  </a:lnTo>
                  <a:lnTo>
                    <a:pt x="512" y="95"/>
                  </a:lnTo>
                  <a:lnTo>
                    <a:pt x="545" y="123"/>
                  </a:lnTo>
                  <a:lnTo>
                    <a:pt x="545" y="123"/>
                  </a:lnTo>
                  <a:lnTo>
                    <a:pt x="529" y="123"/>
                  </a:lnTo>
                  <a:lnTo>
                    <a:pt x="541" y="128"/>
                  </a:lnTo>
                  <a:lnTo>
                    <a:pt x="545" y="123"/>
                  </a:lnTo>
                  <a:lnTo>
                    <a:pt x="562" y="140"/>
                  </a:lnTo>
                  <a:lnTo>
                    <a:pt x="562" y="147"/>
                  </a:lnTo>
                  <a:lnTo>
                    <a:pt x="567" y="140"/>
                  </a:lnTo>
                  <a:lnTo>
                    <a:pt x="579" y="147"/>
                  </a:lnTo>
                  <a:lnTo>
                    <a:pt x="583" y="151"/>
                  </a:lnTo>
                  <a:lnTo>
                    <a:pt x="595" y="151"/>
                  </a:lnTo>
                  <a:lnTo>
                    <a:pt x="595" y="147"/>
                  </a:lnTo>
                  <a:lnTo>
                    <a:pt x="600" y="147"/>
                  </a:lnTo>
                  <a:lnTo>
                    <a:pt x="621" y="163"/>
                  </a:lnTo>
                  <a:lnTo>
                    <a:pt x="647" y="163"/>
                  </a:lnTo>
                  <a:lnTo>
                    <a:pt x="654" y="168"/>
                  </a:lnTo>
                  <a:lnTo>
                    <a:pt x="647" y="180"/>
                  </a:lnTo>
                  <a:lnTo>
                    <a:pt x="638" y="184"/>
                  </a:lnTo>
                  <a:lnTo>
                    <a:pt x="638" y="196"/>
                  </a:lnTo>
                  <a:lnTo>
                    <a:pt x="701" y="196"/>
                  </a:lnTo>
                  <a:lnTo>
                    <a:pt x="730" y="217"/>
                  </a:lnTo>
                  <a:lnTo>
                    <a:pt x="756" y="225"/>
                  </a:lnTo>
                  <a:lnTo>
                    <a:pt x="744" y="241"/>
                  </a:lnTo>
                  <a:lnTo>
                    <a:pt x="706" y="241"/>
                  </a:lnTo>
                  <a:lnTo>
                    <a:pt x="685" y="253"/>
                  </a:lnTo>
                  <a:lnTo>
                    <a:pt x="685" y="253"/>
                  </a:lnTo>
                  <a:lnTo>
                    <a:pt x="685" y="253"/>
                  </a:lnTo>
                  <a:close/>
                  <a:moveTo>
                    <a:pt x="453" y="57"/>
                  </a:moveTo>
                  <a:lnTo>
                    <a:pt x="437" y="50"/>
                  </a:lnTo>
                  <a:lnTo>
                    <a:pt x="453" y="50"/>
                  </a:lnTo>
                  <a:lnTo>
                    <a:pt x="458" y="57"/>
                  </a:lnTo>
                  <a:lnTo>
                    <a:pt x="453" y="57"/>
                  </a:lnTo>
                  <a:lnTo>
                    <a:pt x="453" y="57"/>
                  </a:lnTo>
                  <a:lnTo>
                    <a:pt x="453" y="57"/>
                  </a:lnTo>
                  <a:close/>
                  <a:moveTo>
                    <a:pt x="486" y="73"/>
                  </a:moveTo>
                  <a:lnTo>
                    <a:pt x="458" y="57"/>
                  </a:lnTo>
                  <a:lnTo>
                    <a:pt x="475" y="57"/>
                  </a:lnTo>
                  <a:lnTo>
                    <a:pt x="486" y="73"/>
                  </a:lnTo>
                  <a:lnTo>
                    <a:pt x="486" y="73"/>
                  </a:lnTo>
                  <a:lnTo>
                    <a:pt x="486" y="73"/>
                  </a:lnTo>
                  <a:close/>
                  <a:moveTo>
                    <a:pt x="491" y="83"/>
                  </a:moveTo>
                  <a:lnTo>
                    <a:pt x="475" y="83"/>
                  </a:lnTo>
                  <a:lnTo>
                    <a:pt x="486" y="73"/>
                  </a:lnTo>
                  <a:lnTo>
                    <a:pt x="491" y="73"/>
                  </a:lnTo>
                  <a:lnTo>
                    <a:pt x="491" y="83"/>
                  </a:lnTo>
                  <a:lnTo>
                    <a:pt x="491" y="83"/>
                  </a:lnTo>
                  <a:lnTo>
                    <a:pt x="491" y="83"/>
                  </a:lnTo>
                  <a:close/>
                  <a:moveTo>
                    <a:pt x="508" y="95"/>
                  </a:moveTo>
                  <a:lnTo>
                    <a:pt x="486" y="83"/>
                  </a:lnTo>
                  <a:lnTo>
                    <a:pt x="508" y="90"/>
                  </a:lnTo>
                  <a:lnTo>
                    <a:pt x="508" y="95"/>
                  </a:lnTo>
                  <a:lnTo>
                    <a:pt x="508" y="95"/>
                  </a:lnTo>
                  <a:lnTo>
                    <a:pt x="508" y="95"/>
                  </a:lnTo>
                  <a:close/>
                  <a:moveTo>
                    <a:pt x="134" y="140"/>
                  </a:moveTo>
                  <a:lnTo>
                    <a:pt x="130" y="140"/>
                  </a:lnTo>
                  <a:lnTo>
                    <a:pt x="120" y="123"/>
                  </a:lnTo>
                  <a:lnTo>
                    <a:pt x="130" y="128"/>
                  </a:lnTo>
                  <a:lnTo>
                    <a:pt x="134" y="123"/>
                  </a:lnTo>
                  <a:lnTo>
                    <a:pt x="130" y="106"/>
                  </a:lnTo>
                  <a:lnTo>
                    <a:pt x="134" y="95"/>
                  </a:lnTo>
                  <a:lnTo>
                    <a:pt x="151" y="95"/>
                  </a:lnTo>
                  <a:lnTo>
                    <a:pt x="168" y="123"/>
                  </a:lnTo>
                  <a:lnTo>
                    <a:pt x="134" y="140"/>
                  </a:lnTo>
                  <a:lnTo>
                    <a:pt x="134" y="140"/>
                  </a:lnTo>
                  <a:lnTo>
                    <a:pt x="134" y="14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4" name="Freeform 423">
              <a:extLst>
                <a:ext uri="{FF2B5EF4-FFF2-40B4-BE49-F238E27FC236}">
                  <a16:creationId xmlns:a16="http://schemas.microsoft.com/office/drawing/2014/main" id="{A565FCD7-4748-4A87-B0A8-1AF44C4FC38F}"/>
                </a:ext>
              </a:extLst>
            </p:cNvPr>
            <p:cNvSpPr>
              <a:spLocks noEditPoints="1"/>
            </p:cNvSpPr>
            <p:nvPr/>
          </p:nvSpPr>
          <p:spPr bwMode="gray">
            <a:xfrm>
              <a:off x="13163869" y="3705612"/>
              <a:ext cx="60223" cy="56295"/>
            </a:xfrm>
            <a:custGeom>
              <a:avLst/>
              <a:gdLst>
                <a:gd name="T0" fmla="*/ 0 w 184"/>
                <a:gd name="T1" fmla="*/ 19 h 172"/>
                <a:gd name="T2" fmla="*/ 0 w 184"/>
                <a:gd name="T3" fmla="*/ 7 h 172"/>
                <a:gd name="T4" fmla="*/ 16 w 184"/>
                <a:gd name="T5" fmla="*/ 0 h 172"/>
                <a:gd name="T6" fmla="*/ 21 w 184"/>
                <a:gd name="T7" fmla="*/ 7 h 172"/>
                <a:gd name="T8" fmla="*/ 0 w 184"/>
                <a:gd name="T9" fmla="*/ 19 h 172"/>
                <a:gd name="T10" fmla="*/ 0 w 184"/>
                <a:gd name="T11" fmla="*/ 19 h 172"/>
                <a:gd name="T12" fmla="*/ 0 w 184"/>
                <a:gd name="T13" fmla="*/ 19 h 172"/>
                <a:gd name="T14" fmla="*/ 21 w 184"/>
                <a:gd name="T15" fmla="*/ 28 h 172"/>
                <a:gd name="T16" fmla="*/ 16 w 184"/>
                <a:gd name="T17" fmla="*/ 23 h 172"/>
                <a:gd name="T18" fmla="*/ 21 w 184"/>
                <a:gd name="T19" fmla="*/ 19 h 172"/>
                <a:gd name="T20" fmla="*/ 33 w 184"/>
                <a:gd name="T21" fmla="*/ 23 h 172"/>
                <a:gd name="T22" fmla="*/ 21 w 184"/>
                <a:gd name="T23" fmla="*/ 28 h 172"/>
                <a:gd name="T24" fmla="*/ 21 w 184"/>
                <a:gd name="T25" fmla="*/ 28 h 172"/>
                <a:gd name="T26" fmla="*/ 21 w 184"/>
                <a:gd name="T27" fmla="*/ 28 h 172"/>
                <a:gd name="T28" fmla="*/ 71 w 184"/>
                <a:gd name="T29" fmla="*/ 45 h 172"/>
                <a:gd name="T30" fmla="*/ 59 w 184"/>
                <a:gd name="T31" fmla="*/ 40 h 172"/>
                <a:gd name="T32" fmla="*/ 92 w 184"/>
                <a:gd name="T33" fmla="*/ 45 h 172"/>
                <a:gd name="T34" fmla="*/ 71 w 184"/>
                <a:gd name="T35" fmla="*/ 40 h 172"/>
                <a:gd name="T36" fmla="*/ 71 w 184"/>
                <a:gd name="T37" fmla="*/ 45 h 172"/>
                <a:gd name="T38" fmla="*/ 71 w 184"/>
                <a:gd name="T39" fmla="*/ 45 h 172"/>
                <a:gd name="T40" fmla="*/ 71 w 184"/>
                <a:gd name="T41" fmla="*/ 45 h 172"/>
                <a:gd name="T42" fmla="*/ 179 w 184"/>
                <a:gd name="T43" fmla="*/ 85 h 172"/>
                <a:gd name="T44" fmla="*/ 163 w 184"/>
                <a:gd name="T45" fmla="*/ 85 h 172"/>
                <a:gd name="T46" fmla="*/ 179 w 184"/>
                <a:gd name="T47" fmla="*/ 73 h 172"/>
                <a:gd name="T48" fmla="*/ 184 w 184"/>
                <a:gd name="T49" fmla="*/ 78 h 172"/>
                <a:gd name="T50" fmla="*/ 179 w 184"/>
                <a:gd name="T51" fmla="*/ 85 h 172"/>
                <a:gd name="T52" fmla="*/ 179 w 184"/>
                <a:gd name="T53" fmla="*/ 85 h 172"/>
                <a:gd name="T54" fmla="*/ 179 w 184"/>
                <a:gd name="T55" fmla="*/ 85 h 172"/>
                <a:gd name="T56" fmla="*/ 125 w 184"/>
                <a:gd name="T57" fmla="*/ 167 h 172"/>
                <a:gd name="T58" fmla="*/ 109 w 184"/>
                <a:gd name="T59" fmla="*/ 156 h 172"/>
                <a:gd name="T60" fmla="*/ 118 w 184"/>
                <a:gd name="T61" fmla="*/ 139 h 172"/>
                <a:gd name="T62" fmla="*/ 130 w 184"/>
                <a:gd name="T63" fmla="*/ 156 h 172"/>
                <a:gd name="T64" fmla="*/ 125 w 184"/>
                <a:gd name="T65" fmla="*/ 167 h 172"/>
                <a:gd name="T66" fmla="*/ 125 w 184"/>
                <a:gd name="T67" fmla="*/ 167 h 172"/>
                <a:gd name="T68" fmla="*/ 125 w 184"/>
                <a:gd name="T69" fmla="*/ 167 h 172"/>
                <a:gd name="T70" fmla="*/ 59 w 184"/>
                <a:gd name="T71" fmla="*/ 172 h 172"/>
                <a:gd name="T72" fmla="*/ 54 w 184"/>
                <a:gd name="T73" fmla="*/ 167 h 172"/>
                <a:gd name="T74" fmla="*/ 59 w 184"/>
                <a:gd name="T75" fmla="*/ 156 h 172"/>
                <a:gd name="T76" fmla="*/ 71 w 184"/>
                <a:gd name="T77" fmla="*/ 167 h 172"/>
                <a:gd name="T78" fmla="*/ 59 w 184"/>
                <a:gd name="T79" fmla="*/ 172 h 172"/>
                <a:gd name="T80" fmla="*/ 59 w 184"/>
                <a:gd name="T81" fmla="*/ 172 h 172"/>
                <a:gd name="T82" fmla="*/ 59 w 184"/>
                <a:gd name="T8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4" h="172">
                  <a:moveTo>
                    <a:pt x="0" y="19"/>
                  </a:moveTo>
                  <a:lnTo>
                    <a:pt x="0" y="7"/>
                  </a:lnTo>
                  <a:lnTo>
                    <a:pt x="16" y="0"/>
                  </a:lnTo>
                  <a:lnTo>
                    <a:pt x="21" y="7"/>
                  </a:lnTo>
                  <a:lnTo>
                    <a:pt x="0" y="19"/>
                  </a:lnTo>
                  <a:lnTo>
                    <a:pt x="0" y="19"/>
                  </a:lnTo>
                  <a:lnTo>
                    <a:pt x="0" y="19"/>
                  </a:lnTo>
                  <a:close/>
                  <a:moveTo>
                    <a:pt x="21" y="28"/>
                  </a:moveTo>
                  <a:lnTo>
                    <a:pt x="16" y="23"/>
                  </a:lnTo>
                  <a:lnTo>
                    <a:pt x="21" y="19"/>
                  </a:lnTo>
                  <a:lnTo>
                    <a:pt x="33" y="23"/>
                  </a:lnTo>
                  <a:lnTo>
                    <a:pt x="21" y="28"/>
                  </a:lnTo>
                  <a:lnTo>
                    <a:pt x="21" y="28"/>
                  </a:lnTo>
                  <a:lnTo>
                    <a:pt x="21" y="28"/>
                  </a:lnTo>
                  <a:close/>
                  <a:moveTo>
                    <a:pt x="71" y="45"/>
                  </a:moveTo>
                  <a:lnTo>
                    <a:pt x="59" y="40"/>
                  </a:lnTo>
                  <a:lnTo>
                    <a:pt x="92" y="45"/>
                  </a:lnTo>
                  <a:lnTo>
                    <a:pt x="71" y="40"/>
                  </a:lnTo>
                  <a:lnTo>
                    <a:pt x="71" y="45"/>
                  </a:lnTo>
                  <a:lnTo>
                    <a:pt x="71" y="45"/>
                  </a:lnTo>
                  <a:lnTo>
                    <a:pt x="71" y="45"/>
                  </a:lnTo>
                  <a:close/>
                  <a:moveTo>
                    <a:pt x="179" y="85"/>
                  </a:moveTo>
                  <a:lnTo>
                    <a:pt x="163" y="85"/>
                  </a:lnTo>
                  <a:lnTo>
                    <a:pt x="179" y="73"/>
                  </a:lnTo>
                  <a:lnTo>
                    <a:pt x="184" y="78"/>
                  </a:lnTo>
                  <a:lnTo>
                    <a:pt x="179" y="85"/>
                  </a:lnTo>
                  <a:lnTo>
                    <a:pt x="179" y="85"/>
                  </a:lnTo>
                  <a:lnTo>
                    <a:pt x="179" y="85"/>
                  </a:lnTo>
                  <a:close/>
                  <a:moveTo>
                    <a:pt x="125" y="167"/>
                  </a:moveTo>
                  <a:lnTo>
                    <a:pt x="109" y="156"/>
                  </a:lnTo>
                  <a:lnTo>
                    <a:pt x="118" y="139"/>
                  </a:lnTo>
                  <a:lnTo>
                    <a:pt x="130" y="156"/>
                  </a:lnTo>
                  <a:lnTo>
                    <a:pt x="125" y="167"/>
                  </a:lnTo>
                  <a:lnTo>
                    <a:pt x="125" y="167"/>
                  </a:lnTo>
                  <a:lnTo>
                    <a:pt x="125" y="167"/>
                  </a:lnTo>
                  <a:close/>
                  <a:moveTo>
                    <a:pt x="59" y="172"/>
                  </a:moveTo>
                  <a:lnTo>
                    <a:pt x="54" y="167"/>
                  </a:lnTo>
                  <a:lnTo>
                    <a:pt x="59" y="156"/>
                  </a:lnTo>
                  <a:lnTo>
                    <a:pt x="71" y="167"/>
                  </a:lnTo>
                  <a:lnTo>
                    <a:pt x="59" y="172"/>
                  </a:lnTo>
                  <a:lnTo>
                    <a:pt x="59" y="172"/>
                  </a:lnTo>
                  <a:lnTo>
                    <a:pt x="59" y="17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5" name="Freeform 424">
              <a:extLst>
                <a:ext uri="{FF2B5EF4-FFF2-40B4-BE49-F238E27FC236}">
                  <a16:creationId xmlns:a16="http://schemas.microsoft.com/office/drawing/2014/main" id="{50F6A1DB-0106-4855-935B-BE20E286B368}"/>
                </a:ext>
              </a:extLst>
            </p:cNvPr>
            <p:cNvSpPr>
              <a:spLocks/>
            </p:cNvSpPr>
            <p:nvPr/>
          </p:nvSpPr>
          <p:spPr bwMode="gray">
            <a:xfrm>
              <a:off x="14483529" y="3235614"/>
              <a:ext cx="52695" cy="29130"/>
            </a:xfrm>
            <a:custGeom>
              <a:avLst/>
              <a:gdLst>
                <a:gd name="T0" fmla="*/ 71 w 161"/>
                <a:gd name="T1" fmla="*/ 77 h 89"/>
                <a:gd name="T2" fmla="*/ 64 w 161"/>
                <a:gd name="T3" fmla="*/ 77 h 89"/>
                <a:gd name="T4" fmla="*/ 54 w 161"/>
                <a:gd name="T5" fmla="*/ 89 h 89"/>
                <a:gd name="T6" fmla="*/ 50 w 161"/>
                <a:gd name="T7" fmla="*/ 77 h 89"/>
                <a:gd name="T8" fmla="*/ 17 w 161"/>
                <a:gd name="T9" fmla="*/ 77 h 89"/>
                <a:gd name="T10" fmla="*/ 0 w 161"/>
                <a:gd name="T11" fmla="*/ 49 h 89"/>
                <a:gd name="T12" fmla="*/ 17 w 161"/>
                <a:gd name="T13" fmla="*/ 56 h 89"/>
                <a:gd name="T14" fmla="*/ 33 w 161"/>
                <a:gd name="T15" fmla="*/ 40 h 89"/>
                <a:gd name="T16" fmla="*/ 50 w 161"/>
                <a:gd name="T17" fmla="*/ 40 h 89"/>
                <a:gd name="T18" fmla="*/ 50 w 161"/>
                <a:gd name="T19" fmla="*/ 21 h 89"/>
                <a:gd name="T20" fmla="*/ 102 w 161"/>
                <a:gd name="T21" fmla="*/ 21 h 89"/>
                <a:gd name="T22" fmla="*/ 161 w 161"/>
                <a:gd name="T23" fmla="*/ 0 h 89"/>
                <a:gd name="T24" fmla="*/ 118 w 161"/>
                <a:gd name="T25" fmla="*/ 33 h 89"/>
                <a:gd name="T26" fmla="*/ 118 w 161"/>
                <a:gd name="T27" fmla="*/ 40 h 89"/>
                <a:gd name="T28" fmla="*/ 132 w 161"/>
                <a:gd name="T29" fmla="*/ 56 h 89"/>
                <a:gd name="T30" fmla="*/ 102 w 161"/>
                <a:gd name="T31" fmla="*/ 56 h 89"/>
                <a:gd name="T32" fmla="*/ 102 w 161"/>
                <a:gd name="T33" fmla="*/ 73 h 89"/>
                <a:gd name="T34" fmla="*/ 71 w 161"/>
                <a:gd name="T35" fmla="*/ 77 h 89"/>
                <a:gd name="T36" fmla="*/ 71 w 161"/>
                <a:gd name="T37" fmla="*/ 77 h 89"/>
                <a:gd name="T38" fmla="*/ 71 w 161"/>
                <a:gd name="T39" fmla="*/ 7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1" h="89">
                  <a:moveTo>
                    <a:pt x="71" y="77"/>
                  </a:moveTo>
                  <a:lnTo>
                    <a:pt x="64" y="77"/>
                  </a:lnTo>
                  <a:lnTo>
                    <a:pt x="54" y="89"/>
                  </a:lnTo>
                  <a:lnTo>
                    <a:pt x="50" y="77"/>
                  </a:lnTo>
                  <a:lnTo>
                    <a:pt x="17" y="77"/>
                  </a:lnTo>
                  <a:lnTo>
                    <a:pt x="0" y="49"/>
                  </a:lnTo>
                  <a:lnTo>
                    <a:pt x="17" y="56"/>
                  </a:lnTo>
                  <a:lnTo>
                    <a:pt x="33" y="40"/>
                  </a:lnTo>
                  <a:lnTo>
                    <a:pt x="50" y="40"/>
                  </a:lnTo>
                  <a:lnTo>
                    <a:pt x="50" y="21"/>
                  </a:lnTo>
                  <a:lnTo>
                    <a:pt x="102" y="21"/>
                  </a:lnTo>
                  <a:lnTo>
                    <a:pt x="161" y="0"/>
                  </a:lnTo>
                  <a:lnTo>
                    <a:pt x="118" y="33"/>
                  </a:lnTo>
                  <a:lnTo>
                    <a:pt x="118" y="40"/>
                  </a:lnTo>
                  <a:lnTo>
                    <a:pt x="132" y="56"/>
                  </a:lnTo>
                  <a:lnTo>
                    <a:pt x="102" y="56"/>
                  </a:lnTo>
                  <a:lnTo>
                    <a:pt x="102" y="73"/>
                  </a:lnTo>
                  <a:lnTo>
                    <a:pt x="71" y="77"/>
                  </a:lnTo>
                  <a:lnTo>
                    <a:pt x="71" y="77"/>
                  </a:lnTo>
                  <a:lnTo>
                    <a:pt x="71" y="7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6" name="Freeform 425">
              <a:extLst>
                <a:ext uri="{FF2B5EF4-FFF2-40B4-BE49-F238E27FC236}">
                  <a16:creationId xmlns:a16="http://schemas.microsoft.com/office/drawing/2014/main" id="{7DF24D90-CDD6-4D4F-9E60-1FEAD79ECED2}"/>
                </a:ext>
              </a:extLst>
            </p:cNvPr>
            <p:cNvSpPr>
              <a:spLocks noEditPoints="1"/>
            </p:cNvSpPr>
            <p:nvPr/>
          </p:nvSpPr>
          <p:spPr bwMode="gray">
            <a:xfrm>
              <a:off x="13930724" y="2575130"/>
              <a:ext cx="162339" cy="105062"/>
            </a:xfrm>
            <a:custGeom>
              <a:avLst/>
              <a:gdLst>
                <a:gd name="T0" fmla="*/ 10 w 496"/>
                <a:gd name="T1" fmla="*/ 111 h 321"/>
                <a:gd name="T2" fmla="*/ 123 w 496"/>
                <a:gd name="T3" fmla="*/ 12 h 321"/>
                <a:gd name="T4" fmla="*/ 156 w 496"/>
                <a:gd name="T5" fmla="*/ 78 h 321"/>
                <a:gd name="T6" fmla="*/ 43 w 496"/>
                <a:gd name="T7" fmla="*/ 83 h 321"/>
                <a:gd name="T8" fmla="*/ 206 w 496"/>
                <a:gd name="T9" fmla="*/ 57 h 321"/>
                <a:gd name="T10" fmla="*/ 206 w 496"/>
                <a:gd name="T11" fmla="*/ 57 h 321"/>
                <a:gd name="T12" fmla="*/ 43 w 496"/>
                <a:gd name="T13" fmla="*/ 267 h 321"/>
                <a:gd name="T14" fmla="*/ 43 w 496"/>
                <a:gd name="T15" fmla="*/ 267 h 321"/>
                <a:gd name="T16" fmla="*/ 0 w 496"/>
                <a:gd name="T17" fmla="*/ 177 h 321"/>
                <a:gd name="T18" fmla="*/ 0 w 496"/>
                <a:gd name="T19" fmla="*/ 173 h 321"/>
                <a:gd name="T20" fmla="*/ 47 w 496"/>
                <a:gd name="T21" fmla="*/ 123 h 321"/>
                <a:gd name="T22" fmla="*/ 64 w 496"/>
                <a:gd name="T23" fmla="*/ 123 h 321"/>
                <a:gd name="T24" fmla="*/ 85 w 496"/>
                <a:gd name="T25" fmla="*/ 111 h 321"/>
                <a:gd name="T26" fmla="*/ 135 w 496"/>
                <a:gd name="T27" fmla="*/ 66 h 321"/>
                <a:gd name="T28" fmla="*/ 156 w 496"/>
                <a:gd name="T29" fmla="*/ 111 h 321"/>
                <a:gd name="T30" fmla="*/ 206 w 496"/>
                <a:gd name="T31" fmla="*/ 133 h 321"/>
                <a:gd name="T32" fmla="*/ 156 w 496"/>
                <a:gd name="T33" fmla="*/ 156 h 321"/>
                <a:gd name="T34" fmla="*/ 151 w 496"/>
                <a:gd name="T35" fmla="*/ 177 h 321"/>
                <a:gd name="T36" fmla="*/ 135 w 496"/>
                <a:gd name="T37" fmla="*/ 210 h 321"/>
                <a:gd name="T38" fmla="*/ 106 w 496"/>
                <a:gd name="T39" fmla="*/ 260 h 321"/>
                <a:gd name="T40" fmla="*/ 102 w 496"/>
                <a:gd name="T41" fmla="*/ 288 h 321"/>
                <a:gd name="T42" fmla="*/ 43 w 496"/>
                <a:gd name="T43" fmla="*/ 111 h 321"/>
                <a:gd name="T44" fmla="*/ 47 w 496"/>
                <a:gd name="T45" fmla="*/ 99 h 321"/>
                <a:gd name="T46" fmla="*/ 243 w 496"/>
                <a:gd name="T47" fmla="*/ 111 h 321"/>
                <a:gd name="T48" fmla="*/ 243 w 496"/>
                <a:gd name="T49" fmla="*/ 111 h 321"/>
                <a:gd name="T50" fmla="*/ 210 w 496"/>
                <a:gd name="T51" fmla="*/ 210 h 321"/>
                <a:gd name="T52" fmla="*/ 215 w 496"/>
                <a:gd name="T53" fmla="*/ 177 h 321"/>
                <a:gd name="T54" fmla="*/ 265 w 496"/>
                <a:gd name="T55" fmla="*/ 189 h 321"/>
                <a:gd name="T56" fmla="*/ 269 w 496"/>
                <a:gd name="T57" fmla="*/ 189 h 321"/>
                <a:gd name="T58" fmla="*/ 312 w 496"/>
                <a:gd name="T59" fmla="*/ 189 h 321"/>
                <a:gd name="T60" fmla="*/ 269 w 496"/>
                <a:gd name="T61" fmla="*/ 267 h 321"/>
                <a:gd name="T62" fmla="*/ 260 w 496"/>
                <a:gd name="T63" fmla="*/ 279 h 321"/>
                <a:gd name="T64" fmla="*/ 243 w 496"/>
                <a:gd name="T65" fmla="*/ 260 h 321"/>
                <a:gd name="T66" fmla="*/ 173 w 496"/>
                <a:gd name="T67" fmla="*/ 206 h 321"/>
                <a:gd name="T68" fmla="*/ 177 w 496"/>
                <a:gd name="T69" fmla="*/ 189 h 321"/>
                <a:gd name="T70" fmla="*/ 319 w 496"/>
                <a:gd name="T71" fmla="*/ 210 h 321"/>
                <a:gd name="T72" fmla="*/ 173 w 496"/>
                <a:gd name="T73" fmla="*/ 279 h 321"/>
                <a:gd name="T74" fmla="*/ 161 w 496"/>
                <a:gd name="T75" fmla="*/ 227 h 321"/>
                <a:gd name="T76" fmla="*/ 177 w 496"/>
                <a:gd name="T77" fmla="*/ 222 h 321"/>
                <a:gd name="T78" fmla="*/ 173 w 496"/>
                <a:gd name="T79" fmla="*/ 279 h 321"/>
                <a:gd name="T80" fmla="*/ 26 w 496"/>
                <a:gd name="T81" fmla="*/ 234 h 321"/>
                <a:gd name="T82" fmla="*/ 487 w 496"/>
                <a:gd name="T83" fmla="*/ 284 h 321"/>
                <a:gd name="T84" fmla="*/ 487 w 496"/>
                <a:gd name="T85" fmla="*/ 284 h 321"/>
                <a:gd name="T86" fmla="*/ 177 w 496"/>
                <a:gd name="T87" fmla="*/ 288 h 321"/>
                <a:gd name="T88" fmla="*/ 177 w 496"/>
                <a:gd name="T89" fmla="*/ 305 h 321"/>
                <a:gd name="T90" fmla="*/ 118 w 496"/>
                <a:gd name="T91" fmla="*/ 288 h 321"/>
                <a:gd name="T92" fmla="*/ 106 w 496"/>
                <a:gd name="T93" fmla="*/ 279 h 321"/>
                <a:gd name="T94" fmla="*/ 173 w 496"/>
                <a:gd name="T95" fmla="*/ 284 h 321"/>
                <a:gd name="T96" fmla="*/ 173 w 496"/>
                <a:gd name="T97" fmla="*/ 284 h 321"/>
                <a:gd name="T98" fmla="*/ 298 w 496"/>
                <a:gd name="T99" fmla="*/ 279 h 321"/>
                <a:gd name="T100" fmla="*/ 286 w 496"/>
                <a:gd name="T101" fmla="*/ 288 h 321"/>
                <a:gd name="T102" fmla="*/ 269 w 496"/>
                <a:gd name="T103" fmla="*/ 321 h 321"/>
                <a:gd name="T104" fmla="*/ 265 w 496"/>
                <a:gd name="T105" fmla="*/ 284 h 321"/>
                <a:gd name="T106" fmla="*/ 243 w 496"/>
                <a:gd name="T107" fmla="*/ 300 h 321"/>
                <a:gd name="T108" fmla="*/ 206 w 496"/>
                <a:gd name="T109" fmla="*/ 3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6" h="321">
                  <a:moveTo>
                    <a:pt x="26" y="111"/>
                  </a:moveTo>
                  <a:lnTo>
                    <a:pt x="31" y="116"/>
                  </a:lnTo>
                  <a:lnTo>
                    <a:pt x="31" y="116"/>
                  </a:lnTo>
                  <a:lnTo>
                    <a:pt x="10" y="111"/>
                  </a:lnTo>
                  <a:lnTo>
                    <a:pt x="10" y="99"/>
                  </a:lnTo>
                  <a:lnTo>
                    <a:pt x="31" y="62"/>
                  </a:lnTo>
                  <a:lnTo>
                    <a:pt x="85" y="62"/>
                  </a:lnTo>
                  <a:lnTo>
                    <a:pt x="123" y="12"/>
                  </a:lnTo>
                  <a:lnTo>
                    <a:pt x="177" y="0"/>
                  </a:lnTo>
                  <a:lnTo>
                    <a:pt x="161" y="12"/>
                  </a:lnTo>
                  <a:lnTo>
                    <a:pt x="173" y="57"/>
                  </a:lnTo>
                  <a:lnTo>
                    <a:pt x="156" y="78"/>
                  </a:lnTo>
                  <a:lnTo>
                    <a:pt x="135" y="66"/>
                  </a:lnTo>
                  <a:lnTo>
                    <a:pt x="80" y="78"/>
                  </a:lnTo>
                  <a:lnTo>
                    <a:pt x="69" y="66"/>
                  </a:lnTo>
                  <a:lnTo>
                    <a:pt x="43" y="83"/>
                  </a:lnTo>
                  <a:lnTo>
                    <a:pt x="26" y="111"/>
                  </a:lnTo>
                  <a:lnTo>
                    <a:pt x="26" y="111"/>
                  </a:lnTo>
                  <a:lnTo>
                    <a:pt x="26" y="111"/>
                  </a:lnTo>
                  <a:close/>
                  <a:moveTo>
                    <a:pt x="206" y="57"/>
                  </a:moveTo>
                  <a:lnTo>
                    <a:pt x="194" y="57"/>
                  </a:lnTo>
                  <a:lnTo>
                    <a:pt x="215" y="45"/>
                  </a:lnTo>
                  <a:lnTo>
                    <a:pt x="206" y="57"/>
                  </a:lnTo>
                  <a:lnTo>
                    <a:pt x="206" y="57"/>
                  </a:lnTo>
                  <a:lnTo>
                    <a:pt x="206" y="57"/>
                  </a:lnTo>
                  <a:close/>
                  <a:moveTo>
                    <a:pt x="97" y="300"/>
                  </a:moveTo>
                  <a:lnTo>
                    <a:pt x="43" y="288"/>
                  </a:lnTo>
                  <a:lnTo>
                    <a:pt x="43" y="267"/>
                  </a:lnTo>
                  <a:lnTo>
                    <a:pt x="26" y="279"/>
                  </a:lnTo>
                  <a:lnTo>
                    <a:pt x="26" y="267"/>
                  </a:lnTo>
                  <a:lnTo>
                    <a:pt x="26" y="260"/>
                  </a:lnTo>
                  <a:lnTo>
                    <a:pt x="43" y="267"/>
                  </a:lnTo>
                  <a:lnTo>
                    <a:pt x="31" y="234"/>
                  </a:lnTo>
                  <a:lnTo>
                    <a:pt x="0" y="227"/>
                  </a:lnTo>
                  <a:lnTo>
                    <a:pt x="0" y="206"/>
                  </a:lnTo>
                  <a:lnTo>
                    <a:pt x="0" y="177"/>
                  </a:lnTo>
                  <a:lnTo>
                    <a:pt x="0" y="194"/>
                  </a:lnTo>
                  <a:lnTo>
                    <a:pt x="14" y="189"/>
                  </a:lnTo>
                  <a:lnTo>
                    <a:pt x="10" y="173"/>
                  </a:lnTo>
                  <a:lnTo>
                    <a:pt x="0" y="173"/>
                  </a:lnTo>
                  <a:lnTo>
                    <a:pt x="0" y="177"/>
                  </a:lnTo>
                  <a:lnTo>
                    <a:pt x="0" y="111"/>
                  </a:lnTo>
                  <a:lnTo>
                    <a:pt x="43" y="133"/>
                  </a:lnTo>
                  <a:lnTo>
                    <a:pt x="47" y="123"/>
                  </a:lnTo>
                  <a:lnTo>
                    <a:pt x="43" y="116"/>
                  </a:lnTo>
                  <a:lnTo>
                    <a:pt x="69" y="99"/>
                  </a:lnTo>
                  <a:lnTo>
                    <a:pt x="69" y="111"/>
                  </a:lnTo>
                  <a:lnTo>
                    <a:pt x="64" y="123"/>
                  </a:lnTo>
                  <a:lnTo>
                    <a:pt x="80" y="116"/>
                  </a:lnTo>
                  <a:lnTo>
                    <a:pt x="85" y="123"/>
                  </a:lnTo>
                  <a:lnTo>
                    <a:pt x="85" y="123"/>
                  </a:lnTo>
                  <a:lnTo>
                    <a:pt x="85" y="111"/>
                  </a:lnTo>
                  <a:lnTo>
                    <a:pt x="69" y="111"/>
                  </a:lnTo>
                  <a:lnTo>
                    <a:pt x="69" y="83"/>
                  </a:lnTo>
                  <a:lnTo>
                    <a:pt x="80" y="78"/>
                  </a:lnTo>
                  <a:lnTo>
                    <a:pt x="135" y="66"/>
                  </a:lnTo>
                  <a:lnTo>
                    <a:pt x="156" y="78"/>
                  </a:lnTo>
                  <a:lnTo>
                    <a:pt x="156" y="99"/>
                  </a:lnTo>
                  <a:lnTo>
                    <a:pt x="123" y="116"/>
                  </a:lnTo>
                  <a:lnTo>
                    <a:pt x="156" y="111"/>
                  </a:lnTo>
                  <a:lnTo>
                    <a:pt x="151" y="133"/>
                  </a:lnTo>
                  <a:lnTo>
                    <a:pt x="156" y="123"/>
                  </a:lnTo>
                  <a:lnTo>
                    <a:pt x="194" y="123"/>
                  </a:lnTo>
                  <a:lnTo>
                    <a:pt x="206" y="133"/>
                  </a:lnTo>
                  <a:lnTo>
                    <a:pt x="189" y="168"/>
                  </a:lnTo>
                  <a:lnTo>
                    <a:pt x="177" y="156"/>
                  </a:lnTo>
                  <a:lnTo>
                    <a:pt x="173" y="173"/>
                  </a:lnTo>
                  <a:lnTo>
                    <a:pt x="156" y="156"/>
                  </a:lnTo>
                  <a:lnTo>
                    <a:pt x="161" y="156"/>
                  </a:lnTo>
                  <a:lnTo>
                    <a:pt x="161" y="149"/>
                  </a:lnTo>
                  <a:lnTo>
                    <a:pt x="151" y="168"/>
                  </a:lnTo>
                  <a:lnTo>
                    <a:pt x="151" y="177"/>
                  </a:lnTo>
                  <a:lnTo>
                    <a:pt x="151" y="194"/>
                  </a:lnTo>
                  <a:lnTo>
                    <a:pt x="123" y="194"/>
                  </a:lnTo>
                  <a:lnTo>
                    <a:pt x="135" y="194"/>
                  </a:lnTo>
                  <a:lnTo>
                    <a:pt x="135" y="210"/>
                  </a:lnTo>
                  <a:lnTo>
                    <a:pt x="102" y="210"/>
                  </a:lnTo>
                  <a:lnTo>
                    <a:pt x="118" y="222"/>
                  </a:lnTo>
                  <a:lnTo>
                    <a:pt x="102" y="234"/>
                  </a:lnTo>
                  <a:lnTo>
                    <a:pt x="106" y="260"/>
                  </a:lnTo>
                  <a:lnTo>
                    <a:pt x="97" y="267"/>
                  </a:lnTo>
                  <a:lnTo>
                    <a:pt x="118" y="288"/>
                  </a:lnTo>
                  <a:lnTo>
                    <a:pt x="106" y="300"/>
                  </a:lnTo>
                  <a:lnTo>
                    <a:pt x="102" y="288"/>
                  </a:lnTo>
                  <a:lnTo>
                    <a:pt x="97" y="300"/>
                  </a:lnTo>
                  <a:lnTo>
                    <a:pt x="97" y="300"/>
                  </a:lnTo>
                  <a:lnTo>
                    <a:pt x="97" y="300"/>
                  </a:lnTo>
                  <a:close/>
                  <a:moveTo>
                    <a:pt x="43" y="111"/>
                  </a:moveTo>
                  <a:lnTo>
                    <a:pt x="26" y="99"/>
                  </a:lnTo>
                  <a:lnTo>
                    <a:pt x="31" y="99"/>
                  </a:lnTo>
                  <a:lnTo>
                    <a:pt x="54" y="83"/>
                  </a:lnTo>
                  <a:lnTo>
                    <a:pt x="47" y="99"/>
                  </a:lnTo>
                  <a:lnTo>
                    <a:pt x="43" y="111"/>
                  </a:lnTo>
                  <a:lnTo>
                    <a:pt x="43" y="111"/>
                  </a:lnTo>
                  <a:lnTo>
                    <a:pt x="43" y="111"/>
                  </a:lnTo>
                  <a:close/>
                  <a:moveTo>
                    <a:pt x="243" y="111"/>
                  </a:moveTo>
                  <a:lnTo>
                    <a:pt x="243" y="111"/>
                  </a:lnTo>
                  <a:lnTo>
                    <a:pt x="248" y="111"/>
                  </a:lnTo>
                  <a:lnTo>
                    <a:pt x="243" y="111"/>
                  </a:lnTo>
                  <a:lnTo>
                    <a:pt x="243" y="111"/>
                  </a:lnTo>
                  <a:lnTo>
                    <a:pt x="243" y="111"/>
                  </a:lnTo>
                  <a:close/>
                  <a:moveTo>
                    <a:pt x="243" y="260"/>
                  </a:moveTo>
                  <a:lnTo>
                    <a:pt x="215" y="260"/>
                  </a:lnTo>
                  <a:lnTo>
                    <a:pt x="210" y="210"/>
                  </a:lnTo>
                  <a:lnTo>
                    <a:pt x="194" y="206"/>
                  </a:lnTo>
                  <a:lnTo>
                    <a:pt x="215" y="210"/>
                  </a:lnTo>
                  <a:lnTo>
                    <a:pt x="243" y="194"/>
                  </a:lnTo>
                  <a:lnTo>
                    <a:pt x="215" y="177"/>
                  </a:lnTo>
                  <a:lnTo>
                    <a:pt x="260" y="177"/>
                  </a:lnTo>
                  <a:lnTo>
                    <a:pt x="248" y="194"/>
                  </a:lnTo>
                  <a:lnTo>
                    <a:pt x="260" y="210"/>
                  </a:lnTo>
                  <a:lnTo>
                    <a:pt x="265" y="189"/>
                  </a:lnTo>
                  <a:lnTo>
                    <a:pt x="281" y="206"/>
                  </a:lnTo>
                  <a:lnTo>
                    <a:pt x="269" y="210"/>
                  </a:lnTo>
                  <a:lnTo>
                    <a:pt x="281" y="210"/>
                  </a:lnTo>
                  <a:lnTo>
                    <a:pt x="269" y="189"/>
                  </a:lnTo>
                  <a:lnTo>
                    <a:pt x="265" y="177"/>
                  </a:lnTo>
                  <a:lnTo>
                    <a:pt x="298" y="168"/>
                  </a:lnTo>
                  <a:lnTo>
                    <a:pt x="319" y="173"/>
                  </a:lnTo>
                  <a:lnTo>
                    <a:pt x="312" y="189"/>
                  </a:lnTo>
                  <a:lnTo>
                    <a:pt x="319" y="210"/>
                  </a:lnTo>
                  <a:lnTo>
                    <a:pt x="286" y="234"/>
                  </a:lnTo>
                  <a:lnTo>
                    <a:pt x="302" y="251"/>
                  </a:lnTo>
                  <a:lnTo>
                    <a:pt x="269" y="267"/>
                  </a:lnTo>
                  <a:lnTo>
                    <a:pt x="286" y="267"/>
                  </a:lnTo>
                  <a:lnTo>
                    <a:pt x="286" y="284"/>
                  </a:lnTo>
                  <a:lnTo>
                    <a:pt x="265" y="284"/>
                  </a:lnTo>
                  <a:lnTo>
                    <a:pt x="260" y="279"/>
                  </a:lnTo>
                  <a:lnTo>
                    <a:pt x="260" y="267"/>
                  </a:lnTo>
                  <a:lnTo>
                    <a:pt x="260" y="260"/>
                  </a:lnTo>
                  <a:lnTo>
                    <a:pt x="243" y="260"/>
                  </a:lnTo>
                  <a:lnTo>
                    <a:pt x="243" y="260"/>
                  </a:lnTo>
                  <a:lnTo>
                    <a:pt x="243" y="260"/>
                  </a:lnTo>
                  <a:close/>
                  <a:moveTo>
                    <a:pt x="177" y="189"/>
                  </a:moveTo>
                  <a:lnTo>
                    <a:pt x="173" y="206"/>
                  </a:lnTo>
                  <a:lnTo>
                    <a:pt x="173" y="206"/>
                  </a:lnTo>
                  <a:lnTo>
                    <a:pt x="173" y="177"/>
                  </a:lnTo>
                  <a:lnTo>
                    <a:pt x="177" y="189"/>
                  </a:lnTo>
                  <a:lnTo>
                    <a:pt x="177" y="189"/>
                  </a:lnTo>
                  <a:lnTo>
                    <a:pt x="177" y="189"/>
                  </a:lnTo>
                  <a:close/>
                  <a:moveTo>
                    <a:pt x="319" y="222"/>
                  </a:moveTo>
                  <a:lnTo>
                    <a:pt x="319" y="222"/>
                  </a:lnTo>
                  <a:lnTo>
                    <a:pt x="312" y="222"/>
                  </a:lnTo>
                  <a:lnTo>
                    <a:pt x="319" y="210"/>
                  </a:lnTo>
                  <a:lnTo>
                    <a:pt x="319" y="222"/>
                  </a:lnTo>
                  <a:lnTo>
                    <a:pt x="319" y="222"/>
                  </a:lnTo>
                  <a:lnTo>
                    <a:pt x="319" y="222"/>
                  </a:lnTo>
                  <a:close/>
                  <a:moveTo>
                    <a:pt x="173" y="279"/>
                  </a:moveTo>
                  <a:lnTo>
                    <a:pt x="139" y="279"/>
                  </a:lnTo>
                  <a:lnTo>
                    <a:pt x="106" y="227"/>
                  </a:lnTo>
                  <a:lnTo>
                    <a:pt x="156" y="222"/>
                  </a:lnTo>
                  <a:lnTo>
                    <a:pt x="161" y="227"/>
                  </a:lnTo>
                  <a:lnTo>
                    <a:pt x="161" y="234"/>
                  </a:lnTo>
                  <a:lnTo>
                    <a:pt x="161" y="234"/>
                  </a:lnTo>
                  <a:lnTo>
                    <a:pt x="173" y="227"/>
                  </a:lnTo>
                  <a:lnTo>
                    <a:pt x="177" y="222"/>
                  </a:lnTo>
                  <a:lnTo>
                    <a:pt x="189" y="251"/>
                  </a:lnTo>
                  <a:lnTo>
                    <a:pt x="189" y="279"/>
                  </a:lnTo>
                  <a:lnTo>
                    <a:pt x="173" y="279"/>
                  </a:lnTo>
                  <a:lnTo>
                    <a:pt x="173" y="279"/>
                  </a:lnTo>
                  <a:lnTo>
                    <a:pt x="173" y="279"/>
                  </a:lnTo>
                  <a:close/>
                  <a:moveTo>
                    <a:pt x="26" y="244"/>
                  </a:moveTo>
                  <a:lnTo>
                    <a:pt x="14" y="234"/>
                  </a:lnTo>
                  <a:lnTo>
                    <a:pt x="26" y="234"/>
                  </a:lnTo>
                  <a:lnTo>
                    <a:pt x="26" y="244"/>
                  </a:lnTo>
                  <a:lnTo>
                    <a:pt x="26" y="244"/>
                  </a:lnTo>
                  <a:lnTo>
                    <a:pt x="26" y="244"/>
                  </a:lnTo>
                  <a:close/>
                  <a:moveTo>
                    <a:pt x="487" y="284"/>
                  </a:moveTo>
                  <a:lnTo>
                    <a:pt x="458" y="267"/>
                  </a:lnTo>
                  <a:lnTo>
                    <a:pt x="465" y="251"/>
                  </a:lnTo>
                  <a:lnTo>
                    <a:pt x="496" y="267"/>
                  </a:lnTo>
                  <a:lnTo>
                    <a:pt x="487" y="284"/>
                  </a:lnTo>
                  <a:lnTo>
                    <a:pt x="487" y="284"/>
                  </a:lnTo>
                  <a:lnTo>
                    <a:pt x="487" y="284"/>
                  </a:lnTo>
                  <a:close/>
                  <a:moveTo>
                    <a:pt x="177" y="305"/>
                  </a:moveTo>
                  <a:lnTo>
                    <a:pt x="177" y="288"/>
                  </a:lnTo>
                  <a:lnTo>
                    <a:pt x="206" y="267"/>
                  </a:lnTo>
                  <a:lnTo>
                    <a:pt x="177" y="305"/>
                  </a:lnTo>
                  <a:lnTo>
                    <a:pt x="177" y="305"/>
                  </a:lnTo>
                  <a:lnTo>
                    <a:pt x="177" y="305"/>
                  </a:lnTo>
                  <a:close/>
                  <a:moveTo>
                    <a:pt x="135" y="284"/>
                  </a:moveTo>
                  <a:lnTo>
                    <a:pt x="139" y="288"/>
                  </a:lnTo>
                  <a:lnTo>
                    <a:pt x="123" y="288"/>
                  </a:lnTo>
                  <a:lnTo>
                    <a:pt x="118" y="288"/>
                  </a:lnTo>
                  <a:lnTo>
                    <a:pt x="118" y="284"/>
                  </a:lnTo>
                  <a:lnTo>
                    <a:pt x="118" y="284"/>
                  </a:lnTo>
                  <a:lnTo>
                    <a:pt x="118" y="279"/>
                  </a:lnTo>
                  <a:lnTo>
                    <a:pt x="106" y="279"/>
                  </a:lnTo>
                  <a:lnTo>
                    <a:pt x="135" y="284"/>
                  </a:lnTo>
                  <a:lnTo>
                    <a:pt x="135" y="284"/>
                  </a:lnTo>
                  <a:lnTo>
                    <a:pt x="135" y="284"/>
                  </a:lnTo>
                  <a:close/>
                  <a:moveTo>
                    <a:pt x="173" y="284"/>
                  </a:moveTo>
                  <a:lnTo>
                    <a:pt x="161" y="284"/>
                  </a:lnTo>
                  <a:lnTo>
                    <a:pt x="177" y="284"/>
                  </a:lnTo>
                  <a:lnTo>
                    <a:pt x="173" y="284"/>
                  </a:lnTo>
                  <a:lnTo>
                    <a:pt x="173" y="284"/>
                  </a:lnTo>
                  <a:lnTo>
                    <a:pt x="173" y="284"/>
                  </a:lnTo>
                  <a:close/>
                  <a:moveTo>
                    <a:pt x="286" y="288"/>
                  </a:moveTo>
                  <a:lnTo>
                    <a:pt x="281" y="284"/>
                  </a:lnTo>
                  <a:lnTo>
                    <a:pt x="298" y="279"/>
                  </a:lnTo>
                  <a:lnTo>
                    <a:pt x="312" y="284"/>
                  </a:lnTo>
                  <a:lnTo>
                    <a:pt x="286" y="288"/>
                  </a:lnTo>
                  <a:lnTo>
                    <a:pt x="286" y="288"/>
                  </a:lnTo>
                  <a:lnTo>
                    <a:pt x="286" y="288"/>
                  </a:lnTo>
                  <a:close/>
                  <a:moveTo>
                    <a:pt x="265" y="284"/>
                  </a:moveTo>
                  <a:lnTo>
                    <a:pt x="286" y="300"/>
                  </a:lnTo>
                  <a:lnTo>
                    <a:pt x="269" y="317"/>
                  </a:lnTo>
                  <a:lnTo>
                    <a:pt x="269" y="321"/>
                  </a:lnTo>
                  <a:lnTo>
                    <a:pt x="248" y="288"/>
                  </a:lnTo>
                  <a:lnTo>
                    <a:pt x="265" y="284"/>
                  </a:lnTo>
                  <a:lnTo>
                    <a:pt x="265" y="284"/>
                  </a:lnTo>
                  <a:lnTo>
                    <a:pt x="265" y="284"/>
                  </a:lnTo>
                  <a:close/>
                  <a:moveTo>
                    <a:pt x="206" y="300"/>
                  </a:moveTo>
                  <a:lnTo>
                    <a:pt x="210" y="288"/>
                  </a:lnTo>
                  <a:lnTo>
                    <a:pt x="215" y="284"/>
                  </a:lnTo>
                  <a:lnTo>
                    <a:pt x="243" y="300"/>
                  </a:lnTo>
                  <a:lnTo>
                    <a:pt x="248" y="288"/>
                  </a:lnTo>
                  <a:lnTo>
                    <a:pt x="265" y="317"/>
                  </a:lnTo>
                  <a:lnTo>
                    <a:pt x="232" y="317"/>
                  </a:lnTo>
                  <a:lnTo>
                    <a:pt x="206" y="300"/>
                  </a:lnTo>
                  <a:lnTo>
                    <a:pt x="206" y="300"/>
                  </a:lnTo>
                  <a:lnTo>
                    <a:pt x="206" y="30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7" name="Freeform 426">
              <a:extLst>
                <a:ext uri="{FF2B5EF4-FFF2-40B4-BE49-F238E27FC236}">
                  <a16:creationId xmlns:a16="http://schemas.microsoft.com/office/drawing/2014/main" id="{5AB6F0CF-8794-403B-85F0-97F8288D4563}"/>
                </a:ext>
              </a:extLst>
            </p:cNvPr>
            <p:cNvSpPr>
              <a:spLocks/>
            </p:cNvSpPr>
            <p:nvPr/>
          </p:nvSpPr>
          <p:spPr bwMode="gray">
            <a:xfrm>
              <a:off x="14704781" y="3811329"/>
              <a:ext cx="36330" cy="44840"/>
            </a:xfrm>
            <a:custGeom>
              <a:avLst/>
              <a:gdLst>
                <a:gd name="T0" fmla="*/ 73 w 111"/>
                <a:gd name="T1" fmla="*/ 126 h 137"/>
                <a:gd name="T2" fmla="*/ 56 w 111"/>
                <a:gd name="T3" fmla="*/ 121 h 137"/>
                <a:gd name="T4" fmla="*/ 14 w 111"/>
                <a:gd name="T5" fmla="*/ 137 h 137"/>
                <a:gd name="T6" fmla="*/ 0 w 111"/>
                <a:gd name="T7" fmla="*/ 126 h 137"/>
                <a:gd name="T8" fmla="*/ 0 w 111"/>
                <a:gd name="T9" fmla="*/ 92 h 137"/>
                <a:gd name="T10" fmla="*/ 0 w 111"/>
                <a:gd name="T11" fmla="*/ 71 h 137"/>
                <a:gd name="T12" fmla="*/ 35 w 111"/>
                <a:gd name="T13" fmla="*/ 26 h 137"/>
                <a:gd name="T14" fmla="*/ 42 w 111"/>
                <a:gd name="T15" fmla="*/ 17 h 137"/>
                <a:gd name="T16" fmla="*/ 56 w 111"/>
                <a:gd name="T17" fmla="*/ 33 h 137"/>
                <a:gd name="T18" fmla="*/ 68 w 111"/>
                <a:gd name="T19" fmla="*/ 26 h 137"/>
                <a:gd name="T20" fmla="*/ 68 w 111"/>
                <a:gd name="T21" fmla="*/ 17 h 137"/>
                <a:gd name="T22" fmla="*/ 89 w 111"/>
                <a:gd name="T23" fmla="*/ 0 h 137"/>
                <a:gd name="T24" fmla="*/ 106 w 111"/>
                <a:gd name="T25" fmla="*/ 26 h 137"/>
                <a:gd name="T26" fmla="*/ 111 w 111"/>
                <a:gd name="T27" fmla="*/ 55 h 137"/>
                <a:gd name="T28" fmla="*/ 78 w 111"/>
                <a:gd name="T29" fmla="*/ 71 h 137"/>
                <a:gd name="T30" fmla="*/ 68 w 111"/>
                <a:gd name="T31" fmla="*/ 71 h 137"/>
                <a:gd name="T32" fmla="*/ 56 w 111"/>
                <a:gd name="T33" fmla="*/ 88 h 137"/>
                <a:gd name="T34" fmla="*/ 42 w 111"/>
                <a:gd name="T35" fmla="*/ 88 h 137"/>
                <a:gd name="T36" fmla="*/ 52 w 111"/>
                <a:gd name="T37" fmla="*/ 92 h 137"/>
                <a:gd name="T38" fmla="*/ 73 w 111"/>
                <a:gd name="T39" fmla="*/ 88 h 137"/>
                <a:gd name="T40" fmla="*/ 89 w 111"/>
                <a:gd name="T41" fmla="*/ 88 h 137"/>
                <a:gd name="T42" fmla="*/ 94 w 111"/>
                <a:gd name="T43" fmla="*/ 92 h 137"/>
                <a:gd name="T44" fmla="*/ 73 w 111"/>
                <a:gd name="T45" fmla="*/ 126 h 137"/>
                <a:gd name="T46" fmla="*/ 73 w 111"/>
                <a:gd name="T47" fmla="*/ 126 h 137"/>
                <a:gd name="T48" fmla="*/ 73 w 111"/>
                <a:gd name="T49" fmla="*/ 12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1" h="137">
                  <a:moveTo>
                    <a:pt x="73" y="126"/>
                  </a:moveTo>
                  <a:lnTo>
                    <a:pt x="56" y="121"/>
                  </a:lnTo>
                  <a:lnTo>
                    <a:pt x="14" y="137"/>
                  </a:lnTo>
                  <a:lnTo>
                    <a:pt x="0" y="126"/>
                  </a:lnTo>
                  <a:lnTo>
                    <a:pt x="0" y="92"/>
                  </a:lnTo>
                  <a:lnTo>
                    <a:pt x="0" y="71"/>
                  </a:lnTo>
                  <a:lnTo>
                    <a:pt x="35" y="26"/>
                  </a:lnTo>
                  <a:lnTo>
                    <a:pt x="42" y="17"/>
                  </a:lnTo>
                  <a:lnTo>
                    <a:pt x="56" y="33"/>
                  </a:lnTo>
                  <a:lnTo>
                    <a:pt x="68" y="26"/>
                  </a:lnTo>
                  <a:lnTo>
                    <a:pt x="68" y="17"/>
                  </a:lnTo>
                  <a:lnTo>
                    <a:pt x="89" y="0"/>
                  </a:lnTo>
                  <a:lnTo>
                    <a:pt x="106" y="26"/>
                  </a:lnTo>
                  <a:lnTo>
                    <a:pt x="111" y="55"/>
                  </a:lnTo>
                  <a:lnTo>
                    <a:pt x="78" y="71"/>
                  </a:lnTo>
                  <a:lnTo>
                    <a:pt x="68" y="71"/>
                  </a:lnTo>
                  <a:lnTo>
                    <a:pt x="56" y="88"/>
                  </a:lnTo>
                  <a:lnTo>
                    <a:pt x="42" y="88"/>
                  </a:lnTo>
                  <a:lnTo>
                    <a:pt x="52" y="92"/>
                  </a:lnTo>
                  <a:lnTo>
                    <a:pt x="73" y="88"/>
                  </a:lnTo>
                  <a:lnTo>
                    <a:pt x="89" y="88"/>
                  </a:lnTo>
                  <a:lnTo>
                    <a:pt x="94" y="92"/>
                  </a:lnTo>
                  <a:lnTo>
                    <a:pt x="73" y="126"/>
                  </a:lnTo>
                  <a:lnTo>
                    <a:pt x="73" y="126"/>
                  </a:lnTo>
                  <a:lnTo>
                    <a:pt x="73" y="12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8" name="Freeform 427">
              <a:extLst>
                <a:ext uri="{FF2B5EF4-FFF2-40B4-BE49-F238E27FC236}">
                  <a16:creationId xmlns:a16="http://schemas.microsoft.com/office/drawing/2014/main" id="{7BC7D226-2012-4B81-9F7C-8C0297870D50}"/>
                </a:ext>
              </a:extLst>
            </p:cNvPr>
            <p:cNvSpPr>
              <a:spLocks/>
            </p:cNvSpPr>
            <p:nvPr/>
          </p:nvSpPr>
          <p:spPr bwMode="gray">
            <a:xfrm>
              <a:off x="12331880" y="3742597"/>
              <a:ext cx="6219" cy="8510"/>
            </a:xfrm>
            <a:custGeom>
              <a:avLst/>
              <a:gdLst>
                <a:gd name="T0" fmla="*/ 7 w 19"/>
                <a:gd name="T1" fmla="*/ 26 h 26"/>
                <a:gd name="T2" fmla="*/ 0 w 19"/>
                <a:gd name="T3" fmla="*/ 5 h 26"/>
                <a:gd name="T4" fmla="*/ 0 w 19"/>
                <a:gd name="T5" fmla="*/ 0 h 26"/>
                <a:gd name="T6" fmla="*/ 19 w 19"/>
                <a:gd name="T7" fmla="*/ 14 h 26"/>
                <a:gd name="T8" fmla="*/ 19 w 19"/>
                <a:gd name="T9" fmla="*/ 26 h 26"/>
                <a:gd name="T10" fmla="*/ 7 w 19"/>
                <a:gd name="T11" fmla="*/ 26 h 26"/>
                <a:gd name="T12" fmla="*/ 7 w 19"/>
                <a:gd name="T13" fmla="*/ 26 h 26"/>
                <a:gd name="T14" fmla="*/ 7 w 19"/>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6">
                  <a:moveTo>
                    <a:pt x="7" y="26"/>
                  </a:moveTo>
                  <a:lnTo>
                    <a:pt x="0" y="5"/>
                  </a:lnTo>
                  <a:lnTo>
                    <a:pt x="0" y="0"/>
                  </a:lnTo>
                  <a:lnTo>
                    <a:pt x="19" y="14"/>
                  </a:lnTo>
                  <a:lnTo>
                    <a:pt x="19" y="26"/>
                  </a:lnTo>
                  <a:lnTo>
                    <a:pt x="7" y="26"/>
                  </a:lnTo>
                  <a:lnTo>
                    <a:pt x="7" y="26"/>
                  </a:lnTo>
                  <a:lnTo>
                    <a:pt x="7" y="2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9" name="Freeform 428">
              <a:extLst>
                <a:ext uri="{FF2B5EF4-FFF2-40B4-BE49-F238E27FC236}">
                  <a16:creationId xmlns:a16="http://schemas.microsoft.com/office/drawing/2014/main" id="{FE4B513A-3CC3-4058-A81D-CFE346A5925A}"/>
                </a:ext>
              </a:extLst>
            </p:cNvPr>
            <p:cNvSpPr>
              <a:spLocks noEditPoints="1"/>
            </p:cNvSpPr>
            <p:nvPr/>
          </p:nvSpPr>
          <p:spPr bwMode="gray">
            <a:xfrm>
              <a:off x="12090663" y="3638189"/>
              <a:ext cx="84443" cy="59568"/>
            </a:xfrm>
            <a:custGeom>
              <a:avLst/>
              <a:gdLst>
                <a:gd name="T0" fmla="*/ 21 w 258"/>
                <a:gd name="T1" fmla="*/ 142 h 182"/>
                <a:gd name="T2" fmla="*/ 21 w 258"/>
                <a:gd name="T3" fmla="*/ 118 h 182"/>
                <a:gd name="T4" fmla="*/ 5 w 258"/>
                <a:gd name="T5" fmla="*/ 114 h 182"/>
                <a:gd name="T6" fmla="*/ 0 w 258"/>
                <a:gd name="T7" fmla="*/ 102 h 182"/>
                <a:gd name="T8" fmla="*/ 17 w 258"/>
                <a:gd name="T9" fmla="*/ 97 h 182"/>
                <a:gd name="T10" fmla="*/ 21 w 258"/>
                <a:gd name="T11" fmla="*/ 85 h 182"/>
                <a:gd name="T12" fmla="*/ 17 w 258"/>
                <a:gd name="T13" fmla="*/ 69 h 182"/>
                <a:gd name="T14" fmla="*/ 26 w 258"/>
                <a:gd name="T15" fmla="*/ 57 h 182"/>
                <a:gd name="T16" fmla="*/ 21 w 258"/>
                <a:gd name="T17" fmla="*/ 45 h 182"/>
                <a:gd name="T18" fmla="*/ 21 w 258"/>
                <a:gd name="T19" fmla="*/ 29 h 182"/>
                <a:gd name="T20" fmla="*/ 21 w 258"/>
                <a:gd name="T21" fmla="*/ 12 h 182"/>
                <a:gd name="T22" fmla="*/ 21 w 258"/>
                <a:gd name="T23" fmla="*/ 0 h 182"/>
                <a:gd name="T24" fmla="*/ 52 w 258"/>
                <a:gd name="T25" fmla="*/ 7 h 182"/>
                <a:gd name="T26" fmla="*/ 76 w 258"/>
                <a:gd name="T27" fmla="*/ 0 h 182"/>
                <a:gd name="T28" fmla="*/ 97 w 258"/>
                <a:gd name="T29" fmla="*/ 12 h 182"/>
                <a:gd name="T30" fmla="*/ 106 w 258"/>
                <a:gd name="T31" fmla="*/ 7 h 182"/>
                <a:gd name="T32" fmla="*/ 123 w 258"/>
                <a:gd name="T33" fmla="*/ 24 h 182"/>
                <a:gd name="T34" fmla="*/ 144 w 258"/>
                <a:gd name="T35" fmla="*/ 12 h 182"/>
                <a:gd name="T36" fmla="*/ 161 w 258"/>
                <a:gd name="T37" fmla="*/ 45 h 182"/>
                <a:gd name="T38" fmla="*/ 199 w 258"/>
                <a:gd name="T39" fmla="*/ 40 h 182"/>
                <a:gd name="T40" fmla="*/ 199 w 258"/>
                <a:gd name="T41" fmla="*/ 45 h 182"/>
                <a:gd name="T42" fmla="*/ 199 w 258"/>
                <a:gd name="T43" fmla="*/ 57 h 182"/>
                <a:gd name="T44" fmla="*/ 166 w 258"/>
                <a:gd name="T45" fmla="*/ 57 h 182"/>
                <a:gd name="T46" fmla="*/ 166 w 258"/>
                <a:gd name="T47" fmla="*/ 64 h 182"/>
                <a:gd name="T48" fmla="*/ 215 w 258"/>
                <a:gd name="T49" fmla="*/ 69 h 182"/>
                <a:gd name="T50" fmla="*/ 258 w 258"/>
                <a:gd name="T51" fmla="*/ 102 h 182"/>
                <a:gd name="T52" fmla="*/ 253 w 258"/>
                <a:gd name="T53" fmla="*/ 118 h 182"/>
                <a:gd name="T54" fmla="*/ 236 w 258"/>
                <a:gd name="T55" fmla="*/ 118 h 182"/>
                <a:gd name="T56" fmla="*/ 236 w 258"/>
                <a:gd name="T57" fmla="*/ 125 h 182"/>
                <a:gd name="T58" fmla="*/ 229 w 258"/>
                <a:gd name="T59" fmla="*/ 125 h 182"/>
                <a:gd name="T60" fmla="*/ 220 w 258"/>
                <a:gd name="T61" fmla="*/ 114 h 182"/>
                <a:gd name="T62" fmla="*/ 149 w 258"/>
                <a:gd name="T63" fmla="*/ 114 h 182"/>
                <a:gd name="T64" fmla="*/ 128 w 258"/>
                <a:gd name="T65" fmla="*/ 125 h 182"/>
                <a:gd name="T66" fmla="*/ 106 w 258"/>
                <a:gd name="T67" fmla="*/ 125 h 182"/>
                <a:gd name="T68" fmla="*/ 97 w 258"/>
                <a:gd name="T69" fmla="*/ 114 h 182"/>
                <a:gd name="T70" fmla="*/ 90 w 258"/>
                <a:gd name="T71" fmla="*/ 114 h 182"/>
                <a:gd name="T72" fmla="*/ 76 w 258"/>
                <a:gd name="T73" fmla="*/ 125 h 182"/>
                <a:gd name="T74" fmla="*/ 69 w 258"/>
                <a:gd name="T75" fmla="*/ 118 h 182"/>
                <a:gd name="T76" fmla="*/ 69 w 258"/>
                <a:gd name="T77" fmla="*/ 137 h 182"/>
                <a:gd name="T78" fmla="*/ 43 w 258"/>
                <a:gd name="T79" fmla="*/ 175 h 182"/>
                <a:gd name="T80" fmla="*/ 21 w 258"/>
                <a:gd name="T81" fmla="*/ 142 h 182"/>
                <a:gd name="T82" fmla="*/ 21 w 258"/>
                <a:gd name="T83" fmla="*/ 142 h 182"/>
                <a:gd name="T84" fmla="*/ 21 w 258"/>
                <a:gd name="T85" fmla="*/ 142 h 182"/>
                <a:gd name="T86" fmla="*/ 38 w 258"/>
                <a:gd name="T87" fmla="*/ 182 h 182"/>
                <a:gd name="T88" fmla="*/ 38 w 258"/>
                <a:gd name="T89" fmla="*/ 175 h 182"/>
                <a:gd name="T90" fmla="*/ 38 w 258"/>
                <a:gd name="T91" fmla="*/ 175 h 182"/>
                <a:gd name="T92" fmla="*/ 38 w 258"/>
                <a:gd name="T93" fmla="*/ 182 h 182"/>
                <a:gd name="T94" fmla="*/ 38 w 258"/>
                <a:gd name="T95" fmla="*/ 182 h 182"/>
                <a:gd name="T96" fmla="*/ 38 w 258"/>
                <a:gd name="T9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8" h="182">
                  <a:moveTo>
                    <a:pt x="21" y="142"/>
                  </a:moveTo>
                  <a:lnTo>
                    <a:pt x="21" y="118"/>
                  </a:lnTo>
                  <a:lnTo>
                    <a:pt x="5" y="114"/>
                  </a:lnTo>
                  <a:lnTo>
                    <a:pt x="0" y="102"/>
                  </a:lnTo>
                  <a:lnTo>
                    <a:pt x="17" y="97"/>
                  </a:lnTo>
                  <a:lnTo>
                    <a:pt x="21" y="85"/>
                  </a:lnTo>
                  <a:lnTo>
                    <a:pt x="17" y="69"/>
                  </a:lnTo>
                  <a:lnTo>
                    <a:pt x="26" y="57"/>
                  </a:lnTo>
                  <a:lnTo>
                    <a:pt x="21" y="45"/>
                  </a:lnTo>
                  <a:lnTo>
                    <a:pt x="21" y="29"/>
                  </a:lnTo>
                  <a:lnTo>
                    <a:pt x="21" y="12"/>
                  </a:lnTo>
                  <a:lnTo>
                    <a:pt x="21" y="0"/>
                  </a:lnTo>
                  <a:lnTo>
                    <a:pt x="52" y="7"/>
                  </a:lnTo>
                  <a:lnTo>
                    <a:pt x="76" y="0"/>
                  </a:lnTo>
                  <a:lnTo>
                    <a:pt x="97" y="12"/>
                  </a:lnTo>
                  <a:lnTo>
                    <a:pt x="106" y="7"/>
                  </a:lnTo>
                  <a:lnTo>
                    <a:pt x="123" y="24"/>
                  </a:lnTo>
                  <a:lnTo>
                    <a:pt x="144" y="12"/>
                  </a:lnTo>
                  <a:lnTo>
                    <a:pt x="161" y="45"/>
                  </a:lnTo>
                  <a:lnTo>
                    <a:pt x="199" y="40"/>
                  </a:lnTo>
                  <a:lnTo>
                    <a:pt x="199" y="45"/>
                  </a:lnTo>
                  <a:lnTo>
                    <a:pt x="199" y="57"/>
                  </a:lnTo>
                  <a:lnTo>
                    <a:pt x="166" y="57"/>
                  </a:lnTo>
                  <a:lnTo>
                    <a:pt x="166" y="64"/>
                  </a:lnTo>
                  <a:lnTo>
                    <a:pt x="215" y="69"/>
                  </a:lnTo>
                  <a:lnTo>
                    <a:pt x="258" y="102"/>
                  </a:lnTo>
                  <a:lnTo>
                    <a:pt x="253" y="118"/>
                  </a:lnTo>
                  <a:lnTo>
                    <a:pt x="236" y="118"/>
                  </a:lnTo>
                  <a:lnTo>
                    <a:pt x="236" y="125"/>
                  </a:lnTo>
                  <a:lnTo>
                    <a:pt x="229" y="125"/>
                  </a:lnTo>
                  <a:lnTo>
                    <a:pt x="220" y="114"/>
                  </a:lnTo>
                  <a:lnTo>
                    <a:pt x="149" y="114"/>
                  </a:lnTo>
                  <a:lnTo>
                    <a:pt x="128" y="125"/>
                  </a:lnTo>
                  <a:lnTo>
                    <a:pt x="106" y="125"/>
                  </a:lnTo>
                  <a:lnTo>
                    <a:pt x="97" y="114"/>
                  </a:lnTo>
                  <a:lnTo>
                    <a:pt x="90" y="114"/>
                  </a:lnTo>
                  <a:lnTo>
                    <a:pt x="76" y="125"/>
                  </a:lnTo>
                  <a:lnTo>
                    <a:pt x="69" y="118"/>
                  </a:lnTo>
                  <a:lnTo>
                    <a:pt x="69" y="137"/>
                  </a:lnTo>
                  <a:lnTo>
                    <a:pt x="43" y="175"/>
                  </a:lnTo>
                  <a:lnTo>
                    <a:pt x="21" y="142"/>
                  </a:lnTo>
                  <a:lnTo>
                    <a:pt x="21" y="142"/>
                  </a:lnTo>
                  <a:lnTo>
                    <a:pt x="21" y="142"/>
                  </a:lnTo>
                  <a:close/>
                  <a:moveTo>
                    <a:pt x="38" y="182"/>
                  </a:moveTo>
                  <a:lnTo>
                    <a:pt x="38" y="175"/>
                  </a:lnTo>
                  <a:lnTo>
                    <a:pt x="38" y="175"/>
                  </a:lnTo>
                  <a:lnTo>
                    <a:pt x="38" y="182"/>
                  </a:lnTo>
                  <a:lnTo>
                    <a:pt x="38" y="182"/>
                  </a:lnTo>
                  <a:lnTo>
                    <a:pt x="38" y="18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0" name="Freeform 429">
              <a:extLst>
                <a:ext uri="{FF2B5EF4-FFF2-40B4-BE49-F238E27FC236}">
                  <a16:creationId xmlns:a16="http://schemas.microsoft.com/office/drawing/2014/main" id="{CC74EAC5-3B45-484F-BB5F-5CD0B8BD2A0C}"/>
                </a:ext>
              </a:extLst>
            </p:cNvPr>
            <p:cNvSpPr>
              <a:spLocks noEditPoints="1"/>
            </p:cNvSpPr>
            <p:nvPr/>
          </p:nvSpPr>
          <p:spPr bwMode="gray">
            <a:xfrm>
              <a:off x="11639975" y="4082003"/>
              <a:ext cx="376391" cy="150884"/>
            </a:xfrm>
            <a:custGeom>
              <a:avLst/>
              <a:gdLst>
                <a:gd name="T0" fmla="*/ 966 w 1150"/>
                <a:gd name="T1" fmla="*/ 40 h 461"/>
                <a:gd name="T2" fmla="*/ 999 w 1150"/>
                <a:gd name="T3" fmla="*/ 57 h 461"/>
                <a:gd name="T4" fmla="*/ 1068 w 1150"/>
                <a:gd name="T5" fmla="*/ 78 h 461"/>
                <a:gd name="T6" fmla="*/ 1096 w 1150"/>
                <a:gd name="T7" fmla="*/ 78 h 461"/>
                <a:gd name="T8" fmla="*/ 1122 w 1150"/>
                <a:gd name="T9" fmla="*/ 111 h 461"/>
                <a:gd name="T10" fmla="*/ 1150 w 1150"/>
                <a:gd name="T11" fmla="*/ 168 h 461"/>
                <a:gd name="T12" fmla="*/ 1089 w 1150"/>
                <a:gd name="T13" fmla="*/ 255 h 461"/>
                <a:gd name="T14" fmla="*/ 945 w 1150"/>
                <a:gd name="T15" fmla="*/ 338 h 461"/>
                <a:gd name="T16" fmla="*/ 928 w 1150"/>
                <a:gd name="T17" fmla="*/ 371 h 461"/>
                <a:gd name="T18" fmla="*/ 895 w 1150"/>
                <a:gd name="T19" fmla="*/ 437 h 461"/>
                <a:gd name="T20" fmla="*/ 841 w 1150"/>
                <a:gd name="T21" fmla="*/ 421 h 461"/>
                <a:gd name="T22" fmla="*/ 787 w 1150"/>
                <a:gd name="T23" fmla="*/ 421 h 461"/>
                <a:gd name="T24" fmla="*/ 782 w 1150"/>
                <a:gd name="T25" fmla="*/ 404 h 461"/>
                <a:gd name="T26" fmla="*/ 803 w 1150"/>
                <a:gd name="T27" fmla="*/ 383 h 461"/>
                <a:gd name="T28" fmla="*/ 820 w 1150"/>
                <a:gd name="T29" fmla="*/ 333 h 461"/>
                <a:gd name="T30" fmla="*/ 836 w 1150"/>
                <a:gd name="T31" fmla="*/ 243 h 461"/>
                <a:gd name="T32" fmla="*/ 810 w 1150"/>
                <a:gd name="T33" fmla="*/ 284 h 461"/>
                <a:gd name="T34" fmla="*/ 798 w 1150"/>
                <a:gd name="T35" fmla="*/ 293 h 461"/>
                <a:gd name="T36" fmla="*/ 765 w 1150"/>
                <a:gd name="T37" fmla="*/ 255 h 461"/>
                <a:gd name="T38" fmla="*/ 765 w 1150"/>
                <a:gd name="T39" fmla="*/ 201 h 461"/>
                <a:gd name="T40" fmla="*/ 772 w 1150"/>
                <a:gd name="T41" fmla="*/ 168 h 461"/>
                <a:gd name="T42" fmla="*/ 787 w 1150"/>
                <a:gd name="T43" fmla="*/ 144 h 461"/>
                <a:gd name="T44" fmla="*/ 820 w 1150"/>
                <a:gd name="T45" fmla="*/ 73 h 461"/>
                <a:gd name="T46" fmla="*/ 891 w 1150"/>
                <a:gd name="T47" fmla="*/ 17 h 461"/>
                <a:gd name="T48" fmla="*/ 907 w 1150"/>
                <a:gd name="T49" fmla="*/ 0 h 461"/>
                <a:gd name="T50" fmla="*/ 895 w 1150"/>
                <a:gd name="T51" fmla="*/ 0 h 461"/>
                <a:gd name="T52" fmla="*/ 891 w 1150"/>
                <a:gd name="T53" fmla="*/ 7 h 461"/>
                <a:gd name="T54" fmla="*/ 80 w 1150"/>
                <a:gd name="T55" fmla="*/ 73 h 461"/>
                <a:gd name="T56" fmla="*/ 80 w 1150"/>
                <a:gd name="T57" fmla="*/ 78 h 461"/>
                <a:gd name="T58" fmla="*/ 14 w 1150"/>
                <a:gd name="T59" fmla="*/ 172 h 461"/>
                <a:gd name="T60" fmla="*/ 31 w 1150"/>
                <a:gd name="T61" fmla="*/ 151 h 461"/>
                <a:gd name="T62" fmla="*/ 14 w 1150"/>
                <a:gd name="T63" fmla="*/ 106 h 461"/>
                <a:gd name="T64" fmla="*/ 31 w 1150"/>
                <a:gd name="T65" fmla="*/ 106 h 461"/>
                <a:gd name="T66" fmla="*/ 47 w 1150"/>
                <a:gd name="T67" fmla="*/ 144 h 461"/>
                <a:gd name="T68" fmla="*/ 31 w 1150"/>
                <a:gd name="T69" fmla="*/ 172 h 461"/>
                <a:gd name="T70" fmla="*/ 69 w 1150"/>
                <a:gd name="T71" fmla="*/ 128 h 461"/>
                <a:gd name="T72" fmla="*/ 69 w 1150"/>
                <a:gd name="T73" fmla="*/ 118 h 461"/>
                <a:gd name="T74" fmla="*/ 69 w 1150"/>
                <a:gd name="T75" fmla="*/ 128 h 461"/>
                <a:gd name="T76" fmla="*/ 0 w 1150"/>
                <a:gd name="T77" fmla="*/ 128 h 461"/>
                <a:gd name="T78" fmla="*/ 9 w 1150"/>
                <a:gd name="T79" fmla="*/ 135 h 461"/>
                <a:gd name="T80" fmla="*/ 97 w 1150"/>
                <a:gd name="T81" fmla="*/ 161 h 461"/>
                <a:gd name="T82" fmla="*/ 102 w 1150"/>
                <a:gd name="T83" fmla="*/ 144 h 461"/>
                <a:gd name="T84" fmla="*/ 97 w 1150"/>
                <a:gd name="T85" fmla="*/ 161 h 461"/>
                <a:gd name="T86" fmla="*/ 139 w 1150"/>
                <a:gd name="T87" fmla="*/ 168 h 461"/>
                <a:gd name="T88" fmla="*/ 151 w 1150"/>
                <a:gd name="T89" fmla="*/ 168 h 461"/>
                <a:gd name="T90" fmla="*/ 85 w 1150"/>
                <a:gd name="T91" fmla="*/ 201 h 461"/>
                <a:gd name="T92" fmla="*/ 85 w 1150"/>
                <a:gd name="T93" fmla="*/ 189 h 461"/>
                <a:gd name="T94" fmla="*/ 85 w 1150"/>
                <a:gd name="T95" fmla="*/ 201 h 461"/>
                <a:gd name="T96" fmla="*/ 803 w 1150"/>
                <a:gd name="T97" fmla="*/ 293 h 461"/>
                <a:gd name="T98" fmla="*/ 803 w 1150"/>
                <a:gd name="T99" fmla="*/ 317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0" h="461">
                  <a:moveTo>
                    <a:pt x="907" y="0"/>
                  </a:moveTo>
                  <a:lnTo>
                    <a:pt x="950" y="33"/>
                  </a:lnTo>
                  <a:lnTo>
                    <a:pt x="966" y="40"/>
                  </a:lnTo>
                  <a:lnTo>
                    <a:pt x="983" y="40"/>
                  </a:lnTo>
                  <a:lnTo>
                    <a:pt x="983" y="50"/>
                  </a:lnTo>
                  <a:lnTo>
                    <a:pt x="999" y="57"/>
                  </a:lnTo>
                  <a:lnTo>
                    <a:pt x="1004" y="73"/>
                  </a:lnTo>
                  <a:lnTo>
                    <a:pt x="1058" y="90"/>
                  </a:lnTo>
                  <a:lnTo>
                    <a:pt x="1068" y="78"/>
                  </a:lnTo>
                  <a:lnTo>
                    <a:pt x="1068" y="73"/>
                  </a:lnTo>
                  <a:lnTo>
                    <a:pt x="1080" y="73"/>
                  </a:lnTo>
                  <a:lnTo>
                    <a:pt x="1096" y="78"/>
                  </a:lnTo>
                  <a:lnTo>
                    <a:pt x="1113" y="95"/>
                  </a:lnTo>
                  <a:lnTo>
                    <a:pt x="1150" y="111"/>
                  </a:lnTo>
                  <a:lnTo>
                    <a:pt x="1122" y="111"/>
                  </a:lnTo>
                  <a:lnTo>
                    <a:pt x="1150" y="144"/>
                  </a:lnTo>
                  <a:lnTo>
                    <a:pt x="1150" y="151"/>
                  </a:lnTo>
                  <a:lnTo>
                    <a:pt x="1150" y="168"/>
                  </a:lnTo>
                  <a:lnTo>
                    <a:pt x="1143" y="168"/>
                  </a:lnTo>
                  <a:lnTo>
                    <a:pt x="1127" y="217"/>
                  </a:lnTo>
                  <a:lnTo>
                    <a:pt x="1089" y="255"/>
                  </a:lnTo>
                  <a:lnTo>
                    <a:pt x="1051" y="284"/>
                  </a:lnTo>
                  <a:lnTo>
                    <a:pt x="966" y="317"/>
                  </a:lnTo>
                  <a:lnTo>
                    <a:pt x="945" y="338"/>
                  </a:lnTo>
                  <a:lnTo>
                    <a:pt x="945" y="354"/>
                  </a:lnTo>
                  <a:lnTo>
                    <a:pt x="933" y="350"/>
                  </a:lnTo>
                  <a:lnTo>
                    <a:pt x="928" y="371"/>
                  </a:lnTo>
                  <a:lnTo>
                    <a:pt x="912" y="411"/>
                  </a:lnTo>
                  <a:lnTo>
                    <a:pt x="912" y="428"/>
                  </a:lnTo>
                  <a:lnTo>
                    <a:pt x="895" y="437"/>
                  </a:lnTo>
                  <a:lnTo>
                    <a:pt x="879" y="461"/>
                  </a:lnTo>
                  <a:lnTo>
                    <a:pt x="862" y="461"/>
                  </a:lnTo>
                  <a:lnTo>
                    <a:pt x="841" y="421"/>
                  </a:lnTo>
                  <a:lnTo>
                    <a:pt x="824" y="421"/>
                  </a:lnTo>
                  <a:lnTo>
                    <a:pt x="803" y="411"/>
                  </a:lnTo>
                  <a:lnTo>
                    <a:pt x="787" y="421"/>
                  </a:lnTo>
                  <a:lnTo>
                    <a:pt x="782" y="421"/>
                  </a:lnTo>
                  <a:lnTo>
                    <a:pt x="798" y="404"/>
                  </a:lnTo>
                  <a:lnTo>
                    <a:pt x="782" y="404"/>
                  </a:lnTo>
                  <a:lnTo>
                    <a:pt x="782" y="387"/>
                  </a:lnTo>
                  <a:lnTo>
                    <a:pt x="798" y="387"/>
                  </a:lnTo>
                  <a:lnTo>
                    <a:pt x="803" y="383"/>
                  </a:lnTo>
                  <a:lnTo>
                    <a:pt x="798" y="350"/>
                  </a:lnTo>
                  <a:lnTo>
                    <a:pt x="798" y="338"/>
                  </a:lnTo>
                  <a:lnTo>
                    <a:pt x="820" y="333"/>
                  </a:lnTo>
                  <a:lnTo>
                    <a:pt x="836" y="284"/>
                  </a:lnTo>
                  <a:lnTo>
                    <a:pt x="824" y="272"/>
                  </a:lnTo>
                  <a:lnTo>
                    <a:pt x="836" y="243"/>
                  </a:lnTo>
                  <a:lnTo>
                    <a:pt x="824" y="255"/>
                  </a:lnTo>
                  <a:lnTo>
                    <a:pt x="824" y="284"/>
                  </a:lnTo>
                  <a:lnTo>
                    <a:pt x="810" y="284"/>
                  </a:lnTo>
                  <a:lnTo>
                    <a:pt x="820" y="272"/>
                  </a:lnTo>
                  <a:lnTo>
                    <a:pt x="820" y="272"/>
                  </a:lnTo>
                  <a:lnTo>
                    <a:pt x="798" y="293"/>
                  </a:lnTo>
                  <a:lnTo>
                    <a:pt x="756" y="272"/>
                  </a:lnTo>
                  <a:lnTo>
                    <a:pt x="749" y="255"/>
                  </a:lnTo>
                  <a:lnTo>
                    <a:pt x="765" y="255"/>
                  </a:lnTo>
                  <a:lnTo>
                    <a:pt x="765" y="239"/>
                  </a:lnTo>
                  <a:lnTo>
                    <a:pt x="756" y="217"/>
                  </a:lnTo>
                  <a:lnTo>
                    <a:pt x="765" y="201"/>
                  </a:lnTo>
                  <a:lnTo>
                    <a:pt x="749" y="172"/>
                  </a:lnTo>
                  <a:lnTo>
                    <a:pt x="756" y="168"/>
                  </a:lnTo>
                  <a:lnTo>
                    <a:pt x="772" y="168"/>
                  </a:lnTo>
                  <a:lnTo>
                    <a:pt x="787" y="144"/>
                  </a:lnTo>
                  <a:lnTo>
                    <a:pt x="798" y="144"/>
                  </a:lnTo>
                  <a:lnTo>
                    <a:pt x="787" y="144"/>
                  </a:lnTo>
                  <a:lnTo>
                    <a:pt x="782" y="128"/>
                  </a:lnTo>
                  <a:lnTo>
                    <a:pt x="810" y="95"/>
                  </a:lnTo>
                  <a:lnTo>
                    <a:pt x="820" y="73"/>
                  </a:lnTo>
                  <a:lnTo>
                    <a:pt x="810" y="50"/>
                  </a:lnTo>
                  <a:lnTo>
                    <a:pt x="810" y="40"/>
                  </a:lnTo>
                  <a:lnTo>
                    <a:pt x="891" y="17"/>
                  </a:lnTo>
                  <a:lnTo>
                    <a:pt x="907" y="0"/>
                  </a:lnTo>
                  <a:lnTo>
                    <a:pt x="907" y="0"/>
                  </a:lnTo>
                  <a:lnTo>
                    <a:pt x="907" y="0"/>
                  </a:lnTo>
                  <a:close/>
                  <a:moveTo>
                    <a:pt x="891" y="7"/>
                  </a:moveTo>
                  <a:lnTo>
                    <a:pt x="891" y="7"/>
                  </a:lnTo>
                  <a:lnTo>
                    <a:pt x="895" y="0"/>
                  </a:lnTo>
                  <a:lnTo>
                    <a:pt x="891" y="7"/>
                  </a:lnTo>
                  <a:lnTo>
                    <a:pt x="891" y="7"/>
                  </a:lnTo>
                  <a:lnTo>
                    <a:pt x="891" y="7"/>
                  </a:lnTo>
                  <a:close/>
                  <a:moveTo>
                    <a:pt x="80" y="78"/>
                  </a:moveTo>
                  <a:lnTo>
                    <a:pt x="80" y="78"/>
                  </a:lnTo>
                  <a:lnTo>
                    <a:pt x="80" y="73"/>
                  </a:lnTo>
                  <a:lnTo>
                    <a:pt x="85" y="78"/>
                  </a:lnTo>
                  <a:lnTo>
                    <a:pt x="80" y="78"/>
                  </a:lnTo>
                  <a:lnTo>
                    <a:pt x="80" y="78"/>
                  </a:lnTo>
                  <a:lnTo>
                    <a:pt x="80" y="78"/>
                  </a:lnTo>
                  <a:close/>
                  <a:moveTo>
                    <a:pt x="31" y="172"/>
                  </a:moveTo>
                  <a:lnTo>
                    <a:pt x="14" y="172"/>
                  </a:lnTo>
                  <a:lnTo>
                    <a:pt x="9" y="168"/>
                  </a:lnTo>
                  <a:lnTo>
                    <a:pt x="26" y="151"/>
                  </a:lnTo>
                  <a:lnTo>
                    <a:pt x="31" y="151"/>
                  </a:lnTo>
                  <a:lnTo>
                    <a:pt x="43" y="144"/>
                  </a:lnTo>
                  <a:lnTo>
                    <a:pt x="14" y="118"/>
                  </a:lnTo>
                  <a:lnTo>
                    <a:pt x="14" y="106"/>
                  </a:lnTo>
                  <a:lnTo>
                    <a:pt x="0" y="106"/>
                  </a:lnTo>
                  <a:lnTo>
                    <a:pt x="14" y="90"/>
                  </a:lnTo>
                  <a:lnTo>
                    <a:pt x="31" y="106"/>
                  </a:lnTo>
                  <a:lnTo>
                    <a:pt x="31" y="118"/>
                  </a:lnTo>
                  <a:lnTo>
                    <a:pt x="47" y="128"/>
                  </a:lnTo>
                  <a:lnTo>
                    <a:pt x="47" y="144"/>
                  </a:lnTo>
                  <a:lnTo>
                    <a:pt x="52" y="151"/>
                  </a:lnTo>
                  <a:lnTo>
                    <a:pt x="47" y="168"/>
                  </a:lnTo>
                  <a:lnTo>
                    <a:pt x="31" y="172"/>
                  </a:lnTo>
                  <a:lnTo>
                    <a:pt x="31" y="172"/>
                  </a:lnTo>
                  <a:lnTo>
                    <a:pt x="31" y="172"/>
                  </a:lnTo>
                  <a:close/>
                  <a:moveTo>
                    <a:pt x="69" y="128"/>
                  </a:moveTo>
                  <a:lnTo>
                    <a:pt x="52" y="128"/>
                  </a:lnTo>
                  <a:lnTo>
                    <a:pt x="52" y="111"/>
                  </a:lnTo>
                  <a:lnTo>
                    <a:pt x="69" y="118"/>
                  </a:lnTo>
                  <a:lnTo>
                    <a:pt x="80" y="118"/>
                  </a:lnTo>
                  <a:lnTo>
                    <a:pt x="69" y="128"/>
                  </a:lnTo>
                  <a:lnTo>
                    <a:pt x="69" y="128"/>
                  </a:lnTo>
                  <a:lnTo>
                    <a:pt x="69" y="128"/>
                  </a:lnTo>
                  <a:close/>
                  <a:moveTo>
                    <a:pt x="9" y="135"/>
                  </a:moveTo>
                  <a:lnTo>
                    <a:pt x="0" y="128"/>
                  </a:lnTo>
                  <a:lnTo>
                    <a:pt x="9" y="118"/>
                  </a:lnTo>
                  <a:lnTo>
                    <a:pt x="14" y="135"/>
                  </a:lnTo>
                  <a:lnTo>
                    <a:pt x="9" y="135"/>
                  </a:lnTo>
                  <a:lnTo>
                    <a:pt x="9" y="135"/>
                  </a:lnTo>
                  <a:lnTo>
                    <a:pt x="9" y="135"/>
                  </a:lnTo>
                  <a:close/>
                  <a:moveTo>
                    <a:pt x="97" y="161"/>
                  </a:moveTo>
                  <a:lnTo>
                    <a:pt x="80" y="151"/>
                  </a:lnTo>
                  <a:lnTo>
                    <a:pt x="80" y="135"/>
                  </a:lnTo>
                  <a:lnTo>
                    <a:pt x="102" y="144"/>
                  </a:lnTo>
                  <a:lnTo>
                    <a:pt x="102" y="151"/>
                  </a:lnTo>
                  <a:lnTo>
                    <a:pt x="97" y="161"/>
                  </a:lnTo>
                  <a:lnTo>
                    <a:pt x="97" y="161"/>
                  </a:lnTo>
                  <a:lnTo>
                    <a:pt x="97" y="161"/>
                  </a:lnTo>
                  <a:close/>
                  <a:moveTo>
                    <a:pt x="151" y="168"/>
                  </a:moveTo>
                  <a:lnTo>
                    <a:pt x="139" y="168"/>
                  </a:lnTo>
                  <a:lnTo>
                    <a:pt x="172" y="151"/>
                  </a:lnTo>
                  <a:lnTo>
                    <a:pt x="156" y="168"/>
                  </a:lnTo>
                  <a:lnTo>
                    <a:pt x="151" y="168"/>
                  </a:lnTo>
                  <a:lnTo>
                    <a:pt x="151" y="168"/>
                  </a:lnTo>
                  <a:lnTo>
                    <a:pt x="151" y="168"/>
                  </a:lnTo>
                  <a:close/>
                  <a:moveTo>
                    <a:pt x="85" y="201"/>
                  </a:moveTo>
                  <a:lnTo>
                    <a:pt x="80" y="189"/>
                  </a:lnTo>
                  <a:lnTo>
                    <a:pt x="80" y="189"/>
                  </a:lnTo>
                  <a:lnTo>
                    <a:pt x="85" y="189"/>
                  </a:lnTo>
                  <a:lnTo>
                    <a:pt x="85" y="201"/>
                  </a:lnTo>
                  <a:lnTo>
                    <a:pt x="85" y="201"/>
                  </a:lnTo>
                  <a:lnTo>
                    <a:pt x="85" y="201"/>
                  </a:lnTo>
                  <a:close/>
                  <a:moveTo>
                    <a:pt x="803" y="317"/>
                  </a:moveTo>
                  <a:lnTo>
                    <a:pt x="798" y="317"/>
                  </a:lnTo>
                  <a:lnTo>
                    <a:pt x="803" y="293"/>
                  </a:lnTo>
                  <a:lnTo>
                    <a:pt x="820" y="293"/>
                  </a:lnTo>
                  <a:lnTo>
                    <a:pt x="824" y="293"/>
                  </a:lnTo>
                  <a:lnTo>
                    <a:pt x="803" y="317"/>
                  </a:lnTo>
                  <a:lnTo>
                    <a:pt x="803" y="317"/>
                  </a:lnTo>
                  <a:lnTo>
                    <a:pt x="803" y="31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1" name="Freeform 430">
              <a:extLst>
                <a:ext uri="{FF2B5EF4-FFF2-40B4-BE49-F238E27FC236}">
                  <a16:creationId xmlns:a16="http://schemas.microsoft.com/office/drawing/2014/main" id="{3DB48DE8-6B70-4FE7-98EB-B1FA3366875B}"/>
                </a:ext>
              </a:extLst>
            </p:cNvPr>
            <p:cNvSpPr>
              <a:spLocks/>
            </p:cNvSpPr>
            <p:nvPr/>
          </p:nvSpPr>
          <p:spPr bwMode="gray">
            <a:xfrm>
              <a:off x="14312680" y="3343622"/>
              <a:ext cx="276893" cy="242854"/>
            </a:xfrm>
            <a:custGeom>
              <a:avLst/>
              <a:gdLst>
                <a:gd name="T0" fmla="*/ 468 w 846"/>
                <a:gd name="T1" fmla="*/ 742 h 742"/>
                <a:gd name="T2" fmla="*/ 468 w 846"/>
                <a:gd name="T3" fmla="*/ 725 h 742"/>
                <a:gd name="T4" fmla="*/ 17 w 846"/>
                <a:gd name="T5" fmla="*/ 742 h 742"/>
                <a:gd name="T6" fmla="*/ 17 w 846"/>
                <a:gd name="T7" fmla="*/ 189 h 742"/>
                <a:gd name="T8" fmla="*/ 17 w 846"/>
                <a:gd name="T9" fmla="*/ 66 h 742"/>
                <a:gd name="T10" fmla="*/ 31 w 846"/>
                <a:gd name="T11" fmla="*/ 0 h 742"/>
                <a:gd name="T12" fmla="*/ 38 w 846"/>
                <a:gd name="T13" fmla="*/ 10 h 742"/>
                <a:gd name="T14" fmla="*/ 177 w 846"/>
                <a:gd name="T15" fmla="*/ 21 h 742"/>
                <a:gd name="T16" fmla="*/ 198 w 846"/>
                <a:gd name="T17" fmla="*/ 38 h 742"/>
                <a:gd name="T18" fmla="*/ 224 w 846"/>
                <a:gd name="T19" fmla="*/ 45 h 742"/>
                <a:gd name="T20" fmla="*/ 300 w 846"/>
                <a:gd name="T21" fmla="*/ 62 h 742"/>
                <a:gd name="T22" fmla="*/ 371 w 846"/>
                <a:gd name="T23" fmla="*/ 21 h 742"/>
                <a:gd name="T24" fmla="*/ 387 w 846"/>
                <a:gd name="T25" fmla="*/ 29 h 742"/>
                <a:gd name="T26" fmla="*/ 404 w 846"/>
                <a:gd name="T27" fmla="*/ 10 h 742"/>
                <a:gd name="T28" fmla="*/ 409 w 846"/>
                <a:gd name="T29" fmla="*/ 21 h 742"/>
                <a:gd name="T30" fmla="*/ 446 w 846"/>
                <a:gd name="T31" fmla="*/ 10 h 742"/>
                <a:gd name="T32" fmla="*/ 480 w 846"/>
                <a:gd name="T33" fmla="*/ 10 h 742"/>
                <a:gd name="T34" fmla="*/ 522 w 846"/>
                <a:gd name="T35" fmla="*/ 29 h 742"/>
                <a:gd name="T36" fmla="*/ 494 w 846"/>
                <a:gd name="T37" fmla="*/ 29 h 742"/>
                <a:gd name="T38" fmla="*/ 510 w 846"/>
                <a:gd name="T39" fmla="*/ 29 h 742"/>
                <a:gd name="T40" fmla="*/ 532 w 846"/>
                <a:gd name="T41" fmla="*/ 38 h 742"/>
                <a:gd name="T42" fmla="*/ 555 w 846"/>
                <a:gd name="T43" fmla="*/ 45 h 742"/>
                <a:gd name="T44" fmla="*/ 586 w 846"/>
                <a:gd name="T45" fmla="*/ 45 h 742"/>
                <a:gd name="T46" fmla="*/ 628 w 846"/>
                <a:gd name="T47" fmla="*/ 38 h 742"/>
                <a:gd name="T48" fmla="*/ 673 w 846"/>
                <a:gd name="T49" fmla="*/ 29 h 742"/>
                <a:gd name="T50" fmla="*/ 699 w 846"/>
                <a:gd name="T51" fmla="*/ 177 h 742"/>
                <a:gd name="T52" fmla="*/ 678 w 846"/>
                <a:gd name="T53" fmla="*/ 260 h 742"/>
                <a:gd name="T54" fmla="*/ 661 w 846"/>
                <a:gd name="T55" fmla="*/ 305 h 742"/>
                <a:gd name="T56" fmla="*/ 591 w 846"/>
                <a:gd name="T57" fmla="*/ 244 h 742"/>
                <a:gd name="T58" fmla="*/ 565 w 846"/>
                <a:gd name="T59" fmla="*/ 170 h 742"/>
                <a:gd name="T60" fmla="*/ 532 w 846"/>
                <a:gd name="T61" fmla="*/ 166 h 742"/>
                <a:gd name="T62" fmla="*/ 555 w 846"/>
                <a:gd name="T63" fmla="*/ 222 h 742"/>
                <a:gd name="T64" fmla="*/ 619 w 846"/>
                <a:gd name="T65" fmla="*/ 288 h 742"/>
                <a:gd name="T66" fmla="*/ 607 w 846"/>
                <a:gd name="T67" fmla="*/ 298 h 742"/>
                <a:gd name="T68" fmla="*/ 640 w 846"/>
                <a:gd name="T69" fmla="*/ 343 h 742"/>
                <a:gd name="T70" fmla="*/ 645 w 846"/>
                <a:gd name="T71" fmla="*/ 388 h 742"/>
                <a:gd name="T72" fmla="*/ 725 w 846"/>
                <a:gd name="T73" fmla="*/ 553 h 742"/>
                <a:gd name="T74" fmla="*/ 754 w 846"/>
                <a:gd name="T75" fmla="*/ 598 h 742"/>
                <a:gd name="T76" fmla="*/ 763 w 846"/>
                <a:gd name="T77" fmla="*/ 671 h 742"/>
                <a:gd name="T78" fmla="*/ 801 w 846"/>
                <a:gd name="T79" fmla="*/ 692 h 742"/>
                <a:gd name="T80" fmla="*/ 846 w 846"/>
                <a:gd name="T81" fmla="*/ 742 h 742"/>
                <a:gd name="T82" fmla="*/ 846 w 846"/>
                <a:gd name="T83" fmla="*/ 74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6" h="742">
                  <a:moveTo>
                    <a:pt x="846" y="742"/>
                  </a:moveTo>
                  <a:lnTo>
                    <a:pt x="468" y="742"/>
                  </a:lnTo>
                  <a:lnTo>
                    <a:pt x="480" y="737"/>
                  </a:lnTo>
                  <a:lnTo>
                    <a:pt x="468" y="725"/>
                  </a:lnTo>
                  <a:lnTo>
                    <a:pt x="458" y="742"/>
                  </a:lnTo>
                  <a:lnTo>
                    <a:pt x="17" y="742"/>
                  </a:lnTo>
                  <a:lnTo>
                    <a:pt x="17" y="314"/>
                  </a:lnTo>
                  <a:lnTo>
                    <a:pt x="17" y="189"/>
                  </a:lnTo>
                  <a:lnTo>
                    <a:pt x="0" y="116"/>
                  </a:lnTo>
                  <a:lnTo>
                    <a:pt x="17" y="66"/>
                  </a:lnTo>
                  <a:lnTo>
                    <a:pt x="9" y="21"/>
                  </a:lnTo>
                  <a:lnTo>
                    <a:pt x="31" y="0"/>
                  </a:lnTo>
                  <a:lnTo>
                    <a:pt x="31" y="5"/>
                  </a:lnTo>
                  <a:lnTo>
                    <a:pt x="38" y="10"/>
                  </a:lnTo>
                  <a:lnTo>
                    <a:pt x="85" y="0"/>
                  </a:lnTo>
                  <a:lnTo>
                    <a:pt x="177" y="21"/>
                  </a:lnTo>
                  <a:lnTo>
                    <a:pt x="189" y="29"/>
                  </a:lnTo>
                  <a:lnTo>
                    <a:pt x="198" y="38"/>
                  </a:lnTo>
                  <a:lnTo>
                    <a:pt x="215" y="29"/>
                  </a:lnTo>
                  <a:lnTo>
                    <a:pt x="224" y="45"/>
                  </a:lnTo>
                  <a:lnTo>
                    <a:pt x="253" y="45"/>
                  </a:lnTo>
                  <a:lnTo>
                    <a:pt x="300" y="62"/>
                  </a:lnTo>
                  <a:lnTo>
                    <a:pt x="333" y="55"/>
                  </a:lnTo>
                  <a:lnTo>
                    <a:pt x="371" y="21"/>
                  </a:lnTo>
                  <a:lnTo>
                    <a:pt x="376" y="29"/>
                  </a:lnTo>
                  <a:lnTo>
                    <a:pt x="387" y="29"/>
                  </a:lnTo>
                  <a:lnTo>
                    <a:pt x="392" y="5"/>
                  </a:lnTo>
                  <a:lnTo>
                    <a:pt x="404" y="10"/>
                  </a:lnTo>
                  <a:lnTo>
                    <a:pt x="442" y="5"/>
                  </a:lnTo>
                  <a:lnTo>
                    <a:pt x="409" y="21"/>
                  </a:lnTo>
                  <a:lnTo>
                    <a:pt x="430" y="10"/>
                  </a:lnTo>
                  <a:lnTo>
                    <a:pt x="446" y="10"/>
                  </a:lnTo>
                  <a:lnTo>
                    <a:pt x="442" y="5"/>
                  </a:lnTo>
                  <a:lnTo>
                    <a:pt x="480" y="10"/>
                  </a:lnTo>
                  <a:lnTo>
                    <a:pt x="501" y="5"/>
                  </a:lnTo>
                  <a:lnTo>
                    <a:pt x="522" y="29"/>
                  </a:lnTo>
                  <a:lnTo>
                    <a:pt x="501" y="5"/>
                  </a:lnTo>
                  <a:lnTo>
                    <a:pt x="494" y="29"/>
                  </a:lnTo>
                  <a:lnTo>
                    <a:pt x="501" y="38"/>
                  </a:lnTo>
                  <a:lnTo>
                    <a:pt x="510" y="29"/>
                  </a:lnTo>
                  <a:lnTo>
                    <a:pt x="517" y="45"/>
                  </a:lnTo>
                  <a:lnTo>
                    <a:pt x="532" y="38"/>
                  </a:lnTo>
                  <a:lnTo>
                    <a:pt x="522" y="29"/>
                  </a:lnTo>
                  <a:lnTo>
                    <a:pt x="555" y="45"/>
                  </a:lnTo>
                  <a:lnTo>
                    <a:pt x="586" y="38"/>
                  </a:lnTo>
                  <a:lnTo>
                    <a:pt x="586" y="45"/>
                  </a:lnTo>
                  <a:lnTo>
                    <a:pt x="607" y="38"/>
                  </a:lnTo>
                  <a:lnTo>
                    <a:pt x="628" y="38"/>
                  </a:lnTo>
                  <a:lnTo>
                    <a:pt x="661" y="21"/>
                  </a:lnTo>
                  <a:lnTo>
                    <a:pt x="673" y="29"/>
                  </a:lnTo>
                  <a:lnTo>
                    <a:pt x="711" y="170"/>
                  </a:lnTo>
                  <a:lnTo>
                    <a:pt x="699" y="177"/>
                  </a:lnTo>
                  <a:lnTo>
                    <a:pt x="695" y="227"/>
                  </a:lnTo>
                  <a:lnTo>
                    <a:pt x="678" y="260"/>
                  </a:lnTo>
                  <a:lnTo>
                    <a:pt x="678" y="281"/>
                  </a:lnTo>
                  <a:lnTo>
                    <a:pt x="661" y="305"/>
                  </a:lnTo>
                  <a:lnTo>
                    <a:pt x="628" y="281"/>
                  </a:lnTo>
                  <a:lnTo>
                    <a:pt x="591" y="244"/>
                  </a:lnTo>
                  <a:lnTo>
                    <a:pt x="591" y="206"/>
                  </a:lnTo>
                  <a:lnTo>
                    <a:pt x="565" y="170"/>
                  </a:lnTo>
                  <a:lnTo>
                    <a:pt x="548" y="121"/>
                  </a:lnTo>
                  <a:lnTo>
                    <a:pt x="532" y="166"/>
                  </a:lnTo>
                  <a:lnTo>
                    <a:pt x="548" y="177"/>
                  </a:lnTo>
                  <a:lnTo>
                    <a:pt x="555" y="222"/>
                  </a:lnTo>
                  <a:lnTo>
                    <a:pt x="586" y="265"/>
                  </a:lnTo>
                  <a:lnTo>
                    <a:pt x="619" y="288"/>
                  </a:lnTo>
                  <a:lnTo>
                    <a:pt x="619" y="298"/>
                  </a:lnTo>
                  <a:lnTo>
                    <a:pt x="607" y="298"/>
                  </a:lnTo>
                  <a:lnTo>
                    <a:pt x="607" y="314"/>
                  </a:lnTo>
                  <a:lnTo>
                    <a:pt x="640" y="343"/>
                  </a:lnTo>
                  <a:lnTo>
                    <a:pt x="645" y="371"/>
                  </a:lnTo>
                  <a:lnTo>
                    <a:pt x="645" y="388"/>
                  </a:lnTo>
                  <a:lnTo>
                    <a:pt x="683" y="466"/>
                  </a:lnTo>
                  <a:lnTo>
                    <a:pt x="725" y="553"/>
                  </a:lnTo>
                  <a:lnTo>
                    <a:pt x="780" y="598"/>
                  </a:lnTo>
                  <a:lnTo>
                    <a:pt x="754" y="598"/>
                  </a:lnTo>
                  <a:lnTo>
                    <a:pt x="754" y="631"/>
                  </a:lnTo>
                  <a:lnTo>
                    <a:pt x="763" y="671"/>
                  </a:lnTo>
                  <a:lnTo>
                    <a:pt x="780" y="688"/>
                  </a:lnTo>
                  <a:lnTo>
                    <a:pt x="801" y="692"/>
                  </a:lnTo>
                  <a:lnTo>
                    <a:pt x="824" y="721"/>
                  </a:lnTo>
                  <a:lnTo>
                    <a:pt x="846" y="742"/>
                  </a:lnTo>
                  <a:lnTo>
                    <a:pt x="846" y="742"/>
                  </a:lnTo>
                  <a:lnTo>
                    <a:pt x="846" y="74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2" name="Freeform 431">
              <a:extLst>
                <a:ext uri="{FF2B5EF4-FFF2-40B4-BE49-F238E27FC236}">
                  <a16:creationId xmlns:a16="http://schemas.microsoft.com/office/drawing/2014/main" id="{448CFD7B-907A-443F-9AEE-133882B057DC}"/>
                </a:ext>
              </a:extLst>
            </p:cNvPr>
            <p:cNvSpPr>
              <a:spLocks noEditPoints="1"/>
            </p:cNvSpPr>
            <p:nvPr/>
          </p:nvSpPr>
          <p:spPr bwMode="gray">
            <a:xfrm>
              <a:off x="13504912" y="2655645"/>
              <a:ext cx="99498" cy="126009"/>
            </a:xfrm>
            <a:custGeom>
              <a:avLst/>
              <a:gdLst>
                <a:gd name="T0" fmla="*/ 198 w 304"/>
                <a:gd name="T1" fmla="*/ 59 h 385"/>
                <a:gd name="T2" fmla="*/ 193 w 304"/>
                <a:gd name="T3" fmla="*/ 75 h 385"/>
                <a:gd name="T4" fmla="*/ 181 w 304"/>
                <a:gd name="T5" fmla="*/ 116 h 385"/>
                <a:gd name="T6" fmla="*/ 236 w 304"/>
                <a:gd name="T7" fmla="*/ 92 h 385"/>
                <a:gd name="T8" fmla="*/ 288 w 304"/>
                <a:gd name="T9" fmla="*/ 125 h 385"/>
                <a:gd name="T10" fmla="*/ 283 w 304"/>
                <a:gd name="T11" fmla="*/ 132 h 385"/>
                <a:gd name="T12" fmla="*/ 304 w 304"/>
                <a:gd name="T13" fmla="*/ 182 h 385"/>
                <a:gd name="T14" fmla="*/ 304 w 304"/>
                <a:gd name="T15" fmla="*/ 220 h 385"/>
                <a:gd name="T16" fmla="*/ 288 w 304"/>
                <a:gd name="T17" fmla="*/ 264 h 385"/>
                <a:gd name="T18" fmla="*/ 274 w 304"/>
                <a:gd name="T19" fmla="*/ 298 h 385"/>
                <a:gd name="T20" fmla="*/ 283 w 304"/>
                <a:gd name="T21" fmla="*/ 314 h 385"/>
                <a:gd name="T22" fmla="*/ 236 w 304"/>
                <a:gd name="T23" fmla="*/ 298 h 385"/>
                <a:gd name="T24" fmla="*/ 198 w 304"/>
                <a:gd name="T25" fmla="*/ 319 h 385"/>
                <a:gd name="T26" fmla="*/ 181 w 304"/>
                <a:gd name="T27" fmla="*/ 331 h 385"/>
                <a:gd name="T28" fmla="*/ 160 w 304"/>
                <a:gd name="T29" fmla="*/ 347 h 385"/>
                <a:gd name="T30" fmla="*/ 155 w 304"/>
                <a:gd name="T31" fmla="*/ 335 h 385"/>
                <a:gd name="T32" fmla="*/ 144 w 304"/>
                <a:gd name="T33" fmla="*/ 335 h 385"/>
                <a:gd name="T34" fmla="*/ 122 w 304"/>
                <a:gd name="T35" fmla="*/ 368 h 385"/>
                <a:gd name="T36" fmla="*/ 70 w 304"/>
                <a:gd name="T37" fmla="*/ 373 h 385"/>
                <a:gd name="T38" fmla="*/ 59 w 304"/>
                <a:gd name="T39" fmla="*/ 368 h 385"/>
                <a:gd name="T40" fmla="*/ 70 w 304"/>
                <a:gd name="T41" fmla="*/ 364 h 385"/>
                <a:gd name="T42" fmla="*/ 21 w 304"/>
                <a:gd name="T43" fmla="*/ 368 h 385"/>
                <a:gd name="T44" fmla="*/ 21 w 304"/>
                <a:gd name="T45" fmla="*/ 352 h 385"/>
                <a:gd name="T46" fmla="*/ 4 w 304"/>
                <a:gd name="T47" fmla="*/ 352 h 385"/>
                <a:gd name="T48" fmla="*/ 16 w 304"/>
                <a:gd name="T49" fmla="*/ 331 h 385"/>
                <a:gd name="T50" fmla="*/ 0 w 304"/>
                <a:gd name="T51" fmla="*/ 319 h 385"/>
                <a:gd name="T52" fmla="*/ 21 w 304"/>
                <a:gd name="T53" fmla="*/ 298 h 385"/>
                <a:gd name="T54" fmla="*/ 49 w 304"/>
                <a:gd name="T55" fmla="*/ 290 h 385"/>
                <a:gd name="T56" fmla="*/ 113 w 304"/>
                <a:gd name="T57" fmla="*/ 264 h 385"/>
                <a:gd name="T58" fmla="*/ 92 w 304"/>
                <a:gd name="T59" fmla="*/ 264 h 385"/>
                <a:gd name="T60" fmla="*/ 70 w 304"/>
                <a:gd name="T61" fmla="*/ 253 h 385"/>
                <a:gd name="T62" fmla="*/ 70 w 304"/>
                <a:gd name="T63" fmla="*/ 236 h 385"/>
                <a:gd name="T64" fmla="*/ 106 w 304"/>
                <a:gd name="T65" fmla="*/ 220 h 385"/>
                <a:gd name="T66" fmla="*/ 59 w 304"/>
                <a:gd name="T67" fmla="*/ 208 h 385"/>
                <a:gd name="T68" fmla="*/ 49 w 304"/>
                <a:gd name="T69" fmla="*/ 203 h 385"/>
                <a:gd name="T70" fmla="*/ 49 w 304"/>
                <a:gd name="T71" fmla="*/ 187 h 385"/>
                <a:gd name="T72" fmla="*/ 16 w 304"/>
                <a:gd name="T73" fmla="*/ 182 h 385"/>
                <a:gd name="T74" fmla="*/ 37 w 304"/>
                <a:gd name="T75" fmla="*/ 170 h 385"/>
                <a:gd name="T76" fmla="*/ 59 w 304"/>
                <a:gd name="T77" fmla="*/ 153 h 385"/>
                <a:gd name="T78" fmla="*/ 37 w 304"/>
                <a:gd name="T79" fmla="*/ 149 h 385"/>
                <a:gd name="T80" fmla="*/ 49 w 304"/>
                <a:gd name="T81" fmla="*/ 142 h 385"/>
                <a:gd name="T82" fmla="*/ 21 w 304"/>
                <a:gd name="T83" fmla="*/ 125 h 385"/>
                <a:gd name="T84" fmla="*/ 33 w 304"/>
                <a:gd name="T85" fmla="*/ 99 h 385"/>
                <a:gd name="T86" fmla="*/ 49 w 304"/>
                <a:gd name="T87" fmla="*/ 99 h 385"/>
                <a:gd name="T88" fmla="*/ 92 w 304"/>
                <a:gd name="T89" fmla="*/ 116 h 385"/>
                <a:gd name="T90" fmla="*/ 139 w 304"/>
                <a:gd name="T91" fmla="*/ 109 h 385"/>
                <a:gd name="T92" fmla="*/ 155 w 304"/>
                <a:gd name="T93" fmla="*/ 87 h 385"/>
                <a:gd name="T94" fmla="*/ 127 w 304"/>
                <a:gd name="T95" fmla="*/ 75 h 385"/>
                <a:gd name="T96" fmla="*/ 144 w 304"/>
                <a:gd name="T97" fmla="*/ 42 h 385"/>
                <a:gd name="T98" fmla="*/ 144 w 304"/>
                <a:gd name="T99" fmla="*/ 38 h 385"/>
                <a:gd name="T100" fmla="*/ 144 w 304"/>
                <a:gd name="T101" fmla="*/ 21 h 385"/>
                <a:gd name="T102" fmla="*/ 193 w 304"/>
                <a:gd name="T103" fmla="*/ 33 h 385"/>
                <a:gd name="T104" fmla="*/ 181 w 304"/>
                <a:gd name="T105" fmla="*/ 16 h 385"/>
                <a:gd name="T106" fmla="*/ 207 w 304"/>
                <a:gd name="T107" fmla="*/ 21 h 385"/>
                <a:gd name="T108" fmla="*/ 207 w 304"/>
                <a:gd name="T109" fmla="*/ 33 h 385"/>
                <a:gd name="T110" fmla="*/ 215 w 304"/>
                <a:gd name="T111" fmla="*/ 5 h 385"/>
                <a:gd name="T112" fmla="*/ 245 w 304"/>
                <a:gd name="T113" fmla="*/ 16 h 385"/>
                <a:gd name="T114" fmla="*/ 219 w 304"/>
                <a:gd name="T115" fmla="*/ 33 h 385"/>
                <a:gd name="T116" fmla="*/ 21 w 304"/>
                <a:gd name="T117" fmla="*/ 132 h 385"/>
                <a:gd name="T118" fmla="*/ 37 w 304"/>
                <a:gd name="T119" fmla="*/ 149 h 385"/>
                <a:gd name="T120" fmla="*/ 21 w 304"/>
                <a:gd name="T121" fmla="*/ 132 h 385"/>
                <a:gd name="T122" fmla="*/ 21 w 304"/>
                <a:gd name="T123" fmla="*/ 132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4" h="385">
                  <a:moveTo>
                    <a:pt x="219" y="33"/>
                  </a:moveTo>
                  <a:lnTo>
                    <a:pt x="198" y="59"/>
                  </a:lnTo>
                  <a:lnTo>
                    <a:pt x="177" y="71"/>
                  </a:lnTo>
                  <a:lnTo>
                    <a:pt x="193" y="75"/>
                  </a:lnTo>
                  <a:lnTo>
                    <a:pt x="160" y="92"/>
                  </a:lnTo>
                  <a:lnTo>
                    <a:pt x="181" y="116"/>
                  </a:lnTo>
                  <a:lnTo>
                    <a:pt x="219" y="125"/>
                  </a:lnTo>
                  <a:lnTo>
                    <a:pt x="236" y="92"/>
                  </a:lnTo>
                  <a:lnTo>
                    <a:pt x="266" y="132"/>
                  </a:lnTo>
                  <a:lnTo>
                    <a:pt x="288" y="125"/>
                  </a:lnTo>
                  <a:lnTo>
                    <a:pt x="304" y="132"/>
                  </a:lnTo>
                  <a:lnTo>
                    <a:pt x="283" y="132"/>
                  </a:lnTo>
                  <a:lnTo>
                    <a:pt x="283" y="142"/>
                  </a:lnTo>
                  <a:lnTo>
                    <a:pt x="304" y="182"/>
                  </a:lnTo>
                  <a:lnTo>
                    <a:pt x="288" y="198"/>
                  </a:lnTo>
                  <a:lnTo>
                    <a:pt x="304" y="220"/>
                  </a:lnTo>
                  <a:lnTo>
                    <a:pt x="304" y="236"/>
                  </a:lnTo>
                  <a:lnTo>
                    <a:pt x="288" y="264"/>
                  </a:lnTo>
                  <a:lnTo>
                    <a:pt x="300" y="274"/>
                  </a:lnTo>
                  <a:lnTo>
                    <a:pt x="274" y="298"/>
                  </a:lnTo>
                  <a:lnTo>
                    <a:pt x="288" y="307"/>
                  </a:lnTo>
                  <a:lnTo>
                    <a:pt x="283" y="314"/>
                  </a:lnTo>
                  <a:lnTo>
                    <a:pt x="245" y="314"/>
                  </a:lnTo>
                  <a:lnTo>
                    <a:pt x="236" y="298"/>
                  </a:lnTo>
                  <a:lnTo>
                    <a:pt x="236" y="314"/>
                  </a:lnTo>
                  <a:lnTo>
                    <a:pt x="198" y="319"/>
                  </a:lnTo>
                  <a:lnTo>
                    <a:pt x="198" y="331"/>
                  </a:lnTo>
                  <a:lnTo>
                    <a:pt x="181" y="331"/>
                  </a:lnTo>
                  <a:lnTo>
                    <a:pt x="177" y="335"/>
                  </a:lnTo>
                  <a:lnTo>
                    <a:pt x="160" y="347"/>
                  </a:lnTo>
                  <a:lnTo>
                    <a:pt x="155" y="347"/>
                  </a:lnTo>
                  <a:lnTo>
                    <a:pt x="155" y="335"/>
                  </a:lnTo>
                  <a:lnTo>
                    <a:pt x="139" y="335"/>
                  </a:lnTo>
                  <a:lnTo>
                    <a:pt x="144" y="335"/>
                  </a:lnTo>
                  <a:lnTo>
                    <a:pt x="144" y="352"/>
                  </a:lnTo>
                  <a:lnTo>
                    <a:pt x="122" y="368"/>
                  </a:lnTo>
                  <a:lnTo>
                    <a:pt x="85" y="373"/>
                  </a:lnTo>
                  <a:lnTo>
                    <a:pt x="70" y="373"/>
                  </a:lnTo>
                  <a:lnTo>
                    <a:pt x="49" y="385"/>
                  </a:lnTo>
                  <a:lnTo>
                    <a:pt x="59" y="368"/>
                  </a:lnTo>
                  <a:lnTo>
                    <a:pt x="49" y="368"/>
                  </a:lnTo>
                  <a:lnTo>
                    <a:pt x="70" y="364"/>
                  </a:lnTo>
                  <a:lnTo>
                    <a:pt x="59" y="352"/>
                  </a:lnTo>
                  <a:lnTo>
                    <a:pt x="21" y="368"/>
                  </a:lnTo>
                  <a:lnTo>
                    <a:pt x="59" y="335"/>
                  </a:lnTo>
                  <a:lnTo>
                    <a:pt x="21" y="352"/>
                  </a:lnTo>
                  <a:lnTo>
                    <a:pt x="16" y="347"/>
                  </a:lnTo>
                  <a:lnTo>
                    <a:pt x="4" y="352"/>
                  </a:lnTo>
                  <a:lnTo>
                    <a:pt x="4" y="335"/>
                  </a:lnTo>
                  <a:lnTo>
                    <a:pt x="16" y="331"/>
                  </a:lnTo>
                  <a:lnTo>
                    <a:pt x="49" y="314"/>
                  </a:lnTo>
                  <a:lnTo>
                    <a:pt x="0" y="319"/>
                  </a:lnTo>
                  <a:lnTo>
                    <a:pt x="0" y="314"/>
                  </a:lnTo>
                  <a:lnTo>
                    <a:pt x="21" y="298"/>
                  </a:lnTo>
                  <a:lnTo>
                    <a:pt x="49" y="307"/>
                  </a:lnTo>
                  <a:lnTo>
                    <a:pt x="49" y="290"/>
                  </a:lnTo>
                  <a:lnTo>
                    <a:pt x="54" y="274"/>
                  </a:lnTo>
                  <a:lnTo>
                    <a:pt x="113" y="264"/>
                  </a:lnTo>
                  <a:lnTo>
                    <a:pt x="101" y="257"/>
                  </a:lnTo>
                  <a:lnTo>
                    <a:pt x="92" y="264"/>
                  </a:lnTo>
                  <a:lnTo>
                    <a:pt x="37" y="274"/>
                  </a:lnTo>
                  <a:lnTo>
                    <a:pt x="70" y="253"/>
                  </a:lnTo>
                  <a:lnTo>
                    <a:pt x="75" y="241"/>
                  </a:lnTo>
                  <a:lnTo>
                    <a:pt x="70" y="236"/>
                  </a:lnTo>
                  <a:lnTo>
                    <a:pt x="85" y="220"/>
                  </a:lnTo>
                  <a:lnTo>
                    <a:pt x="106" y="220"/>
                  </a:lnTo>
                  <a:lnTo>
                    <a:pt x="106" y="203"/>
                  </a:lnTo>
                  <a:lnTo>
                    <a:pt x="59" y="208"/>
                  </a:lnTo>
                  <a:lnTo>
                    <a:pt x="59" y="198"/>
                  </a:lnTo>
                  <a:lnTo>
                    <a:pt x="49" y="203"/>
                  </a:lnTo>
                  <a:lnTo>
                    <a:pt x="37" y="203"/>
                  </a:lnTo>
                  <a:lnTo>
                    <a:pt x="49" y="187"/>
                  </a:lnTo>
                  <a:lnTo>
                    <a:pt x="21" y="198"/>
                  </a:lnTo>
                  <a:lnTo>
                    <a:pt x="16" y="182"/>
                  </a:lnTo>
                  <a:lnTo>
                    <a:pt x="54" y="170"/>
                  </a:lnTo>
                  <a:lnTo>
                    <a:pt x="37" y="170"/>
                  </a:lnTo>
                  <a:lnTo>
                    <a:pt x="37" y="153"/>
                  </a:lnTo>
                  <a:lnTo>
                    <a:pt x="59" y="153"/>
                  </a:lnTo>
                  <a:lnTo>
                    <a:pt x="59" y="149"/>
                  </a:lnTo>
                  <a:lnTo>
                    <a:pt x="37" y="149"/>
                  </a:lnTo>
                  <a:lnTo>
                    <a:pt x="37" y="142"/>
                  </a:lnTo>
                  <a:lnTo>
                    <a:pt x="49" y="142"/>
                  </a:lnTo>
                  <a:lnTo>
                    <a:pt x="33" y="109"/>
                  </a:lnTo>
                  <a:lnTo>
                    <a:pt x="21" y="125"/>
                  </a:lnTo>
                  <a:lnTo>
                    <a:pt x="21" y="109"/>
                  </a:lnTo>
                  <a:lnTo>
                    <a:pt x="33" y="99"/>
                  </a:lnTo>
                  <a:lnTo>
                    <a:pt x="37" y="116"/>
                  </a:lnTo>
                  <a:lnTo>
                    <a:pt x="49" y="99"/>
                  </a:lnTo>
                  <a:lnTo>
                    <a:pt x="75" y="99"/>
                  </a:lnTo>
                  <a:lnTo>
                    <a:pt x="92" y="116"/>
                  </a:lnTo>
                  <a:lnTo>
                    <a:pt x="101" y="109"/>
                  </a:lnTo>
                  <a:lnTo>
                    <a:pt x="139" y="109"/>
                  </a:lnTo>
                  <a:lnTo>
                    <a:pt x="122" y="99"/>
                  </a:lnTo>
                  <a:lnTo>
                    <a:pt x="155" y="87"/>
                  </a:lnTo>
                  <a:lnTo>
                    <a:pt x="160" y="71"/>
                  </a:lnTo>
                  <a:lnTo>
                    <a:pt x="127" y="75"/>
                  </a:lnTo>
                  <a:lnTo>
                    <a:pt x="113" y="71"/>
                  </a:lnTo>
                  <a:lnTo>
                    <a:pt x="144" y="42"/>
                  </a:lnTo>
                  <a:lnTo>
                    <a:pt x="139" y="38"/>
                  </a:lnTo>
                  <a:lnTo>
                    <a:pt x="144" y="38"/>
                  </a:lnTo>
                  <a:lnTo>
                    <a:pt x="139" y="38"/>
                  </a:lnTo>
                  <a:lnTo>
                    <a:pt x="144" y="21"/>
                  </a:lnTo>
                  <a:lnTo>
                    <a:pt x="181" y="16"/>
                  </a:lnTo>
                  <a:lnTo>
                    <a:pt x="193" y="33"/>
                  </a:lnTo>
                  <a:lnTo>
                    <a:pt x="193" y="16"/>
                  </a:lnTo>
                  <a:lnTo>
                    <a:pt x="181" y="16"/>
                  </a:lnTo>
                  <a:lnTo>
                    <a:pt x="193" y="5"/>
                  </a:lnTo>
                  <a:lnTo>
                    <a:pt x="207" y="21"/>
                  </a:lnTo>
                  <a:lnTo>
                    <a:pt x="193" y="38"/>
                  </a:lnTo>
                  <a:lnTo>
                    <a:pt x="207" y="33"/>
                  </a:lnTo>
                  <a:lnTo>
                    <a:pt x="198" y="16"/>
                  </a:lnTo>
                  <a:lnTo>
                    <a:pt x="215" y="5"/>
                  </a:lnTo>
                  <a:lnTo>
                    <a:pt x="215" y="0"/>
                  </a:lnTo>
                  <a:lnTo>
                    <a:pt x="245" y="16"/>
                  </a:lnTo>
                  <a:lnTo>
                    <a:pt x="219" y="33"/>
                  </a:lnTo>
                  <a:lnTo>
                    <a:pt x="219" y="33"/>
                  </a:lnTo>
                  <a:lnTo>
                    <a:pt x="219" y="33"/>
                  </a:lnTo>
                  <a:close/>
                  <a:moveTo>
                    <a:pt x="21" y="132"/>
                  </a:moveTo>
                  <a:lnTo>
                    <a:pt x="33" y="132"/>
                  </a:lnTo>
                  <a:lnTo>
                    <a:pt x="37" y="149"/>
                  </a:lnTo>
                  <a:lnTo>
                    <a:pt x="16" y="142"/>
                  </a:lnTo>
                  <a:lnTo>
                    <a:pt x="21" y="132"/>
                  </a:lnTo>
                  <a:lnTo>
                    <a:pt x="21" y="132"/>
                  </a:lnTo>
                  <a:lnTo>
                    <a:pt x="21" y="13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3" name="Freeform 432">
              <a:extLst>
                <a:ext uri="{FF2B5EF4-FFF2-40B4-BE49-F238E27FC236}">
                  <a16:creationId xmlns:a16="http://schemas.microsoft.com/office/drawing/2014/main" id="{91637DF7-2081-44BD-BBA2-2200C3D1011E}"/>
                </a:ext>
              </a:extLst>
            </p:cNvPr>
            <p:cNvSpPr>
              <a:spLocks noEditPoints="1"/>
            </p:cNvSpPr>
            <p:nvPr/>
          </p:nvSpPr>
          <p:spPr bwMode="gray">
            <a:xfrm>
              <a:off x="13939234" y="4027018"/>
              <a:ext cx="65787" cy="65132"/>
            </a:xfrm>
            <a:custGeom>
              <a:avLst/>
              <a:gdLst>
                <a:gd name="T0" fmla="*/ 26 w 201"/>
                <a:gd name="T1" fmla="*/ 17 h 199"/>
                <a:gd name="T2" fmla="*/ 14 w 201"/>
                <a:gd name="T3" fmla="*/ 41 h 199"/>
                <a:gd name="T4" fmla="*/ 0 w 201"/>
                <a:gd name="T5" fmla="*/ 33 h 199"/>
                <a:gd name="T6" fmla="*/ 0 w 201"/>
                <a:gd name="T7" fmla="*/ 17 h 199"/>
                <a:gd name="T8" fmla="*/ 5 w 201"/>
                <a:gd name="T9" fmla="*/ 17 h 199"/>
                <a:gd name="T10" fmla="*/ 14 w 201"/>
                <a:gd name="T11" fmla="*/ 0 h 199"/>
                <a:gd name="T12" fmla="*/ 26 w 201"/>
                <a:gd name="T13" fmla="*/ 0 h 199"/>
                <a:gd name="T14" fmla="*/ 26 w 201"/>
                <a:gd name="T15" fmla="*/ 17 h 199"/>
                <a:gd name="T16" fmla="*/ 26 w 201"/>
                <a:gd name="T17" fmla="*/ 17 h 199"/>
                <a:gd name="T18" fmla="*/ 26 w 201"/>
                <a:gd name="T19" fmla="*/ 17 h 199"/>
                <a:gd name="T20" fmla="*/ 92 w 201"/>
                <a:gd name="T21" fmla="*/ 95 h 199"/>
                <a:gd name="T22" fmla="*/ 109 w 201"/>
                <a:gd name="T23" fmla="*/ 111 h 199"/>
                <a:gd name="T24" fmla="*/ 201 w 201"/>
                <a:gd name="T25" fmla="*/ 111 h 199"/>
                <a:gd name="T26" fmla="*/ 201 w 201"/>
                <a:gd name="T27" fmla="*/ 199 h 199"/>
                <a:gd name="T28" fmla="*/ 109 w 201"/>
                <a:gd name="T29" fmla="*/ 199 h 199"/>
                <a:gd name="T30" fmla="*/ 97 w 201"/>
                <a:gd name="T31" fmla="*/ 199 h 199"/>
                <a:gd name="T32" fmla="*/ 92 w 201"/>
                <a:gd name="T33" fmla="*/ 199 h 199"/>
                <a:gd name="T34" fmla="*/ 92 w 201"/>
                <a:gd name="T35" fmla="*/ 187 h 199"/>
                <a:gd name="T36" fmla="*/ 76 w 201"/>
                <a:gd name="T37" fmla="*/ 187 h 199"/>
                <a:gd name="T38" fmla="*/ 59 w 201"/>
                <a:gd name="T39" fmla="*/ 182 h 199"/>
                <a:gd name="T40" fmla="*/ 92 w 201"/>
                <a:gd name="T41" fmla="*/ 128 h 199"/>
                <a:gd name="T42" fmla="*/ 92 w 201"/>
                <a:gd name="T43" fmla="*/ 95 h 199"/>
                <a:gd name="T44" fmla="*/ 92 w 201"/>
                <a:gd name="T45" fmla="*/ 95 h 199"/>
                <a:gd name="T46" fmla="*/ 92 w 201"/>
                <a:gd name="T47" fmla="*/ 9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1" h="199">
                  <a:moveTo>
                    <a:pt x="26" y="17"/>
                  </a:moveTo>
                  <a:lnTo>
                    <a:pt x="14" y="41"/>
                  </a:lnTo>
                  <a:lnTo>
                    <a:pt x="0" y="33"/>
                  </a:lnTo>
                  <a:lnTo>
                    <a:pt x="0" y="17"/>
                  </a:lnTo>
                  <a:lnTo>
                    <a:pt x="5" y="17"/>
                  </a:lnTo>
                  <a:lnTo>
                    <a:pt x="14" y="0"/>
                  </a:lnTo>
                  <a:lnTo>
                    <a:pt x="26" y="0"/>
                  </a:lnTo>
                  <a:lnTo>
                    <a:pt x="26" y="17"/>
                  </a:lnTo>
                  <a:lnTo>
                    <a:pt x="26" y="17"/>
                  </a:lnTo>
                  <a:lnTo>
                    <a:pt x="26" y="17"/>
                  </a:lnTo>
                  <a:close/>
                  <a:moveTo>
                    <a:pt x="92" y="95"/>
                  </a:moveTo>
                  <a:lnTo>
                    <a:pt x="109" y="111"/>
                  </a:lnTo>
                  <a:lnTo>
                    <a:pt x="201" y="111"/>
                  </a:lnTo>
                  <a:lnTo>
                    <a:pt x="201" y="199"/>
                  </a:lnTo>
                  <a:lnTo>
                    <a:pt x="109" y="199"/>
                  </a:lnTo>
                  <a:lnTo>
                    <a:pt x="97" y="199"/>
                  </a:lnTo>
                  <a:lnTo>
                    <a:pt x="92" y="199"/>
                  </a:lnTo>
                  <a:lnTo>
                    <a:pt x="92" y="187"/>
                  </a:lnTo>
                  <a:lnTo>
                    <a:pt x="76" y="187"/>
                  </a:lnTo>
                  <a:lnTo>
                    <a:pt x="59" y="182"/>
                  </a:lnTo>
                  <a:lnTo>
                    <a:pt x="92" y="128"/>
                  </a:lnTo>
                  <a:lnTo>
                    <a:pt x="92" y="95"/>
                  </a:lnTo>
                  <a:lnTo>
                    <a:pt x="92" y="95"/>
                  </a:lnTo>
                  <a:lnTo>
                    <a:pt x="92" y="9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4" name="Freeform 433">
              <a:extLst>
                <a:ext uri="{FF2B5EF4-FFF2-40B4-BE49-F238E27FC236}">
                  <a16:creationId xmlns:a16="http://schemas.microsoft.com/office/drawing/2014/main" id="{D17C8C3B-B4D0-42C6-8956-F010D1ABF414}"/>
                </a:ext>
              </a:extLst>
            </p:cNvPr>
            <p:cNvSpPr>
              <a:spLocks noEditPoints="1"/>
            </p:cNvSpPr>
            <p:nvPr/>
          </p:nvSpPr>
          <p:spPr bwMode="gray">
            <a:xfrm>
              <a:off x="14245584" y="2510980"/>
              <a:ext cx="145320" cy="71351"/>
            </a:xfrm>
            <a:custGeom>
              <a:avLst/>
              <a:gdLst>
                <a:gd name="T0" fmla="*/ 359 w 444"/>
                <a:gd name="T1" fmla="*/ 208 h 218"/>
                <a:gd name="T2" fmla="*/ 295 w 444"/>
                <a:gd name="T3" fmla="*/ 184 h 218"/>
                <a:gd name="T4" fmla="*/ 240 w 444"/>
                <a:gd name="T5" fmla="*/ 168 h 218"/>
                <a:gd name="T6" fmla="*/ 177 w 444"/>
                <a:gd name="T7" fmla="*/ 184 h 218"/>
                <a:gd name="T8" fmla="*/ 177 w 444"/>
                <a:gd name="T9" fmla="*/ 130 h 218"/>
                <a:gd name="T10" fmla="*/ 132 w 444"/>
                <a:gd name="T11" fmla="*/ 130 h 218"/>
                <a:gd name="T12" fmla="*/ 122 w 444"/>
                <a:gd name="T13" fmla="*/ 97 h 218"/>
                <a:gd name="T14" fmla="*/ 111 w 444"/>
                <a:gd name="T15" fmla="*/ 88 h 218"/>
                <a:gd name="T16" fmla="*/ 127 w 444"/>
                <a:gd name="T17" fmla="*/ 71 h 218"/>
                <a:gd name="T18" fmla="*/ 127 w 444"/>
                <a:gd name="T19" fmla="*/ 71 h 218"/>
                <a:gd name="T20" fmla="*/ 111 w 444"/>
                <a:gd name="T21" fmla="*/ 43 h 218"/>
                <a:gd name="T22" fmla="*/ 160 w 444"/>
                <a:gd name="T23" fmla="*/ 21 h 218"/>
                <a:gd name="T24" fmla="*/ 177 w 444"/>
                <a:gd name="T25" fmla="*/ 14 h 218"/>
                <a:gd name="T26" fmla="*/ 203 w 444"/>
                <a:gd name="T27" fmla="*/ 5 h 218"/>
                <a:gd name="T28" fmla="*/ 257 w 444"/>
                <a:gd name="T29" fmla="*/ 0 h 218"/>
                <a:gd name="T30" fmla="*/ 274 w 444"/>
                <a:gd name="T31" fmla="*/ 0 h 218"/>
                <a:gd name="T32" fmla="*/ 418 w 444"/>
                <a:gd name="T33" fmla="*/ 21 h 218"/>
                <a:gd name="T34" fmla="*/ 444 w 444"/>
                <a:gd name="T35" fmla="*/ 26 h 218"/>
                <a:gd name="T36" fmla="*/ 429 w 444"/>
                <a:gd name="T37" fmla="*/ 38 h 218"/>
                <a:gd name="T38" fmla="*/ 392 w 444"/>
                <a:gd name="T39" fmla="*/ 88 h 218"/>
                <a:gd name="T40" fmla="*/ 396 w 444"/>
                <a:gd name="T41" fmla="*/ 147 h 218"/>
                <a:gd name="T42" fmla="*/ 396 w 444"/>
                <a:gd name="T43" fmla="*/ 184 h 218"/>
                <a:gd name="T44" fmla="*/ 392 w 444"/>
                <a:gd name="T45" fmla="*/ 218 h 218"/>
                <a:gd name="T46" fmla="*/ 52 w 444"/>
                <a:gd name="T47" fmla="*/ 97 h 218"/>
                <a:gd name="T48" fmla="*/ 35 w 444"/>
                <a:gd name="T49" fmla="*/ 76 h 218"/>
                <a:gd name="T50" fmla="*/ 35 w 444"/>
                <a:gd name="T51" fmla="*/ 71 h 218"/>
                <a:gd name="T52" fmla="*/ 73 w 444"/>
                <a:gd name="T53" fmla="*/ 71 h 218"/>
                <a:gd name="T54" fmla="*/ 68 w 444"/>
                <a:gd name="T55" fmla="*/ 88 h 218"/>
                <a:gd name="T56" fmla="*/ 52 w 444"/>
                <a:gd name="T57" fmla="*/ 97 h 218"/>
                <a:gd name="T58" fmla="*/ 96 w 444"/>
                <a:gd name="T59" fmla="*/ 59 h 218"/>
                <a:gd name="T60" fmla="*/ 89 w 444"/>
                <a:gd name="T61" fmla="*/ 71 h 218"/>
                <a:gd name="T62" fmla="*/ 96 w 444"/>
                <a:gd name="T63" fmla="*/ 59 h 218"/>
                <a:gd name="T64" fmla="*/ 96 w 444"/>
                <a:gd name="T65" fmla="*/ 59 h 218"/>
                <a:gd name="T66" fmla="*/ 111 w 444"/>
                <a:gd name="T67" fmla="*/ 114 h 218"/>
                <a:gd name="T68" fmla="*/ 96 w 444"/>
                <a:gd name="T69" fmla="*/ 97 h 218"/>
                <a:gd name="T70" fmla="*/ 96 w 444"/>
                <a:gd name="T71" fmla="*/ 97 h 218"/>
                <a:gd name="T72" fmla="*/ 14 w 444"/>
                <a:gd name="T73" fmla="*/ 168 h 218"/>
                <a:gd name="T74" fmla="*/ 4 w 444"/>
                <a:gd name="T75" fmla="*/ 142 h 218"/>
                <a:gd name="T76" fmla="*/ 0 w 444"/>
                <a:gd name="T77" fmla="*/ 114 h 218"/>
                <a:gd name="T78" fmla="*/ 106 w 444"/>
                <a:gd name="T79" fmla="*/ 125 h 218"/>
                <a:gd name="T80" fmla="*/ 68 w 444"/>
                <a:gd name="T81" fmla="*/ 147 h 218"/>
                <a:gd name="T82" fmla="*/ 26 w 444"/>
                <a:gd name="T83" fmla="*/ 168 h 218"/>
                <a:gd name="T84" fmla="*/ 14 w 444"/>
                <a:gd name="T85" fmla="*/ 18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4" h="218">
                  <a:moveTo>
                    <a:pt x="392" y="218"/>
                  </a:moveTo>
                  <a:lnTo>
                    <a:pt x="359" y="208"/>
                  </a:lnTo>
                  <a:lnTo>
                    <a:pt x="326" y="218"/>
                  </a:lnTo>
                  <a:lnTo>
                    <a:pt x="295" y="184"/>
                  </a:lnTo>
                  <a:lnTo>
                    <a:pt x="240" y="163"/>
                  </a:lnTo>
                  <a:lnTo>
                    <a:pt x="240" y="168"/>
                  </a:lnTo>
                  <a:lnTo>
                    <a:pt x="229" y="163"/>
                  </a:lnTo>
                  <a:lnTo>
                    <a:pt x="177" y="184"/>
                  </a:lnTo>
                  <a:lnTo>
                    <a:pt x="186" y="142"/>
                  </a:lnTo>
                  <a:lnTo>
                    <a:pt x="177" y="130"/>
                  </a:lnTo>
                  <a:lnTo>
                    <a:pt x="160" y="147"/>
                  </a:lnTo>
                  <a:lnTo>
                    <a:pt x="132" y="130"/>
                  </a:lnTo>
                  <a:lnTo>
                    <a:pt x="122" y="109"/>
                  </a:lnTo>
                  <a:lnTo>
                    <a:pt x="122" y="97"/>
                  </a:lnTo>
                  <a:lnTo>
                    <a:pt x="144" y="92"/>
                  </a:lnTo>
                  <a:lnTo>
                    <a:pt x="111" y="88"/>
                  </a:lnTo>
                  <a:lnTo>
                    <a:pt x="111" y="76"/>
                  </a:lnTo>
                  <a:lnTo>
                    <a:pt x="127" y="71"/>
                  </a:lnTo>
                  <a:lnTo>
                    <a:pt x="122" y="59"/>
                  </a:lnTo>
                  <a:lnTo>
                    <a:pt x="127" y="71"/>
                  </a:lnTo>
                  <a:lnTo>
                    <a:pt x="111" y="59"/>
                  </a:lnTo>
                  <a:lnTo>
                    <a:pt x="111" y="43"/>
                  </a:lnTo>
                  <a:lnTo>
                    <a:pt x="148" y="38"/>
                  </a:lnTo>
                  <a:lnTo>
                    <a:pt x="160" y="21"/>
                  </a:lnTo>
                  <a:lnTo>
                    <a:pt x="165" y="26"/>
                  </a:lnTo>
                  <a:lnTo>
                    <a:pt x="177" y="14"/>
                  </a:lnTo>
                  <a:lnTo>
                    <a:pt x="203" y="21"/>
                  </a:lnTo>
                  <a:lnTo>
                    <a:pt x="203" y="5"/>
                  </a:lnTo>
                  <a:lnTo>
                    <a:pt x="252" y="14"/>
                  </a:lnTo>
                  <a:lnTo>
                    <a:pt x="257" y="0"/>
                  </a:lnTo>
                  <a:lnTo>
                    <a:pt x="266" y="5"/>
                  </a:lnTo>
                  <a:lnTo>
                    <a:pt x="274" y="0"/>
                  </a:lnTo>
                  <a:lnTo>
                    <a:pt x="359" y="21"/>
                  </a:lnTo>
                  <a:lnTo>
                    <a:pt x="418" y="21"/>
                  </a:lnTo>
                  <a:lnTo>
                    <a:pt x="434" y="14"/>
                  </a:lnTo>
                  <a:lnTo>
                    <a:pt x="444" y="26"/>
                  </a:lnTo>
                  <a:lnTo>
                    <a:pt x="444" y="38"/>
                  </a:lnTo>
                  <a:lnTo>
                    <a:pt x="429" y="38"/>
                  </a:lnTo>
                  <a:lnTo>
                    <a:pt x="418" y="59"/>
                  </a:lnTo>
                  <a:lnTo>
                    <a:pt x="392" y="88"/>
                  </a:lnTo>
                  <a:lnTo>
                    <a:pt x="396" y="130"/>
                  </a:lnTo>
                  <a:lnTo>
                    <a:pt x="396" y="147"/>
                  </a:lnTo>
                  <a:lnTo>
                    <a:pt x="418" y="184"/>
                  </a:lnTo>
                  <a:lnTo>
                    <a:pt x="396" y="184"/>
                  </a:lnTo>
                  <a:lnTo>
                    <a:pt x="392" y="218"/>
                  </a:lnTo>
                  <a:lnTo>
                    <a:pt x="392" y="218"/>
                  </a:lnTo>
                  <a:lnTo>
                    <a:pt x="392" y="218"/>
                  </a:lnTo>
                  <a:close/>
                  <a:moveTo>
                    <a:pt x="52" y="97"/>
                  </a:moveTo>
                  <a:lnTo>
                    <a:pt x="42" y="97"/>
                  </a:lnTo>
                  <a:lnTo>
                    <a:pt x="35" y="76"/>
                  </a:lnTo>
                  <a:lnTo>
                    <a:pt x="14" y="76"/>
                  </a:lnTo>
                  <a:lnTo>
                    <a:pt x="35" y="71"/>
                  </a:lnTo>
                  <a:lnTo>
                    <a:pt x="52" y="59"/>
                  </a:lnTo>
                  <a:lnTo>
                    <a:pt x="73" y="71"/>
                  </a:lnTo>
                  <a:lnTo>
                    <a:pt x="89" y="88"/>
                  </a:lnTo>
                  <a:lnTo>
                    <a:pt x="68" y="88"/>
                  </a:lnTo>
                  <a:lnTo>
                    <a:pt x="52" y="97"/>
                  </a:lnTo>
                  <a:lnTo>
                    <a:pt x="52" y="97"/>
                  </a:lnTo>
                  <a:lnTo>
                    <a:pt x="52" y="97"/>
                  </a:lnTo>
                  <a:close/>
                  <a:moveTo>
                    <a:pt x="96" y="59"/>
                  </a:moveTo>
                  <a:lnTo>
                    <a:pt x="111" y="71"/>
                  </a:lnTo>
                  <a:lnTo>
                    <a:pt x="89" y="71"/>
                  </a:lnTo>
                  <a:lnTo>
                    <a:pt x="89" y="59"/>
                  </a:lnTo>
                  <a:lnTo>
                    <a:pt x="96" y="59"/>
                  </a:lnTo>
                  <a:lnTo>
                    <a:pt x="96" y="59"/>
                  </a:lnTo>
                  <a:lnTo>
                    <a:pt x="96" y="59"/>
                  </a:lnTo>
                  <a:close/>
                  <a:moveTo>
                    <a:pt x="96" y="97"/>
                  </a:moveTo>
                  <a:lnTo>
                    <a:pt x="111" y="114"/>
                  </a:lnTo>
                  <a:lnTo>
                    <a:pt x="89" y="109"/>
                  </a:lnTo>
                  <a:lnTo>
                    <a:pt x="96" y="97"/>
                  </a:lnTo>
                  <a:lnTo>
                    <a:pt x="96" y="97"/>
                  </a:lnTo>
                  <a:lnTo>
                    <a:pt x="96" y="97"/>
                  </a:lnTo>
                  <a:close/>
                  <a:moveTo>
                    <a:pt x="14" y="180"/>
                  </a:moveTo>
                  <a:lnTo>
                    <a:pt x="14" y="168"/>
                  </a:lnTo>
                  <a:lnTo>
                    <a:pt x="26" y="151"/>
                  </a:lnTo>
                  <a:lnTo>
                    <a:pt x="4" y="142"/>
                  </a:lnTo>
                  <a:lnTo>
                    <a:pt x="14" y="130"/>
                  </a:lnTo>
                  <a:lnTo>
                    <a:pt x="0" y="114"/>
                  </a:lnTo>
                  <a:lnTo>
                    <a:pt x="73" y="109"/>
                  </a:lnTo>
                  <a:lnTo>
                    <a:pt x="106" y="125"/>
                  </a:lnTo>
                  <a:lnTo>
                    <a:pt x="89" y="125"/>
                  </a:lnTo>
                  <a:lnTo>
                    <a:pt x="68" y="147"/>
                  </a:lnTo>
                  <a:lnTo>
                    <a:pt x="35" y="151"/>
                  </a:lnTo>
                  <a:lnTo>
                    <a:pt x="26" y="168"/>
                  </a:lnTo>
                  <a:lnTo>
                    <a:pt x="14" y="180"/>
                  </a:lnTo>
                  <a:lnTo>
                    <a:pt x="14" y="180"/>
                  </a:lnTo>
                  <a:lnTo>
                    <a:pt x="14" y="18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5" name="Freeform 434">
              <a:extLst>
                <a:ext uri="{FF2B5EF4-FFF2-40B4-BE49-F238E27FC236}">
                  <a16:creationId xmlns:a16="http://schemas.microsoft.com/office/drawing/2014/main" id="{30E8B157-7822-452F-89BC-8766C0C34AFA}"/>
                </a:ext>
              </a:extLst>
            </p:cNvPr>
            <p:cNvSpPr>
              <a:spLocks noEditPoints="1"/>
            </p:cNvSpPr>
            <p:nvPr/>
          </p:nvSpPr>
          <p:spPr bwMode="gray">
            <a:xfrm>
              <a:off x="14581063" y="3684665"/>
              <a:ext cx="152847" cy="137465"/>
            </a:xfrm>
            <a:custGeom>
              <a:avLst/>
              <a:gdLst>
                <a:gd name="T0" fmla="*/ 446 w 467"/>
                <a:gd name="T1" fmla="*/ 404 h 420"/>
                <a:gd name="T2" fmla="*/ 434 w 467"/>
                <a:gd name="T3" fmla="*/ 420 h 420"/>
                <a:gd name="T4" fmla="*/ 413 w 467"/>
                <a:gd name="T5" fmla="*/ 416 h 420"/>
                <a:gd name="T6" fmla="*/ 380 w 467"/>
                <a:gd name="T7" fmla="*/ 383 h 420"/>
                <a:gd name="T8" fmla="*/ 338 w 467"/>
                <a:gd name="T9" fmla="*/ 326 h 420"/>
                <a:gd name="T10" fmla="*/ 269 w 467"/>
                <a:gd name="T11" fmla="*/ 260 h 420"/>
                <a:gd name="T12" fmla="*/ 215 w 467"/>
                <a:gd name="T13" fmla="*/ 255 h 420"/>
                <a:gd name="T14" fmla="*/ 182 w 467"/>
                <a:gd name="T15" fmla="*/ 250 h 420"/>
                <a:gd name="T16" fmla="*/ 144 w 467"/>
                <a:gd name="T17" fmla="*/ 272 h 420"/>
                <a:gd name="T18" fmla="*/ 113 w 467"/>
                <a:gd name="T19" fmla="*/ 250 h 420"/>
                <a:gd name="T20" fmla="*/ 80 w 467"/>
                <a:gd name="T21" fmla="*/ 293 h 420"/>
                <a:gd name="T22" fmla="*/ 52 w 467"/>
                <a:gd name="T23" fmla="*/ 272 h 420"/>
                <a:gd name="T24" fmla="*/ 26 w 467"/>
                <a:gd name="T25" fmla="*/ 272 h 420"/>
                <a:gd name="T26" fmla="*/ 0 w 467"/>
                <a:gd name="T27" fmla="*/ 217 h 420"/>
                <a:gd name="T28" fmla="*/ 26 w 467"/>
                <a:gd name="T29" fmla="*/ 111 h 420"/>
                <a:gd name="T30" fmla="*/ 38 w 467"/>
                <a:gd name="T31" fmla="*/ 73 h 420"/>
                <a:gd name="T32" fmla="*/ 75 w 467"/>
                <a:gd name="T33" fmla="*/ 57 h 420"/>
                <a:gd name="T34" fmla="*/ 127 w 467"/>
                <a:gd name="T35" fmla="*/ 40 h 420"/>
                <a:gd name="T36" fmla="*/ 182 w 467"/>
                <a:gd name="T37" fmla="*/ 66 h 420"/>
                <a:gd name="T38" fmla="*/ 203 w 467"/>
                <a:gd name="T39" fmla="*/ 168 h 420"/>
                <a:gd name="T40" fmla="*/ 219 w 467"/>
                <a:gd name="T41" fmla="*/ 194 h 420"/>
                <a:gd name="T42" fmla="*/ 236 w 467"/>
                <a:gd name="T43" fmla="*/ 222 h 420"/>
                <a:gd name="T44" fmla="*/ 236 w 467"/>
                <a:gd name="T45" fmla="*/ 201 h 420"/>
                <a:gd name="T46" fmla="*/ 257 w 467"/>
                <a:gd name="T47" fmla="*/ 222 h 420"/>
                <a:gd name="T48" fmla="*/ 283 w 467"/>
                <a:gd name="T49" fmla="*/ 222 h 420"/>
                <a:gd name="T50" fmla="*/ 304 w 467"/>
                <a:gd name="T51" fmla="*/ 250 h 420"/>
                <a:gd name="T52" fmla="*/ 366 w 467"/>
                <a:gd name="T53" fmla="*/ 305 h 420"/>
                <a:gd name="T54" fmla="*/ 397 w 467"/>
                <a:gd name="T55" fmla="*/ 326 h 420"/>
                <a:gd name="T56" fmla="*/ 401 w 467"/>
                <a:gd name="T57" fmla="*/ 326 h 420"/>
                <a:gd name="T58" fmla="*/ 434 w 467"/>
                <a:gd name="T59" fmla="*/ 366 h 420"/>
                <a:gd name="T60" fmla="*/ 451 w 467"/>
                <a:gd name="T61" fmla="*/ 387 h 420"/>
                <a:gd name="T62" fmla="*/ 467 w 467"/>
                <a:gd name="T63" fmla="*/ 387 h 420"/>
                <a:gd name="T64" fmla="*/ 467 w 467"/>
                <a:gd name="T65" fmla="*/ 387 h 420"/>
                <a:gd name="T66" fmla="*/ 252 w 467"/>
                <a:gd name="T67" fmla="*/ 144 h 420"/>
                <a:gd name="T68" fmla="*/ 257 w 467"/>
                <a:gd name="T69" fmla="*/ 149 h 420"/>
                <a:gd name="T70" fmla="*/ 252 w 467"/>
                <a:gd name="T71" fmla="*/ 149 h 420"/>
                <a:gd name="T72" fmla="*/ 252 w 467"/>
                <a:gd name="T73" fmla="*/ 161 h 420"/>
                <a:gd name="T74" fmla="*/ 257 w 467"/>
                <a:gd name="T75" fmla="*/ 177 h 420"/>
                <a:gd name="T76" fmla="*/ 274 w 467"/>
                <a:gd name="T77" fmla="*/ 184 h 420"/>
                <a:gd name="T78" fmla="*/ 241 w 467"/>
                <a:gd name="T79" fmla="*/ 177 h 420"/>
                <a:gd name="T80" fmla="*/ 241 w 467"/>
                <a:gd name="T81" fmla="*/ 168 h 420"/>
                <a:gd name="T82" fmla="*/ 252 w 467"/>
                <a:gd name="T83" fmla="*/ 161 h 420"/>
                <a:gd name="T84" fmla="*/ 252 w 467"/>
                <a:gd name="T85" fmla="*/ 161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7" h="420">
                  <a:moveTo>
                    <a:pt x="467" y="387"/>
                  </a:moveTo>
                  <a:lnTo>
                    <a:pt x="446" y="404"/>
                  </a:lnTo>
                  <a:lnTo>
                    <a:pt x="446" y="416"/>
                  </a:lnTo>
                  <a:lnTo>
                    <a:pt x="434" y="420"/>
                  </a:lnTo>
                  <a:lnTo>
                    <a:pt x="418" y="404"/>
                  </a:lnTo>
                  <a:lnTo>
                    <a:pt x="413" y="416"/>
                  </a:lnTo>
                  <a:lnTo>
                    <a:pt x="401" y="387"/>
                  </a:lnTo>
                  <a:lnTo>
                    <a:pt x="380" y="383"/>
                  </a:lnTo>
                  <a:lnTo>
                    <a:pt x="375" y="359"/>
                  </a:lnTo>
                  <a:lnTo>
                    <a:pt x="338" y="326"/>
                  </a:lnTo>
                  <a:lnTo>
                    <a:pt x="304" y="288"/>
                  </a:lnTo>
                  <a:lnTo>
                    <a:pt x="269" y="260"/>
                  </a:lnTo>
                  <a:lnTo>
                    <a:pt x="241" y="272"/>
                  </a:lnTo>
                  <a:lnTo>
                    <a:pt x="215" y="255"/>
                  </a:lnTo>
                  <a:lnTo>
                    <a:pt x="198" y="260"/>
                  </a:lnTo>
                  <a:lnTo>
                    <a:pt x="182" y="250"/>
                  </a:lnTo>
                  <a:lnTo>
                    <a:pt x="177" y="260"/>
                  </a:lnTo>
                  <a:lnTo>
                    <a:pt x="144" y="272"/>
                  </a:lnTo>
                  <a:lnTo>
                    <a:pt x="127" y="250"/>
                  </a:lnTo>
                  <a:lnTo>
                    <a:pt x="113" y="250"/>
                  </a:lnTo>
                  <a:lnTo>
                    <a:pt x="106" y="234"/>
                  </a:lnTo>
                  <a:lnTo>
                    <a:pt x="80" y="293"/>
                  </a:lnTo>
                  <a:lnTo>
                    <a:pt x="59" y="260"/>
                  </a:lnTo>
                  <a:lnTo>
                    <a:pt x="52" y="272"/>
                  </a:lnTo>
                  <a:lnTo>
                    <a:pt x="38" y="276"/>
                  </a:lnTo>
                  <a:lnTo>
                    <a:pt x="26" y="272"/>
                  </a:lnTo>
                  <a:lnTo>
                    <a:pt x="4" y="276"/>
                  </a:lnTo>
                  <a:lnTo>
                    <a:pt x="0" y="217"/>
                  </a:lnTo>
                  <a:lnTo>
                    <a:pt x="38" y="127"/>
                  </a:lnTo>
                  <a:lnTo>
                    <a:pt x="26" y="111"/>
                  </a:lnTo>
                  <a:lnTo>
                    <a:pt x="38" y="94"/>
                  </a:lnTo>
                  <a:lnTo>
                    <a:pt x="38" y="73"/>
                  </a:lnTo>
                  <a:lnTo>
                    <a:pt x="68" y="73"/>
                  </a:lnTo>
                  <a:lnTo>
                    <a:pt x="75" y="57"/>
                  </a:lnTo>
                  <a:lnTo>
                    <a:pt x="113" y="33"/>
                  </a:lnTo>
                  <a:lnTo>
                    <a:pt x="127" y="40"/>
                  </a:lnTo>
                  <a:lnTo>
                    <a:pt x="149" y="0"/>
                  </a:lnTo>
                  <a:lnTo>
                    <a:pt x="182" y="66"/>
                  </a:lnTo>
                  <a:lnTo>
                    <a:pt x="198" y="149"/>
                  </a:lnTo>
                  <a:lnTo>
                    <a:pt x="203" y="168"/>
                  </a:lnTo>
                  <a:lnTo>
                    <a:pt x="215" y="184"/>
                  </a:lnTo>
                  <a:lnTo>
                    <a:pt x="219" y="194"/>
                  </a:lnTo>
                  <a:lnTo>
                    <a:pt x="231" y="217"/>
                  </a:lnTo>
                  <a:lnTo>
                    <a:pt x="236" y="222"/>
                  </a:lnTo>
                  <a:lnTo>
                    <a:pt x="236" y="217"/>
                  </a:lnTo>
                  <a:lnTo>
                    <a:pt x="236" y="201"/>
                  </a:lnTo>
                  <a:lnTo>
                    <a:pt x="241" y="194"/>
                  </a:lnTo>
                  <a:lnTo>
                    <a:pt x="257" y="222"/>
                  </a:lnTo>
                  <a:lnTo>
                    <a:pt x="269" y="234"/>
                  </a:lnTo>
                  <a:lnTo>
                    <a:pt x="283" y="222"/>
                  </a:lnTo>
                  <a:lnTo>
                    <a:pt x="295" y="234"/>
                  </a:lnTo>
                  <a:lnTo>
                    <a:pt x="304" y="250"/>
                  </a:lnTo>
                  <a:lnTo>
                    <a:pt x="328" y="255"/>
                  </a:lnTo>
                  <a:lnTo>
                    <a:pt x="366" y="305"/>
                  </a:lnTo>
                  <a:lnTo>
                    <a:pt x="380" y="309"/>
                  </a:lnTo>
                  <a:lnTo>
                    <a:pt x="397" y="326"/>
                  </a:lnTo>
                  <a:lnTo>
                    <a:pt x="397" y="326"/>
                  </a:lnTo>
                  <a:lnTo>
                    <a:pt x="401" y="326"/>
                  </a:lnTo>
                  <a:lnTo>
                    <a:pt x="413" y="359"/>
                  </a:lnTo>
                  <a:lnTo>
                    <a:pt x="434" y="366"/>
                  </a:lnTo>
                  <a:lnTo>
                    <a:pt x="446" y="383"/>
                  </a:lnTo>
                  <a:lnTo>
                    <a:pt x="451" y="387"/>
                  </a:lnTo>
                  <a:lnTo>
                    <a:pt x="456" y="383"/>
                  </a:lnTo>
                  <a:lnTo>
                    <a:pt x="467" y="387"/>
                  </a:lnTo>
                  <a:lnTo>
                    <a:pt x="467" y="387"/>
                  </a:lnTo>
                  <a:lnTo>
                    <a:pt x="467" y="387"/>
                  </a:lnTo>
                  <a:close/>
                  <a:moveTo>
                    <a:pt x="252" y="149"/>
                  </a:moveTo>
                  <a:lnTo>
                    <a:pt x="252" y="144"/>
                  </a:lnTo>
                  <a:lnTo>
                    <a:pt x="257" y="144"/>
                  </a:lnTo>
                  <a:lnTo>
                    <a:pt x="257" y="149"/>
                  </a:lnTo>
                  <a:lnTo>
                    <a:pt x="252" y="149"/>
                  </a:lnTo>
                  <a:lnTo>
                    <a:pt x="252" y="149"/>
                  </a:lnTo>
                  <a:lnTo>
                    <a:pt x="252" y="149"/>
                  </a:lnTo>
                  <a:close/>
                  <a:moveTo>
                    <a:pt x="252" y="161"/>
                  </a:moveTo>
                  <a:lnTo>
                    <a:pt x="257" y="168"/>
                  </a:lnTo>
                  <a:lnTo>
                    <a:pt x="257" y="177"/>
                  </a:lnTo>
                  <a:lnTo>
                    <a:pt x="269" y="177"/>
                  </a:lnTo>
                  <a:lnTo>
                    <a:pt x="274" y="184"/>
                  </a:lnTo>
                  <a:lnTo>
                    <a:pt x="241" y="184"/>
                  </a:lnTo>
                  <a:lnTo>
                    <a:pt x="241" y="177"/>
                  </a:lnTo>
                  <a:lnTo>
                    <a:pt x="252" y="177"/>
                  </a:lnTo>
                  <a:lnTo>
                    <a:pt x="241" y="168"/>
                  </a:lnTo>
                  <a:lnTo>
                    <a:pt x="252" y="168"/>
                  </a:lnTo>
                  <a:lnTo>
                    <a:pt x="252" y="161"/>
                  </a:lnTo>
                  <a:lnTo>
                    <a:pt x="252" y="161"/>
                  </a:lnTo>
                  <a:lnTo>
                    <a:pt x="252" y="16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6" name="Freeform 435">
              <a:extLst>
                <a:ext uri="{FF2B5EF4-FFF2-40B4-BE49-F238E27FC236}">
                  <a16:creationId xmlns:a16="http://schemas.microsoft.com/office/drawing/2014/main" id="{0FC27297-FF24-468A-957C-209C0E3E9CA0}"/>
                </a:ext>
              </a:extLst>
            </p:cNvPr>
            <p:cNvSpPr>
              <a:spLocks/>
            </p:cNvSpPr>
            <p:nvPr/>
          </p:nvSpPr>
          <p:spPr bwMode="gray">
            <a:xfrm>
              <a:off x="11674669" y="3773690"/>
              <a:ext cx="57931" cy="29130"/>
            </a:xfrm>
            <a:custGeom>
              <a:avLst/>
              <a:gdLst>
                <a:gd name="T0" fmla="*/ 0 w 177"/>
                <a:gd name="T1" fmla="*/ 44 h 89"/>
                <a:gd name="T2" fmla="*/ 12 w 177"/>
                <a:gd name="T3" fmla="*/ 33 h 89"/>
                <a:gd name="T4" fmla="*/ 45 w 177"/>
                <a:gd name="T5" fmla="*/ 4 h 89"/>
                <a:gd name="T6" fmla="*/ 45 w 177"/>
                <a:gd name="T7" fmla="*/ 0 h 89"/>
                <a:gd name="T8" fmla="*/ 55 w 177"/>
                <a:gd name="T9" fmla="*/ 0 h 89"/>
                <a:gd name="T10" fmla="*/ 83 w 177"/>
                <a:gd name="T11" fmla="*/ 0 h 89"/>
                <a:gd name="T12" fmla="*/ 100 w 177"/>
                <a:gd name="T13" fmla="*/ 21 h 89"/>
                <a:gd name="T14" fmla="*/ 100 w 177"/>
                <a:gd name="T15" fmla="*/ 16 h 89"/>
                <a:gd name="T16" fmla="*/ 111 w 177"/>
                <a:gd name="T17" fmla="*/ 33 h 89"/>
                <a:gd name="T18" fmla="*/ 121 w 177"/>
                <a:gd name="T19" fmla="*/ 37 h 89"/>
                <a:gd name="T20" fmla="*/ 144 w 177"/>
                <a:gd name="T21" fmla="*/ 33 h 89"/>
                <a:gd name="T22" fmla="*/ 154 w 177"/>
                <a:gd name="T23" fmla="*/ 37 h 89"/>
                <a:gd name="T24" fmla="*/ 166 w 177"/>
                <a:gd name="T25" fmla="*/ 33 h 89"/>
                <a:gd name="T26" fmla="*/ 177 w 177"/>
                <a:gd name="T27" fmla="*/ 37 h 89"/>
                <a:gd name="T28" fmla="*/ 166 w 177"/>
                <a:gd name="T29" fmla="*/ 61 h 89"/>
                <a:gd name="T30" fmla="*/ 177 w 177"/>
                <a:gd name="T31" fmla="*/ 61 h 89"/>
                <a:gd name="T32" fmla="*/ 166 w 177"/>
                <a:gd name="T33" fmla="*/ 73 h 89"/>
                <a:gd name="T34" fmla="*/ 161 w 177"/>
                <a:gd name="T35" fmla="*/ 73 h 89"/>
                <a:gd name="T36" fmla="*/ 166 w 177"/>
                <a:gd name="T37" fmla="*/ 78 h 89"/>
                <a:gd name="T38" fmla="*/ 161 w 177"/>
                <a:gd name="T39" fmla="*/ 89 h 89"/>
                <a:gd name="T40" fmla="*/ 100 w 177"/>
                <a:gd name="T41" fmla="*/ 78 h 89"/>
                <a:gd name="T42" fmla="*/ 111 w 177"/>
                <a:gd name="T43" fmla="*/ 89 h 89"/>
                <a:gd name="T44" fmla="*/ 55 w 177"/>
                <a:gd name="T45" fmla="*/ 61 h 89"/>
                <a:gd name="T46" fmla="*/ 29 w 177"/>
                <a:gd name="T47" fmla="*/ 61 h 89"/>
                <a:gd name="T48" fmla="*/ 0 w 177"/>
                <a:gd name="T49" fmla="*/ 44 h 89"/>
                <a:gd name="T50" fmla="*/ 0 w 177"/>
                <a:gd name="T51" fmla="*/ 44 h 89"/>
                <a:gd name="T52" fmla="*/ 0 w 177"/>
                <a:gd name="T53"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89">
                  <a:moveTo>
                    <a:pt x="0" y="44"/>
                  </a:moveTo>
                  <a:lnTo>
                    <a:pt x="12" y="33"/>
                  </a:lnTo>
                  <a:lnTo>
                    <a:pt x="45" y="4"/>
                  </a:lnTo>
                  <a:lnTo>
                    <a:pt x="45" y="0"/>
                  </a:lnTo>
                  <a:lnTo>
                    <a:pt x="55" y="0"/>
                  </a:lnTo>
                  <a:lnTo>
                    <a:pt x="83" y="0"/>
                  </a:lnTo>
                  <a:lnTo>
                    <a:pt x="100" y="21"/>
                  </a:lnTo>
                  <a:lnTo>
                    <a:pt x="100" y="16"/>
                  </a:lnTo>
                  <a:lnTo>
                    <a:pt x="111" y="33"/>
                  </a:lnTo>
                  <a:lnTo>
                    <a:pt x="121" y="37"/>
                  </a:lnTo>
                  <a:lnTo>
                    <a:pt x="144" y="33"/>
                  </a:lnTo>
                  <a:lnTo>
                    <a:pt x="154" y="37"/>
                  </a:lnTo>
                  <a:lnTo>
                    <a:pt x="166" y="33"/>
                  </a:lnTo>
                  <a:lnTo>
                    <a:pt x="177" y="37"/>
                  </a:lnTo>
                  <a:lnTo>
                    <a:pt x="166" y="61"/>
                  </a:lnTo>
                  <a:lnTo>
                    <a:pt x="177" y="61"/>
                  </a:lnTo>
                  <a:lnTo>
                    <a:pt x="166" y="73"/>
                  </a:lnTo>
                  <a:lnTo>
                    <a:pt x="161" y="73"/>
                  </a:lnTo>
                  <a:lnTo>
                    <a:pt x="166" y="78"/>
                  </a:lnTo>
                  <a:lnTo>
                    <a:pt x="161" y="89"/>
                  </a:lnTo>
                  <a:lnTo>
                    <a:pt x="100" y="78"/>
                  </a:lnTo>
                  <a:lnTo>
                    <a:pt x="111" y="89"/>
                  </a:lnTo>
                  <a:lnTo>
                    <a:pt x="55" y="61"/>
                  </a:lnTo>
                  <a:lnTo>
                    <a:pt x="29" y="61"/>
                  </a:lnTo>
                  <a:lnTo>
                    <a:pt x="0" y="44"/>
                  </a:lnTo>
                  <a:lnTo>
                    <a:pt x="0" y="44"/>
                  </a:lnTo>
                  <a:lnTo>
                    <a:pt x="0" y="4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7" name="Freeform 436">
              <a:extLst>
                <a:ext uri="{FF2B5EF4-FFF2-40B4-BE49-F238E27FC236}">
                  <a16:creationId xmlns:a16="http://schemas.microsoft.com/office/drawing/2014/main" id="{EC4ABB93-DC92-426C-B8AC-B2238F1CD603}"/>
                </a:ext>
              </a:extLst>
            </p:cNvPr>
            <p:cNvSpPr>
              <a:spLocks/>
            </p:cNvSpPr>
            <p:nvPr/>
          </p:nvSpPr>
          <p:spPr bwMode="gray">
            <a:xfrm>
              <a:off x="14500548" y="3760271"/>
              <a:ext cx="345625" cy="274602"/>
            </a:xfrm>
            <a:custGeom>
              <a:avLst/>
              <a:gdLst>
                <a:gd name="T0" fmla="*/ 628 w 1056"/>
                <a:gd name="T1" fmla="*/ 794 h 839"/>
                <a:gd name="T2" fmla="*/ 553 w 1056"/>
                <a:gd name="T3" fmla="*/ 778 h 839"/>
                <a:gd name="T4" fmla="*/ 461 w 1056"/>
                <a:gd name="T5" fmla="*/ 839 h 839"/>
                <a:gd name="T6" fmla="*/ 369 w 1056"/>
                <a:gd name="T7" fmla="*/ 822 h 839"/>
                <a:gd name="T8" fmla="*/ 217 w 1056"/>
                <a:gd name="T9" fmla="*/ 761 h 839"/>
                <a:gd name="T10" fmla="*/ 196 w 1056"/>
                <a:gd name="T11" fmla="*/ 737 h 839"/>
                <a:gd name="T12" fmla="*/ 180 w 1056"/>
                <a:gd name="T13" fmla="*/ 688 h 839"/>
                <a:gd name="T14" fmla="*/ 163 w 1056"/>
                <a:gd name="T15" fmla="*/ 688 h 839"/>
                <a:gd name="T16" fmla="*/ 142 w 1056"/>
                <a:gd name="T17" fmla="*/ 650 h 839"/>
                <a:gd name="T18" fmla="*/ 109 w 1056"/>
                <a:gd name="T19" fmla="*/ 593 h 839"/>
                <a:gd name="T20" fmla="*/ 87 w 1056"/>
                <a:gd name="T21" fmla="*/ 577 h 839"/>
                <a:gd name="T22" fmla="*/ 33 w 1056"/>
                <a:gd name="T23" fmla="*/ 522 h 839"/>
                <a:gd name="T24" fmla="*/ 0 w 1056"/>
                <a:gd name="T25" fmla="*/ 506 h 839"/>
                <a:gd name="T26" fmla="*/ 17 w 1056"/>
                <a:gd name="T27" fmla="*/ 473 h 839"/>
                <a:gd name="T28" fmla="*/ 50 w 1056"/>
                <a:gd name="T29" fmla="*/ 466 h 839"/>
                <a:gd name="T30" fmla="*/ 83 w 1056"/>
                <a:gd name="T31" fmla="*/ 461 h 839"/>
                <a:gd name="T32" fmla="*/ 97 w 1056"/>
                <a:gd name="T33" fmla="*/ 338 h 839"/>
                <a:gd name="T34" fmla="*/ 121 w 1056"/>
                <a:gd name="T35" fmla="*/ 296 h 839"/>
                <a:gd name="T36" fmla="*/ 142 w 1056"/>
                <a:gd name="T37" fmla="*/ 296 h 839"/>
                <a:gd name="T38" fmla="*/ 151 w 1056"/>
                <a:gd name="T39" fmla="*/ 246 h 839"/>
                <a:gd name="T40" fmla="*/ 163 w 1056"/>
                <a:gd name="T41" fmla="*/ 222 h 839"/>
                <a:gd name="T42" fmla="*/ 227 w 1056"/>
                <a:gd name="T43" fmla="*/ 156 h 839"/>
                <a:gd name="T44" fmla="*/ 250 w 1056"/>
                <a:gd name="T45" fmla="*/ 78 h 839"/>
                <a:gd name="T46" fmla="*/ 250 w 1056"/>
                <a:gd name="T47" fmla="*/ 45 h 839"/>
                <a:gd name="T48" fmla="*/ 281 w 1056"/>
                <a:gd name="T49" fmla="*/ 45 h 839"/>
                <a:gd name="T50" fmla="*/ 305 w 1056"/>
                <a:gd name="T51" fmla="*/ 29 h 839"/>
                <a:gd name="T52" fmla="*/ 352 w 1056"/>
                <a:gd name="T53" fmla="*/ 0 h 839"/>
                <a:gd name="T54" fmla="*/ 373 w 1056"/>
                <a:gd name="T55" fmla="*/ 17 h 839"/>
                <a:gd name="T56" fmla="*/ 423 w 1056"/>
                <a:gd name="T57" fmla="*/ 29 h 839"/>
                <a:gd name="T58" fmla="*/ 444 w 1056"/>
                <a:gd name="T59" fmla="*/ 29 h 839"/>
                <a:gd name="T60" fmla="*/ 487 w 1056"/>
                <a:gd name="T61" fmla="*/ 41 h 839"/>
                <a:gd name="T62" fmla="*/ 553 w 1056"/>
                <a:gd name="T63" fmla="*/ 57 h 839"/>
                <a:gd name="T64" fmla="*/ 624 w 1056"/>
                <a:gd name="T65" fmla="*/ 128 h 839"/>
                <a:gd name="T66" fmla="*/ 650 w 1056"/>
                <a:gd name="T67" fmla="*/ 156 h 839"/>
                <a:gd name="T68" fmla="*/ 624 w 1056"/>
                <a:gd name="T69" fmla="*/ 230 h 839"/>
                <a:gd name="T70" fmla="*/ 624 w 1056"/>
                <a:gd name="T71" fmla="*/ 284 h 839"/>
                <a:gd name="T72" fmla="*/ 683 w 1056"/>
                <a:gd name="T73" fmla="*/ 279 h 839"/>
                <a:gd name="T74" fmla="*/ 683 w 1056"/>
                <a:gd name="T75" fmla="*/ 317 h 839"/>
                <a:gd name="T76" fmla="*/ 716 w 1056"/>
                <a:gd name="T77" fmla="*/ 362 h 839"/>
                <a:gd name="T78" fmla="*/ 737 w 1056"/>
                <a:gd name="T79" fmla="*/ 407 h 839"/>
                <a:gd name="T80" fmla="*/ 775 w 1056"/>
                <a:gd name="T81" fmla="*/ 433 h 839"/>
                <a:gd name="T82" fmla="*/ 1056 w 1056"/>
                <a:gd name="T83" fmla="*/ 506 h 839"/>
                <a:gd name="T84" fmla="*/ 775 w 1056"/>
                <a:gd name="T85" fmla="*/ 721 h 839"/>
                <a:gd name="T86" fmla="*/ 716 w 1056"/>
                <a:gd name="T87" fmla="*/ 744 h 839"/>
                <a:gd name="T88" fmla="*/ 640 w 1056"/>
                <a:gd name="T89" fmla="*/ 782 h 839"/>
                <a:gd name="T90" fmla="*/ 640 w 1056"/>
                <a:gd name="T91" fmla="*/ 78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56" h="839">
                  <a:moveTo>
                    <a:pt x="640" y="782"/>
                  </a:moveTo>
                  <a:lnTo>
                    <a:pt x="628" y="794"/>
                  </a:lnTo>
                  <a:lnTo>
                    <a:pt x="574" y="799"/>
                  </a:lnTo>
                  <a:lnTo>
                    <a:pt x="553" y="778"/>
                  </a:lnTo>
                  <a:lnTo>
                    <a:pt x="482" y="799"/>
                  </a:lnTo>
                  <a:lnTo>
                    <a:pt x="461" y="839"/>
                  </a:lnTo>
                  <a:lnTo>
                    <a:pt x="390" y="822"/>
                  </a:lnTo>
                  <a:lnTo>
                    <a:pt x="369" y="822"/>
                  </a:lnTo>
                  <a:lnTo>
                    <a:pt x="288" y="766"/>
                  </a:lnTo>
                  <a:lnTo>
                    <a:pt x="217" y="761"/>
                  </a:lnTo>
                  <a:lnTo>
                    <a:pt x="213" y="749"/>
                  </a:lnTo>
                  <a:lnTo>
                    <a:pt x="196" y="737"/>
                  </a:lnTo>
                  <a:lnTo>
                    <a:pt x="206" y="695"/>
                  </a:lnTo>
                  <a:lnTo>
                    <a:pt x="180" y="688"/>
                  </a:lnTo>
                  <a:lnTo>
                    <a:pt x="163" y="695"/>
                  </a:lnTo>
                  <a:lnTo>
                    <a:pt x="163" y="688"/>
                  </a:lnTo>
                  <a:lnTo>
                    <a:pt x="151" y="671"/>
                  </a:lnTo>
                  <a:lnTo>
                    <a:pt x="142" y="650"/>
                  </a:lnTo>
                  <a:lnTo>
                    <a:pt x="125" y="600"/>
                  </a:lnTo>
                  <a:lnTo>
                    <a:pt x="109" y="593"/>
                  </a:lnTo>
                  <a:lnTo>
                    <a:pt x="104" y="584"/>
                  </a:lnTo>
                  <a:lnTo>
                    <a:pt x="87" y="577"/>
                  </a:lnTo>
                  <a:lnTo>
                    <a:pt x="66" y="539"/>
                  </a:lnTo>
                  <a:lnTo>
                    <a:pt x="33" y="522"/>
                  </a:lnTo>
                  <a:lnTo>
                    <a:pt x="0" y="522"/>
                  </a:lnTo>
                  <a:lnTo>
                    <a:pt x="0" y="506"/>
                  </a:lnTo>
                  <a:lnTo>
                    <a:pt x="17" y="489"/>
                  </a:lnTo>
                  <a:lnTo>
                    <a:pt x="17" y="473"/>
                  </a:lnTo>
                  <a:lnTo>
                    <a:pt x="17" y="473"/>
                  </a:lnTo>
                  <a:lnTo>
                    <a:pt x="50" y="466"/>
                  </a:lnTo>
                  <a:lnTo>
                    <a:pt x="54" y="473"/>
                  </a:lnTo>
                  <a:lnTo>
                    <a:pt x="83" y="461"/>
                  </a:lnTo>
                  <a:lnTo>
                    <a:pt x="83" y="395"/>
                  </a:lnTo>
                  <a:lnTo>
                    <a:pt x="97" y="338"/>
                  </a:lnTo>
                  <a:lnTo>
                    <a:pt x="97" y="317"/>
                  </a:lnTo>
                  <a:lnTo>
                    <a:pt x="121" y="296"/>
                  </a:lnTo>
                  <a:lnTo>
                    <a:pt x="135" y="305"/>
                  </a:lnTo>
                  <a:lnTo>
                    <a:pt x="142" y="296"/>
                  </a:lnTo>
                  <a:lnTo>
                    <a:pt x="142" y="267"/>
                  </a:lnTo>
                  <a:lnTo>
                    <a:pt x="151" y="246"/>
                  </a:lnTo>
                  <a:lnTo>
                    <a:pt x="151" y="230"/>
                  </a:lnTo>
                  <a:lnTo>
                    <a:pt x="163" y="222"/>
                  </a:lnTo>
                  <a:lnTo>
                    <a:pt x="196" y="168"/>
                  </a:lnTo>
                  <a:lnTo>
                    <a:pt x="227" y="156"/>
                  </a:lnTo>
                  <a:lnTo>
                    <a:pt x="227" y="135"/>
                  </a:lnTo>
                  <a:lnTo>
                    <a:pt x="250" y="78"/>
                  </a:lnTo>
                  <a:lnTo>
                    <a:pt x="243" y="74"/>
                  </a:lnTo>
                  <a:lnTo>
                    <a:pt x="250" y="45"/>
                  </a:lnTo>
                  <a:lnTo>
                    <a:pt x="272" y="41"/>
                  </a:lnTo>
                  <a:lnTo>
                    <a:pt x="281" y="45"/>
                  </a:lnTo>
                  <a:lnTo>
                    <a:pt x="298" y="41"/>
                  </a:lnTo>
                  <a:lnTo>
                    <a:pt x="305" y="29"/>
                  </a:lnTo>
                  <a:lnTo>
                    <a:pt x="326" y="62"/>
                  </a:lnTo>
                  <a:lnTo>
                    <a:pt x="352" y="0"/>
                  </a:lnTo>
                  <a:lnTo>
                    <a:pt x="357" y="17"/>
                  </a:lnTo>
                  <a:lnTo>
                    <a:pt x="373" y="17"/>
                  </a:lnTo>
                  <a:lnTo>
                    <a:pt x="390" y="41"/>
                  </a:lnTo>
                  <a:lnTo>
                    <a:pt x="423" y="29"/>
                  </a:lnTo>
                  <a:lnTo>
                    <a:pt x="428" y="17"/>
                  </a:lnTo>
                  <a:lnTo>
                    <a:pt x="444" y="29"/>
                  </a:lnTo>
                  <a:lnTo>
                    <a:pt x="461" y="24"/>
                  </a:lnTo>
                  <a:lnTo>
                    <a:pt x="487" y="41"/>
                  </a:lnTo>
                  <a:lnTo>
                    <a:pt x="515" y="29"/>
                  </a:lnTo>
                  <a:lnTo>
                    <a:pt x="553" y="57"/>
                  </a:lnTo>
                  <a:lnTo>
                    <a:pt x="586" y="95"/>
                  </a:lnTo>
                  <a:lnTo>
                    <a:pt x="624" y="128"/>
                  </a:lnTo>
                  <a:lnTo>
                    <a:pt x="628" y="152"/>
                  </a:lnTo>
                  <a:lnTo>
                    <a:pt x="650" y="156"/>
                  </a:lnTo>
                  <a:lnTo>
                    <a:pt x="661" y="185"/>
                  </a:lnTo>
                  <a:lnTo>
                    <a:pt x="624" y="230"/>
                  </a:lnTo>
                  <a:lnTo>
                    <a:pt x="624" y="251"/>
                  </a:lnTo>
                  <a:lnTo>
                    <a:pt x="624" y="284"/>
                  </a:lnTo>
                  <a:lnTo>
                    <a:pt x="640" y="296"/>
                  </a:lnTo>
                  <a:lnTo>
                    <a:pt x="683" y="279"/>
                  </a:lnTo>
                  <a:lnTo>
                    <a:pt x="699" y="284"/>
                  </a:lnTo>
                  <a:lnTo>
                    <a:pt x="683" y="317"/>
                  </a:lnTo>
                  <a:lnTo>
                    <a:pt x="699" y="338"/>
                  </a:lnTo>
                  <a:lnTo>
                    <a:pt x="716" y="362"/>
                  </a:lnTo>
                  <a:lnTo>
                    <a:pt x="721" y="362"/>
                  </a:lnTo>
                  <a:lnTo>
                    <a:pt x="737" y="407"/>
                  </a:lnTo>
                  <a:lnTo>
                    <a:pt x="754" y="407"/>
                  </a:lnTo>
                  <a:lnTo>
                    <a:pt x="775" y="433"/>
                  </a:lnTo>
                  <a:lnTo>
                    <a:pt x="985" y="506"/>
                  </a:lnTo>
                  <a:lnTo>
                    <a:pt x="1056" y="506"/>
                  </a:lnTo>
                  <a:lnTo>
                    <a:pt x="846" y="728"/>
                  </a:lnTo>
                  <a:lnTo>
                    <a:pt x="775" y="721"/>
                  </a:lnTo>
                  <a:lnTo>
                    <a:pt x="754" y="728"/>
                  </a:lnTo>
                  <a:lnTo>
                    <a:pt x="716" y="744"/>
                  </a:lnTo>
                  <a:lnTo>
                    <a:pt x="699" y="766"/>
                  </a:lnTo>
                  <a:lnTo>
                    <a:pt x="640" y="782"/>
                  </a:lnTo>
                  <a:lnTo>
                    <a:pt x="640" y="782"/>
                  </a:lnTo>
                  <a:lnTo>
                    <a:pt x="640" y="78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8" name="Freeform 437">
              <a:extLst>
                <a:ext uri="{FF2B5EF4-FFF2-40B4-BE49-F238E27FC236}">
                  <a16:creationId xmlns:a16="http://schemas.microsoft.com/office/drawing/2014/main" id="{D1DBEEAA-D51E-447F-90A2-2E5B03AB8106}"/>
                </a:ext>
              </a:extLst>
            </p:cNvPr>
            <p:cNvSpPr>
              <a:spLocks/>
            </p:cNvSpPr>
            <p:nvPr/>
          </p:nvSpPr>
          <p:spPr bwMode="gray">
            <a:xfrm>
              <a:off x="14022040" y="2793109"/>
              <a:ext cx="154484" cy="75933"/>
            </a:xfrm>
            <a:custGeom>
              <a:avLst/>
              <a:gdLst>
                <a:gd name="T0" fmla="*/ 340 w 472"/>
                <a:gd name="T1" fmla="*/ 225 h 232"/>
                <a:gd name="T2" fmla="*/ 340 w 472"/>
                <a:gd name="T3" fmla="*/ 220 h 232"/>
                <a:gd name="T4" fmla="*/ 309 w 472"/>
                <a:gd name="T5" fmla="*/ 208 h 232"/>
                <a:gd name="T6" fmla="*/ 276 w 472"/>
                <a:gd name="T7" fmla="*/ 220 h 232"/>
                <a:gd name="T8" fmla="*/ 205 w 472"/>
                <a:gd name="T9" fmla="*/ 187 h 232"/>
                <a:gd name="T10" fmla="*/ 201 w 472"/>
                <a:gd name="T11" fmla="*/ 208 h 232"/>
                <a:gd name="T12" fmla="*/ 194 w 472"/>
                <a:gd name="T13" fmla="*/ 208 h 232"/>
                <a:gd name="T14" fmla="*/ 184 w 472"/>
                <a:gd name="T15" fmla="*/ 232 h 232"/>
                <a:gd name="T16" fmla="*/ 146 w 472"/>
                <a:gd name="T17" fmla="*/ 225 h 232"/>
                <a:gd name="T18" fmla="*/ 125 w 472"/>
                <a:gd name="T19" fmla="*/ 208 h 232"/>
                <a:gd name="T20" fmla="*/ 59 w 472"/>
                <a:gd name="T21" fmla="*/ 166 h 232"/>
                <a:gd name="T22" fmla="*/ 38 w 472"/>
                <a:gd name="T23" fmla="*/ 154 h 232"/>
                <a:gd name="T24" fmla="*/ 21 w 472"/>
                <a:gd name="T25" fmla="*/ 133 h 232"/>
                <a:gd name="T26" fmla="*/ 31 w 472"/>
                <a:gd name="T27" fmla="*/ 109 h 232"/>
                <a:gd name="T28" fmla="*/ 5 w 472"/>
                <a:gd name="T29" fmla="*/ 92 h 232"/>
                <a:gd name="T30" fmla="*/ 0 w 472"/>
                <a:gd name="T31" fmla="*/ 67 h 232"/>
                <a:gd name="T32" fmla="*/ 16 w 472"/>
                <a:gd name="T33" fmla="*/ 76 h 232"/>
                <a:gd name="T34" fmla="*/ 31 w 472"/>
                <a:gd name="T35" fmla="*/ 59 h 232"/>
                <a:gd name="T36" fmla="*/ 59 w 472"/>
                <a:gd name="T37" fmla="*/ 59 h 232"/>
                <a:gd name="T38" fmla="*/ 97 w 472"/>
                <a:gd name="T39" fmla="*/ 26 h 232"/>
                <a:gd name="T40" fmla="*/ 151 w 472"/>
                <a:gd name="T41" fmla="*/ 10 h 232"/>
                <a:gd name="T42" fmla="*/ 163 w 472"/>
                <a:gd name="T43" fmla="*/ 10 h 232"/>
                <a:gd name="T44" fmla="*/ 151 w 472"/>
                <a:gd name="T45" fmla="*/ 5 h 232"/>
                <a:gd name="T46" fmla="*/ 151 w 472"/>
                <a:gd name="T47" fmla="*/ 0 h 232"/>
                <a:gd name="T48" fmla="*/ 168 w 472"/>
                <a:gd name="T49" fmla="*/ 5 h 232"/>
                <a:gd name="T50" fmla="*/ 177 w 472"/>
                <a:gd name="T51" fmla="*/ 22 h 232"/>
                <a:gd name="T52" fmla="*/ 194 w 472"/>
                <a:gd name="T53" fmla="*/ 22 h 232"/>
                <a:gd name="T54" fmla="*/ 201 w 472"/>
                <a:gd name="T55" fmla="*/ 22 h 232"/>
                <a:gd name="T56" fmla="*/ 201 w 472"/>
                <a:gd name="T57" fmla="*/ 5 h 232"/>
                <a:gd name="T58" fmla="*/ 217 w 472"/>
                <a:gd name="T59" fmla="*/ 5 h 232"/>
                <a:gd name="T60" fmla="*/ 231 w 472"/>
                <a:gd name="T61" fmla="*/ 26 h 232"/>
                <a:gd name="T62" fmla="*/ 286 w 472"/>
                <a:gd name="T63" fmla="*/ 38 h 232"/>
                <a:gd name="T64" fmla="*/ 302 w 472"/>
                <a:gd name="T65" fmla="*/ 43 h 232"/>
                <a:gd name="T66" fmla="*/ 286 w 472"/>
                <a:gd name="T67" fmla="*/ 59 h 232"/>
                <a:gd name="T68" fmla="*/ 314 w 472"/>
                <a:gd name="T69" fmla="*/ 92 h 232"/>
                <a:gd name="T70" fmla="*/ 347 w 472"/>
                <a:gd name="T71" fmla="*/ 76 h 232"/>
                <a:gd name="T72" fmla="*/ 340 w 472"/>
                <a:gd name="T73" fmla="*/ 59 h 232"/>
                <a:gd name="T74" fmla="*/ 368 w 472"/>
                <a:gd name="T75" fmla="*/ 76 h 232"/>
                <a:gd name="T76" fmla="*/ 394 w 472"/>
                <a:gd name="T77" fmla="*/ 67 h 232"/>
                <a:gd name="T78" fmla="*/ 394 w 472"/>
                <a:gd name="T79" fmla="*/ 76 h 232"/>
                <a:gd name="T80" fmla="*/ 385 w 472"/>
                <a:gd name="T81" fmla="*/ 83 h 232"/>
                <a:gd name="T82" fmla="*/ 394 w 472"/>
                <a:gd name="T83" fmla="*/ 92 h 232"/>
                <a:gd name="T84" fmla="*/ 411 w 472"/>
                <a:gd name="T85" fmla="*/ 100 h 232"/>
                <a:gd name="T86" fmla="*/ 418 w 472"/>
                <a:gd name="T87" fmla="*/ 92 h 232"/>
                <a:gd name="T88" fmla="*/ 456 w 472"/>
                <a:gd name="T89" fmla="*/ 109 h 232"/>
                <a:gd name="T90" fmla="*/ 456 w 472"/>
                <a:gd name="T91" fmla="*/ 121 h 232"/>
                <a:gd name="T92" fmla="*/ 472 w 472"/>
                <a:gd name="T93" fmla="*/ 133 h 232"/>
                <a:gd name="T94" fmla="*/ 472 w 472"/>
                <a:gd name="T95" fmla="*/ 149 h 232"/>
                <a:gd name="T96" fmla="*/ 456 w 472"/>
                <a:gd name="T97" fmla="*/ 149 h 232"/>
                <a:gd name="T98" fmla="*/ 432 w 472"/>
                <a:gd name="T99" fmla="*/ 166 h 232"/>
                <a:gd name="T100" fmla="*/ 418 w 472"/>
                <a:gd name="T101" fmla="*/ 187 h 232"/>
                <a:gd name="T102" fmla="*/ 394 w 472"/>
                <a:gd name="T103" fmla="*/ 204 h 232"/>
                <a:gd name="T104" fmla="*/ 357 w 472"/>
                <a:gd name="T105" fmla="*/ 204 h 232"/>
                <a:gd name="T106" fmla="*/ 340 w 472"/>
                <a:gd name="T107" fmla="*/ 225 h 232"/>
                <a:gd name="T108" fmla="*/ 340 w 472"/>
                <a:gd name="T109" fmla="*/ 225 h 232"/>
                <a:gd name="T110" fmla="*/ 340 w 472"/>
                <a:gd name="T111" fmla="*/ 22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2" h="232">
                  <a:moveTo>
                    <a:pt x="340" y="225"/>
                  </a:moveTo>
                  <a:lnTo>
                    <a:pt x="340" y="220"/>
                  </a:lnTo>
                  <a:lnTo>
                    <a:pt x="309" y="208"/>
                  </a:lnTo>
                  <a:lnTo>
                    <a:pt x="276" y="220"/>
                  </a:lnTo>
                  <a:lnTo>
                    <a:pt x="205" y="187"/>
                  </a:lnTo>
                  <a:lnTo>
                    <a:pt x="201" y="208"/>
                  </a:lnTo>
                  <a:lnTo>
                    <a:pt x="194" y="208"/>
                  </a:lnTo>
                  <a:lnTo>
                    <a:pt x="184" y="232"/>
                  </a:lnTo>
                  <a:lnTo>
                    <a:pt x="146" y="225"/>
                  </a:lnTo>
                  <a:lnTo>
                    <a:pt x="125" y="208"/>
                  </a:lnTo>
                  <a:lnTo>
                    <a:pt x="59" y="166"/>
                  </a:lnTo>
                  <a:lnTo>
                    <a:pt x="38" y="154"/>
                  </a:lnTo>
                  <a:lnTo>
                    <a:pt x="21" y="133"/>
                  </a:lnTo>
                  <a:lnTo>
                    <a:pt x="31" y="109"/>
                  </a:lnTo>
                  <a:lnTo>
                    <a:pt x="5" y="92"/>
                  </a:lnTo>
                  <a:lnTo>
                    <a:pt x="0" y="67"/>
                  </a:lnTo>
                  <a:lnTo>
                    <a:pt x="16" y="76"/>
                  </a:lnTo>
                  <a:lnTo>
                    <a:pt x="31" y="59"/>
                  </a:lnTo>
                  <a:lnTo>
                    <a:pt x="59" y="59"/>
                  </a:lnTo>
                  <a:lnTo>
                    <a:pt x="97" y="26"/>
                  </a:lnTo>
                  <a:lnTo>
                    <a:pt x="151" y="10"/>
                  </a:lnTo>
                  <a:lnTo>
                    <a:pt x="163" y="10"/>
                  </a:lnTo>
                  <a:lnTo>
                    <a:pt x="151" y="5"/>
                  </a:lnTo>
                  <a:lnTo>
                    <a:pt x="151" y="0"/>
                  </a:lnTo>
                  <a:lnTo>
                    <a:pt x="168" y="5"/>
                  </a:lnTo>
                  <a:lnTo>
                    <a:pt x="177" y="22"/>
                  </a:lnTo>
                  <a:lnTo>
                    <a:pt x="194" y="22"/>
                  </a:lnTo>
                  <a:lnTo>
                    <a:pt x="201" y="22"/>
                  </a:lnTo>
                  <a:lnTo>
                    <a:pt x="201" y="5"/>
                  </a:lnTo>
                  <a:lnTo>
                    <a:pt x="217" y="5"/>
                  </a:lnTo>
                  <a:lnTo>
                    <a:pt x="231" y="26"/>
                  </a:lnTo>
                  <a:lnTo>
                    <a:pt x="286" y="38"/>
                  </a:lnTo>
                  <a:lnTo>
                    <a:pt x="302" y="43"/>
                  </a:lnTo>
                  <a:lnTo>
                    <a:pt x="286" y="59"/>
                  </a:lnTo>
                  <a:lnTo>
                    <a:pt x="314" y="92"/>
                  </a:lnTo>
                  <a:lnTo>
                    <a:pt x="347" y="76"/>
                  </a:lnTo>
                  <a:lnTo>
                    <a:pt x="340" y="59"/>
                  </a:lnTo>
                  <a:lnTo>
                    <a:pt x="368" y="76"/>
                  </a:lnTo>
                  <a:lnTo>
                    <a:pt x="394" y="67"/>
                  </a:lnTo>
                  <a:lnTo>
                    <a:pt x="394" y="76"/>
                  </a:lnTo>
                  <a:lnTo>
                    <a:pt x="385" y="83"/>
                  </a:lnTo>
                  <a:lnTo>
                    <a:pt x="394" y="92"/>
                  </a:lnTo>
                  <a:lnTo>
                    <a:pt x="411" y="100"/>
                  </a:lnTo>
                  <a:lnTo>
                    <a:pt x="418" y="92"/>
                  </a:lnTo>
                  <a:lnTo>
                    <a:pt x="456" y="109"/>
                  </a:lnTo>
                  <a:lnTo>
                    <a:pt x="456" y="121"/>
                  </a:lnTo>
                  <a:lnTo>
                    <a:pt x="472" y="133"/>
                  </a:lnTo>
                  <a:lnTo>
                    <a:pt x="472" y="149"/>
                  </a:lnTo>
                  <a:lnTo>
                    <a:pt x="456" y="149"/>
                  </a:lnTo>
                  <a:lnTo>
                    <a:pt x="432" y="166"/>
                  </a:lnTo>
                  <a:lnTo>
                    <a:pt x="418" y="187"/>
                  </a:lnTo>
                  <a:lnTo>
                    <a:pt x="394" y="204"/>
                  </a:lnTo>
                  <a:lnTo>
                    <a:pt x="357" y="204"/>
                  </a:lnTo>
                  <a:lnTo>
                    <a:pt x="340" y="225"/>
                  </a:lnTo>
                  <a:lnTo>
                    <a:pt x="340" y="225"/>
                  </a:lnTo>
                  <a:lnTo>
                    <a:pt x="340" y="22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9" name="Freeform 438">
              <a:extLst>
                <a:ext uri="{FF2B5EF4-FFF2-40B4-BE49-F238E27FC236}">
                  <a16:creationId xmlns:a16="http://schemas.microsoft.com/office/drawing/2014/main" id="{3F4D3B5C-2BA8-44CA-8968-49A3A82F7213}"/>
                </a:ext>
              </a:extLst>
            </p:cNvPr>
            <p:cNvSpPr>
              <a:spLocks/>
            </p:cNvSpPr>
            <p:nvPr/>
          </p:nvSpPr>
          <p:spPr bwMode="gray">
            <a:xfrm>
              <a:off x="12491928" y="3978578"/>
              <a:ext cx="65132" cy="85752"/>
            </a:xfrm>
            <a:custGeom>
              <a:avLst/>
              <a:gdLst>
                <a:gd name="T0" fmla="*/ 0 w 199"/>
                <a:gd name="T1" fmla="*/ 245 h 262"/>
                <a:gd name="T2" fmla="*/ 17 w 199"/>
                <a:gd name="T3" fmla="*/ 238 h 262"/>
                <a:gd name="T4" fmla="*/ 21 w 199"/>
                <a:gd name="T5" fmla="*/ 212 h 262"/>
                <a:gd name="T6" fmla="*/ 21 w 199"/>
                <a:gd name="T7" fmla="*/ 189 h 262"/>
                <a:gd name="T8" fmla="*/ 33 w 199"/>
                <a:gd name="T9" fmla="*/ 184 h 262"/>
                <a:gd name="T10" fmla="*/ 38 w 199"/>
                <a:gd name="T11" fmla="*/ 155 h 262"/>
                <a:gd name="T12" fmla="*/ 17 w 199"/>
                <a:gd name="T13" fmla="*/ 127 h 262"/>
                <a:gd name="T14" fmla="*/ 7 w 199"/>
                <a:gd name="T15" fmla="*/ 73 h 262"/>
                <a:gd name="T16" fmla="*/ 7 w 199"/>
                <a:gd name="T17" fmla="*/ 54 h 262"/>
                <a:gd name="T18" fmla="*/ 33 w 199"/>
                <a:gd name="T19" fmla="*/ 28 h 262"/>
                <a:gd name="T20" fmla="*/ 38 w 199"/>
                <a:gd name="T21" fmla="*/ 4 h 262"/>
                <a:gd name="T22" fmla="*/ 50 w 199"/>
                <a:gd name="T23" fmla="*/ 0 h 262"/>
                <a:gd name="T24" fmla="*/ 76 w 199"/>
                <a:gd name="T25" fmla="*/ 16 h 262"/>
                <a:gd name="T26" fmla="*/ 114 w 199"/>
                <a:gd name="T27" fmla="*/ 21 h 262"/>
                <a:gd name="T28" fmla="*/ 177 w 199"/>
                <a:gd name="T29" fmla="*/ 77 h 262"/>
                <a:gd name="T30" fmla="*/ 182 w 199"/>
                <a:gd name="T31" fmla="*/ 94 h 262"/>
                <a:gd name="T32" fmla="*/ 177 w 199"/>
                <a:gd name="T33" fmla="*/ 99 h 262"/>
                <a:gd name="T34" fmla="*/ 182 w 199"/>
                <a:gd name="T35" fmla="*/ 99 h 262"/>
                <a:gd name="T36" fmla="*/ 182 w 199"/>
                <a:gd name="T37" fmla="*/ 77 h 262"/>
                <a:gd name="T38" fmla="*/ 194 w 199"/>
                <a:gd name="T39" fmla="*/ 82 h 262"/>
                <a:gd name="T40" fmla="*/ 199 w 199"/>
                <a:gd name="T41" fmla="*/ 111 h 262"/>
                <a:gd name="T42" fmla="*/ 199 w 199"/>
                <a:gd name="T43" fmla="*/ 127 h 262"/>
                <a:gd name="T44" fmla="*/ 156 w 199"/>
                <a:gd name="T45" fmla="*/ 189 h 262"/>
                <a:gd name="T46" fmla="*/ 139 w 199"/>
                <a:gd name="T47" fmla="*/ 238 h 262"/>
                <a:gd name="T48" fmla="*/ 114 w 199"/>
                <a:gd name="T49" fmla="*/ 262 h 262"/>
                <a:gd name="T50" fmla="*/ 92 w 199"/>
                <a:gd name="T51" fmla="*/ 262 h 262"/>
                <a:gd name="T52" fmla="*/ 85 w 199"/>
                <a:gd name="T53" fmla="*/ 245 h 262"/>
                <a:gd name="T54" fmla="*/ 71 w 199"/>
                <a:gd name="T55" fmla="*/ 250 h 262"/>
                <a:gd name="T56" fmla="*/ 54 w 199"/>
                <a:gd name="T57" fmla="*/ 245 h 262"/>
                <a:gd name="T58" fmla="*/ 33 w 199"/>
                <a:gd name="T59" fmla="*/ 262 h 262"/>
                <a:gd name="T60" fmla="*/ 0 w 199"/>
                <a:gd name="T61" fmla="*/ 245 h 262"/>
                <a:gd name="T62" fmla="*/ 0 w 199"/>
                <a:gd name="T63" fmla="*/ 245 h 262"/>
                <a:gd name="T64" fmla="*/ 0 w 199"/>
                <a:gd name="T65" fmla="*/ 24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9" h="262">
                  <a:moveTo>
                    <a:pt x="0" y="245"/>
                  </a:moveTo>
                  <a:lnTo>
                    <a:pt x="17" y="238"/>
                  </a:lnTo>
                  <a:lnTo>
                    <a:pt x="21" y="212"/>
                  </a:lnTo>
                  <a:lnTo>
                    <a:pt x="21" y="189"/>
                  </a:lnTo>
                  <a:lnTo>
                    <a:pt x="33" y="184"/>
                  </a:lnTo>
                  <a:lnTo>
                    <a:pt x="38" y="155"/>
                  </a:lnTo>
                  <a:lnTo>
                    <a:pt x="17" y="127"/>
                  </a:lnTo>
                  <a:lnTo>
                    <a:pt x="7" y="73"/>
                  </a:lnTo>
                  <a:lnTo>
                    <a:pt x="7" y="54"/>
                  </a:lnTo>
                  <a:lnTo>
                    <a:pt x="33" y="28"/>
                  </a:lnTo>
                  <a:lnTo>
                    <a:pt x="38" y="4"/>
                  </a:lnTo>
                  <a:lnTo>
                    <a:pt x="50" y="0"/>
                  </a:lnTo>
                  <a:lnTo>
                    <a:pt x="76" y="16"/>
                  </a:lnTo>
                  <a:lnTo>
                    <a:pt x="114" y="21"/>
                  </a:lnTo>
                  <a:lnTo>
                    <a:pt x="177" y="77"/>
                  </a:lnTo>
                  <a:lnTo>
                    <a:pt x="182" y="94"/>
                  </a:lnTo>
                  <a:lnTo>
                    <a:pt x="177" y="99"/>
                  </a:lnTo>
                  <a:lnTo>
                    <a:pt x="182" y="99"/>
                  </a:lnTo>
                  <a:lnTo>
                    <a:pt x="182" y="77"/>
                  </a:lnTo>
                  <a:lnTo>
                    <a:pt x="194" y="82"/>
                  </a:lnTo>
                  <a:lnTo>
                    <a:pt x="199" y="111"/>
                  </a:lnTo>
                  <a:lnTo>
                    <a:pt x="199" y="127"/>
                  </a:lnTo>
                  <a:lnTo>
                    <a:pt x="156" y="189"/>
                  </a:lnTo>
                  <a:lnTo>
                    <a:pt x="139" y="238"/>
                  </a:lnTo>
                  <a:lnTo>
                    <a:pt x="114" y="262"/>
                  </a:lnTo>
                  <a:lnTo>
                    <a:pt x="92" y="262"/>
                  </a:lnTo>
                  <a:lnTo>
                    <a:pt x="85" y="245"/>
                  </a:lnTo>
                  <a:lnTo>
                    <a:pt x="71" y="250"/>
                  </a:lnTo>
                  <a:lnTo>
                    <a:pt x="54" y="245"/>
                  </a:lnTo>
                  <a:lnTo>
                    <a:pt x="33" y="262"/>
                  </a:lnTo>
                  <a:lnTo>
                    <a:pt x="0" y="245"/>
                  </a:lnTo>
                  <a:lnTo>
                    <a:pt x="0" y="245"/>
                  </a:lnTo>
                  <a:lnTo>
                    <a:pt x="0" y="24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0" name="Freeform 439">
              <a:extLst>
                <a:ext uri="{FF2B5EF4-FFF2-40B4-BE49-F238E27FC236}">
                  <a16:creationId xmlns:a16="http://schemas.microsoft.com/office/drawing/2014/main" id="{F04B129B-62EE-4B72-B4D7-B705AA03F0DA}"/>
                </a:ext>
              </a:extLst>
            </p:cNvPr>
            <p:cNvSpPr>
              <a:spLocks noEditPoints="1"/>
            </p:cNvSpPr>
            <p:nvPr/>
          </p:nvSpPr>
          <p:spPr bwMode="gray">
            <a:xfrm>
              <a:off x="14192235" y="2110696"/>
              <a:ext cx="277548" cy="394065"/>
            </a:xfrm>
            <a:custGeom>
              <a:avLst/>
              <a:gdLst>
                <a:gd name="T0" fmla="*/ 290 w 848"/>
                <a:gd name="T1" fmla="*/ 448 h 1204"/>
                <a:gd name="T2" fmla="*/ 290 w 848"/>
                <a:gd name="T3" fmla="*/ 349 h 1204"/>
                <a:gd name="T4" fmla="*/ 290 w 848"/>
                <a:gd name="T5" fmla="*/ 267 h 1204"/>
                <a:gd name="T6" fmla="*/ 113 w 848"/>
                <a:gd name="T7" fmla="*/ 115 h 1204"/>
                <a:gd name="T8" fmla="*/ 205 w 848"/>
                <a:gd name="T9" fmla="*/ 172 h 1204"/>
                <a:gd name="T10" fmla="*/ 399 w 848"/>
                <a:gd name="T11" fmla="*/ 155 h 1204"/>
                <a:gd name="T12" fmla="*/ 491 w 848"/>
                <a:gd name="T13" fmla="*/ 16 h 1204"/>
                <a:gd name="T14" fmla="*/ 685 w 848"/>
                <a:gd name="T15" fmla="*/ 70 h 1204"/>
                <a:gd name="T16" fmla="*/ 654 w 848"/>
                <a:gd name="T17" fmla="*/ 155 h 1204"/>
                <a:gd name="T18" fmla="*/ 739 w 848"/>
                <a:gd name="T19" fmla="*/ 300 h 1204"/>
                <a:gd name="T20" fmla="*/ 746 w 848"/>
                <a:gd name="T21" fmla="*/ 538 h 1204"/>
                <a:gd name="T22" fmla="*/ 729 w 848"/>
                <a:gd name="T23" fmla="*/ 611 h 1204"/>
                <a:gd name="T24" fmla="*/ 755 w 848"/>
                <a:gd name="T25" fmla="*/ 666 h 1204"/>
                <a:gd name="T26" fmla="*/ 777 w 848"/>
                <a:gd name="T27" fmla="*/ 727 h 1204"/>
                <a:gd name="T28" fmla="*/ 685 w 848"/>
                <a:gd name="T29" fmla="*/ 1044 h 1204"/>
                <a:gd name="T30" fmla="*/ 491 w 848"/>
                <a:gd name="T31" fmla="*/ 1133 h 1204"/>
                <a:gd name="T32" fmla="*/ 458 w 848"/>
                <a:gd name="T33" fmla="*/ 1133 h 1204"/>
                <a:gd name="T34" fmla="*/ 437 w 848"/>
                <a:gd name="T35" fmla="*/ 1150 h 1204"/>
                <a:gd name="T36" fmla="*/ 361 w 848"/>
                <a:gd name="T37" fmla="*/ 1171 h 1204"/>
                <a:gd name="T38" fmla="*/ 257 w 848"/>
                <a:gd name="T39" fmla="*/ 1195 h 1204"/>
                <a:gd name="T40" fmla="*/ 252 w 848"/>
                <a:gd name="T41" fmla="*/ 1183 h 1204"/>
                <a:gd name="T42" fmla="*/ 215 w 848"/>
                <a:gd name="T43" fmla="*/ 1155 h 1204"/>
                <a:gd name="T44" fmla="*/ 144 w 848"/>
                <a:gd name="T45" fmla="*/ 1126 h 1204"/>
                <a:gd name="T46" fmla="*/ 151 w 848"/>
                <a:gd name="T47" fmla="*/ 1015 h 1204"/>
                <a:gd name="T48" fmla="*/ 113 w 848"/>
                <a:gd name="T49" fmla="*/ 892 h 1204"/>
                <a:gd name="T50" fmla="*/ 134 w 848"/>
                <a:gd name="T51" fmla="*/ 822 h 1204"/>
                <a:gd name="T52" fmla="*/ 189 w 848"/>
                <a:gd name="T53" fmla="*/ 800 h 1204"/>
                <a:gd name="T54" fmla="*/ 236 w 848"/>
                <a:gd name="T55" fmla="*/ 760 h 1204"/>
                <a:gd name="T56" fmla="*/ 340 w 848"/>
                <a:gd name="T57" fmla="*/ 670 h 1204"/>
                <a:gd name="T58" fmla="*/ 399 w 848"/>
                <a:gd name="T59" fmla="*/ 628 h 1204"/>
                <a:gd name="T60" fmla="*/ 361 w 848"/>
                <a:gd name="T61" fmla="*/ 543 h 1204"/>
                <a:gd name="T62" fmla="*/ 328 w 848"/>
                <a:gd name="T63" fmla="*/ 522 h 1204"/>
                <a:gd name="T64" fmla="*/ 382 w 848"/>
                <a:gd name="T65" fmla="*/ 616 h 1204"/>
                <a:gd name="T66" fmla="*/ 236 w 848"/>
                <a:gd name="T67" fmla="*/ 748 h 1204"/>
                <a:gd name="T68" fmla="*/ 122 w 848"/>
                <a:gd name="T69" fmla="*/ 817 h 1204"/>
                <a:gd name="T70" fmla="*/ 189 w 848"/>
                <a:gd name="T71" fmla="*/ 822 h 1204"/>
                <a:gd name="T72" fmla="*/ 189 w 848"/>
                <a:gd name="T73" fmla="*/ 822 h 1204"/>
                <a:gd name="T74" fmla="*/ 122 w 848"/>
                <a:gd name="T75" fmla="*/ 833 h 1204"/>
                <a:gd name="T76" fmla="*/ 129 w 848"/>
                <a:gd name="T77" fmla="*/ 1081 h 1204"/>
                <a:gd name="T78" fmla="*/ 134 w 848"/>
                <a:gd name="T79" fmla="*/ 1126 h 1204"/>
                <a:gd name="T80" fmla="*/ 160 w 848"/>
                <a:gd name="T81" fmla="*/ 1138 h 1204"/>
                <a:gd name="T82" fmla="*/ 26 w 848"/>
                <a:gd name="T83" fmla="*/ 1183 h 1204"/>
                <a:gd name="T84" fmla="*/ 26 w 848"/>
                <a:gd name="T85" fmla="*/ 1150 h 1204"/>
                <a:gd name="T86" fmla="*/ 42 w 848"/>
                <a:gd name="T87" fmla="*/ 1155 h 1204"/>
                <a:gd name="T88" fmla="*/ 26 w 848"/>
                <a:gd name="T89" fmla="*/ 1183 h 1204"/>
                <a:gd name="T90" fmla="*/ 198 w 848"/>
                <a:gd name="T91" fmla="*/ 1150 h 1204"/>
                <a:gd name="T92" fmla="*/ 198 w 848"/>
                <a:gd name="T93" fmla="*/ 1150 h 1204"/>
                <a:gd name="T94" fmla="*/ 432 w 848"/>
                <a:gd name="T95" fmla="*/ 1150 h 1204"/>
                <a:gd name="T96" fmla="*/ 59 w 848"/>
                <a:gd name="T97" fmla="*/ 1166 h 1204"/>
                <a:gd name="T98" fmla="*/ 59 w 848"/>
                <a:gd name="T99" fmla="*/ 1166 h 1204"/>
                <a:gd name="T100" fmla="*/ 4 w 848"/>
                <a:gd name="T101" fmla="*/ 1171 h 1204"/>
                <a:gd name="T102" fmla="*/ 205 w 848"/>
                <a:gd name="T103" fmla="*/ 1155 h 1204"/>
                <a:gd name="T104" fmla="*/ 215 w 848"/>
                <a:gd name="T105" fmla="*/ 1183 h 1204"/>
                <a:gd name="T106" fmla="*/ 177 w 848"/>
                <a:gd name="T107" fmla="*/ 1166 h 1204"/>
                <a:gd name="T108" fmla="*/ 160 w 848"/>
                <a:gd name="T109" fmla="*/ 1171 h 1204"/>
                <a:gd name="T110" fmla="*/ 59 w 848"/>
                <a:gd name="T111" fmla="*/ 1171 h 1204"/>
                <a:gd name="T112" fmla="*/ 52 w 848"/>
                <a:gd name="T113" fmla="*/ 1171 h 1204"/>
                <a:gd name="T114" fmla="*/ 42 w 848"/>
                <a:gd name="T115" fmla="*/ 1171 h 1204"/>
                <a:gd name="T116" fmla="*/ 205 w 848"/>
                <a:gd name="T117" fmla="*/ 1171 h 1204"/>
                <a:gd name="T118" fmla="*/ 243 w 848"/>
                <a:gd name="T119" fmla="*/ 1195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8" h="1204">
                  <a:moveTo>
                    <a:pt x="328" y="522"/>
                  </a:moveTo>
                  <a:lnTo>
                    <a:pt x="311" y="489"/>
                  </a:lnTo>
                  <a:lnTo>
                    <a:pt x="297" y="481"/>
                  </a:lnTo>
                  <a:lnTo>
                    <a:pt x="290" y="465"/>
                  </a:lnTo>
                  <a:lnTo>
                    <a:pt x="290" y="448"/>
                  </a:lnTo>
                  <a:lnTo>
                    <a:pt x="307" y="432"/>
                  </a:lnTo>
                  <a:lnTo>
                    <a:pt x="307" y="411"/>
                  </a:lnTo>
                  <a:lnTo>
                    <a:pt x="311" y="404"/>
                  </a:lnTo>
                  <a:lnTo>
                    <a:pt x="285" y="361"/>
                  </a:lnTo>
                  <a:lnTo>
                    <a:pt x="290" y="349"/>
                  </a:lnTo>
                  <a:lnTo>
                    <a:pt x="297" y="349"/>
                  </a:lnTo>
                  <a:lnTo>
                    <a:pt x="297" y="333"/>
                  </a:lnTo>
                  <a:lnTo>
                    <a:pt x="274" y="321"/>
                  </a:lnTo>
                  <a:lnTo>
                    <a:pt x="274" y="276"/>
                  </a:lnTo>
                  <a:lnTo>
                    <a:pt x="290" y="267"/>
                  </a:lnTo>
                  <a:lnTo>
                    <a:pt x="236" y="210"/>
                  </a:lnTo>
                  <a:lnTo>
                    <a:pt x="177" y="193"/>
                  </a:lnTo>
                  <a:lnTo>
                    <a:pt x="75" y="127"/>
                  </a:lnTo>
                  <a:lnTo>
                    <a:pt x="106" y="132"/>
                  </a:lnTo>
                  <a:lnTo>
                    <a:pt x="113" y="115"/>
                  </a:lnTo>
                  <a:lnTo>
                    <a:pt x="106" y="111"/>
                  </a:lnTo>
                  <a:lnTo>
                    <a:pt x="129" y="94"/>
                  </a:lnTo>
                  <a:lnTo>
                    <a:pt x="151" y="99"/>
                  </a:lnTo>
                  <a:lnTo>
                    <a:pt x="198" y="155"/>
                  </a:lnTo>
                  <a:lnTo>
                    <a:pt x="205" y="172"/>
                  </a:lnTo>
                  <a:lnTo>
                    <a:pt x="257" y="181"/>
                  </a:lnTo>
                  <a:lnTo>
                    <a:pt x="311" y="155"/>
                  </a:lnTo>
                  <a:lnTo>
                    <a:pt x="382" y="189"/>
                  </a:lnTo>
                  <a:lnTo>
                    <a:pt x="394" y="181"/>
                  </a:lnTo>
                  <a:lnTo>
                    <a:pt x="399" y="155"/>
                  </a:lnTo>
                  <a:lnTo>
                    <a:pt x="432" y="148"/>
                  </a:lnTo>
                  <a:lnTo>
                    <a:pt x="437" y="132"/>
                  </a:lnTo>
                  <a:lnTo>
                    <a:pt x="437" y="99"/>
                  </a:lnTo>
                  <a:lnTo>
                    <a:pt x="453" y="44"/>
                  </a:lnTo>
                  <a:lnTo>
                    <a:pt x="491" y="16"/>
                  </a:lnTo>
                  <a:lnTo>
                    <a:pt x="529" y="21"/>
                  </a:lnTo>
                  <a:lnTo>
                    <a:pt x="595" y="0"/>
                  </a:lnTo>
                  <a:lnTo>
                    <a:pt x="621" y="28"/>
                  </a:lnTo>
                  <a:lnTo>
                    <a:pt x="675" y="44"/>
                  </a:lnTo>
                  <a:lnTo>
                    <a:pt x="685" y="70"/>
                  </a:lnTo>
                  <a:lnTo>
                    <a:pt x="654" y="99"/>
                  </a:lnTo>
                  <a:lnTo>
                    <a:pt x="654" y="115"/>
                  </a:lnTo>
                  <a:lnTo>
                    <a:pt x="663" y="127"/>
                  </a:lnTo>
                  <a:lnTo>
                    <a:pt x="621" y="148"/>
                  </a:lnTo>
                  <a:lnTo>
                    <a:pt x="654" y="155"/>
                  </a:lnTo>
                  <a:lnTo>
                    <a:pt x="633" y="193"/>
                  </a:lnTo>
                  <a:lnTo>
                    <a:pt x="647" y="238"/>
                  </a:lnTo>
                  <a:lnTo>
                    <a:pt x="692" y="250"/>
                  </a:lnTo>
                  <a:lnTo>
                    <a:pt x="718" y="283"/>
                  </a:lnTo>
                  <a:lnTo>
                    <a:pt x="739" y="300"/>
                  </a:lnTo>
                  <a:lnTo>
                    <a:pt x="729" y="316"/>
                  </a:lnTo>
                  <a:lnTo>
                    <a:pt x="675" y="378"/>
                  </a:lnTo>
                  <a:lnTo>
                    <a:pt x="670" y="394"/>
                  </a:lnTo>
                  <a:lnTo>
                    <a:pt x="729" y="489"/>
                  </a:lnTo>
                  <a:lnTo>
                    <a:pt x="746" y="538"/>
                  </a:lnTo>
                  <a:lnTo>
                    <a:pt x="725" y="543"/>
                  </a:lnTo>
                  <a:lnTo>
                    <a:pt x="718" y="576"/>
                  </a:lnTo>
                  <a:lnTo>
                    <a:pt x="708" y="592"/>
                  </a:lnTo>
                  <a:lnTo>
                    <a:pt x="725" y="592"/>
                  </a:lnTo>
                  <a:lnTo>
                    <a:pt x="729" y="611"/>
                  </a:lnTo>
                  <a:lnTo>
                    <a:pt x="708" y="611"/>
                  </a:lnTo>
                  <a:lnTo>
                    <a:pt x="708" y="633"/>
                  </a:lnTo>
                  <a:lnTo>
                    <a:pt x="725" y="637"/>
                  </a:lnTo>
                  <a:lnTo>
                    <a:pt x="746" y="649"/>
                  </a:lnTo>
                  <a:lnTo>
                    <a:pt x="755" y="666"/>
                  </a:lnTo>
                  <a:lnTo>
                    <a:pt x="739" y="670"/>
                  </a:lnTo>
                  <a:lnTo>
                    <a:pt x="746" y="682"/>
                  </a:lnTo>
                  <a:lnTo>
                    <a:pt x="739" y="687"/>
                  </a:lnTo>
                  <a:lnTo>
                    <a:pt x="777" y="711"/>
                  </a:lnTo>
                  <a:lnTo>
                    <a:pt x="777" y="727"/>
                  </a:lnTo>
                  <a:lnTo>
                    <a:pt x="739" y="765"/>
                  </a:lnTo>
                  <a:lnTo>
                    <a:pt x="826" y="822"/>
                  </a:lnTo>
                  <a:lnTo>
                    <a:pt x="848" y="859"/>
                  </a:lnTo>
                  <a:lnTo>
                    <a:pt x="826" y="904"/>
                  </a:lnTo>
                  <a:lnTo>
                    <a:pt x="685" y="1044"/>
                  </a:lnTo>
                  <a:lnTo>
                    <a:pt x="583" y="1126"/>
                  </a:lnTo>
                  <a:lnTo>
                    <a:pt x="562" y="1133"/>
                  </a:lnTo>
                  <a:lnTo>
                    <a:pt x="540" y="1117"/>
                  </a:lnTo>
                  <a:lnTo>
                    <a:pt x="524" y="1133"/>
                  </a:lnTo>
                  <a:lnTo>
                    <a:pt x="491" y="1133"/>
                  </a:lnTo>
                  <a:lnTo>
                    <a:pt x="503" y="1117"/>
                  </a:lnTo>
                  <a:lnTo>
                    <a:pt x="507" y="1117"/>
                  </a:lnTo>
                  <a:lnTo>
                    <a:pt x="503" y="1110"/>
                  </a:lnTo>
                  <a:lnTo>
                    <a:pt x="486" y="1138"/>
                  </a:lnTo>
                  <a:lnTo>
                    <a:pt x="458" y="1133"/>
                  </a:lnTo>
                  <a:lnTo>
                    <a:pt x="458" y="1150"/>
                  </a:lnTo>
                  <a:lnTo>
                    <a:pt x="458" y="1150"/>
                  </a:lnTo>
                  <a:lnTo>
                    <a:pt x="448" y="1138"/>
                  </a:lnTo>
                  <a:lnTo>
                    <a:pt x="453" y="1155"/>
                  </a:lnTo>
                  <a:lnTo>
                    <a:pt x="437" y="1150"/>
                  </a:lnTo>
                  <a:lnTo>
                    <a:pt x="448" y="1155"/>
                  </a:lnTo>
                  <a:lnTo>
                    <a:pt x="437" y="1155"/>
                  </a:lnTo>
                  <a:lnTo>
                    <a:pt x="432" y="1138"/>
                  </a:lnTo>
                  <a:lnTo>
                    <a:pt x="420" y="1155"/>
                  </a:lnTo>
                  <a:lnTo>
                    <a:pt x="361" y="1171"/>
                  </a:lnTo>
                  <a:lnTo>
                    <a:pt x="349" y="1183"/>
                  </a:lnTo>
                  <a:lnTo>
                    <a:pt x="340" y="1171"/>
                  </a:lnTo>
                  <a:lnTo>
                    <a:pt x="274" y="1188"/>
                  </a:lnTo>
                  <a:lnTo>
                    <a:pt x="285" y="1171"/>
                  </a:lnTo>
                  <a:lnTo>
                    <a:pt x="257" y="1195"/>
                  </a:lnTo>
                  <a:lnTo>
                    <a:pt x="236" y="1204"/>
                  </a:lnTo>
                  <a:lnTo>
                    <a:pt x="269" y="1183"/>
                  </a:lnTo>
                  <a:lnTo>
                    <a:pt x="252" y="1188"/>
                  </a:lnTo>
                  <a:lnTo>
                    <a:pt x="257" y="1183"/>
                  </a:lnTo>
                  <a:lnTo>
                    <a:pt x="252" y="1183"/>
                  </a:lnTo>
                  <a:lnTo>
                    <a:pt x="243" y="1171"/>
                  </a:lnTo>
                  <a:lnTo>
                    <a:pt x="243" y="1171"/>
                  </a:lnTo>
                  <a:lnTo>
                    <a:pt x="236" y="1166"/>
                  </a:lnTo>
                  <a:lnTo>
                    <a:pt x="252" y="1150"/>
                  </a:lnTo>
                  <a:lnTo>
                    <a:pt x="215" y="1155"/>
                  </a:lnTo>
                  <a:lnTo>
                    <a:pt x="205" y="1155"/>
                  </a:lnTo>
                  <a:lnTo>
                    <a:pt x="219" y="1138"/>
                  </a:lnTo>
                  <a:lnTo>
                    <a:pt x="160" y="1133"/>
                  </a:lnTo>
                  <a:lnTo>
                    <a:pt x="160" y="1117"/>
                  </a:lnTo>
                  <a:lnTo>
                    <a:pt x="144" y="1126"/>
                  </a:lnTo>
                  <a:lnTo>
                    <a:pt x="129" y="1110"/>
                  </a:lnTo>
                  <a:lnTo>
                    <a:pt x="129" y="1081"/>
                  </a:lnTo>
                  <a:lnTo>
                    <a:pt x="144" y="1039"/>
                  </a:lnTo>
                  <a:lnTo>
                    <a:pt x="134" y="1015"/>
                  </a:lnTo>
                  <a:lnTo>
                    <a:pt x="151" y="1015"/>
                  </a:lnTo>
                  <a:lnTo>
                    <a:pt x="122" y="966"/>
                  </a:lnTo>
                  <a:lnTo>
                    <a:pt x="129" y="944"/>
                  </a:lnTo>
                  <a:lnTo>
                    <a:pt x="129" y="928"/>
                  </a:lnTo>
                  <a:lnTo>
                    <a:pt x="113" y="911"/>
                  </a:lnTo>
                  <a:lnTo>
                    <a:pt x="113" y="892"/>
                  </a:lnTo>
                  <a:lnTo>
                    <a:pt x="113" y="876"/>
                  </a:lnTo>
                  <a:lnTo>
                    <a:pt x="129" y="859"/>
                  </a:lnTo>
                  <a:lnTo>
                    <a:pt x="134" y="850"/>
                  </a:lnTo>
                  <a:lnTo>
                    <a:pt x="151" y="850"/>
                  </a:lnTo>
                  <a:lnTo>
                    <a:pt x="134" y="822"/>
                  </a:lnTo>
                  <a:lnTo>
                    <a:pt x="167" y="822"/>
                  </a:lnTo>
                  <a:lnTo>
                    <a:pt x="177" y="833"/>
                  </a:lnTo>
                  <a:lnTo>
                    <a:pt x="198" y="822"/>
                  </a:lnTo>
                  <a:lnTo>
                    <a:pt x="198" y="817"/>
                  </a:lnTo>
                  <a:lnTo>
                    <a:pt x="189" y="800"/>
                  </a:lnTo>
                  <a:lnTo>
                    <a:pt x="198" y="793"/>
                  </a:lnTo>
                  <a:lnTo>
                    <a:pt x="205" y="800"/>
                  </a:lnTo>
                  <a:lnTo>
                    <a:pt x="215" y="765"/>
                  </a:lnTo>
                  <a:lnTo>
                    <a:pt x="231" y="781"/>
                  </a:lnTo>
                  <a:lnTo>
                    <a:pt x="236" y="760"/>
                  </a:lnTo>
                  <a:lnTo>
                    <a:pt x="269" y="748"/>
                  </a:lnTo>
                  <a:lnTo>
                    <a:pt x="274" y="727"/>
                  </a:lnTo>
                  <a:lnTo>
                    <a:pt x="290" y="727"/>
                  </a:lnTo>
                  <a:lnTo>
                    <a:pt x="311" y="687"/>
                  </a:lnTo>
                  <a:lnTo>
                    <a:pt x="340" y="670"/>
                  </a:lnTo>
                  <a:lnTo>
                    <a:pt x="349" y="637"/>
                  </a:lnTo>
                  <a:lnTo>
                    <a:pt x="394" y="633"/>
                  </a:lnTo>
                  <a:lnTo>
                    <a:pt x="403" y="637"/>
                  </a:lnTo>
                  <a:lnTo>
                    <a:pt x="415" y="633"/>
                  </a:lnTo>
                  <a:lnTo>
                    <a:pt x="399" y="628"/>
                  </a:lnTo>
                  <a:lnTo>
                    <a:pt x="415" y="628"/>
                  </a:lnTo>
                  <a:lnTo>
                    <a:pt x="403" y="600"/>
                  </a:lnTo>
                  <a:lnTo>
                    <a:pt x="415" y="571"/>
                  </a:lnTo>
                  <a:lnTo>
                    <a:pt x="403" y="559"/>
                  </a:lnTo>
                  <a:lnTo>
                    <a:pt x="361" y="543"/>
                  </a:lnTo>
                  <a:lnTo>
                    <a:pt x="349" y="526"/>
                  </a:lnTo>
                  <a:lnTo>
                    <a:pt x="361" y="517"/>
                  </a:lnTo>
                  <a:lnTo>
                    <a:pt x="344" y="526"/>
                  </a:lnTo>
                  <a:lnTo>
                    <a:pt x="328" y="522"/>
                  </a:lnTo>
                  <a:lnTo>
                    <a:pt x="328" y="522"/>
                  </a:lnTo>
                  <a:lnTo>
                    <a:pt x="328" y="522"/>
                  </a:lnTo>
                  <a:close/>
                  <a:moveTo>
                    <a:pt x="382" y="616"/>
                  </a:moveTo>
                  <a:lnTo>
                    <a:pt x="366" y="628"/>
                  </a:lnTo>
                  <a:lnTo>
                    <a:pt x="349" y="616"/>
                  </a:lnTo>
                  <a:lnTo>
                    <a:pt x="382" y="616"/>
                  </a:lnTo>
                  <a:lnTo>
                    <a:pt x="382" y="616"/>
                  </a:lnTo>
                  <a:lnTo>
                    <a:pt x="382" y="616"/>
                  </a:lnTo>
                  <a:close/>
                  <a:moveTo>
                    <a:pt x="236" y="760"/>
                  </a:moveTo>
                  <a:lnTo>
                    <a:pt x="219" y="760"/>
                  </a:lnTo>
                  <a:lnTo>
                    <a:pt x="236" y="748"/>
                  </a:lnTo>
                  <a:lnTo>
                    <a:pt x="236" y="760"/>
                  </a:lnTo>
                  <a:lnTo>
                    <a:pt x="236" y="760"/>
                  </a:lnTo>
                  <a:lnTo>
                    <a:pt x="236" y="760"/>
                  </a:lnTo>
                  <a:close/>
                  <a:moveTo>
                    <a:pt x="129" y="817"/>
                  </a:moveTo>
                  <a:lnTo>
                    <a:pt x="122" y="817"/>
                  </a:lnTo>
                  <a:lnTo>
                    <a:pt x="129" y="817"/>
                  </a:lnTo>
                  <a:lnTo>
                    <a:pt x="129" y="817"/>
                  </a:lnTo>
                  <a:lnTo>
                    <a:pt x="129" y="817"/>
                  </a:lnTo>
                  <a:lnTo>
                    <a:pt x="129" y="817"/>
                  </a:lnTo>
                  <a:close/>
                  <a:moveTo>
                    <a:pt x="189" y="822"/>
                  </a:moveTo>
                  <a:lnTo>
                    <a:pt x="177" y="817"/>
                  </a:lnTo>
                  <a:lnTo>
                    <a:pt x="189" y="817"/>
                  </a:lnTo>
                  <a:lnTo>
                    <a:pt x="189" y="822"/>
                  </a:lnTo>
                  <a:lnTo>
                    <a:pt x="189" y="822"/>
                  </a:lnTo>
                  <a:lnTo>
                    <a:pt x="189" y="822"/>
                  </a:lnTo>
                  <a:close/>
                  <a:moveTo>
                    <a:pt x="122" y="833"/>
                  </a:moveTo>
                  <a:lnTo>
                    <a:pt x="113" y="817"/>
                  </a:lnTo>
                  <a:lnTo>
                    <a:pt x="134" y="822"/>
                  </a:lnTo>
                  <a:lnTo>
                    <a:pt x="122" y="833"/>
                  </a:lnTo>
                  <a:lnTo>
                    <a:pt x="122" y="833"/>
                  </a:lnTo>
                  <a:lnTo>
                    <a:pt x="122" y="833"/>
                  </a:lnTo>
                  <a:close/>
                  <a:moveTo>
                    <a:pt x="129" y="1081"/>
                  </a:moveTo>
                  <a:lnTo>
                    <a:pt x="122" y="1077"/>
                  </a:lnTo>
                  <a:lnTo>
                    <a:pt x="129" y="1081"/>
                  </a:lnTo>
                  <a:lnTo>
                    <a:pt x="129" y="1081"/>
                  </a:lnTo>
                  <a:lnTo>
                    <a:pt x="129" y="1081"/>
                  </a:lnTo>
                  <a:lnTo>
                    <a:pt x="129" y="1081"/>
                  </a:lnTo>
                  <a:close/>
                  <a:moveTo>
                    <a:pt x="134" y="1133"/>
                  </a:moveTo>
                  <a:lnTo>
                    <a:pt x="129" y="1126"/>
                  </a:lnTo>
                  <a:lnTo>
                    <a:pt x="134" y="1126"/>
                  </a:lnTo>
                  <a:lnTo>
                    <a:pt x="134" y="1133"/>
                  </a:lnTo>
                  <a:lnTo>
                    <a:pt x="134" y="1133"/>
                  </a:lnTo>
                  <a:lnTo>
                    <a:pt x="134" y="1133"/>
                  </a:lnTo>
                  <a:close/>
                  <a:moveTo>
                    <a:pt x="177" y="1150"/>
                  </a:moveTo>
                  <a:lnTo>
                    <a:pt x="160" y="1138"/>
                  </a:lnTo>
                  <a:lnTo>
                    <a:pt x="160" y="1133"/>
                  </a:lnTo>
                  <a:lnTo>
                    <a:pt x="177" y="1150"/>
                  </a:lnTo>
                  <a:lnTo>
                    <a:pt x="177" y="1150"/>
                  </a:lnTo>
                  <a:lnTo>
                    <a:pt x="177" y="1150"/>
                  </a:lnTo>
                  <a:close/>
                  <a:moveTo>
                    <a:pt x="26" y="1183"/>
                  </a:moveTo>
                  <a:lnTo>
                    <a:pt x="21" y="1171"/>
                  </a:lnTo>
                  <a:lnTo>
                    <a:pt x="14" y="1155"/>
                  </a:lnTo>
                  <a:lnTo>
                    <a:pt x="21" y="1150"/>
                  </a:lnTo>
                  <a:lnTo>
                    <a:pt x="21" y="1166"/>
                  </a:lnTo>
                  <a:lnTo>
                    <a:pt x="26" y="1150"/>
                  </a:lnTo>
                  <a:lnTo>
                    <a:pt x="21" y="1138"/>
                  </a:lnTo>
                  <a:lnTo>
                    <a:pt x="26" y="1138"/>
                  </a:lnTo>
                  <a:lnTo>
                    <a:pt x="52" y="1150"/>
                  </a:lnTo>
                  <a:lnTo>
                    <a:pt x="42" y="1166"/>
                  </a:lnTo>
                  <a:lnTo>
                    <a:pt x="42" y="1155"/>
                  </a:lnTo>
                  <a:lnTo>
                    <a:pt x="37" y="1150"/>
                  </a:lnTo>
                  <a:lnTo>
                    <a:pt x="26" y="1155"/>
                  </a:lnTo>
                  <a:lnTo>
                    <a:pt x="37" y="1171"/>
                  </a:lnTo>
                  <a:lnTo>
                    <a:pt x="26" y="1183"/>
                  </a:lnTo>
                  <a:lnTo>
                    <a:pt x="26" y="1183"/>
                  </a:lnTo>
                  <a:lnTo>
                    <a:pt x="26" y="1183"/>
                  </a:lnTo>
                  <a:close/>
                  <a:moveTo>
                    <a:pt x="198" y="1150"/>
                  </a:moveTo>
                  <a:lnTo>
                    <a:pt x="198" y="1150"/>
                  </a:lnTo>
                  <a:lnTo>
                    <a:pt x="205" y="1150"/>
                  </a:lnTo>
                  <a:lnTo>
                    <a:pt x="198" y="1150"/>
                  </a:lnTo>
                  <a:lnTo>
                    <a:pt x="198" y="1150"/>
                  </a:lnTo>
                  <a:lnTo>
                    <a:pt x="198" y="1150"/>
                  </a:lnTo>
                  <a:close/>
                  <a:moveTo>
                    <a:pt x="189" y="1155"/>
                  </a:moveTo>
                  <a:lnTo>
                    <a:pt x="181" y="1150"/>
                  </a:lnTo>
                  <a:lnTo>
                    <a:pt x="198" y="1150"/>
                  </a:lnTo>
                  <a:lnTo>
                    <a:pt x="189" y="1155"/>
                  </a:lnTo>
                  <a:lnTo>
                    <a:pt x="189" y="1155"/>
                  </a:lnTo>
                  <a:lnTo>
                    <a:pt x="189" y="1155"/>
                  </a:lnTo>
                  <a:close/>
                  <a:moveTo>
                    <a:pt x="432" y="1166"/>
                  </a:moveTo>
                  <a:lnTo>
                    <a:pt x="432" y="1150"/>
                  </a:lnTo>
                  <a:lnTo>
                    <a:pt x="432" y="1155"/>
                  </a:lnTo>
                  <a:lnTo>
                    <a:pt x="432" y="1166"/>
                  </a:lnTo>
                  <a:lnTo>
                    <a:pt x="432" y="1166"/>
                  </a:lnTo>
                  <a:lnTo>
                    <a:pt x="432" y="1166"/>
                  </a:lnTo>
                  <a:close/>
                  <a:moveTo>
                    <a:pt x="59" y="1166"/>
                  </a:moveTo>
                  <a:lnTo>
                    <a:pt x="59" y="1155"/>
                  </a:lnTo>
                  <a:lnTo>
                    <a:pt x="68" y="1155"/>
                  </a:lnTo>
                  <a:lnTo>
                    <a:pt x="59" y="1166"/>
                  </a:lnTo>
                  <a:lnTo>
                    <a:pt x="59" y="1166"/>
                  </a:lnTo>
                  <a:lnTo>
                    <a:pt x="59" y="1166"/>
                  </a:lnTo>
                  <a:close/>
                  <a:moveTo>
                    <a:pt x="4" y="1171"/>
                  </a:moveTo>
                  <a:lnTo>
                    <a:pt x="0" y="1166"/>
                  </a:lnTo>
                  <a:lnTo>
                    <a:pt x="4" y="1155"/>
                  </a:lnTo>
                  <a:lnTo>
                    <a:pt x="14" y="1166"/>
                  </a:lnTo>
                  <a:lnTo>
                    <a:pt x="4" y="1171"/>
                  </a:lnTo>
                  <a:lnTo>
                    <a:pt x="4" y="1171"/>
                  </a:lnTo>
                  <a:lnTo>
                    <a:pt x="4" y="1171"/>
                  </a:lnTo>
                  <a:close/>
                  <a:moveTo>
                    <a:pt x="215" y="1183"/>
                  </a:moveTo>
                  <a:lnTo>
                    <a:pt x="205" y="1183"/>
                  </a:lnTo>
                  <a:lnTo>
                    <a:pt x="205" y="1155"/>
                  </a:lnTo>
                  <a:lnTo>
                    <a:pt x="236" y="1155"/>
                  </a:lnTo>
                  <a:lnTo>
                    <a:pt x="236" y="1171"/>
                  </a:lnTo>
                  <a:lnTo>
                    <a:pt x="215" y="1183"/>
                  </a:lnTo>
                  <a:lnTo>
                    <a:pt x="215" y="1183"/>
                  </a:lnTo>
                  <a:lnTo>
                    <a:pt x="215" y="1183"/>
                  </a:lnTo>
                  <a:close/>
                  <a:moveTo>
                    <a:pt x="177" y="1166"/>
                  </a:moveTo>
                  <a:lnTo>
                    <a:pt x="167" y="1166"/>
                  </a:lnTo>
                  <a:lnTo>
                    <a:pt x="181" y="1166"/>
                  </a:lnTo>
                  <a:lnTo>
                    <a:pt x="177" y="1166"/>
                  </a:lnTo>
                  <a:lnTo>
                    <a:pt x="177" y="1166"/>
                  </a:lnTo>
                  <a:lnTo>
                    <a:pt x="177" y="1166"/>
                  </a:lnTo>
                  <a:close/>
                  <a:moveTo>
                    <a:pt x="160" y="1171"/>
                  </a:moveTo>
                  <a:lnTo>
                    <a:pt x="151" y="1166"/>
                  </a:lnTo>
                  <a:lnTo>
                    <a:pt x="167" y="1166"/>
                  </a:lnTo>
                  <a:lnTo>
                    <a:pt x="160" y="1171"/>
                  </a:lnTo>
                  <a:lnTo>
                    <a:pt x="160" y="1171"/>
                  </a:lnTo>
                  <a:lnTo>
                    <a:pt x="160" y="1171"/>
                  </a:lnTo>
                  <a:close/>
                  <a:moveTo>
                    <a:pt x="52" y="1171"/>
                  </a:moveTo>
                  <a:lnTo>
                    <a:pt x="52" y="1166"/>
                  </a:lnTo>
                  <a:lnTo>
                    <a:pt x="59" y="1171"/>
                  </a:lnTo>
                  <a:lnTo>
                    <a:pt x="52" y="1171"/>
                  </a:lnTo>
                  <a:lnTo>
                    <a:pt x="52" y="1171"/>
                  </a:lnTo>
                  <a:lnTo>
                    <a:pt x="52" y="1171"/>
                  </a:lnTo>
                  <a:close/>
                  <a:moveTo>
                    <a:pt x="42" y="1171"/>
                  </a:moveTo>
                  <a:lnTo>
                    <a:pt x="52" y="1171"/>
                  </a:lnTo>
                  <a:lnTo>
                    <a:pt x="52" y="1183"/>
                  </a:lnTo>
                  <a:lnTo>
                    <a:pt x="37" y="1171"/>
                  </a:lnTo>
                  <a:lnTo>
                    <a:pt x="42" y="1171"/>
                  </a:lnTo>
                  <a:lnTo>
                    <a:pt x="42" y="1171"/>
                  </a:lnTo>
                  <a:lnTo>
                    <a:pt x="42" y="1171"/>
                  </a:lnTo>
                  <a:close/>
                  <a:moveTo>
                    <a:pt x="205" y="1171"/>
                  </a:moveTo>
                  <a:lnTo>
                    <a:pt x="198" y="1183"/>
                  </a:lnTo>
                  <a:lnTo>
                    <a:pt x="198" y="1171"/>
                  </a:lnTo>
                  <a:lnTo>
                    <a:pt x="205" y="1171"/>
                  </a:lnTo>
                  <a:lnTo>
                    <a:pt x="205" y="1171"/>
                  </a:lnTo>
                  <a:lnTo>
                    <a:pt x="205" y="1171"/>
                  </a:lnTo>
                  <a:close/>
                  <a:moveTo>
                    <a:pt x="243" y="1195"/>
                  </a:moveTo>
                  <a:lnTo>
                    <a:pt x="231" y="1188"/>
                  </a:lnTo>
                  <a:lnTo>
                    <a:pt x="252" y="1188"/>
                  </a:lnTo>
                  <a:lnTo>
                    <a:pt x="243" y="1195"/>
                  </a:lnTo>
                  <a:lnTo>
                    <a:pt x="243" y="1195"/>
                  </a:lnTo>
                  <a:lnTo>
                    <a:pt x="243" y="119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1" name="Freeform 440">
              <a:extLst>
                <a:ext uri="{FF2B5EF4-FFF2-40B4-BE49-F238E27FC236}">
                  <a16:creationId xmlns:a16="http://schemas.microsoft.com/office/drawing/2014/main" id="{C405A618-7C82-47C0-999D-9A5CBF5A01F4}"/>
                </a:ext>
              </a:extLst>
            </p:cNvPr>
            <p:cNvSpPr>
              <a:spLocks noEditPoints="1"/>
            </p:cNvSpPr>
            <p:nvPr/>
          </p:nvSpPr>
          <p:spPr bwMode="gray">
            <a:xfrm>
              <a:off x="9612700" y="4499634"/>
              <a:ext cx="8261949" cy="71678"/>
            </a:xfrm>
            <a:custGeom>
              <a:avLst/>
              <a:gdLst>
                <a:gd name="T0" fmla="*/ 25214 w 25243"/>
                <a:gd name="T1" fmla="*/ 37 h 219"/>
                <a:gd name="T2" fmla="*/ 25243 w 25243"/>
                <a:gd name="T3" fmla="*/ 21 h 219"/>
                <a:gd name="T4" fmla="*/ 25200 w 25243"/>
                <a:gd name="T5" fmla="*/ 49 h 219"/>
                <a:gd name="T6" fmla="*/ 25184 w 25243"/>
                <a:gd name="T7" fmla="*/ 49 h 219"/>
                <a:gd name="T8" fmla="*/ 25167 w 25243"/>
                <a:gd name="T9" fmla="*/ 49 h 219"/>
                <a:gd name="T10" fmla="*/ 25146 w 25243"/>
                <a:gd name="T11" fmla="*/ 49 h 219"/>
                <a:gd name="T12" fmla="*/ 25162 w 25243"/>
                <a:gd name="T13" fmla="*/ 37 h 219"/>
                <a:gd name="T14" fmla="*/ 25205 w 25243"/>
                <a:gd name="T15" fmla="*/ 16 h 219"/>
                <a:gd name="T16" fmla="*/ 25243 w 25243"/>
                <a:gd name="T17" fmla="*/ 0 h 219"/>
                <a:gd name="T18" fmla="*/ 25243 w 25243"/>
                <a:gd name="T19" fmla="*/ 0 h 219"/>
                <a:gd name="T20" fmla="*/ 0 w 25243"/>
                <a:gd name="T21" fmla="*/ 21 h 219"/>
                <a:gd name="T22" fmla="*/ 0 w 25243"/>
                <a:gd name="T23" fmla="*/ 21 h 219"/>
                <a:gd name="T24" fmla="*/ 0 w 25243"/>
                <a:gd name="T25" fmla="*/ 21 h 219"/>
                <a:gd name="T26" fmla="*/ 0 w 25243"/>
                <a:gd name="T27" fmla="*/ 21 h 219"/>
                <a:gd name="T28" fmla="*/ 5 w 25243"/>
                <a:gd name="T29" fmla="*/ 37 h 219"/>
                <a:gd name="T30" fmla="*/ 0 w 25243"/>
                <a:gd name="T31" fmla="*/ 54 h 219"/>
                <a:gd name="T32" fmla="*/ 0 w 25243"/>
                <a:gd name="T33" fmla="*/ 49 h 219"/>
                <a:gd name="T34" fmla="*/ 25243 w 25243"/>
                <a:gd name="T35" fmla="*/ 54 h 219"/>
                <a:gd name="T36" fmla="*/ 25243 w 25243"/>
                <a:gd name="T37" fmla="*/ 49 h 219"/>
                <a:gd name="T38" fmla="*/ 25243 w 25243"/>
                <a:gd name="T39" fmla="*/ 54 h 219"/>
                <a:gd name="T40" fmla="*/ 71 w 25243"/>
                <a:gd name="T41" fmla="*/ 87 h 219"/>
                <a:gd name="T42" fmla="*/ 76 w 25243"/>
                <a:gd name="T43" fmla="*/ 75 h 219"/>
                <a:gd name="T44" fmla="*/ 71 w 25243"/>
                <a:gd name="T45" fmla="*/ 87 h 219"/>
                <a:gd name="T46" fmla="*/ 25205 w 25243"/>
                <a:gd name="T47" fmla="*/ 87 h 219"/>
                <a:gd name="T48" fmla="*/ 25205 w 25243"/>
                <a:gd name="T49" fmla="*/ 75 h 219"/>
                <a:gd name="T50" fmla="*/ 25205 w 25243"/>
                <a:gd name="T51" fmla="*/ 87 h 219"/>
                <a:gd name="T52" fmla="*/ 25124 w 25243"/>
                <a:gd name="T53" fmla="*/ 146 h 219"/>
                <a:gd name="T54" fmla="*/ 25058 w 25243"/>
                <a:gd name="T55" fmla="*/ 141 h 219"/>
                <a:gd name="T56" fmla="*/ 25070 w 25243"/>
                <a:gd name="T57" fmla="*/ 115 h 219"/>
                <a:gd name="T58" fmla="*/ 25075 w 25243"/>
                <a:gd name="T59" fmla="*/ 92 h 219"/>
                <a:gd name="T60" fmla="*/ 25150 w 25243"/>
                <a:gd name="T61" fmla="*/ 108 h 219"/>
                <a:gd name="T62" fmla="*/ 25124 w 25243"/>
                <a:gd name="T63" fmla="*/ 146 h 219"/>
                <a:gd name="T64" fmla="*/ 25124 w 25243"/>
                <a:gd name="T65" fmla="*/ 146 h 219"/>
                <a:gd name="T66" fmla="*/ 25162 w 25243"/>
                <a:gd name="T67" fmla="*/ 108 h 219"/>
                <a:gd name="T68" fmla="*/ 25167 w 25243"/>
                <a:gd name="T69" fmla="*/ 108 h 219"/>
                <a:gd name="T70" fmla="*/ 25162 w 25243"/>
                <a:gd name="T71" fmla="*/ 115 h 219"/>
                <a:gd name="T72" fmla="*/ 114 w 25243"/>
                <a:gd name="T73" fmla="*/ 130 h 219"/>
                <a:gd name="T74" fmla="*/ 126 w 25243"/>
                <a:gd name="T75" fmla="*/ 125 h 219"/>
                <a:gd name="T76" fmla="*/ 114 w 25243"/>
                <a:gd name="T77" fmla="*/ 130 h 219"/>
                <a:gd name="T78" fmla="*/ 25200 w 25243"/>
                <a:gd name="T79" fmla="*/ 141 h 219"/>
                <a:gd name="T80" fmla="*/ 25200 w 25243"/>
                <a:gd name="T81" fmla="*/ 125 h 219"/>
                <a:gd name="T82" fmla="*/ 25200 w 25243"/>
                <a:gd name="T83" fmla="*/ 141 h 219"/>
                <a:gd name="T84" fmla="*/ 88 w 25243"/>
                <a:gd name="T85" fmla="*/ 146 h 219"/>
                <a:gd name="T86" fmla="*/ 88 w 25243"/>
                <a:gd name="T87" fmla="*/ 146 h 219"/>
                <a:gd name="T88" fmla="*/ 88 w 25243"/>
                <a:gd name="T89" fmla="*/ 146 h 219"/>
                <a:gd name="T90" fmla="*/ 25243 w 25243"/>
                <a:gd name="T91" fmla="*/ 179 h 219"/>
                <a:gd name="T92" fmla="*/ 25243 w 25243"/>
                <a:gd name="T93" fmla="*/ 170 h 219"/>
                <a:gd name="T94" fmla="*/ 25243 w 25243"/>
                <a:gd name="T95" fmla="*/ 179 h 219"/>
                <a:gd name="T96" fmla="*/ 5 w 25243"/>
                <a:gd name="T97" fmla="*/ 212 h 219"/>
                <a:gd name="T98" fmla="*/ 17 w 25243"/>
                <a:gd name="T99" fmla="*/ 203 h 219"/>
                <a:gd name="T100" fmla="*/ 5 w 25243"/>
                <a:gd name="T101" fmla="*/ 212 h 219"/>
                <a:gd name="T102" fmla="*/ 25113 w 25243"/>
                <a:gd name="T103" fmla="*/ 219 h 219"/>
                <a:gd name="T104" fmla="*/ 25129 w 25243"/>
                <a:gd name="T105" fmla="*/ 203 h 219"/>
                <a:gd name="T106" fmla="*/ 25124 w 25243"/>
                <a:gd name="T107" fmla="*/ 212 h 219"/>
                <a:gd name="T108" fmla="*/ 25113 w 25243"/>
                <a:gd name="T109"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243" h="219">
                  <a:moveTo>
                    <a:pt x="25243" y="0"/>
                  </a:moveTo>
                  <a:lnTo>
                    <a:pt x="25214" y="37"/>
                  </a:lnTo>
                  <a:lnTo>
                    <a:pt x="25214" y="37"/>
                  </a:lnTo>
                  <a:lnTo>
                    <a:pt x="25243" y="21"/>
                  </a:lnTo>
                  <a:lnTo>
                    <a:pt x="25238" y="37"/>
                  </a:lnTo>
                  <a:lnTo>
                    <a:pt x="25200" y="49"/>
                  </a:lnTo>
                  <a:lnTo>
                    <a:pt x="25200" y="37"/>
                  </a:lnTo>
                  <a:lnTo>
                    <a:pt x="25184" y="49"/>
                  </a:lnTo>
                  <a:lnTo>
                    <a:pt x="25184" y="54"/>
                  </a:lnTo>
                  <a:lnTo>
                    <a:pt x="25167" y="49"/>
                  </a:lnTo>
                  <a:lnTo>
                    <a:pt x="25162" y="59"/>
                  </a:lnTo>
                  <a:lnTo>
                    <a:pt x="25146" y="49"/>
                  </a:lnTo>
                  <a:lnTo>
                    <a:pt x="25150" y="33"/>
                  </a:lnTo>
                  <a:lnTo>
                    <a:pt x="25162" y="37"/>
                  </a:lnTo>
                  <a:lnTo>
                    <a:pt x="25176" y="21"/>
                  </a:lnTo>
                  <a:lnTo>
                    <a:pt x="25205" y="16"/>
                  </a:lnTo>
                  <a:lnTo>
                    <a:pt x="25214" y="4"/>
                  </a:lnTo>
                  <a:lnTo>
                    <a:pt x="25243" y="0"/>
                  </a:lnTo>
                  <a:lnTo>
                    <a:pt x="25243" y="0"/>
                  </a:lnTo>
                  <a:lnTo>
                    <a:pt x="25243" y="0"/>
                  </a:lnTo>
                  <a:lnTo>
                    <a:pt x="25243" y="0"/>
                  </a:lnTo>
                  <a:close/>
                  <a:moveTo>
                    <a:pt x="0" y="21"/>
                  </a:moveTo>
                  <a:lnTo>
                    <a:pt x="5" y="16"/>
                  </a:lnTo>
                  <a:lnTo>
                    <a:pt x="0" y="21"/>
                  </a:lnTo>
                  <a:lnTo>
                    <a:pt x="0" y="21"/>
                  </a:lnTo>
                  <a:lnTo>
                    <a:pt x="0" y="21"/>
                  </a:lnTo>
                  <a:lnTo>
                    <a:pt x="0" y="21"/>
                  </a:lnTo>
                  <a:lnTo>
                    <a:pt x="0" y="21"/>
                  </a:lnTo>
                  <a:close/>
                  <a:moveTo>
                    <a:pt x="0" y="49"/>
                  </a:moveTo>
                  <a:lnTo>
                    <a:pt x="5" y="37"/>
                  </a:lnTo>
                  <a:lnTo>
                    <a:pt x="5" y="49"/>
                  </a:lnTo>
                  <a:lnTo>
                    <a:pt x="0" y="54"/>
                  </a:lnTo>
                  <a:lnTo>
                    <a:pt x="0" y="49"/>
                  </a:lnTo>
                  <a:lnTo>
                    <a:pt x="0" y="49"/>
                  </a:lnTo>
                  <a:lnTo>
                    <a:pt x="0" y="49"/>
                  </a:lnTo>
                  <a:close/>
                  <a:moveTo>
                    <a:pt x="25243" y="54"/>
                  </a:moveTo>
                  <a:lnTo>
                    <a:pt x="25238" y="54"/>
                  </a:lnTo>
                  <a:lnTo>
                    <a:pt x="25243" y="49"/>
                  </a:lnTo>
                  <a:lnTo>
                    <a:pt x="25243" y="54"/>
                  </a:lnTo>
                  <a:lnTo>
                    <a:pt x="25243" y="54"/>
                  </a:lnTo>
                  <a:lnTo>
                    <a:pt x="25243" y="54"/>
                  </a:lnTo>
                  <a:close/>
                  <a:moveTo>
                    <a:pt x="71" y="87"/>
                  </a:moveTo>
                  <a:lnTo>
                    <a:pt x="71" y="70"/>
                  </a:lnTo>
                  <a:lnTo>
                    <a:pt x="76" y="75"/>
                  </a:lnTo>
                  <a:lnTo>
                    <a:pt x="71" y="87"/>
                  </a:lnTo>
                  <a:lnTo>
                    <a:pt x="71" y="87"/>
                  </a:lnTo>
                  <a:lnTo>
                    <a:pt x="71" y="87"/>
                  </a:lnTo>
                  <a:close/>
                  <a:moveTo>
                    <a:pt x="25205" y="87"/>
                  </a:moveTo>
                  <a:lnTo>
                    <a:pt x="25205" y="75"/>
                  </a:lnTo>
                  <a:lnTo>
                    <a:pt x="25205" y="75"/>
                  </a:lnTo>
                  <a:lnTo>
                    <a:pt x="25205" y="87"/>
                  </a:lnTo>
                  <a:lnTo>
                    <a:pt x="25205" y="87"/>
                  </a:lnTo>
                  <a:lnTo>
                    <a:pt x="25205" y="87"/>
                  </a:lnTo>
                  <a:close/>
                  <a:moveTo>
                    <a:pt x="25124" y="146"/>
                  </a:moveTo>
                  <a:lnTo>
                    <a:pt x="25096" y="146"/>
                  </a:lnTo>
                  <a:lnTo>
                    <a:pt x="25058" y="141"/>
                  </a:lnTo>
                  <a:lnTo>
                    <a:pt x="25054" y="125"/>
                  </a:lnTo>
                  <a:lnTo>
                    <a:pt x="25070" y="115"/>
                  </a:lnTo>
                  <a:lnTo>
                    <a:pt x="25070" y="108"/>
                  </a:lnTo>
                  <a:lnTo>
                    <a:pt x="25075" y="92"/>
                  </a:lnTo>
                  <a:lnTo>
                    <a:pt x="25124" y="75"/>
                  </a:lnTo>
                  <a:lnTo>
                    <a:pt x="25150" y="108"/>
                  </a:lnTo>
                  <a:lnTo>
                    <a:pt x="25162" y="130"/>
                  </a:lnTo>
                  <a:lnTo>
                    <a:pt x="25124" y="146"/>
                  </a:lnTo>
                  <a:lnTo>
                    <a:pt x="25124" y="146"/>
                  </a:lnTo>
                  <a:lnTo>
                    <a:pt x="25124" y="146"/>
                  </a:lnTo>
                  <a:close/>
                  <a:moveTo>
                    <a:pt x="25162" y="115"/>
                  </a:moveTo>
                  <a:lnTo>
                    <a:pt x="25162" y="108"/>
                  </a:lnTo>
                  <a:lnTo>
                    <a:pt x="25167" y="108"/>
                  </a:lnTo>
                  <a:lnTo>
                    <a:pt x="25167" y="108"/>
                  </a:lnTo>
                  <a:lnTo>
                    <a:pt x="25162" y="115"/>
                  </a:lnTo>
                  <a:lnTo>
                    <a:pt x="25162" y="115"/>
                  </a:lnTo>
                  <a:lnTo>
                    <a:pt x="25162" y="115"/>
                  </a:lnTo>
                  <a:close/>
                  <a:moveTo>
                    <a:pt x="114" y="130"/>
                  </a:moveTo>
                  <a:lnTo>
                    <a:pt x="114" y="125"/>
                  </a:lnTo>
                  <a:lnTo>
                    <a:pt x="126" y="125"/>
                  </a:lnTo>
                  <a:lnTo>
                    <a:pt x="114" y="130"/>
                  </a:lnTo>
                  <a:lnTo>
                    <a:pt x="114" y="130"/>
                  </a:lnTo>
                  <a:lnTo>
                    <a:pt x="114" y="130"/>
                  </a:lnTo>
                  <a:close/>
                  <a:moveTo>
                    <a:pt x="25200" y="141"/>
                  </a:moveTo>
                  <a:lnTo>
                    <a:pt x="25200" y="130"/>
                  </a:lnTo>
                  <a:lnTo>
                    <a:pt x="25200" y="125"/>
                  </a:lnTo>
                  <a:lnTo>
                    <a:pt x="25200" y="141"/>
                  </a:lnTo>
                  <a:lnTo>
                    <a:pt x="25200" y="141"/>
                  </a:lnTo>
                  <a:lnTo>
                    <a:pt x="25200" y="141"/>
                  </a:lnTo>
                  <a:close/>
                  <a:moveTo>
                    <a:pt x="88" y="146"/>
                  </a:moveTo>
                  <a:lnTo>
                    <a:pt x="76" y="146"/>
                  </a:lnTo>
                  <a:lnTo>
                    <a:pt x="88" y="146"/>
                  </a:lnTo>
                  <a:lnTo>
                    <a:pt x="88" y="146"/>
                  </a:lnTo>
                  <a:lnTo>
                    <a:pt x="88" y="146"/>
                  </a:lnTo>
                  <a:lnTo>
                    <a:pt x="88" y="146"/>
                  </a:lnTo>
                  <a:close/>
                  <a:moveTo>
                    <a:pt x="25243" y="179"/>
                  </a:moveTo>
                  <a:lnTo>
                    <a:pt x="25238" y="170"/>
                  </a:lnTo>
                  <a:lnTo>
                    <a:pt x="25243" y="170"/>
                  </a:lnTo>
                  <a:lnTo>
                    <a:pt x="25243" y="179"/>
                  </a:lnTo>
                  <a:lnTo>
                    <a:pt x="25243" y="179"/>
                  </a:lnTo>
                  <a:lnTo>
                    <a:pt x="25243" y="179"/>
                  </a:lnTo>
                  <a:close/>
                  <a:moveTo>
                    <a:pt x="5" y="212"/>
                  </a:moveTo>
                  <a:lnTo>
                    <a:pt x="5" y="203"/>
                  </a:lnTo>
                  <a:lnTo>
                    <a:pt x="17" y="203"/>
                  </a:lnTo>
                  <a:lnTo>
                    <a:pt x="5" y="212"/>
                  </a:lnTo>
                  <a:lnTo>
                    <a:pt x="5" y="212"/>
                  </a:lnTo>
                  <a:lnTo>
                    <a:pt x="5" y="212"/>
                  </a:lnTo>
                  <a:close/>
                  <a:moveTo>
                    <a:pt x="25113" y="219"/>
                  </a:moveTo>
                  <a:lnTo>
                    <a:pt x="25108" y="219"/>
                  </a:lnTo>
                  <a:lnTo>
                    <a:pt x="25129" y="203"/>
                  </a:lnTo>
                  <a:lnTo>
                    <a:pt x="25146" y="203"/>
                  </a:lnTo>
                  <a:lnTo>
                    <a:pt x="25124" y="212"/>
                  </a:lnTo>
                  <a:lnTo>
                    <a:pt x="25113" y="219"/>
                  </a:lnTo>
                  <a:lnTo>
                    <a:pt x="25113" y="219"/>
                  </a:lnTo>
                  <a:lnTo>
                    <a:pt x="25113" y="21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2" name="Freeform 441">
              <a:extLst>
                <a:ext uri="{FF2B5EF4-FFF2-40B4-BE49-F238E27FC236}">
                  <a16:creationId xmlns:a16="http://schemas.microsoft.com/office/drawing/2014/main" id="{A95FC0D6-9417-4C21-B41B-68C9663668E1}"/>
                </a:ext>
              </a:extLst>
            </p:cNvPr>
            <p:cNvSpPr>
              <a:spLocks noEditPoints="1"/>
            </p:cNvSpPr>
            <p:nvPr/>
          </p:nvSpPr>
          <p:spPr bwMode="gray">
            <a:xfrm>
              <a:off x="12338099" y="5440284"/>
              <a:ext cx="81170" cy="36330"/>
            </a:xfrm>
            <a:custGeom>
              <a:avLst/>
              <a:gdLst>
                <a:gd name="T0" fmla="*/ 69 w 248"/>
                <a:gd name="T1" fmla="*/ 0 h 111"/>
                <a:gd name="T2" fmla="*/ 76 w 248"/>
                <a:gd name="T3" fmla="*/ 17 h 111"/>
                <a:gd name="T4" fmla="*/ 69 w 248"/>
                <a:gd name="T5" fmla="*/ 17 h 111"/>
                <a:gd name="T6" fmla="*/ 161 w 248"/>
                <a:gd name="T7" fmla="*/ 57 h 111"/>
                <a:gd name="T8" fmla="*/ 144 w 248"/>
                <a:gd name="T9" fmla="*/ 33 h 111"/>
                <a:gd name="T10" fmla="*/ 151 w 248"/>
                <a:gd name="T11" fmla="*/ 33 h 111"/>
                <a:gd name="T12" fmla="*/ 151 w 248"/>
                <a:gd name="T13" fmla="*/ 17 h 111"/>
                <a:gd name="T14" fmla="*/ 168 w 248"/>
                <a:gd name="T15" fmla="*/ 5 h 111"/>
                <a:gd name="T16" fmla="*/ 206 w 248"/>
                <a:gd name="T17" fmla="*/ 17 h 111"/>
                <a:gd name="T18" fmla="*/ 215 w 248"/>
                <a:gd name="T19" fmla="*/ 41 h 111"/>
                <a:gd name="T20" fmla="*/ 198 w 248"/>
                <a:gd name="T21" fmla="*/ 24 h 111"/>
                <a:gd name="T22" fmla="*/ 236 w 248"/>
                <a:gd name="T23" fmla="*/ 17 h 111"/>
                <a:gd name="T24" fmla="*/ 215 w 248"/>
                <a:gd name="T25" fmla="*/ 33 h 111"/>
                <a:gd name="T26" fmla="*/ 248 w 248"/>
                <a:gd name="T27" fmla="*/ 45 h 111"/>
                <a:gd name="T28" fmla="*/ 215 w 248"/>
                <a:gd name="T29" fmla="*/ 57 h 111"/>
                <a:gd name="T30" fmla="*/ 177 w 248"/>
                <a:gd name="T31" fmla="*/ 62 h 111"/>
                <a:gd name="T32" fmla="*/ 161 w 248"/>
                <a:gd name="T33" fmla="*/ 62 h 111"/>
                <a:gd name="T34" fmla="*/ 182 w 248"/>
                <a:gd name="T35" fmla="*/ 78 h 111"/>
                <a:gd name="T36" fmla="*/ 144 w 248"/>
                <a:gd name="T37" fmla="*/ 74 h 111"/>
                <a:gd name="T38" fmla="*/ 151 w 248"/>
                <a:gd name="T39" fmla="*/ 90 h 111"/>
                <a:gd name="T40" fmla="*/ 128 w 248"/>
                <a:gd name="T41" fmla="*/ 90 h 111"/>
                <a:gd name="T42" fmla="*/ 106 w 248"/>
                <a:gd name="T43" fmla="*/ 90 h 111"/>
                <a:gd name="T44" fmla="*/ 144 w 248"/>
                <a:gd name="T45" fmla="*/ 45 h 111"/>
                <a:gd name="T46" fmla="*/ 161 w 248"/>
                <a:gd name="T47" fmla="*/ 57 h 111"/>
                <a:gd name="T48" fmla="*/ 161 w 248"/>
                <a:gd name="T49" fmla="*/ 57 h 111"/>
                <a:gd name="T50" fmla="*/ 76 w 248"/>
                <a:gd name="T51" fmla="*/ 74 h 111"/>
                <a:gd name="T52" fmla="*/ 43 w 248"/>
                <a:gd name="T53" fmla="*/ 95 h 111"/>
                <a:gd name="T54" fmla="*/ 38 w 248"/>
                <a:gd name="T55" fmla="*/ 74 h 111"/>
                <a:gd name="T56" fmla="*/ 59 w 248"/>
                <a:gd name="T57" fmla="*/ 74 h 111"/>
                <a:gd name="T58" fmla="*/ 59 w 248"/>
                <a:gd name="T59" fmla="*/ 62 h 111"/>
                <a:gd name="T60" fmla="*/ 69 w 248"/>
                <a:gd name="T61" fmla="*/ 45 h 111"/>
                <a:gd name="T62" fmla="*/ 43 w 248"/>
                <a:gd name="T63" fmla="*/ 45 h 111"/>
                <a:gd name="T64" fmla="*/ 43 w 248"/>
                <a:gd name="T65" fmla="*/ 17 h 111"/>
                <a:gd name="T66" fmla="*/ 90 w 248"/>
                <a:gd name="T67" fmla="*/ 24 h 111"/>
                <a:gd name="T68" fmla="*/ 85 w 248"/>
                <a:gd name="T69" fmla="*/ 17 h 111"/>
                <a:gd name="T70" fmla="*/ 128 w 248"/>
                <a:gd name="T71" fmla="*/ 17 h 111"/>
                <a:gd name="T72" fmla="*/ 144 w 248"/>
                <a:gd name="T73" fmla="*/ 17 h 111"/>
                <a:gd name="T74" fmla="*/ 90 w 248"/>
                <a:gd name="T75" fmla="*/ 74 h 111"/>
                <a:gd name="T76" fmla="*/ 0 w 248"/>
                <a:gd name="T77" fmla="*/ 45 h 111"/>
                <a:gd name="T78" fmla="*/ 5 w 248"/>
                <a:gd name="T79" fmla="*/ 45 h 111"/>
                <a:gd name="T80" fmla="*/ 0 w 248"/>
                <a:gd name="T81" fmla="*/ 45 h 111"/>
                <a:gd name="T82" fmla="*/ 21 w 248"/>
                <a:gd name="T83" fmla="*/ 74 h 111"/>
                <a:gd name="T84" fmla="*/ 14 w 248"/>
                <a:gd name="T85" fmla="*/ 57 h 111"/>
                <a:gd name="T86" fmla="*/ 14 w 248"/>
                <a:gd name="T87" fmla="*/ 62 h 111"/>
                <a:gd name="T88" fmla="*/ 31 w 248"/>
                <a:gd name="T89" fmla="*/ 74 h 111"/>
                <a:gd name="T90" fmla="*/ 21 w 248"/>
                <a:gd name="T91" fmla="*/ 74 h 111"/>
                <a:gd name="T92" fmla="*/ 0 w 248"/>
                <a:gd name="T93" fmla="*/ 62 h 111"/>
                <a:gd name="T94" fmla="*/ 5 w 248"/>
                <a:gd name="T95" fmla="*/ 57 h 111"/>
                <a:gd name="T96" fmla="*/ 0 w 248"/>
                <a:gd name="T97" fmla="*/ 62 h 111"/>
                <a:gd name="T98" fmla="*/ 194 w 248"/>
                <a:gd name="T99" fmla="*/ 78 h 111"/>
                <a:gd name="T100" fmla="*/ 198 w 248"/>
                <a:gd name="T101" fmla="*/ 78 h 111"/>
                <a:gd name="T102" fmla="*/ 194 w 248"/>
                <a:gd name="T103" fmla="*/ 7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8" h="111">
                  <a:moveTo>
                    <a:pt x="69" y="17"/>
                  </a:moveTo>
                  <a:lnTo>
                    <a:pt x="69" y="0"/>
                  </a:lnTo>
                  <a:lnTo>
                    <a:pt x="85" y="5"/>
                  </a:lnTo>
                  <a:lnTo>
                    <a:pt x="76" y="17"/>
                  </a:lnTo>
                  <a:lnTo>
                    <a:pt x="69" y="17"/>
                  </a:lnTo>
                  <a:lnTo>
                    <a:pt x="69" y="17"/>
                  </a:lnTo>
                  <a:lnTo>
                    <a:pt x="69" y="17"/>
                  </a:lnTo>
                  <a:close/>
                  <a:moveTo>
                    <a:pt x="161" y="57"/>
                  </a:moveTo>
                  <a:lnTo>
                    <a:pt x="151" y="41"/>
                  </a:lnTo>
                  <a:lnTo>
                    <a:pt x="144" y="33"/>
                  </a:lnTo>
                  <a:lnTo>
                    <a:pt x="151" y="24"/>
                  </a:lnTo>
                  <a:lnTo>
                    <a:pt x="151" y="33"/>
                  </a:lnTo>
                  <a:lnTo>
                    <a:pt x="161" y="24"/>
                  </a:lnTo>
                  <a:lnTo>
                    <a:pt x="151" y="17"/>
                  </a:lnTo>
                  <a:lnTo>
                    <a:pt x="168" y="17"/>
                  </a:lnTo>
                  <a:lnTo>
                    <a:pt x="168" y="5"/>
                  </a:lnTo>
                  <a:lnTo>
                    <a:pt x="198" y="5"/>
                  </a:lnTo>
                  <a:lnTo>
                    <a:pt x="206" y="17"/>
                  </a:lnTo>
                  <a:lnTo>
                    <a:pt x="194" y="24"/>
                  </a:lnTo>
                  <a:lnTo>
                    <a:pt x="215" y="41"/>
                  </a:lnTo>
                  <a:lnTo>
                    <a:pt x="215" y="33"/>
                  </a:lnTo>
                  <a:lnTo>
                    <a:pt x="198" y="24"/>
                  </a:lnTo>
                  <a:lnTo>
                    <a:pt x="206" y="17"/>
                  </a:lnTo>
                  <a:lnTo>
                    <a:pt x="236" y="17"/>
                  </a:lnTo>
                  <a:lnTo>
                    <a:pt x="248" y="33"/>
                  </a:lnTo>
                  <a:lnTo>
                    <a:pt x="215" y="33"/>
                  </a:lnTo>
                  <a:lnTo>
                    <a:pt x="248" y="41"/>
                  </a:lnTo>
                  <a:lnTo>
                    <a:pt x="248" y="45"/>
                  </a:lnTo>
                  <a:lnTo>
                    <a:pt x="206" y="45"/>
                  </a:lnTo>
                  <a:lnTo>
                    <a:pt x="215" y="57"/>
                  </a:lnTo>
                  <a:lnTo>
                    <a:pt x="198" y="62"/>
                  </a:lnTo>
                  <a:lnTo>
                    <a:pt x="177" y="62"/>
                  </a:lnTo>
                  <a:lnTo>
                    <a:pt x="161" y="57"/>
                  </a:lnTo>
                  <a:lnTo>
                    <a:pt x="161" y="62"/>
                  </a:lnTo>
                  <a:lnTo>
                    <a:pt x="182" y="74"/>
                  </a:lnTo>
                  <a:lnTo>
                    <a:pt x="182" y="78"/>
                  </a:lnTo>
                  <a:lnTo>
                    <a:pt x="161" y="90"/>
                  </a:lnTo>
                  <a:lnTo>
                    <a:pt x="144" y="74"/>
                  </a:lnTo>
                  <a:lnTo>
                    <a:pt x="139" y="74"/>
                  </a:lnTo>
                  <a:lnTo>
                    <a:pt x="151" y="90"/>
                  </a:lnTo>
                  <a:lnTo>
                    <a:pt x="151" y="95"/>
                  </a:lnTo>
                  <a:lnTo>
                    <a:pt x="128" y="90"/>
                  </a:lnTo>
                  <a:lnTo>
                    <a:pt x="128" y="111"/>
                  </a:lnTo>
                  <a:lnTo>
                    <a:pt x="106" y="90"/>
                  </a:lnTo>
                  <a:lnTo>
                    <a:pt x="123" y="62"/>
                  </a:lnTo>
                  <a:lnTo>
                    <a:pt x="144" y="45"/>
                  </a:lnTo>
                  <a:lnTo>
                    <a:pt x="151" y="45"/>
                  </a:lnTo>
                  <a:lnTo>
                    <a:pt x="161" y="57"/>
                  </a:lnTo>
                  <a:lnTo>
                    <a:pt x="161" y="57"/>
                  </a:lnTo>
                  <a:lnTo>
                    <a:pt x="161" y="57"/>
                  </a:lnTo>
                  <a:close/>
                  <a:moveTo>
                    <a:pt x="90" y="74"/>
                  </a:moveTo>
                  <a:lnTo>
                    <a:pt x="76" y="74"/>
                  </a:lnTo>
                  <a:lnTo>
                    <a:pt x="69" y="90"/>
                  </a:lnTo>
                  <a:lnTo>
                    <a:pt x="43" y="95"/>
                  </a:lnTo>
                  <a:lnTo>
                    <a:pt x="21" y="78"/>
                  </a:lnTo>
                  <a:lnTo>
                    <a:pt x="38" y="74"/>
                  </a:lnTo>
                  <a:lnTo>
                    <a:pt x="31" y="74"/>
                  </a:lnTo>
                  <a:lnTo>
                    <a:pt x="59" y="74"/>
                  </a:lnTo>
                  <a:lnTo>
                    <a:pt x="59" y="57"/>
                  </a:lnTo>
                  <a:lnTo>
                    <a:pt x="59" y="62"/>
                  </a:lnTo>
                  <a:lnTo>
                    <a:pt x="76" y="45"/>
                  </a:lnTo>
                  <a:lnTo>
                    <a:pt x="69" y="45"/>
                  </a:lnTo>
                  <a:lnTo>
                    <a:pt x="43" y="57"/>
                  </a:lnTo>
                  <a:lnTo>
                    <a:pt x="43" y="45"/>
                  </a:lnTo>
                  <a:lnTo>
                    <a:pt x="76" y="41"/>
                  </a:lnTo>
                  <a:lnTo>
                    <a:pt x="43" y="17"/>
                  </a:lnTo>
                  <a:lnTo>
                    <a:pt x="76" y="24"/>
                  </a:lnTo>
                  <a:lnTo>
                    <a:pt x="90" y="24"/>
                  </a:lnTo>
                  <a:lnTo>
                    <a:pt x="85" y="24"/>
                  </a:lnTo>
                  <a:lnTo>
                    <a:pt x="85" y="17"/>
                  </a:lnTo>
                  <a:lnTo>
                    <a:pt x="123" y="24"/>
                  </a:lnTo>
                  <a:lnTo>
                    <a:pt x="128" y="17"/>
                  </a:lnTo>
                  <a:lnTo>
                    <a:pt x="128" y="5"/>
                  </a:lnTo>
                  <a:lnTo>
                    <a:pt x="144" y="17"/>
                  </a:lnTo>
                  <a:lnTo>
                    <a:pt x="90" y="74"/>
                  </a:lnTo>
                  <a:lnTo>
                    <a:pt x="90" y="74"/>
                  </a:lnTo>
                  <a:lnTo>
                    <a:pt x="90" y="74"/>
                  </a:lnTo>
                  <a:close/>
                  <a:moveTo>
                    <a:pt x="0" y="45"/>
                  </a:moveTo>
                  <a:lnTo>
                    <a:pt x="0" y="45"/>
                  </a:lnTo>
                  <a:lnTo>
                    <a:pt x="5" y="45"/>
                  </a:lnTo>
                  <a:lnTo>
                    <a:pt x="0" y="45"/>
                  </a:lnTo>
                  <a:lnTo>
                    <a:pt x="0" y="45"/>
                  </a:lnTo>
                  <a:lnTo>
                    <a:pt x="0" y="45"/>
                  </a:lnTo>
                  <a:close/>
                  <a:moveTo>
                    <a:pt x="21" y="74"/>
                  </a:moveTo>
                  <a:lnTo>
                    <a:pt x="5" y="57"/>
                  </a:lnTo>
                  <a:lnTo>
                    <a:pt x="14" y="57"/>
                  </a:lnTo>
                  <a:lnTo>
                    <a:pt x="21" y="57"/>
                  </a:lnTo>
                  <a:lnTo>
                    <a:pt x="14" y="62"/>
                  </a:lnTo>
                  <a:lnTo>
                    <a:pt x="21" y="57"/>
                  </a:lnTo>
                  <a:lnTo>
                    <a:pt x="31" y="74"/>
                  </a:lnTo>
                  <a:lnTo>
                    <a:pt x="21" y="74"/>
                  </a:lnTo>
                  <a:lnTo>
                    <a:pt x="21" y="74"/>
                  </a:lnTo>
                  <a:lnTo>
                    <a:pt x="21" y="74"/>
                  </a:lnTo>
                  <a:close/>
                  <a:moveTo>
                    <a:pt x="0" y="62"/>
                  </a:moveTo>
                  <a:lnTo>
                    <a:pt x="0" y="57"/>
                  </a:lnTo>
                  <a:lnTo>
                    <a:pt x="5" y="57"/>
                  </a:lnTo>
                  <a:lnTo>
                    <a:pt x="0" y="62"/>
                  </a:lnTo>
                  <a:lnTo>
                    <a:pt x="0" y="62"/>
                  </a:lnTo>
                  <a:lnTo>
                    <a:pt x="0" y="62"/>
                  </a:lnTo>
                  <a:close/>
                  <a:moveTo>
                    <a:pt x="194" y="78"/>
                  </a:moveTo>
                  <a:lnTo>
                    <a:pt x="198" y="74"/>
                  </a:lnTo>
                  <a:lnTo>
                    <a:pt x="198" y="78"/>
                  </a:lnTo>
                  <a:lnTo>
                    <a:pt x="194" y="78"/>
                  </a:lnTo>
                  <a:lnTo>
                    <a:pt x="194" y="78"/>
                  </a:lnTo>
                  <a:lnTo>
                    <a:pt x="194" y="7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3" name="Freeform 442">
              <a:extLst>
                <a:ext uri="{FF2B5EF4-FFF2-40B4-BE49-F238E27FC236}">
                  <a16:creationId xmlns:a16="http://schemas.microsoft.com/office/drawing/2014/main" id="{86E00547-3C3F-4A7C-9DAB-C43E19155C89}"/>
                </a:ext>
              </a:extLst>
            </p:cNvPr>
            <p:cNvSpPr>
              <a:spLocks noEditPoints="1"/>
            </p:cNvSpPr>
            <p:nvPr/>
          </p:nvSpPr>
          <p:spPr bwMode="gray">
            <a:xfrm>
              <a:off x="17224311" y="3938975"/>
              <a:ext cx="261183" cy="51713"/>
            </a:xfrm>
            <a:custGeom>
              <a:avLst/>
              <a:gdLst>
                <a:gd name="T0" fmla="*/ 0 w 798"/>
                <a:gd name="T1" fmla="*/ 12 h 158"/>
                <a:gd name="T2" fmla="*/ 0 w 798"/>
                <a:gd name="T3" fmla="*/ 12 h 158"/>
                <a:gd name="T4" fmla="*/ 0 w 798"/>
                <a:gd name="T5" fmla="*/ 0 h 158"/>
                <a:gd name="T6" fmla="*/ 0 w 798"/>
                <a:gd name="T7" fmla="*/ 12 h 158"/>
                <a:gd name="T8" fmla="*/ 0 w 798"/>
                <a:gd name="T9" fmla="*/ 12 h 158"/>
                <a:gd name="T10" fmla="*/ 0 w 798"/>
                <a:gd name="T11" fmla="*/ 12 h 158"/>
                <a:gd name="T12" fmla="*/ 463 w 798"/>
                <a:gd name="T13" fmla="*/ 50 h 158"/>
                <a:gd name="T14" fmla="*/ 451 w 798"/>
                <a:gd name="T15" fmla="*/ 38 h 158"/>
                <a:gd name="T16" fmla="*/ 463 w 798"/>
                <a:gd name="T17" fmla="*/ 33 h 158"/>
                <a:gd name="T18" fmla="*/ 468 w 798"/>
                <a:gd name="T19" fmla="*/ 38 h 158"/>
                <a:gd name="T20" fmla="*/ 463 w 798"/>
                <a:gd name="T21" fmla="*/ 50 h 158"/>
                <a:gd name="T22" fmla="*/ 463 w 798"/>
                <a:gd name="T23" fmla="*/ 50 h 158"/>
                <a:gd name="T24" fmla="*/ 463 w 798"/>
                <a:gd name="T25" fmla="*/ 50 h 158"/>
                <a:gd name="T26" fmla="*/ 798 w 798"/>
                <a:gd name="T27" fmla="*/ 158 h 158"/>
                <a:gd name="T28" fmla="*/ 791 w 798"/>
                <a:gd name="T29" fmla="*/ 149 h 158"/>
                <a:gd name="T30" fmla="*/ 798 w 798"/>
                <a:gd name="T31" fmla="*/ 149 h 158"/>
                <a:gd name="T32" fmla="*/ 798 w 798"/>
                <a:gd name="T33" fmla="*/ 158 h 158"/>
                <a:gd name="T34" fmla="*/ 798 w 798"/>
                <a:gd name="T35" fmla="*/ 158 h 158"/>
                <a:gd name="T36" fmla="*/ 798 w 798"/>
                <a:gd name="T3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8" h="158">
                  <a:moveTo>
                    <a:pt x="0" y="12"/>
                  </a:moveTo>
                  <a:lnTo>
                    <a:pt x="0" y="12"/>
                  </a:lnTo>
                  <a:lnTo>
                    <a:pt x="0" y="0"/>
                  </a:lnTo>
                  <a:lnTo>
                    <a:pt x="0" y="12"/>
                  </a:lnTo>
                  <a:lnTo>
                    <a:pt x="0" y="12"/>
                  </a:lnTo>
                  <a:lnTo>
                    <a:pt x="0" y="12"/>
                  </a:lnTo>
                  <a:close/>
                  <a:moveTo>
                    <a:pt x="463" y="50"/>
                  </a:moveTo>
                  <a:lnTo>
                    <a:pt x="451" y="38"/>
                  </a:lnTo>
                  <a:lnTo>
                    <a:pt x="463" y="33"/>
                  </a:lnTo>
                  <a:lnTo>
                    <a:pt x="468" y="38"/>
                  </a:lnTo>
                  <a:lnTo>
                    <a:pt x="463" y="50"/>
                  </a:lnTo>
                  <a:lnTo>
                    <a:pt x="463" y="50"/>
                  </a:lnTo>
                  <a:lnTo>
                    <a:pt x="463" y="50"/>
                  </a:lnTo>
                  <a:close/>
                  <a:moveTo>
                    <a:pt x="798" y="158"/>
                  </a:moveTo>
                  <a:lnTo>
                    <a:pt x="791" y="149"/>
                  </a:lnTo>
                  <a:lnTo>
                    <a:pt x="798" y="149"/>
                  </a:lnTo>
                  <a:lnTo>
                    <a:pt x="798" y="158"/>
                  </a:lnTo>
                  <a:lnTo>
                    <a:pt x="798" y="158"/>
                  </a:lnTo>
                  <a:lnTo>
                    <a:pt x="798" y="15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4" name="Freeform 443">
              <a:extLst>
                <a:ext uri="{FF2B5EF4-FFF2-40B4-BE49-F238E27FC236}">
                  <a16:creationId xmlns:a16="http://schemas.microsoft.com/office/drawing/2014/main" id="{9E4F45D9-250C-43CC-A7B9-2FD0F8E925E9}"/>
                </a:ext>
              </a:extLst>
            </p:cNvPr>
            <p:cNvSpPr>
              <a:spLocks noEditPoints="1"/>
            </p:cNvSpPr>
            <p:nvPr/>
          </p:nvSpPr>
          <p:spPr bwMode="gray">
            <a:xfrm>
              <a:off x="13573644" y="2413773"/>
              <a:ext cx="23893" cy="32402"/>
            </a:xfrm>
            <a:custGeom>
              <a:avLst/>
              <a:gdLst>
                <a:gd name="T0" fmla="*/ 64 w 73"/>
                <a:gd name="T1" fmla="*/ 16 h 99"/>
                <a:gd name="T2" fmla="*/ 56 w 73"/>
                <a:gd name="T3" fmla="*/ 4 h 99"/>
                <a:gd name="T4" fmla="*/ 64 w 73"/>
                <a:gd name="T5" fmla="*/ 0 h 99"/>
                <a:gd name="T6" fmla="*/ 73 w 73"/>
                <a:gd name="T7" fmla="*/ 4 h 99"/>
                <a:gd name="T8" fmla="*/ 64 w 73"/>
                <a:gd name="T9" fmla="*/ 16 h 99"/>
                <a:gd name="T10" fmla="*/ 64 w 73"/>
                <a:gd name="T11" fmla="*/ 16 h 99"/>
                <a:gd name="T12" fmla="*/ 64 w 73"/>
                <a:gd name="T13" fmla="*/ 16 h 99"/>
                <a:gd name="T14" fmla="*/ 52 w 73"/>
                <a:gd name="T15" fmla="*/ 33 h 99"/>
                <a:gd name="T16" fmla="*/ 26 w 73"/>
                <a:gd name="T17" fmla="*/ 0 h 99"/>
                <a:gd name="T18" fmla="*/ 56 w 73"/>
                <a:gd name="T19" fmla="*/ 16 h 99"/>
                <a:gd name="T20" fmla="*/ 52 w 73"/>
                <a:gd name="T21" fmla="*/ 33 h 99"/>
                <a:gd name="T22" fmla="*/ 52 w 73"/>
                <a:gd name="T23" fmla="*/ 33 h 99"/>
                <a:gd name="T24" fmla="*/ 52 w 73"/>
                <a:gd name="T25" fmla="*/ 33 h 99"/>
                <a:gd name="T26" fmla="*/ 52 w 73"/>
                <a:gd name="T27" fmla="*/ 44 h 99"/>
                <a:gd name="T28" fmla="*/ 12 w 73"/>
                <a:gd name="T29" fmla="*/ 16 h 99"/>
                <a:gd name="T30" fmla="*/ 12 w 73"/>
                <a:gd name="T31" fmla="*/ 4 h 99"/>
                <a:gd name="T32" fmla="*/ 26 w 73"/>
                <a:gd name="T33" fmla="*/ 4 h 99"/>
                <a:gd name="T34" fmla="*/ 42 w 73"/>
                <a:gd name="T35" fmla="*/ 21 h 99"/>
                <a:gd name="T36" fmla="*/ 52 w 73"/>
                <a:gd name="T37" fmla="*/ 44 h 99"/>
                <a:gd name="T38" fmla="*/ 52 w 73"/>
                <a:gd name="T39" fmla="*/ 44 h 99"/>
                <a:gd name="T40" fmla="*/ 52 w 73"/>
                <a:gd name="T41" fmla="*/ 44 h 99"/>
                <a:gd name="T42" fmla="*/ 21 w 73"/>
                <a:gd name="T43" fmla="*/ 33 h 99"/>
                <a:gd name="T44" fmla="*/ 0 w 73"/>
                <a:gd name="T45" fmla="*/ 21 h 99"/>
                <a:gd name="T46" fmla="*/ 26 w 73"/>
                <a:gd name="T47" fmla="*/ 21 h 99"/>
                <a:gd name="T48" fmla="*/ 21 w 73"/>
                <a:gd name="T49" fmla="*/ 33 h 99"/>
                <a:gd name="T50" fmla="*/ 21 w 73"/>
                <a:gd name="T51" fmla="*/ 33 h 99"/>
                <a:gd name="T52" fmla="*/ 21 w 73"/>
                <a:gd name="T53" fmla="*/ 33 h 99"/>
                <a:gd name="T54" fmla="*/ 56 w 73"/>
                <a:gd name="T55" fmla="*/ 61 h 99"/>
                <a:gd name="T56" fmla="*/ 38 w 73"/>
                <a:gd name="T57" fmla="*/ 44 h 99"/>
                <a:gd name="T58" fmla="*/ 56 w 73"/>
                <a:gd name="T59" fmla="*/ 54 h 99"/>
                <a:gd name="T60" fmla="*/ 56 w 73"/>
                <a:gd name="T61" fmla="*/ 61 h 99"/>
                <a:gd name="T62" fmla="*/ 56 w 73"/>
                <a:gd name="T63" fmla="*/ 61 h 99"/>
                <a:gd name="T64" fmla="*/ 56 w 73"/>
                <a:gd name="T65" fmla="*/ 61 h 99"/>
                <a:gd name="T66" fmla="*/ 52 w 73"/>
                <a:gd name="T67" fmla="*/ 99 h 99"/>
                <a:gd name="T68" fmla="*/ 38 w 73"/>
                <a:gd name="T69" fmla="*/ 78 h 99"/>
                <a:gd name="T70" fmla="*/ 52 w 73"/>
                <a:gd name="T71" fmla="*/ 87 h 99"/>
                <a:gd name="T72" fmla="*/ 52 w 73"/>
                <a:gd name="T73" fmla="*/ 99 h 99"/>
                <a:gd name="T74" fmla="*/ 52 w 73"/>
                <a:gd name="T75" fmla="*/ 99 h 99"/>
                <a:gd name="T76" fmla="*/ 52 w 73"/>
                <a:gd name="T7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99">
                  <a:moveTo>
                    <a:pt x="64" y="16"/>
                  </a:moveTo>
                  <a:lnTo>
                    <a:pt x="56" y="4"/>
                  </a:lnTo>
                  <a:lnTo>
                    <a:pt x="64" y="0"/>
                  </a:lnTo>
                  <a:lnTo>
                    <a:pt x="73" y="4"/>
                  </a:lnTo>
                  <a:lnTo>
                    <a:pt x="64" y="16"/>
                  </a:lnTo>
                  <a:lnTo>
                    <a:pt x="64" y="16"/>
                  </a:lnTo>
                  <a:lnTo>
                    <a:pt x="64" y="16"/>
                  </a:lnTo>
                  <a:close/>
                  <a:moveTo>
                    <a:pt x="52" y="33"/>
                  </a:moveTo>
                  <a:lnTo>
                    <a:pt x="26" y="0"/>
                  </a:lnTo>
                  <a:lnTo>
                    <a:pt x="56" y="16"/>
                  </a:lnTo>
                  <a:lnTo>
                    <a:pt x="52" y="33"/>
                  </a:lnTo>
                  <a:lnTo>
                    <a:pt x="52" y="33"/>
                  </a:lnTo>
                  <a:lnTo>
                    <a:pt x="52" y="33"/>
                  </a:lnTo>
                  <a:close/>
                  <a:moveTo>
                    <a:pt x="52" y="44"/>
                  </a:moveTo>
                  <a:lnTo>
                    <a:pt x="12" y="16"/>
                  </a:lnTo>
                  <a:lnTo>
                    <a:pt x="12" y="4"/>
                  </a:lnTo>
                  <a:lnTo>
                    <a:pt x="26" y="4"/>
                  </a:lnTo>
                  <a:lnTo>
                    <a:pt x="42" y="21"/>
                  </a:lnTo>
                  <a:lnTo>
                    <a:pt x="52" y="44"/>
                  </a:lnTo>
                  <a:lnTo>
                    <a:pt x="52" y="44"/>
                  </a:lnTo>
                  <a:lnTo>
                    <a:pt x="52" y="44"/>
                  </a:lnTo>
                  <a:close/>
                  <a:moveTo>
                    <a:pt x="21" y="33"/>
                  </a:moveTo>
                  <a:lnTo>
                    <a:pt x="0" y="21"/>
                  </a:lnTo>
                  <a:lnTo>
                    <a:pt x="26" y="21"/>
                  </a:lnTo>
                  <a:lnTo>
                    <a:pt x="21" y="33"/>
                  </a:lnTo>
                  <a:lnTo>
                    <a:pt x="21" y="33"/>
                  </a:lnTo>
                  <a:lnTo>
                    <a:pt x="21" y="33"/>
                  </a:lnTo>
                  <a:close/>
                  <a:moveTo>
                    <a:pt x="56" y="61"/>
                  </a:moveTo>
                  <a:lnTo>
                    <a:pt x="38" y="44"/>
                  </a:lnTo>
                  <a:lnTo>
                    <a:pt x="56" y="54"/>
                  </a:lnTo>
                  <a:lnTo>
                    <a:pt x="56" y="61"/>
                  </a:lnTo>
                  <a:lnTo>
                    <a:pt x="56" y="61"/>
                  </a:lnTo>
                  <a:lnTo>
                    <a:pt x="56" y="61"/>
                  </a:lnTo>
                  <a:close/>
                  <a:moveTo>
                    <a:pt x="52" y="99"/>
                  </a:moveTo>
                  <a:lnTo>
                    <a:pt x="38" y="78"/>
                  </a:lnTo>
                  <a:lnTo>
                    <a:pt x="52" y="87"/>
                  </a:lnTo>
                  <a:lnTo>
                    <a:pt x="52" y="99"/>
                  </a:lnTo>
                  <a:lnTo>
                    <a:pt x="52" y="99"/>
                  </a:lnTo>
                  <a:lnTo>
                    <a:pt x="52" y="9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5" name="Freeform 444">
              <a:extLst>
                <a:ext uri="{FF2B5EF4-FFF2-40B4-BE49-F238E27FC236}">
                  <a16:creationId xmlns:a16="http://schemas.microsoft.com/office/drawing/2014/main" id="{C19A2C7C-D752-4864-9E74-F44DB518A32A}"/>
                </a:ext>
              </a:extLst>
            </p:cNvPr>
            <p:cNvSpPr>
              <a:spLocks noEditPoints="1"/>
            </p:cNvSpPr>
            <p:nvPr/>
          </p:nvSpPr>
          <p:spPr bwMode="gray">
            <a:xfrm>
              <a:off x="10264675" y="4322567"/>
              <a:ext cx="297513" cy="326969"/>
            </a:xfrm>
            <a:custGeom>
              <a:avLst/>
              <a:gdLst>
                <a:gd name="T0" fmla="*/ 796 w 909"/>
                <a:gd name="T1" fmla="*/ 0 h 999"/>
                <a:gd name="T2" fmla="*/ 800 w 909"/>
                <a:gd name="T3" fmla="*/ 4 h 999"/>
                <a:gd name="T4" fmla="*/ 800 w 909"/>
                <a:gd name="T5" fmla="*/ 4 h 999"/>
                <a:gd name="T6" fmla="*/ 838 w 909"/>
                <a:gd name="T7" fmla="*/ 0 h 999"/>
                <a:gd name="T8" fmla="*/ 838 w 909"/>
                <a:gd name="T9" fmla="*/ 4 h 999"/>
                <a:gd name="T10" fmla="*/ 838 w 909"/>
                <a:gd name="T11" fmla="*/ 4 h 999"/>
                <a:gd name="T12" fmla="*/ 800 w 909"/>
                <a:gd name="T13" fmla="*/ 37 h 999"/>
                <a:gd name="T14" fmla="*/ 800 w 909"/>
                <a:gd name="T15" fmla="*/ 45 h 999"/>
                <a:gd name="T16" fmla="*/ 800 w 909"/>
                <a:gd name="T17" fmla="*/ 45 h 999"/>
                <a:gd name="T18" fmla="*/ 871 w 909"/>
                <a:gd name="T19" fmla="*/ 73 h 999"/>
                <a:gd name="T20" fmla="*/ 893 w 909"/>
                <a:gd name="T21" fmla="*/ 61 h 999"/>
                <a:gd name="T22" fmla="*/ 883 w 909"/>
                <a:gd name="T23" fmla="*/ 78 h 999"/>
                <a:gd name="T24" fmla="*/ 871 w 909"/>
                <a:gd name="T25" fmla="*/ 89 h 999"/>
                <a:gd name="T26" fmla="*/ 883 w 909"/>
                <a:gd name="T27" fmla="*/ 78 h 999"/>
                <a:gd name="T28" fmla="*/ 871 w 909"/>
                <a:gd name="T29" fmla="*/ 89 h 999"/>
                <a:gd name="T30" fmla="*/ 904 w 909"/>
                <a:gd name="T31" fmla="*/ 127 h 999"/>
                <a:gd name="T32" fmla="*/ 909 w 909"/>
                <a:gd name="T33" fmla="*/ 115 h 999"/>
                <a:gd name="T34" fmla="*/ 904 w 909"/>
                <a:gd name="T35" fmla="*/ 127 h 999"/>
                <a:gd name="T36" fmla="*/ 4 w 909"/>
                <a:gd name="T37" fmla="*/ 578 h 999"/>
                <a:gd name="T38" fmla="*/ 4 w 909"/>
                <a:gd name="T39" fmla="*/ 571 h 999"/>
                <a:gd name="T40" fmla="*/ 4 w 909"/>
                <a:gd name="T41" fmla="*/ 578 h 999"/>
                <a:gd name="T42" fmla="*/ 4 w 909"/>
                <a:gd name="T43" fmla="*/ 595 h 999"/>
                <a:gd name="T44" fmla="*/ 16 w 909"/>
                <a:gd name="T45" fmla="*/ 588 h 999"/>
                <a:gd name="T46" fmla="*/ 4 w 909"/>
                <a:gd name="T47" fmla="*/ 595 h 999"/>
                <a:gd name="T48" fmla="*/ 125 w 909"/>
                <a:gd name="T49" fmla="*/ 645 h 999"/>
                <a:gd name="T50" fmla="*/ 125 w 909"/>
                <a:gd name="T51" fmla="*/ 633 h 999"/>
                <a:gd name="T52" fmla="*/ 125 w 909"/>
                <a:gd name="T53" fmla="*/ 645 h 999"/>
                <a:gd name="T54" fmla="*/ 167 w 909"/>
                <a:gd name="T55" fmla="*/ 666 h 999"/>
                <a:gd name="T56" fmla="*/ 134 w 909"/>
                <a:gd name="T57" fmla="*/ 645 h 999"/>
                <a:gd name="T58" fmla="*/ 163 w 909"/>
                <a:gd name="T59" fmla="*/ 649 h 999"/>
                <a:gd name="T60" fmla="*/ 167 w 909"/>
                <a:gd name="T61" fmla="*/ 666 h 999"/>
                <a:gd name="T62" fmla="*/ 167 w 909"/>
                <a:gd name="T63" fmla="*/ 666 h 999"/>
                <a:gd name="T64" fmla="*/ 904 w 909"/>
                <a:gd name="T65" fmla="*/ 994 h 999"/>
                <a:gd name="T66" fmla="*/ 904 w 909"/>
                <a:gd name="T67" fmla="*/ 999 h 999"/>
                <a:gd name="T68" fmla="*/ 904 w 909"/>
                <a:gd name="T69" fmla="*/ 999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9" h="999">
                  <a:moveTo>
                    <a:pt x="800" y="4"/>
                  </a:moveTo>
                  <a:lnTo>
                    <a:pt x="796" y="0"/>
                  </a:lnTo>
                  <a:lnTo>
                    <a:pt x="812" y="0"/>
                  </a:lnTo>
                  <a:lnTo>
                    <a:pt x="800" y="4"/>
                  </a:lnTo>
                  <a:lnTo>
                    <a:pt x="800" y="4"/>
                  </a:lnTo>
                  <a:lnTo>
                    <a:pt x="800" y="4"/>
                  </a:lnTo>
                  <a:close/>
                  <a:moveTo>
                    <a:pt x="838" y="4"/>
                  </a:moveTo>
                  <a:lnTo>
                    <a:pt x="838" y="0"/>
                  </a:lnTo>
                  <a:lnTo>
                    <a:pt x="850" y="4"/>
                  </a:lnTo>
                  <a:lnTo>
                    <a:pt x="838" y="4"/>
                  </a:lnTo>
                  <a:lnTo>
                    <a:pt x="838" y="4"/>
                  </a:lnTo>
                  <a:lnTo>
                    <a:pt x="838" y="4"/>
                  </a:lnTo>
                  <a:close/>
                  <a:moveTo>
                    <a:pt x="800" y="45"/>
                  </a:moveTo>
                  <a:lnTo>
                    <a:pt x="800" y="37"/>
                  </a:lnTo>
                  <a:lnTo>
                    <a:pt x="812" y="37"/>
                  </a:lnTo>
                  <a:lnTo>
                    <a:pt x="800" y="45"/>
                  </a:lnTo>
                  <a:lnTo>
                    <a:pt x="800" y="45"/>
                  </a:lnTo>
                  <a:lnTo>
                    <a:pt x="800" y="45"/>
                  </a:lnTo>
                  <a:close/>
                  <a:moveTo>
                    <a:pt x="883" y="78"/>
                  </a:moveTo>
                  <a:lnTo>
                    <a:pt x="871" y="73"/>
                  </a:lnTo>
                  <a:lnTo>
                    <a:pt x="883" y="61"/>
                  </a:lnTo>
                  <a:lnTo>
                    <a:pt x="893" y="61"/>
                  </a:lnTo>
                  <a:lnTo>
                    <a:pt x="883" y="78"/>
                  </a:lnTo>
                  <a:lnTo>
                    <a:pt x="883" y="78"/>
                  </a:lnTo>
                  <a:lnTo>
                    <a:pt x="883" y="78"/>
                  </a:lnTo>
                  <a:close/>
                  <a:moveTo>
                    <a:pt x="871" y="89"/>
                  </a:moveTo>
                  <a:lnTo>
                    <a:pt x="871" y="78"/>
                  </a:lnTo>
                  <a:lnTo>
                    <a:pt x="883" y="78"/>
                  </a:lnTo>
                  <a:lnTo>
                    <a:pt x="871" y="89"/>
                  </a:lnTo>
                  <a:lnTo>
                    <a:pt x="871" y="89"/>
                  </a:lnTo>
                  <a:lnTo>
                    <a:pt x="871" y="89"/>
                  </a:lnTo>
                  <a:close/>
                  <a:moveTo>
                    <a:pt x="904" y="127"/>
                  </a:moveTo>
                  <a:lnTo>
                    <a:pt x="904" y="115"/>
                  </a:lnTo>
                  <a:lnTo>
                    <a:pt x="909" y="115"/>
                  </a:lnTo>
                  <a:lnTo>
                    <a:pt x="904" y="127"/>
                  </a:lnTo>
                  <a:lnTo>
                    <a:pt x="904" y="127"/>
                  </a:lnTo>
                  <a:lnTo>
                    <a:pt x="904" y="127"/>
                  </a:lnTo>
                  <a:close/>
                  <a:moveTo>
                    <a:pt x="4" y="578"/>
                  </a:moveTo>
                  <a:lnTo>
                    <a:pt x="0" y="571"/>
                  </a:lnTo>
                  <a:lnTo>
                    <a:pt x="4" y="571"/>
                  </a:lnTo>
                  <a:lnTo>
                    <a:pt x="4" y="578"/>
                  </a:lnTo>
                  <a:lnTo>
                    <a:pt x="4" y="578"/>
                  </a:lnTo>
                  <a:lnTo>
                    <a:pt x="4" y="578"/>
                  </a:lnTo>
                  <a:close/>
                  <a:moveTo>
                    <a:pt x="4" y="595"/>
                  </a:moveTo>
                  <a:lnTo>
                    <a:pt x="4" y="578"/>
                  </a:lnTo>
                  <a:lnTo>
                    <a:pt x="16" y="588"/>
                  </a:lnTo>
                  <a:lnTo>
                    <a:pt x="4" y="595"/>
                  </a:lnTo>
                  <a:lnTo>
                    <a:pt x="4" y="595"/>
                  </a:lnTo>
                  <a:lnTo>
                    <a:pt x="4" y="595"/>
                  </a:lnTo>
                  <a:close/>
                  <a:moveTo>
                    <a:pt x="125" y="645"/>
                  </a:moveTo>
                  <a:lnTo>
                    <a:pt x="113" y="633"/>
                  </a:lnTo>
                  <a:lnTo>
                    <a:pt x="125" y="633"/>
                  </a:lnTo>
                  <a:lnTo>
                    <a:pt x="125" y="645"/>
                  </a:lnTo>
                  <a:lnTo>
                    <a:pt x="125" y="645"/>
                  </a:lnTo>
                  <a:lnTo>
                    <a:pt x="125" y="645"/>
                  </a:lnTo>
                  <a:close/>
                  <a:moveTo>
                    <a:pt x="167" y="666"/>
                  </a:moveTo>
                  <a:lnTo>
                    <a:pt x="134" y="649"/>
                  </a:lnTo>
                  <a:lnTo>
                    <a:pt x="134" y="645"/>
                  </a:lnTo>
                  <a:lnTo>
                    <a:pt x="151" y="645"/>
                  </a:lnTo>
                  <a:lnTo>
                    <a:pt x="163" y="649"/>
                  </a:lnTo>
                  <a:lnTo>
                    <a:pt x="167" y="654"/>
                  </a:lnTo>
                  <a:lnTo>
                    <a:pt x="167" y="666"/>
                  </a:lnTo>
                  <a:lnTo>
                    <a:pt x="167" y="666"/>
                  </a:lnTo>
                  <a:lnTo>
                    <a:pt x="167" y="666"/>
                  </a:lnTo>
                  <a:close/>
                  <a:moveTo>
                    <a:pt x="904" y="999"/>
                  </a:moveTo>
                  <a:lnTo>
                    <a:pt x="904" y="994"/>
                  </a:lnTo>
                  <a:lnTo>
                    <a:pt x="904" y="994"/>
                  </a:lnTo>
                  <a:lnTo>
                    <a:pt x="904" y="999"/>
                  </a:lnTo>
                  <a:lnTo>
                    <a:pt x="904" y="999"/>
                  </a:lnTo>
                  <a:lnTo>
                    <a:pt x="904" y="99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6" name="Freeform 445">
              <a:extLst>
                <a:ext uri="{FF2B5EF4-FFF2-40B4-BE49-F238E27FC236}">
                  <a16:creationId xmlns:a16="http://schemas.microsoft.com/office/drawing/2014/main" id="{99166889-2EA1-4B45-AE1A-7A8EBFD32516}"/>
                </a:ext>
              </a:extLst>
            </p:cNvPr>
            <p:cNvSpPr>
              <a:spLocks noEditPoints="1"/>
            </p:cNvSpPr>
            <p:nvPr/>
          </p:nvSpPr>
          <p:spPr bwMode="gray">
            <a:xfrm>
              <a:off x="13635503" y="2793109"/>
              <a:ext cx="328606" cy="286057"/>
            </a:xfrm>
            <a:custGeom>
              <a:avLst/>
              <a:gdLst>
                <a:gd name="T0" fmla="*/ 557 w 1004"/>
                <a:gd name="T1" fmla="*/ 22 h 874"/>
                <a:gd name="T2" fmla="*/ 626 w 1004"/>
                <a:gd name="T3" fmla="*/ 76 h 874"/>
                <a:gd name="T4" fmla="*/ 675 w 1004"/>
                <a:gd name="T5" fmla="*/ 83 h 874"/>
                <a:gd name="T6" fmla="*/ 718 w 1004"/>
                <a:gd name="T7" fmla="*/ 149 h 874"/>
                <a:gd name="T8" fmla="*/ 789 w 1004"/>
                <a:gd name="T9" fmla="*/ 154 h 874"/>
                <a:gd name="T10" fmla="*/ 848 w 1004"/>
                <a:gd name="T11" fmla="*/ 178 h 874"/>
                <a:gd name="T12" fmla="*/ 874 w 1004"/>
                <a:gd name="T13" fmla="*/ 248 h 874"/>
                <a:gd name="T14" fmla="*/ 864 w 1004"/>
                <a:gd name="T15" fmla="*/ 322 h 874"/>
                <a:gd name="T16" fmla="*/ 827 w 1004"/>
                <a:gd name="T17" fmla="*/ 343 h 874"/>
                <a:gd name="T18" fmla="*/ 767 w 1004"/>
                <a:gd name="T19" fmla="*/ 416 h 874"/>
                <a:gd name="T20" fmla="*/ 751 w 1004"/>
                <a:gd name="T21" fmla="*/ 449 h 874"/>
                <a:gd name="T22" fmla="*/ 805 w 1004"/>
                <a:gd name="T23" fmla="*/ 426 h 874"/>
                <a:gd name="T24" fmla="*/ 810 w 1004"/>
                <a:gd name="T25" fmla="*/ 487 h 874"/>
                <a:gd name="T26" fmla="*/ 805 w 1004"/>
                <a:gd name="T27" fmla="*/ 565 h 874"/>
                <a:gd name="T28" fmla="*/ 848 w 1004"/>
                <a:gd name="T29" fmla="*/ 631 h 874"/>
                <a:gd name="T30" fmla="*/ 860 w 1004"/>
                <a:gd name="T31" fmla="*/ 664 h 874"/>
                <a:gd name="T32" fmla="*/ 793 w 1004"/>
                <a:gd name="T33" fmla="*/ 704 h 874"/>
                <a:gd name="T34" fmla="*/ 767 w 1004"/>
                <a:gd name="T35" fmla="*/ 726 h 874"/>
                <a:gd name="T36" fmla="*/ 713 w 1004"/>
                <a:gd name="T37" fmla="*/ 709 h 874"/>
                <a:gd name="T38" fmla="*/ 685 w 1004"/>
                <a:gd name="T39" fmla="*/ 685 h 874"/>
                <a:gd name="T40" fmla="*/ 664 w 1004"/>
                <a:gd name="T41" fmla="*/ 704 h 874"/>
                <a:gd name="T42" fmla="*/ 567 w 1004"/>
                <a:gd name="T43" fmla="*/ 709 h 874"/>
                <a:gd name="T44" fmla="*/ 557 w 1004"/>
                <a:gd name="T45" fmla="*/ 780 h 874"/>
                <a:gd name="T46" fmla="*/ 470 w 1004"/>
                <a:gd name="T47" fmla="*/ 787 h 874"/>
                <a:gd name="T48" fmla="*/ 427 w 1004"/>
                <a:gd name="T49" fmla="*/ 759 h 874"/>
                <a:gd name="T50" fmla="*/ 307 w 1004"/>
                <a:gd name="T51" fmla="*/ 747 h 874"/>
                <a:gd name="T52" fmla="*/ 231 w 1004"/>
                <a:gd name="T53" fmla="*/ 709 h 874"/>
                <a:gd name="T54" fmla="*/ 248 w 1004"/>
                <a:gd name="T55" fmla="*/ 593 h 874"/>
                <a:gd name="T56" fmla="*/ 255 w 1004"/>
                <a:gd name="T57" fmla="*/ 504 h 874"/>
                <a:gd name="T58" fmla="*/ 248 w 1004"/>
                <a:gd name="T59" fmla="*/ 499 h 874"/>
                <a:gd name="T60" fmla="*/ 189 w 1004"/>
                <a:gd name="T61" fmla="*/ 392 h 874"/>
                <a:gd name="T62" fmla="*/ 210 w 1004"/>
                <a:gd name="T63" fmla="*/ 355 h 874"/>
                <a:gd name="T64" fmla="*/ 156 w 1004"/>
                <a:gd name="T65" fmla="*/ 338 h 874"/>
                <a:gd name="T66" fmla="*/ 134 w 1004"/>
                <a:gd name="T67" fmla="*/ 331 h 874"/>
                <a:gd name="T68" fmla="*/ 118 w 1004"/>
                <a:gd name="T69" fmla="*/ 331 h 874"/>
                <a:gd name="T70" fmla="*/ 28 w 1004"/>
                <a:gd name="T71" fmla="*/ 289 h 874"/>
                <a:gd name="T72" fmla="*/ 16 w 1004"/>
                <a:gd name="T73" fmla="*/ 265 h 874"/>
                <a:gd name="T74" fmla="*/ 0 w 1004"/>
                <a:gd name="T75" fmla="*/ 248 h 874"/>
                <a:gd name="T76" fmla="*/ 87 w 1004"/>
                <a:gd name="T77" fmla="*/ 211 h 874"/>
                <a:gd name="T78" fmla="*/ 193 w 1004"/>
                <a:gd name="T79" fmla="*/ 232 h 874"/>
                <a:gd name="T80" fmla="*/ 243 w 1004"/>
                <a:gd name="T81" fmla="*/ 227 h 874"/>
                <a:gd name="T82" fmla="*/ 201 w 1004"/>
                <a:gd name="T83" fmla="*/ 133 h 874"/>
                <a:gd name="T84" fmla="*/ 255 w 1004"/>
                <a:gd name="T85" fmla="*/ 154 h 874"/>
                <a:gd name="T86" fmla="*/ 340 w 1004"/>
                <a:gd name="T87" fmla="*/ 137 h 874"/>
                <a:gd name="T88" fmla="*/ 449 w 1004"/>
                <a:gd name="T89" fmla="*/ 59 h 874"/>
                <a:gd name="T90" fmla="*/ 512 w 1004"/>
                <a:gd name="T91" fmla="*/ 0 h 874"/>
                <a:gd name="T92" fmla="*/ 118 w 1004"/>
                <a:gd name="T93" fmla="*/ 355 h 874"/>
                <a:gd name="T94" fmla="*/ 231 w 1004"/>
                <a:gd name="T95" fmla="*/ 466 h 874"/>
                <a:gd name="T96" fmla="*/ 248 w 1004"/>
                <a:gd name="T97" fmla="*/ 487 h 874"/>
                <a:gd name="T98" fmla="*/ 945 w 1004"/>
                <a:gd name="T99" fmla="*/ 796 h 874"/>
                <a:gd name="T100" fmla="*/ 982 w 1004"/>
                <a:gd name="T101" fmla="*/ 759 h 874"/>
                <a:gd name="T102" fmla="*/ 999 w 1004"/>
                <a:gd name="T103" fmla="*/ 820 h 874"/>
                <a:gd name="T104" fmla="*/ 956 w 1004"/>
                <a:gd name="T105" fmla="*/ 848 h 874"/>
                <a:gd name="T106" fmla="*/ 945 w 1004"/>
                <a:gd name="T107" fmla="*/ 820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4" h="874">
                  <a:moveTo>
                    <a:pt x="512" y="0"/>
                  </a:moveTo>
                  <a:lnTo>
                    <a:pt x="519" y="22"/>
                  </a:lnTo>
                  <a:lnTo>
                    <a:pt x="534" y="26"/>
                  </a:lnTo>
                  <a:lnTo>
                    <a:pt x="557" y="22"/>
                  </a:lnTo>
                  <a:lnTo>
                    <a:pt x="567" y="55"/>
                  </a:lnTo>
                  <a:lnTo>
                    <a:pt x="588" y="55"/>
                  </a:lnTo>
                  <a:lnTo>
                    <a:pt x="595" y="67"/>
                  </a:lnTo>
                  <a:lnTo>
                    <a:pt x="626" y="76"/>
                  </a:lnTo>
                  <a:lnTo>
                    <a:pt x="626" y="100"/>
                  </a:lnTo>
                  <a:lnTo>
                    <a:pt x="647" y="111"/>
                  </a:lnTo>
                  <a:lnTo>
                    <a:pt x="675" y="83"/>
                  </a:lnTo>
                  <a:lnTo>
                    <a:pt x="675" y="83"/>
                  </a:lnTo>
                  <a:lnTo>
                    <a:pt x="675" y="100"/>
                  </a:lnTo>
                  <a:lnTo>
                    <a:pt x="675" y="116"/>
                  </a:lnTo>
                  <a:lnTo>
                    <a:pt x="701" y="133"/>
                  </a:lnTo>
                  <a:lnTo>
                    <a:pt x="718" y="149"/>
                  </a:lnTo>
                  <a:lnTo>
                    <a:pt x="739" y="137"/>
                  </a:lnTo>
                  <a:lnTo>
                    <a:pt x="751" y="149"/>
                  </a:lnTo>
                  <a:lnTo>
                    <a:pt x="784" y="149"/>
                  </a:lnTo>
                  <a:lnTo>
                    <a:pt x="789" y="154"/>
                  </a:lnTo>
                  <a:lnTo>
                    <a:pt x="805" y="178"/>
                  </a:lnTo>
                  <a:lnTo>
                    <a:pt x="822" y="170"/>
                  </a:lnTo>
                  <a:lnTo>
                    <a:pt x="843" y="178"/>
                  </a:lnTo>
                  <a:lnTo>
                    <a:pt x="848" y="178"/>
                  </a:lnTo>
                  <a:lnTo>
                    <a:pt x="874" y="187"/>
                  </a:lnTo>
                  <a:lnTo>
                    <a:pt x="912" y="194"/>
                  </a:lnTo>
                  <a:lnTo>
                    <a:pt x="881" y="232"/>
                  </a:lnTo>
                  <a:lnTo>
                    <a:pt x="874" y="248"/>
                  </a:lnTo>
                  <a:lnTo>
                    <a:pt x="864" y="277"/>
                  </a:lnTo>
                  <a:lnTo>
                    <a:pt x="864" y="289"/>
                  </a:lnTo>
                  <a:lnTo>
                    <a:pt x="860" y="315"/>
                  </a:lnTo>
                  <a:lnTo>
                    <a:pt x="864" y="322"/>
                  </a:lnTo>
                  <a:lnTo>
                    <a:pt x="848" y="338"/>
                  </a:lnTo>
                  <a:lnTo>
                    <a:pt x="827" y="331"/>
                  </a:lnTo>
                  <a:lnTo>
                    <a:pt x="822" y="343"/>
                  </a:lnTo>
                  <a:lnTo>
                    <a:pt x="827" y="343"/>
                  </a:lnTo>
                  <a:lnTo>
                    <a:pt x="822" y="355"/>
                  </a:lnTo>
                  <a:lnTo>
                    <a:pt x="789" y="392"/>
                  </a:lnTo>
                  <a:lnTo>
                    <a:pt x="784" y="400"/>
                  </a:lnTo>
                  <a:lnTo>
                    <a:pt x="767" y="416"/>
                  </a:lnTo>
                  <a:lnTo>
                    <a:pt x="756" y="426"/>
                  </a:lnTo>
                  <a:lnTo>
                    <a:pt x="767" y="433"/>
                  </a:lnTo>
                  <a:lnTo>
                    <a:pt x="767" y="442"/>
                  </a:lnTo>
                  <a:lnTo>
                    <a:pt x="751" y="449"/>
                  </a:lnTo>
                  <a:lnTo>
                    <a:pt x="756" y="454"/>
                  </a:lnTo>
                  <a:lnTo>
                    <a:pt x="772" y="449"/>
                  </a:lnTo>
                  <a:lnTo>
                    <a:pt x="772" y="433"/>
                  </a:lnTo>
                  <a:lnTo>
                    <a:pt x="805" y="426"/>
                  </a:lnTo>
                  <a:lnTo>
                    <a:pt x="810" y="433"/>
                  </a:lnTo>
                  <a:lnTo>
                    <a:pt x="810" y="454"/>
                  </a:lnTo>
                  <a:lnTo>
                    <a:pt x="827" y="470"/>
                  </a:lnTo>
                  <a:lnTo>
                    <a:pt x="810" y="487"/>
                  </a:lnTo>
                  <a:lnTo>
                    <a:pt x="836" y="520"/>
                  </a:lnTo>
                  <a:lnTo>
                    <a:pt x="836" y="537"/>
                  </a:lnTo>
                  <a:lnTo>
                    <a:pt x="793" y="544"/>
                  </a:lnTo>
                  <a:lnTo>
                    <a:pt x="805" y="565"/>
                  </a:lnTo>
                  <a:lnTo>
                    <a:pt x="827" y="565"/>
                  </a:lnTo>
                  <a:lnTo>
                    <a:pt x="810" y="598"/>
                  </a:lnTo>
                  <a:lnTo>
                    <a:pt x="822" y="619"/>
                  </a:lnTo>
                  <a:lnTo>
                    <a:pt x="848" y="631"/>
                  </a:lnTo>
                  <a:lnTo>
                    <a:pt x="874" y="631"/>
                  </a:lnTo>
                  <a:lnTo>
                    <a:pt x="874" y="636"/>
                  </a:lnTo>
                  <a:lnTo>
                    <a:pt x="860" y="652"/>
                  </a:lnTo>
                  <a:lnTo>
                    <a:pt x="860" y="664"/>
                  </a:lnTo>
                  <a:lnTo>
                    <a:pt x="860" y="669"/>
                  </a:lnTo>
                  <a:lnTo>
                    <a:pt x="848" y="669"/>
                  </a:lnTo>
                  <a:lnTo>
                    <a:pt x="836" y="676"/>
                  </a:lnTo>
                  <a:lnTo>
                    <a:pt x="793" y="704"/>
                  </a:lnTo>
                  <a:lnTo>
                    <a:pt x="805" y="709"/>
                  </a:lnTo>
                  <a:lnTo>
                    <a:pt x="793" y="721"/>
                  </a:lnTo>
                  <a:lnTo>
                    <a:pt x="767" y="721"/>
                  </a:lnTo>
                  <a:lnTo>
                    <a:pt x="767" y="726"/>
                  </a:lnTo>
                  <a:lnTo>
                    <a:pt x="751" y="726"/>
                  </a:lnTo>
                  <a:lnTo>
                    <a:pt x="739" y="726"/>
                  </a:lnTo>
                  <a:lnTo>
                    <a:pt x="734" y="721"/>
                  </a:lnTo>
                  <a:lnTo>
                    <a:pt x="713" y="709"/>
                  </a:lnTo>
                  <a:lnTo>
                    <a:pt x="701" y="704"/>
                  </a:lnTo>
                  <a:lnTo>
                    <a:pt x="685" y="704"/>
                  </a:lnTo>
                  <a:lnTo>
                    <a:pt x="701" y="692"/>
                  </a:lnTo>
                  <a:lnTo>
                    <a:pt x="685" y="685"/>
                  </a:lnTo>
                  <a:lnTo>
                    <a:pt x="685" y="692"/>
                  </a:lnTo>
                  <a:lnTo>
                    <a:pt x="675" y="704"/>
                  </a:lnTo>
                  <a:lnTo>
                    <a:pt x="664" y="676"/>
                  </a:lnTo>
                  <a:lnTo>
                    <a:pt x="664" y="704"/>
                  </a:lnTo>
                  <a:lnTo>
                    <a:pt x="659" y="704"/>
                  </a:lnTo>
                  <a:lnTo>
                    <a:pt x="647" y="692"/>
                  </a:lnTo>
                  <a:lnTo>
                    <a:pt x="609" y="685"/>
                  </a:lnTo>
                  <a:lnTo>
                    <a:pt x="567" y="709"/>
                  </a:lnTo>
                  <a:lnTo>
                    <a:pt x="550" y="726"/>
                  </a:lnTo>
                  <a:lnTo>
                    <a:pt x="541" y="747"/>
                  </a:lnTo>
                  <a:lnTo>
                    <a:pt x="550" y="775"/>
                  </a:lnTo>
                  <a:lnTo>
                    <a:pt x="557" y="780"/>
                  </a:lnTo>
                  <a:lnTo>
                    <a:pt x="541" y="780"/>
                  </a:lnTo>
                  <a:lnTo>
                    <a:pt x="512" y="787"/>
                  </a:lnTo>
                  <a:lnTo>
                    <a:pt x="496" y="780"/>
                  </a:lnTo>
                  <a:lnTo>
                    <a:pt x="470" y="787"/>
                  </a:lnTo>
                  <a:lnTo>
                    <a:pt x="458" y="775"/>
                  </a:lnTo>
                  <a:lnTo>
                    <a:pt x="458" y="763"/>
                  </a:lnTo>
                  <a:lnTo>
                    <a:pt x="432" y="763"/>
                  </a:lnTo>
                  <a:lnTo>
                    <a:pt x="427" y="759"/>
                  </a:lnTo>
                  <a:lnTo>
                    <a:pt x="390" y="742"/>
                  </a:lnTo>
                  <a:lnTo>
                    <a:pt x="378" y="759"/>
                  </a:lnTo>
                  <a:lnTo>
                    <a:pt x="335" y="759"/>
                  </a:lnTo>
                  <a:lnTo>
                    <a:pt x="307" y="747"/>
                  </a:lnTo>
                  <a:lnTo>
                    <a:pt x="297" y="747"/>
                  </a:lnTo>
                  <a:lnTo>
                    <a:pt x="281" y="730"/>
                  </a:lnTo>
                  <a:lnTo>
                    <a:pt x="231" y="726"/>
                  </a:lnTo>
                  <a:lnTo>
                    <a:pt x="231" y="709"/>
                  </a:lnTo>
                  <a:lnTo>
                    <a:pt x="210" y="704"/>
                  </a:lnTo>
                  <a:lnTo>
                    <a:pt x="227" y="692"/>
                  </a:lnTo>
                  <a:lnTo>
                    <a:pt x="231" y="676"/>
                  </a:lnTo>
                  <a:lnTo>
                    <a:pt x="248" y="593"/>
                  </a:lnTo>
                  <a:lnTo>
                    <a:pt x="264" y="581"/>
                  </a:lnTo>
                  <a:lnTo>
                    <a:pt x="248" y="577"/>
                  </a:lnTo>
                  <a:lnTo>
                    <a:pt x="248" y="581"/>
                  </a:lnTo>
                  <a:lnTo>
                    <a:pt x="255" y="504"/>
                  </a:lnTo>
                  <a:lnTo>
                    <a:pt x="281" y="525"/>
                  </a:lnTo>
                  <a:lnTo>
                    <a:pt x="297" y="565"/>
                  </a:lnTo>
                  <a:lnTo>
                    <a:pt x="281" y="508"/>
                  </a:lnTo>
                  <a:lnTo>
                    <a:pt x="248" y="499"/>
                  </a:lnTo>
                  <a:lnTo>
                    <a:pt x="255" y="470"/>
                  </a:lnTo>
                  <a:lnTo>
                    <a:pt x="255" y="442"/>
                  </a:lnTo>
                  <a:lnTo>
                    <a:pt x="210" y="426"/>
                  </a:lnTo>
                  <a:lnTo>
                    <a:pt x="189" y="392"/>
                  </a:lnTo>
                  <a:lnTo>
                    <a:pt x="193" y="371"/>
                  </a:lnTo>
                  <a:lnTo>
                    <a:pt x="179" y="359"/>
                  </a:lnTo>
                  <a:lnTo>
                    <a:pt x="189" y="355"/>
                  </a:lnTo>
                  <a:lnTo>
                    <a:pt x="210" y="355"/>
                  </a:lnTo>
                  <a:lnTo>
                    <a:pt x="193" y="343"/>
                  </a:lnTo>
                  <a:lnTo>
                    <a:pt x="172" y="355"/>
                  </a:lnTo>
                  <a:lnTo>
                    <a:pt x="156" y="343"/>
                  </a:lnTo>
                  <a:lnTo>
                    <a:pt x="156" y="338"/>
                  </a:lnTo>
                  <a:lnTo>
                    <a:pt x="163" y="338"/>
                  </a:lnTo>
                  <a:lnTo>
                    <a:pt x="156" y="331"/>
                  </a:lnTo>
                  <a:lnTo>
                    <a:pt x="172" y="331"/>
                  </a:lnTo>
                  <a:lnTo>
                    <a:pt x="134" y="331"/>
                  </a:lnTo>
                  <a:lnTo>
                    <a:pt x="142" y="331"/>
                  </a:lnTo>
                  <a:lnTo>
                    <a:pt x="142" y="322"/>
                  </a:lnTo>
                  <a:lnTo>
                    <a:pt x="118" y="322"/>
                  </a:lnTo>
                  <a:lnTo>
                    <a:pt x="118" y="331"/>
                  </a:lnTo>
                  <a:lnTo>
                    <a:pt x="108" y="315"/>
                  </a:lnTo>
                  <a:lnTo>
                    <a:pt x="54" y="298"/>
                  </a:lnTo>
                  <a:lnTo>
                    <a:pt x="28" y="305"/>
                  </a:lnTo>
                  <a:lnTo>
                    <a:pt x="28" y="289"/>
                  </a:lnTo>
                  <a:lnTo>
                    <a:pt x="0" y="281"/>
                  </a:lnTo>
                  <a:lnTo>
                    <a:pt x="33" y="277"/>
                  </a:lnTo>
                  <a:lnTo>
                    <a:pt x="28" y="265"/>
                  </a:lnTo>
                  <a:lnTo>
                    <a:pt x="16" y="265"/>
                  </a:lnTo>
                  <a:lnTo>
                    <a:pt x="12" y="260"/>
                  </a:lnTo>
                  <a:lnTo>
                    <a:pt x="16" y="248"/>
                  </a:lnTo>
                  <a:lnTo>
                    <a:pt x="38" y="260"/>
                  </a:lnTo>
                  <a:lnTo>
                    <a:pt x="0" y="248"/>
                  </a:lnTo>
                  <a:lnTo>
                    <a:pt x="0" y="232"/>
                  </a:lnTo>
                  <a:lnTo>
                    <a:pt x="28" y="227"/>
                  </a:lnTo>
                  <a:lnTo>
                    <a:pt x="80" y="220"/>
                  </a:lnTo>
                  <a:lnTo>
                    <a:pt x="87" y="211"/>
                  </a:lnTo>
                  <a:lnTo>
                    <a:pt x="108" y="204"/>
                  </a:lnTo>
                  <a:lnTo>
                    <a:pt x="146" y="244"/>
                  </a:lnTo>
                  <a:lnTo>
                    <a:pt x="172" y="220"/>
                  </a:lnTo>
                  <a:lnTo>
                    <a:pt x="193" y="232"/>
                  </a:lnTo>
                  <a:lnTo>
                    <a:pt x="193" y="220"/>
                  </a:lnTo>
                  <a:lnTo>
                    <a:pt x="201" y="220"/>
                  </a:lnTo>
                  <a:lnTo>
                    <a:pt x="201" y="227"/>
                  </a:lnTo>
                  <a:lnTo>
                    <a:pt x="243" y="227"/>
                  </a:lnTo>
                  <a:lnTo>
                    <a:pt x="227" y="220"/>
                  </a:lnTo>
                  <a:lnTo>
                    <a:pt x="217" y="170"/>
                  </a:lnTo>
                  <a:lnTo>
                    <a:pt x="210" y="154"/>
                  </a:lnTo>
                  <a:lnTo>
                    <a:pt x="201" y="133"/>
                  </a:lnTo>
                  <a:lnTo>
                    <a:pt x="193" y="121"/>
                  </a:lnTo>
                  <a:lnTo>
                    <a:pt x="248" y="133"/>
                  </a:lnTo>
                  <a:lnTo>
                    <a:pt x="243" y="137"/>
                  </a:lnTo>
                  <a:lnTo>
                    <a:pt x="255" y="154"/>
                  </a:lnTo>
                  <a:lnTo>
                    <a:pt x="319" y="166"/>
                  </a:lnTo>
                  <a:lnTo>
                    <a:pt x="361" y="149"/>
                  </a:lnTo>
                  <a:lnTo>
                    <a:pt x="361" y="149"/>
                  </a:lnTo>
                  <a:lnTo>
                    <a:pt x="340" y="137"/>
                  </a:lnTo>
                  <a:lnTo>
                    <a:pt x="352" y="121"/>
                  </a:lnTo>
                  <a:lnTo>
                    <a:pt x="411" y="111"/>
                  </a:lnTo>
                  <a:lnTo>
                    <a:pt x="432" y="83"/>
                  </a:lnTo>
                  <a:lnTo>
                    <a:pt x="449" y="59"/>
                  </a:lnTo>
                  <a:lnTo>
                    <a:pt x="449" y="10"/>
                  </a:lnTo>
                  <a:lnTo>
                    <a:pt x="512" y="0"/>
                  </a:lnTo>
                  <a:lnTo>
                    <a:pt x="512" y="0"/>
                  </a:lnTo>
                  <a:lnTo>
                    <a:pt x="512" y="0"/>
                  </a:lnTo>
                  <a:close/>
                  <a:moveTo>
                    <a:pt x="118" y="355"/>
                  </a:moveTo>
                  <a:lnTo>
                    <a:pt x="108" y="343"/>
                  </a:lnTo>
                  <a:lnTo>
                    <a:pt x="104" y="338"/>
                  </a:lnTo>
                  <a:lnTo>
                    <a:pt x="118" y="355"/>
                  </a:lnTo>
                  <a:lnTo>
                    <a:pt x="118" y="355"/>
                  </a:lnTo>
                  <a:lnTo>
                    <a:pt x="118" y="355"/>
                  </a:lnTo>
                  <a:close/>
                  <a:moveTo>
                    <a:pt x="248" y="487"/>
                  </a:moveTo>
                  <a:lnTo>
                    <a:pt x="231" y="466"/>
                  </a:lnTo>
                  <a:lnTo>
                    <a:pt x="248" y="470"/>
                  </a:lnTo>
                  <a:lnTo>
                    <a:pt x="248" y="487"/>
                  </a:lnTo>
                  <a:lnTo>
                    <a:pt x="248" y="487"/>
                  </a:lnTo>
                  <a:lnTo>
                    <a:pt x="248" y="487"/>
                  </a:lnTo>
                  <a:close/>
                  <a:moveTo>
                    <a:pt x="945" y="820"/>
                  </a:moveTo>
                  <a:lnTo>
                    <a:pt x="945" y="813"/>
                  </a:lnTo>
                  <a:lnTo>
                    <a:pt x="935" y="796"/>
                  </a:lnTo>
                  <a:lnTo>
                    <a:pt x="945" y="796"/>
                  </a:lnTo>
                  <a:lnTo>
                    <a:pt x="935" y="787"/>
                  </a:lnTo>
                  <a:lnTo>
                    <a:pt x="945" y="775"/>
                  </a:lnTo>
                  <a:lnTo>
                    <a:pt x="973" y="759"/>
                  </a:lnTo>
                  <a:lnTo>
                    <a:pt x="982" y="759"/>
                  </a:lnTo>
                  <a:lnTo>
                    <a:pt x="987" y="730"/>
                  </a:lnTo>
                  <a:lnTo>
                    <a:pt x="999" y="730"/>
                  </a:lnTo>
                  <a:lnTo>
                    <a:pt x="1004" y="803"/>
                  </a:lnTo>
                  <a:lnTo>
                    <a:pt x="999" y="820"/>
                  </a:lnTo>
                  <a:lnTo>
                    <a:pt x="987" y="848"/>
                  </a:lnTo>
                  <a:lnTo>
                    <a:pt x="982" y="874"/>
                  </a:lnTo>
                  <a:lnTo>
                    <a:pt x="949" y="858"/>
                  </a:lnTo>
                  <a:lnTo>
                    <a:pt x="956" y="848"/>
                  </a:lnTo>
                  <a:lnTo>
                    <a:pt x="945" y="848"/>
                  </a:lnTo>
                  <a:lnTo>
                    <a:pt x="949" y="829"/>
                  </a:lnTo>
                  <a:lnTo>
                    <a:pt x="935" y="829"/>
                  </a:lnTo>
                  <a:lnTo>
                    <a:pt x="945" y="820"/>
                  </a:lnTo>
                  <a:lnTo>
                    <a:pt x="945" y="820"/>
                  </a:lnTo>
                  <a:lnTo>
                    <a:pt x="945" y="82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7" name="Freeform 446">
              <a:extLst>
                <a:ext uri="{FF2B5EF4-FFF2-40B4-BE49-F238E27FC236}">
                  <a16:creationId xmlns:a16="http://schemas.microsoft.com/office/drawing/2014/main" id="{B01ED9F9-55BD-4FA4-B8A9-67B12F817056}"/>
                </a:ext>
              </a:extLst>
            </p:cNvPr>
            <p:cNvSpPr>
              <a:spLocks noEditPoints="1"/>
            </p:cNvSpPr>
            <p:nvPr/>
          </p:nvSpPr>
          <p:spPr bwMode="gray">
            <a:xfrm>
              <a:off x="14895595" y="5051456"/>
              <a:ext cx="629391" cy="342680"/>
            </a:xfrm>
            <a:custGeom>
              <a:avLst/>
              <a:gdLst>
                <a:gd name="T0" fmla="*/ 1916 w 1923"/>
                <a:gd name="T1" fmla="*/ 0 h 1047"/>
                <a:gd name="T2" fmla="*/ 1923 w 1923"/>
                <a:gd name="T3" fmla="*/ 12 h 1047"/>
                <a:gd name="T4" fmla="*/ 1923 w 1923"/>
                <a:gd name="T5" fmla="*/ 12 h 1047"/>
                <a:gd name="T6" fmla="*/ 0 w 1923"/>
                <a:gd name="T7" fmla="*/ 714 h 1047"/>
                <a:gd name="T8" fmla="*/ 10 w 1923"/>
                <a:gd name="T9" fmla="*/ 714 h 1047"/>
                <a:gd name="T10" fmla="*/ 10 w 1923"/>
                <a:gd name="T11" fmla="*/ 714 h 1047"/>
                <a:gd name="T12" fmla="*/ 106 w 1923"/>
                <a:gd name="T13" fmla="*/ 737 h 1047"/>
                <a:gd name="T14" fmla="*/ 118 w 1923"/>
                <a:gd name="T15" fmla="*/ 747 h 1047"/>
                <a:gd name="T16" fmla="*/ 118 w 1923"/>
                <a:gd name="T17" fmla="*/ 747 h 1047"/>
                <a:gd name="T18" fmla="*/ 139 w 1923"/>
                <a:gd name="T19" fmla="*/ 747 h 1047"/>
                <a:gd name="T20" fmla="*/ 156 w 1923"/>
                <a:gd name="T21" fmla="*/ 747 h 1047"/>
                <a:gd name="T22" fmla="*/ 139 w 1923"/>
                <a:gd name="T23" fmla="*/ 747 h 1047"/>
                <a:gd name="T24" fmla="*/ 1339 w 1923"/>
                <a:gd name="T25" fmla="*/ 992 h 1047"/>
                <a:gd name="T26" fmla="*/ 1365 w 1923"/>
                <a:gd name="T27" fmla="*/ 992 h 1047"/>
                <a:gd name="T28" fmla="*/ 1361 w 1923"/>
                <a:gd name="T29" fmla="*/ 992 h 1047"/>
                <a:gd name="T30" fmla="*/ 1377 w 1923"/>
                <a:gd name="T31" fmla="*/ 1009 h 1047"/>
                <a:gd name="T32" fmla="*/ 1429 w 1923"/>
                <a:gd name="T33" fmla="*/ 992 h 1047"/>
                <a:gd name="T34" fmla="*/ 1420 w 1923"/>
                <a:gd name="T35" fmla="*/ 1014 h 1047"/>
                <a:gd name="T36" fmla="*/ 1429 w 1923"/>
                <a:gd name="T37" fmla="*/ 1025 h 1047"/>
                <a:gd name="T38" fmla="*/ 1382 w 1923"/>
                <a:gd name="T39" fmla="*/ 1014 h 1047"/>
                <a:gd name="T40" fmla="*/ 1377 w 1923"/>
                <a:gd name="T41" fmla="*/ 1014 h 1047"/>
                <a:gd name="T42" fmla="*/ 1415 w 1923"/>
                <a:gd name="T43" fmla="*/ 1030 h 1047"/>
                <a:gd name="T44" fmla="*/ 1382 w 1923"/>
                <a:gd name="T45" fmla="*/ 1047 h 1047"/>
                <a:gd name="T46" fmla="*/ 1377 w 1923"/>
                <a:gd name="T47" fmla="*/ 1042 h 1047"/>
                <a:gd name="T48" fmla="*/ 1328 w 1923"/>
                <a:gd name="T49" fmla="*/ 1030 h 1047"/>
                <a:gd name="T50" fmla="*/ 1306 w 1923"/>
                <a:gd name="T51" fmla="*/ 1047 h 1047"/>
                <a:gd name="T52" fmla="*/ 1306 w 1923"/>
                <a:gd name="T53" fmla="*/ 985 h 1047"/>
                <a:gd name="T54" fmla="*/ 1328 w 1923"/>
                <a:gd name="T55" fmla="*/ 952 h 1047"/>
                <a:gd name="T56" fmla="*/ 1339 w 1923"/>
                <a:gd name="T57" fmla="*/ 959 h 1047"/>
                <a:gd name="T58" fmla="*/ 1328 w 1923"/>
                <a:gd name="T59" fmla="*/ 992 h 1047"/>
                <a:gd name="T60" fmla="*/ 1339 w 1923"/>
                <a:gd name="T61" fmla="*/ 992 h 1047"/>
                <a:gd name="T62" fmla="*/ 1339 w 1923"/>
                <a:gd name="T63" fmla="*/ 992 h 1047"/>
                <a:gd name="T64" fmla="*/ 1339 w 1923"/>
                <a:gd name="T65" fmla="*/ 976 h 1047"/>
                <a:gd name="T66" fmla="*/ 1349 w 1923"/>
                <a:gd name="T67" fmla="*/ 976 h 1047"/>
                <a:gd name="T68" fmla="*/ 1339 w 1923"/>
                <a:gd name="T69" fmla="*/ 992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3" h="1047">
                  <a:moveTo>
                    <a:pt x="1923" y="12"/>
                  </a:moveTo>
                  <a:lnTo>
                    <a:pt x="1916" y="0"/>
                  </a:lnTo>
                  <a:lnTo>
                    <a:pt x="1923" y="0"/>
                  </a:lnTo>
                  <a:lnTo>
                    <a:pt x="1923" y="12"/>
                  </a:lnTo>
                  <a:lnTo>
                    <a:pt x="1923" y="12"/>
                  </a:lnTo>
                  <a:lnTo>
                    <a:pt x="1923" y="12"/>
                  </a:lnTo>
                  <a:close/>
                  <a:moveTo>
                    <a:pt x="10" y="714"/>
                  </a:moveTo>
                  <a:lnTo>
                    <a:pt x="0" y="714"/>
                  </a:lnTo>
                  <a:lnTo>
                    <a:pt x="10" y="714"/>
                  </a:lnTo>
                  <a:lnTo>
                    <a:pt x="10" y="714"/>
                  </a:lnTo>
                  <a:lnTo>
                    <a:pt x="10" y="714"/>
                  </a:lnTo>
                  <a:lnTo>
                    <a:pt x="10" y="714"/>
                  </a:lnTo>
                  <a:close/>
                  <a:moveTo>
                    <a:pt x="118" y="747"/>
                  </a:moveTo>
                  <a:lnTo>
                    <a:pt x="106" y="737"/>
                  </a:lnTo>
                  <a:lnTo>
                    <a:pt x="118" y="737"/>
                  </a:lnTo>
                  <a:lnTo>
                    <a:pt x="118" y="747"/>
                  </a:lnTo>
                  <a:lnTo>
                    <a:pt x="118" y="747"/>
                  </a:lnTo>
                  <a:lnTo>
                    <a:pt x="118" y="747"/>
                  </a:lnTo>
                  <a:lnTo>
                    <a:pt x="118" y="747"/>
                  </a:lnTo>
                  <a:close/>
                  <a:moveTo>
                    <a:pt x="139" y="747"/>
                  </a:moveTo>
                  <a:lnTo>
                    <a:pt x="139" y="747"/>
                  </a:lnTo>
                  <a:lnTo>
                    <a:pt x="156" y="747"/>
                  </a:lnTo>
                  <a:lnTo>
                    <a:pt x="139" y="747"/>
                  </a:lnTo>
                  <a:lnTo>
                    <a:pt x="139" y="747"/>
                  </a:lnTo>
                  <a:lnTo>
                    <a:pt x="139" y="747"/>
                  </a:lnTo>
                  <a:close/>
                  <a:moveTo>
                    <a:pt x="1339" y="992"/>
                  </a:moveTo>
                  <a:lnTo>
                    <a:pt x="1365" y="976"/>
                  </a:lnTo>
                  <a:lnTo>
                    <a:pt x="1365" y="992"/>
                  </a:lnTo>
                  <a:lnTo>
                    <a:pt x="1344" y="1002"/>
                  </a:lnTo>
                  <a:lnTo>
                    <a:pt x="1361" y="992"/>
                  </a:lnTo>
                  <a:lnTo>
                    <a:pt x="1361" y="1009"/>
                  </a:lnTo>
                  <a:lnTo>
                    <a:pt x="1377" y="1009"/>
                  </a:lnTo>
                  <a:lnTo>
                    <a:pt x="1415" y="985"/>
                  </a:lnTo>
                  <a:lnTo>
                    <a:pt x="1429" y="992"/>
                  </a:lnTo>
                  <a:lnTo>
                    <a:pt x="1436" y="1002"/>
                  </a:lnTo>
                  <a:lnTo>
                    <a:pt x="1420" y="1014"/>
                  </a:lnTo>
                  <a:lnTo>
                    <a:pt x="1415" y="1014"/>
                  </a:lnTo>
                  <a:lnTo>
                    <a:pt x="1429" y="1025"/>
                  </a:lnTo>
                  <a:lnTo>
                    <a:pt x="1403" y="1014"/>
                  </a:lnTo>
                  <a:lnTo>
                    <a:pt x="1382" y="1014"/>
                  </a:lnTo>
                  <a:lnTo>
                    <a:pt x="1391" y="1025"/>
                  </a:lnTo>
                  <a:lnTo>
                    <a:pt x="1377" y="1014"/>
                  </a:lnTo>
                  <a:lnTo>
                    <a:pt x="1382" y="1030"/>
                  </a:lnTo>
                  <a:lnTo>
                    <a:pt x="1415" y="1030"/>
                  </a:lnTo>
                  <a:lnTo>
                    <a:pt x="1415" y="1047"/>
                  </a:lnTo>
                  <a:lnTo>
                    <a:pt x="1382" y="1047"/>
                  </a:lnTo>
                  <a:lnTo>
                    <a:pt x="1365" y="1025"/>
                  </a:lnTo>
                  <a:lnTo>
                    <a:pt x="1377" y="1042"/>
                  </a:lnTo>
                  <a:lnTo>
                    <a:pt x="1344" y="1030"/>
                  </a:lnTo>
                  <a:lnTo>
                    <a:pt x="1328" y="1030"/>
                  </a:lnTo>
                  <a:lnTo>
                    <a:pt x="1328" y="1047"/>
                  </a:lnTo>
                  <a:lnTo>
                    <a:pt x="1306" y="1047"/>
                  </a:lnTo>
                  <a:lnTo>
                    <a:pt x="1311" y="1014"/>
                  </a:lnTo>
                  <a:lnTo>
                    <a:pt x="1306" y="985"/>
                  </a:lnTo>
                  <a:lnTo>
                    <a:pt x="1323" y="952"/>
                  </a:lnTo>
                  <a:lnTo>
                    <a:pt x="1328" y="952"/>
                  </a:lnTo>
                  <a:lnTo>
                    <a:pt x="1323" y="969"/>
                  </a:lnTo>
                  <a:lnTo>
                    <a:pt x="1339" y="959"/>
                  </a:lnTo>
                  <a:lnTo>
                    <a:pt x="1323" y="992"/>
                  </a:lnTo>
                  <a:lnTo>
                    <a:pt x="1328" y="992"/>
                  </a:lnTo>
                  <a:lnTo>
                    <a:pt x="1328" y="976"/>
                  </a:lnTo>
                  <a:lnTo>
                    <a:pt x="1339" y="992"/>
                  </a:lnTo>
                  <a:lnTo>
                    <a:pt x="1339" y="992"/>
                  </a:lnTo>
                  <a:lnTo>
                    <a:pt x="1339" y="992"/>
                  </a:lnTo>
                  <a:close/>
                  <a:moveTo>
                    <a:pt x="1339" y="992"/>
                  </a:moveTo>
                  <a:lnTo>
                    <a:pt x="1339" y="976"/>
                  </a:lnTo>
                  <a:lnTo>
                    <a:pt x="1349" y="969"/>
                  </a:lnTo>
                  <a:lnTo>
                    <a:pt x="1349" y="976"/>
                  </a:lnTo>
                  <a:lnTo>
                    <a:pt x="1339" y="992"/>
                  </a:lnTo>
                  <a:lnTo>
                    <a:pt x="1339" y="992"/>
                  </a:lnTo>
                  <a:lnTo>
                    <a:pt x="1339" y="99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8" name="Freeform 447">
              <a:extLst>
                <a:ext uri="{FF2B5EF4-FFF2-40B4-BE49-F238E27FC236}">
                  <a16:creationId xmlns:a16="http://schemas.microsoft.com/office/drawing/2014/main" id="{0758FC1D-BA0A-4F3D-A7D4-20E8FA996AA7}"/>
                </a:ext>
              </a:extLst>
            </p:cNvPr>
            <p:cNvSpPr>
              <a:spLocks/>
            </p:cNvSpPr>
            <p:nvPr/>
          </p:nvSpPr>
          <p:spPr bwMode="gray">
            <a:xfrm>
              <a:off x="13356974" y="3785800"/>
              <a:ext cx="72005" cy="18656"/>
            </a:xfrm>
            <a:custGeom>
              <a:avLst/>
              <a:gdLst>
                <a:gd name="T0" fmla="*/ 17 w 220"/>
                <a:gd name="T1" fmla="*/ 17 h 57"/>
                <a:gd name="T2" fmla="*/ 95 w 220"/>
                <a:gd name="T3" fmla="*/ 17 h 57"/>
                <a:gd name="T4" fmla="*/ 104 w 220"/>
                <a:gd name="T5" fmla="*/ 5 h 57"/>
                <a:gd name="T6" fmla="*/ 128 w 220"/>
                <a:gd name="T7" fmla="*/ 0 h 57"/>
                <a:gd name="T8" fmla="*/ 144 w 220"/>
                <a:gd name="T9" fmla="*/ 5 h 57"/>
                <a:gd name="T10" fmla="*/ 149 w 220"/>
                <a:gd name="T11" fmla="*/ 17 h 57"/>
                <a:gd name="T12" fmla="*/ 166 w 220"/>
                <a:gd name="T13" fmla="*/ 17 h 57"/>
                <a:gd name="T14" fmla="*/ 182 w 220"/>
                <a:gd name="T15" fmla="*/ 33 h 57"/>
                <a:gd name="T16" fmla="*/ 204 w 220"/>
                <a:gd name="T17" fmla="*/ 17 h 57"/>
                <a:gd name="T18" fmla="*/ 220 w 220"/>
                <a:gd name="T19" fmla="*/ 33 h 57"/>
                <a:gd name="T20" fmla="*/ 215 w 220"/>
                <a:gd name="T21" fmla="*/ 41 h 57"/>
                <a:gd name="T22" fmla="*/ 182 w 220"/>
                <a:gd name="T23" fmla="*/ 50 h 57"/>
                <a:gd name="T24" fmla="*/ 128 w 220"/>
                <a:gd name="T25" fmla="*/ 17 h 57"/>
                <a:gd name="T26" fmla="*/ 111 w 220"/>
                <a:gd name="T27" fmla="*/ 33 h 57"/>
                <a:gd name="T28" fmla="*/ 74 w 220"/>
                <a:gd name="T29" fmla="*/ 41 h 57"/>
                <a:gd name="T30" fmla="*/ 74 w 220"/>
                <a:gd name="T31" fmla="*/ 50 h 57"/>
                <a:gd name="T32" fmla="*/ 12 w 220"/>
                <a:gd name="T33" fmla="*/ 50 h 57"/>
                <a:gd name="T34" fmla="*/ 12 w 220"/>
                <a:gd name="T35" fmla="*/ 57 h 57"/>
                <a:gd name="T36" fmla="*/ 0 w 220"/>
                <a:gd name="T37" fmla="*/ 33 h 57"/>
                <a:gd name="T38" fmla="*/ 12 w 220"/>
                <a:gd name="T39" fmla="*/ 22 h 57"/>
                <a:gd name="T40" fmla="*/ 17 w 220"/>
                <a:gd name="T41" fmla="*/ 33 h 57"/>
                <a:gd name="T42" fmla="*/ 24 w 220"/>
                <a:gd name="T43" fmla="*/ 41 h 57"/>
                <a:gd name="T44" fmla="*/ 41 w 220"/>
                <a:gd name="T45" fmla="*/ 41 h 57"/>
                <a:gd name="T46" fmla="*/ 50 w 220"/>
                <a:gd name="T47" fmla="*/ 41 h 57"/>
                <a:gd name="T48" fmla="*/ 50 w 220"/>
                <a:gd name="T49" fmla="*/ 41 h 57"/>
                <a:gd name="T50" fmla="*/ 41 w 220"/>
                <a:gd name="T51" fmla="*/ 41 h 57"/>
                <a:gd name="T52" fmla="*/ 50 w 220"/>
                <a:gd name="T53" fmla="*/ 33 h 57"/>
                <a:gd name="T54" fmla="*/ 111 w 220"/>
                <a:gd name="T55" fmla="*/ 22 h 57"/>
                <a:gd name="T56" fmla="*/ 95 w 220"/>
                <a:gd name="T57" fmla="*/ 22 h 57"/>
                <a:gd name="T58" fmla="*/ 50 w 220"/>
                <a:gd name="T59" fmla="*/ 33 h 57"/>
                <a:gd name="T60" fmla="*/ 33 w 220"/>
                <a:gd name="T61" fmla="*/ 41 h 57"/>
                <a:gd name="T62" fmla="*/ 24 w 220"/>
                <a:gd name="T63" fmla="*/ 33 h 57"/>
                <a:gd name="T64" fmla="*/ 17 w 220"/>
                <a:gd name="T65" fmla="*/ 17 h 57"/>
                <a:gd name="T66" fmla="*/ 17 w 220"/>
                <a:gd name="T67" fmla="*/ 17 h 57"/>
                <a:gd name="T68" fmla="*/ 17 w 220"/>
                <a:gd name="T69" fmla="*/ 1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 h="57">
                  <a:moveTo>
                    <a:pt x="17" y="17"/>
                  </a:moveTo>
                  <a:lnTo>
                    <a:pt x="95" y="17"/>
                  </a:lnTo>
                  <a:lnTo>
                    <a:pt x="104" y="5"/>
                  </a:lnTo>
                  <a:lnTo>
                    <a:pt x="128" y="0"/>
                  </a:lnTo>
                  <a:lnTo>
                    <a:pt x="144" y="5"/>
                  </a:lnTo>
                  <a:lnTo>
                    <a:pt x="149" y="17"/>
                  </a:lnTo>
                  <a:lnTo>
                    <a:pt x="166" y="17"/>
                  </a:lnTo>
                  <a:lnTo>
                    <a:pt x="182" y="33"/>
                  </a:lnTo>
                  <a:lnTo>
                    <a:pt x="204" y="17"/>
                  </a:lnTo>
                  <a:lnTo>
                    <a:pt x="220" y="33"/>
                  </a:lnTo>
                  <a:lnTo>
                    <a:pt x="215" y="41"/>
                  </a:lnTo>
                  <a:lnTo>
                    <a:pt x="182" y="50"/>
                  </a:lnTo>
                  <a:lnTo>
                    <a:pt x="128" y="17"/>
                  </a:lnTo>
                  <a:lnTo>
                    <a:pt x="111" y="33"/>
                  </a:lnTo>
                  <a:lnTo>
                    <a:pt x="74" y="41"/>
                  </a:lnTo>
                  <a:lnTo>
                    <a:pt x="74" y="50"/>
                  </a:lnTo>
                  <a:lnTo>
                    <a:pt x="12" y="50"/>
                  </a:lnTo>
                  <a:lnTo>
                    <a:pt x="12" y="57"/>
                  </a:lnTo>
                  <a:lnTo>
                    <a:pt x="0" y="33"/>
                  </a:lnTo>
                  <a:lnTo>
                    <a:pt x="12" y="22"/>
                  </a:lnTo>
                  <a:lnTo>
                    <a:pt x="17" y="33"/>
                  </a:lnTo>
                  <a:lnTo>
                    <a:pt x="24" y="41"/>
                  </a:lnTo>
                  <a:lnTo>
                    <a:pt x="41" y="41"/>
                  </a:lnTo>
                  <a:lnTo>
                    <a:pt x="50" y="41"/>
                  </a:lnTo>
                  <a:lnTo>
                    <a:pt x="50" y="41"/>
                  </a:lnTo>
                  <a:lnTo>
                    <a:pt x="41" y="41"/>
                  </a:lnTo>
                  <a:lnTo>
                    <a:pt x="50" y="33"/>
                  </a:lnTo>
                  <a:lnTo>
                    <a:pt x="111" y="22"/>
                  </a:lnTo>
                  <a:lnTo>
                    <a:pt x="95" y="22"/>
                  </a:lnTo>
                  <a:lnTo>
                    <a:pt x="50" y="33"/>
                  </a:lnTo>
                  <a:lnTo>
                    <a:pt x="33" y="41"/>
                  </a:lnTo>
                  <a:lnTo>
                    <a:pt x="24" y="33"/>
                  </a:lnTo>
                  <a:lnTo>
                    <a:pt x="17" y="17"/>
                  </a:lnTo>
                  <a:lnTo>
                    <a:pt x="17" y="17"/>
                  </a:lnTo>
                  <a:lnTo>
                    <a:pt x="17" y="1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9" name="Freeform 448">
              <a:extLst>
                <a:ext uri="{FF2B5EF4-FFF2-40B4-BE49-F238E27FC236}">
                  <a16:creationId xmlns:a16="http://schemas.microsoft.com/office/drawing/2014/main" id="{5D404886-50E5-42CA-B16F-4AC1A2405139}"/>
                </a:ext>
              </a:extLst>
            </p:cNvPr>
            <p:cNvSpPr>
              <a:spLocks noEditPoints="1"/>
            </p:cNvSpPr>
            <p:nvPr/>
          </p:nvSpPr>
          <p:spPr bwMode="gray">
            <a:xfrm>
              <a:off x="13944798" y="4059747"/>
              <a:ext cx="132228" cy="147611"/>
            </a:xfrm>
            <a:custGeom>
              <a:avLst/>
              <a:gdLst>
                <a:gd name="T0" fmla="*/ 359 w 404"/>
                <a:gd name="T1" fmla="*/ 184 h 451"/>
                <a:gd name="T2" fmla="*/ 380 w 404"/>
                <a:gd name="T3" fmla="*/ 200 h 451"/>
                <a:gd name="T4" fmla="*/ 404 w 404"/>
                <a:gd name="T5" fmla="*/ 212 h 451"/>
                <a:gd name="T6" fmla="*/ 404 w 404"/>
                <a:gd name="T7" fmla="*/ 257 h 451"/>
                <a:gd name="T8" fmla="*/ 387 w 404"/>
                <a:gd name="T9" fmla="*/ 311 h 451"/>
                <a:gd name="T10" fmla="*/ 359 w 404"/>
                <a:gd name="T11" fmla="*/ 344 h 451"/>
                <a:gd name="T12" fmla="*/ 333 w 404"/>
                <a:gd name="T13" fmla="*/ 344 h 451"/>
                <a:gd name="T14" fmla="*/ 290 w 404"/>
                <a:gd name="T15" fmla="*/ 307 h 451"/>
                <a:gd name="T16" fmla="*/ 269 w 404"/>
                <a:gd name="T17" fmla="*/ 307 h 451"/>
                <a:gd name="T18" fmla="*/ 257 w 404"/>
                <a:gd name="T19" fmla="*/ 340 h 451"/>
                <a:gd name="T20" fmla="*/ 224 w 404"/>
                <a:gd name="T21" fmla="*/ 340 h 451"/>
                <a:gd name="T22" fmla="*/ 198 w 404"/>
                <a:gd name="T23" fmla="*/ 340 h 451"/>
                <a:gd name="T24" fmla="*/ 198 w 404"/>
                <a:gd name="T25" fmla="*/ 378 h 451"/>
                <a:gd name="T26" fmla="*/ 215 w 404"/>
                <a:gd name="T27" fmla="*/ 385 h 451"/>
                <a:gd name="T28" fmla="*/ 224 w 404"/>
                <a:gd name="T29" fmla="*/ 406 h 451"/>
                <a:gd name="T30" fmla="*/ 219 w 404"/>
                <a:gd name="T31" fmla="*/ 434 h 451"/>
                <a:gd name="T32" fmla="*/ 198 w 404"/>
                <a:gd name="T33" fmla="*/ 422 h 451"/>
                <a:gd name="T34" fmla="*/ 165 w 404"/>
                <a:gd name="T35" fmla="*/ 451 h 451"/>
                <a:gd name="T36" fmla="*/ 63 w 404"/>
                <a:gd name="T37" fmla="*/ 344 h 451"/>
                <a:gd name="T38" fmla="*/ 96 w 404"/>
                <a:gd name="T39" fmla="*/ 352 h 451"/>
                <a:gd name="T40" fmla="*/ 89 w 404"/>
                <a:gd name="T41" fmla="*/ 352 h 451"/>
                <a:gd name="T42" fmla="*/ 75 w 404"/>
                <a:gd name="T43" fmla="*/ 344 h 451"/>
                <a:gd name="T44" fmla="*/ 42 w 404"/>
                <a:gd name="T45" fmla="*/ 307 h 451"/>
                <a:gd name="T46" fmla="*/ 59 w 404"/>
                <a:gd name="T47" fmla="*/ 311 h 451"/>
                <a:gd name="T48" fmla="*/ 37 w 404"/>
                <a:gd name="T49" fmla="*/ 295 h 451"/>
                <a:gd name="T50" fmla="*/ 21 w 404"/>
                <a:gd name="T51" fmla="*/ 257 h 451"/>
                <a:gd name="T52" fmla="*/ 54 w 404"/>
                <a:gd name="T53" fmla="*/ 290 h 451"/>
                <a:gd name="T54" fmla="*/ 54 w 404"/>
                <a:gd name="T55" fmla="*/ 274 h 451"/>
                <a:gd name="T56" fmla="*/ 42 w 404"/>
                <a:gd name="T57" fmla="*/ 257 h 451"/>
                <a:gd name="T58" fmla="*/ 21 w 404"/>
                <a:gd name="T59" fmla="*/ 257 h 451"/>
                <a:gd name="T60" fmla="*/ 0 w 404"/>
                <a:gd name="T61" fmla="*/ 212 h 451"/>
                <a:gd name="T62" fmla="*/ 42 w 404"/>
                <a:gd name="T63" fmla="*/ 196 h 451"/>
                <a:gd name="T64" fmla="*/ 54 w 404"/>
                <a:gd name="T65" fmla="*/ 155 h 451"/>
                <a:gd name="T66" fmla="*/ 80 w 404"/>
                <a:gd name="T67" fmla="*/ 155 h 451"/>
                <a:gd name="T68" fmla="*/ 42 w 404"/>
                <a:gd name="T69" fmla="*/ 127 h 451"/>
                <a:gd name="T70" fmla="*/ 59 w 404"/>
                <a:gd name="T71" fmla="*/ 118 h 451"/>
                <a:gd name="T72" fmla="*/ 59 w 404"/>
                <a:gd name="T73" fmla="*/ 101 h 451"/>
                <a:gd name="T74" fmla="*/ 75 w 404"/>
                <a:gd name="T75" fmla="*/ 101 h 451"/>
                <a:gd name="T76" fmla="*/ 89 w 404"/>
                <a:gd name="T77" fmla="*/ 101 h 451"/>
                <a:gd name="T78" fmla="*/ 182 w 404"/>
                <a:gd name="T79" fmla="*/ 11 h 451"/>
                <a:gd name="T80" fmla="*/ 252 w 404"/>
                <a:gd name="T81" fmla="*/ 0 h 451"/>
                <a:gd name="T82" fmla="*/ 311 w 404"/>
                <a:gd name="T83" fmla="*/ 0 h 451"/>
                <a:gd name="T84" fmla="*/ 307 w 404"/>
                <a:gd name="T85" fmla="*/ 44 h 451"/>
                <a:gd name="T86" fmla="*/ 311 w 404"/>
                <a:gd name="T87" fmla="*/ 85 h 451"/>
                <a:gd name="T88" fmla="*/ 380 w 404"/>
                <a:gd name="T89" fmla="*/ 68 h 451"/>
                <a:gd name="T90" fmla="*/ 387 w 404"/>
                <a:gd name="T91" fmla="*/ 122 h 451"/>
                <a:gd name="T92" fmla="*/ 366 w 404"/>
                <a:gd name="T93" fmla="*/ 146 h 451"/>
                <a:gd name="T94" fmla="*/ 359 w 404"/>
                <a:gd name="T95" fmla="*/ 179 h 451"/>
                <a:gd name="T96" fmla="*/ 21 w 404"/>
                <a:gd name="T97" fmla="*/ 229 h 451"/>
                <a:gd name="T98" fmla="*/ 21 w 404"/>
                <a:gd name="T99" fmla="*/ 212 h 451"/>
                <a:gd name="T100" fmla="*/ 21 w 404"/>
                <a:gd name="T101" fmla="*/ 229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4" h="451">
                  <a:moveTo>
                    <a:pt x="359" y="179"/>
                  </a:moveTo>
                  <a:lnTo>
                    <a:pt x="359" y="184"/>
                  </a:lnTo>
                  <a:lnTo>
                    <a:pt x="375" y="184"/>
                  </a:lnTo>
                  <a:lnTo>
                    <a:pt x="380" y="200"/>
                  </a:lnTo>
                  <a:lnTo>
                    <a:pt x="396" y="200"/>
                  </a:lnTo>
                  <a:lnTo>
                    <a:pt x="404" y="212"/>
                  </a:lnTo>
                  <a:lnTo>
                    <a:pt x="396" y="240"/>
                  </a:lnTo>
                  <a:lnTo>
                    <a:pt x="404" y="257"/>
                  </a:lnTo>
                  <a:lnTo>
                    <a:pt x="396" y="307"/>
                  </a:lnTo>
                  <a:lnTo>
                    <a:pt x="387" y="311"/>
                  </a:lnTo>
                  <a:lnTo>
                    <a:pt x="375" y="344"/>
                  </a:lnTo>
                  <a:lnTo>
                    <a:pt x="359" y="344"/>
                  </a:lnTo>
                  <a:lnTo>
                    <a:pt x="349" y="323"/>
                  </a:lnTo>
                  <a:lnTo>
                    <a:pt x="333" y="344"/>
                  </a:lnTo>
                  <a:lnTo>
                    <a:pt x="295" y="340"/>
                  </a:lnTo>
                  <a:lnTo>
                    <a:pt x="290" y="307"/>
                  </a:lnTo>
                  <a:lnTo>
                    <a:pt x="274" y="295"/>
                  </a:lnTo>
                  <a:lnTo>
                    <a:pt x="269" y="307"/>
                  </a:lnTo>
                  <a:lnTo>
                    <a:pt x="257" y="307"/>
                  </a:lnTo>
                  <a:lnTo>
                    <a:pt x="257" y="340"/>
                  </a:lnTo>
                  <a:lnTo>
                    <a:pt x="236" y="344"/>
                  </a:lnTo>
                  <a:lnTo>
                    <a:pt x="224" y="340"/>
                  </a:lnTo>
                  <a:lnTo>
                    <a:pt x="215" y="344"/>
                  </a:lnTo>
                  <a:lnTo>
                    <a:pt x="198" y="340"/>
                  </a:lnTo>
                  <a:lnTo>
                    <a:pt x="203" y="352"/>
                  </a:lnTo>
                  <a:lnTo>
                    <a:pt x="198" y="378"/>
                  </a:lnTo>
                  <a:lnTo>
                    <a:pt x="203" y="368"/>
                  </a:lnTo>
                  <a:lnTo>
                    <a:pt x="215" y="385"/>
                  </a:lnTo>
                  <a:lnTo>
                    <a:pt x="203" y="401"/>
                  </a:lnTo>
                  <a:lnTo>
                    <a:pt x="224" y="406"/>
                  </a:lnTo>
                  <a:lnTo>
                    <a:pt x="219" y="422"/>
                  </a:lnTo>
                  <a:lnTo>
                    <a:pt x="219" y="434"/>
                  </a:lnTo>
                  <a:lnTo>
                    <a:pt x="215" y="434"/>
                  </a:lnTo>
                  <a:lnTo>
                    <a:pt x="198" y="422"/>
                  </a:lnTo>
                  <a:lnTo>
                    <a:pt x="172" y="434"/>
                  </a:lnTo>
                  <a:lnTo>
                    <a:pt x="165" y="451"/>
                  </a:lnTo>
                  <a:lnTo>
                    <a:pt x="118" y="394"/>
                  </a:lnTo>
                  <a:lnTo>
                    <a:pt x="63" y="344"/>
                  </a:lnTo>
                  <a:lnTo>
                    <a:pt x="89" y="361"/>
                  </a:lnTo>
                  <a:lnTo>
                    <a:pt x="96" y="352"/>
                  </a:lnTo>
                  <a:lnTo>
                    <a:pt x="96" y="352"/>
                  </a:lnTo>
                  <a:lnTo>
                    <a:pt x="89" y="352"/>
                  </a:lnTo>
                  <a:lnTo>
                    <a:pt x="80" y="344"/>
                  </a:lnTo>
                  <a:lnTo>
                    <a:pt x="75" y="344"/>
                  </a:lnTo>
                  <a:lnTo>
                    <a:pt x="59" y="340"/>
                  </a:lnTo>
                  <a:lnTo>
                    <a:pt x="42" y="307"/>
                  </a:lnTo>
                  <a:lnTo>
                    <a:pt x="54" y="307"/>
                  </a:lnTo>
                  <a:lnTo>
                    <a:pt x="59" y="311"/>
                  </a:lnTo>
                  <a:lnTo>
                    <a:pt x="54" y="307"/>
                  </a:lnTo>
                  <a:lnTo>
                    <a:pt x="37" y="295"/>
                  </a:lnTo>
                  <a:lnTo>
                    <a:pt x="37" y="283"/>
                  </a:lnTo>
                  <a:lnTo>
                    <a:pt x="21" y="257"/>
                  </a:lnTo>
                  <a:lnTo>
                    <a:pt x="37" y="290"/>
                  </a:lnTo>
                  <a:lnTo>
                    <a:pt x="54" y="290"/>
                  </a:lnTo>
                  <a:lnTo>
                    <a:pt x="54" y="283"/>
                  </a:lnTo>
                  <a:lnTo>
                    <a:pt x="54" y="274"/>
                  </a:lnTo>
                  <a:lnTo>
                    <a:pt x="37" y="283"/>
                  </a:lnTo>
                  <a:lnTo>
                    <a:pt x="42" y="257"/>
                  </a:lnTo>
                  <a:lnTo>
                    <a:pt x="37" y="266"/>
                  </a:lnTo>
                  <a:lnTo>
                    <a:pt x="21" y="257"/>
                  </a:lnTo>
                  <a:lnTo>
                    <a:pt x="0" y="212"/>
                  </a:lnTo>
                  <a:lnTo>
                    <a:pt x="0" y="212"/>
                  </a:lnTo>
                  <a:lnTo>
                    <a:pt x="21" y="229"/>
                  </a:lnTo>
                  <a:lnTo>
                    <a:pt x="42" y="196"/>
                  </a:lnTo>
                  <a:lnTo>
                    <a:pt x="42" y="139"/>
                  </a:lnTo>
                  <a:lnTo>
                    <a:pt x="54" y="155"/>
                  </a:lnTo>
                  <a:lnTo>
                    <a:pt x="75" y="163"/>
                  </a:lnTo>
                  <a:lnTo>
                    <a:pt x="80" y="155"/>
                  </a:lnTo>
                  <a:lnTo>
                    <a:pt x="54" y="146"/>
                  </a:lnTo>
                  <a:lnTo>
                    <a:pt x="42" y="127"/>
                  </a:lnTo>
                  <a:lnTo>
                    <a:pt x="42" y="122"/>
                  </a:lnTo>
                  <a:lnTo>
                    <a:pt x="59" y="118"/>
                  </a:lnTo>
                  <a:lnTo>
                    <a:pt x="59" y="127"/>
                  </a:lnTo>
                  <a:lnTo>
                    <a:pt x="59" y="101"/>
                  </a:lnTo>
                  <a:lnTo>
                    <a:pt x="63" y="89"/>
                  </a:lnTo>
                  <a:lnTo>
                    <a:pt x="75" y="101"/>
                  </a:lnTo>
                  <a:lnTo>
                    <a:pt x="80" y="101"/>
                  </a:lnTo>
                  <a:lnTo>
                    <a:pt x="89" y="101"/>
                  </a:lnTo>
                  <a:lnTo>
                    <a:pt x="182" y="101"/>
                  </a:lnTo>
                  <a:lnTo>
                    <a:pt x="182" y="11"/>
                  </a:lnTo>
                  <a:lnTo>
                    <a:pt x="182" y="0"/>
                  </a:lnTo>
                  <a:lnTo>
                    <a:pt x="252" y="0"/>
                  </a:lnTo>
                  <a:lnTo>
                    <a:pt x="278" y="0"/>
                  </a:lnTo>
                  <a:lnTo>
                    <a:pt x="311" y="0"/>
                  </a:lnTo>
                  <a:lnTo>
                    <a:pt x="321" y="11"/>
                  </a:lnTo>
                  <a:lnTo>
                    <a:pt x="307" y="44"/>
                  </a:lnTo>
                  <a:lnTo>
                    <a:pt x="311" y="68"/>
                  </a:lnTo>
                  <a:lnTo>
                    <a:pt x="311" y="85"/>
                  </a:lnTo>
                  <a:lnTo>
                    <a:pt x="349" y="68"/>
                  </a:lnTo>
                  <a:lnTo>
                    <a:pt x="380" y="68"/>
                  </a:lnTo>
                  <a:lnTo>
                    <a:pt x="404" y="101"/>
                  </a:lnTo>
                  <a:lnTo>
                    <a:pt x="387" y="122"/>
                  </a:lnTo>
                  <a:lnTo>
                    <a:pt x="375" y="127"/>
                  </a:lnTo>
                  <a:lnTo>
                    <a:pt x="366" y="146"/>
                  </a:lnTo>
                  <a:lnTo>
                    <a:pt x="359" y="179"/>
                  </a:lnTo>
                  <a:lnTo>
                    <a:pt x="359" y="179"/>
                  </a:lnTo>
                  <a:lnTo>
                    <a:pt x="359" y="179"/>
                  </a:lnTo>
                  <a:close/>
                  <a:moveTo>
                    <a:pt x="21" y="229"/>
                  </a:moveTo>
                  <a:lnTo>
                    <a:pt x="9" y="217"/>
                  </a:lnTo>
                  <a:lnTo>
                    <a:pt x="21" y="212"/>
                  </a:lnTo>
                  <a:lnTo>
                    <a:pt x="21" y="229"/>
                  </a:lnTo>
                  <a:lnTo>
                    <a:pt x="21" y="229"/>
                  </a:lnTo>
                  <a:lnTo>
                    <a:pt x="21" y="22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0" name="Freeform 449">
              <a:extLst>
                <a:ext uri="{FF2B5EF4-FFF2-40B4-BE49-F238E27FC236}">
                  <a16:creationId xmlns:a16="http://schemas.microsoft.com/office/drawing/2014/main" id="{07CF0B00-F22A-4A14-AA94-BD9A3A2EFAA8}"/>
                </a:ext>
              </a:extLst>
            </p:cNvPr>
            <p:cNvSpPr>
              <a:spLocks/>
            </p:cNvSpPr>
            <p:nvPr/>
          </p:nvSpPr>
          <p:spPr bwMode="gray">
            <a:xfrm>
              <a:off x="14663542" y="3015016"/>
              <a:ext cx="151538" cy="74296"/>
            </a:xfrm>
            <a:custGeom>
              <a:avLst/>
              <a:gdLst>
                <a:gd name="T0" fmla="*/ 0 w 463"/>
                <a:gd name="T1" fmla="*/ 26 h 227"/>
                <a:gd name="T2" fmla="*/ 0 w 463"/>
                <a:gd name="T3" fmla="*/ 10 h 227"/>
                <a:gd name="T4" fmla="*/ 17 w 463"/>
                <a:gd name="T5" fmla="*/ 0 h 227"/>
                <a:gd name="T6" fmla="*/ 43 w 463"/>
                <a:gd name="T7" fmla="*/ 10 h 227"/>
                <a:gd name="T8" fmla="*/ 109 w 463"/>
                <a:gd name="T9" fmla="*/ 33 h 227"/>
                <a:gd name="T10" fmla="*/ 199 w 463"/>
                <a:gd name="T11" fmla="*/ 43 h 227"/>
                <a:gd name="T12" fmla="*/ 220 w 463"/>
                <a:gd name="T13" fmla="*/ 66 h 227"/>
                <a:gd name="T14" fmla="*/ 258 w 463"/>
                <a:gd name="T15" fmla="*/ 83 h 227"/>
                <a:gd name="T16" fmla="*/ 258 w 463"/>
                <a:gd name="T17" fmla="*/ 88 h 227"/>
                <a:gd name="T18" fmla="*/ 270 w 463"/>
                <a:gd name="T19" fmla="*/ 88 h 227"/>
                <a:gd name="T20" fmla="*/ 312 w 463"/>
                <a:gd name="T21" fmla="*/ 71 h 227"/>
                <a:gd name="T22" fmla="*/ 329 w 463"/>
                <a:gd name="T23" fmla="*/ 88 h 227"/>
                <a:gd name="T24" fmla="*/ 345 w 463"/>
                <a:gd name="T25" fmla="*/ 71 h 227"/>
                <a:gd name="T26" fmla="*/ 362 w 463"/>
                <a:gd name="T27" fmla="*/ 83 h 227"/>
                <a:gd name="T28" fmla="*/ 367 w 463"/>
                <a:gd name="T29" fmla="*/ 100 h 227"/>
                <a:gd name="T30" fmla="*/ 400 w 463"/>
                <a:gd name="T31" fmla="*/ 100 h 227"/>
                <a:gd name="T32" fmla="*/ 393 w 463"/>
                <a:gd name="T33" fmla="*/ 128 h 227"/>
                <a:gd name="T34" fmla="*/ 447 w 463"/>
                <a:gd name="T35" fmla="*/ 154 h 227"/>
                <a:gd name="T36" fmla="*/ 430 w 463"/>
                <a:gd name="T37" fmla="*/ 170 h 227"/>
                <a:gd name="T38" fmla="*/ 437 w 463"/>
                <a:gd name="T39" fmla="*/ 182 h 227"/>
                <a:gd name="T40" fmla="*/ 463 w 463"/>
                <a:gd name="T41" fmla="*/ 199 h 227"/>
                <a:gd name="T42" fmla="*/ 463 w 463"/>
                <a:gd name="T43" fmla="*/ 215 h 227"/>
                <a:gd name="T44" fmla="*/ 454 w 463"/>
                <a:gd name="T45" fmla="*/ 227 h 227"/>
                <a:gd name="T46" fmla="*/ 430 w 463"/>
                <a:gd name="T47" fmla="*/ 211 h 227"/>
                <a:gd name="T48" fmla="*/ 409 w 463"/>
                <a:gd name="T49" fmla="*/ 211 h 227"/>
                <a:gd name="T50" fmla="*/ 400 w 463"/>
                <a:gd name="T51" fmla="*/ 199 h 227"/>
                <a:gd name="T52" fmla="*/ 367 w 463"/>
                <a:gd name="T53" fmla="*/ 194 h 227"/>
                <a:gd name="T54" fmla="*/ 345 w 463"/>
                <a:gd name="T55" fmla="*/ 199 h 227"/>
                <a:gd name="T56" fmla="*/ 341 w 463"/>
                <a:gd name="T57" fmla="*/ 211 h 227"/>
                <a:gd name="T58" fmla="*/ 237 w 463"/>
                <a:gd name="T59" fmla="*/ 215 h 227"/>
                <a:gd name="T60" fmla="*/ 232 w 463"/>
                <a:gd name="T61" fmla="*/ 215 h 227"/>
                <a:gd name="T62" fmla="*/ 220 w 463"/>
                <a:gd name="T63" fmla="*/ 215 h 227"/>
                <a:gd name="T64" fmla="*/ 194 w 463"/>
                <a:gd name="T65" fmla="*/ 177 h 227"/>
                <a:gd name="T66" fmla="*/ 178 w 463"/>
                <a:gd name="T67" fmla="*/ 177 h 227"/>
                <a:gd name="T68" fmla="*/ 168 w 463"/>
                <a:gd name="T69" fmla="*/ 194 h 227"/>
                <a:gd name="T70" fmla="*/ 140 w 463"/>
                <a:gd name="T71" fmla="*/ 182 h 227"/>
                <a:gd name="T72" fmla="*/ 123 w 463"/>
                <a:gd name="T73" fmla="*/ 194 h 227"/>
                <a:gd name="T74" fmla="*/ 109 w 463"/>
                <a:gd name="T75" fmla="*/ 182 h 227"/>
                <a:gd name="T76" fmla="*/ 123 w 463"/>
                <a:gd name="T77" fmla="*/ 154 h 227"/>
                <a:gd name="T78" fmla="*/ 97 w 463"/>
                <a:gd name="T79" fmla="*/ 83 h 227"/>
                <a:gd name="T80" fmla="*/ 76 w 463"/>
                <a:gd name="T81" fmla="*/ 71 h 227"/>
                <a:gd name="T82" fmla="*/ 71 w 463"/>
                <a:gd name="T83" fmla="*/ 55 h 227"/>
                <a:gd name="T84" fmla="*/ 55 w 463"/>
                <a:gd name="T85" fmla="*/ 50 h 227"/>
                <a:gd name="T86" fmla="*/ 22 w 463"/>
                <a:gd name="T87" fmla="*/ 43 h 227"/>
                <a:gd name="T88" fmla="*/ 17 w 463"/>
                <a:gd name="T89" fmla="*/ 26 h 227"/>
                <a:gd name="T90" fmla="*/ 0 w 463"/>
                <a:gd name="T91" fmla="*/ 26 h 227"/>
                <a:gd name="T92" fmla="*/ 0 w 463"/>
                <a:gd name="T93" fmla="*/ 26 h 227"/>
                <a:gd name="T94" fmla="*/ 0 w 463"/>
                <a:gd name="T95" fmla="*/ 2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3" h="227">
                  <a:moveTo>
                    <a:pt x="0" y="26"/>
                  </a:moveTo>
                  <a:lnTo>
                    <a:pt x="0" y="10"/>
                  </a:lnTo>
                  <a:lnTo>
                    <a:pt x="17" y="0"/>
                  </a:lnTo>
                  <a:lnTo>
                    <a:pt x="43" y="10"/>
                  </a:lnTo>
                  <a:lnTo>
                    <a:pt x="109" y="33"/>
                  </a:lnTo>
                  <a:lnTo>
                    <a:pt x="199" y="43"/>
                  </a:lnTo>
                  <a:lnTo>
                    <a:pt x="220" y="66"/>
                  </a:lnTo>
                  <a:lnTo>
                    <a:pt x="258" y="83"/>
                  </a:lnTo>
                  <a:lnTo>
                    <a:pt x="258" y="88"/>
                  </a:lnTo>
                  <a:lnTo>
                    <a:pt x="270" y="88"/>
                  </a:lnTo>
                  <a:lnTo>
                    <a:pt x="312" y="71"/>
                  </a:lnTo>
                  <a:lnTo>
                    <a:pt x="329" y="88"/>
                  </a:lnTo>
                  <a:lnTo>
                    <a:pt x="345" y="71"/>
                  </a:lnTo>
                  <a:lnTo>
                    <a:pt x="362" y="83"/>
                  </a:lnTo>
                  <a:lnTo>
                    <a:pt x="367" y="100"/>
                  </a:lnTo>
                  <a:lnTo>
                    <a:pt x="400" y="100"/>
                  </a:lnTo>
                  <a:lnTo>
                    <a:pt x="393" y="128"/>
                  </a:lnTo>
                  <a:lnTo>
                    <a:pt x="447" y="154"/>
                  </a:lnTo>
                  <a:lnTo>
                    <a:pt x="430" y="170"/>
                  </a:lnTo>
                  <a:lnTo>
                    <a:pt x="437" y="182"/>
                  </a:lnTo>
                  <a:lnTo>
                    <a:pt x="463" y="199"/>
                  </a:lnTo>
                  <a:lnTo>
                    <a:pt x="463" y="215"/>
                  </a:lnTo>
                  <a:lnTo>
                    <a:pt x="454" y="227"/>
                  </a:lnTo>
                  <a:lnTo>
                    <a:pt x="430" y="211"/>
                  </a:lnTo>
                  <a:lnTo>
                    <a:pt x="409" y="211"/>
                  </a:lnTo>
                  <a:lnTo>
                    <a:pt x="400" y="199"/>
                  </a:lnTo>
                  <a:lnTo>
                    <a:pt x="367" y="194"/>
                  </a:lnTo>
                  <a:lnTo>
                    <a:pt x="345" y="199"/>
                  </a:lnTo>
                  <a:lnTo>
                    <a:pt x="341" y="211"/>
                  </a:lnTo>
                  <a:lnTo>
                    <a:pt x="237" y="215"/>
                  </a:lnTo>
                  <a:lnTo>
                    <a:pt x="232" y="215"/>
                  </a:lnTo>
                  <a:lnTo>
                    <a:pt x="220" y="215"/>
                  </a:lnTo>
                  <a:lnTo>
                    <a:pt x="194" y="177"/>
                  </a:lnTo>
                  <a:lnTo>
                    <a:pt x="178" y="177"/>
                  </a:lnTo>
                  <a:lnTo>
                    <a:pt x="168" y="194"/>
                  </a:lnTo>
                  <a:lnTo>
                    <a:pt x="140" y="182"/>
                  </a:lnTo>
                  <a:lnTo>
                    <a:pt x="123" y="194"/>
                  </a:lnTo>
                  <a:lnTo>
                    <a:pt x="109" y="182"/>
                  </a:lnTo>
                  <a:lnTo>
                    <a:pt x="123" y="154"/>
                  </a:lnTo>
                  <a:lnTo>
                    <a:pt x="97" y="83"/>
                  </a:lnTo>
                  <a:lnTo>
                    <a:pt x="76" y="71"/>
                  </a:lnTo>
                  <a:lnTo>
                    <a:pt x="71" y="55"/>
                  </a:lnTo>
                  <a:lnTo>
                    <a:pt x="55" y="50"/>
                  </a:lnTo>
                  <a:lnTo>
                    <a:pt x="22" y="43"/>
                  </a:lnTo>
                  <a:lnTo>
                    <a:pt x="17" y="26"/>
                  </a:lnTo>
                  <a:lnTo>
                    <a:pt x="0" y="26"/>
                  </a:lnTo>
                  <a:lnTo>
                    <a:pt x="0" y="26"/>
                  </a:lnTo>
                  <a:lnTo>
                    <a:pt x="0" y="2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1" name="Freeform 450">
              <a:extLst>
                <a:ext uri="{FF2B5EF4-FFF2-40B4-BE49-F238E27FC236}">
                  <a16:creationId xmlns:a16="http://schemas.microsoft.com/office/drawing/2014/main" id="{AA485F2F-1A67-44A5-92E2-7BB3203AEFB6}"/>
                </a:ext>
              </a:extLst>
            </p:cNvPr>
            <p:cNvSpPr>
              <a:spLocks/>
            </p:cNvSpPr>
            <p:nvPr/>
          </p:nvSpPr>
          <p:spPr bwMode="gray">
            <a:xfrm>
              <a:off x="13669542" y="3850932"/>
              <a:ext cx="102117" cy="152848"/>
            </a:xfrm>
            <a:custGeom>
              <a:avLst/>
              <a:gdLst>
                <a:gd name="T0" fmla="*/ 16 w 312"/>
                <a:gd name="T1" fmla="*/ 432 h 467"/>
                <a:gd name="T2" fmla="*/ 16 w 312"/>
                <a:gd name="T3" fmla="*/ 432 h 467"/>
                <a:gd name="T4" fmla="*/ 21 w 312"/>
                <a:gd name="T5" fmla="*/ 432 h 467"/>
                <a:gd name="T6" fmla="*/ 38 w 312"/>
                <a:gd name="T7" fmla="*/ 432 h 467"/>
                <a:gd name="T8" fmla="*/ 38 w 312"/>
                <a:gd name="T9" fmla="*/ 406 h 467"/>
                <a:gd name="T10" fmla="*/ 21 w 312"/>
                <a:gd name="T11" fmla="*/ 394 h 467"/>
                <a:gd name="T12" fmla="*/ 0 w 312"/>
                <a:gd name="T13" fmla="*/ 321 h 467"/>
                <a:gd name="T14" fmla="*/ 4 w 312"/>
                <a:gd name="T15" fmla="*/ 316 h 467"/>
                <a:gd name="T16" fmla="*/ 21 w 312"/>
                <a:gd name="T17" fmla="*/ 295 h 467"/>
                <a:gd name="T18" fmla="*/ 38 w 312"/>
                <a:gd name="T19" fmla="*/ 227 h 467"/>
                <a:gd name="T20" fmla="*/ 54 w 312"/>
                <a:gd name="T21" fmla="*/ 210 h 467"/>
                <a:gd name="T22" fmla="*/ 42 w 312"/>
                <a:gd name="T23" fmla="*/ 156 h 467"/>
                <a:gd name="T24" fmla="*/ 38 w 312"/>
                <a:gd name="T25" fmla="*/ 149 h 467"/>
                <a:gd name="T26" fmla="*/ 42 w 312"/>
                <a:gd name="T27" fmla="*/ 116 h 467"/>
                <a:gd name="T28" fmla="*/ 38 w 312"/>
                <a:gd name="T29" fmla="*/ 111 h 467"/>
                <a:gd name="T30" fmla="*/ 38 w 312"/>
                <a:gd name="T31" fmla="*/ 61 h 467"/>
                <a:gd name="T32" fmla="*/ 21 w 312"/>
                <a:gd name="T33" fmla="*/ 26 h 467"/>
                <a:gd name="T34" fmla="*/ 30 w 312"/>
                <a:gd name="T35" fmla="*/ 5 h 467"/>
                <a:gd name="T36" fmla="*/ 160 w 312"/>
                <a:gd name="T37" fmla="*/ 5 h 467"/>
                <a:gd name="T38" fmla="*/ 182 w 312"/>
                <a:gd name="T39" fmla="*/ 5 h 467"/>
                <a:gd name="T40" fmla="*/ 182 w 312"/>
                <a:gd name="T41" fmla="*/ 16 h 467"/>
                <a:gd name="T42" fmla="*/ 205 w 312"/>
                <a:gd name="T43" fmla="*/ 0 h 467"/>
                <a:gd name="T44" fmla="*/ 219 w 312"/>
                <a:gd name="T45" fmla="*/ 0 h 467"/>
                <a:gd name="T46" fmla="*/ 231 w 312"/>
                <a:gd name="T47" fmla="*/ 5 h 467"/>
                <a:gd name="T48" fmla="*/ 219 w 312"/>
                <a:gd name="T49" fmla="*/ 26 h 467"/>
                <a:gd name="T50" fmla="*/ 252 w 312"/>
                <a:gd name="T51" fmla="*/ 54 h 467"/>
                <a:gd name="T52" fmla="*/ 252 w 312"/>
                <a:gd name="T53" fmla="*/ 61 h 467"/>
                <a:gd name="T54" fmla="*/ 257 w 312"/>
                <a:gd name="T55" fmla="*/ 78 h 467"/>
                <a:gd name="T56" fmla="*/ 248 w 312"/>
                <a:gd name="T57" fmla="*/ 116 h 467"/>
                <a:gd name="T58" fmla="*/ 257 w 312"/>
                <a:gd name="T59" fmla="*/ 116 h 467"/>
                <a:gd name="T60" fmla="*/ 269 w 312"/>
                <a:gd name="T61" fmla="*/ 127 h 467"/>
                <a:gd name="T62" fmla="*/ 257 w 312"/>
                <a:gd name="T63" fmla="*/ 149 h 467"/>
                <a:gd name="T64" fmla="*/ 269 w 312"/>
                <a:gd name="T65" fmla="*/ 165 h 467"/>
                <a:gd name="T66" fmla="*/ 252 w 312"/>
                <a:gd name="T67" fmla="*/ 172 h 467"/>
                <a:gd name="T68" fmla="*/ 286 w 312"/>
                <a:gd name="T69" fmla="*/ 205 h 467"/>
                <a:gd name="T70" fmla="*/ 274 w 312"/>
                <a:gd name="T71" fmla="*/ 210 h 467"/>
                <a:gd name="T72" fmla="*/ 269 w 312"/>
                <a:gd name="T73" fmla="*/ 243 h 467"/>
                <a:gd name="T74" fmla="*/ 269 w 312"/>
                <a:gd name="T75" fmla="*/ 260 h 467"/>
                <a:gd name="T76" fmla="*/ 269 w 312"/>
                <a:gd name="T77" fmla="*/ 267 h 467"/>
                <a:gd name="T78" fmla="*/ 274 w 312"/>
                <a:gd name="T79" fmla="*/ 276 h 467"/>
                <a:gd name="T80" fmla="*/ 274 w 312"/>
                <a:gd name="T81" fmla="*/ 300 h 467"/>
                <a:gd name="T82" fmla="*/ 269 w 312"/>
                <a:gd name="T83" fmla="*/ 300 h 467"/>
                <a:gd name="T84" fmla="*/ 286 w 312"/>
                <a:gd name="T85" fmla="*/ 338 h 467"/>
                <a:gd name="T86" fmla="*/ 302 w 312"/>
                <a:gd name="T87" fmla="*/ 349 h 467"/>
                <a:gd name="T88" fmla="*/ 312 w 312"/>
                <a:gd name="T89" fmla="*/ 361 h 467"/>
                <a:gd name="T90" fmla="*/ 302 w 312"/>
                <a:gd name="T91" fmla="*/ 390 h 467"/>
                <a:gd name="T92" fmla="*/ 274 w 312"/>
                <a:gd name="T93" fmla="*/ 390 h 467"/>
                <a:gd name="T94" fmla="*/ 269 w 312"/>
                <a:gd name="T95" fmla="*/ 373 h 467"/>
                <a:gd name="T96" fmla="*/ 248 w 312"/>
                <a:gd name="T97" fmla="*/ 361 h 467"/>
                <a:gd name="T98" fmla="*/ 269 w 312"/>
                <a:gd name="T99" fmla="*/ 373 h 467"/>
                <a:gd name="T100" fmla="*/ 274 w 312"/>
                <a:gd name="T101" fmla="*/ 390 h 467"/>
                <a:gd name="T102" fmla="*/ 248 w 312"/>
                <a:gd name="T103" fmla="*/ 390 h 467"/>
                <a:gd name="T104" fmla="*/ 177 w 312"/>
                <a:gd name="T105" fmla="*/ 427 h 467"/>
                <a:gd name="T106" fmla="*/ 113 w 312"/>
                <a:gd name="T107" fmla="*/ 444 h 467"/>
                <a:gd name="T108" fmla="*/ 85 w 312"/>
                <a:gd name="T109" fmla="*/ 467 h 467"/>
                <a:gd name="T110" fmla="*/ 68 w 312"/>
                <a:gd name="T111" fmla="*/ 451 h 467"/>
                <a:gd name="T112" fmla="*/ 16 w 312"/>
                <a:gd name="T113" fmla="*/ 432 h 467"/>
                <a:gd name="T114" fmla="*/ 16 w 312"/>
                <a:gd name="T115" fmla="*/ 432 h 467"/>
                <a:gd name="T116" fmla="*/ 16 w 312"/>
                <a:gd name="T117" fmla="*/ 432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2" h="467">
                  <a:moveTo>
                    <a:pt x="16" y="432"/>
                  </a:moveTo>
                  <a:lnTo>
                    <a:pt x="16" y="432"/>
                  </a:lnTo>
                  <a:lnTo>
                    <a:pt x="21" y="432"/>
                  </a:lnTo>
                  <a:lnTo>
                    <a:pt x="38" y="432"/>
                  </a:lnTo>
                  <a:lnTo>
                    <a:pt x="38" y="406"/>
                  </a:lnTo>
                  <a:lnTo>
                    <a:pt x="21" y="394"/>
                  </a:lnTo>
                  <a:lnTo>
                    <a:pt x="0" y="321"/>
                  </a:lnTo>
                  <a:lnTo>
                    <a:pt x="4" y="316"/>
                  </a:lnTo>
                  <a:lnTo>
                    <a:pt x="21" y="295"/>
                  </a:lnTo>
                  <a:lnTo>
                    <a:pt x="38" y="227"/>
                  </a:lnTo>
                  <a:lnTo>
                    <a:pt x="54" y="210"/>
                  </a:lnTo>
                  <a:lnTo>
                    <a:pt x="42" y="156"/>
                  </a:lnTo>
                  <a:lnTo>
                    <a:pt x="38" y="149"/>
                  </a:lnTo>
                  <a:lnTo>
                    <a:pt x="42" y="116"/>
                  </a:lnTo>
                  <a:lnTo>
                    <a:pt x="38" y="111"/>
                  </a:lnTo>
                  <a:lnTo>
                    <a:pt x="38" y="61"/>
                  </a:lnTo>
                  <a:lnTo>
                    <a:pt x="21" y="26"/>
                  </a:lnTo>
                  <a:lnTo>
                    <a:pt x="30" y="5"/>
                  </a:lnTo>
                  <a:lnTo>
                    <a:pt x="160" y="5"/>
                  </a:lnTo>
                  <a:lnTo>
                    <a:pt x="182" y="5"/>
                  </a:lnTo>
                  <a:lnTo>
                    <a:pt x="182" y="16"/>
                  </a:lnTo>
                  <a:lnTo>
                    <a:pt x="205" y="0"/>
                  </a:lnTo>
                  <a:lnTo>
                    <a:pt x="219" y="0"/>
                  </a:lnTo>
                  <a:lnTo>
                    <a:pt x="231" y="5"/>
                  </a:lnTo>
                  <a:lnTo>
                    <a:pt x="219" y="26"/>
                  </a:lnTo>
                  <a:lnTo>
                    <a:pt x="252" y="54"/>
                  </a:lnTo>
                  <a:lnTo>
                    <a:pt x="252" y="61"/>
                  </a:lnTo>
                  <a:lnTo>
                    <a:pt x="257" y="78"/>
                  </a:lnTo>
                  <a:lnTo>
                    <a:pt x="248" y="116"/>
                  </a:lnTo>
                  <a:lnTo>
                    <a:pt x="257" y="116"/>
                  </a:lnTo>
                  <a:lnTo>
                    <a:pt x="269" y="127"/>
                  </a:lnTo>
                  <a:lnTo>
                    <a:pt x="257" y="149"/>
                  </a:lnTo>
                  <a:lnTo>
                    <a:pt x="269" y="165"/>
                  </a:lnTo>
                  <a:lnTo>
                    <a:pt x="252" y="172"/>
                  </a:lnTo>
                  <a:lnTo>
                    <a:pt x="286" y="205"/>
                  </a:lnTo>
                  <a:lnTo>
                    <a:pt x="274" y="210"/>
                  </a:lnTo>
                  <a:lnTo>
                    <a:pt x="269" y="243"/>
                  </a:lnTo>
                  <a:lnTo>
                    <a:pt x="269" y="260"/>
                  </a:lnTo>
                  <a:lnTo>
                    <a:pt x="269" y="267"/>
                  </a:lnTo>
                  <a:lnTo>
                    <a:pt x="274" y="276"/>
                  </a:lnTo>
                  <a:lnTo>
                    <a:pt x="274" y="300"/>
                  </a:lnTo>
                  <a:lnTo>
                    <a:pt x="269" y="300"/>
                  </a:lnTo>
                  <a:lnTo>
                    <a:pt x="286" y="338"/>
                  </a:lnTo>
                  <a:lnTo>
                    <a:pt x="302" y="349"/>
                  </a:lnTo>
                  <a:lnTo>
                    <a:pt x="312" y="361"/>
                  </a:lnTo>
                  <a:lnTo>
                    <a:pt x="302" y="390"/>
                  </a:lnTo>
                  <a:lnTo>
                    <a:pt x="274" y="390"/>
                  </a:lnTo>
                  <a:lnTo>
                    <a:pt x="269" y="373"/>
                  </a:lnTo>
                  <a:lnTo>
                    <a:pt x="248" y="361"/>
                  </a:lnTo>
                  <a:lnTo>
                    <a:pt x="269" y="373"/>
                  </a:lnTo>
                  <a:lnTo>
                    <a:pt x="274" y="390"/>
                  </a:lnTo>
                  <a:lnTo>
                    <a:pt x="248" y="390"/>
                  </a:lnTo>
                  <a:lnTo>
                    <a:pt x="177" y="427"/>
                  </a:lnTo>
                  <a:lnTo>
                    <a:pt x="113" y="444"/>
                  </a:lnTo>
                  <a:lnTo>
                    <a:pt x="85" y="467"/>
                  </a:lnTo>
                  <a:lnTo>
                    <a:pt x="68" y="451"/>
                  </a:lnTo>
                  <a:lnTo>
                    <a:pt x="16" y="432"/>
                  </a:lnTo>
                  <a:lnTo>
                    <a:pt x="16" y="432"/>
                  </a:lnTo>
                  <a:lnTo>
                    <a:pt x="16" y="43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2" name="Freeform 451">
              <a:extLst>
                <a:ext uri="{FF2B5EF4-FFF2-40B4-BE49-F238E27FC236}">
                  <a16:creationId xmlns:a16="http://schemas.microsoft.com/office/drawing/2014/main" id="{8C13FB27-5322-42E0-B0A9-C81E5923EF8F}"/>
                </a:ext>
              </a:extLst>
            </p:cNvPr>
            <p:cNvSpPr>
              <a:spLocks/>
            </p:cNvSpPr>
            <p:nvPr/>
          </p:nvSpPr>
          <p:spPr bwMode="gray">
            <a:xfrm>
              <a:off x="12325007" y="3823767"/>
              <a:ext cx="5237" cy="5564"/>
            </a:xfrm>
            <a:custGeom>
              <a:avLst/>
              <a:gdLst>
                <a:gd name="T0" fmla="*/ 16 w 16"/>
                <a:gd name="T1" fmla="*/ 0 h 17"/>
                <a:gd name="T2" fmla="*/ 16 w 16"/>
                <a:gd name="T3" fmla="*/ 17 h 17"/>
                <a:gd name="T4" fmla="*/ 0 w 16"/>
                <a:gd name="T5" fmla="*/ 17 h 17"/>
                <a:gd name="T6" fmla="*/ 7 w 16"/>
                <a:gd name="T7" fmla="*/ 0 h 17"/>
                <a:gd name="T8" fmla="*/ 16 w 16"/>
                <a:gd name="T9" fmla="*/ 0 h 17"/>
                <a:gd name="T10" fmla="*/ 16 w 16"/>
                <a:gd name="T11" fmla="*/ 0 h 17"/>
                <a:gd name="T12" fmla="*/ 16 w 16"/>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16" y="0"/>
                  </a:moveTo>
                  <a:lnTo>
                    <a:pt x="16" y="17"/>
                  </a:lnTo>
                  <a:lnTo>
                    <a:pt x="0" y="17"/>
                  </a:lnTo>
                  <a:lnTo>
                    <a:pt x="7" y="0"/>
                  </a:lnTo>
                  <a:lnTo>
                    <a:pt x="16" y="0"/>
                  </a:lnTo>
                  <a:lnTo>
                    <a:pt x="16" y="0"/>
                  </a:lnTo>
                  <a:lnTo>
                    <a:pt x="16"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3" name="Freeform 452">
              <a:extLst>
                <a:ext uri="{FF2B5EF4-FFF2-40B4-BE49-F238E27FC236}">
                  <a16:creationId xmlns:a16="http://schemas.microsoft.com/office/drawing/2014/main" id="{49B19AD7-6502-4B0D-8E3C-4DD123917859}"/>
                </a:ext>
              </a:extLst>
            </p:cNvPr>
            <p:cNvSpPr>
              <a:spLocks noEditPoints="1"/>
            </p:cNvSpPr>
            <p:nvPr/>
          </p:nvSpPr>
          <p:spPr bwMode="gray">
            <a:xfrm>
              <a:off x="12068407" y="1433192"/>
              <a:ext cx="1395265" cy="1071569"/>
            </a:xfrm>
            <a:custGeom>
              <a:avLst/>
              <a:gdLst>
                <a:gd name="T0" fmla="*/ 1604 w 4263"/>
                <a:gd name="T1" fmla="*/ 2143 h 3274"/>
                <a:gd name="T2" fmla="*/ 1549 w 4263"/>
                <a:gd name="T3" fmla="*/ 1949 h 3274"/>
                <a:gd name="T4" fmla="*/ 1240 w 4263"/>
                <a:gd name="T5" fmla="*/ 1892 h 3274"/>
                <a:gd name="T6" fmla="*/ 1219 w 4263"/>
                <a:gd name="T7" fmla="*/ 1555 h 3274"/>
                <a:gd name="T8" fmla="*/ 756 w 4263"/>
                <a:gd name="T9" fmla="*/ 1205 h 3274"/>
                <a:gd name="T10" fmla="*/ 236 w 4263"/>
                <a:gd name="T11" fmla="*/ 1099 h 3274"/>
                <a:gd name="T12" fmla="*/ 16 w 4263"/>
                <a:gd name="T13" fmla="*/ 893 h 3274"/>
                <a:gd name="T14" fmla="*/ 718 w 4263"/>
                <a:gd name="T15" fmla="*/ 501 h 3274"/>
                <a:gd name="T16" fmla="*/ 1516 w 4263"/>
                <a:gd name="T17" fmla="*/ 305 h 3274"/>
                <a:gd name="T18" fmla="*/ 2315 w 4263"/>
                <a:gd name="T19" fmla="*/ 189 h 3274"/>
                <a:gd name="T20" fmla="*/ 2482 w 4263"/>
                <a:gd name="T21" fmla="*/ 24 h 3274"/>
                <a:gd name="T22" fmla="*/ 3439 w 4263"/>
                <a:gd name="T23" fmla="*/ 123 h 3274"/>
                <a:gd name="T24" fmla="*/ 3439 w 4263"/>
                <a:gd name="T25" fmla="*/ 506 h 3274"/>
                <a:gd name="T26" fmla="*/ 3633 w 4263"/>
                <a:gd name="T27" fmla="*/ 527 h 3274"/>
                <a:gd name="T28" fmla="*/ 3746 w 4263"/>
                <a:gd name="T29" fmla="*/ 749 h 3274"/>
                <a:gd name="T30" fmla="*/ 3789 w 4263"/>
                <a:gd name="T31" fmla="*/ 1054 h 3274"/>
                <a:gd name="T32" fmla="*/ 3734 w 4263"/>
                <a:gd name="T33" fmla="*/ 1259 h 3274"/>
                <a:gd name="T34" fmla="*/ 3578 w 4263"/>
                <a:gd name="T35" fmla="*/ 1489 h 3274"/>
                <a:gd name="T36" fmla="*/ 3297 w 4263"/>
                <a:gd name="T37" fmla="*/ 1637 h 3274"/>
                <a:gd name="T38" fmla="*/ 3493 w 4263"/>
                <a:gd name="T39" fmla="*/ 1814 h 3274"/>
                <a:gd name="T40" fmla="*/ 3531 w 4263"/>
                <a:gd name="T41" fmla="*/ 1982 h 3274"/>
                <a:gd name="T42" fmla="*/ 3137 w 4263"/>
                <a:gd name="T43" fmla="*/ 2015 h 3274"/>
                <a:gd name="T44" fmla="*/ 3326 w 4263"/>
                <a:gd name="T45" fmla="*/ 2197 h 3274"/>
                <a:gd name="T46" fmla="*/ 2839 w 4263"/>
                <a:gd name="T47" fmla="*/ 2275 h 3274"/>
                <a:gd name="T48" fmla="*/ 2532 w 4263"/>
                <a:gd name="T49" fmla="*/ 2592 h 3274"/>
                <a:gd name="T50" fmla="*/ 2272 w 4263"/>
                <a:gd name="T51" fmla="*/ 2670 h 3274"/>
                <a:gd name="T52" fmla="*/ 2154 w 4263"/>
                <a:gd name="T53" fmla="*/ 2941 h 3274"/>
                <a:gd name="T54" fmla="*/ 2067 w 4263"/>
                <a:gd name="T55" fmla="*/ 3163 h 3274"/>
                <a:gd name="T56" fmla="*/ 1927 w 4263"/>
                <a:gd name="T57" fmla="*/ 3203 h 3274"/>
                <a:gd name="T58" fmla="*/ 1743 w 4263"/>
                <a:gd name="T59" fmla="*/ 3163 h 3274"/>
                <a:gd name="T60" fmla="*/ 1672 w 4263"/>
                <a:gd name="T61" fmla="*/ 3031 h 3274"/>
                <a:gd name="T62" fmla="*/ 1511 w 4263"/>
                <a:gd name="T63" fmla="*/ 2821 h 3274"/>
                <a:gd name="T64" fmla="*/ 1533 w 4263"/>
                <a:gd name="T65" fmla="*/ 2736 h 3274"/>
                <a:gd name="T66" fmla="*/ 1424 w 4263"/>
                <a:gd name="T67" fmla="*/ 2632 h 3274"/>
                <a:gd name="T68" fmla="*/ 1353 w 4263"/>
                <a:gd name="T69" fmla="*/ 2514 h 3274"/>
                <a:gd name="T70" fmla="*/ 1566 w 4263"/>
                <a:gd name="T71" fmla="*/ 2393 h 3274"/>
                <a:gd name="T72" fmla="*/ 1386 w 4263"/>
                <a:gd name="T73" fmla="*/ 2320 h 3274"/>
                <a:gd name="T74" fmla="*/ 2272 w 4263"/>
                <a:gd name="T75" fmla="*/ 67 h 3274"/>
                <a:gd name="T76" fmla="*/ 2298 w 4263"/>
                <a:gd name="T77" fmla="*/ 173 h 3274"/>
                <a:gd name="T78" fmla="*/ 3666 w 4263"/>
                <a:gd name="T79" fmla="*/ 267 h 3274"/>
                <a:gd name="T80" fmla="*/ 3881 w 4263"/>
                <a:gd name="T81" fmla="*/ 749 h 3274"/>
                <a:gd name="T82" fmla="*/ 3649 w 4263"/>
                <a:gd name="T83" fmla="*/ 917 h 3274"/>
                <a:gd name="T84" fmla="*/ 3881 w 4263"/>
                <a:gd name="T85" fmla="*/ 962 h 3274"/>
                <a:gd name="T86" fmla="*/ 3741 w 4263"/>
                <a:gd name="T87" fmla="*/ 1127 h 3274"/>
                <a:gd name="T88" fmla="*/ 215 w 4263"/>
                <a:gd name="T89" fmla="*/ 1184 h 3274"/>
                <a:gd name="T90" fmla="*/ 3864 w 4263"/>
                <a:gd name="T91" fmla="*/ 1337 h 3274"/>
                <a:gd name="T92" fmla="*/ 1133 w 4263"/>
                <a:gd name="T93" fmla="*/ 1460 h 3274"/>
                <a:gd name="T94" fmla="*/ 1164 w 4263"/>
                <a:gd name="T95" fmla="*/ 1600 h 3274"/>
                <a:gd name="T96" fmla="*/ 1202 w 4263"/>
                <a:gd name="T97" fmla="*/ 1633 h 3274"/>
                <a:gd name="T98" fmla="*/ 1240 w 4263"/>
                <a:gd name="T99" fmla="*/ 1687 h 3274"/>
                <a:gd name="T100" fmla="*/ 1209 w 4263"/>
                <a:gd name="T101" fmla="*/ 1703 h 3274"/>
                <a:gd name="T102" fmla="*/ 1226 w 4263"/>
                <a:gd name="T103" fmla="*/ 1838 h 3274"/>
                <a:gd name="T104" fmla="*/ 3342 w 4263"/>
                <a:gd name="T105" fmla="*/ 1933 h 3274"/>
                <a:gd name="T106" fmla="*/ 1353 w 4263"/>
                <a:gd name="T107" fmla="*/ 2143 h 3274"/>
                <a:gd name="T108" fmla="*/ 3486 w 4263"/>
                <a:gd name="T109" fmla="*/ 2126 h 3274"/>
                <a:gd name="T110" fmla="*/ 1457 w 4263"/>
                <a:gd name="T111" fmla="*/ 2308 h 3274"/>
                <a:gd name="T112" fmla="*/ 1370 w 4263"/>
                <a:gd name="T113" fmla="*/ 2476 h 3274"/>
                <a:gd name="T114" fmla="*/ 2504 w 4263"/>
                <a:gd name="T115" fmla="*/ 2599 h 3274"/>
                <a:gd name="T116" fmla="*/ 1408 w 4263"/>
                <a:gd name="T117" fmla="*/ 2641 h 3274"/>
                <a:gd name="T118" fmla="*/ 1511 w 4263"/>
                <a:gd name="T119" fmla="*/ 2764 h 3274"/>
                <a:gd name="T120" fmla="*/ 1566 w 4263"/>
                <a:gd name="T121" fmla="*/ 2903 h 3274"/>
                <a:gd name="T122" fmla="*/ 1776 w 4263"/>
                <a:gd name="T123" fmla="*/ 3163 h 3274"/>
                <a:gd name="T124" fmla="*/ 2071 w 4263"/>
                <a:gd name="T125" fmla="*/ 3258 h 3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63" h="3274">
                  <a:moveTo>
                    <a:pt x="1441" y="2308"/>
                  </a:moveTo>
                  <a:lnTo>
                    <a:pt x="1436" y="2299"/>
                  </a:lnTo>
                  <a:lnTo>
                    <a:pt x="1408" y="2299"/>
                  </a:lnTo>
                  <a:lnTo>
                    <a:pt x="1424" y="2292"/>
                  </a:lnTo>
                  <a:lnTo>
                    <a:pt x="1382" y="2299"/>
                  </a:lnTo>
                  <a:lnTo>
                    <a:pt x="1382" y="2292"/>
                  </a:lnTo>
                  <a:lnTo>
                    <a:pt x="1398" y="2292"/>
                  </a:lnTo>
                  <a:lnTo>
                    <a:pt x="1441" y="2259"/>
                  </a:lnTo>
                  <a:lnTo>
                    <a:pt x="1478" y="2259"/>
                  </a:lnTo>
                  <a:lnTo>
                    <a:pt x="1490" y="2259"/>
                  </a:lnTo>
                  <a:lnTo>
                    <a:pt x="1478" y="2259"/>
                  </a:lnTo>
                  <a:lnTo>
                    <a:pt x="1504" y="2266"/>
                  </a:lnTo>
                  <a:lnTo>
                    <a:pt x="1559" y="2254"/>
                  </a:lnTo>
                  <a:lnTo>
                    <a:pt x="1559" y="2242"/>
                  </a:lnTo>
                  <a:lnTo>
                    <a:pt x="1542" y="2237"/>
                  </a:lnTo>
                  <a:lnTo>
                    <a:pt x="1570" y="2225"/>
                  </a:lnTo>
                  <a:lnTo>
                    <a:pt x="1528" y="2237"/>
                  </a:lnTo>
                  <a:lnTo>
                    <a:pt x="1549" y="2209"/>
                  </a:lnTo>
                  <a:lnTo>
                    <a:pt x="1533" y="2209"/>
                  </a:lnTo>
                  <a:lnTo>
                    <a:pt x="1542" y="2188"/>
                  </a:lnTo>
                  <a:lnTo>
                    <a:pt x="1559" y="2188"/>
                  </a:lnTo>
                  <a:lnTo>
                    <a:pt x="1542" y="2204"/>
                  </a:lnTo>
                  <a:lnTo>
                    <a:pt x="1566" y="2197"/>
                  </a:lnTo>
                  <a:lnTo>
                    <a:pt x="1587" y="2221"/>
                  </a:lnTo>
                  <a:lnTo>
                    <a:pt x="1596" y="2209"/>
                  </a:lnTo>
                  <a:lnTo>
                    <a:pt x="1580" y="2204"/>
                  </a:lnTo>
                  <a:lnTo>
                    <a:pt x="1596" y="2197"/>
                  </a:lnTo>
                  <a:lnTo>
                    <a:pt x="1596" y="2204"/>
                  </a:lnTo>
                  <a:lnTo>
                    <a:pt x="1604" y="2209"/>
                  </a:lnTo>
                  <a:lnTo>
                    <a:pt x="1596" y="2197"/>
                  </a:lnTo>
                  <a:lnTo>
                    <a:pt x="1566" y="2188"/>
                  </a:lnTo>
                  <a:lnTo>
                    <a:pt x="1604" y="2181"/>
                  </a:lnTo>
                  <a:lnTo>
                    <a:pt x="1580" y="2181"/>
                  </a:lnTo>
                  <a:lnTo>
                    <a:pt x="1580" y="2164"/>
                  </a:lnTo>
                  <a:lnTo>
                    <a:pt x="1587" y="2164"/>
                  </a:lnTo>
                  <a:lnTo>
                    <a:pt x="1549" y="2181"/>
                  </a:lnTo>
                  <a:lnTo>
                    <a:pt x="1533" y="2181"/>
                  </a:lnTo>
                  <a:lnTo>
                    <a:pt x="1559" y="2148"/>
                  </a:lnTo>
                  <a:lnTo>
                    <a:pt x="1604" y="2143"/>
                  </a:lnTo>
                  <a:lnTo>
                    <a:pt x="1549" y="2143"/>
                  </a:lnTo>
                  <a:lnTo>
                    <a:pt x="1559" y="2126"/>
                  </a:lnTo>
                  <a:lnTo>
                    <a:pt x="1587" y="2131"/>
                  </a:lnTo>
                  <a:lnTo>
                    <a:pt x="1559" y="2114"/>
                  </a:lnTo>
                  <a:lnTo>
                    <a:pt x="1570" y="2110"/>
                  </a:lnTo>
                  <a:lnTo>
                    <a:pt x="1604" y="2110"/>
                  </a:lnTo>
                  <a:lnTo>
                    <a:pt x="1596" y="2093"/>
                  </a:lnTo>
                  <a:lnTo>
                    <a:pt x="1570" y="2086"/>
                  </a:lnTo>
                  <a:lnTo>
                    <a:pt x="1596" y="2077"/>
                  </a:lnTo>
                  <a:lnTo>
                    <a:pt x="1528" y="2086"/>
                  </a:lnTo>
                  <a:lnTo>
                    <a:pt x="1559" y="2077"/>
                  </a:lnTo>
                  <a:lnTo>
                    <a:pt x="1528" y="2070"/>
                  </a:lnTo>
                  <a:lnTo>
                    <a:pt x="1511" y="2086"/>
                  </a:lnTo>
                  <a:lnTo>
                    <a:pt x="1452" y="2070"/>
                  </a:lnTo>
                  <a:lnTo>
                    <a:pt x="1424" y="2044"/>
                  </a:lnTo>
                  <a:lnTo>
                    <a:pt x="1344" y="2032"/>
                  </a:lnTo>
                  <a:lnTo>
                    <a:pt x="1289" y="1987"/>
                  </a:lnTo>
                  <a:lnTo>
                    <a:pt x="1327" y="1966"/>
                  </a:lnTo>
                  <a:lnTo>
                    <a:pt x="1424" y="1982"/>
                  </a:lnTo>
                  <a:lnTo>
                    <a:pt x="1504" y="2020"/>
                  </a:lnTo>
                  <a:lnTo>
                    <a:pt x="1570" y="2037"/>
                  </a:lnTo>
                  <a:lnTo>
                    <a:pt x="1580" y="2032"/>
                  </a:lnTo>
                  <a:lnTo>
                    <a:pt x="1566" y="2020"/>
                  </a:lnTo>
                  <a:lnTo>
                    <a:pt x="1580" y="2015"/>
                  </a:lnTo>
                  <a:lnTo>
                    <a:pt x="1549" y="2020"/>
                  </a:lnTo>
                  <a:lnTo>
                    <a:pt x="1516" y="2003"/>
                  </a:lnTo>
                  <a:lnTo>
                    <a:pt x="1528" y="1999"/>
                  </a:lnTo>
                  <a:lnTo>
                    <a:pt x="1549" y="2015"/>
                  </a:lnTo>
                  <a:lnTo>
                    <a:pt x="1566" y="2003"/>
                  </a:lnTo>
                  <a:lnTo>
                    <a:pt x="1542" y="1999"/>
                  </a:lnTo>
                  <a:lnTo>
                    <a:pt x="1570" y="1999"/>
                  </a:lnTo>
                  <a:lnTo>
                    <a:pt x="1511" y="1982"/>
                  </a:lnTo>
                  <a:lnTo>
                    <a:pt x="1528" y="1975"/>
                  </a:lnTo>
                  <a:lnTo>
                    <a:pt x="1570" y="1982"/>
                  </a:lnTo>
                  <a:lnTo>
                    <a:pt x="1549" y="1975"/>
                  </a:lnTo>
                  <a:lnTo>
                    <a:pt x="1559" y="1966"/>
                  </a:lnTo>
                  <a:lnTo>
                    <a:pt x="1533" y="1966"/>
                  </a:lnTo>
                  <a:lnTo>
                    <a:pt x="1478" y="1942"/>
                  </a:lnTo>
                  <a:lnTo>
                    <a:pt x="1549" y="1949"/>
                  </a:lnTo>
                  <a:lnTo>
                    <a:pt x="1511" y="1942"/>
                  </a:lnTo>
                  <a:lnTo>
                    <a:pt x="1528" y="1926"/>
                  </a:lnTo>
                  <a:lnTo>
                    <a:pt x="1457" y="1933"/>
                  </a:lnTo>
                  <a:lnTo>
                    <a:pt x="1511" y="1909"/>
                  </a:lnTo>
                  <a:lnTo>
                    <a:pt x="1504" y="1904"/>
                  </a:lnTo>
                  <a:lnTo>
                    <a:pt x="1436" y="1926"/>
                  </a:lnTo>
                  <a:lnTo>
                    <a:pt x="1457" y="1909"/>
                  </a:lnTo>
                  <a:lnTo>
                    <a:pt x="1457" y="1904"/>
                  </a:lnTo>
                  <a:lnTo>
                    <a:pt x="1516" y="1888"/>
                  </a:lnTo>
                  <a:lnTo>
                    <a:pt x="1495" y="1876"/>
                  </a:lnTo>
                  <a:lnTo>
                    <a:pt x="1441" y="1892"/>
                  </a:lnTo>
                  <a:lnTo>
                    <a:pt x="1403" y="1892"/>
                  </a:lnTo>
                  <a:lnTo>
                    <a:pt x="1441" y="1871"/>
                  </a:lnTo>
                  <a:lnTo>
                    <a:pt x="1490" y="1871"/>
                  </a:lnTo>
                  <a:lnTo>
                    <a:pt x="1504" y="1855"/>
                  </a:lnTo>
                  <a:lnTo>
                    <a:pt x="1462" y="1864"/>
                  </a:lnTo>
                  <a:lnTo>
                    <a:pt x="1386" y="1855"/>
                  </a:lnTo>
                  <a:lnTo>
                    <a:pt x="1424" y="1814"/>
                  </a:lnTo>
                  <a:lnTo>
                    <a:pt x="1408" y="1822"/>
                  </a:lnTo>
                  <a:lnTo>
                    <a:pt x="1403" y="1831"/>
                  </a:lnTo>
                  <a:lnTo>
                    <a:pt x="1382" y="1838"/>
                  </a:lnTo>
                  <a:lnTo>
                    <a:pt x="1382" y="1810"/>
                  </a:lnTo>
                  <a:lnTo>
                    <a:pt x="1353" y="1798"/>
                  </a:lnTo>
                  <a:lnTo>
                    <a:pt x="1344" y="1765"/>
                  </a:lnTo>
                  <a:lnTo>
                    <a:pt x="1365" y="1765"/>
                  </a:lnTo>
                  <a:lnTo>
                    <a:pt x="1332" y="1765"/>
                  </a:lnTo>
                  <a:lnTo>
                    <a:pt x="1382" y="1831"/>
                  </a:lnTo>
                  <a:lnTo>
                    <a:pt x="1353" y="1848"/>
                  </a:lnTo>
                  <a:lnTo>
                    <a:pt x="1344" y="1848"/>
                  </a:lnTo>
                  <a:lnTo>
                    <a:pt x="1348" y="1855"/>
                  </a:lnTo>
                  <a:lnTo>
                    <a:pt x="1348" y="1864"/>
                  </a:lnTo>
                  <a:lnTo>
                    <a:pt x="1327" y="1855"/>
                  </a:lnTo>
                  <a:lnTo>
                    <a:pt x="1327" y="1864"/>
                  </a:lnTo>
                  <a:lnTo>
                    <a:pt x="1344" y="1871"/>
                  </a:lnTo>
                  <a:lnTo>
                    <a:pt x="1344" y="1888"/>
                  </a:lnTo>
                  <a:lnTo>
                    <a:pt x="1278" y="1904"/>
                  </a:lnTo>
                  <a:lnTo>
                    <a:pt x="1247" y="1876"/>
                  </a:lnTo>
                  <a:lnTo>
                    <a:pt x="1256" y="1892"/>
                  </a:lnTo>
                  <a:lnTo>
                    <a:pt x="1240" y="1892"/>
                  </a:lnTo>
                  <a:lnTo>
                    <a:pt x="1219" y="1864"/>
                  </a:lnTo>
                  <a:lnTo>
                    <a:pt x="1226" y="1864"/>
                  </a:lnTo>
                  <a:lnTo>
                    <a:pt x="1202" y="1855"/>
                  </a:lnTo>
                  <a:lnTo>
                    <a:pt x="1240" y="1831"/>
                  </a:lnTo>
                  <a:lnTo>
                    <a:pt x="1278" y="1822"/>
                  </a:lnTo>
                  <a:lnTo>
                    <a:pt x="1294" y="1810"/>
                  </a:lnTo>
                  <a:lnTo>
                    <a:pt x="1311" y="1781"/>
                  </a:lnTo>
                  <a:lnTo>
                    <a:pt x="1273" y="1822"/>
                  </a:lnTo>
                  <a:lnTo>
                    <a:pt x="1240" y="1822"/>
                  </a:lnTo>
                  <a:lnTo>
                    <a:pt x="1226" y="1814"/>
                  </a:lnTo>
                  <a:lnTo>
                    <a:pt x="1273" y="1781"/>
                  </a:lnTo>
                  <a:lnTo>
                    <a:pt x="1263" y="1765"/>
                  </a:lnTo>
                  <a:lnTo>
                    <a:pt x="1289" y="1765"/>
                  </a:lnTo>
                  <a:lnTo>
                    <a:pt x="1263" y="1760"/>
                  </a:lnTo>
                  <a:lnTo>
                    <a:pt x="1273" y="1760"/>
                  </a:lnTo>
                  <a:lnTo>
                    <a:pt x="1247" y="1765"/>
                  </a:lnTo>
                  <a:lnTo>
                    <a:pt x="1219" y="1748"/>
                  </a:lnTo>
                  <a:lnTo>
                    <a:pt x="1235" y="1744"/>
                  </a:lnTo>
                  <a:lnTo>
                    <a:pt x="1311" y="1748"/>
                  </a:lnTo>
                  <a:lnTo>
                    <a:pt x="1263" y="1744"/>
                  </a:lnTo>
                  <a:lnTo>
                    <a:pt x="1273" y="1727"/>
                  </a:lnTo>
                  <a:lnTo>
                    <a:pt x="1289" y="1727"/>
                  </a:lnTo>
                  <a:lnTo>
                    <a:pt x="1273" y="1727"/>
                  </a:lnTo>
                  <a:lnTo>
                    <a:pt x="1289" y="1711"/>
                  </a:lnTo>
                  <a:lnTo>
                    <a:pt x="1273" y="1711"/>
                  </a:lnTo>
                  <a:lnTo>
                    <a:pt x="1294" y="1703"/>
                  </a:lnTo>
                  <a:lnTo>
                    <a:pt x="1273" y="1670"/>
                  </a:lnTo>
                  <a:lnTo>
                    <a:pt x="1219" y="1666"/>
                  </a:lnTo>
                  <a:lnTo>
                    <a:pt x="1256" y="1649"/>
                  </a:lnTo>
                  <a:lnTo>
                    <a:pt x="1235" y="1637"/>
                  </a:lnTo>
                  <a:lnTo>
                    <a:pt x="1247" y="1626"/>
                  </a:lnTo>
                  <a:lnTo>
                    <a:pt x="1256" y="1626"/>
                  </a:lnTo>
                  <a:lnTo>
                    <a:pt x="1188" y="1583"/>
                  </a:lnTo>
                  <a:lnTo>
                    <a:pt x="1202" y="1583"/>
                  </a:lnTo>
                  <a:lnTo>
                    <a:pt x="1193" y="1583"/>
                  </a:lnTo>
                  <a:lnTo>
                    <a:pt x="1193" y="1571"/>
                  </a:lnTo>
                  <a:lnTo>
                    <a:pt x="1219" y="1576"/>
                  </a:lnTo>
                  <a:lnTo>
                    <a:pt x="1193" y="1559"/>
                  </a:lnTo>
                  <a:lnTo>
                    <a:pt x="1219" y="1555"/>
                  </a:lnTo>
                  <a:lnTo>
                    <a:pt x="1188" y="1538"/>
                  </a:lnTo>
                  <a:lnTo>
                    <a:pt x="1193" y="1538"/>
                  </a:lnTo>
                  <a:lnTo>
                    <a:pt x="1164" y="1526"/>
                  </a:lnTo>
                  <a:lnTo>
                    <a:pt x="1188" y="1498"/>
                  </a:lnTo>
                  <a:lnTo>
                    <a:pt x="1100" y="1522"/>
                  </a:lnTo>
                  <a:lnTo>
                    <a:pt x="1171" y="1498"/>
                  </a:lnTo>
                  <a:lnTo>
                    <a:pt x="1138" y="1489"/>
                  </a:lnTo>
                  <a:lnTo>
                    <a:pt x="1188" y="1481"/>
                  </a:lnTo>
                  <a:lnTo>
                    <a:pt x="1138" y="1472"/>
                  </a:lnTo>
                  <a:lnTo>
                    <a:pt x="1181" y="1472"/>
                  </a:lnTo>
                  <a:lnTo>
                    <a:pt x="1181" y="1460"/>
                  </a:lnTo>
                  <a:lnTo>
                    <a:pt x="1155" y="1460"/>
                  </a:lnTo>
                  <a:lnTo>
                    <a:pt x="1133" y="1444"/>
                  </a:lnTo>
                  <a:lnTo>
                    <a:pt x="1126" y="1444"/>
                  </a:lnTo>
                  <a:lnTo>
                    <a:pt x="1112" y="1427"/>
                  </a:lnTo>
                  <a:lnTo>
                    <a:pt x="1133" y="1427"/>
                  </a:lnTo>
                  <a:lnTo>
                    <a:pt x="1126" y="1411"/>
                  </a:lnTo>
                  <a:lnTo>
                    <a:pt x="1041" y="1387"/>
                  </a:lnTo>
                  <a:lnTo>
                    <a:pt x="1058" y="1370"/>
                  </a:lnTo>
                  <a:lnTo>
                    <a:pt x="1030" y="1354"/>
                  </a:lnTo>
                  <a:lnTo>
                    <a:pt x="1030" y="1337"/>
                  </a:lnTo>
                  <a:lnTo>
                    <a:pt x="1004" y="1349"/>
                  </a:lnTo>
                  <a:lnTo>
                    <a:pt x="1041" y="1333"/>
                  </a:lnTo>
                  <a:lnTo>
                    <a:pt x="1041" y="1321"/>
                  </a:lnTo>
                  <a:lnTo>
                    <a:pt x="1025" y="1316"/>
                  </a:lnTo>
                  <a:lnTo>
                    <a:pt x="1030" y="1300"/>
                  </a:lnTo>
                  <a:lnTo>
                    <a:pt x="1008" y="1300"/>
                  </a:lnTo>
                  <a:lnTo>
                    <a:pt x="1025" y="1295"/>
                  </a:lnTo>
                  <a:lnTo>
                    <a:pt x="975" y="1295"/>
                  </a:lnTo>
                  <a:lnTo>
                    <a:pt x="971" y="1283"/>
                  </a:lnTo>
                  <a:lnTo>
                    <a:pt x="971" y="1276"/>
                  </a:lnTo>
                  <a:lnTo>
                    <a:pt x="971" y="1266"/>
                  </a:lnTo>
                  <a:lnTo>
                    <a:pt x="933" y="1283"/>
                  </a:lnTo>
                  <a:lnTo>
                    <a:pt x="937" y="1259"/>
                  </a:lnTo>
                  <a:lnTo>
                    <a:pt x="878" y="1238"/>
                  </a:lnTo>
                  <a:lnTo>
                    <a:pt x="862" y="1250"/>
                  </a:lnTo>
                  <a:lnTo>
                    <a:pt x="857" y="1226"/>
                  </a:lnTo>
                  <a:lnTo>
                    <a:pt x="760" y="1222"/>
                  </a:lnTo>
                  <a:lnTo>
                    <a:pt x="756" y="1205"/>
                  </a:lnTo>
                  <a:lnTo>
                    <a:pt x="722" y="1210"/>
                  </a:lnTo>
                  <a:lnTo>
                    <a:pt x="718" y="1222"/>
                  </a:lnTo>
                  <a:lnTo>
                    <a:pt x="706" y="1205"/>
                  </a:lnTo>
                  <a:lnTo>
                    <a:pt x="680" y="1193"/>
                  </a:lnTo>
                  <a:lnTo>
                    <a:pt x="652" y="1222"/>
                  </a:lnTo>
                  <a:lnTo>
                    <a:pt x="630" y="1226"/>
                  </a:lnTo>
                  <a:lnTo>
                    <a:pt x="614" y="1222"/>
                  </a:lnTo>
                  <a:lnTo>
                    <a:pt x="626" y="1205"/>
                  </a:lnTo>
                  <a:lnTo>
                    <a:pt x="597" y="1193"/>
                  </a:lnTo>
                  <a:lnTo>
                    <a:pt x="609" y="1205"/>
                  </a:lnTo>
                  <a:lnTo>
                    <a:pt x="597" y="1222"/>
                  </a:lnTo>
                  <a:lnTo>
                    <a:pt x="588" y="1210"/>
                  </a:lnTo>
                  <a:lnTo>
                    <a:pt x="588" y="1226"/>
                  </a:lnTo>
                  <a:lnTo>
                    <a:pt x="593" y="1226"/>
                  </a:lnTo>
                  <a:lnTo>
                    <a:pt x="538" y="1226"/>
                  </a:lnTo>
                  <a:lnTo>
                    <a:pt x="538" y="1238"/>
                  </a:lnTo>
                  <a:lnTo>
                    <a:pt x="534" y="1243"/>
                  </a:lnTo>
                  <a:lnTo>
                    <a:pt x="500" y="1238"/>
                  </a:lnTo>
                  <a:lnTo>
                    <a:pt x="517" y="1222"/>
                  </a:lnTo>
                  <a:lnTo>
                    <a:pt x="508" y="1222"/>
                  </a:lnTo>
                  <a:lnTo>
                    <a:pt x="522" y="1210"/>
                  </a:lnTo>
                  <a:lnTo>
                    <a:pt x="508" y="1210"/>
                  </a:lnTo>
                  <a:lnTo>
                    <a:pt x="479" y="1205"/>
                  </a:lnTo>
                  <a:lnTo>
                    <a:pt x="463" y="1238"/>
                  </a:lnTo>
                  <a:lnTo>
                    <a:pt x="425" y="1210"/>
                  </a:lnTo>
                  <a:lnTo>
                    <a:pt x="399" y="1226"/>
                  </a:lnTo>
                  <a:lnTo>
                    <a:pt x="463" y="1259"/>
                  </a:lnTo>
                  <a:lnTo>
                    <a:pt x="311" y="1238"/>
                  </a:lnTo>
                  <a:lnTo>
                    <a:pt x="323" y="1226"/>
                  </a:lnTo>
                  <a:lnTo>
                    <a:pt x="290" y="1226"/>
                  </a:lnTo>
                  <a:lnTo>
                    <a:pt x="302" y="1222"/>
                  </a:lnTo>
                  <a:lnTo>
                    <a:pt x="236" y="1193"/>
                  </a:lnTo>
                  <a:lnTo>
                    <a:pt x="302" y="1165"/>
                  </a:lnTo>
                  <a:lnTo>
                    <a:pt x="356" y="1165"/>
                  </a:lnTo>
                  <a:lnTo>
                    <a:pt x="356" y="1148"/>
                  </a:lnTo>
                  <a:lnTo>
                    <a:pt x="269" y="1148"/>
                  </a:lnTo>
                  <a:lnTo>
                    <a:pt x="205" y="1132"/>
                  </a:lnTo>
                  <a:lnTo>
                    <a:pt x="248" y="1099"/>
                  </a:lnTo>
                  <a:lnTo>
                    <a:pt x="236" y="1099"/>
                  </a:lnTo>
                  <a:lnTo>
                    <a:pt x="177" y="1132"/>
                  </a:lnTo>
                  <a:lnTo>
                    <a:pt x="144" y="1115"/>
                  </a:lnTo>
                  <a:lnTo>
                    <a:pt x="160" y="1111"/>
                  </a:lnTo>
                  <a:lnTo>
                    <a:pt x="130" y="1111"/>
                  </a:lnTo>
                  <a:lnTo>
                    <a:pt x="113" y="1094"/>
                  </a:lnTo>
                  <a:lnTo>
                    <a:pt x="151" y="1077"/>
                  </a:lnTo>
                  <a:lnTo>
                    <a:pt x="144" y="1073"/>
                  </a:lnTo>
                  <a:lnTo>
                    <a:pt x="198" y="1061"/>
                  </a:lnTo>
                  <a:lnTo>
                    <a:pt x="463" y="1077"/>
                  </a:lnTo>
                  <a:lnTo>
                    <a:pt x="479" y="1073"/>
                  </a:lnTo>
                  <a:lnTo>
                    <a:pt x="432" y="1077"/>
                  </a:lnTo>
                  <a:lnTo>
                    <a:pt x="274" y="1061"/>
                  </a:lnTo>
                  <a:lnTo>
                    <a:pt x="378" y="1037"/>
                  </a:lnTo>
                  <a:lnTo>
                    <a:pt x="479" y="1061"/>
                  </a:lnTo>
                  <a:lnTo>
                    <a:pt x="446" y="1037"/>
                  </a:lnTo>
                  <a:lnTo>
                    <a:pt x="484" y="1021"/>
                  </a:lnTo>
                  <a:lnTo>
                    <a:pt x="470" y="1004"/>
                  </a:lnTo>
                  <a:lnTo>
                    <a:pt x="437" y="1000"/>
                  </a:lnTo>
                  <a:lnTo>
                    <a:pt x="415" y="1000"/>
                  </a:lnTo>
                  <a:lnTo>
                    <a:pt x="382" y="1021"/>
                  </a:lnTo>
                  <a:lnTo>
                    <a:pt x="328" y="1021"/>
                  </a:lnTo>
                  <a:lnTo>
                    <a:pt x="302" y="1000"/>
                  </a:lnTo>
                  <a:lnTo>
                    <a:pt x="290" y="1000"/>
                  </a:lnTo>
                  <a:lnTo>
                    <a:pt x="307" y="1021"/>
                  </a:lnTo>
                  <a:lnTo>
                    <a:pt x="257" y="1028"/>
                  </a:lnTo>
                  <a:lnTo>
                    <a:pt x="193" y="1016"/>
                  </a:lnTo>
                  <a:lnTo>
                    <a:pt x="248" y="1000"/>
                  </a:lnTo>
                  <a:lnTo>
                    <a:pt x="248" y="983"/>
                  </a:lnTo>
                  <a:lnTo>
                    <a:pt x="167" y="1000"/>
                  </a:lnTo>
                  <a:lnTo>
                    <a:pt x="215" y="971"/>
                  </a:lnTo>
                  <a:lnTo>
                    <a:pt x="122" y="983"/>
                  </a:lnTo>
                  <a:lnTo>
                    <a:pt x="113" y="983"/>
                  </a:lnTo>
                  <a:lnTo>
                    <a:pt x="130" y="966"/>
                  </a:lnTo>
                  <a:lnTo>
                    <a:pt x="75" y="966"/>
                  </a:lnTo>
                  <a:lnTo>
                    <a:pt x="42" y="945"/>
                  </a:lnTo>
                  <a:lnTo>
                    <a:pt x="54" y="945"/>
                  </a:lnTo>
                  <a:lnTo>
                    <a:pt x="0" y="917"/>
                  </a:lnTo>
                  <a:lnTo>
                    <a:pt x="37" y="905"/>
                  </a:lnTo>
                  <a:lnTo>
                    <a:pt x="16" y="893"/>
                  </a:lnTo>
                  <a:lnTo>
                    <a:pt x="30" y="877"/>
                  </a:lnTo>
                  <a:lnTo>
                    <a:pt x="30" y="872"/>
                  </a:lnTo>
                  <a:lnTo>
                    <a:pt x="30" y="860"/>
                  </a:lnTo>
                  <a:lnTo>
                    <a:pt x="97" y="851"/>
                  </a:lnTo>
                  <a:lnTo>
                    <a:pt x="151" y="851"/>
                  </a:lnTo>
                  <a:lnTo>
                    <a:pt x="160" y="839"/>
                  </a:lnTo>
                  <a:lnTo>
                    <a:pt x="269" y="806"/>
                  </a:lnTo>
                  <a:lnTo>
                    <a:pt x="302" y="815"/>
                  </a:lnTo>
                  <a:lnTo>
                    <a:pt x="269" y="799"/>
                  </a:lnTo>
                  <a:lnTo>
                    <a:pt x="328" y="778"/>
                  </a:lnTo>
                  <a:lnTo>
                    <a:pt x="371" y="782"/>
                  </a:lnTo>
                  <a:lnTo>
                    <a:pt x="382" y="766"/>
                  </a:lnTo>
                  <a:lnTo>
                    <a:pt x="491" y="778"/>
                  </a:lnTo>
                  <a:lnTo>
                    <a:pt x="576" y="704"/>
                  </a:lnTo>
                  <a:lnTo>
                    <a:pt x="555" y="655"/>
                  </a:lnTo>
                  <a:lnTo>
                    <a:pt x="559" y="638"/>
                  </a:lnTo>
                  <a:lnTo>
                    <a:pt x="555" y="629"/>
                  </a:lnTo>
                  <a:lnTo>
                    <a:pt x="647" y="600"/>
                  </a:lnTo>
                  <a:lnTo>
                    <a:pt x="626" y="600"/>
                  </a:lnTo>
                  <a:lnTo>
                    <a:pt x="614" y="584"/>
                  </a:lnTo>
                  <a:lnTo>
                    <a:pt x="609" y="600"/>
                  </a:lnTo>
                  <a:lnTo>
                    <a:pt x="571" y="617"/>
                  </a:lnTo>
                  <a:lnTo>
                    <a:pt x="415" y="617"/>
                  </a:lnTo>
                  <a:lnTo>
                    <a:pt x="408" y="600"/>
                  </a:lnTo>
                  <a:lnTo>
                    <a:pt x="382" y="596"/>
                  </a:lnTo>
                  <a:lnTo>
                    <a:pt x="394" y="572"/>
                  </a:lnTo>
                  <a:lnTo>
                    <a:pt x="437" y="555"/>
                  </a:lnTo>
                  <a:lnTo>
                    <a:pt x="437" y="539"/>
                  </a:lnTo>
                  <a:lnTo>
                    <a:pt x="522" y="518"/>
                  </a:lnTo>
                  <a:lnTo>
                    <a:pt x="517" y="506"/>
                  </a:lnTo>
                  <a:lnTo>
                    <a:pt x="555" y="501"/>
                  </a:lnTo>
                  <a:lnTo>
                    <a:pt x="559" y="489"/>
                  </a:lnTo>
                  <a:lnTo>
                    <a:pt x="559" y="485"/>
                  </a:lnTo>
                  <a:lnTo>
                    <a:pt x="588" y="473"/>
                  </a:lnTo>
                  <a:lnTo>
                    <a:pt x="576" y="461"/>
                  </a:lnTo>
                  <a:lnTo>
                    <a:pt x="652" y="433"/>
                  </a:lnTo>
                  <a:lnTo>
                    <a:pt x="668" y="444"/>
                  </a:lnTo>
                  <a:lnTo>
                    <a:pt x="680" y="466"/>
                  </a:lnTo>
                  <a:lnTo>
                    <a:pt x="718" y="501"/>
                  </a:lnTo>
                  <a:lnTo>
                    <a:pt x="722" y="501"/>
                  </a:lnTo>
                  <a:lnTo>
                    <a:pt x="685" y="466"/>
                  </a:lnTo>
                  <a:lnTo>
                    <a:pt x="680" y="433"/>
                  </a:lnTo>
                  <a:lnTo>
                    <a:pt x="718" y="416"/>
                  </a:lnTo>
                  <a:lnTo>
                    <a:pt x="803" y="449"/>
                  </a:lnTo>
                  <a:lnTo>
                    <a:pt x="841" y="444"/>
                  </a:lnTo>
                  <a:lnTo>
                    <a:pt x="848" y="433"/>
                  </a:lnTo>
                  <a:lnTo>
                    <a:pt x="824" y="395"/>
                  </a:lnTo>
                  <a:lnTo>
                    <a:pt x="862" y="374"/>
                  </a:lnTo>
                  <a:lnTo>
                    <a:pt x="810" y="333"/>
                  </a:lnTo>
                  <a:lnTo>
                    <a:pt x="857" y="305"/>
                  </a:lnTo>
                  <a:lnTo>
                    <a:pt x="911" y="300"/>
                  </a:lnTo>
                  <a:lnTo>
                    <a:pt x="992" y="305"/>
                  </a:lnTo>
                  <a:lnTo>
                    <a:pt x="1008" y="350"/>
                  </a:lnTo>
                  <a:lnTo>
                    <a:pt x="1079" y="355"/>
                  </a:lnTo>
                  <a:lnTo>
                    <a:pt x="1112" y="390"/>
                  </a:lnTo>
                  <a:lnTo>
                    <a:pt x="1155" y="407"/>
                  </a:lnTo>
                  <a:lnTo>
                    <a:pt x="1164" y="407"/>
                  </a:lnTo>
                  <a:lnTo>
                    <a:pt x="1046" y="350"/>
                  </a:lnTo>
                  <a:lnTo>
                    <a:pt x="1020" y="305"/>
                  </a:lnTo>
                  <a:lnTo>
                    <a:pt x="949" y="296"/>
                  </a:lnTo>
                  <a:lnTo>
                    <a:pt x="1155" y="244"/>
                  </a:lnTo>
                  <a:lnTo>
                    <a:pt x="1171" y="263"/>
                  </a:lnTo>
                  <a:lnTo>
                    <a:pt x="1202" y="244"/>
                  </a:lnTo>
                  <a:lnTo>
                    <a:pt x="1247" y="244"/>
                  </a:lnTo>
                  <a:lnTo>
                    <a:pt x="1240" y="251"/>
                  </a:lnTo>
                  <a:lnTo>
                    <a:pt x="1256" y="263"/>
                  </a:lnTo>
                  <a:lnTo>
                    <a:pt x="1247" y="239"/>
                  </a:lnTo>
                  <a:lnTo>
                    <a:pt x="1226" y="239"/>
                  </a:lnTo>
                  <a:lnTo>
                    <a:pt x="1301" y="222"/>
                  </a:lnTo>
                  <a:lnTo>
                    <a:pt x="1365" y="267"/>
                  </a:lnTo>
                  <a:lnTo>
                    <a:pt x="1370" y="305"/>
                  </a:lnTo>
                  <a:lnTo>
                    <a:pt x="1348" y="338"/>
                  </a:lnTo>
                  <a:lnTo>
                    <a:pt x="1348" y="362"/>
                  </a:lnTo>
                  <a:lnTo>
                    <a:pt x="1370" y="374"/>
                  </a:lnTo>
                  <a:lnTo>
                    <a:pt x="1365" y="350"/>
                  </a:lnTo>
                  <a:lnTo>
                    <a:pt x="1408" y="317"/>
                  </a:lnTo>
                  <a:lnTo>
                    <a:pt x="1403" y="284"/>
                  </a:lnTo>
                  <a:lnTo>
                    <a:pt x="1516" y="305"/>
                  </a:lnTo>
                  <a:lnTo>
                    <a:pt x="1618" y="355"/>
                  </a:lnTo>
                  <a:lnTo>
                    <a:pt x="1641" y="350"/>
                  </a:lnTo>
                  <a:lnTo>
                    <a:pt x="1542" y="300"/>
                  </a:lnTo>
                  <a:lnTo>
                    <a:pt x="1625" y="305"/>
                  </a:lnTo>
                  <a:lnTo>
                    <a:pt x="1656" y="300"/>
                  </a:lnTo>
                  <a:lnTo>
                    <a:pt x="1566" y="251"/>
                  </a:lnTo>
                  <a:lnTo>
                    <a:pt x="1533" y="194"/>
                  </a:lnTo>
                  <a:lnTo>
                    <a:pt x="1672" y="206"/>
                  </a:lnTo>
                  <a:lnTo>
                    <a:pt x="1785" y="263"/>
                  </a:lnTo>
                  <a:lnTo>
                    <a:pt x="1873" y="279"/>
                  </a:lnTo>
                  <a:lnTo>
                    <a:pt x="1894" y="284"/>
                  </a:lnTo>
                  <a:lnTo>
                    <a:pt x="1889" y="300"/>
                  </a:lnTo>
                  <a:lnTo>
                    <a:pt x="1991" y="333"/>
                  </a:lnTo>
                  <a:lnTo>
                    <a:pt x="2019" y="317"/>
                  </a:lnTo>
                  <a:lnTo>
                    <a:pt x="1982" y="300"/>
                  </a:lnTo>
                  <a:lnTo>
                    <a:pt x="2003" y="296"/>
                  </a:lnTo>
                  <a:lnTo>
                    <a:pt x="1974" y="296"/>
                  </a:lnTo>
                  <a:lnTo>
                    <a:pt x="1996" y="279"/>
                  </a:lnTo>
                  <a:lnTo>
                    <a:pt x="1982" y="251"/>
                  </a:lnTo>
                  <a:lnTo>
                    <a:pt x="1991" y="239"/>
                  </a:lnTo>
                  <a:lnTo>
                    <a:pt x="2154" y="251"/>
                  </a:lnTo>
                  <a:lnTo>
                    <a:pt x="2050" y="227"/>
                  </a:lnTo>
                  <a:lnTo>
                    <a:pt x="2045" y="222"/>
                  </a:lnTo>
                  <a:lnTo>
                    <a:pt x="2050" y="222"/>
                  </a:lnTo>
                  <a:lnTo>
                    <a:pt x="1911" y="152"/>
                  </a:lnTo>
                  <a:lnTo>
                    <a:pt x="2163" y="152"/>
                  </a:lnTo>
                  <a:lnTo>
                    <a:pt x="2175" y="156"/>
                  </a:lnTo>
                  <a:lnTo>
                    <a:pt x="2163" y="168"/>
                  </a:lnTo>
                  <a:lnTo>
                    <a:pt x="2192" y="173"/>
                  </a:lnTo>
                  <a:lnTo>
                    <a:pt x="2192" y="194"/>
                  </a:lnTo>
                  <a:lnTo>
                    <a:pt x="2196" y="206"/>
                  </a:lnTo>
                  <a:lnTo>
                    <a:pt x="2208" y="194"/>
                  </a:lnTo>
                  <a:lnTo>
                    <a:pt x="2208" y="173"/>
                  </a:lnTo>
                  <a:lnTo>
                    <a:pt x="2180" y="156"/>
                  </a:lnTo>
                  <a:lnTo>
                    <a:pt x="2208" y="156"/>
                  </a:lnTo>
                  <a:lnTo>
                    <a:pt x="2298" y="189"/>
                  </a:lnTo>
                  <a:lnTo>
                    <a:pt x="2322" y="222"/>
                  </a:lnTo>
                  <a:lnTo>
                    <a:pt x="2336" y="222"/>
                  </a:lnTo>
                  <a:lnTo>
                    <a:pt x="2315" y="189"/>
                  </a:lnTo>
                  <a:lnTo>
                    <a:pt x="2326" y="178"/>
                  </a:lnTo>
                  <a:lnTo>
                    <a:pt x="2322" y="173"/>
                  </a:lnTo>
                  <a:lnTo>
                    <a:pt x="2305" y="168"/>
                  </a:lnTo>
                  <a:lnTo>
                    <a:pt x="2159" y="135"/>
                  </a:lnTo>
                  <a:lnTo>
                    <a:pt x="1958" y="123"/>
                  </a:lnTo>
                  <a:lnTo>
                    <a:pt x="1974" y="135"/>
                  </a:lnTo>
                  <a:lnTo>
                    <a:pt x="1894" y="140"/>
                  </a:lnTo>
                  <a:lnTo>
                    <a:pt x="1835" y="116"/>
                  </a:lnTo>
                  <a:lnTo>
                    <a:pt x="1894" y="123"/>
                  </a:lnTo>
                  <a:lnTo>
                    <a:pt x="1840" y="111"/>
                  </a:lnTo>
                  <a:lnTo>
                    <a:pt x="1894" y="95"/>
                  </a:lnTo>
                  <a:lnTo>
                    <a:pt x="1958" y="123"/>
                  </a:lnTo>
                  <a:lnTo>
                    <a:pt x="2083" y="123"/>
                  </a:lnTo>
                  <a:lnTo>
                    <a:pt x="1974" y="111"/>
                  </a:lnTo>
                  <a:lnTo>
                    <a:pt x="1927" y="83"/>
                  </a:lnTo>
                  <a:lnTo>
                    <a:pt x="1937" y="83"/>
                  </a:lnTo>
                  <a:lnTo>
                    <a:pt x="2109" y="95"/>
                  </a:lnTo>
                  <a:lnTo>
                    <a:pt x="2033" y="67"/>
                  </a:lnTo>
                  <a:lnTo>
                    <a:pt x="2109" y="67"/>
                  </a:lnTo>
                  <a:lnTo>
                    <a:pt x="2083" y="67"/>
                  </a:lnTo>
                  <a:lnTo>
                    <a:pt x="2126" y="62"/>
                  </a:lnTo>
                  <a:lnTo>
                    <a:pt x="2196" y="78"/>
                  </a:lnTo>
                  <a:lnTo>
                    <a:pt x="2180" y="95"/>
                  </a:lnTo>
                  <a:lnTo>
                    <a:pt x="2208" y="83"/>
                  </a:lnTo>
                  <a:lnTo>
                    <a:pt x="2272" y="116"/>
                  </a:lnTo>
                  <a:lnTo>
                    <a:pt x="2352" y="116"/>
                  </a:lnTo>
                  <a:lnTo>
                    <a:pt x="2411" y="156"/>
                  </a:lnTo>
                  <a:lnTo>
                    <a:pt x="2423" y="140"/>
                  </a:lnTo>
                  <a:lnTo>
                    <a:pt x="2374" y="116"/>
                  </a:lnTo>
                  <a:lnTo>
                    <a:pt x="2504" y="111"/>
                  </a:lnTo>
                  <a:lnTo>
                    <a:pt x="2397" y="100"/>
                  </a:lnTo>
                  <a:lnTo>
                    <a:pt x="2537" y="83"/>
                  </a:lnTo>
                  <a:lnTo>
                    <a:pt x="2407" y="67"/>
                  </a:lnTo>
                  <a:lnTo>
                    <a:pt x="2397" y="62"/>
                  </a:lnTo>
                  <a:lnTo>
                    <a:pt x="2397" y="29"/>
                  </a:lnTo>
                  <a:lnTo>
                    <a:pt x="2466" y="45"/>
                  </a:lnTo>
                  <a:lnTo>
                    <a:pt x="2478" y="45"/>
                  </a:lnTo>
                  <a:lnTo>
                    <a:pt x="2449" y="29"/>
                  </a:lnTo>
                  <a:lnTo>
                    <a:pt x="2482" y="24"/>
                  </a:lnTo>
                  <a:lnTo>
                    <a:pt x="2570" y="45"/>
                  </a:lnTo>
                  <a:lnTo>
                    <a:pt x="2537" y="24"/>
                  </a:lnTo>
                  <a:lnTo>
                    <a:pt x="2714" y="0"/>
                  </a:lnTo>
                  <a:lnTo>
                    <a:pt x="2747" y="29"/>
                  </a:lnTo>
                  <a:lnTo>
                    <a:pt x="2752" y="24"/>
                  </a:lnTo>
                  <a:lnTo>
                    <a:pt x="2730" y="5"/>
                  </a:lnTo>
                  <a:lnTo>
                    <a:pt x="2990" y="0"/>
                  </a:lnTo>
                  <a:lnTo>
                    <a:pt x="3125" y="24"/>
                  </a:lnTo>
                  <a:lnTo>
                    <a:pt x="3092" y="24"/>
                  </a:lnTo>
                  <a:lnTo>
                    <a:pt x="3115" y="41"/>
                  </a:lnTo>
                  <a:lnTo>
                    <a:pt x="3200" y="24"/>
                  </a:lnTo>
                  <a:lnTo>
                    <a:pt x="3326" y="57"/>
                  </a:lnTo>
                  <a:lnTo>
                    <a:pt x="3233" y="83"/>
                  </a:lnTo>
                  <a:lnTo>
                    <a:pt x="3016" y="78"/>
                  </a:lnTo>
                  <a:lnTo>
                    <a:pt x="2882" y="100"/>
                  </a:lnTo>
                  <a:lnTo>
                    <a:pt x="2775" y="83"/>
                  </a:lnTo>
                  <a:lnTo>
                    <a:pt x="2844" y="100"/>
                  </a:lnTo>
                  <a:lnTo>
                    <a:pt x="2624" y="123"/>
                  </a:lnTo>
                  <a:lnTo>
                    <a:pt x="2645" y="135"/>
                  </a:lnTo>
                  <a:lnTo>
                    <a:pt x="2629" y="152"/>
                  </a:lnTo>
                  <a:lnTo>
                    <a:pt x="2638" y="156"/>
                  </a:lnTo>
                  <a:lnTo>
                    <a:pt x="2645" y="140"/>
                  </a:lnTo>
                  <a:lnTo>
                    <a:pt x="2676" y="123"/>
                  </a:lnTo>
                  <a:lnTo>
                    <a:pt x="2747" y="123"/>
                  </a:lnTo>
                  <a:lnTo>
                    <a:pt x="2752" y="140"/>
                  </a:lnTo>
                  <a:lnTo>
                    <a:pt x="2737" y="152"/>
                  </a:lnTo>
                  <a:lnTo>
                    <a:pt x="2747" y="152"/>
                  </a:lnTo>
                  <a:lnTo>
                    <a:pt x="2768" y="116"/>
                  </a:lnTo>
                  <a:lnTo>
                    <a:pt x="2877" y="111"/>
                  </a:lnTo>
                  <a:lnTo>
                    <a:pt x="2898" y="123"/>
                  </a:lnTo>
                  <a:lnTo>
                    <a:pt x="3016" y="83"/>
                  </a:lnTo>
                  <a:lnTo>
                    <a:pt x="3146" y="100"/>
                  </a:lnTo>
                  <a:lnTo>
                    <a:pt x="3352" y="78"/>
                  </a:lnTo>
                  <a:lnTo>
                    <a:pt x="3380" y="95"/>
                  </a:lnTo>
                  <a:lnTo>
                    <a:pt x="3368" y="95"/>
                  </a:lnTo>
                  <a:lnTo>
                    <a:pt x="3385" y="111"/>
                  </a:lnTo>
                  <a:lnTo>
                    <a:pt x="3352" y="140"/>
                  </a:lnTo>
                  <a:lnTo>
                    <a:pt x="3309" y="152"/>
                  </a:lnTo>
                  <a:lnTo>
                    <a:pt x="3439" y="123"/>
                  </a:lnTo>
                  <a:lnTo>
                    <a:pt x="3448" y="135"/>
                  </a:lnTo>
                  <a:lnTo>
                    <a:pt x="3439" y="135"/>
                  </a:lnTo>
                  <a:lnTo>
                    <a:pt x="3439" y="156"/>
                  </a:lnTo>
                  <a:lnTo>
                    <a:pt x="3477" y="135"/>
                  </a:lnTo>
                  <a:lnTo>
                    <a:pt x="3628" y="178"/>
                  </a:lnTo>
                  <a:lnTo>
                    <a:pt x="3545" y="227"/>
                  </a:lnTo>
                  <a:lnTo>
                    <a:pt x="3363" y="263"/>
                  </a:lnTo>
                  <a:lnTo>
                    <a:pt x="3028" y="267"/>
                  </a:lnTo>
                  <a:lnTo>
                    <a:pt x="2910" y="251"/>
                  </a:lnTo>
                  <a:lnTo>
                    <a:pt x="3023" y="267"/>
                  </a:lnTo>
                  <a:lnTo>
                    <a:pt x="2801" y="322"/>
                  </a:lnTo>
                  <a:lnTo>
                    <a:pt x="2806" y="350"/>
                  </a:lnTo>
                  <a:lnTo>
                    <a:pt x="2898" y="317"/>
                  </a:lnTo>
                  <a:lnTo>
                    <a:pt x="3040" y="300"/>
                  </a:lnTo>
                  <a:lnTo>
                    <a:pt x="3028" y="305"/>
                  </a:lnTo>
                  <a:lnTo>
                    <a:pt x="3044" y="305"/>
                  </a:lnTo>
                  <a:lnTo>
                    <a:pt x="3082" y="296"/>
                  </a:lnTo>
                  <a:lnTo>
                    <a:pt x="3352" y="296"/>
                  </a:lnTo>
                  <a:lnTo>
                    <a:pt x="3347" y="317"/>
                  </a:lnTo>
                  <a:lnTo>
                    <a:pt x="3342" y="333"/>
                  </a:lnTo>
                  <a:lnTo>
                    <a:pt x="3184" y="378"/>
                  </a:lnTo>
                  <a:lnTo>
                    <a:pt x="3217" y="390"/>
                  </a:lnTo>
                  <a:lnTo>
                    <a:pt x="3184" y="395"/>
                  </a:lnTo>
                  <a:lnTo>
                    <a:pt x="3205" y="395"/>
                  </a:lnTo>
                  <a:lnTo>
                    <a:pt x="3368" y="338"/>
                  </a:lnTo>
                  <a:lnTo>
                    <a:pt x="3422" y="338"/>
                  </a:lnTo>
                  <a:lnTo>
                    <a:pt x="3432" y="333"/>
                  </a:lnTo>
                  <a:lnTo>
                    <a:pt x="3432" y="300"/>
                  </a:lnTo>
                  <a:lnTo>
                    <a:pt x="3439" y="284"/>
                  </a:lnTo>
                  <a:lnTo>
                    <a:pt x="3557" y="279"/>
                  </a:lnTo>
                  <a:lnTo>
                    <a:pt x="3578" y="300"/>
                  </a:lnTo>
                  <a:lnTo>
                    <a:pt x="3578" y="333"/>
                  </a:lnTo>
                  <a:lnTo>
                    <a:pt x="3562" y="378"/>
                  </a:lnTo>
                  <a:lnTo>
                    <a:pt x="3541" y="407"/>
                  </a:lnTo>
                  <a:lnTo>
                    <a:pt x="3507" y="411"/>
                  </a:lnTo>
                  <a:lnTo>
                    <a:pt x="3524" y="411"/>
                  </a:lnTo>
                  <a:lnTo>
                    <a:pt x="3448" y="473"/>
                  </a:lnTo>
                  <a:lnTo>
                    <a:pt x="3456" y="489"/>
                  </a:lnTo>
                  <a:lnTo>
                    <a:pt x="3439" y="506"/>
                  </a:lnTo>
                  <a:lnTo>
                    <a:pt x="3406" y="518"/>
                  </a:lnTo>
                  <a:lnTo>
                    <a:pt x="3432" y="518"/>
                  </a:lnTo>
                  <a:lnTo>
                    <a:pt x="3401" y="539"/>
                  </a:lnTo>
                  <a:lnTo>
                    <a:pt x="3465" y="506"/>
                  </a:lnTo>
                  <a:lnTo>
                    <a:pt x="3470" y="489"/>
                  </a:lnTo>
                  <a:lnTo>
                    <a:pt x="3470" y="473"/>
                  </a:lnTo>
                  <a:lnTo>
                    <a:pt x="3524" y="461"/>
                  </a:lnTo>
                  <a:lnTo>
                    <a:pt x="3666" y="362"/>
                  </a:lnTo>
                  <a:lnTo>
                    <a:pt x="3725" y="338"/>
                  </a:lnTo>
                  <a:lnTo>
                    <a:pt x="3704" y="355"/>
                  </a:lnTo>
                  <a:lnTo>
                    <a:pt x="3692" y="378"/>
                  </a:lnTo>
                  <a:lnTo>
                    <a:pt x="3772" y="362"/>
                  </a:lnTo>
                  <a:lnTo>
                    <a:pt x="3796" y="378"/>
                  </a:lnTo>
                  <a:lnTo>
                    <a:pt x="3810" y="374"/>
                  </a:lnTo>
                  <a:lnTo>
                    <a:pt x="3855" y="378"/>
                  </a:lnTo>
                  <a:lnTo>
                    <a:pt x="3855" y="362"/>
                  </a:lnTo>
                  <a:lnTo>
                    <a:pt x="3885" y="355"/>
                  </a:lnTo>
                  <a:lnTo>
                    <a:pt x="3864" y="350"/>
                  </a:lnTo>
                  <a:lnTo>
                    <a:pt x="3871" y="333"/>
                  </a:lnTo>
                  <a:lnTo>
                    <a:pt x="3902" y="338"/>
                  </a:lnTo>
                  <a:lnTo>
                    <a:pt x="3897" y="333"/>
                  </a:lnTo>
                  <a:lnTo>
                    <a:pt x="3897" y="317"/>
                  </a:lnTo>
                  <a:lnTo>
                    <a:pt x="3935" y="317"/>
                  </a:lnTo>
                  <a:lnTo>
                    <a:pt x="3952" y="300"/>
                  </a:lnTo>
                  <a:lnTo>
                    <a:pt x="4086" y="300"/>
                  </a:lnTo>
                  <a:lnTo>
                    <a:pt x="4195" y="322"/>
                  </a:lnTo>
                  <a:lnTo>
                    <a:pt x="4263" y="355"/>
                  </a:lnTo>
                  <a:lnTo>
                    <a:pt x="4136" y="433"/>
                  </a:lnTo>
                  <a:lnTo>
                    <a:pt x="4070" y="433"/>
                  </a:lnTo>
                  <a:lnTo>
                    <a:pt x="4060" y="444"/>
                  </a:lnTo>
                  <a:lnTo>
                    <a:pt x="4098" y="466"/>
                  </a:lnTo>
                  <a:lnTo>
                    <a:pt x="4011" y="489"/>
                  </a:lnTo>
                  <a:lnTo>
                    <a:pt x="3994" y="506"/>
                  </a:lnTo>
                  <a:lnTo>
                    <a:pt x="3864" y="489"/>
                  </a:lnTo>
                  <a:lnTo>
                    <a:pt x="3855" y="506"/>
                  </a:lnTo>
                  <a:lnTo>
                    <a:pt x="3817" y="522"/>
                  </a:lnTo>
                  <a:lnTo>
                    <a:pt x="3708" y="518"/>
                  </a:lnTo>
                  <a:lnTo>
                    <a:pt x="3682" y="527"/>
                  </a:lnTo>
                  <a:lnTo>
                    <a:pt x="3633" y="527"/>
                  </a:lnTo>
                  <a:lnTo>
                    <a:pt x="3666" y="544"/>
                  </a:lnTo>
                  <a:lnTo>
                    <a:pt x="3720" y="522"/>
                  </a:lnTo>
                  <a:lnTo>
                    <a:pt x="3826" y="539"/>
                  </a:lnTo>
                  <a:lnTo>
                    <a:pt x="3897" y="522"/>
                  </a:lnTo>
                  <a:lnTo>
                    <a:pt x="3994" y="544"/>
                  </a:lnTo>
                  <a:lnTo>
                    <a:pt x="3961" y="560"/>
                  </a:lnTo>
                  <a:lnTo>
                    <a:pt x="3952" y="560"/>
                  </a:lnTo>
                  <a:lnTo>
                    <a:pt x="3956" y="572"/>
                  </a:lnTo>
                  <a:lnTo>
                    <a:pt x="3918" y="584"/>
                  </a:lnTo>
                  <a:lnTo>
                    <a:pt x="3741" y="577"/>
                  </a:lnTo>
                  <a:lnTo>
                    <a:pt x="3682" y="612"/>
                  </a:lnTo>
                  <a:lnTo>
                    <a:pt x="3692" y="612"/>
                  </a:lnTo>
                  <a:lnTo>
                    <a:pt x="3682" y="629"/>
                  </a:lnTo>
                  <a:lnTo>
                    <a:pt x="3687" y="629"/>
                  </a:lnTo>
                  <a:lnTo>
                    <a:pt x="3666" y="650"/>
                  </a:lnTo>
                  <a:lnTo>
                    <a:pt x="3687" y="650"/>
                  </a:lnTo>
                  <a:lnTo>
                    <a:pt x="3692" y="666"/>
                  </a:lnTo>
                  <a:lnTo>
                    <a:pt x="3725" y="650"/>
                  </a:lnTo>
                  <a:lnTo>
                    <a:pt x="3704" y="655"/>
                  </a:lnTo>
                  <a:lnTo>
                    <a:pt x="3704" y="650"/>
                  </a:lnTo>
                  <a:lnTo>
                    <a:pt x="3720" y="633"/>
                  </a:lnTo>
                  <a:lnTo>
                    <a:pt x="3772" y="612"/>
                  </a:lnTo>
                  <a:lnTo>
                    <a:pt x="3864" y="600"/>
                  </a:lnTo>
                  <a:lnTo>
                    <a:pt x="3897" y="617"/>
                  </a:lnTo>
                  <a:lnTo>
                    <a:pt x="3843" y="666"/>
                  </a:lnTo>
                  <a:lnTo>
                    <a:pt x="3772" y="655"/>
                  </a:lnTo>
                  <a:lnTo>
                    <a:pt x="3746" y="683"/>
                  </a:lnTo>
                  <a:lnTo>
                    <a:pt x="3746" y="695"/>
                  </a:lnTo>
                  <a:lnTo>
                    <a:pt x="3734" y="711"/>
                  </a:lnTo>
                  <a:lnTo>
                    <a:pt x="3741" y="728"/>
                  </a:lnTo>
                  <a:lnTo>
                    <a:pt x="3725" y="761"/>
                  </a:lnTo>
                  <a:lnTo>
                    <a:pt x="3746" y="740"/>
                  </a:lnTo>
                  <a:lnTo>
                    <a:pt x="3779" y="740"/>
                  </a:lnTo>
                  <a:lnTo>
                    <a:pt x="3772" y="749"/>
                  </a:lnTo>
                  <a:lnTo>
                    <a:pt x="3789" y="761"/>
                  </a:lnTo>
                  <a:lnTo>
                    <a:pt x="3763" y="761"/>
                  </a:lnTo>
                  <a:lnTo>
                    <a:pt x="3772" y="744"/>
                  </a:lnTo>
                  <a:lnTo>
                    <a:pt x="3763" y="744"/>
                  </a:lnTo>
                  <a:lnTo>
                    <a:pt x="3746" y="749"/>
                  </a:lnTo>
                  <a:lnTo>
                    <a:pt x="3746" y="766"/>
                  </a:lnTo>
                  <a:lnTo>
                    <a:pt x="3708" y="778"/>
                  </a:lnTo>
                  <a:lnTo>
                    <a:pt x="3725" y="794"/>
                  </a:lnTo>
                  <a:lnTo>
                    <a:pt x="3720" y="806"/>
                  </a:lnTo>
                  <a:lnTo>
                    <a:pt x="3633" y="815"/>
                  </a:lnTo>
                  <a:lnTo>
                    <a:pt x="3654" y="839"/>
                  </a:lnTo>
                  <a:lnTo>
                    <a:pt x="3616" y="851"/>
                  </a:lnTo>
                  <a:lnTo>
                    <a:pt x="3654" y="851"/>
                  </a:lnTo>
                  <a:lnTo>
                    <a:pt x="3628" y="905"/>
                  </a:lnTo>
                  <a:lnTo>
                    <a:pt x="3628" y="910"/>
                  </a:lnTo>
                  <a:lnTo>
                    <a:pt x="3595" y="926"/>
                  </a:lnTo>
                  <a:lnTo>
                    <a:pt x="3616" y="926"/>
                  </a:lnTo>
                  <a:lnTo>
                    <a:pt x="3595" y="945"/>
                  </a:lnTo>
                  <a:lnTo>
                    <a:pt x="3583" y="962"/>
                  </a:lnTo>
                  <a:lnTo>
                    <a:pt x="3611" y="950"/>
                  </a:lnTo>
                  <a:lnTo>
                    <a:pt x="3578" y="1000"/>
                  </a:lnTo>
                  <a:lnTo>
                    <a:pt x="3616" y="1000"/>
                  </a:lnTo>
                  <a:lnTo>
                    <a:pt x="3595" y="1016"/>
                  </a:lnTo>
                  <a:lnTo>
                    <a:pt x="3611" y="1016"/>
                  </a:lnTo>
                  <a:lnTo>
                    <a:pt x="3616" y="1004"/>
                  </a:lnTo>
                  <a:lnTo>
                    <a:pt x="3628" y="971"/>
                  </a:lnTo>
                  <a:lnTo>
                    <a:pt x="3654" y="945"/>
                  </a:lnTo>
                  <a:lnTo>
                    <a:pt x="3692" y="966"/>
                  </a:lnTo>
                  <a:lnTo>
                    <a:pt x="3772" y="983"/>
                  </a:lnTo>
                  <a:lnTo>
                    <a:pt x="3796" y="1004"/>
                  </a:lnTo>
                  <a:lnTo>
                    <a:pt x="3763" y="1016"/>
                  </a:lnTo>
                  <a:lnTo>
                    <a:pt x="3704" y="988"/>
                  </a:lnTo>
                  <a:lnTo>
                    <a:pt x="3654" y="1000"/>
                  </a:lnTo>
                  <a:lnTo>
                    <a:pt x="3704" y="1016"/>
                  </a:lnTo>
                  <a:lnTo>
                    <a:pt x="3670" y="1016"/>
                  </a:lnTo>
                  <a:lnTo>
                    <a:pt x="3692" y="1021"/>
                  </a:lnTo>
                  <a:lnTo>
                    <a:pt x="3649" y="1016"/>
                  </a:lnTo>
                  <a:lnTo>
                    <a:pt x="3720" y="1028"/>
                  </a:lnTo>
                  <a:lnTo>
                    <a:pt x="3666" y="1037"/>
                  </a:lnTo>
                  <a:lnTo>
                    <a:pt x="3741" y="1037"/>
                  </a:lnTo>
                  <a:lnTo>
                    <a:pt x="3763" y="1054"/>
                  </a:lnTo>
                  <a:lnTo>
                    <a:pt x="3758" y="1061"/>
                  </a:lnTo>
                  <a:lnTo>
                    <a:pt x="3789" y="1073"/>
                  </a:lnTo>
                  <a:lnTo>
                    <a:pt x="3789" y="1054"/>
                  </a:lnTo>
                  <a:lnTo>
                    <a:pt x="3796" y="1044"/>
                  </a:lnTo>
                  <a:lnTo>
                    <a:pt x="3833" y="1044"/>
                  </a:lnTo>
                  <a:lnTo>
                    <a:pt x="3843" y="1061"/>
                  </a:lnTo>
                  <a:lnTo>
                    <a:pt x="3848" y="1111"/>
                  </a:lnTo>
                  <a:lnTo>
                    <a:pt x="3843" y="1132"/>
                  </a:lnTo>
                  <a:lnTo>
                    <a:pt x="3826" y="1132"/>
                  </a:lnTo>
                  <a:lnTo>
                    <a:pt x="3826" y="1139"/>
                  </a:lnTo>
                  <a:lnTo>
                    <a:pt x="3796" y="1127"/>
                  </a:lnTo>
                  <a:lnTo>
                    <a:pt x="3670" y="1099"/>
                  </a:lnTo>
                  <a:lnTo>
                    <a:pt x="3649" y="1111"/>
                  </a:lnTo>
                  <a:lnTo>
                    <a:pt x="3682" y="1111"/>
                  </a:lnTo>
                  <a:lnTo>
                    <a:pt x="3595" y="1115"/>
                  </a:lnTo>
                  <a:lnTo>
                    <a:pt x="3654" y="1127"/>
                  </a:lnTo>
                  <a:lnTo>
                    <a:pt x="3628" y="1132"/>
                  </a:lnTo>
                  <a:lnTo>
                    <a:pt x="3611" y="1155"/>
                  </a:lnTo>
                  <a:lnTo>
                    <a:pt x="3562" y="1127"/>
                  </a:lnTo>
                  <a:lnTo>
                    <a:pt x="3545" y="1127"/>
                  </a:lnTo>
                  <a:lnTo>
                    <a:pt x="3545" y="1139"/>
                  </a:lnTo>
                  <a:lnTo>
                    <a:pt x="3524" y="1148"/>
                  </a:lnTo>
                  <a:lnTo>
                    <a:pt x="3557" y="1172"/>
                  </a:lnTo>
                  <a:lnTo>
                    <a:pt x="3557" y="1165"/>
                  </a:lnTo>
                  <a:lnTo>
                    <a:pt x="3562" y="1155"/>
                  </a:lnTo>
                  <a:lnTo>
                    <a:pt x="3595" y="1165"/>
                  </a:lnTo>
                  <a:lnTo>
                    <a:pt x="3600" y="1172"/>
                  </a:lnTo>
                  <a:lnTo>
                    <a:pt x="3578" y="1184"/>
                  </a:lnTo>
                  <a:lnTo>
                    <a:pt x="3600" y="1184"/>
                  </a:lnTo>
                  <a:lnTo>
                    <a:pt x="3541" y="1184"/>
                  </a:lnTo>
                  <a:lnTo>
                    <a:pt x="3611" y="1189"/>
                  </a:lnTo>
                  <a:lnTo>
                    <a:pt x="3600" y="1210"/>
                  </a:lnTo>
                  <a:lnTo>
                    <a:pt x="3637" y="1205"/>
                  </a:lnTo>
                  <a:lnTo>
                    <a:pt x="3682" y="1226"/>
                  </a:lnTo>
                  <a:lnTo>
                    <a:pt x="3687" y="1226"/>
                  </a:lnTo>
                  <a:lnTo>
                    <a:pt x="3637" y="1205"/>
                  </a:lnTo>
                  <a:lnTo>
                    <a:pt x="3734" y="1222"/>
                  </a:lnTo>
                  <a:lnTo>
                    <a:pt x="3741" y="1226"/>
                  </a:lnTo>
                  <a:lnTo>
                    <a:pt x="3741" y="1243"/>
                  </a:lnTo>
                  <a:lnTo>
                    <a:pt x="3692" y="1250"/>
                  </a:lnTo>
                  <a:lnTo>
                    <a:pt x="3578" y="1250"/>
                  </a:lnTo>
                  <a:lnTo>
                    <a:pt x="3734" y="1259"/>
                  </a:lnTo>
                  <a:lnTo>
                    <a:pt x="3746" y="1283"/>
                  </a:lnTo>
                  <a:lnTo>
                    <a:pt x="3746" y="1300"/>
                  </a:lnTo>
                  <a:lnTo>
                    <a:pt x="3763" y="1316"/>
                  </a:lnTo>
                  <a:lnTo>
                    <a:pt x="3763" y="1337"/>
                  </a:lnTo>
                  <a:lnTo>
                    <a:pt x="3758" y="1370"/>
                  </a:lnTo>
                  <a:lnTo>
                    <a:pt x="3725" y="1377"/>
                  </a:lnTo>
                  <a:lnTo>
                    <a:pt x="3720" y="1370"/>
                  </a:lnTo>
                  <a:lnTo>
                    <a:pt x="3725" y="1354"/>
                  </a:lnTo>
                  <a:lnTo>
                    <a:pt x="3708" y="1349"/>
                  </a:lnTo>
                  <a:lnTo>
                    <a:pt x="3670" y="1354"/>
                  </a:lnTo>
                  <a:lnTo>
                    <a:pt x="3616" y="1316"/>
                  </a:lnTo>
                  <a:lnTo>
                    <a:pt x="3562" y="1300"/>
                  </a:lnTo>
                  <a:lnTo>
                    <a:pt x="3616" y="1333"/>
                  </a:lnTo>
                  <a:lnTo>
                    <a:pt x="3541" y="1316"/>
                  </a:lnTo>
                  <a:lnTo>
                    <a:pt x="3616" y="1333"/>
                  </a:lnTo>
                  <a:lnTo>
                    <a:pt x="3682" y="1377"/>
                  </a:lnTo>
                  <a:lnTo>
                    <a:pt x="3633" y="1377"/>
                  </a:lnTo>
                  <a:lnTo>
                    <a:pt x="3595" y="1406"/>
                  </a:lnTo>
                  <a:lnTo>
                    <a:pt x="3545" y="1370"/>
                  </a:lnTo>
                  <a:lnTo>
                    <a:pt x="3595" y="1406"/>
                  </a:lnTo>
                  <a:lnTo>
                    <a:pt x="3637" y="1387"/>
                  </a:lnTo>
                  <a:lnTo>
                    <a:pt x="3670" y="1387"/>
                  </a:lnTo>
                  <a:lnTo>
                    <a:pt x="3666" y="1415"/>
                  </a:lnTo>
                  <a:lnTo>
                    <a:pt x="3682" y="1432"/>
                  </a:lnTo>
                  <a:lnTo>
                    <a:pt x="3637" y="1444"/>
                  </a:lnTo>
                  <a:lnTo>
                    <a:pt x="3704" y="1444"/>
                  </a:lnTo>
                  <a:lnTo>
                    <a:pt x="3734" y="1460"/>
                  </a:lnTo>
                  <a:lnTo>
                    <a:pt x="3763" y="1444"/>
                  </a:lnTo>
                  <a:lnTo>
                    <a:pt x="3772" y="1448"/>
                  </a:lnTo>
                  <a:lnTo>
                    <a:pt x="3772" y="1465"/>
                  </a:lnTo>
                  <a:lnTo>
                    <a:pt x="3789" y="1472"/>
                  </a:lnTo>
                  <a:lnTo>
                    <a:pt x="3763" y="1498"/>
                  </a:lnTo>
                  <a:lnTo>
                    <a:pt x="3741" y="1505"/>
                  </a:lnTo>
                  <a:lnTo>
                    <a:pt x="3708" y="1498"/>
                  </a:lnTo>
                  <a:lnTo>
                    <a:pt x="3692" y="1472"/>
                  </a:lnTo>
                  <a:lnTo>
                    <a:pt x="3600" y="1472"/>
                  </a:lnTo>
                  <a:lnTo>
                    <a:pt x="3574" y="1448"/>
                  </a:lnTo>
                  <a:lnTo>
                    <a:pt x="3595" y="1481"/>
                  </a:lnTo>
                  <a:lnTo>
                    <a:pt x="3578" y="1489"/>
                  </a:lnTo>
                  <a:lnTo>
                    <a:pt x="3545" y="1498"/>
                  </a:lnTo>
                  <a:lnTo>
                    <a:pt x="3574" y="1498"/>
                  </a:lnTo>
                  <a:lnTo>
                    <a:pt x="3562" y="1514"/>
                  </a:lnTo>
                  <a:lnTo>
                    <a:pt x="3562" y="1522"/>
                  </a:lnTo>
                  <a:lnTo>
                    <a:pt x="3541" y="1526"/>
                  </a:lnTo>
                  <a:lnTo>
                    <a:pt x="3578" y="1538"/>
                  </a:lnTo>
                  <a:lnTo>
                    <a:pt x="3595" y="1559"/>
                  </a:lnTo>
                  <a:lnTo>
                    <a:pt x="3595" y="1583"/>
                  </a:lnTo>
                  <a:lnTo>
                    <a:pt x="3600" y="1576"/>
                  </a:lnTo>
                  <a:lnTo>
                    <a:pt x="3583" y="1538"/>
                  </a:lnTo>
                  <a:lnTo>
                    <a:pt x="3595" y="1526"/>
                  </a:lnTo>
                  <a:lnTo>
                    <a:pt x="3704" y="1555"/>
                  </a:lnTo>
                  <a:lnTo>
                    <a:pt x="3704" y="1571"/>
                  </a:lnTo>
                  <a:lnTo>
                    <a:pt x="3682" y="1576"/>
                  </a:lnTo>
                  <a:lnTo>
                    <a:pt x="3687" y="1583"/>
                  </a:lnTo>
                  <a:lnTo>
                    <a:pt x="3682" y="1600"/>
                  </a:lnTo>
                  <a:lnTo>
                    <a:pt x="3692" y="1600"/>
                  </a:lnTo>
                  <a:lnTo>
                    <a:pt x="3687" y="1616"/>
                  </a:lnTo>
                  <a:lnTo>
                    <a:pt x="3611" y="1609"/>
                  </a:lnTo>
                  <a:lnTo>
                    <a:pt x="3600" y="1626"/>
                  </a:lnTo>
                  <a:lnTo>
                    <a:pt x="3557" y="1637"/>
                  </a:lnTo>
                  <a:lnTo>
                    <a:pt x="3470" y="1616"/>
                  </a:lnTo>
                  <a:lnTo>
                    <a:pt x="3439" y="1592"/>
                  </a:lnTo>
                  <a:lnTo>
                    <a:pt x="3439" y="1576"/>
                  </a:lnTo>
                  <a:lnTo>
                    <a:pt x="3470" y="1576"/>
                  </a:lnTo>
                  <a:lnTo>
                    <a:pt x="3531" y="1600"/>
                  </a:lnTo>
                  <a:lnTo>
                    <a:pt x="3562" y="1592"/>
                  </a:lnTo>
                  <a:lnTo>
                    <a:pt x="3524" y="1600"/>
                  </a:lnTo>
                  <a:lnTo>
                    <a:pt x="3432" y="1559"/>
                  </a:lnTo>
                  <a:lnTo>
                    <a:pt x="3406" y="1576"/>
                  </a:lnTo>
                  <a:lnTo>
                    <a:pt x="3406" y="1600"/>
                  </a:lnTo>
                  <a:lnTo>
                    <a:pt x="3368" y="1592"/>
                  </a:lnTo>
                  <a:lnTo>
                    <a:pt x="3368" y="1576"/>
                  </a:lnTo>
                  <a:lnTo>
                    <a:pt x="3314" y="1543"/>
                  </a:lnTo>
                  <a:lnTo>
                    <a:pt x="3330" y="1571"/>
                  </a:lnTo>
                  <a:lnTo>
                    <a:pt x="3394" y="1609"/>
                  </a:lnTo>
                  <a:lnTo>
                    <a:pt x="3347" y="1616"/>
                  </a:lnTo>
                  <a:lnTo>
                    <a:pt x="3314" y="1637"/>
                  </a:lnTo>
                  <a:lnTo>
                    <a:pt x="3297" y="1637"/>
                  </a:lnTo>
                  <a:lnTo>
                    <a:pt x="3238" y="1633"/>
                  </a:lnTo>
                  <a:lnTo>
                    <a:pt x="3200" y="1609"/>
                  </a:lnTo>
                  <a:lnTo>
                    <a:pt x="3191" y="1616"/>
                  </a:lnTo>
                  <a:lnTo>
                    <a:pt x="3271" y="1637"/>
                  </a:lnTo>
                  <a:lnTo>
                    <a:pt x="3243" y="1654"/>
                  </a:lnTo>
                  <a:lnTo>
                    <a:pt x="3222" y="1649"/>
                  </a:lnTo>
                  <a:lnTo>
                    <a:pt x="3179" y="1654"/>
                  </a:lnTo>
                  <a:lnTo>
                    <a:pt x="3200" y="1666"/>
                  </a:lnTo>
                  <a:lnTo>
                    <a:pt x="3200" y="1682"/>
                  </a:lnTo>
                  <a:lnTo>
                    <a:pt x="3191" y="1687"/>
                  </a:lnTo>
                  <a:lnTo>
                    <a:pt x="3205" y="1682"/>
                  </a:lnTo>
                  <a:lnTo>
                    <a:pt x="3205" y="1666"/>
                  </a:lnTo>
                  <a:lnTo>
                    <a:pt x="3255" y="1666"/>
                  </a:lnTo>
                  <a:lnTo>
                    <a:pt x="3271" y="1649"/>
                  </a:lnTo>
                  <a:lnTo>
                    <a:pt x="3363" y="1666"/>
                  </a:lnTo>
                  <a:lnTo>
                    <a:pt x="3368" y="1682"/>
                  </a:lnTo>
                  <a:lnTo>
                    <a:pt x="3352" y="1687"/>
                  </a:lnTo>
                  <a:lnTo>
                    <a:pt x="3314" y="1687"/>
                  </a:lnTo>
                  <a:lnTo>
                    <a:pt x="3293" y="1703"/>
                  </a:lnTo>
                  <a:lnTo>
                    <a:pt x="3243" y="1694"/>
                  </a:lnTo>
                  <a:lnTo>
                    <a:pt x="3200" y="1694"/>
                  </a:lnTo>
                  <a:lnTo>
                    <a:pt x="3271" y="1711"/>
                  </a:lnTo>
                  <a:lnTo>
                    <a:pt x="3243" y="1720"/>
                  </a:lnTo>
                  <a:lnTo>
                    <a:pt x="3276" y="1711"/>
                  </a:lnTo>
                  <a:lnTo>
                    <a:pt x="3259" y="1737"/>
                  </a:lnTo>
                  <a:lnTo>
                    <a:pt x="3330" y="1703"/>
                  </a:lnTo>
                  <a:lnTo>
                    <a:pt x="3380" y="1711"/>
                  </a:lnTo>
                  <a:lnTo>
                    <a:pt x="3385" y="1720"/>
                  </a:lnTo>
                  <a:lnTo>
                    <a:pt x="3385" y="1737"/>
                  </a:lnTo>
                  <a:lnTo>
                    <a:pt x="3394" y="1744"/>
                  </a:lnTo>
                  <a:lnTo>
                    <a:pt x="3297" y="1760"/>
                  </a:lnTo>
                  <a:lnTo>
                    <a:pt x="3347" y="1760"/>
                  </a:lnTo>
                  <a:lnTo>
                    <a:pt x="3330" y="1798"/>
                  </a:lnTo>
                  <a:lnTo>
                    <a:pt x="3342" y="1793"/>
                  </a:lnTo>
                  <a:lnTo>
                    <a:pt x="3342" y="1777"/>
                  </a:lnTo>
                  <a:lnTo>
                    <a:pt x="3352" y="1765"/>
                  </a:lnTo>
                  <a:lnTo>
                    <a:pt x="3394" y="1760"/>
                  </a:lnTo>
                  <a:lnTo>
                    <a:pt x="3503" y="1810"/>
                  </a:lnTo>
                  <a:lnTo>
                    <a:pt x="3493" y="1814"/>
                  </a:lnTo>
                  <a:lnTo>
                    <a:pt x="3541" y="1831"/>
                  </a:lnTo>
                  <a:lnTo>
                    <a:pt x="3503" y="1864"/>
                  </a:lnTo>
                  <a:lnTo>
                    <a:pt x="3545" y="1838"/>
                  </a:lnTo>
                  <a:lnTo>
                    <a:pt x="3531" y="1864"/>
                  </a:lnTo>
                  <a:lnTo>
                    <a:pt x="3531" y="1871"/>
                  </a:lnTo>
                  <a:lnTo>
                    <a:pt x="3562" y="1848"/>
                  </a:lnTo>
                  <a:lnTo>
                    <a:pt x="3583" y="1848"/>
                  </a:lnTo>
                  <a:lnTo>
                    <a:pt x="3562" y="1864"/>
                  </a:lnTo>
                  <a:lnTo>
                    <a:pt x="3574" y="1871"/>
                  </a:lnTo>
                  <a:lnTo>
                    <a:pt x="3541" y="1871"/>
                  </a:lnTo>
                  <a:lnTo>
                    <a:pt x="3545" y="1909"/>
                  </a:lnTo>
                  <a:lnTo>
                    <a:pt x="3557" y="1909"/>
                  </a:lnTo>
                  <a:lnTo>
                    <a:pt x="3557" y="1888"/>
                  </a:lnTo>
                  <a:lnTo>
                    <a:pt x="3595" y="1876"/>
                  </a:lnTo>
                  <a:lnTo>
                    <a:pt x="3600" y="1892"/>
                  </a:lnTo>
                  <a:lnTo>
                    <a:pt x="3595" y="1904"/>
                  </a:lnTo>
                  <a:lnTo>
                    <a:pt x="3611" y="1904"/>
                  </a:lnTo>
                  <a:lnTo>
                    <a:pt x="3578" y="1909"/>
                  </a:lnTo>
                  <a:lnTo>
                    <a:pt x="3595" y="1909"/>
                  </a:lnTo>
                  <a:lnTo>
                    <a:pt x="3600" y="1926"/>
                  </a:lnTo>
                  <a:lnTo>
                    <a:pt x="3557" y="1942"/>
                  </a:lnTo>
                  <a:lnTo>
                    <a:pt x="3600" y="1933"/>
                  </a:lnTo>
                  <a:lnTo>
                    <a:pt x="3611" y="1949"/>
                  </a:lnTo>
                  <a:lnTo>
                    <a:pt x="3600" y="1975"/>
                  </a:lnTo>
                  <a:lnTo>
                    <a:pt x="3583" y="1975"/>
                  </a:lnTo>
                  <a:lnTo>
                    <a:pt x="3600" y="1975"/>
                  </a:lnTo>
                  <a:lnTo>
                    <a:pt x="3611" y="1982"/>
                  </a:lnTo>
                  <a:lnTo>
                    <a:pt x="3595" y="1982"/>
                  </a:lnTo>
                  <a:lnTo>
                    <a:pt x="3600" y="1987"/>
                  </a:lnTo>
                  <a:lnTo>
                    <a:pt x="3595" y="2003"/>
                  </a:lnTo>
                  <a:lnTo>
                    <a:pt x="3616" y="2003"/>
                  </a:lnTo>
                  <a:lnTo>
                    <a:pt x="3578" y="2032"/>
                  </a:lnTo>
                  <a:lnTo>
                    <a:pt x="3583" y="2015"/>
                  </a:lnTo>
                  <a:lnTo>
                    <a:pt x="3578" y="2015"/>
                  </a:lnTo>
                  <a:lnTo>
                    <a:pt x="3557" y="2020"/>
                  </a:lnTo>
                  <a:lnTo>
                    <a:pt x="3545" y="1987"/>
                  </a:lnTo>
                  <a:lnTo>
                    <a:pt x="3545" y="1966"/>
                  </a:lnTo>
                  <a:lnTo>
                    <a:pt x="3541" y="1966"/>
                  </a:lnTo>
                  <a:lnTo>
                    <a:pt x="3531" y="1982"/>
                  </a:lnTo>
                  <a:lnTo>
                    <a:pt x="3541" y="2003"/>
                  </a:lnTo>
                  <a:lnTo>
                    <a:pt x="3531" y="2020"/>
                  </a:lnTo>
                  <a:lnTo>
                    <a:pt x="3486" y="2020"/>
                  </a:lnTo>
                  <a:lnTo>
                    <a:pt x="3439" y="1987"/>
                  </a:lnTo>
                  <a:lnTo>
                    <a:pt x="3422" y="1975"/>
                  </a:lnTo>
                  <a:lnTo>
                    <a:pt x="3422" y="1942"/>
                  </a:lnTo>
                  <a:lnTo>
                    <a:pt x="3385" y="1904"/>
                  </a:lnTo>
                  <a:lnTo>
                    <a:pt x="3363" y="1909"/>
                  </a:lnTo>
                  <a:lnTo>
                    <a:pt x="3326" y="1876"/>
                  </a:lnTo>
                  <a:lnTo>
                    <a:pt x="3233" y="1871"/>
                  </a:lnTo>
                  <a:lnTo>
                    <a:pt x="3179" y="1822"/>
                  </a:lnTo>
                  <a:lnTo>
                    <a:pt x="3115" y="1798"/>
                  </a:lnTo>
                  <a:lnTo>
                    <a:pt x="3108" y="1798"/>
                  </a:lnTo>
                  <a:lnTo>
                    <a:pt x="3130" y="1814"/>
                  </a:lnTo>
                  <a:lnTo>
                    <a:pt x="3125" y="1822"/>
                  </a:lnTo>
                  <a:lnTo>
                    <a:pt x="3167" y="1831"/>
                  </a:lnTo>
                  <a:lnTo>
                    <a:pt x="3205" y="1855"/>
                  </a:lnTo>
                  <a:lnTo>
                    <a:pt x="3200" y="1864"/>
                  </a:lnTo>
                  <a:lnTo>
                    <a:pt x="3125" y="1871"/>
                  </a:lnTo>
                  <a:lnTo>
                    <a:pt x="3200" y="1871"/>
                  </a:lnTo>
                  <a:lnTo>
                    <a:pt x="3217" y="1871"/>
                  </a:lnTo>
                  <a:lnTo>
                    <a:pt x="3205" y="1876"/>
                  </a:lnTo>
                  <a:lnTo>
                    <a:pt x="3205" y="1888"/>
                  </a:lnTo>
                  <a:lnTo>
                    <a:pt x="3309" y="1876"/>
                  </a:lnTo>
                  <a:lnTo>
                    <a:pt x="3342" y="1904"/>
                  </a:lnTo>
                  <a:lnTo>
                    <a:pt x="3330" y="1921"/>
                  </a:lnTo>
                  <a:lnTo>
                    <a:pt x="3314" y="1909"/>
                  </a:lnTo>
                  <a:lnTo>
                    <a:pt x="3326" y="1926"/>
                  </a:lnTo>
                  <a:lnTo>
                    <a:pt x="3259" y="1949"/>
                  </a:lnTo>
                  <a:lnTo>
                    <a:pt x="3191" y="1959"/>
                  </a:lnTo>
                  <a:lnTo>
                    <a:pt x="3167" y="1926"/>
                  </a:lnTo>
                  <a:lnTo>
                    <a:pt x="3163" y="1926"/>
                  </a:lnTo>
                  <a:lnTo>
                    <a:pt x="3184" y="1949"/>
                  </a:lnTo>
                  <a:lnTo>
                    <a:pt x="3130" y="1949"/>
                  </a:lnTo>
                  <a:lnTo>
                    <a:pt x="3163" y="1966"/>
                  </a:lnTo>
                  <a:lnTo>
                    <a:pt x="3137" y="2003"/>
                  </a:lnTo>
                  <a:lnTo>
                    <a:pt x="3070" y="2015"/>
                  </a:lnTo>
                  <a:lnTo>
                    <a:pt x="3070" y="2032"/>
                  </a:lnTo>
                  <a:lnTo>
                    <a:pt x="3137" y="2015"/>
                  </a:lnTo>
                  <a:lnTo>
                    <a:pt x="3130" y="2020"/>
                  </a:lnTo>
                  <a:lnTo>
                    <a:pt x="3137" y="2032"/>
                  </a:lnTo>
                  <a:lnTo>
                    <a:pt x="3243" y="2015"/>
                  </a:lnTo>
                  <a:lnTo>
                    <a:pt x="3276" y="2032"/>
                  </a:lnTo>
                  <a:lnTo>
                    <a:pt x="3243" y="2037"/>
                  </a:lnTo>
                  <a:lnTo>
                    <a:pt x="3233" y="2037"/>
                  </a:lnTo>
                  <a:lnTo>
                    <a:pt x="3167" y="2070"/>
                  </a:lnTo>
                  <a:lnTo>
                    <a:pt x="3115" y="2060"/>
                  </a:lnTo>
                  <a:lnTo>
                    <a:pt x="3125" y="2070"/>
                  </a:lnTo>
                  <a:lnTo>
                    <a:pt x="3191" y="2070"/>
                  </a:lnTo>
                  <a:lnTo>
                    <a:pt x="3191" y="2086"/>
                  </a:lnTo>
                  <a:lnTo>
                    <a:pt x="3200" y="2086"/>
                  </a:lnTo>
                  <a:lnTo>
                    <a:pt x="3217" y="2053"/>
                  </a:lnTo>
                  <a:lnTo>
                    <a:pt x="3233" y="2044"/>
                  </a:lnTo>
                  <a:lnTo>
                    <a:pt x="3276" y="2053"/>
                  </a:lnTo>
                  <a:lnTo>
                    <a:pt x="3352" y="2020"/>
                  </a:lnTo>
                  <a:lnTo>
                    <a:pt x="3347" y="2037"/>
                  </a:lnTo>
                  <a:lnTo>
                    <a:pt x="3363" y="2032"/>
                  </a:lnTo>
                  <a:lnTo>
                    <a:pt x="3470" y="2060"/>
                  </a:lnTo>
                  <a:lnTo>
                    <a:pt x="3574" y="2060"/>
                  </a:lnTo>
                  <a:lnTo>
                    <a:pt x="3557" y="2077"/>
                  </a:lnTo>
                  <a:lnTo>
                    <a:pt x="3486" y="2093"/>
                  </a:lnTo>
                  <a:lnTo>
                    <a:pt x="3519" y="2098"/>
                  </a:lnTo>
                  <a:lnTo>
                    <a:pt x="3507" y="2110"/>
                  </a:lnTo>
                  <a:lnTo>
                    <a:pt x="3486" y="2093"/>
                  </a:lnTo>
                  <a:lnTo>
                    <a:pt x="3493" y="2110"/>
                  </a:lnTo>
                  <a:lnTo>
                    <a:pt x="3439" y="2110"/>
                  </a:lnTo>
                  <a:lnTo>
                    <a:pt x="3470" y="2126"/>
                  </a:lnTo>
                  <a:lnTo>
                    <a:pt x="3448" y="2143"/>
                  </a:lnTo>
                  <a:lnTo>
                    <a:pt x="3418" y="2126"/>
                  </a:lnTo>
                  <a:lnTo>
                    <a:pt x="3432" y="2143"/>
                  </a:lnTo>
                  <a:lnTo>
                    <a:pt x="3406" y="2155"/>
                  </a:lnTo>
                  <a:lnTo>
                    <a:pt x="3394" y="2155"/>
                  </a:lnTo>
                  <a:lnTo>
                    <a:pt x="3394" y="2171"/>
                  </a:lnTo>
                  <a:lnTo>
                    <a:pt x="3352" y="2171"/>
                  </a:lnTo>
                  <a:lnTo>
                    <a:pt x="3347" y="2171"/>
                  </a:lnTo>
                  <a:lnTo>
                    <a:pt x="3368" y="2188"/>
                  </a:lnTo>
                  <a:lnTo>
                    <a:pt x="3347" y="2204"/>
                  </a:lnTo>
                  <a:lnTo>
                    <a:pt x="3326" y="2197"/>
                  </a:lnTo>
                  <a:lnTo>
                    <a:pt x="3342" y="2209"/>
                  </a:lnTo>
                  <a:lnTo>
                    <a:pt x="3314" y="2209"/>
                  </a:lnTo>
                  <a:lnTo>
                    <a:pt x="3326" y="2221"/>
                  </a:lnTo>
                  <a:lnTo>
                    <a:pt x="3271" y="2242"/>
                  </a:lnTo>
                  <a:lnTo>
                    <a:pt x="3200" y="2259"/>
                  </a:lnTo>
                  <a:lnTo>
                    <a:pt x="3205" y="2259"/>
                  </a:lnTo>
                  <a:lnTo>
                    <a:pt x="3184" y="2259"/>
                  </a:lnTo>
                  <a:lnTo>
                    <a:pt x="3179" y="2266"/>
                  </a:lnTo>
                  <a:lnTo>
                    <a:pt x="3184" y="2266"/>
                  </a:lnTo>
                  <a:lnTo>
                    <a:pt x="3153" y="2259"/>
                  </a:lnTo>
                  <a:lnTo>
                    <a:pt x="3153" y="2275"/>
                  </a:lnTo>
                  <a:lnTo>
                    <a:pt x="3125" y="2275"/>
                  </a:lnTo>
                  <a:lnTo>
                    <a:pt x="3099" y="2292"/>
                  </a:lnTo>
                  <a:lnTo>
                    <a:pt x="3078" y="2282"/>
                  </a:lnTo>
                  <a:lnTo>
                    <a:pt x="3078" y="2292"/>
                  </a:lnTo>
                  <a:lnTo>
                    <a:pt x="3061" y="2292"/>
                  </a:lnTo>
                  <a:lnTo>
                    <a:pt x="3061" y="2308"/>
                  </a:lnTo>
                  <a:lnTo>
                    <a:pt x="3028" y="2292"/>
                  </a:lnTo>
                  <a:lnTo>
                    <a:pt x="3028" y="2275"/>
                  </a:lnTo>
                  <a:lnTo>
                    <a:pt x="3002" y="2299"/>
                  </a:lnTo>
                  <a:lnTo>
                    <a:pt x="3016" y="2315"/>
                  </a:lnTo>
                  <a:lnTo>
                    <a:pt x="2990" y="2315"/>
                  </a:lnTo>
                  <a:lnTo>
                    <a:pt x="2990" y="2308"/>
                  </a:lnTo>
                  <a:lnTo>
                    <a:pt x="2969" y="2299"/>
                  </a:lnTo>
                  <a:lnTo>
                    <a:pt x="2964" y="2299"/>
                  </a:lnTo>
                  <a:lnTo>
                    <a:pt x="2985" y="2308"/>
                  </a:lnTo>
                  <a:lnTo>
                    <a:pt x="2985" y="2320"/>
                  </a:lnTo>
                  <a:lnTo>
                    <a:pt x="2948" y="2320"/>
                  </a:lnTo>
                  <a:lnTo>
                    <a:pt x="2915" y="2315"/>
                  </a:lnTo>
                  <a:lnTo>
                    <a:pt x="2919" y="2308"/>
                  </a:lnTo>
                  <a:lnTo>
                    <a:pt x="2910" y="2320"/>
                  </a:lnTo>
                  <a:lnTo>
                    <a:pt x="2898" y="2315"/>
                  </a:lnTo>
                  <a:lnTo>
                    <a:pt x="2893" y="2308"/>
                  </a:lnTo>
                  <a:lnTo>
                    <a:pt x="2910" y="2299"/>
                  </a:lnTo>
                  <a:lnTo>
                    <a:pt x="2877" y="2299"/>
                  </a:lnTo>
                  <a:lnTo>
                    <a:pt x="2844" y="2254"/>
                  </a:lnTo>
                  <a:lnTo>
                    <a:pt x="2844" y="2266"/>
                  </a:lnTo>
                  <a:lnTo>
                    <a:pt x="2839" y="2266"/>
                  </a:lnTo>
                  <a:lnTo>
                    <a:pt x="2839" y="2275"/>
                  </a:lnTo>
                  <a:lnTo>
                    <a:pt x="2860" y="2292"/>
                  </a:lnTo>
                  <a:lnTo>
                    <a:pt x="2865" y="2308"/>
                  </a:lnTo>
                  <a:lnTo>
                    <a:pt x="2844" y="2308"/>
                  </a:lnTo>
                  <a:lnTo>
                    <a:pt x="2877" y="2315"/>
                  </a:lnTo>
                  <a:lnTo>
                    <a:pt x="2865" y="2348"/>
                  </a:lnTo>
                  <a:lnTo>
                    <a:pt x="2839" y="2348"/>
                  </a:lnTo>
                  <a:lnTo>
                    <a:pt x="2822" y="2365"/>
                  </a:lnTo>
                  <a:lnTo>
                    <a:pt x="2789" y="2370"/>
                  </a:lnTo>
                  <a:lnTo>
                    <a:pt x="2806" y="2377"/>
                  </a:lnTo>
                  <a:lnTo>
                    <a:pt x="2789" y="2386"/>
                  </a:lnTo>
                  <a:lnTo>
                    <a:pt x="2789" y="2403"/>
                  </a:lnTo>
                  <a:lnTo>
                    <a:pt x="2768" y="2410"/>
                  </a:lnTo>
                  <a:lnTo>
                    <a:pt x="2785" y="2426"/>
                  </a:lnTo>
                  <a:lnTo>
                    <a:pt x="2752" y="2459"/>
                  </a:lnTo>
                  <a:lnTo>
                    <a:pt x="2737" y="2448"/>
                  </a:lnTo>
                  <a:lnTo>
                    <a:pt x="2730" y="2481"/>
                  </a:lnTo>
                  <a:lnTo>
                    <a:pt x="2714" y="2504"/>
                  </a:lnTo>
                  <a:lnTo>
                    <a:pt x="2704" y="2497"/>
                  </a:lnTo>
                  <a:lnTo>
                    <a:pt x="2704" y="2481"/>
                  </a:lnTo>
                  <a:lnTo>
                    <a:pt x="2704" y="2497"/>
                  </a:lnTo>
                  <a:lnTo>
                    <a:pt x="2704" y="2504"/>
                  </a:lnTo>
                  <a:lnTo>
                    <a:pt x="2683" y="2530"/>
                  </a:lnTo>
                  <a:lnTo>
                    <a:pt x="2667" y="2537"/>
                  </a:lnTo>
                  <a:lnTo>
                    <a:pt x="2662" y="2530"/>
                  </a:lnTo>
                  <a:lnTo>
                    <a:pt x="2662" y="2521"/>
                  </a:lnTo>
                  <a:lnTo>
                    <a:pt x="2650" y="2537"/>
                  </a:lnTo>
                  <a:lnTo>
                    <a:pt x="2662" y="2542"/>
                  </a:lnTo>
                  <a:lnTo>
                    <a:pt x="2650" y="2542"/>
                  </a:lnTo>
                  <a:lnTo>
                    <a:pt x="2607" y="2521"/>
                  </a:lnTo>
                  <a:lnTo>
                    <a:pt x="2629" y="2542"/>
                  </a:lnTo>
                  <a:lnTo>
                    <a:pt x="2624" y="2542"/>
                  </a:lnTo>
                  <a:lnTo>
                    <a:pt x="2624" y="2559"/>
                  </a:lnTo>
                  <a:lnTo>
                    <a:pt x="2574" y="2587"/>
                  </a:lnTo>
                  <a:lnTo>
                    <a:pt x="2570" y="2575"/>
                  </a:lnTo>
                  <a:lnTo>
                    <a:pt x="2574" y="2559"/>
                  </a:lnTo>
                  <a:lnTo>
                    <a:pt x="2558" y="2559"/>
                  </a:lnTo>
                  <a:lnTo>
                    <a:pt x="2558" y="2570"/>
                  </a:lnTo>
                  <a:lnTo>
                    <a:pt x="2558" y="2575"/>
                  </a:lnTo>
                  <a:lnTo>
                    <a:pt x="2532" y="2592"/>
                  </a:lnTo>
                  <a:lnTo>
                    <a:pt x="2520" y="2575"/>
                  </a:lnTo>
                  <a:lnTo>
                    <a:pt x="2520" y="2570"/>
                  </a:lnTo>
                  <a:lnTo>
                    <a:pt x="2515" y="2570"/>
                  </a:lnTo>
                  <a:lnTo>
                    <a:pt x="2520" y="2592"/>
                  </a:lnTo>
                  <a:lnTo>
                    <a:pt x="2515" y="2599"/>
                  </a:lnTo>
                  <a:lnTo>
                    <a:pt x="2478" y="2587"/>
                  </a:lnTo>
                  <a:lnTo>
                    <a:pt x="2466" y="2570"/>
                  </a:lnTo>
                  <a:lnTo>
                    <a:pt x="2515" y="2530"/>
                  </a:lnTo>
                  <a:lnTo>
                    <a:pt x="2449" y="2530"/>
                  </a:lnTo>
                  <a:lnTo>
                    <a:pt x="2445" y="2530"/>
                  </a:lnTo>
                  <a:lnTo>
                    <a:pt x="2478" y="2542"/>
                  </a:lnTo>
                  <a:lnTo>
                    <a:pt x="2461" y="2542"/>
                  </a:lnTo>
                  <a:lnTo>
                    <a:pt x="2466" y="2554"/>
                  </a:lnTo>
                  <a:lnTo>
                    <a:pt x="2449" y="2559"/>
                  </a:lnTo>
                  <a:lnTo>
                    <a:pt x="2461" y="2575"/>
                  </a:lnTo>
                  <a:lnTo>
                    <a:pt x="2449" y="2587"/>
                  </a:lnTo>
                  <a:lnTo>
                    <a:pt x="2445" y="2575"/>
                  </a:lnTo>
                  <a:lnTo>
                    <a:pt x="2445" y="2587"/>
                  </a:lnTo>
                  <a:lnTo>
                    <a:pt x="2435" y="2587"/>
                  </a:lnTo>
                  <a:lnTo>
                    <a:pt x="2423" y="2570"/>
                  </a:lnTo>
                  <a:lnTo>
                    <a:pt x="2423" y="2587"/>
                  </a:lnTo>
                  <a:lnTo>
                    <a:pt x="2449" y="2592"/>
                  </a:lnTo>
                  <a:lnTo>
                    <a:pt x="2435" y="2615"/>
                  </a:lnTo>
                  <a:lnTo>
                    <a:pt x="2407" y="2608"/>
                  </a:lnTo>
                  <a:lnTo>
                    <a:pt x="2411" y="2625"/>
                  </a:lnTo>
                  <a:lnTo>
                    <a:pt x="2381" y="2625"/>
                  </a:lnTo>
                  <a:lnTo>
                    <a:pt x="2359" y="2608"/>
                  </a:lnTo>
                  <a:lnTo>
                    <a:pt x="2374" y="2625"/>
                  </a:lnTo>
                  <a:lnTo>
                    <a:pt x="2359" y="2632"/>
                  </a:lnTo>
                  <a:lnTo>
                    <a:pt x="2336" y="2608"/>
                  </a:lnTo>
                  <a:lnTo>
                    <a:pt x="2326" y="2625"/>
                  </a:lnTo>
                  <a:lnTo>
                    <a:pt x="2326" y="2632"/>
                  </a:lnTo>
                  <a:lnTo>
                    <a:pt x="2305" y="2625"/>
                  </a:lnTo>
                  <a:lnTo>
                    <a:pt x="2298" y="2632"/>
                  </a:lnTo>
                  <a:lnTo>
                    <a:pt x="2326" y="2641"/>
                  </a:lnTo>
                  <a:lnTo>
                    <a:pt x="2322" y="2648"/>
                  </a:lnTo>
                  <a:lnTo>
                    <a:pt x="2336" y="2665"/>
                  </a:lnTo>
                  <a:lnTo>
                    <a:pt x="2298" y="2686"/>
                  </a:lnTo>
                  <a:lnTo>
                    <a:pt x="2272" y="2670"/>
                  </a:lnTo>
                  <a:lnTo>
                    <a:pt x="2267" y="2686"/>
                  </a:lnTo>
                  <a:lnTo>
                    <a:pt x="2246" y="2681"/>
                  </a:lnTo>
                  <a:lnTo>
                    <a:pt x="2234" y="2698"/>
                  </a:lnTo>
                  <a:lnTo>
                    <a:pt x="2272" y="2726"/>
                  </a:lnTo>
                  <a:lnTo>
                    <a:pt x="2272" y="2752"/>
                  </a:lnTo>
                  <a:lnTo>
                    <a:pt x="2289" y="2764"/>
                  </a:lnTo>
                  <a:lnTo>
                    <a:pt x="2260" y="2764"/>
                  </a:lnTo>
                  <a:lnTo>
                    <a:pt x="2208" y="2776"/>
                  </a:lnTo>
                  <a:lnTo>
                    <a:pt x="2218" y="2792"/>
                  </a:lnTo>
                  <a:lnTo>
                    <a:pt x="2272" y="2797"/>
                  </a:lnTo>
                  <a:lnTo>
                    <a:pt x="2260" y="2814"/>
                  </a:lnTo>
                  <a:lnTo>
                    <a:pt x="2272" y="2814"/>
                  </a:lnTo>
                  <a:lnTo>
                    <a:pt x="2284" y="2837"/>
                  </a:lnTo>
                  <a:lnTo>
                    <a:pt x="2251" y="2837"/>
                  </a:lnTo>
                  <a:lnTo>
                    <a:pt x="2213" y="2821"/>
                  </a:lnTo>
                  <a:lnTo>
                    <a:pt x="2208" y="2830"/>
                  </a:lnTo>
                  <a:lnTo>
                    <a:pt x="2251" y="2847"/>
                  </a:lnTo>
                  <a:lnTo>
                    <a:pt x="2267" y="2863"/>
                  </a:lnTo>
                  <a:lnTo>
                    <a:pt x="2246" y="2863"/>
                  </a:lnTo>
                  <a:lnTo>
                    <a:pt x="2246" y="2870"/>
                  </a:lnTo>
                  <a:lnTo>
                    <a:pt x="2234" y="2863"/>
                  </a:lnTo>
                  <a:lnTo>
                    <a:pt x="2246" y="2875"/>
                  </a:lnTo>
                  <a:lnTo>
                    <a:pt x="2234" y="2875"/>
                  </a:lnTo>
                  <a:lnTo>
                    <a:pt x="2218" y="2863"/>
                  </a:lnTo>
                  <a:lnTo>
                    <a:pt x="2230" y="2875"/>
                  </a:lnTo>
                  <a:lnTo>
                    <a:pt x="2208" y="2863"/>
                  </a:lnTo>
                  <a:lnTo>
                    <a:pt x="2234" y="2887"/>
                  </a:lnTo>
                  <a:lnTo>
                    <a:pt x="2196" y="2863"/>
                  </a:lnTo>
                  <a:lnTo>
                    <a:pt x="2180" y="2870"/>
                  </a:lnTo>
                  <a:lnTo>
                    <a:pt x="2213" y="2908"/>
                  </a:lnTo>
                  <a:lnTo>
                    <a:pt x="2208" y="2908"/>
                  </a:lnTo>
                  <a:lnTo>
                    <a:pt x="2175" y="2892"/>
                  </a:lnTo>
                  <a:lnTo>
                    <a:pt x="2208" y="2920"/>
                  </a:lnTo>
                  <a:lnTo>
                    <a:pt x="2196" y="2920"/>
                  </a:lnTo>
                  <a:lnTo>
                    <a:pt x="2163" y="2903"/>
                  </a:lnTo>
                  <a:lnTo>
                    <a:pt x="2175" y="2920"/>
                  </a:lnTo>
                  <a:lnTo>
                    <a:pt x="2208" y="2925"/>
                  </a:lnTo>
                  <a:lnTo>
                    <a:pt x="2192" y="2941"/>
                  </a:lnTo>
                  <a:lnTo>
                    <a:pt x="2154" y="2941"/>
                  </a:lnTo>
                  <a:lnTo>
                    <a:pt x="2154" y="2925"/>
                  </a:lnTo>
                  <a:lnTo>
                    <a:pt x="2142" y="2932"/>
                  </a:lnTo>
                  <a:lnTo>
                    <a:pt x="2142" y="2941"/>
                  </a:lnTo>
                  <a:lnTo>
                    <a:pt x="2137" y="2948"/>
                  </a:lnTo>
                  <a:lnTo>
                    <a:pt x="2100" y="2948"/>
                  </a:lnTo>
                  <a:lnTo>
                    <a:pt x="2100" y="2958"/>
                  </a:lnTo>
                  <a:lnTo>
                    <a:pt x="2154" y="2974"/>
                  </a:lnTo>
                  <a:lnTo>
                    <a:pt x="2154" y="2981"/>
                  </a:lnTo>
                  <a:lnTo>
                    <a:pt x="2137" y="2981"/>
                  </a:lnTo>
                  <a:lnTo>
                    <a:pt x="2163" y="2986"/>
                  </a:lnTo>
                  <a:lnTo>
                    <a:pt x="2104" y="2974"/>
                  </a:lnTo>
                  <a:lnTo>
                    <a:pt x="2159" y="3003"/>
                  </a:lnTo>
                  <a:lnTo>
                    <a:pt x="2154" y="3019"/>
                  </a:lnTo>
                  <a:lnTo>
                    <a:pt x="2137" y="3036"/>
                  </a:lnTo>
                  <a:lnTo>
                    <a:pt x="2163" y="3036"/>
                  </a:lnTo>
                  <a:lnTo>
                    <a:pt x="2159" y="3043"/>
                  </a:lnTo>
                  <a:lnTo>
                    <a:pt x="2142" y="3043"/>
                  </a:lnTo>
                  <a:lnTo>
                    <a:pt x="2159" y="3052"/>
                  </a:lnTo>
                  <a:lnTo>
                    <a:pt x="2154" y="3059"/>
                  </a:lnTo>
                  <a:lnTo>
                    <a:pt x="2109" y="3059"/>
                  </a:lnTo>
                  <a:lnTo>
                    <a:pt x="2154" y="3076"/>
                  </a:lnTo>
                  <a:lnTo>
                    <a:pt x="2142" y="3085"/>
                  </a:lnTo>
                  <a:lnTo>
                    <a:pt x="2100" y="3076"/>
                  </a:lnTo>
                  <a:lnTo>
                    <a:pt x="2137" y="3085"/>
                  </a:lnTo>
                  <a:lnTo>
                    <a:pt x="2142" y="3097"/>
                  </a:lnTo>
                  <a:lnTo>
                    <a:pt x="2142" y="3109"/>
                  </a:lnTo>
                  <a:lnTo>
                    <a:pt x="2126" y="3114"/>
                  </a:lnTo>
                  <a:lnTo>
                    <a:pt x="2088" y="3109"/>
                  </a:lnTo>
                  <a:lnTo>
                    <a:pt x="2126" y="3114"/>
                  </a:lnTo>
                  <a:lnTo>
                    <a:pt x="2137" y="3125"/>
                  </a:lnTo>
                  <a:lnTo>
                    <a:pt x="2100" y="3125"/>
                  </a:lnTo>
                  <a:lnTo>
                    <a:pt x="2126" y="3130"/>
                  </a:lnTo>
                  <a:lnTo>
                    <a:pt x="2067" y="3130"/>
                  </a:lnTo>
                  <a:lnTo>
                    <a:pt x="2126" y="3142"/>
                  </a:lnTo>
                  <a:lnTo>
                    <a:pt x="2126" y="3147"/>
                  </a:lnTo>
                  <a:lnTo>
                    <a:pt x="2104" y="3154"/>
                  </a:lnTo>
                  <a:lnTo>
                    <a:pt x="2071" y="3147"/>
                  </a:lnTo>
                  <a:lnTo>
                    <a:pt x="2121" y="3163"/>
                  </a:lnTo>
                  <a:lnTo>
                    <a:pt x="2067" y="3163"/>
                  </a:lnTo>
                  <a:lnTo>
                    <a:pt x="2121" y="3170"/>
                  </a:lnTo>
                  <a:lnTo>
                    <a:pt x="2100" y="3180"/>
                  </a:lnTo>
                  <a:lnTo>
                    <a:pt x="2121" y="3180"/>
                  </a:lnTo>
                  <a:lnTo>
                    <a:pt x="2109" y="3187"/>
                  </a:lnTo>
                  <a:lnTo>
                    <a:pt x="2121" y="3187"/>
                  </a:lnTo>
                  <a:lnTo>
                    <a:pt x="2100" y="3196"/>
                  </a:lnTo>
                  <a:lnTo>
                    <a:pt x="2083" y="3196"/>
                  </a:lnTo>
                  <a:lnTo>
                    <a:pt x="2100" y="3203"/>
                  </a:lnTo>
                  <a:lnTo>
                    <a:pt x="2088" y="3203"/>
                  </a:lnTo>
                  <a:lnTo>
                    <a:pt x="2067" y="3196"/>
                  </a:lnTo>
                  <a:lnTo>
                    <a:pt x="2057" y="3170"/>
                  </a:lnTo>
                  <a:lnTo>
                    <a:pt x="2057" y="3196"/>
                  </a:lnTo>
                  <a:lnTo>
                    <a:pt x="2019" y="3187"/>
                  </a:lnTo>
                  <a:lnTo>
                    <a:pt x="2083" y="3203"/>
                  </a:lnTo>
                  <a:lnTo>
                    <a:pt x="2067" y="3220"/>
                  </a:lnTo>
                  <a:lnTo>
                    <a:pt x="2100" y="3208"/>
                  </a:lnTo>
                  <a:lnTo>
                    <a:pt x="2100" y="3225"/>
                  </a:lnTo>
                  <a:lnTo>
                    <a:pt x="2083" y="3225"/>
                  </a:lnTo>
                  <a:lnTo>
                    <a:pt x="2100" y="3225"/>
                  </a:lnTo>
                  <a:lnTo>
                    <a:pt x="2100" y="3241"/>
                  </a:lnTo>
                  <a:lnTo>
                    <a:pt x="2029" y="3236"/>
                  </a:lnTo>
                  <a:lnTo>
                    <a:pt x="2033" y="3220"/>
                  </a:lnTo>
                  <a:lnTo>
                    <a:pt x="2029" y="3208"/>
                  </a:lnTo>
                  <a:lnTo>
                    <a:pt x="2029" y="3220"/>
                  </a:lnTo>
                  <a:lnTo>
                    <a:pt x="2003" y="3236"/>
                  </a:lnTo>
                  <a:lnTo>
                    <a:pt x="1991" y="3253"/>
                  </a:lnTo>
                  <a:lnTo>
                    <a:pt x="1948" y="3241"/>
                  </a:lnTo>
                  <a:lnTo>
                    <a:pt x="1958" y="3236"/>
                  </a:lnTo>
                  <a:lnTo>
                    <a:pt x="1974" y="3236"/>
                  </a:lnTo>
                  <a:lnTo>
                    <a:pt x="2003" y="3196"/>
                  </a:lnTo>
                  <a:lnTo>
                    <a:pt x="1974" y="3225"/>
                  </a:lnTo>
                  <a:lnTo>
                    <a:pt x="1948" y="3236"/>
                  </a:lnTo>
                  <a:lnTo>
                    <a:pt x="1991" y="3170"/>
                  </a:lnTo>
                  <a:lnTo>
                    <a:pt x="1948" y="3203"/>
                  </a:lnTo>
                  <a:lnTo>
                    <a:pt x="1944" y="3196"/>
                  </a:lnTo>
                  <a:lnTo>
                    <a:pt x="1958" y="3180"/>
                  </a:lnTo>
                  <a:lnTo>
                    <a:pt x="1927" y="3203"/>
                  </a:lnTo>
                  <a:lnTo>
                    <a:pt x="1944" y="3180"/>
                  </a:lnTo>
                  <a:lnTo>
                    <a:pt x="1927" y="3203"/>
                  </a:lnTo>
                  <a:lnTo>
                    <a:pt x="1911" y="3187"/>
                  </a:lnTo>
                  <a:lnTo>
                    <a:pt x="1920" y="3187"/>
                  </a:lnTo>
                  <a:lnTo>
                    <a:pt x="1894" y="3187"/>
                  </a:lnTo>
                  <a:lnTo>
                    <a:pt x="1920" y="3180"/>
                  </a:lnTo>
                  <a:lnTo>
                    <a:pt x="1906" y="3180"/>
                  </a:lnTo>
                  <a:lnTo>
                    <a:pt x="1948" y="3154"/>
                  </a:lnTo>
                  <a:lnTo>
                    <a:pt x="1937" y="3142"/>
                  </a:lnTo>
                  <a:lnTo>
                    <a:pt x="1920" y="3170"/>
                  </a:lnTo>
                  <a:lnTo>
                    <a:pt x="1906" y="3170"/>
                  </a:lnTo>
                  <a:lnTo>
                    <a:pt x="1911" y="3163"/>
                  </a:lnTo>
                  <a:lnTo>
                    <a:pt x="1906" y="3163"/>
                  </a:lnTo>
                  <a:lnTo>
                    <a:pt x="1889" y="3170"/>
                  </a:lnTo>
                  <a:lnTo>
                    <a:pt x="1882" y="3170"/>
                  </a:lnTo>
                  <a:lnTo>
                    <a:pt x="1894" y="3154"/>
                  </a:lnTo>
                  <a:lnTo>
                    <a:pt x="1927" y="3147"/>
                  </a:lnTo>
                  <a:lnTo>
                    <a:pt x="1948" y="3125"/>
                  </a:lnTo>
                  <a:lnTo>
                    <a:pt x="1937" y="3130"/>
                  </a:lnTo>
                  <a:lnTo>
                    <a:pt x="1927" y="3114"/>
                  </a:lnTo>
                  <a:lnTo>
                    <a:pt x="1927" y="3130"/>
                  </a:lnTo>
                  <a:lnTo>
                    <a:pt x="1920" y="3142"/>
                  </a:lnTo>
                  <a:lnTo>
                    <a:pt x="1889" y="3154"/>
                  </a:lnTo>
                  <a:lnTo>
                    <a:pt x="1889" y="3147"/>
                  </a:lnTo>
                  <a:lnTo>
                    <a:pt x="1920" y="3130"/>
                  </a:lnTo>
                  <a:lnTo>
                    <a:pt x="1906" y="3114"/>
                  </a:lnTo>
                  <a:lnTo>
                    <a:pt x="1911" y="3109"/>
                  </a:lnTo>
                  <a:lnTo>
                    <a:pt x="1894" y="3114"/>
                  </a:lnTo>
                  <a:lnTo>
                    <a:pt x="1906" y="3125"/>
                  </a:lnTo>
                  <a:lnTo>
                    <a:pt x="1906" y="3130"/>
                  </a:lnTo>
                  <a:lnTo>
                    <a:pt x="1882" y="3147"/>
                  </a:lnTo>
                  <a:lnTo>
                    <a:pt x="1868" y="3130"/>
                  </a:lnTo>
                  <a:lnTo>
                    <a:pt x="1856" y="3154"/>
                  </a:lnTo>
                  <a:lnTo>
                    <a:pt x="1835" y="3147"/>
                  </a:lnTo>
                  <a:lnTo>
                    <a:pt x="1840" y="3154"/>
                  </a:lnTo>
                  <a:lnTo>
                    <a:pt x="1835" y="3163"/>
                  </a:lnTo>
                  <a:lnTo>
                    <a:pt x="1830" y="3147"/>
                  </a:lnTo>
                  <a:lnTo>
                    <a:pt x="1764" y="3154"/>
                  </a:lnTo>
                  <a:lnTo>
                    <a:pt x="1802" y="3154"/>
                  </a:lnTo>
                  <a:lnTo>
                    <a:pt x="1797" y="3163"/>
                  </a:lnTo>
                  <a:lnTo>
                    <a:pt x="1743" y="3163"/>
                  </a:lnTo>
                  <a:lnTo>
                    <a:pt x="1731" y="3163"/>
                  </a:lnTo>
                  <a:lnTo>
                    <a:pt x="1776" y="3142"/>
                  </a:lnTo>
                  <a:lnTo>
                    <a:pt x="1726" y="3147"/>
                  </a:lnTo>
                  <a:lnTo>
                    <a:pt x="1764" y="3142"/>
                  </a:lnTo>
                  <a:lnTo>
                    <a:pt x="1764" y="3130"/>
                  </a:lnTo>
                  <a:lnTo>
                    <a:pt x="1748" y="3130"/>
                  </a:lnTo>
                  <a:lnTo>
                    <a:pt x="1743" y="3125"/>
                  </a:lnTo>
                  <a:lnTo>
                    <a:pt x="1759" y="3109"/>
                  </a:lnTo>
                  <a:lnTo>
                    <a:pt x="1748" y="3109"/>
                  </a:lnTo>
                  <a:lnTo>
                    <a:pt x="1731" y="3114"/>
                  </a:lnTo>
                  <a:lnTo>
                    <a:pt x="1743" y="3130"/>
                  </a:lnTo>
                  <a:lnTo>
                    <a:pt x="1726" y="3130"/>
                  </a:lnTo>
                  <a:lnTo>
                    <a:pt x="1726" y="3125"/>
                  </a:lnTo>
                  <a:lnTo>
                    <a:pt x="1731" y="3125"/>
                  </a:lnTo>
                  <a:lnTo>
                    <a:pt x="1710" y="3125"/>
                  </a:lnTo>
                  <a:lnTo>
                    <a:pt x="1726" y="3109"/>
                  </a:lnTo>
                  <a:lnTo>
                    <a:pt x="1679" y="3097"/>
                  </a:lnTo>
                  <a:lnTo>
                    <a:pt x="1743" y="3085"/>
                  </a:lnTo>
                  <a:lnTo>
                    <a:pt x="1726" y="3076"/>
                  </a:lnTo>
                  <a:lnTo>
                    <a:pt x="1689" y="3092"/>
                  </a:lnTo>
                  <a:lnTo>
                    <a:pt x="1667" y="3085"/>
                  </a:lnTo>
                  <a:lnTo>
                    <a:pt x="1710" y="3076"/>
                  </a:lnTo>
                  <a:lnTo>
                    <a:pt x="1689" y="3076"/>
                  </a:lnTo>
                  <a:lnTo>
                    <a:pt x="1679" y="3076"/>
                  </a:lnTo>
                  <a:lnTo>
                    <a:pt x="1679" y="3059"/>
                  </a:lnTo>
                  <a:lnTo>
                    <a:pt x="1672" y="3069"/>
                  </a:lnTo>
                  <a:lnTo>
                    <a:pt x="1679" y="3052"/>
                  </a:lnTo>
                  <a:lnTo>
                    <a:pt x="1705" y="3036"/>
                  </a:lnTo>
                  <a:lnTo>
                    <a:pt x="1689" y="3036"/>
                  </a:lnTo>
                  <a:lnTo>
                    <a:pt x="1672" y="3052"/>
                  </a:lnTo>
                  <a:lnTo>
                    <a:pt x="1667" y="3069"/>
                  </a:lnTo>
                  <a:lnTo>
                    <a:pt x="1656" y="3059"/>
                  </a:lnTo>
                  <a:lnTo>
                    <a:pt x="1672" y="3043"/>
                  </a:lnTo>
                  <a:lnTo>
                    <a:pt x="1656" y="3052"/>
                  </a:lnTo>
                  <a:lnTo>
                    <a:pt x="1656" y="3036"/>
                  </a:lnTo>
                  <a:lnTo>
                    <a:pt x="1693" y="3031"/>
                  </a:lnTo>
                  <a:lnTo>
                    <a:pt x="1679" y="3019"/>
                  </a:lnTo>
                  <a:lnTo>
                    <a:pt x="1679" y="3014"/>
                  </a:lnTo>
                  <a:lnTo>
                    <a:pt x="1672" y="3031"/>
                  </a:lnTo>
                  <a:lnTo>
                    <a:pt x="1634" y="3036"/>
                  </a:lnTo>
                  <a:lnTo>
                    <a:pt x="1634" y="3019"/>
                  </a:lnTo>
                  <a:lnTo>
                    <a:pt x="1656" y="3019"/>
                  </a:lnTo>
                  <a:lnTo>
                    <a:pt x="1667" y="3014"/>
                  </a:lnTo>
                  <a:lnTo>
                    <a:pt x="1641" y="3014"/>
                  </a:lnTo>
                  <a:lnTo>
                    <a:pt x="1656" y="3003"/>
                  </a:lnTo>
                  <a:lnTo>
                    <a:pt x="1625" y="3003"/>
                  </a:lnTo>
                  <a:lnTo>
                    <a:pt x="1596" y="2981"/>
                  </a:lnTo>
                  <a:lnTo>
                    <a:pt x="1596" y="2958"/>
                  </a:lnTo>
                  <a:lnTo>
                    <a:pt x="1618" y="2941"/>
                  </a:lnTo>
                  <a:lnTo>
                    <a:pt x="1596" y="2958"/>
                  </a:lnTo>
                  <a:lnTo>
                    <a:pt x="1604" y="2925"/>
                  </a:lnTo>
                  <a:lnTo>
                    <a:pt x="1634" y="2920"/>
                  </a:lnTo>
                  <a:lnTo>
                    <a:pt x="1604" y="2925"/>
                  </a:lnTo>
                  <a:lnTo>
                    <a:pt x="1587" y="2948"/>
                  </a:lnTo>
                  <a:lnTo>
                    <a:pt x="1587" y="2925"/>
                  </a:lnTo>
                  <a:lnTo>
                    <a:pt x="1604" y="2920"/>
                  </a:lnTo>
                  <a:lnTo>
                    <a:pt x="1570" y="2925"/>
                  </a:lnTo>
                  <a:lnTo>
                    <a:pt x="1570" y="2908"/>
                  </a:lnTo>
                  <a:lnTo>
                    <a:pt x="1613" y="2892"/>
                  </a:lnTo>
                  <a:lnTo>
                    <a:pt x="1549" y="2908"/>
                  </a:lnTo>
                  <a:lnTo>
                    <a:pt x="1559" y="2892"/>
                  </a:lnTo>
                  <a:lnTo>
                    <a:pt x="1542" y="2903"/>
                  </a:lnTo>
                  <a:lnTo>
                    <a:pt x="1533" y="2887"/>
                  </a:lnTo>
                  <a:lnTo>
                    <a:pt x="1596" y="2875"/>
                  </a:lnTo>
                  <a:lnTo>
                    <a:pt x="1542" y="2875"/>
                  </a:lnTo>
                  <a:lnTo>
                    <a:pt x="1528" y="2870"/>
                  </a:lnTo>
                  <a:lnTo>
                    <a:pt x="1566" y="2863"/>
                  </a:lnTo>
                  <a:lnTo>
                    <a:pt x="1542" y="2863"/>
                  </a:lnTo>
                  <a:lnTo>
                    <a:pt x="1533" y="2854"/>
                  </a:lnTo>
                  <a:lnTo>
                    <a:pt x="1570" y="2854"/>
                  </a:lnTo>
                  <a:lnTo>
                    <a:pt x="1580" y="2847"/>
                  </a:lnTo>
                  <a:lnTo>
                    <a:pt x="1542" y="2847"/>
                  </a:lnTo>
                  <a:lnTo>
                    <a:pt x="1533" y="2854"/>
                  </a:lnTo>
                  <a:lnTo>
                    <a:pt x="1533" y="2863"/>
                  </a:lnTo>
                  <a:lnTo>
                    <a:pt x="1504" y="2837"/>
                  </a:lnTo>
                  <a:lnTo>
                    <a:pt x="1549" y="2814"/>
                  </a:lnTo>
                  <a:lnTo>
                    <a:pt x="1511" y="2830"/>
                  </a:lnTo>
                  <a:lnTo>
                    <a:pt x="1511" y="2821"/>
                  </a:lnTo>
                  <a:lnTo>
                    <a:pt x="1516" y="2821"/>
                  </a:lnTo>
                  <a:lnTo>
                    <a:pt x="1516" y="2814"/>
                  </a:lnTo>
                  <a:lnTo>
                    <a:pt x="1495" y="2809"/>
                  </a:lnTo>
                  <a:lnTo>
                    <a:pt x="1613" y="2781"/>
                  </a:lnTo>
                  <a:lnTo>
                    <a:pt x="1570" y="2781"/>
                  </a:lnTo>
                  <a:lnTo>
                    <a:pt x="1580" y="2776"/>
                  </a:lnTo>
                  <a:lnTo>
                    <a:pt x="1511" y="2797"/>
                  </a:lnTo>
                  <a:lnTo>
                    <a:pt x="1495" y="2792"/>
                  </a:lnTo>
                  <a:lnTo>
                    <a:pt x="1516" y="2792"/>
                  </a:lnTo>
                  <a:lnTo>
                    <a:pt x="1490" y="2781"/>
                  </a:lnTo>
                  <a:lnTo>
                    <a:pt x="1549" y="2781"/>
                  </a:lnTo>
                  <a:lnTo>
                    <a:pt x="1559" y="2776"/>
                  </a:lnTo>
                  <a:lnTo>
                    <a:pt x="1542" y="2776"/>
                  </a:lnTo>
                  <a:lnTo>
                    <a:pt x="1559" y="2759"/>
                  </a:lnTo>
                  <a:lnTo>
                    <a:pt x="1587" y="2764"/>
                  </a:lnTo>
                  <a:lnTo>
                    <a:pt x="1604" y="2759"/>
                  </a:lnTo>
                  <a:lnTo>
                    <a:pt x="1570" y="2759"/>
                  </a:lnTo>
                  <a:lnTo>
                    <a:pt x="1570" y="2752"/>
                  </a:lnTo>
                  <a:lnTo>
                    <a:pt x="1580" y="2743"/>
                  </a:lnTo>
                  <a:lnTo>
                    <a:pt x="1549" y="2736"/>
                  </a:lnTo>
                  <a:lnTo>
                    <a:pt x="1580" y="2726"/>
                  </a:lnTo>
                  <a:lnTo>
                    <a:pt x="1566" y="2726"/>
                  </a:lnTo>
                  <a:lnTo>
                    <a:pt x="1580" y="2726"/>
                  </a:lnTo>
                  <a:lnTo>
                    <a:pt x="1596" y="2726"/>
                  </a:lnTo>
                  <a:lnTo>
                    <a:pt x="1604" y="2752"/>
                  </a:lnTo>
                  <a:lnTo>
                    <a:pt x="1641" y="2764"/>
                  </a:lnTo>
                  <a:lnTo>
                    <a:pt x="1613" y="2743"/>
                  </a:lnTo>
                  <a:lnTo>
                    <a:pt x="1604" y="2736"/>
                  </a:lnTo>
                  <a:lnTo>
                    <a:pt x="1618" y="2726"/>
                  </a:lnTo>
                  <a:lnTo>
                    <a:pt x="1596" y="2726"/>
                  </a:lnTo>
                  <a:lnTo>
                    <a:pt x="1613" y="2703"/>
                  </a:lnTo>
                  <a:lnTo>
                    <a:pt x="1596" y="2719"/>
                  </a:lnTo>
                  <a:lnTo>
                    <a:pt x="1570" y="2719"/>
                  </a:lnTo>
                  <a:lnTo>
                    <a:pt x="1566" y="2698"/>
                  </a:lnTo>
                  <a:lnTo>
                    <a:pt x="1549" y="2665"/>
                  </a:lnTo>
                  <a:lnTo>
                    <a:pt x="1549" y="2698"/>
                  </a:lnTo>
                  <a:lnTo>
                    <a:pt x="1566" y="2698"/>
                  </a:lnTo>
                  <a:lnTo>
                    <a:pt x="1570" y="2719"/>
                  </a:lnTo>
                  <a:lnTo>
                    <a:pt x="1533" y="2736"/>
                  </a:lnTo>
                  <a:lnTo>
                    <a:pt x="1528" y="2736"/>
                  </a:lnTo>
                  <a:lnTo>
                    <a:pt x="1542" y="2719"/>
                  </a:lnTo>
                  <a:lnTo>
                    <a:pt x="1528" y="2719"/>
                  </a:lnTo>
                  <a:lnTo>
                    <a:pt x="1495" y="2776"/>
                  </a:lnTo>
                  <a:lnTo>
                    <a:pt x="1474" y="2781"/>
                  </a:lnTo>
                  <a:lnTo>
                    <a:pt x="1474" y="2759"/>
                  </a:lnTo>
                  <a:lnTo>
                    <a:pt x="1462" y="2759"/>
                  </a:lnTo>
                  <a:lnTo>
                    <a:pt x="1474" y="2736"/>
                  </a:lnTo>
                  <a:lnTo>
                    <a:pt x="1462" y="2726"/>
                  </a:lnTo>
                  <a:lnTo>
                    <a:pt x="1504" y="2710"/>
                  </a:lnTo>
                  <a:lnTo>
                    <a:pt x="1528" y="2686"/>
                  </a:lnTo>
                  <a:lnTo>
                    <a:pt x="1495" y="2703"/>
                  </a:lnTo>
                  <a:lnTo>
                    <a:pt x="1504" y="2698"/>
                  </a:lnTo>
                  <a:lnTo>
                    <a:pt x="1495" y="2686"/>
                  </a:lnTo>
                  <a:lnTo>
                    <a:pt x="1478" y="2710"/>
                  </a:lnTo>
                  <a:lnTo>
                    <a:pt x="1462" y="2710"/>
                  </a:lnTo>
                  <a:lnTo>
                    <a:pt x="1478" y="2703"/>
                  </a:lnTo>
                  <a:lnTo>
                    <a:pt x="1474" y="2703"/>
                  </a:lnTo>
                  <a:lnTo>
                    <a:pt x="1457" y="2710"/>
                  </a:lnTo>
                  <a:lnTo>
                    <a:pt x="1457" y="2703"/>
                  </a:lnTo>
                  <a:lnTo>
                    <a:pt x="1474" y="2698"/>
                  </a:lnTo>
                  <a:lnTo>
                    <a:pt x="1457" y="2681"/>
                  </a:lnTo>
                  <a:lnTo>
                    <a:pt x="1462" y="2665"/>
                  </a:lnTo>
                  <a:lnTo>
                    <a:pt x="1452" y="2665"/>
                  </a:lnTo>
                  <a:lnTo>
                    <a:pt x="1457" y="2653"/>
                  </a:lnTo>
                  <a:lnTo>
                    <a:pt x="1441" y="2670"/>
                  </a:lnTo>
                  <a:lnTo>
                    <a:pt x="1436" y="2653"/>
                  </a:lnTo>
                  <a:lnTo>
                    <a:pt x="1495" y="2625"/>
                  </a:lnTo>
                  <a:lnTo>
                    <a:pt x="1478" y="2615"/>
                  </a:lnTo>
                  <a:lnTo>
                    <a:pt x="1495" y="2608"/>
                  </a:lnTo>
                  <a:lnTo>
                    <a:pt x="1528" y="2599"/>
                  </a:lnTo>
                  <a:lnTo>
                    <a:pt x="1580" y="2608"/>
                  </a:lnTo>
                  <a:lnTo>
                    <a:pt x="1511" y="2599"/>
                  </a:lnTo>
                  <a:lnTo>
                    <a:pt x="1478" y="2615"/>
                  </a:lnTo>
                  <a:lnTo>
                    <a:pt x="1478" y="2625"/>
                  </a:lnTo>
                  <a:lnTo>
                    <a:pt x="1441" y="2648"/>
                  </a:lnTo>
                  <a:lnTo>
                    <a:pt x="1436" y="2632"/>
                  </a:lnTo>
                  <a:lnTo>
                    <a:pt x="1441" y="2615"/>
                  </a:lnTo>
                  <a:lnTo>
                    <a:pt x="1424" y="2632"/>
                  </a:lnTo>
                  <a:lnTo>
                    <a:pt x="1419" y="2625"/>
                  </a:lnTo>
                  <a:lnTo>
                    <a:pt x="1436" y="2615"/>
                  </a:lnTo>
                  <a:lnTo>
                    <a:pt x="1419" y="2615"/>
                  </a:lnTo>
                  <a:lnTo>
                    <a:pt x="1424" y="2592"/>
                  </a:lnTo>
                  <a:lnTo>
                    <a:pt x="1419" y="2608"/>
                  </a:lnTo>
                  <a:lnTo>
                    <a:pt x="1386" y="2608"/>
                  </a:lnTo>
                  <a:lnTo>
                    <a:pt x="1408" y="2592"/>
                  </a:lnTo>
                  <a:lnTo>
                    <a:pt x="1386" y="2599"/>
                  </a:lnTo>
                  <a:lnTo>
                    <a:pt x="1424" y="2575"/>
                  </a:lnTo>
                  <a:lnTo>
                    <a:pt x="1452" y="2587"/>
                  </a:lnTo>
                  <a:lnTo>
                    <a:pt x="1478" y="2570"/>
                  </a:lnTo>
                  <a:lnTo>
                    <a:pt x="1490" y="2575"/>
                  </a:lnTo>
                  <a:lnTo>
                    <a:pt x="1490" y="2570"/>
                  </a:lnTo>
                  <a:lnTo>
                    <a:pt x="1452" y="2587"/>
                  </a:lnTo>
                  <a:lnTo>
                    <a:pt x="1436" y="2575"/>
                  </a:lnTo>
                  <a:lnTo>
                    <a:pt x="1398" y="2592"/>
                  </a:lnTo>
                  <a:lnTo>
                    <a:pt x="1386" y="2587"/>
                  </a:lnTo>
                  <a:lnTo>
                    <a:pt x="1408" y="2570"/>
                  </a:lnTo>
                  <a:lnTo>
                    <a:pt x="1386" y="2575"/>
                  </a:lnTo>
                  <a:lnTo>
                    <a:pt x="1370" y="2575"/>
                  </a:lnTo>
                  <a:lnTo>
                    <a:pt x="1398" y="2570"/>
                  </a:lnTo>
                  <a:lnTo>
                    <a:pt x="1370" y="2570"/>
                  </a:lnTo>
                  <a:lnTo>
                    <a:pt x="1474" y="2514"/>
                  </a:lnTo>
                  <a:lnTo>
                    <a:pt x="1478" y="2497"/>
                  </a:lnTo>
                  <a:lnTo>
                    <a:pt x="1528" y="2476"/>
                  </a:lnTo>
                  <a:lnTo>
                    <a:pt x="1587" y="2476"/>
                  </a:lnTo>
                  <a:lnTo>
                    <a:pt x="1542" y="2464"/>
                  </a:lnTo>
                  <a:lnTo>
                    <a:pt x="1566" y="2448"/>
                  </a:lnTo>
                  <a:lnTo>
                    <a:pt x="1613" y="2459"/>
                  </a:lnTo>
                  <a:lnTo>
                    <a:pt x="1570" y="2448"/>
                  </a:lnTo>
                  <a:lnTo>
                    <a:pt x="1587" y="2443"/>
                  </a:lnTo>
                  <a:lnTo>
                    <a:pt x="1533" y="2464"/>
                  </a:lnTo>
                  <a:lnTo>
                    <a:pt x="1403" y="2554"/>
                  </a:lnTo>
                  <a:lnTo>
                    <a:pt x="1370" y="2559"/>
                  </a:lnTo>
                  <a:lnTo>
                    <a:pt x="1353" y="2554"/>
                  </a:lnTo>
                  <a:lnTo>
                    <a:pt x="1398" y="2537"/>
                  </a:lnTo>
                  <a:lnTo>
                    <a:pt x="1365" y="2542"/>
                  </a:lnTo>
                  <a:lnTo>
                    <a:pt x="1353" y="2537"/>
                  </a:lnTo>
                  <a:lnTo>
                    <a:pt x="1353" y="2514"/>
                  </a:lnTo>
                  <a:lnTo>
                    <a:pt x="1441" y="2504"/>
                  </a:lnTo>
                  <a:lnTo>
                    <a:pt x="1386" y="2504"/>
                  </a:lnTo>
                  <a:lnTo>
                    <a:pt x="1370" y="2497"/>
                  </a:lnTo>
                  <a:lnTo>
                    <a:pt x="1436" y="2488"/>
                  </a:lnTo>
                  <a:lnTo>
                    <a:pt x="1386" y="2481"/>
                  </a:lnTo>
                  <a:lnTo>
                    <a:pt x="1419" y="2481"/>
                  </a:lnTo>
                  <a:lnTo>
                    <a:pt x="1398" y="2481"/>
                  </a:lnTo>
                  <a:lnTo>
                    <a:pt x="1403" y="2476"/>
                  </a:lnTo>
                  <a:lnTo>
                    <a:pt x="1457" y="2476"/>
                  </a:lnTo>
                  <a:lnTo>
                    <a:pt x="1441" y="2464"/>
                  </a:lnTo>
                  <a:lnTo>
                    <a:pt x="1353" y="2464"/>
                  </a:lnTo>
                  <a:lnTo>
                    <a:pt x="1348" y="2459"/>
                  </a:lnTo>
                  <a:lnTo>
                    <a:pt x="1386" y="2448"/>
                  </a:lnTo>
                  <a:lnTo>
                    <a:pt x="1348" y="2443"/>
                  </a:lnTo>
                  <a:lnTo>
                    <a:pt x="1382" y="2443"/>
                  </a:lnTo>
                  <a:lnTo>
                    <a:pt x="1332" y="2443"/>
                  </a:lnTo>
                  <a:lnTo>
                    <a:pt x="1348" y="2431"/>
                  </a:lnTo>
                  <a:lnTo>
                    <a:pt x="1382" y="2426"/>
                  </a:lnTo>
                  <a:lnTo>
                    <a:pt x="1365" y="2426"/>
                  </a:lnTo>
                  <a:lnTo>
                    <a:pt x="1462" y="2410"/>
                  </a:lnTo>
                  <a:lnTo>
                    <a:pt x="1511" y="2410"/>
                  </a:lnTo>
                  <a:lnTo>
                    <a:pt x="1533" y="2431"/>
                  </a:lnTo>
                  <a:lnTo>
                    <a:pt x="1587" y="2431"/>
                  </a:lnTo>
                  <a:lnTo>
                    <a:pt x="1533" y="2431"/>
                  </a:lnTo>
                  <a:lnTo>
                    <a:pt x="1511" y="2410"/>
                  </a:lnTo>
                  <a:lnTo>
                    <a:pt x="1533" y="2403"/>
                  </a:lnTo>
                  <a:lnTo>
                    <a:pt x="1386" y="2410"/>
                  </a:lnTo>
                  <a:lnTo>
                    <a:pt x="1348" y="2426"/>
                  </a:lnTo>
                  <a:lnTo>
                    <a:pt x="1344" y="2419"/>
                  </a:lnTo>
                  <a:lnTo>
                    <a:pt x="1353" y="2393"/>
                  </a:lnTo>
                  <a:lnTo>
                    <a:pt x="1408" y="2370"/>
                  </a:lnTo>
                  <a:lnTo>
                    <a:pt x="1398" y="2370"/>
                  </a:lnTo>
                  <a:lnTo>
                    <a:pt x="1403" y="2370"/>
                  </a:lnTo>
                  <a:lnTo>
                    <a:pt x="1436" y="2365"/>
                  </a:lnTo>
                  <a:lnTo>
                    <a:pt x="1419" y="2365"/>
                  </a:lnTo>
                  <a:lnTo>
                    <a:pt x="1441" y="2365"/>
                  </a:lnTo>
                  <a:lnTo>
                    <a:pt x="1490" y="2377"/>
                  </a:lnTo>
                  <a:lnTo>
                    <a:pt x="1516" y="2370"/>
                  </a:lnTo>
                  <a:lnTo>
                    <a:pt x="1566" y="2393"/>
                  </a:lnTo>
                  <a:lnTo>
                    <a:pt x="1604" y="2393"/>
                  </a:lnTo>
                  <a:lnTo>
                    <a:pt x="1613" y="2386"/>
                  </a:lnTo>
                  <a:lnTo>
                    <a:pt x="1570" y="2393"/>
                  </a:lnTo>
                  <a:lnTo>
                    <a:pt x="1559" y="2377"/>
                  </a:lnTo>
                  <a:lnTo>
                    <a:pt x="1596" y="2365"/>
                  </a:lnTo>
                  <a:lnTo>
                    <a:pt x="1618" y="2370"/>
                  </a:lnTo>
                  <a:lnTo>
                    <a:pt x="1596" y="2365"/>
                  </a:lnTo>
                  <a:lnTo>
                    <a:pt x="1542" y="2377"/>
                  </a:lnTo>
                  <a:lnTo>
                    <a:pt x="1528" y="2365"/>
                  </a:lnTo>
                  <a:lnTo>
                    <a:pt x="1587" y="2348"/>
                  </a:lnTo>
                  <a:lnTo>
                    <a:pt x="1559" y="2337"/>
                  </a:lnTo>
                  <a:lnTo>
                    <a:pt x="1559" y="2348"/>
                  </a:lnTo>
                  <a:lnTo>
                    <a:pt x="1566" y="2348"/>
                  </a:lnTo>
                  <a:lnTo>
                    <a:pt x="1533" y="2365"/>
                  </a:lnTo>
                  <a:lnTo>
                    <a:pt x="1516" y="2348"/>
                  </a:lnTo>
                  <a:lnTo>
                    <a:pt x="1549" y="2348"/>
                  </a:lnTo>
                  <a:lnTo>
                    <a:pt x="1542" y="2332"/>
                  </a:lnTo>
                  <a:lnTo>
                    <a:pt x="1504" y="2337"/>
                  </a:lnTo>
                  <a:lnTo>
                    <a:pt x="1516" y="2353"/>
                  </a:lnTo>
                  <a:lnTo>
                    <a:pt x="1495" y="2370"/>
                  </a:lnTo>
                  <a:lnTo>
                    <a:pt x="1490" y="2365"/>
                  </a:lnTo>
                  <a:lnTo>
                    <a:pt x="1504" y="2353"/>
                  </a:lnTo>
                  <a:lnTo>
                    <a:pt x="1452" y="2353"/>
                  </a:lnTo>
                  <a:lnTo>
                    <a:pt x="1504" y="2332"/>
                  </a:lnTo>
                  <a:lnTo>
                    <a:pt x="1403" y="2365"/>
                  </a:lnTo>
                  <a:lnTo>
                    <a:pt x="1365" y="2386"/>
                  </a:lnTo>
                  <a:lnTo>
                    <a:pt x="1353" y="2386"/>
                  </a:lnTo>
                  <a:lnTo>
                    <a:pt x="1348" y="2377"/>
                  </a:lnTo>
                  <a:lnTo>
                    <a:pt x="1365" y="2370"/>
                  </a:lnTo>
                  <a:lnTo>
                    <a:pt x="1353" y="2353"/>
                  </a:lnTo>
                  <a:lnTo>
                    <a:pt x="1382" y="2353"/>
                  </a:lnTo>
                  <a:lnTo>
                    <a:pt x="1370" y="2348"/>
                  </a:lnTo>
                  <a:lnTo>
                    <a:pt x="1386" y="2353"/>
                  </a:lnTo>
                  <a:lnTo>
                    <a:pt x="1403" y="2348"/>
                  </a:lnTo>
                  <a:lnTo>
                    <a:pt x="1386" y="2348"/>
                  </a:lnTo>
                  <a:lnTo>
                    <a:pt x="1386" y="2337"/>
                  </a:lnTo>
                  <a:lnTo>
                    <a:pt x="1408" y="2332"/>
                  </a:lnTo>
                  <a:lnTo>
                    <a:pt x="1386" y="2332"/>
                  </a:lnTo>
                  <a:lnTo>
                    <a:pt x="1386" y="2320"/>
                  </a:lnTo>
                  <a:lnTo>
                    <a:pt x="1457" y="2337"/>
                  </a:lnTo>
                  <a:lnTo>
                    <a:pt x="1474" y="2332"/>
                  </a:lnTo>
                  <a:lnTo>
                    <a:pt x="1424" y="2332"/>
                  </a:lnTo>
                  <a:lnTo>
                    <a:pt x="1398" y="2315"/>
                  </a:lnTo>
                  <a:lnTo>
                    <a:pt x="1370" y="2315"/>
                  </a:lnTo>
                  <a:lnTo>
                    <a:pt x="1382" y="2308"/>
                  </a:lnTo>
                  <a:lnTo>
                    <a:pt x="1452" y="2320"/>
                  </a:lnTo>
                  <a:lnTo>
                    <a:pt x="1419" y="2308"/>
                  </a:lnTo>
                  <a:lnTo>
                    <a:pt x="1490" y="2320"/>
                  </a:lnTo>
                  <a:lnTo>
                    <a:pt x="1533" y="2320"/>
                  </a:lnTo>
                  <a:lnTo>
                    <a:pt x="1570" y="2337"/>
                  </a:lnTo>
                  <a:lnTo>
                    <a:pt x="1604" y="2337"/>
                  </a:lnTo>
                  <a:lnTo>
                    <a:pt x="1511" y="2308"/>
                  </a:lnTo>
                  <a:lnTo>
                    <a:pt x="1549" y="2308"/>
                  </a:lnTo>
                  <a:lnTo>
                    <a:pt x="1528" y="2299"/>
                  </a:lnTo>
                  <a:lnTo>
                    <a:pt x="1533" y="2292"/>
                  </a:lnTo>
                  <a:lnTo>
                    <a:pt x="1533" y="2282"/>
                  </a:lnTo>
                  <a:lnTo>
                    <a:pt x="1559" y="2266"/>
                  </a:lnTo>
                  <a:lnTo>
                    <a:pt x="1504" y="2275"/>
                  </a:lnTo>
                  <a:lnTo>
                    <a:pt x="1528" y="2292"/>
                  </a:lnTo>
                  <a:lnTo>
                    <a:pt x="1441" y="2308"/>
                  </a:lnTo>
                  <a:lnTo>
                    <a:pt x="1441" y="2308"/>
                  </a:lnTo>
                  <a:lnTo>
                    <a:pt x="1441" y="2308"/>
                  </a:lnTo>
                  <a:close/>
                  <a:moveTo>
                    <a:pt x="2343" y="45"/>
                  </a:moveTo>
                  <a:lnTo>
                    <a:pt x="2374" y="41"/>
                  </a:lnTo>
                  <a:lnTo>
                    <a:pt x="2390" y="57"/>
                  </a:lnTo>
                  <a:lnTo>
                    <a:pt x="2343" y="45"/>
                  </a:lnTo>
                  <a:lnTo>
                    <a:pt x="2343" y="45"/>
                  </a:lnTo>
                  <a:lnTo>
                    <a:pt x="2343" y="45"/>
                  </a:lnTo>
                  <a:close/>
                  <a:moveTo>
                    <a:pt x="2390" y="83"/>
                  </a:moveTo>
                  <a:lnTo>
                    <a:pt x="2267" y="62"/>
                  </a:lnTo>
                  <a:lnTo>
                    <a:pt x="2298" y="45"/>
                  </a:lnTo>
                  <a:lnTo>
                    <a:pt x="2411" y="83"/>
                  </a:lnTo>
                  <a:lnTo>
                    <a:pt x="2390" y="83"/>
                  </a:lnTo>
                  <a:lnTo>
                    <a:pt x="2390" y="83"/>
                  </a:lnTo>
                  <a:lnTo>
                    <a:pt x="2390" y="83"/>
                  </a:lnTo>
                  <a:close/>
                  <a:moveTo>
                    <a:pt x="2284" y="67"/>
                  </a:moveTo>
                  <a:lnTo>
                    <a:pt x="2315" y="67"/>
                  </a:lnTo>
                  <a:lnTo>
                    <a:pt x="2272" y="67"/>
                  </a:lnTo>
                  <a:lnTo>
                    <a:pt x="2284" y="67"/>
                  </a:lnTo>
                  <a:lnTo>
                    <a:pt x="2284" y="67"/>
                  </a:lnTo>
                  <a:lnTo>
                    <a:pt x="2284" y="67"/>
                  </a:lnTo>
                  <a:close/>
                  <a:moveTo>
                    <a:pt x="2411" y="83"/>
                  </a:moveTo>
                  <a:lnTo>
                    <a:pt x="2411" y="78"/>
                  </a:lnTo>
                  <a:lnTo>
                    <a:pt x="2449" y="83"/>
                  </a:lnTo>
                  <a:lnTo>
                    <a:pt x="2411" y="83"/>
                  </a:lnTo>
                  <a:lnTo>
                    <a:pt x="2411" y="83"/>
                  </a:lnTo>
                  <a:lnTo>
                    <a:pt x="2411" y="83"/>
                  </a:lnTo>
                  <a:close/>
                  <a:moveTo>
                    <a:pt x="2322" y="116"/>
                  </a:moveTo>
                  <a:lnTo>
                    <a:pt x="2213" y="78"/>
                  </a:lnTo>
                  <a:lnTo>
                    <a:pt x="2260" y="78"/>
                  </a:lnTo>
                  <a:lnTo>
                    <a:pt x="2322" y="116"/>
                  </a:lnTo>
                  <a:lnTo>
                    <a:pt x="2322" y="116"/>
                  </a:lnTo>
                  <a:lnTo>
                    <a:pt x="2322" y="116"/>
                  </a:lnTo>
                  <a:close/>
                  <a:moveTo>
                    <a:pt x="2343" y="111"/>
                  </a:moveTo>
                  <a:lnTo>
                    <a:pt x="2272" y="83"/>
                  </a:lnTo>
                  <a:lnTo>
                    <a:pt x="2369" y="95"/>
                  </a:lnTo>
                  <a:lnTo>
                    <a:pt x="2343" y="111"/>
                  </a:lnTo>
                  <a:lnTo>
                    <a:pt x="2343" y="111"/>
                  </a:lnTo>
                  <a:lnTo>
                    <a:pt x="2343" y="111"/>
                  </a:lnTo>
                  <a:close/>
                  <a:moveTo>
                    <a:pt x="1840" y="140"/>
                  </a:moveTo>
                  <a:lnTo>
                    <a:pt x="1802" y="123"/>
                  </a:lnTo>
                  <a:lnTo>
                    <a:pt x="1868" y="140"/>
                  </a:lnTo>
                  <a:lnTo>
                    <a:pt x="1840" y="140"/>
                  </a:lnTo>
                  <a:lnTo>
                    <a:pt x="1840" y="140"/>
                  </a:lnTo>
                  <a:lnTo>
                    <a:pt x="1840" y="140"/>
                  </a:lnTo>
                  <a:close/>
                  <a:moveTo>
                    <a:pt x="1731" y="152"/>
                  </a:moveTo>
                  <a:lnTo>
                    <a:pt x="1726" y="135"/>
                  </a:lnTo>
                  <a:lnTo>
                    <a:pt x="1797" y="152"/>
                  </a:lnTo>
                  <a:lnTo>
                    <a:pt x="1731" y="152"/>
                  </a:lnTo>
                  <a:lnTo>
                    <a:pt x="1731" y="152"/>
                  </a:lnTo>
                  <a:lnTo>
                    <a:pt x="1731" y="152"/>
                  </a:lnTo>
                  <a:close/>
                  <a:moveTo>
                    <a:pt x="2298" y="173"/>
                  </a:moveTo>
                  <a:lnTo>
                    <a:pt x="2284" y="168"/>
                  </a:lnTo>
                  <a:lnTo>
                    <a:pt x="2305" y="173"/>
                  </a:lnTo>
                  <a:lnTo>
                    <a:pt x="2298" y="173"/>
                  </a:lnTo>
                  <a:lnTo>
                    <a:pt x="2298" y="173"/>
                  </a:lnTo>
                  <a:lnTo>
                    <a:pt x="2298" y="173"/>
                  </a:lnTo>
                  <a:close/>
                  <a:moveTo>
                    <a:pt x="1965" y="279"/>
                  </a:moveTo>
                  <a:lnTo>
                    <a:pt x="1937" y="251"/>
                  </a:lnTo>
                  <a:lnTo>
                    <a:pt x="1830" y="222"/>
                  </a:lnTo>
                  <a:lnTo>
                    <a:pt x="1776" y="178"/>
                  </a:lnTo>
                  <a:lnTo>
                    <a:pt x="1882" y="173"/>
                  </a:lnTo>
                  <a:lnTo>
                    <a:pt x="2003" y="222"/>
                  </a:lnTo>
                  <a:lnTo>
                    <a:pt x="1958" y="251"/>
                  </a:lnTo>
                  <a:lnTo>
                    <a:pt x="1982" y="267"/>
                  </a:lnTo>
                  <a:lnTo>
                    <a:pt x="1965" y="279"/>
                  </a:lnTo>
                  <a:lnTo>
                    <a:pt x="1965" y="279"/>
                  </a:lnTo>
                  <a:lnTo>
                    <a:pt x="1965" y="279"/>
                  </a:lnTo>
                  <a:close/>
                  <a:moveTo>
                    <a:pt x="1731" y="211"/>
                  </a:moveTo>
                  <a:lnTo>
                    <a:pt x="1693" y="194"/>
                  </a:lnTo>
                  <a:lnTo>
                    <a:pt x="1748" y="206"/>
                  </a:lnTo>
                  <a:lnTo>
                    <a:pt x="1731" y="211"/>
                  </a:lnTo>
                  <a:lnTo>
                    <a:pt x="1731" y="211"/>
                  </a:lnTo>
                  <a:lnTo>
                    <a:pt x="1731" y="211"/>
                  </a:lnTo>
                  <a:close/>
                  <a:moveTo>
                    <a:pt x="1528" y="296"/>
                  </a:moveTo>
                  <a:lnTo>
                    <a:pt x="1403" y="267"/>
                  </a:lnTo>
                  <a:lnTo>
                    <a:pt x="1382" y="244"/>
                  </a:lnTo>
                  <a:lnTo>
                    <a:pt x="1398" y="227"/>
                  </a:lnTo>
                  <a:lnTo>
                    <a:pt x="1419" y="239"/>
                  </a:lnTo>
                  <a:lnTo>
                    <a:pt x="1528" y="296"/>
                  </a:lnTo>
                  <a:lnTo>
                    <a:pt x="1528" y="296"/>
                  </a:lnTo>
                  <a:lnTo>
                    <a:pt x="1528" y="296"/>
                  </a:lnTo>
                  <a:close/>
                  <a:moveTo>
                    <a:pt x="1462" y="251"/>
                  </a:moveTo>
                  <a:lnTo>
                    <a:pt x="1457" y="239"/>
                  </a:lnTo>
                  <a:lnTo>
                    <a:pt x="1490" y="251"/>
                  </a:lnTo>
                  <a:lnTo>
                    <a:pt x="1462" y="251"/>
                  </a:lnTo>
                  <a:lnTo>
                    <a:pt x="1462" y="251"/>
                  </a:lnTo>
                  <a:lnTo>
                    <a:pt x="1462" y="251"/>
                  </a:lnTo>
                  <a:close/>
                  <a:moveTo>
                    <a:pt x="3789" y="284"/>
                  </a:moveTo>
                  <a:lnTo>
                    <a:pt x="3763" y="251"/>
                  </a:lnTo>
                  <a:lnTo>
                    <a:pt x="3800" y="296"/>
                  </a:lnTo>
                  <a:lnTo>
                    <a:pt x="3789" y="284"/>
                  </a:lnTo>
                  <a:lnTo>
                    <a:pt x="3789" y="284"/>
                  </a:lnTo>
                  <a:lnTo>
                    <a:pt x="3789" y="284"/>
                  </a:lnTo>
                  <a:close/>
                  <a:moveTo>
                    <a:pt x="3704" y="305"/>
                  </a:moveTo>
                  <a:lnTo>
                    <a:pt x="3666" y="267"/>
                  </a:lnTo>
                  <a:lnTo>
                    <a:pt x="3692" y="267"/>
                  </a:lnTo>
                  <a:lnTo>
                    <a:pt x="3741" y="305"/>
                  </a:lnTo>
                  <a:lnTo>
                    <a:pt x="3704" y="305"/>
                  </a:lnTo>
                  <a:lnTo>
                    <a:pt x="3704" y="305"/>
                  </a:lnTo>
                  <a:lnTo>
                    <a:pt x="3704" y="305"/>
                  </a:lnTo>
                  <a:close/>
                  <a:moveTo>
                    <a:pt x="3817" y="350"/>
                  </a:moveTo>
                  <a:lnTo>
                    <a:pt x="3772" y="322"/>
                  </a:lnTo>
                  <a:lnTo>
                    <a:pt x="3810" y="322"/>
                  </a:lnTo>
                  <a:lnTo>
                    <a:pt x="3843" y="350"/>
                  </a:lnTo>
                  <a:lnTo>
                    <a:pt x="3817" y="350"/>
                  </a:lnTo>
                  <a:lnTo>
                    <a:pt x="3817" y="350"/>
                  </a:lnTo>
                  <a:lnTo>
                    <a:pt x="3817" y="350"/>
                  </a:lnTo>
                  <a:close/>
                  <a:moveTo>
                    <a:pt x="3654" y="355"/>
                  </a:moveTo>
                  <a:lnTo>
                    <a:pt x="3666" y="350"/>
                  </a:lnTo>
                  <a:lnTo>
                    <a:pt x="3649" y="338"/>
                  </a:lnTo>
                  <a:lnTo>
                    <a:pt x="3654" y="333"/>
                  </a:lnTo>
                  <a:lnTo>
                    <a:pt x="3708" y="338"/>
                  </a:lnTo>
                  <a:lnTo>
                    <a:pt x="3654" y="355"/>
                  </a:lnTo>
                  <a:lnTo>
                    <a:pt x="3654" y="355"/>
                  </a:lnTo>
                  <a:lnTo>
                    <a:pt x="3654" y="355"/>
                  </a:lnTo>
                  <a:close/>
                  <a:moveTo>
                    <a:pt x="3789" y="600"/>
                  </a:moveTo>
                  <a:lnTo>
                    <a:pt x="3720" y="612"/>
                  </a:lnTo>
                  <a:lnTo>
                    <a:pt x="3741" y="584"/>
                  </a:lnTo>
                  <a:lnTo>
                    <a:pt x="3789" y="600"/>
                  </a:lnTo>
                  <a:lnTo>
                    <a:pt x="3789" y="600"/>
                  </a:lnTo>
                  <a:lnTo>
                    <a:pt x="3789" y="600"/>
                  </a:lnTo>
                  <a:close/>
                  <a:moveTo>
                    <a:pt x="3763" y="749"/>
                  </a:moveTo>
                  <a:lnTo>
                    <a:pt x="3763" y="766"/>
                  </a:lnTo>
                  <a:lnTo>
                    <a:pt x="3758" y="761"/>
                  </a:lnTo>
                  <a:lnTo>
                    <a:pt x="3763" y="749"/>
                  </a:lnTo>
                  <a:lnTo>
                    <a:pt x="3763" y="749"/>
                  </a:lnTo>
                  <a:lnTo>
                    <a:pt x="3763" y="749"/>
                  </a:lnTo>
                  <a:close/>
                  <a:moveTo>
                    <a:pt x="3881" y="749"/>
                  </a:moveTo>
                  <a:lnTo>
                    <a:pt x="3885" y="761"/>
                  </a:lnTo>
                  <a:lnTo>
                    <a:pt x="3848" y="794"/>
                  </a:lnTo>
                  <a:lnTo>
                    <a:pt x="3855" y="778"/>
                  </a:lnTo>
                  <a:lnTo>
                    <a:pt x="3881" y="749"/>
                  </a:lnTo>
                  <a:lnTo>
                    <a:pt x="3881" y="749"/>
                  </a:lnTo>
                  <a:lnTo>
                    <a:pt x="3881" y="749"/>
                  </a:lnTo>
                  <a:close/>
                  <a:moveTo>
                    <a:pt x="3763" y="834"/>
                  </a:moveTo>
                  <a:lnTo>
                    <a:pt x="3734" y="822"/>
                  </a:lnTo>
                  <a:lnTo>
                    <a:pt x="3779" y="799"/>
                  </a:lnTo>
                  <a:lnTo>
                    <a:pt x="3763" y="815"/>
                  </a:lnTo>
                  <a:lnTo>
                    <a:pt x="3779" y="822"/>
                  </a:lnTo>
                  <a:lnTo>
                    <a:pt x="3758" y="822"/>
                  </a:lnTo>
                  <a:lnTo>
                    <a:pt x="3779" y="822"/>
                  </a:lnTo>
                  <a:lnTo>
                    <a:pt x="3763" y="834"/>
                  </a:lnTo>
                  <a:lnTo>
                    <a:pt x="3763" y="834"/>
                  </a:lnTo>
                  <a:lnTo>
                    <a:pt x="3763" y="834"/>
                  </a:lnTo>
                  <a:close/>
                  <a:moveTo>
                    <a:pt x="3843" y="834"/>
                  </a:moveTo>
                  <a:lnTo>
                    <a:pt x="3843" y="806"/>
                  </a:lnTo>
                  <a:lnTo>
                    <a:pt x="3855" y="815"/>
                  </a:lnTo>
                  <a:lnTo>
                    <a:pt x="3843" y="834"/>
                  </a:lnTo>
                  <a:lnTo>
                    <a:pt x="3843" y="834"/>
                  </a:lnTo>
                  <a:lnTo>
                    <a:pt x="3843" y="834"/>
                  </a:lnTo>
                  <a:close/>
                  <a:moveTo>
                    <a:pt x="3772" y="877"/>
                  </a:moveTo>
                  <a:lnTo>
                    <a:pt x="3789" y="889"/>
                  </a:lnTo>
                  <a:lnTo>
                    <a:pt x="3763" y="893"/>
                  </a:lnTo>
                  <a:lnTo>
                    <a:pt x="3763" y="889"/>
                  </a:lnTo>
                  <a:lnTo>
                    <a:pt x="3772" y="877"/>
                  </a:lnTo>
                  <a:lnTo>
                    <a:pt x="3772" y="877"/>
                  </a:lnTo>
                  <a:lnTo>
                    <a:pt x="3772" y="877"/>
                  </a:lnTo>
                  <a:close/>
                  <a:moveTo>
                    <a:pt x="3746" y="889"/>
                  </a:moveTo>
                  <a:lnTo>
                    <a:pt x="3758" y="893"/>
                  </a:lnTo>
                  <a:lnTo>
                    <a:pt x="3741" y="905"/>
                  </a:lnTo>
                  <a:lnTo>
                    <a:pt x="3741" y="889"/>
                  </a:lnTo>
                  <a:lnTo>
                    <a:pt x="3746" y="889"/>
                  </a:lnTo>
                  <a:lnTo>
                    <a:pt x="3746" y="889"/>
                  </a:lnTo>
                  <a:lnTo>
                    <a:pt x="3746" y="889"/>
                  </a:lnTo>
                  <a:close/>
                  <a:moveTo>
                    <a:pt x="3772" y="910"/>
                  </a:moveTo>
                  <a:lnTo>
                    <a:pt x="3763" y="905"/>
                  </a:lnTo>
                  <a:lnTo>
                    <a:pt x="3796" y="905"/>
                  </a:lnTo>
                  <a:lnTo>
                    <a:pt x="3772" y="910"/>
                  </a:lnTo>
                  <a:lnTo>
                    <a:pt x="3772" y="910"/>
                  </a:lnTo>
                  <a:lnTo>
                    <a:pt x="3772" y="910"/>
                  </a:lnTo>
                  <a:close/>
                  <a:moveTo>
                    <a:pt x="3649" y="917"/>
                  </a:moveTo>
                  <a:lnTo>
                    <a:pt x="3654" y="917"/>
                  </a:lnTo>
                  <a:lnTo>
                    <a:pt x="3649" y="917"/>
                  </a:lnTo>
                  <a:lnTo>
                    <a:pt x="3649" y="917"/>
                  </a:lnTo>
                  <a:lnTo>
                    <a:pt x="3649" y="917"/>
                  </a:lnTo>
                  <a:close/>
                  <a:moveTo>
                    <a:pt x="3796" y="917"/>
                  </a:moveTo>
                  <a:lnTo>
                    <a:pt x="3789" y="933"/>
                  </a:lnTo>
                  <a:lnTo>
                    <a:pt x="3779" y="926"/>
                  </a:lnTo>
                  <a:lnTo>
                    <a:pt x="3796" y="917"/>
                  </a:lnTo>
                  <a:lnTo>
                    <a:pt x="3796" y="917"/>
                  </a:lnTo>
                  <a:lnTo>
                    <a:pt x="3796" y="917"/>
                  </a:lnTo>
                  <a:close/>
                  <a:moveTo>
                    <a:pt x="3772" y="926"/>
                  </a:moveTo>
                  <a:lnTo>
                    <a:pt x="3763" y="926"/>
                  </a:lnTo>
                  <a:lnTo>
                    <a:pt x="3772" y="917"/>
                  </a:lnTo>
                  <a:lnTo>
                    <a:pt x="3772" y="926"/>
                  </a:lnTo>
                  <a:lnTo>
                    <a:pt x="3772" y="926"/>
                  </a:lnTo>
                  <a:lnTo>
                    <a:pt x="3772" y="926"/>
                  </a:lnTo>
                  <a:close/>
                  <a:moveTo>
                    <a:pt x="3637" y="945"/>
                  </a:moveTo>
                  <a:lnTo>
                    <a:pt x="3628" y="966"/>
                  </a:lnTo>
                  <a:lnTo>
                    <a:pt x="3616" y="962"/>
                  </a:lnTo>
                  <a:lnTo>
                    <a:pt x="3637" y="945"/>
                  </a:lnTo>
                  <a:lnTo>
                    <a:pt x="3637" y="945"/>
                  </a:lnTo>
                  <a:lnTo>
                    <a:pt x="3637" y="945"/>
                  </a:lnTo>
                  <a:close/>
                  <a:moveTo>
                    <a:pt x="3734" y="966"/>
                  </a:moveTo>
                  <a:lnTo>
                    <a:pt x="3772" y="971"/>
                  </a:lnTo>
                  <a:lnTo>
                    <a:pt x="3687" y="950"/>
                  </a:lnTo>
                  <a:lnTo>
                    <a:pt x="3725" y="950"/>
                  </a:lnTo>
                  <a:lnTo>
                    <a:pt x="3720" y="950"/>
                  </a:lnTo>
                  <a:lnTo>
                    <a:pt x="3734" y="966"/>
                  </a:lnTo>
                  <a:lnTo>
                    <a:pt x="3734" y="966"/>
                  </a:lnTo>
                  <a:lnTo>
                    <a:pt x="3734" y="966"/>
                  </a:lnTo>
                  <a:close/>
                  <a:moveTo>
                    <a:pt x="3746" y="962"/>
                  </a:moveTo>
                  <a:lnTo>
                    <a:pt x="3741" y="950"/>
                  </a:lnTo>
                  <a:lnTo>
                    <a:pt x="3746" y="962"/>
                  </a:lnTo>
                  <a:lnTo>
                    <a:pt x="3746" y="962"/>
                  </a:lnTo>
                  <a:lnTo>
                    <a:pt x="3746" y="962"/>
                  </a:lnTo>
                  <a:close/>
                  <a:moveTo>
                    <a:pt x="3881" y="962"/>
                  </a:moveTo>
                  <a:lnTo>
                    <a:pt x="3885" y="971"/>
                  </a:lnTo>
                  <a:lnTo>
                    <a:pt x="3881" y="988"/>
                  </a:lnTo>
                  <a:lnTo>
                    <a:pt x="3843" y="1000"/>
                  </a:lnTo>
                  <a:lnTo>
                    <a:pt x="3864" y="966"/>
                  </a:lnTo>
                  <a:lnTo>
                    <a:pt x="3881" y="962"/>
                  </a:lnTo>
                  <a:lnTo>
                    <a:pt x="3881" y="962"/>
                  </a:lnTo>
                  <a:lnTo>
                    <a:pt x="3881" y="962"/>
                  </a:lnTo>
                  <a:close/>
                  <a:moveTo>
                    <a:pt x="3708" y="1000"/>
                  </a:moveTo>
                  <a:lnTo>
                    <a:pt x="3720" y="1004"/>
                  </a:lnTo>
                  <a:lnTo>
                    <a:pt x="3687" y="1004"/>
                  </a:lnTo>
                  <a:lnTo>
                    <a:pt x="3708" y="1000"/>
                  </a:lnTo>
                  <a:lnTo>
                    <a:pt x="3708" y="1000"/>
                  </a:lnTo>
                  <a:lnTo>
                    <a:pt x="3708" y="1000"/>
                  </a:lnTo>
                  <a:close/>
                  <a:moveTo>
                    <a:pt x="432" y="1004"/>
                  </a:moveTo>
                  <a:lnTo>
                    <a:pt x="425" y="1004"/>
                  </a:lnTo>
                  <a:lnTo>
                    <a:pt x="446" y="1004"/>
                  </a:lnTo>
                  <a:lnTo>
                    <a:pt x="432" y="1004"/>
                  </a:lnTo>
                  <a:lnTo>
                    <a:pt x="432" y="1004"/>
                  </a:lnTo>
                  <a:lnTo>
                    <a:pt x="432" y="1004"/>
                  </a:lnTo>
                  <a:close/>
                  <a:moveTo>
                    <a:pt x="479" y="1028"/>
                  </a:moveTo>
                  <a:lnTo>
                    <a:pt x="437" y="1021"/>
                  </a:lnTo>
                  <a:lnTo>
                    <a:pt x="479" y="1021"/>
                  </a:lnTo>
                  <a:lnTo>
                    <a:pt x="479" y="1028"/>
                  </a:lnTo>
                  <a:lnTo>
                    <a:pt x="479" y="1028"/>
                  </a:lnTo>
                  <a:lnTo>
                    <a:pt x="479" y="1028"/>
                  </a:lnTo>
                  <a:close/>
                  <a:moveTo>
                    <a:pt x="122" y="1028"/>
                  </a:moveTo>
                  <a:lnTo>
                    <a:pt x="205" y="1037"/>
                  </a:lnTo>
                  <a:lnTo>
                    <a:pt x="139" y="1044"/>
                  </a:lnTo>
                  <a:lnTo>
                    <a:pt x="122" y="1028"/>
                  </a:lnTo>
                  <a:lnTo>
                    <a:pt x="122" y="1028"/>
                  </a:lnTo>
                  <a:lnTo>
                    <a:pt x="122" y="1028"/>
                  </a:lnTo>
                  <a:close/>
                  <a:moveTo>
                    <a:pt x="54" y="1028"/>
                  </a:moveTo>
                  <a:lnTo>
                    <a:pt x="113" y="1044"/>
                  </a:lnTo>
                  <a:lnTo>
                    <a:pt x="68" y="1054"/>
                  </a:lnTo>
                  <a:lnTo>
                    <a:pt x="30" y="1037"/>
                  </a:lnTo>
                  <a:lnTo>
                    <a:pt x="54" y="1028"/>
                  </a:lnTo>
                  <a:lnTo>
                    <a:pt x="54" y="1028"/>
                  </a:lnTo>
                  <a:lnTo>
                    <a:pt x="54" y="1028"/>
                  </a:lnTo>
                  <a:close/>
                  <a:moveTo>
                    <a:pt x="3741" y="1127"/>
                  </a:moveTo>
                  <a:lnTo>
                    <a:pt x="3746" y="1127"/>
                  </a:lnTo>
                  <a:lnTo>
                    <a:pt x="3734" y="1132"/>
                  </a:lnTo>
                  <a:lnTo>
                    <a:pt x="3741" y="1127"/>
                  </a:lnTo>
                  <a:lnTo>
                    <a:pt x="3741" y="1127"/>
                  </a:lnTo>
                  <a:lnTo>
                    <a:pt x="3741" y="1127"/>
                  </a:lnTo>
                  <a:close/>
                  <a:moveTo>
                    <a:pt x="3810" y="1226"/>
                  </a:moveTo>
                  <a:lnTo>
                    <a:pt x="3817" y="1243"/>
                  </a:lnTo>
                  <a:lnTo>
                    <a:pt x="3817" y="1266"/>
                  </a:lnTo>
                  <a:lnTo>
                    <a:pt x="3817" y="1250"/>
                  </a:lnTo>
                  <a:lnTo>
                    <a:pt x="3779" y="1172"/>
                  </a:lnTo>
                  <a:lnTo>
                    <a:pt x="3800" y="1165"/>
                  </a:lnTo>
                  <a:lnTo>
                    <a:pt x="3789" y="1155"/>
                  </a:lnTo>
                  <a:lnTo>
                    <a:pt x="3789" y="1139"/>
                  </a:lnTo>
                  <a:lnTo>
                    <a:pt x="3810" y="1155"/>
                  </a:lnTo>
                  <a:lnTo>
                    <a:pt x="3810" y="1172"/>
                  </a:lnTo>
                  <a:lnTo>
                    <a:pt x="3817" y="1222"/>
                  </a:lnTo>
                  <a:lnTo>
                    <a:pt x="3810" y="1226"/>
                  </a:lnTo>
                  <a:lnTo>
                    <a:pt x="3810" y="1226"/>
                  </a:lnTo>
                  <a:lnTo>
                    <a:pt x="3810" y="1226"/>
                  </a:lnTo>
                  <a:close/>
                  <a:moveTo>
                    <a:pt x="3741" y="1139"/>
                  </a:moveTo>
                  <a:lnTo>
                    <a:pt x="3746" y="1139"/>
                  </a:lnTo>
                  <a:lnTo>
                    <a:pt x="3725" y="1139"/>
                  </a:lnTo>
                  <a:lnTo>
                    <a:pt x="3741" y="1139"/>
                  </a:lnTo>
                  <a:lnTo>
                    <a:pt x="3741" y="1139"/>
                  </a:lnTo>
                  <a:lnTo>
                    <a:pt x="3741" y="1139"/>
                  </a:lnTo>
                  <a:close/>
                  <a:moveTo>
                    <a:pt x="3633" y="1165"/>
                  </a:moveTo>
                  <a:lnTo>
                    <a:pt x="3611" y="1155"/>
                  </a:lnTo>
                  <a:lnTo>
                    <a:pt x="3649" y="1155"/>
                  </a:lnTo>
                  <a:lnTo>
                    <a:pt x="3633" y="1165"/>
                  </a:lnTo>
                  <a:lnTo>
                    <a:pt x="3633" y="1165"/>
                  </a:lnTo>
                  <a:lnTo>
                    <a:pt x="3633" y="1165"/>
                  </a:lnTo>
                  <a:close/>
                  <a:moveTo>
                    <a:pt x="236" y="1155"/>
                  </a:moveTo>
                  <a:lnTo>
                    <a:pt x="252" y="1165"/>
                  </a:lnTo>
                  <a:lnTo>
                    <a:pt x="205" y="1165"/>
                  </a:lnTo>
                  <a:lnTo>
                    <a:pt x="236" y="1155"/>
                  </a:lnTo>
                  <a:lnTo>
                    <a:pt x="236" y="1155"/>
                  </a:lnTo>
                  <a:lnTo>
                    <a:pt x="236" y="1155"/>
                  </a:lnTo>
                  <a:close/>
                  <a:moveTo>
                    <a:pt x="3670" y="1172"/>
                  </a:moveTo>
                  <a:lnTo>
                    <a:pt x="3666" y="1189"/>
                  </a:lnTo>
                  <a:lnTo>
                    <a:pt x="3637" y="1184"/>
                  </a:lnTo>
                  <a:lnTo>
                    <a:pt x="3670" y="1172"/>
                  </a:lnTo>
                  <a:lnTo>
                    <a:pt x="3670" y="1172"/>
                  </a:lnTo>
                  <a:lnTo>
                    <a:pt x="3670" y="1172"/>
                  </a:lnTo>
                  <a:close/>
                  <a:moveTo>
                    <a:pt x="215" y="1184"/>
                  </a:moveTo>
                  <a:lnTo>
                    <a:pt x="219" y="1189"/>
                  </a:lnTo>
                  <a:lnTo>
                    <a:pt x="198" y="1184"/>
                  </a:lnTo>
                  <a:lnTo>
                    <a:pt x="215" y="1184"/>
                  </a:lnTo>
                  <a:lnTo>
                    <a:pt x="215" y="1184"/>
                  </a:lnTo>
                  <a:lnTo>
                    <a:pt x="215" y="1184"/>
                  </a:lnTo>
                  <a:close/>
                  <a:moveTo>
                    <a:pt x="3708" y="1193"/>
                  </a:moveTo>
                  <a:lnTo>
                    <a:pt x="3692" y="1210"/>
                  </a:lnTo>
                  <a:lnTo>
                    <a:pt x="3670" y="1193"/>
                  </a:lnTo>
                  <a:lnTo>
                    <a:pt x="3708" y="1193"/>
                  </a:lnTo>
                  <a:lnTo>
                    <a:pt x="3708" y="1193"/>
                  </a:lnTo>
                  <a:lnTo>
                    <a:pt x="3708" y="1193"/>
                  </a:lnTo>
                  <a:close/>
                  <a:moveTo>
                    <a:pt x="630" y="1226"/>
                  </a:moveTo>
                  <a:lnTo>
                    <a:pt x="630" y="1243"/>
                  </a:lnTo>
                  <a:lnTo>
                    <a:pt x="626" y="1238"/>
                  </a:lnTo>
                  <a:lnTo>
                    <a:pt x="630" y="1226"/>
                  </a:lnTo>
                  <a:lnTo>
                    <a:pt x="630" y="1226"/>
                  </a:lnTo>
                  <a:lnTo>
                    <a:pt x="630" y="1226"/>
                  </a:lnTo>
                  <a:close/>
                  <a:moveTo>
                    <a:pt x="559" y="1238"/>
                  </a:moveTo>
                  <a:lnTo>
                    <a:pt x="559" y="1243"/>
                  </a:lnTo>
                  <a:lnTo>
                    <a:pt x="545" y="1243"/>
                  </a:lnTo>
                  <a:lnTo>
                    <a:pt x="559" y="1238"/>
                  </a:lnTo>
                  <a:lnTo>
                    <a:pt x="559" y="1238"/>
                  </a:lnTo>
                  <a:lnTo>
                    <a:pt x="559" y="1238"/>
                  </a:lnTo>
                  <a:close/>
                  <a:moveTo>
                    <a:pt x="3864" y="1337"/>
                  </a:moveTo>
                  <a:lnTo>
                    <a:pt x="3871" y="1354"/>
                  </a:lnTo>
                  <a:lnTo>
                    <a:pt x="3843" y="1361"/>
                  </a:lnTo>
                  <a:lnTo>
                    <a:pt x="3881" y="1387"/>
                  </a:lnTo>
                  <a:lnTo>
                    <a:pt x="3909" y="1377"/>
                  </a:lnTo>
                  <a:lnTo>
                    <a:pt x="3902" y="1394"/>
                  </a:lnTo>
                  <a:lnTo>
                    <a:pt x="3885" y="1406"/>
                  </a:lnTo>
                  <a:lnTo>
                    <a:pt x="3885" y="1394"/>
                  </a:lnTo>
                  <a:lnTo>
                    <a:pt x="3871" y="1394"/>
                  </a:lnTo>
                  <a:lnTo>
                    <a:pt x="3796" y="1394"/>
                  </a:lnTo>
                  <a:lnTo>
                    <a:pt x="3800" y="1349"/>
                  </a:lnTo>
                  <a:lnTo>
                    <a:pt x="3817" y="1337"/>
                  </a:lnTo>
                  <a:lnTo>
                    <a:pt x="3843" y="1354"/>
                  </a:lnTo>
                  <a:lnTo>
                    <a:pt x="3848" y="1333"/>
                  </a:lnTo>
                  <a:lnTo>
                    <a:pt x="3864" y="1337"/>
                  </a:lnTo>
                  <a:lnTo>
                    <a:pt x="3864" y="1337"/>
                  </a:lnTo>
                  <a:lnTo>
                    <a:pt x="3864" y="1337"/>
                  </a:lnTo>
                  <a:close/>
                  <a:moveTo>
                    <a:pt x="3704" y="1387"/>
                  </a:moveTo>
                  <a:lnTo>
                    <a:pt x="3725" y="1394"/>
                  </a:lnTo>
                  <a:lnTo>
                    <a:pt x="3708" y="1411"/>
                  </a:lnTo>
                  <a:lnTo>
                    <a:pt x="3741" y="1415"/>
                  </a:lnTo>
                  <a:lnTo>
                    <a:pt x="3708" y="1444"/>
                  </a:lnTo>
                  <a:lnTo>
                    <a:pt x="3670" y="1427"/>
                  </a:lnTo>
                  <a:lnTo>
                    <a:pt x="3682" y="1411"/>
                  </a:lnTo>
                  <a:lnTo>
                    <a:pt x="3682" y="1394"/>
                  </a:lnTo>
                  <a:lnTo>
                    <a:pt x="3704" y="1387"/>
                  </a:lnTo>
                  <a:lnTo>
                    <a:pt x="3704" y="1387"/>
                  </a:lnTo>
                  <a:lnTo>
                    <a:pt x="3704" y="1387"/>
                  </a:lnTo>
                  <a:close/>
                  <a:moveTo>
                    <a:pt x="1084" y="1432"/>
                  </a:moveTo>
                  <a:lnTo>
                    <a:pt x="1096" y="1432"/>
                  </a:lnTo>
                  <a:lnTo>
                    <a:pt x="1074" y="1432"/>
                  </a:lnTo>
                  <a:lnTo>
                    <a:pt x="1084" y="1432"/>
                  </a:lnTo>
                  <a:lnTo>
                    <a:pt x="1084" y="1432"/>
                  </a:lnTo>
                  <a:lnTo>
                    <a:pt x="1084" y="1432"/>
                  </a:lnTo>
                  <a:close/>
                  <a:moveTo>
                    <a:pt x="3833" y="1444"/>
                  </a:moveTo>
                  <a:lnTo>
                    <a:pt x="3833" y="1448"/>
                  </a:lnTo>
                  <a:lnTo>
                    <a:pt x="3826" y="1448"/>
                  </a:lnTo>
                  <a:lnTo>
                    <a:pt x="3817" y="1432"/>
                  </a:lnTo>
                  <a:lnTo>
                    <a:pt x="3833" y="1444"/>
                  </a:lnTo>
                  <a:lnTo>
                    <a:pt x="3833" y="1444"/>
                  </a:lnTo>
                  <a:lnTo>
                    <a:pt x="3833" y="1444"/>
                  </a:lnTo>
                  <a:close/>
                  <a:moveTo>
                    <a:pt x="3810" y="1448"/>
                  </a:moveTo>
                  <a:lnTo>
                    <a:pt x="3800" y="1460"/>
                  </a:lnTo>
                  <a:lnTo>
                    <a:pt x="3772" y="1460"/>
                  </a:lnTo>
                  <a:lnTo>
                    <a:pt x="3800" y="1444"/>
                  </a:lnTo>
                  <a:lnTo>
                    <a:pt x="3810" y="1448"/>
                  </a:lnTo>
                  <a:lnTo>
                    <a:pt x="3810" y="1448"/>
                  </a:lnTo>
                  <a:lnTo>
                    <a:pt x="3810" y="1448"/>
                  </a:lnTo>
                  <a:close/>
                  <a:moveTo>
                    <a:pt x="1117" y="1448"/>
                  </a:moveTo>
                  <a:lnTo>
                    <a:pt x="1100" y="1460"/>
                  </a:lnTo>
                  <a:lnTo>
                    <a:pt x="1117" y="1448"/>
                  </a:lnTo>
                  <a:lnTo>
                    <a:pt x="1117" y="1448"/>
                  </a:lnTo>
                  <a:lnTo>
                    <a:pt x="1117" y="1448"/>
                  </a:lnTo>
                  <a:close/>
                  <a:moveTo>
                    <a:pt x="1126" y="1448"/>
                  </a:moveTo>
                  <a:lnTo>
                    <a:pt x="1133" y="1460"/>
                  </a:lnTo>
                  <a:lnTo>
                    <a:pt x="1117" y="1460"/>
                  </a:lnTo>
                  <a:lnTo>
                    <a:pt x="1126" y="1448"/>
                  </a:lnTo>
                  <a:lnTo>
                    <a:pt x="1126" y="1448"/>
                  </a:lnTo>
                  <a:lnTo>
                    <a:pt x="1126" y="1448"/>
                  </a:lnTo>
                  <a:close/>
                  <a:moveTo>
                    <a:pt x="1100" y="1465"/>
                  </a:moveTo>
                  <a:lnTo>
                    <a:pt x="1164" y="1465"/>
                  </a:lnTo>
                  <a:lnTo>
                    <a:pt x="1084" y="1465"/>
                  </a:lnTo>
                  <a:lnTo>
                    <a:pt x="1100" y="1465"/>
                  </a:lnTo>
                  <a:lnTo>
                    <a:pt x="1100" y="1465"/>
                  </a:lnTo>
                  <a:lnTo>
                    <a:pt x="1100" y="1465"/>
                  </a:lnTo>
                  <a:close/>
                  <a:moveTo>
                    <a:pt x="3649" y="1472"/>
                  </a:moveTo>
                  <a:lnTo>
                    <a:pt x="3682" y="1481"/>
                  </a:lnTo>
                  <a:lnTo>
                    <a:pt x="3687" y="1498"/>
                  </a:lnTo>
                  <a:lnTo>
                    <a:pt x="3708" y="1514"/>
                  </a:lnTo>
                  <a:lnTo>
                    <a:pt x="3633" y="1526"/>
                  </a:lnTo>
                  <a:lnTo>
                    <a:pt x="3578" y="1505"/>
                  </a:lnTo>
                  <a:lnTo>
                    <a:pt x="3611" y="1481"/>
                  </a:lnTo>
                  <a:lnTo>
                    <a:pt x="3649" y="1472"/>
                  </a:lnTo>
                  <a:lnTo>
                    <a:pt x="3649" y="1472"/>
                  </a:lnTo>
                  <a:lnTo>
                    <a:pt x="3649" y="1472"/>
                  </a:lnTo>
                  <a:close/>
                  <a:moveTo>
                    <a:pt x="3708" y="1543"/>
                  </a:moveTo>
                  <a:lnTo>
                    <a:pt x="3720" y="1555"/>
                  </a:lnTo>
                  <a:lnTo>
                    <a:pt x="3704" y="1555"/>
                  </a:lnTo>
                  <a:lnTo>
                    <a:pt x="3708" y="1543"/>
                  </a:lnTo>
                  <a:lnTo>
                    <a:pt x="3708" y="1543"/>
                  </a:lnTo>
                  <a:lnTo>
                    <a:pt x="3708" y="1543"/>
                  </a:lnTo>
                  <a:close/>
                  <a:moveTo>
                    <a:pt x="1171" y="1571"/>
                  </a:moveTo>
                  <a:lnTo>
                    <a:pt x="1138" y="1555"/>
                  </a:lnTo>
                  <a:lnTo>
                    <a:pt x="1193" y="1559"/>
                  </a:lnTo>
                  <a:lnTo>
                    <a:pt x="1171" y="1571"/>
                  </a:lnTo>
                  <a:lnTo>
                    <a:pt x="1171" y="1571"/>
                  </a:lnTo>
                  <a:lnTo>
                    <a:pt x="1171" y="1571"/>
                  </a:lnTo>
                  <a:close/>
                  <a:moveTo>
                    <a:pt x="1155" y="1583"/>
                  </a:moveTo>
                  <a:lnTo>
                    <a:pt x="1171" y="1583"/>
                  </a:lnTo>
                  <a:lnTo>
                    <a:pt x="1126" y="1583"/>
                  </a:lnTo>
                  <a:lnTo>
                    <a:pt x="1155" y="1583"/>
                  </a:lnTo>
                  <a:lnTo>
                    <a:pt x="1155" y="1583"/>
                  </a:lnTo>
                  <a:lnTo>
                    <a:pt x="1155" y="1583"/>
                  </a:lnTo>
                  <a:close/>
                  <a:moveTo>
                    <a:pt x="1164" y="1600"/>
                  </a:moveTo>
                  <a:lnTo>
                    <a:pt x="1155" y="1600"/>
                  </a:lnTo>
                  <a:lnTo>
                    <a:pt x="1171" y="1583"/>
                  </a:lnTo>
                  <a:lnTo>
                    <a:pt x="1181" y="1592"/>
                  </a:lnTo>
                  <a:lnTo>
                    <a:pt x="1164" y="1600"/>
                  </a:lnTo>
                  <a:lnTo>
                    <a:pt x="1164" y="1600"/>
                  </a:lnTo>
                  <a:lnTo>
                    <a:pt x="1164" y="1600"/>
                  </a:lnTo>
                  <a:close/>
                  <a:moveTo>
                    <a:pt x="1193" y="1600"/>
                  </a:moveTo>
                  <a:lnTo>
                    <a:pt x="1235" y="1616"/>
                  </a:lnTo>
                  <a:lnTo>
                    <a:pt x="1209" y="1626"/>
                  </a:lnTo>
                  <a:lnTo>
                    <a:pt x="1219" y="1609"/>
                  </a:lnTo>
                  <a:lnTo>
                    <a:pt x="1188" y="1600"/>
                  </a:lnTo>
                  <a:lnTo>
                    <a:pt x="1193" y="1600"/>
                  </a:lnTo>
                  <a:lnTo>
                    <a:pt x="1193" y="1600"/>
                  </a:lnTo>
                  <a:lnTo>
                    <a:pt x="1193" y="1600"/>
                  </a:lnTo>
                  <a:close/>
                  <a:moveTo>
                    <a:pt x="1193" y="1609"/>
                  </a:moveTo>
                  <a:lnTo>
                    <a:pt x="1209" y="1616"/>
                  </a:lnTo>
                  <a:lnTo>
                    <a:pt x="1188" y="1616"/>
                  </a:lnTo>
                  <a:lnTo>
                    <a:pt x="1193" y="1609"/>
                  </a:lnTo>
                  <a:lnTo>
                    <a:pt x="1193" y="1609"/>
                  </a:lnTo>
                  <a:lnTo>
                    <a:pt x="1193" y="1609"/>
                  </a:lnTo>
                  <a:close/>
                  <a:moveTo>
                    <a:pt x="3406" y="1616"/>
                  </a:moveTo>
                  <a:lnTo>
                    <a:pt x="3493" y="1649"/>
                  </a:lnTo>
                  <a:lnTo>
                    <a:pt x="3368" y="1633"/>
                  </a:lnTo>
                  <a:lnTo>
                    <a:pt x="3507" y="1654"/>
                  </a:lnTo>
                  <a:lnTo>
                    <a:pt x="3406" y="1670"/>
                  </a:lnTo>
                  <a:lnTo>
                    <a:pt x="3314" y="1649"/>
                  </a:lnTo>
                  <a:lnTo>
                    <a:pt x="3352" y="1626"/>
                  </a:lnTo>
                  <a:lnTo>
                    <a:pt x="3406" y="1616"/>
                  </a:lnTo>
                  <a:lnTo>
                    <a:pt x="3406" y="1616"/>
                  </a:lnTo>
                  <a:lnTo>
                    <a:pt x="3406" y="1616"/>
                  </a:lnTo>
                  <a:close/>
                  <a:moveTo>
                    <a:pt x="1193" y="1626"/>
                  </a:moveTo>
                  <a:lnTo>
                    <a:pt x="1202" y="1626"/>
                  </a:lnTo>
                  <a:lnTo>
                    <a:pt x="1188" y="1633"/>
                  </a:lnTo>
                  <a:lnTo>
                    <a:pt x="1193" y="1626"/>
                  </a:lnTo>
                  <a:lnTo>
                    <a:pt x="1193" y="1626"/>
                  </a:lnTo>
                  <a:lnTo>
                    <a:pt x="1193" y="1626"/>
                  </a:lnTo>
                  <a:close/>
                  <a:moveTo>
                    <a:pt x="1209" y="1626"/>
                  </a:moveTo>
                  <a:lnTo>
                    <a:pt x="1219" y="1633"/>
                  </a:lnTo>
                  <a:lnTo>
                    <a:pt x="1202" y="1633"/>
                  </a:lnTo>
                  <a:lnTo>
                    <a:pt x="1209" y="1626"/>
                  </a:lnTo>
                  <a:lnTo>
                    <a:pt x="1209" y="1626"/>
                  </a:lnTo>
                  <a:lnTo>
                    <a:pt x="1209" y="1626"/>
                  </a:lnTo>
                  <a:close/>
                  <a:moveTo>
                    <a:pt x="1202" y="1637"/>
                  </a:moveTo>
                  <a:lnTo>
                    <a:pt x="1188" y="1666"/>
                  </a:lnTo>
                  <a:lnTo>
                    <a:pt x="1193" y="1649"/>
                  </a:lnTo>
                  <a:lnTo>
                    <a:pt x="1202" y="1637"/>
                  </a:lnTo>
                  <a:lnTo>
                    <a:pt x="1202" y="1637"/>
                  </a:lnTo>
                  <a:lnTo>
                    <a:pt x="1202" y="1637"/>
                  </a:lnTo>
                  <a:close/>
                  <a:moveTo>
                    <a:pt x="1181" y="1649"/>
                  </a:moveTo>
                  <a:lnTo>
                    <a:pt x="1181" y="1654"/>
                  </a:lnTo>
                  <a:lnTo>
                    <a:pt x="1171" y="1654"/>
                  </a:lnTo>
                  <a:lnTo>
                    <a:pt x="1181" y="1649"/>
                  </a:lnTo>
                  <a:lnTo>
                    <a:pt x="1181" y="1649"/>
                  </a:lnTo>
                  <a:lnTo>
                    <a:pt x="1181" y="1649"/>
                  </a:lnTo>
                  <a:close/>
                  <a:moveTo>
                    <a:pt x="3583" y="1720"/>
                  </a:moveTo>
                  <a:lnTo>
                    <a:pt x="3541" y="1720"/>
                  </a:lnTo>
                  <a:lnTo>
                    <a:pt x="3503" y="1694"/>
                  </a:lnTo>
                  <a:lnTo>
                    <a:pt x="3401" y="1687"/>
                  </a:lnTo>
                  <a:lnTo>
                    <a:pt x="3394" y="1682"/>
                  </a:lnTo>
                  <a:lnTo>
                    <a:pt x="3493" y="1670"/>
                  </a:lnTo>
                  <a:lnTo>
                    <a:pt x="3545" y="1682"/>
                  </a:lnTo>
                  <a:lnTo>
                    <a:pt x="3583" y="1687"/>
                  </a:lnTo>
                  <a:lnTo>
                    <a:pt x="3562" y="1703"/>
                  </a:lnTo>
                  <a:lnTo>
                    <a:pt x="3578" y="1711"/>
                  </a:lnTo>
                  <a:lnTo>
                    <a:pt x="3583" y="1720"/>
                  </a:lnTo>
                  <a:lnTo>
                    <a:pt x="3583" y="1720"/>
                  </a:lnTo>
                  <a:lnTo>
                    <a:pt x="3583" y="1720"/>
                  </a:lnTo>
                  <a:close/>
                  <a:moveTo>
                    <a:pt x="1209" y="1670"/>
                  </a:moveTo>
                  <a:lnTo>
                    <a:pt x="1219" y="1670"/>
                  </a:lnTo>
                  <a:lnTo>
                    <a:pt x="1202" y="1670"/>
                  </a:lnTo>
                  <a:lnTo>
                    <a:pt x="1209" y="1670"/>
                  </a:lnTo>
                  <a:lnTo>
                    <a:pt x="1209" y="1670"/>
                  </a:lnTo>
                  <a:lnTo>
                    <a:pt x="1209" y="1670"/>
                  </a:lnTo>
                  <a:close/>
                  <a:moveTo>
                    <a:pt x="1240" y="1687"/>
                  </a:moveTo>
                  <a:lnTo>
                    <a:pt x="1219" y="1682"/>
                  </a:lnTo>
                  <a:lnTo>
                    <a:pt x="1226" y="1670"/>
                  </a:lnTo>
                  <a:lnTo>
                    <a:pt x="1256" y="1682"/>
                  </a:lnTo>
                  <a:lnTo>
                    <a:pt x="1240" y="1687"/>
                  </a:lnTo>
                  <a:lnTo>
                    <a:pt x="1240" y="1687"/>
                  </a:lnTo>
                  <a:lnTo>
                    <a:pt x="1240" y="1687"/>
                  </a:lnTo>
                  <a:close/>
                  <a:moveTo>
                    <a:pt x="3385" y="1687"/>
                  </a:moveTo>
                  <a:lnTo>
                    <a:pt x="3380" y="1711"/>
                  </a:lnTo>
                  <a:lnTo>
                    <a:pt x="3352" y="1703"/>
                  </a:lnTo>
                  <a:lnTo>
                    <a:pt x="3385" y="1687"/>
                  </a:lnTo>
                  <a:lnTo>
                    <a:pt x="3385" y="1687"/>
                  </a:lnTo>
                  <a:lnTo>
                    <a:pt x="3385" y="1687"/>
                  </a:lnTo>
                  <a:close/>
                  <a:moveTo>
                    <a:pt x="1226" y="1694"/>
                  </a:moveTo>
                  <a:lnTo>
                    <a:pt x="1240" y="1694"/>
                  </a:lnTo>
                  <a:lnTo>
                    <a:pt x="1226" y="1703"/>
                  </a:lnTo>
                  <a:lnTo>
                    <a:pt x="1226" y="1694"/>
                  </a:lnTo>
                  <a:lnTo>
                    <a:pt x="1226" y="1694"/>
                  </a:lnTo>
                  <a:lnTo>
                    <a:pt x="1226" y="1694"/>
                  </a:lnTo>
                  <a:close/>
                  <a:moveTo>
                    <a:pt x="3557" y="1798"/>
                  </a:moveTo>
                  <a:lnTo>
                    <a:pt x="3439" y="1748"/>
                  </a:lnTo>
                  <a:lnTo>
                    <a:pt x="3406" y="1737"/>
                  </a:lnTo>
                  <a:lnTo>
                    <a:pt x="3401" y="1703"/>
                  </a:lnTo>
                  <a:lnTo>
                    <a:pt x="3503" y="1694"/>
                  </a:lnTo>
                  <a:lnTo>
                    <a:pt x="3531" y="1727"/>
                  </a:lnTo>
                  <a:lnTo>
                    <a:pt x="3583" y="1748"/>
                  </a:lnTo>
                  <a:lnTo>
                    <a:pt x="3578" y="1760"/>
                  </a:lnTo>
                  <a:lnTo>
                    <a:pt x="3524" y="1748"/>
                  </a:lnTo>
                  <a:lnTo>
                    <a:pt x="3574" y="1777"/>
                  </a:lnTo>
                  <a:lnTo>
                    <a:pt x="3574" y="1793"/>
                  </a:lnTo>
                  <a:lnTo>
                    <a:pt x="3557" y="1798"/>
                  </a:lnTo>
                  <a:lnTo>
                    <a:pt x="3557" y="1798"/>
                  </a:lnTo>
                  <a:lnTo>
                    <a:pt x="3557" y="1798"/>
                  </a:lnTo>
                  <a:close/>
                  <a:moveTo>
                    <a:pt x="1247" y="1694"/>
                  </a:moveTo>
                  <a:lnTo>
                    <a:pt x="1263" y="1703"/>
                  </a:lnTo>
                  <a:lnTo>
                    <a:pt x="1226" y="1737"/>
                  </a:lnTo>
                  <a:lnTo>
                    <a:pt x="1235" y="1727"/>
                  </a:lnTo>
                  <a:lnTo>
                    <a:pt x="1202" y="1727"/>
                  </a:lnTo>
                  <a:lnTo>
                    <a:pt x="1219" y="1711"/>
                  </a:lnTo>
                  <a:lnTo>
                    <a:pt x="1247" y="1694"/>
                  </a:lnTo>
                  <a:lnTo>
                    <a:pt x="1247" y="1694"/>
                  </a:lnTo>
                  <a:lnTo>
                    <a:pt x="1247" y="1694"/>
                  </a:lnTo>
                  <a:close/>
                  <a:moveTo>
                    <a:pt x="1202" y="1703"/>
                  </a:moveTo>
                  <a:lnTo>
                    <a:pt x="1209" y="1703"/>
                  </a:lnTo>
                  <a:lnTo>
                    <a:pt x="1193" y="1703"/>
                  </a:lnTo>
                  <a:lnTo>
                    <a:pt x="1202" y="1703"/>
                  </a:lnTo>
                  <a:lnTo>
                    <a:pt x="1202" y="1703"/>
                  </a:lnTo>
                  <a:lnTo>
                    <a:pt x="1202" y="1703"/>
                  </a:lnTo>
                  <a:close/>
                  <a:moveTo>
                    <a:pt x="1219" y="1711"/>
                  </a:moveTo>
                  <a:lnTo>
                    <a:pt x="1193" y="1727"/>
                  </a:lnTo>
                  <a:lnTo>
                    <a:pt x="1181" y="1720"/>
                  </a:lnTo>
                  <a:lnTo>
                    <a:pt x="1219" y="1711"/>
                  </a:lnTo>
                  <a:lnTo>
                    <a:pt x="1219" y="1711"/>
                  </a:lnTo>
                  <a:lnTo>
                    <a:pt x="1219" y="1711"/>
                  </a:lnTo>
                  <a:close/>
                  <a:moveTo>
                    <a:pt x="1263" y="1711"/>
                  </a:moveTo>
                  <a:lnTo>
                    <a:pt x="1278" y="1720"/>
                  </a:lnTo>
                  <a:lnTo>
                    <a:pt x="1256" y="1720"/>
                  </a:lnTo>
                  <a:lnTo>
                    <a:pt x="1263" y="1711"/>
                  </a:lnTo>
                  <a:lnTo>
                    <a:pt x="1263" y="1711"/>
                  </a:lnTo>
                  <a:lnTo>
                    <a:pt x="1263" y="1711"/>
                  </a:lnTo>
                  <a:close/>
                  <a:moveTo>
                    <a:pt x="1263" y="1720"/>
                  </a:moveTo>
                  <a:lnTo>
                    <a:pt x="1263" y="1727"/>
                  </a:lnTo>
                  <a:lnTo>
                    <a:pt x="1247" y="1737"/>
                  </a:lnTo>
                  <a:lnTo>
                    <a:pt x="1247" y="1720"/>
                  </a:lnTo>
                  <a:lnTo>
                    <a:pt x="1263" y="1720"/>
                  </a:lnTo>
                  <a:lnTo>
                    <a:pt x="1263" y="1720"/>
                  </a:lnTo>
                  <a:lnTo>
                    <a:pt x="1263" y="1720"/>
                  </a:lnTo>
                  <a:close/>
                  <a:moveTo>
                    <a:pt x="1202" y="1737"/>
                  </a:moveTo>
                  <a:lnTo>
                    <a:pt x="1193" y="1737"/>
                  </a:lnTo>
                  <a:lnTo>
                    <a:pt x="1219" y="1737"/>
                  </a:lnTo>
                  <a:lnTo>
                    <a:pt x="1202" y="1737"/>
                  </a:lnTo>
                  <a:lnTo>
                    <a:pt x="1202" y="1737"/>
                  </a:lnTo>
                  <a:lnTo>
                    <a:pt x="1202" y="1737"/>
                  </a:lnTo>
                  <a:close/>
                  <a:moveTo>
                    <a:pt x="1263" y="1760"/>
                  </a:moveTo>
                  <a:lnTo>
                    <a:pt x="1263" y="1777"/>
                  </a:lnTo>
                  <a:lnTo>
                    <a:pt x="1240" y="1793"/>
                  </a:lnTo>
                  <a:lnTo>
                    <a:pt x="1219" y="1793"/>
                  </a:lnTo>
                  <a:lnTo>
                    <a:pt x="1263" y="1760"/>
                  </a:lnTo>
                  <a:lnTo>
                    <a:pt x="1263" y="1760"/>
                  </a:lnTo>
                  <a:lnTo>
                    <a:pt x="1263" y="1760"/>
                  </a:lnTo>
                  <a:close/>
                  <a:moveTo>
                    <a:pt x="1226" y="1822"/>
                  </a:moveTo>
                  <a:lnTo>
                    <a:pt x="1235" y="1831"/>
                  </a:lnTo>
                  <a:lnTo>
                    <a:pt x="1226" y="1838"/>
                  </a:lnTo>
                  <a:lnTo>
                    <a:pt x="1209" y="1831"/>
                  </a:lnTo>
                  <a:lnTo>
                    <a:pt x="1226" y="1822"/>
                  </a:lnTo>
                  <a:lnTo>
                    <a:pt x="1226" y="1822"/>
                  </a:lnTo>
                  <a:lnTo>
                    <a:pt x="1226" y="1822"/>
                  </a:lnTo>
                  <a:close/>
                  <a:moveTo>
                    <a:pt x="1386" y="1876"/>
                  </a:moveTo>
                  <a:lnTo>
                    <a:pt x="1370" y="1871"/>
                  </a:lnTo>
                  <a:lnTo>
                    <a:pt x="1370" y="1864"/>
                  </a:lnTo>
                  <a:lnTo>
                    <a:pt x="1419" y="1864"/>
                  </a:lnTo>
                  <a:lnTo>
                    <a:pt x="1386" y="1876"/>
                  </a:lnTo>
                  <a:lnTo>
                    <a:pt x="1386" y="1876"/>
                  </a:lnTo>
                  <a:lnTo>
                    <a:pt x="1386" y="1876"/>
                  </a:lnTo>
                  <a:close/>
                  <a:moveTo>
                    <a:pt x="1398" y="1904"/>
                  </a:moveTo>
                  <a:lnTo>
                    <a:pt x="1441" y="1904"/>
                  </a:lnTo>
                  <a:lnTo>
                    <a:pt x="1452" y="1909"/>
                  </a:lnTo>
                  <a:lnTo>
                    <a:pt x="1408" y="1926"/>
                  </a:lnTo>
                  <a:lnTo>
                    <a:pt x="1398" y="1921"/>
                  </a:lnTo>
                  <a:lnTo>
                    <a:pt x="1398" y="1904"/>
                  </a:lnTo>
                  <a:lnTo>
                    <a:pt x="1398" y="1904"/>
                  </a:lnTo>
                  <a:lnTo>
                    <a:pt x="1398" y="1904"/>
                  </a:lnTo>
                  <a:close/>
                  <a:moveTo>
                    <a:pt x="1365" y="1909"/>
                  </a:moveTo>
                  <a:lnTo>
                    <a:pt x="1382" y="1926"/>
                  </a:lnTo>
                  <a:lnTo>
                    <a:pt x="1370" y="1942"/>
                  </a:lnTo>
                  <a:lnTo>
                    <a:pt x="1353" y="1942"/>
                  </a:lnTo>
                  <a:lnTo>
                    <a:pt x="1332" y="1933"/>
                  </a:lnTo>
                  <a:lnTo>
                    <a:pt x="1365" y="1909"/>
                  </a:lnTo>
                  <a:lnTo>
                    <a:pt x="1365" y="1909"/>
                  </a:lnTo>
                  <a:lnTo>
                    <a:pt x="1365" y="1909"/>
                  </a:lnTo>
                  <a:close/>
                  <a:moveTo>
                    <a:pt x="3347" y="1921"/>
                  </a:moveTo>
                  <a:lnTo>
                    <a:pt x="3347" y="1926"/>
                  </a:lnTo>
                  <a:lnTo>
                    <a:pt x="3330" y="1926"/>
                  </a:lnTo>
                  <a:lnTo>
                    <a:pt x="3347" y="1921"/>
                  </a:lnTo>
                  <a:lnTo>
                    <a:pt x="3347" y="1921"/>
                  </a:lnTo>
                  <a:lnTo>
                    <a:pt x="3347" y="1921"/>
                  </a:lnTo>
                  <a:close/>
                  <a:moveTo>
                    <a:pt x="3342" y="1933"/>
                  </a:moveTo>
                  <a:lnTo>
                    <a:pt x="3347" y="1942"/>
                  </a:lnTo>
                  <a:lnTo>
                    <a:pt x="3326" y="1933"/>
                  </a:lnTo>
                  <a:lnTo>
                    <a:pt x="3342" y="1933"/>
                  </a:lnTo>
                  <a:lnTo>
                    <a:pt x="3342" y="1933"/>
                  </a:lnTo>
                  <a:lnTo>
                    <a:pt x="3342" y="1933"/>
                  </a:lnTo>
                  <a:close/>
                  <a:moveTo>
                    <a:pt x="3288" y="2003"/>
                  </a:moveTo>
                  <a:lnTo>
                    <a:pt x="3146" y="2020"/>
                  </a:lnTo>
                  <a:lnTo>
                    <a:pt x="3153" y="1999"/>
                  </a:lnTo>
                  <a:lnTo>
                    <a:pt x="3179" y="1987"/>
                  </a:lnTo>
                  <a:lnTo>
                    <a:pt x="3217" y="1966"/>
                  </a:lnTo>
                  <a:lnTo>
                    <a:pt x="3276" y="1959"/>
                  </a:lnTo>
                  <a:lnTo>
                    <a:pt x="3314" y="1933"/>
                  </a:lnTo>
                  <a:lnTo>
                    <a:pt x="3314" y="1949"/>
                  </a:lnTo>
                  <a:lnTo>
                    <a:pt x="3342" y="1959"/>
                  </a:lnTo>
                  <a:lnTo>
                    <a:pt x="3347" y="1987"/>
                  </a:lnTo>
                  <a:lnTo>
                    <a:pt x="3288" y="2003"/>
                  </a:lnTo>
                  <a:lnTo>
                    <a:pt x="3288" y="2003"/>
                  </a:lnTo>
                  <a:lnTo>
                    <a:pt x="3288" y="2003"/>
                  </a:lnTo>
                  <a:close/>
                  <a:moveTo>
                    <a:pt x="1478" y="1949"/>
                  </a:moveTo>
                  <a:lnTo>
                    <a:pt x="1504" y="1966"/>
                  </a:lnTo>
                  <a:lnTo>
                    <a:pt x="1462" y="1959"/>
                  </a:lnTo>
                  <a:lnTo>
                    <a:pt x="1478" y="1949"/>
                  </a:lnTo>
                  <a:lnTo>
                    <a:pt x="1478" y="1949"/>
                  </a:lnTo>
                  <a:lnTo>
                    <a:pt x="1478" y="1949"/>
                  </a:lnTo>
                  <a:close/>
                  <a:moveTo>
                    <a:pt x="3205" y="1966"/>
                  </a:moveTo>
                  <a:lnTo>
                    <a:pt x="3179" y="1982"/>
                  </a:lnTo>
                  <a:lnTo>
                    <a:pt x="3179" y="1966"/>
                  </a:lnTo>
                  <a:lnTo>
                    <a:pt x="3205" y="1966"/>
                  </a:lnTo>
                  <a:lnTo>
                    <a:pt x="3205" y="1966"/>
                  </a:lnTo>
                  <a:lnTo>
                    <a:pt x="3205" y="1966"/>
                  </a:lnTo>
                  <a:close/>
                  <a:moveTo>
                    <a:pt x="1263" y="2015"/>
                  </a:moveTo>
                  <a:lnTo>
                    <a:pt x="1289" y="2032"/>
                  </a:lnTo>
                  <a:lnTo>
                    <a:pt x="1273" y="2032"/>
                  </a:lnTo>
                  <a:lnTo>
                    <a:pt x="1263" y="2020"/>
                  </a:lnTo>
                  <a:lnTo>
                    <a:pt x="1263" y="2015"/>
                  </a:lnTo>
                  <a:lnTo>
                    <a:pt x="1263" y="2015"/>
                  </a:lnTo>
                  <a:lnTo>
                    <a:pt x="1263" y="2015"/>
                  </a:lnTo>
                  <a:close/>
                  <a:moveTo>
                    <a:pt x="1315" y="2155"/>
                  </a:moveTo>
                  <a:lnTo>
                    <a:pt x="1382" y="2148"/>
                  </a:lnTo>
                  <a:lnTo>
                    <a:pt x="1365" y="2148"/>
                  </a:lnTo>
                  <a:lnTo>
                    <a:pt x="1382" y="2131"/>
                  </a:lnTo>
                  <a:lnTo>
                    <a:pt x="1348" y="2148"/>
                  </a:lnTo>
                  <a:lnTo>
                    <a:pt x="1344" y="2148"/>
                  </a:lnTo>
                  <a:lnTo>
                    <a:pt x="1353" y="2143"/>
                  </a:lnTo>
                  <a:lnTo>
                    <a:pt x="1332" y="2143"/>
                  </a:lnTo>
                  <a:lnTo>
                    <a:pt x="1344" y="2131"/>
                  </a:lnTo>
                  <a:lnTo>
                    <a:pt x="1344" y="2126"/>
                  </a:lnTo>
                  <a:lnTo>
                    <a:pt x="1327" y="2131"/>
                  </a:lnTo>
                  <a:lnTo>
                    <a:pt x="1278" y="2126"/>
                  </a:lnTo>
                  <a:lnTo>
                    <a:pt x="1263" y="2114"/>
                  </a:lnTo>
                  <a:lnTo>
                    <a:pt x="1289" y="2110"/>
                  </a:lnTo>
                  <a:lnTo>
                    <a:pt x="1311" y="2114"/>
                  </a:lnTo>
                  <a:lnTo>
                    <a:pt x="1273" y="2098"/>
                  </a:lnTo>
                  <a:lnTo>
                    <a:pt x="1273" y="2086"/>
                  </a:lnTo>
                  <a:lnTo>
                    <a:pt x="1315" y="2086"/>
                  </a:lnTo>
                  <a:lnTo>
                    <a:pt x="1278" y="2070"/>
                  </a:lnTo>
                  <a:lnTo>
                    <a:pt x="1278" y="2053"/>
                  </a:lnTo>
                  <a:lnTo>
                    <a:pt x="1311" y="2037"/>
                  </a:lnTo>
                  <a:lnTo>
                    <a:pt x="1370" y="2044"/>
                  </a:lnTo>
                  <a:lnTo>
                    <a:pt x="1424" y="2086"/>
                  </a:lnTo>
                  <a:lnTo>
                    <a:pt x="1478" y="2098"/>
                  </a:lnTo>
                  <a:lnTo>
                    <a:pt x="1478" y="2110"/>
                  </a:lnTo>
                  <a:lnTo>
                    <a:pt x="1474" y="2114"/>
                  </a:lnTo>
                  <a:lnTo>
                    <a:pt x="1490" y="2126"/>
                  </a:lnTo>
                  <a:lnTo>
                    <a:pt x="1457" y="2148"/>
                  </a:lnTo>
                  <a:lnTo>
                    <a:pt x="1365" y="2171"/>
                  </a:lnTo>
                  <a:lnTo>
                    <a:pt x="1315" y="2155"/>
                  </a:lnTo>
                  <a:lnTo>
                    <a:pt x="1315" y="2155"/>
                  </a:lnTo>
                  <a:lnTo>
                    <a:pt x="1315" y="2155"/>
                  </a:lnTo>
                  <a:close/>
                  <a:moveTo>
                    <a:pt x="1542" y="2086"/>
                  </a:moveTo>
                  <a:lnTo>
                    <a:pt x="1570" y="2098"/>
                  </a:lnTo>
                  <a:lnTo>
                    <a:pt x="1549" y="2114"/>
                  </a:lnTo>
                  <a:lnTo>
                    <a:pt x="1549" y="2131"/>
                  </a:lnTo>
                  <a:lnTo>
                    <a:pt x="1528" y="2143"/>
                  </a:lnTo>
                  <a:lnTo>
                    <a:pt x="1516" y="2114"/>
                  </a:lnTo>
                  <a:lnTo>
                    <a:pt x="1542" y="2093"/>
                  </a:lnTo>
                  <a:lnTo>
                    <a:pt x="1516" y="2093"/>
                  </a:lnTo>
                  <a:lnTo>
                    <a:pt x="1542" y="2086"/>
                  </a:lnTo>
                  <a:lnTo>
                    <a:pt x="1542" y="2086"/>
                  </a:lnTo>
                  <a:lnTo>
                    <a:pt x="1542" y="2086"/>
                  </a:lnTo>
                  <a:close/>
                  <a:moveTo>
                    <a:pt x="3493" y="2110"/>
                  </a:moveTo>
                  <a:lnTo>
                    <a:pt x="3493" y="2114"/>
                  </a:lnTo>
                  <a:lnTo>
                    <a:pt x="3486" y="2126"/>
                  </a:lnTo>
                  <a:lnTo>
                    <a:pt x="3470" y="2114"/>
                  </a:lnTo>
                  <a:lnTo>
                    <a:pt x="3493" y="2110"/>
                  </a:lnTo>
                  <a:lnTo>
                    <a:pt x="3493" y="2110"/>
                  </a:lnTo>
                  <a:lnTo>
                    <a:pt x="3493" y="2110"/>
                  </a:lnTo>
                  <a:close/>
                  <a:moveTo>
                    <a:pt x="1462" y="2242"/>
                  </a:moveTo>
                  <a:lnTo>
                    <a:pt x="1398" y="2259"/>
                  </a:lnTo>
                  <a:lnTo>
                    <a:pt x="1436" y="2242"/>
                  </a:lnTo>
                  <a:lnTo>
                    <a:pt x="1462" y="2242"/>
                  </a:lnTo>
                  <a:lnTo>
                    <a:pt x="1462" y="2242"/>
                  </a:lnTo>
                  <a:lnTo>
                    <a:pt x="1462" y="2242"/>
                  </a:lnTo>
                  <a:close/>
                  <a:moveTo>
                    <a:pt x="1533" y="2242"/>
                  </a:moveTo>
                  <a:lnTo>
                    <a:pt x="1542" y="2254"/>
                  </a:lnTo>
                  <a:lnTo>
                    <a:pt x="1528" y="2254"/>
                  </a:lnTo>
                  <a:lnTo>
                    <a:pt x="1533" y="2242"/>
                  </a:lnTo>
                  <a:lnTo>
                    <a:pt x="1533" y="2242"/>
                  </a:lnTo>
                  <a:lnTo>
                    <a:pt x="1533" y="2242"/>
                  </a:lnTo>
                  <a:close/>
                  <a:moveTo>
                    <a:pt x="1436" y="2259"/>
                  </a:moveTo>
                  <a:lnTo>
                    <a:pt x="1441" y="2259"/>
                  </a:lnTo>
                  <a:lnTo>
                    <a:pt x="1424" y="2259"/>
                  </a:lnTo>
                  <a:lnTo>
                    <a:pt x="1436" y="2259"/>
                  </a:lnTo>
                  <a:lnTo>
                    <a:pt x="1436" y="2259"/>
                  </a:lnTo>
                  <a:lnTo>
                    <a:pt x="1436" y="2259"/>
                  </a:lnTo>
                  <a:close/>
                  <a:moveTo>
                    <a:pt x="1419" y="2259"/>
                  </a:moveTo>
                  <a:lnTo>
                    <a:pt x="1419" y="2266"/>
                  </a:lnTo>
                  <a:lnTo>
                    <a:pt x="1408" y="2259"/>
                  </a:lnTo>
                  <a:lnTo>
                    <a:pt x="1419" y="2259"/>
                  </a:lnTo>
                  <a:lnTo>
                    <a:pt x="1419" y="2259"/>
                  </a:lnTo>
                  <a:lnTo>
                    <a:pt x="1419" y="2259"/>
                  </a:lnTo>
                  <a:close/>
                  <a:moveTo>
                    <a:pt x="1403" y="2266"/>
                  </a:moveTo>
                  <a:lnTo>
                    <a:pt x="1408" y="2275"/>
                  </a:lnTo>
                  <a:lnTo>
                    <a:pt x="1386" y="2282"/>
                  </a:lnTo>
                  <a:lnTo>
                    <a:pt x="1403" y="2266"/>
                  </a:lnTo>
                  <a:lnTo>
                    <a:pt x="1403" y="2266"/>
                  </a:lnTo>
                  <a:lnTo>
                    <a:pt x="1403" y="2266"/>
                  </a:lnTo>
                  <a:close/>
                  <a:moveTo>
                    <a:pt x="1457" y="2308"/>
                  </a:moveTo>
                  <a:lnTo>
                    <a:pt x="1511" y="2299"/>
                  </a:lnTo>
                  <a:lnTo>
                    <a:pt x="1474" y="2315"/>
                  </a:lnTo>
                  <a:lnTo>
                    <a:pt x="1457" y="2308"/>
                  </a:lnTo>
                  <a:lnTo>
                    <a:pt x="1457" y="2308"/>
                  </a:lnTo>
                  <a:lnTo>
                    <a:pt x="1457" y="2308"/>
                  </a:lnTo>
                  <a:close/>
                  <a:moveTo>
                    <a:pt x="3040" y="2299"/>
                  </a:moveTo>
                  <a:lnTo>
                    <a:pt x="3028" y="2315"/>
                  </a:lnTo>
                  <a:lnTo>
                    <a:pt x="3016" y="2308"/>
                  </a:lnTo>
                  <a:lnTo>
                    <a:pt x="3040" y="2299"/>
                  </a:lnTo>
                  <a:lnTo>
                    <a:pt x="3040" y="2299"/>
                  </a:lnTo>
                  <a:lnTo>
                    <a:pt x="3040" y="2299"/>
                  </a:lnTo>
                  <a:close/>
                  <a:moveTo>
                    <a:pt x="2893" y="2308"/>
                  </a:moveTo>
                  <a:lnTo>
                    <a:pt x="2898" y="2308"/>
                  </a:lnTo>
                  <a:lnTo>
                    <a:pt x="2877" y="2308"/>
                  </a:lnTo>
                  <a:lnTo>
                    <a:pt x="2893" y="2308"/>
                  </a:lnTo>
                  <a:lnTo>
                    <a:pt x="2893" y="2308"/>
                  </a:lnTo>
                  <a:lnTo>
                    <a:pt x="2893" y="2308"/>
                  </a:lnTo>
                  <a:close/>
                  <a:moveTo>
                    <a:pt x="1478" y="2315"/>
                  </a:moveTo>
                  <a:lnTo>
                    <a:pt x="1533" y="2315"/>
                  </a:lnTo>
                  <a:lnTo>
                    <a:pt x="1474" y="2320"/>
                  </a:lnTo>
                  <a:lnTo>
                    <a:pt x="1478" y="2315"/>
                  </a:lnTo>
                  <a:lnTo>
                    <a:pt x="1478" y="2315"/>
                  </a:lnTo>
                  <a:lnTo>
                    <a:pt x="1478" y="2315"/>
                  </a:lnTo>
                  <a:close/>
                  <a:moveTo>
                    <a:pt x="1370" y="2320"/>
                  </a:moveTo>
                  <a:lnTo>
                    <a:pt x="1386" y="2320"/>
                  </a:lnTo>
                  <a:lnTo>
                    <a:pt x="1382" y="2332"/>
                  </a:lnTo>
                  <a:lnTo>
                    <a:pt x="1370" y="2320"/>
                  </a:lnTo>
                  <a:lnTo>
                    <a:pt x="1370" y="2320"/>
                  </a:lnTo>
                  <a:lnTo>
                    <a:pt x="1370" y="2320"/>
                  </a:lnTo>
                  <a:close/>
                  <a:moveTo>
                    <a:pt x="1353" y="2370"/>
                  </a:moveTo>
                  <a:lnTo>
                    <a:pt x="1348" y="2353"/>
                  </a:lnTo>
                  <a:lnTo>
                    <a:pt x="1365" y="2365"/>
                  </a:lnTo>
                  <a:lnTo>
                    <a:pt x="1353" y="2370"/>
                  </a:lnTo>
                  <a:lnTo>
                    <a:pt x="1353" y="2370"/>
                  </a:lnTo>
                  <a:lnTo>
                    <a:pt x="1353" y="2370"/>
                  </a:lnTo>
                  <a:close/>
                  <a:moveTo>
                    <a:pt x="2789" y="2410"/>
                  </a:moveTo>
                  <a:lnTo>
                    <a:pt x="2789" y="2419"/>
                  </a:lnTo>
                  <a:lnTo>
                    <a:pt x="2785" y="2410"/>
                  </a:lnTo>
                  <a:lnTo>
                    <a:pt x="2789" y="2410"/>
                  </a:lnTo>
                  <a:lnTo>
                    <a:pt x="2789" y="2410"/>
                  </a:lnTo>
                  <a:lnTo>
                    <a:pt x="2789" y="2410"/>
                  </a:lnTo>
                  <a:close/>
                  <a:moveTo>
                    <a:pt x="1408" y="2464"/>
                  </a:moveTo>
                  <a:lnTo>
                    <a:pt x="1370" y="2476"/>
                  </a:lnTo>
                  <a:lnTo>
                    <a:pt x="1382" y="2464"/>
                  </a:lnTo>
                  <a:lnTo>
                    <a:pt x="1408" y="2464"/>
                  </a:lnTo>
                  <a:lnTo>
                    <a:pt x="1408" y="2464"/>
                  </a:lnTo>
                  <a:lnTo>
                    <a:pt x="1408" y="2464"/>
                  </a:lnTo>
                  <a:close/>
                  <a:moveTo>
                    <a:pt x="2747" y="2464"/>
                  </a:moveTo>
                  <a:lnTo>
                    <a:pt x="2747" y="2476"/>
                  </a:lnTo>
                  <a:lnTo>
                    <a:pt x="2737" y="2481"/>
                  </a:lnTo>
                  <a:lnTo>
                    <a:pt x="2747" y="2464"/>
                  </a:lnTo>
                  <a:lnTo>
                    <a:pt x="2747" y="2464"/>
                  </a:lnTo>
                  <a:lnTo>
                    <a:pt x="2747" y="2464"/>
                  </a:lnTo>
                  <a:close/>
                  <a:moveTo>
                    <a:pt x="2629" y="2554"/>
                  </a:moveTo>
                  <a:lnTo>
                    <a:pt x="2629" y="2542"/>
                  </a:lnTo>
                  <a:lnTo>
                    <a:pt x="2638" y="2542"/>
                  </a:lnTo>
                  <a:lnTo>
                    <a:pt x="2629" y="2554"/>
                  </a:lnTo>
                  <a:lnTo>
                    <a:pt x="2629" y="2554"/>
                  </a:lnTo>
                  <a:lnTo>
                    <a:pt x="2629" y="2554"/>
                  </a:lnTo>
                  <a:close/>
                  <a:moveTo>
                    <a:pt x="1353" y="2570"/>
                  </a:moveTo>
                  <a:lnTo>
                    <a:pt x="1353" y="2559"/>
                  </a:lnTo>
                  <a:lnTo>
                    <a:pt x="1370" y="2559"/>
                  </a:lnTo>
                  <a:lnTo>
                    <a:pt x="1353" y="2570"/>
                  </a:lnTo>
                  <a:lnTo>
                    <a:pt x="1353" y="2570"/>
                  </a:lnTo>
                  <a:lnTo>
                    <a:pt x="1353" y="2570"/>
                  </a:lnTo>
                  <a:close/>
                  <a:moveTo>
                    <a:pt x="2541" y="2599"/>
                  </a:moveTo>
                  <a:lnTo>
                    <a:pt x="2541" y="2587"/>
                  </a:lnTo>
                  <a:lnTo>
                    <a:pt x="2558" y="2575"/>
                  </a:lnTo>
                  <a:lnTo>
                    <a:pt x="2541" y="2599"/>
                  </a:lnTo>
                  <a:lnTo>
                    <a:pt x="2541" y="2599"/>
                  </a:lnTo>
                  <a:lnTo>
                    <a:pt x="2541" y="2599"/>
                  </a:lnTo>
                  <a:close/>
                  <a:moveTo>
                    <a:pt x="2570" y="2592"/>
                  </a:moveTo>
                  <a:lnTo>
                    <a:pt x="2574" y="2587"/>
                  </a:lnTo>
                  <a:lnTo>
                    <a:pt x="2586" y="2587"/>
                  </a:lnTo>
                  <a:lnTo>
                    <a:pt x="2570" y="2592"/>
                  </a:lnTo>
                  <a:lnTo>
                    <a:pt x="2570" y="2592"/>
                  </a:lnTo>
                  <a:lnTo>
                    <a:pt x="2570" y="2592"/>
                  </a:lnTo>
                  <a:close/>
                  <a:moveTo>
                    <a:pt x="2478" y="2625"/>
                  </a:moveTo>
                  <a:lnTo>
                    <a:pt x="2461" y="2625"/>
                  </a:lnTo>
                  <a:lnTo>
                    <a:pt x="2461" y="2599"/>
                  </a:lnTo>
                  <a:lnTo>
                    <a:pt x="2482" y="2587"/>
                  </a:lnTo>
                  <a:lnTo>
                    <a:pt x="2504" y="2599"/>
                  </a:lnTo>
                  <a:lnTo>
                    <a:pt x="2487" y="2592"/>
                  </a:lnTo>
                  <a:lnTo>
                    <a:pt x="2504" y="2608"/>
                  </a:lnTo>
                  <a:lnTo>
                    <a:pt x="2482" y="2625"/>
                  </a:lnTo>
                  <a:lnTo>
                    <a:pt x="2478" y="2615"/>
                  </a:lnTo>
                  <a:lnTo>
                    <a:pt x="2482" y="2625"/>
                  </a:lnTo>
                  <a:lnTo>
                    <a:pt x="2478" y="2625"/>
                  </a:lnTo>
                  <a:lnTo>
                    <a:pt x="2478" y="2625"/>
                  </a:lnTo>
                  <a:lnTo>
                    <a:pt x="2478" y="2625"/>
                  </a:lnTo>
                  <a:close/>
                  <a:moveTo>
                    <a:pt x="2537" y="2608"/>
                  </a:moveTo>
                  <a:lnTo>
                    <a:pt x="2532" y="2592"/>
                  </a:lnTo>
                  <a:lnTo>
                    <a:pt x="2541" y="2592"/>
                  </a:lnTo>
                  <a:lnTo>
                    <a:pt x="2537" y="2608"/>
                  </a:lnTo>
                  <a:lnTo>
                    <a:pt x="2537" y="2608"/>
                  </a:lnTo>
                  <a:lnTo>
                    <a:pt x="2537" y="2608"/>
                  </a:lnTo>
                  <a:close/>
                  <a:moveTo>
                    <a:pt x="2520" y="2625"/>
                  </a:moveTo>
                  <a:lnTo>
                    <a:pt x="2515" y="2608"/>
                  </a:lnTo>
                  <a:lnTo>
                    <a:pt x="2520" y="2608"/>
                  </a:lnTo>
                  <a:lnTo>
                    <a:pt x="2532" y="2615"/>
                  </a:lnTo>
                  <a:lnTo>
                    <a:pt x="2520" y="2625"/>
                  </a:lnTo>
                  <a:lnTo>
                    <a:pt x="2520" y="2625"/>
                  </a:lnTo>
                  <a:lnTo>
                    <a:pt x="2520" y="2625"/>
                  </a:lnTo>
                  <a:close/>
                  <a:moveTo>
                    <a:pt x="1386" y="2625"/>
                  </a:moveTo>
                  <a:lnTo>
                    <a:pt x="1419" y="2615"/>
                  </a:lnTo>
                  <a:lnTo>
                    <a:pt x="1403" y="2625"/>
                  </a:lnTo>
                  <a:lnTo>
                    <a:pt x="1386" y="2625"/>
                  </a:lnTo>
                  <a:lnTo>
                    <a:pt x="1386" y="2625"/>
                  </a:lnTo>
                  <a:lnTo>
                    <a:pt x="1386" y="2625"/>
                  </a:lnTo>
                  <a:close/>
                  <a:moveTo>
                    <a:pt x="2390" y="2632"/>
                  </a:moveTo>
                  <a:lnTo>
                    <a:pt x="2397" y="2625"/>
                  </a:lnTo>
                  <a:lnTo>
                    <a:pt x="2407" y="2625"/>
                  </a:lnTo>
                  <a:lnTo>
                    <a:pt x="2390" y="2632"/>
                  </a:lnTo>
                  <a:lnTo>
                    <a:pt x="2390" y="2632"/>
                  </a:lnTo>
                  <a:lnTo>
                    <a:pt x="2390" y="2632"/>
                  </a:lnTo>
                  <a:close/>
                  <a:moveTo>
                    <a:pt x="1408" y="2641"/>
                  </a:moveTo>
                  <a:lnTo>
                    <a:pt x="1398" y="2632"/>
                  </a:lnTo>
                  <a:lnTo>
                    <a:pt x="1408" y="2632"/>
                  </a:lnTo>
                  <a:lnTo>
                    <a:pt x="1408" y="2641"/>
                  </a:lnTo>
                  <a:lnTo>
                    <a:pt x="1408" y="2641"/>
                  </a:lnTo>
                  <a:lnTo>
                    <a:pt x="1408" y="2641"/>
                  </a:lnTo>
                  <a:close/>
                  <a:moveTo>
                    <a:pt x="2369" y="2641"/>
                  </a:moveTo>
                  <a:lnTo>
                    <a:pt x="2359" y="2632"/>
                  </a:lnTo>
                  <a:lnTo>
                    <a:pt x="2369" y="2632"/>
                  </a:lnTo>
                  <a:lnTo>
                    <a:pt x="2369" y="2641"/>
                  </a:lnTo>
                  <a:lnTo>
                    <a:pt x="2369" y="2641"/>
                  </a:lnTo>
                  <a:lnTo>
                    <a:pt x="2369" y="2641"/>
                  </a:lnTo>
                  <a:close/>
                  <a:moveTo>
                    <a:pt x="2343" y="2653"/>
                  </a:moveTo>
                  <a:lnTo>
                    <a:pt x="2326" y="2648"/>
                  </a:lnTo>
                  <a:lnTo>
                    <a:pt x="2352" y="2653"/>
                  </a:lnTo>
                  <a:lnTo>
                    <a:pt x="2343" y="2653"/>
                  </a:lnTo>
                  <a:lnTo>
                    <a:pt x="2343" y="2653"/>
                  </a:lnTo>
                  <a:lnTo>
                    <a:pt x="2343" y="2653"/>
                  </a:lnTo>
                  <a:close/>
                  <a:moveTo>
                    <a:pt x="2305" y="2759"/>
                  </a:moveTo>
                  <a:lnTo>
                    <a:pt x="2284" y="2752"/>
                  </a:lnTo>
                  <a:lnTo>
                    <a:pt x="2272" y="2726"/>
                  </a:lnTo>
                  <a:lnTo>
                    <a:pt x="2251" y="2703"/>
                  </a:lnTo>
                  <a:lnTo>
                    <a:pt x="2272" y="2710"/>
                  </a:lnTo>
                  <a:lnTo>
                    <a:pt x="2289" y="2743"/>
                  </a:lnTo>
                  <a:lnTo>
                    <a:pt x="2305" y="2752"/>
                  </a:lnTo>
                  <a:lnTo>
                    <a:pt x="2305" y="2759"/>
                  </a:lnTo>
                  <a:lnTo>
                    <a:pt x="2305" y="2759"/>
                  </a:lnTo>
                  <a:lnTo>
                    <a:pt x="2305" y="2759"/>
                  </a:lnTo>
                  <a:close/>
                  <a:moveTo>
                    <a:pt x="1533" y="2743"/>
                  </a:moveTo>
                  <a:lnTo>
                    <a:pt x="1528" y="2759"/>
                  </a:lnTo>
                  <a:lnTo>
                    <a:pt x="1516" y="2759"/>
                  </a:lnTo>
                  <a:lnTo>
                    <a:pt x="1528" y="2743"/>
                  </a:lnTo>
                  <a:lnTo>
                    <a:pt x="1533" y="2743"/>
                  </a:lnTo>
                  <a:lnTo>
                    <a:pt x="1533" y="2743"/>
                  </a:lnTo>
                  <a:lnTo>
                    <a:pt x="1533" y="2743"/>
                  </a:lnTo>
                  <a:close/>
                  <a:moveTo>
                    <a:pt x="1559" y="2752"/>
                  </a:moveTo>
                  <a:lnTo>
                    <a:pt x="1533" y="2776"/>
                  </a:lnTo>
                  <a:lnTo>
                    <a:pt x="1516" y="2781"/>
                  </a:lnTo>
                  <a:lnTo>
                    <a:pt x="1542" y="2743"/>
                  </a:lnTo>
                  <a:lnTo>
                    <a:pt x="1559" y="2752"/>
                  </a:lnTo>
                  <a:lnTo>
                    <a:pt x="1559" y="2752"/>
                  </a:lnTo>
                  <a:lnTo>
                    <a:pt x="1559" y="2752"/>
                  </a:lnTo>
                  <a:close/>
                  <a:moveTo>
                    <a:pt x="1516" y="2764"/>
                  </a:moveTo>
                  <a:lnTo>
                    <a:pt x="1504" y="2776"/>
                  </a:lnTo>
                  <a:lnTo>
                    <a:pt x="1511" y="2764"/>
                  </a:lnTo>
                  <a:lnTo>
                    <a:pt x="1516" y="2764"/>
                  </a:lnTo>
                  <a:lnTo>
                    <a:pt x="1516" y="2764"/>
                  </a:lnTo>
                  <a:lnTo>
                    <a:pt x="1516" y="2764"/>
                  </a:lnTo>
                  <a:close/>
                  <a:moveTo>
                    <a:pt x="2234" y="2776"/>
                  </a:moveTo>
                  <a:lnTo>
                    <a:pt x="2218" y="2776"/>
                  </a:lnTo>
                  <a:lnTo>
                    <a:pt x="2234" y="2776"/>
                  </a:lnTo>
                  <a:lnTo>
                    <a:pt x="2234" y="2776"/>
                  </a:lnTo>
                  <a:lnTo>
                    <a:pt x="2234" y="2776"/>
                  </a:lnTo>
                  <a:close/>
                  <a:moveTo>
                    <a:pt x="2246" y="2781"/>
                  </a:moveTo>
                  <a:lnTo>
                    <a:pt x="2251" y="2776"/>
                  </a:lnTo>
                  <a:lnTo>
                    <a:pt x="2267" y="2776"/>
                  </a:lnTo>
                  <a:lnTo>
                    <a:pt x="2267" y="2781"/>
                  </a:lnTo>
                  <a:lnTo>
                    <a:pt x="2246" y="2781"/>
                  </a:lnTo>
                  <a:lnTo>
                    <a:pt x="2246" y="2781"/>
                  </a:lnTo>
                  <a:lnTo>
                    <a:pt x="2246" y="2781"/>
                  </a:lnTo>
                  <a:close/>
                  <a:moveTo>
                    <a:pt x="2234" y="2903"/>
                  </a:moveTo>
                  <a:lnTo>
                    <a:pt x="2213" y="2892"/>
                  </a:lnTo>
                  <a:lnTo>
                    <a:pt x="2180" y="2870"/>
                  </a:lnTo>
                  <a:lnTo>
                    <a:pt x="2196" y="2863"/>
                  </a:lnTo>
                  <a:lnTo>
                    <a:pt x="2230" y="2887"/>
                  </a:lnTo>
                  <a:lnTo>
                    <a:pt x="2234" y="2903"/>
                  </a:lnTo>
                  <a:lnTo>
                    <a:pt x="2234" y="2903"/>
                  </a:lnTo>
                  <a:lnTo>
                    <a:pt x="2234" y="2903"/>
                  </a:lnTo>
                  <a:close/>
                  <a:moveTo>
                    <a:pt x="2230" y="2908"/>
                  </a:moveTo>
                  <a:lnTo>
                    <a:pt x="2213" y="2903"/>
                  </a:lnTo>
                  <a:lnTo>
                    <a:pt x="2230" y="2903"/>
                  </a:lnTo>
                  <a:lnTo>
                    <a:pt x="2230" y="2908"/>
                  </a:lnTo>
                  <a:lnTo>
                    <a:pt x="2230" y="2908"/>
                  </a:lnTo>
                  <a:lnTo>
                    <a:pt x="2230" y="2908"/>
                  </a:lnTo>
                  <a:close/>
                  <a:moveTo>
                    <a:pt x="1580" y="2903"/>
                  </a:moveTo>
                  <a:lnTo>
                    <a:pt x="1566" y="2908"/>
                  </a:lnTo>
                  <a:lnTo>
                    <a:pt x="1580" y="2903"/>
                  </a:lnTo>
                  <a:lnTo>
                    <a:pt x="1580" y="2903"/>
                  </a:lnTo>
                  <a:lnTo>
                    <a:pt x="1580" y="2903"/>
                  </a:lnTo>
                  <a:close/>
                  <a:moveTo>
                    <a:pt x="1566" y="2903"/>
                  </a:moveTo>
                  <a:lnTo>
                    <a:pt x="1566" y="2908"/>
                  </a:lnTo>
                  <a:lnTo>
                    <a:pt x="1549" y="2908"/>
                  </a:lnTo>
                  <a:lnTo>
                    <a:pt x="1566" y="2903"/>
                  </a:lnTo>
                  <a:lnTo>
                    <a:pt x="1566" y="2903"/>
                  </a:lnTo>
                  <a:lnTo>
                    <a:pt x="1566" y="2903"/>
                  </a:lnTo>
                  <a:close/>
                  <a:moveTo>
                    <a:pt x="2208" y="2932"/>
                  </a:moveTo>
                  <a:lnTo>
                    <a:pt x="2208" y="2920"/>
                  </a:lnTo>
                  <a:lnTo>
                    <a:pt x="2213" y="2920"/>
                  </a:lnTo>
                  <a:lnTo>
                    <a:pt x="2208" y="2932"/>
                  </a:lnTo>
                  <a:lnTo>
                    <a:pt x="2208" y="2932"/>
                  </a:lnTo>
                  <a:lnTo>
                    <a:pt x="2208" y="2932"/>
                  </a:lnTo>
                  <a:close/>
                  <a:moveTo>
                    <a:pt x="2154" y="2958"/>
                  </a:moveTo>
                  <a:lnTo>
                    <a:pt x="2142" y="2948"/>
                  </a:lnTo>
                  <a:lnTo>
                    <a:pt x="2154" y="2941"/>
                  </a:lnTo>
                  <a:lnTo>
                    <a:pt x="2180" y="2948"/>
                  </a:lnTo>
                  <a:lnTo>
                    <a:pt x="2154" y="2958"/>
                  </a:lnTo>
                  <a:lnTo>
                    <a:pt x="2154" y="2958"/>
                  </a:lnTo>
                  <a:lnTo>
                    <a:pt x="2154" y="2958"/>
                  </a:lnTo>
                  <a:close/>
                  <a:moveTo>
                    <a:pt x="2163" y="2981"/>
                  </a:moveTo>
                  <a:lnTo>
                    <a:pt x="2154" y="2965"/>
                  </a:lnTo>
                  <a:lnTo>
                    <a:pt x="2163" y="2974"/>
                  </a:lnTo>
                  <a:lnTo>
                    <a:pt x="2163" y="2981"/>
                  </a:lnTo>
                  <a:lnTo>
                    <a:pt x="2163" y="2981"/>
                  </a:lnTo>
                  <a:lnTo>
                    <a:pt x="2163" y="2981"/>
                  </a:lnTo>
                  <a:close/>
                  <a:moveTo>
                    <a:pt x="2159" y="3059"/>
                  </a:moveTo>
                  <a:lnTo>
                    <a:pt x="2163" y="3043"/>
                  </a:lnTo>
                  <a:lnTo>
                    <a:pt x="2163" y="3059"/>
                  </a:lnTo>
                  <a:lnTo>
                    <a:pt x="2159" y="3059"/>
                  </a:lnTo>
                  <a:lnTo>
                    <a:pt x="2159" y="3059"/>
                  </a:lnTo>
                  <a:lnTo>
                    <a:pt x="2159" y="3059"/>
                  </a:lnTo>
                  <a:close/>
                  <a:moveTo>
                    <a:pt x="1743" y="3130"/>
                  </a:moveTo>
                  <a:lnTo>
                    <a:pt x="1748" y="3142"/>
                  </a:lnTo>
                  <a:lnTo>
                    <a:pt x="1726" y="3130"/>
                  </a:lnTo>
                  <a:lnTo>
                    <a:pt x="1743" y="3130"/>
                  </a:lnTo>
                  <a:lnTo>
                    <a:pt x="1743" y="3130"/>
                  </a:lnTo>
                  <a:lnTo>
                    <a:pt x="1743" y="3130"/>
                  </a:lnTo>
                  <a:close/>
                  <a:moveTo>
                    <a:pt x="1882" y="3154"/>
                  </a:moveTo>
                  <a:lnTo>
                    <a:pt x="1835" y="3170"/>
                  </a:lnTo>
                  <a:lnTo>
                    <a:pt x="1882" y="3147"/>
                  </a:lnTo>
                  <a:lnTo>
                    <a:pt x="1882" y="3154"/>
                  </a:lnTo>
                  <a:lnTo>
                    <a:pt x="1882" y="3154"/>
                  </a:lnTo>
                  <a:lnTo>
                    <a:pt x="1882" y="3154"/>
                  </a:lnTo>
                  <a:close/>
                  <a:moveTo>
                    <a:pt x="1776" y="3163"/>
                  </a:moveTo>
                  <a:lnTo>
                    <a:pt x="1764" y="3170"/>
                  </a:lnTo>
                  <a:lnTo>
                    <a:pt x="1781" y="3170"/>
                  </a:lnTo>
                  <a:lnTo>
                    <a:pt x="1764" y="3180"/>
                  </a:lnTo>
                  <a:lnTo>
                    <a:pt x="1731" y="3163"/>
                  </a:lnTo>
                  <a:lnTo>
                    <a:pt x="1776" y="3163"/>
                  </a:lnTo>
                  <a:lnTo>
                    <a:pt x="1776" y="3163"/>
                  </a:lnTo>
                  <a:lnTo>
                    <a:pt x="1776" y="3163"/>
                  </a:lnTo>
                  <a:close/>
                  <a:moveTo>
                    <a:pt x="1873" y="3170"/>
                  </a:moveTo>
                  <a:lnTo>
                    <a:pt x="1873" y="3180"/>
                  </a:lnTo>
                  <a:lnTo>
                    <a:pt x="1856" y="3180"/>
                  </a:lnTo>
                  <a:lnTo>
                    <a:pt x="1873" y="3170"/>
                  </a:lnTo>
                  <a:lnTo>
                    <a:pt x="1873" y="3170"/>
                  </a:lnTo>
                  <a:lnTo>
                    <a:pt x="1873" y="3170"/>
                  </a:lnTo>
                  <a:close/>
                  <a:moveTo>
                    <a:pt x="1958" y="3208"/>
                  </a:moveTo>
                  <a:lnTo>
                    <a:pt x="1948" y="3225"/>
                  </a:lnTo>
                  <a:lnTo>
                    <a:pt x="1937" y="3236"/>
                  </a:lnTo>
                  <a:lnTo>
                    <a:pt x="1944" y="3208"/>
                  </a:lnTo>
                  <a:lnTo>
                    <a:pt x="1958" y="3208"/>
                  </a:lnTo>
                  <a:lnTo>
                    <a:pt x="1958" y="3208"/>
                  </a:lnTo>
                  <a:lnTo>
                    <a:pt x="1958" y="3208"/>
                  </a:lnTo>
                  <a:close/>
                  <a:moveTo>
                    <a:pt x="2067" y="3258"/>
                  </a:moveTo>
                  <a:lnTo>
                    <a:pt x="2045" y="3253"/>
                  </a:lnTo>
                  <a:lnTo>
                    <a:pt x="2029" y="3236"/>
                  </a:lnTo>
                  <a:lnTo>
                    <a:pt x="2100" y="3241"/>
                  </a:lnTo>
                  <a:lnTo>
                    <a:pt x="2088" y="3253"/>
                  </a:lnTo>
                  <a:lnTo>
                    <a:pt x="2067" y="3241"/>
                  </a:lnTo>
                  <a:lnTo>
                    <a:pt x="2071" y="3253"/>
                  </a:lnTo>
                  <a:lnTo>
                    <a:pt x="2067" y="3258"/>
                  </a:lnTo>
                  <a:lnTo>
                    <a:pt x="2067" y="3258"/>
                  </a:lnTo>
                  <a:lnTo>
                    <a:pt x="2067" y="3258"/>
                  </a:lnTo>
                  <a:close/>
                  <a:moveTo>
                    <a:pt x="2019" y="3241"/>
                  </a:moveTo>
                  <a:lnTo>
                    <a:pt x="2019" y="3253"/>
                  </a:lnTo>
                  <a:lnTo>
                    <a:pt x="2012" y="3258"/>
                  </a:lnTo>
                  <a:lnTo>
                    <a:pt x="1996" y="3253"/>
                  </a:lnTo>
                  <a:lnTo>
                    <a:pt x="2003" y="3236"/>
                  </a:lnTo>
                  <a:lnTo>
                    <a:pt x="2019" y="3241"/>
                  </a:lnTo>
                  <a:lnTo>
                    <a:pt x="2019" y="3241"/>
                  </a:lnTo>
                  <a:lnTo>
                    <a:pt x="2019" y="3241"/>
                  </a:lnTo>
                  <a:close/>
                  <a:moveTo>
                    <a:pt x="2071" y="3258"/>
                  </a:moveTo>
                  <a:lnTo>
                    <a:pt x="2071" y="3253"/>
                  </a:lnTo>
                  <a:lnTo>
                    <a:pt x="2083" y="3253"/>
                  </a:lnTo>
                  <a:lnTo>
                    <a:pt x="2071" y="3258"/>
                  </a:lnTo>
                  <a:lnTo>
                    <a:pt x="2071" y="3258"/>
                  </a:lnTo>
                  <a:lnTo>
                    <a:pt x="2071" y="3258"/>
                  </a:lnTo>
                  <a:close/>
                  <a:moveTo>
                    <a:pt x="2029" y="3265"/>
                  </a:moveTo>
                  <a:lnTo>
                    <a:pt x="2012" y="3258"/>
                  </a:lnTo>
                  <a:lnTo>
                    <a:pt x="2019" y="3253"/>
                  </a:lnTo>
                  <a:lnTo>
                    <a:pt x="2033" y="3253"/>
                  </a:lnTo>
                  <a:lnTo>
                    <a:pt x="2029" y="3265"/>
                  </a:lnTo>
                  <a:lnTo>
                    <a:pt x="2029" y="3265"/>
                  </a:lnTo>
                  <a:lnTo>
                    <a:pt x="2029" y="3265"/>
                  </a:lnTo>
                  <a:close/>
                  <a:moveTo>
                    <a:pt x="2083" y="3258"/>
                  </a:moveTo>
                  <a:lnTo>
                    <a:pt x="2083" y="3253"/>
                  </a:lnTo>
                  <a:lnTo>
                    <a:pt x="2088" y="3258"/>
                  </a:lnTo>
                  <a:lnTo>
                    <a:pt x="2083" y="3258"/>
                  </a:lnTo>
                  <a:lnTo>
                    <a:pt x="2083" y="3258"/>
                  </a:lnTo>
                  <a:lnTo>
                    <a:pt x="2083" y="3258"/>
                  </a:lnTo>
                  <a:close/>
                  <a:moveTo>
                    <a:pt x="2045" y="3274"/>
                  </a:moveTo>
                  <a:lnTo>
                    <a:pt x="2029" y="3265"/>
                  </a:lnTo>
                  <a:lnTo>
                    <a:pt x="2033" y="3258"/>
                  </a:lnTo>
                  <a:lnTo>
                    <a:pt x="2057" y="3265"/>
                  </a:lnTo>
                  <a:lnTo>
                    <a:pt x="2045" y="3274"/>
                  </a:lnTo>
                  <a:lnTo>
                    <a:pt x="2045" y="3274"/>
                  </a:lnTo>
                  <a:lnTo>
                    <a:pt x="2045" y="327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4" name="Freeform 453">
              <a:extLst>
                <a:ext uri="{FF2B5EF4-FFF2-40B4-BE49-F238E27FC236}">
                  <a16:creationId xmlns:a16="http://schemas.microsoft.com/office/drawing/2014/main" id="{9286779A-ACFE-43BF-8A0B-B1C6BA1FC95D}"/>
                </a:ext>
              </a:extLst>
            </p:cNvPr>
            <p:cNvSpPr>
              <a:spLocks noEditPoints="1"/>
            </p:cNvSpPr>
            <p:nvPr/>
          </p:nvSpPr>
          <p:spPr bwMode="gray">
            <a:xfrm>
              <a:off x="13877375" y="2666446"/>
              <a:ext cx="211761" cy="242854"/>
            </a:xfrm>
            <a:custGeom>
              <a:avLst/>
              <a:gdLst>
                <a:gd name="T0" fmla="*/ 442 w 647"/>
                <a:gd name="T1" fmla="*/ 454 h 742"/>
                <a:gd name="T2" fmla="*/ 480 w 647"/>
                <a:gd name="T3" fmla="*/ 543 h 742"/>
                <a:gd name="T4" fmla="*/ 534 w 647"/>
                <a:gd name="T5" fmla="*/ 621 h 742"/>
                <a:gd name="T6" fmla="*/ 496 w 647"/>
                <a:gd name="T7" fmla="*/ 704 h 742"/>
                <a:gd name="T8" fmla="*/ 484 w 647"/>
                <a:gd name="T9" fmla="*/ 704 h 742"/>
                <a:gd name="T10" fmla="*/ 354 w 647"/>
                <a:gd name="T11" fmla="*/ 720 h 742"/>
                <a:gd name="T12" fmla="*/ 312 w 647"/>
                <a:gd name="T13" fmla="*/ 732 h 742"/>
                <a:gd name="T14" fmla="*/ 241 w 647"/>
                <a:gd name="T15" fmla="*/ 704 h 742"/>
                <a:gd name="T16" fmla="*/ 177 w 647"/>
                <a:gd name="T17" fmla="*/ 704 h 742"/>
                <a:gd name="T18" fmla="*/ 118 w 647"/>
                <a:gd name="T19" fmla="*/ 704 h 742"/>
                <a:gd name="T20" fmla="*/ 140 w 647"/>
                <a:gd name="T21" fmla="*/ 621 h 742"/>
                <a:gd name="T22" fmla="*/ 102 w 647"/>
                <a:gd name="T23" fmla="*/ 565 h 742"/>
                <a:gd name="T24" fmla="*/ 43 w 647"/>
                <a:gd name="T25" fmla="*/ 539 h 742"/>
                <a:gd name="T26" fmla="*/ 26 w 647"/>
                <a:gd name="T27" fmla="*/ 472 h 742"/>
                <a:gd name="T28" fmla="*/ 14 w 647"/>
                <a:gd name="T29" fmla="*/ 416 h 742"/>
                <a:gd name="T30" fmla="*/ 14 w 647"/>
                <a:gd name="T31" fmla="*/ 371 h 742"/>
                <a:gd name="T32" fmla="*/ 69 w 647"/>
                <a:gd name="T33" fmla="*/ 300 h 742"/>
                <a:gd name="T34" fmla="*/ 64 w 647"/>
                <a:gd name="T35" fmla="*/ 243 h 742"/>
                <a:gd name="T36" fmla="*/ 102 w 647"/>
                <a:gd name="T37" fmla="*/ 177 h 742"/>
                <a:gd name="T38" fmla="*/ 85 w 647"/>
                <a:gd name="T39" fmla="*/ 168 h 742"/>
                <a:gd name="T40" fmla="*/ 161 w 647"/>
                <a:gd name="T41" fmla="*/ 149 h 742"/>
                <a:gd name="T42" fmla="*/ 177 w 647"/>
                <a:gd name="T43" fmla="*/ 149 h 742"/>
                <a:gd name="T44" fmla="*/ 189 w 647"/>
                <a:gd name="T45" fmla="*/ 149 h 742"/>
                <a:gd name="T46" fmla="*/ 203 w 647"/>
                <a:gd name="T47" fmla="*/ 116 h 742"/>
                <a:gd name="T48" fmla="*/ 265 w 647"/>
                <a:gd name="T49" fmla="*/ 139 h 742"/>
                <a:gd name="T50" fmla="*/ 227 w 647"/>
                <a:gd name="T51" fmla="*/ 94 h 742"/>
                <a:gd name="T52" fmla="*/ 194 w 647"/>
                <a:gd name="T53" fmla="*/ 66 h 742"/>
                <a:gd name="T54" fmla="*/ 173 w 647"/>
                <a:gd name="T55" fmla="*/ 28 h 742"/>
                <a:gd name="T56" fmla="*/ 189 w 647"/>
                <a:gd name="T57" fmla="*/ 12 h 742"/>
                <a:gd name="T58" fmla="*/ 295 w 647"/>
                <a:gd name="T59" fmla="*/ 45 h 742"/>
                <a:gd name="T60" fmla="*/ 371 w 647"/>
                <a:gd name="T61" fmla="*/ 66 h 742"/>
                <a:gd name="T62" fmla="*/ 350 w 647"/>
                <a:gd name="T63" fmla="*/ 116 h 742"/>
                <a:gd name="T64" fmla="*/ 442 w 647"/>
                <a:gd name="T65" fmla="*/ 83 h 742"/>
                <a:gd name="T66" fmla="*/ 458 w 647"/>
                <a:gd name="T67" fmla="*/ 78 h 742"/>
                <a:gd name="T68" fmla="*/ 555 w 647"/>
                <a:gd name="T69" fmla="*/ 83 h 742"/>
                <a:gd name="T70" fmla="*/ 605 w 647"/>
                <a:gd name="T71" fmla="*/ 168 h 742"/>
                <a:gd name="T72" fmla="*/ 619 w 647"/>
                <a:gd name="T73" fmla="*/ 243 h 742"/>
                <a:gd name="T74" fmla="*/ 619 w 647"/>
                <a:gd name="T75" fmla="*/ 317 h 742"/>
                <a:gd name="T76" fmla="*/ 647 w 647"/>
                <a:gd name="T77" fmla="*/ 371 h 742"/>
                <a:gd name="T78" fmla="*/ 593 w 647"/>
                <a:gd name="T79" fmla="*/ 387 h 742"/>
                <a:gd name="T80" fmla="*/ 539 w 647"/>
                <a:gd name="T81" fmla="*/ 416 h 742"/>
                <a:gd name="T82" fmla="*/ 194 w 647"/>
                <a:gd name="T83" fmla="*/ 40 h 742"/>
                <a:gd name="T84" fmla="*/ 194 w 647"/>
                <a:gd name="T85" fmla="*/ 40 h 742"/>
                <a:gd name="T86" fmla="*/ 177 w 647"/>
                <a:gd name="T87" fmla="*/ 28 h 742"/>
                <a:gd name="T88" fmla="*/ 529 w 647"/>
                <a:gd name="T89" fmla="*/ 78 h 742"/>
                <a:gd name="T90" fmla="*/ 517 w 647"/>
                <a:gd name="T91" fmla="*/ 45 h 742"/>
                <a:gd name="T92" fmla="*/ 517 w 647"/>
                <a:gd name="T93" fmla="*/ 40 h 742"/>
                <a:gd name="T94" fmla="*/ 539 w 647"/>
                <a:gd name="T95" fmla="*/ 61 h 742"/>
                <a:gd name="T96" fmla="*/ 529 w 647"/>
                <a:gd name="T97" fmla="*/ 78 h 742"/>
                <a:gd name="T98" fmla="*/ 194 w 647"/>
                <a:gd name="T99" fmla="*/ 57 h 742"/>
                <a:gd name="T100" fmla="*/ 203 w 647"/>
                <a:gd name="T101" fmla="*/ 57 h 742"/>
                <a:gd name="T102" fmla="*/ 371 w 647"/>
                <a:gd name="T103" fmla="*/ 57 h 742"/>
                <a:gd name="T104" fmla="*/ 588 w 647"/>
                <a:gd name="T105" fmla="*/ 111 h 742"/>
                <a:gd name="T106" fmla="*/ 572 w 647"/>
                <a:gd name="T107" fmla="*/ 94 h 742"/>
                <a:gd name="T108" fmla="*/ 588 w 647"/>
                <a:gd name="T109" fmla="*/ 111 h 742"/>
                <a:gd name="T110" fmla="*/ 392 w 647"/>
                <a:gd name="T111" fmla="*/ 99 h 742"/>
                <a:gd name="T112" fmla="*/ 64 w 647"/>
                <a:gd name="T113" fmla="*/ 149 h 742"/>
                <a:gd name="T114" fmla="*/ 64 w 647"/>
                <a:gd name="T115" fmla="*/ 149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7" h="742">
                  <a:moveTo>
                    <a:pt x="501" y="449"/>
                  </a:moveTo>
                  <a:lnTo>
                    <a:pt x="475" y="449"/>
                  </a:lnTo>
                  <a:lnTo>
                    <a:pt x="458" y="465"/>
                  </a:lnTo>
                  <a:lnTo>
                    <a:pt x="442" y="454"/>
                  </a:lnTo>
                  <a:lnTo>
                    <a:pt x="447" y="482"/>
                  </a:lnTo>
                  <a:lnTo>
                    <a:pt x="475" y="498"/>
                  </a:lnTo>
                  <a:lnTo>
                    <a:pt x="463" y="522"/>
                  </a:lnTo>
                  <a:lnTo>
                    <a:pt x="480" y="543"/>
                  </a:lnTo>
                  <a:lnTo>
                    <a:pt x="501" y="555"/>
                  </a:lnTo>
                  <a:lnTo>
                    <a:pt x="567" y="598"/>
                  </a:lnTo>
                  <a:lnTo>
                    <a:pt x="555" y="621"/>
                  </a:lnTo>
                  <a:lnTo>
                    <a:pt x="534" y="621"/>
                  </a:lnTo>
                  <a:lnTo>
                    <a:pt x="534" y="638"/>
                  </a:lnTo>
                  <a:lnTo>
                    <a:pt x="484" y="666"/>
                  </a:lnTo>
                  <a:lnTo>
                    <a:pt x="501" y="687"/>
                  </a:lnTo>
                  <a:lnTo>
                    <a:pt x="496" y="704"/>
                  </a:lnTo>
                  <a:lnTo>
                    <a:pt x="513" y="704"/>
                  </a:lnTo>
                  <a:lnTo>
                    <a:pt x="501" y="720"/>
                  </a:lnTo>
                  <a:lnTo>
                    <a:pt x="484" y="720"/>
                  </a:lnTo>
                  <a:lnTo>
                    <a:pt x="484" y="704"/>
                  </a:lnTo>
                  <a:lnTo>
                    <a:pt x="409" y="709"/>
                  </a:lnTo>
                  <a:lnTo>
                    <a:pt x="371" y="725"/>
                  </a:lnTo>
                  <a:lnTo>
                    <a:pt x="366" y="725"/>
                  </a:lnTo>
                  <a:lnTo>
                    <a:pt x="354" y="720"/>
                  </a:lnTo>
                  <a:lnTo>
                    <a:pt x="324" y="709"/>
                  </a:lnTo>
                  <a:lnTo>
                    <a:pt x="324" y="725"/>
                  </a:lnTo>
                  <a:lnTo>
                    <a:pt x="302" y="742"/>
                  </a:lnTo>
                  <a:lnTo>
                    <a:pt x="312" y="732"/>
                  </a:lnTo>
                  <a:lnTo>
                    <a:pt x="286" y="720"/>
                  </a:lnTo>
                  <a:lnTo>
                    <a:pt x="279" y="709"/>
                  </a:lnTo>
                  <a:lnTo>
                    <a:pt x="265" y="720"/>
                  </a:lnTo>
                  <a:lnTo>
                    <a:pt x="241" y="704"/>
                  </a:lnTo>
                  <a:lnTo>
                    <a:pt x="203" y="704"/>
                  </a:lnTo>
                  <a:lnTo>
                    <a:pt x="203" y="692"/>
                  </a:lnTo>
                  <a:lnTo>
                    <a:pt x="194" y="692"/>
                  </a:lnTo>
                  <a:lnTo>
                    <a:pt x="177" y="704"/>
                  </a:lnTo>
                  <a:lnTo>
                    <a:pt x="194" y="704"/>
                  </a:lnTo>
                  <a:lnTo>
                    <a:pt x="194" y="709"/>
                  </a:lnTo>
                  <a:lnTo>
                    <a:pt x="123" y="709"/>
                  </a:lnTo>
                  <a:lnTo>
                    <a:pt x="118" y="704"/>
                  </a:lnTo>
                  <a:lnTo>
                    <a:pt x="123" y="676"/>
                  </a:lnTo>
                  <a:lnTo>
                    <a:pt x="123" y="666"/>
                  </a:lnTo>
                  <a:lnTo>
                    <a:pt x="135" y="638"/>
                  </a:lnTo>
                  <a:lnTo>
                    <a:pt x="140" y="621"/>
                  </a:lnTo>
                  <a:lnTo>
                    <a:pt x="173" y="581"/>
                  </a:lnTo>
                  <a:lnTo>
                    <a:pt x="135" y="576"/>
                  </a:lnTo>
                  <a:lnTo>
                    <a:pt x="106" y="565"/>
                  </a:lnTo>
                  <a:lnTo>
                    <a:pt x="102" y="565"/>
                  </a:lnTo>
                  <a:lnTo>
                    <a:pt x="80" y="560"/>
                  </a:lnTo>
                  <a:lnTo>
                    <a:pt x="64" y="565"/>
                  </a:lnTo>
                  <a:lnTo>
                    <a:pt x="47" y="543"/>
                  </a:lnTo>
                  <a:lnTo>
                    <a:pt x="43" y="539"/>
                  </a:lnTo>
                  <a:lnTo>
                    <a:pt x="43" y="539"/>
                  </a:lnTo>
                  <a:lnTo>
                    <a:pt x="47" y="505"/>
                  </a:lnTo>
                  <a:lnTo>
                    <a:pt x="31" y="498"/>
                  </a:lnTo>
                  <a:lnTo>
                    <a:pt x="26" y="472"/>
                  </a:lnTo>
                  <a:lnTo>
                    <a:pt x="26" y="465"/>
                  </a:lnTo>
                  <a:lnTo>
                    <a:pt x="43" y="454"/>
                  </a:lnTo>
                  <a:lnTo>
                    <a:pt x="31" y="428"/>
                  </a:lnTo>
                  <a:lnTo>
                    <a:pt x="14" y="416"/>
                  </a:lnTo>
                  <a:lnTo>
                    <a:pt x="14" y="399"/>
                  </a:lnTo>
                  <a:lnTo>
                    <a:pt x="0" y="387"/>
                  </a:lnTo>
                  <a:lnTo>
                    <a:pt x="14" y="378"/>
                  </a:lnTo>
                  <a:lnTo>
                    <a:pt x="14" y="371"/>
                  </a:lnTo>
                  <a:lnTo>
                    <a:pt x="31" y="361"/>
                  </a:lnTo>
                  <a:lnTo>
                    <a:pt x="31" y="345"/>
                  </a:lnTo>
                  <a:lnTo>
                    <a:pt x="10" y="317"/>
                  </a:lnTo>
                  <a:lnTo>
                    <a:pt x="69" y="300"/>
                  </a:lnTo>
                  <a:lnTo>
                    <a:pt x="64" y="288"/>
                  </a:lnTo>
                  <a:lnTo>
                    <a:pt x="85" y="276"/>
                  </a:lnTo>
                  <a:lnTo>
                    <a:pt x="85" y="260"/>
                  </a:lnTo>
                  <a:lnTo>
                    <a:pt x="64" y="243"/>
                  </a:lnTo>
                  <a:lnTo>
                    <a:pt x="69" y="234"/>
                  </a:lnTo>
                  <a:lnTo>
                    <a:pt x="85" y="234"/>
                  </a:lnTo>
                  <a:lnTo>
                    <a:pt x="102" y="205"/>
                  </a:lnTo>
                  <a:lnTo>
                    <a:pt x="102" y="177"/>
                  </a:lnTo>
                  <a:lnTo>
                    <a:pt x="102" y="172"/>
                  </a:lnTo>
                  <a:lnTo>
                    <a:pt x="106" y="172"/>
                  </a:lnTo>
                  <a:lnTo>
                    <a:pt x="85" y="168"/>
                  </a:lnTo>
                  <a:lnTo>
                    <a:pt x="85" y="168"/>
                  </a:lnTo>
                  <a:lnTo>
                    <a:pt x="97" y="139"/>
                  </a:lnTo>
                  <a:lnTo>
                    <a:pt x="102" y="132"/>
                  </a:lnTo>
                  <a:lnTo>
                    <a:pt x="156" y="132"/>
                  </a:lnTo>
                  <a:lnTo>
                    <a:pt x="161" y="149"/>
                  </a:lnTo>
                  <a:lnTo>
                    <a:pt x="156" y="149"/>
                  </a:lnTo>
                  <a:lnTo>
                    <a:pt x="161" y="156"/>
                  </a:lnTo>
                  <a:lnTo>
                    <a:pt x="173" y="156"/>
                  </a:lnTo>
                  <a:lnTo>
                    <a:pt x="177" y="149"/>
                  </a:lnTo>
                  <a:lnTo>
                    <a:pt x="173" y="149"/>
                  </a:lnTo>
                  <a:lnTo>
                    <a:pt x="173" y="139"/>
                  </a:lnTo>
                  <a:lnTo>
                    <a:pt x="177" y="139"/>
                  </a:lnTo>
                  <a:lnTo>
                    <a:pt x="189" y="149"/>
                  </a:lnTo>
                  <a:lnTo>
                    <a:pt x="189" y="168"/>
                  </a:lnTo>
                  <a:lnTo>
                    <a:pt x="194" y="149"/>
                  </a:lnTo>
                  <a:lnTo>
                    <a:pt x="189" y="132"/>
                  </a:lnTo>
                  <a:lnTo>
                    <a:pt x="203" y="116"/>
                  </a:lnTo>
                  <a:lnTo>
                    <a:pt x="241" y="116"/>
                  </a:lnTo>
                  <a:lnTo>
                    <a:pt x="265" y="139"/>
                  </a:lnTo>
                  <a:lnTo>
                    <a:pt x="279" y="149"/>
                  </a:lnTo>
                  <a:lnTo>
                    <a:pt x="265" y="139"/>
                  </a:lnTo>
                  <a:lnTo>
                    <a:pt x="248" y="116"/>
                  </a:lnTo>
                  <a:lnTo>
                    <a:pt x="215" y="111"/>
                  </a:lnTo>
                  <a:lnTo>
                    <a:pt x="210" y="99"/>
                  </a:lnTo>
                  <a:lnTo>
                    <a:pt x="227" y="94"/>
                  </a:lnTo>
                  <a:lnTo>
                    <a:pt x="210" y="83"/>
                  </a:lnTo>
                  <a:lnTo>
                    <a:pt x="215" y="78"/>
                  </a:lnTo>
                  <a:lnTo>
                    <a:pt x="203" y="78"/>
                  </a:lnTo>
                  <a:lnTo>
                    <a:pt x="194" y="66"/>
                  </a:lnTo>
                  <a:lnTo>
                    <a:pt x="227" y="57"/>
                  </a:lnTo>
                  <a:lnTo>
                    <a:pt x="194" y="12"/>
                  </a:lnTo>
                  <a:lnTo>
                    <a:pt x="173" y="12"/>
                  </a:lnTo>
                  <a:lnTo>
                    <a:pt x="173" y="28"/>
                  </a:lnTo>
                  <a:lnTo>
                    <a:pt x="177" y="0"/>
                  </a:lnTo>
                  <a:lnTo>
                    <a:pt x="189" y="0"/>
                  </a:lnTo>
                  <a:lnTo>
                    <a:pt x="177" y="5"/>
                  </a:lnTo>
                  <a:lnTo>
                    <a:pt x="189" y="12"/>
                  </a:lnTo>
                  <a:lnTo>
                    <a:pt x="203" y="12"/>
                  </a:lnTo>
                  <a:lnTo>
                    <a:pt x="258" y="24"/>
                  </a:lnTo>
                  <a:lnTo>
                    <a:pt x="295" y="28"/>
                  </a:lnTo>
                  <a:lnTo>
                    <a:pt x="295" y="45"/>
                  </a:lnTo>
                  <a:lnTo>
                    <a:pt x="286" y="61"/>
                  </a:lnTo>
                  <a:lnTo>
                    <a:pt x="302" y="57"/>
                  </a:lnTo>
                  <a:lnTo>
                    <a:pt x="340" y="66"/>
                  </a:lnTo>
                  <a:lnTo>
                    <a:pt x="371" y="66"/>
                  </a:lnTo>
                  <a:lnTo>
                    <a:pt x="371" y="83"/>
                  </a:lnTo>
                  <a:lnTo>
                    <a:pt x="350" y="99"/>
                  </a:lnTo>
                  <a:lnTo>
                    <a:pt x="354" y="99"/>
                  </a:lnTo>
                  <a:lnTo>
                    <a:pt x="350" y="116"/>
                  </a:lnTo>
                  <a:lnTo>
                    <a:pt x="371" y="99"/>
                  </a:lnTo>
                  <a:lnTo>
                    <a:pt x="392" y="111"/>
                  </a:lnTo>
                  <a:lnTo>
                    <a:pt x="409" y="83"/>
                  </a:lnTo>
                  <a:lnTo>
                    <a:pt x="442" y="83"/>
                  </a:lnTo>
                  <a:lnTo>
                    <a:pt x="475" y="57"/>
                  </a:lnTo>
                  <a:lnTo>
                    <a:pt x="501" y="61"/>
                  </a:lnTo>
                  <a:lnTo>
                    <a:pt x="463" y="61"/>
                  </a:lnTo>
                  <a:lnTo>
                    <a:pt x="458" y="78"/>
                  </a:lnTo>
                  <a:lnTo>
                    <a:pt x="475" y="66"/>
                  </a:lnTo>
                  <a:lnTo>
                    <a:pt x="501" y="61"/>
                  </a:lnTo>
                  <a:lnTo>
                    <a:pt x="534" y="94"/>
                  </a:lnTo>
                  <a:lnTo>
                    <a:pt x="555" y="83"/>
                  </a:lnTo>
                  <a:lnTo>
                    <a:pt x="567" y="111"/>
                  </a:lnTo>
                  <a:lnTo>
                    <a:pt x="567" y="116"/>
                  </a:lnTo>
                  <a:lnTo>
                    <a:pt x="593" y="132"/>
                  </a:lnTo>
                  <a:lnTo>
                    <a:pt x="605" y="168"/>
                  </a:lnTo>
                  <a:lnTo>
                    <a:pt x="605" y="189"/>
                  </a:lnTo>
                  <a:lnTo>
                    <a:pt x="588" y="205"/>
                  </a:lnTo>
                  <a:lnTo>
                    <a:pt x="588" y="210"/>
                  </a:lnTo>
                  <a:lnTo>
                    <a:pt x="619" y="243"/>
                  </a:lnTo>
                  <a:lnTo>
                    <a:pt x="610" y="260"/>
                  </a:lnTo>
                  <a:lnTo>
                    <a:pt x="626" y="276"/>
                  </a:lnTo>
                  <a:lnTo>
                    <a:pt x="626" y="288"/>
                  </a:lnTo>
                  <a:lnTo>
                    <a:pt x="619" y="317"/>
                  </a:lnTo>
                  <a:lnTo>
                    <a:pt x="626" y="333"/>
                  </a:lnTo>
                  <a:lnTo>
                    <a:pt x="626" y="345"/>
                  </a:lnTo>
                  <a:lnTo>
                    <a:pt x="643" y="345"/>
                  </a:lnTo>
                  <a:lnTo>
                    <a:pt x="647" y="371"/>
                  </a:lnTo>
                  <a:lnTo>
                    <a:pt x="636" y="411"/>
                  </a:lnTo>
                  <a:lnTo>
                    <a:pt x="619" y="411"/>
                  </a:lnTo>
                  <a:lnTo>
                    <a:pt x="610" y="394"/>
                  </a:lnTo>
                  <a:lnTo>
                    <a:pt x="593" y="387"/>
                  </a:lnTo>
                  <a:lnTo>
                    <a:pt x="593" y="394"/>
                  </a:lnTo>
                  <a:lnTo>
                    <a:pt x="605" y="399"/>
                  </a:lnTo>
                  <a:lnTo>
                    <a:pt x="593" y="399"/>
                  </a:lnTo>
                  <a:lnTo>
                    <a:pt x="539" y="416"/>
                  </a:lnTo>
                  <a:lnTo>
                    <a:pt x="501" y="449"/>
                  </a:lnTo>
                  <a:lnTo>
                    <a:pt x="501" y="449"/>
                  </a:lnTo>
                  <a:lnTo>
                    <a:pt x="501" y="449"/>
                  </a:lnTo>
                  <a:close/>
                  <a:moveTo>
                    <a:pt x="194" y="40"/>
                  </a:moveTo>
                  <a:lnTo>
                    <a:pt x="177" y="28"/>
                  </a:lnTo>
                  <a:lnTo>
                    <a:pt x="194" y="28"/>
                  </a:lnTo>
                  <a:lnTo>
                    <a:pt x="194" y="40"/>
                  </a:lnTo>
                  <a:lnTo>
                    <a:pt x="194" y="40"/>
                  </a:lnTo>
                  <a:lnTo>
                    <a:pt x="194" y="40"/>
                  </a:lnTo>
                  <a:close/>
                  <a:moveTo>
                    <a:pt x="177" y="45"/>
                  </a:moveTo>
                  <a:lnTo>
                    <a:pt x="173" y="40"/>
                  </a:lnTo>
                  <a:lnTo>
                    <a:pt x="177" y="28"/>
                  </a:lnTo>
                  <a:lnTo>
                    <a:pt x="177" y="45"/>
                  </a:lnTo>
                  <a:lnTo>
                    <a:pt x="177" y="45"/>
                  </a:lnTo>
                  <a:lnTo>
                    <a:pt x="177" y="45"/>
                  </a:lnTo>
                  <a:close/>
                  <a:moveTo>
                    <a:pt x="529" y="78"/>
                  </a:moveTo>
                  <a:lnTo>
                    <a:pt x="534" y="78"/>
                  </a:lnTo>
                  <a:lnTo>
                    <a:pt x="513" y="66"/>
                  </a:lnTo>
                  <a:lnTo>
                    <a:pt x="529" y="61"/>
                  </a:lnTo>
                  <a:lnTo>
                    <a:pt x="517" y="45"/>
                  </a:lnTo>
                  <a:lnTo>
                    <a:pt x="539" y="57"/>
                  </a:lnTo>
                  <a:lnTo>
                    <a:pt x="534" y="45"/>
                  </a:lnTo>
                  <a:lnTo>
                    <a:pt x="517" y="45"/>
                  </a:lnTo>
                  <a:lnTo>
                    <a:pt x="517" y="40"/>
                  </a:lnTo>
                  <a:lnTo>
                    <a:pt x="534" y="40"/>
                  </a:lnTo>
                  <a:lnTo>
                    <a:pt x="534" y="45"/>
                  </a:lnTo>
                  <a:lnTo>
                    <a:pt x="551" y="45"/>
                  </a:lnTo>
                  <a:lnTo>
                    <a:pt x="539" y="61"/>
                  </a:lnTo>
                  <a:lnTo>
                    <a:pt x="555" y="78"/>
                  </a:lnTo>
                  <a:lnTo>
                    <a:pt x="551" y="66"/>
                  </a:lnTo>
                  <a:lnTo>
                    <a:pt x="539" y="66"/>
                  </a:lnTo>
                  <a:lnTo>
                    <a:pt x="529" y="78"/>
                  </a:lnTo>
                  <a:lnTo>
                    <a:pt x="529" y="78"/>
                  </a:lnTo>
                  <a:lnTo>
                    <a:pt x="529" y="78"/>
                  </a:lnTo>
                  <a:close/>
                  <a:moveTo>
                    <a:pt x="203" y="57"/>
                  </a:moveTo>
                  <a:lnTo>
                    <a:pt x="194" y="57"/>
                  </a:lnTo>
                  <a:lnTo>
                    <a:pt x="203" y="45"/>
                  </a:lnTo>
                  <a:lnTo>
                    <a:pt x="203" y="57"/>
                  </a:lnTo>
                  <a:lnTo>
                    <a:pt x="203" y="57"/>
                  </a:lnTo>
                  <a:lnTo>
                    <a:pt x="203" y="57"/>
                  </a:lnTo>
                  <a:close/>
                  <a:moveTo>
                    <a:pt x="378" y="61"/>
                  </a:moveTo>
                  <a:lnTo>
                    <a:pt x="388" y="61"/>
                  </a:lnTo>
                  <a:lnTo>
                    <a:pt x="366" y="61"/>
                  </a:lnTo>
                  <a:lnTo>
                    <a:pt x="371" y="57"/>
                  </a:lnTo>
                  <a:lnTo>
                    <a:pt x="378" y="61"/>
                  </a:lnTo>
                  <a:lnTo>
                    <a:pt x="378" y="61"/>
                  </a:lnTo>
                  <a:lnTo>
                    <a:pt x="378" y="61"/>
                  </a:lnTo>
                  <a:close/>
                  <a:moveTo>
                    <a:pt x="588" y="111"/>
                  </a:moveTo>
                  <a:lnTo>
                    <a:pt x="588" y="116"/>
                  </a:lnTo>
                  <a:lnTo>
                    <a:pt x="567" y="116"/>
                  </a:lnTo>
                  <a:lnTo>
                    <a:pt x="581" y="99"/>
                  </a:lnTo>
                  <a:lnTo>
                    <a:pt x="572" y="94"/>
                  </a:lnTo>
                  <a:lnTo>
                    <a:pt x="567" y="99"/>
                  </a:lnTo>
                  <a:lnTo>
                    <a:pt x="555" y="83"/>
                  </a:lnTo>
                  <a:lnTo>
                    <a:pt x="588" y="111"/>
                  </a:lnTo>
                  <a:lnTo>
                    <a:pt x="588" y="111"/>
                  </a:lnTo>
                  <a:lnTo>
                    <a:pt x="588" y="111"/>
                  </a:lnTo>
                  <a:close/>
                  <a:moveTo>
                    <a:pt x="392" y="111"/>
                  </a:moveTo>
                  <a:lnTo>
                    <a:pt x="388" y="99"/>
                  </a:lnTo>
                  <a:lnTo>
                    <a:pt x="392" y="99"/>
                  </a:lnTo>
                  <a:lnTo>
                    <a:pt x="392" y="111"/>
                  </a:lnTo>
                  <a:lnTo>
                    <a:pt x="392" y="111"/>
                  </a:lnTo>
                  <a:lnTo>
                    <a:pt x="392" y="111"/>
                  </a:lnTo>
                  <a:close/>
                  <a:moveTo>
                    <a:pt x="64" y="149"/>
                  </a:moveTo>
                  <a:lnTo>
                    <a:pt x="64" y="139"/>
                  </a:lnTo>
                  <a:lnTo>
                    <a:pt x="69" y="139"/>
                  </a:lnTo>
                  <a:lnTo>
                    <a:pt x="64" y="149"/>
                  </a:lnTo>
                  <a:lnTo>
                    <a:pt x="64" y="149"/>
                  </a:lnTo>
                  <a:lnTo>
                    <a:pt x="64" y="14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5" name="Freeform 454">
              <a:extLst>
                <a:ext uri="{FF2B5EF4-FFF2-40B4-BE49-F238E27FC236}">
                  <a16:creationId xmlns:a16="http://schemas.microsoft.com/office/drawing/2014/main" id="{6D0C8971-F80E-4A2D-B7EB-B89F134DD2CD}"/>
                </a:ext>
              </a:extLst>
            </p:cNvPr>
            <p:cNvSpPr>
              <a:spLocks noEditPoints="1"/>
            </p:cNvSpPr>
            <p:nvPr/>
          </p:nvSpPr>
          <p:spPr bwMode="gray">
            <a:xfrm>
              <a:off x="12295550" y="3682374"/>
              <a:ext cx="43203" cy="54004"/>
            </a:xfrm>
            <a:custGeom>
              <a:avLst/>
              <a:gdLst>
                <a:gd name="T0" fmla="*/ 5 w 132"/>
                <a:gd name="T1" fmla="*/ 5 h 165"/>
                <a:gd name="T2" fmla="*/ 0 w 132"/>
                <a:gd name="T3" fmla="*/ 5 h 165"/>
                <a:gd name="T4" fmla="*/ 5 w 132"/>
                <a:gd name="T5" fmla="*/ 0 h 165"/>
                <a:gd name="T6" fmla="*/ 5 w 132"/>
                <a:gd name="T7" fmla="*/ 5 h 165"/>
                <a:gd name="T8" fmla="*/ 5 w 132"/>
                <a:gd name="T9" fmla="*/ 5 h 165"/>
                <a:gd name="T10" fmla="*/ 5 w 132"/>
                <a:gd name="T11" fmla="*/ 5 h 165"/>
                <a:gd name="T12" fmla="*/ 21 w 132"/>
                <a:gd name="T13" fmla="*/ 16 h 165"/>
                <a:gd name="T14" fmla="*/ 12 w 132"/>
                <a:gd name="T15" fmla="*/ 16 h 165"/>
                <a:gd name="T16" fmla="*/ 21 w 132"/>
                <a:gd name="T17" fmla="*/ 16 h 165"/>
                <a:gd name="T18" fmla="*/ 21 w 132"/>
                <a:gd name="T19" fmla="*/ 16 h 165"/>
                <a:gd name="T20" fmla="*/ 21 w 132"/>
                <a:gd name="T21" fmla="*/ 16 h 165"/>
                <a:gd name="T22" fmla="*/ 21 w 132"/>
                <a:gd name="T23" fmla="*/ 16 h 165"/>
                <a:gd name="T24" fmla="*/ 111 w 132"/>
                <a:gd name="T25" fmla="*/ 132 h 165"/>
                <a:gd name="T26" fmla="*/ 111 w 132"/>
                <a:gd name="T27" fmla="*/ 116 h 165"/>
                <a:gd name="T28" fmla="*/ 118 w 132"/>
                <a:gd name="T29" fmla="*/ 132 h 165"/>
                <a:gd name="T30" fmla="*/ 132 w 132"/>
                <a:gd name="T31" fmla="*/ 132 h 165"/>
                <a:gd name="T32" fmla="*/ 106 w 132"/>
                <a:gd name="T33" fmla="*/ 144 h 165"/>
                <a:gd name="T34" fmla="*/ 106 w 132"/>
                <a:gd name="T35" fmla="*/ 156 h 165"/>
                <a:gd name="T36" fmla="*/ 97 w 132"/>
                <a:gd name="T37" fmla="*/ 156 h 165"/>
                <a:gd name="T38" fmla="*/ 90 w 132"/>
                <a:gd name="T39" fmla="*/ 132 h 165"/>
                <a:gd name="T40" fmla="*/ 111 w 132"/>
                <a:gd name="T41" fmla="*/ 132 h 165"/>
                <a:gd name="T42" fmla="*/ 111 w 132"/>
                <a:gd name="T43" fmla="*/ 132 h 165"/>
                <a:gd name="T44" fmla="*/ 111 w 132"/>
                <a:gd name="T45" fmla="*/ 132 h 165"/>
                <a:gd name="T46" fmla="*/ 128 w 132"/>
                <a:gd name="T47" fmla="*/ 165 h 165"/>
                <a:gd name="T48" fmla="*/ 118 w 132"/>
                <a:gd name="T49" fmla="*/ 165 h 165"/>
                <a:gd name="T50" fmla="*/ 128 w 132"/>
                <a:gd name="T51" fmla="*/ 156 h 165"/>
                <a:gd name="T52" fmla="*/ 132 w 132"/>
                <a:gd name="T53" fmla="*/ 165 h 165"/>
                <a:gd name="T54" fmla="*/ 128 w 132"/>
                <a:gd name="T55" fmla="*/ 165 h 165"/>
                <a:gd name="T56" fmla="*/ 128 w 132"/>
                <a:gd name="T57" fmla="*/ 165 h 165"/>
                <a:gd name="T58" fmla="*/ 128 w 132"/>
                <a:gd name="T59"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2" h="165">
                  <a:moveTo>
                    <a:pt x="5" y="5"/>
                  </a:moveTo>
                  <a:lnTo>
                    <a:pt x="0" y="5"/>
                  </a:lnTo>
                  <a:lnTo>
                    <a:pt x="5" y="0"/>
                  </a:lnTo>
                  <a:lnTo>
                    <a:pt x="5" y="5"/>
                  </a:lnTo>
                  <a:lnTo>
                    <a:pt x="5" y="5"/>
                  </a:lnTo>
                  <a:lnTo>
                    <a:pt x="5" y="5"/>
                  </a:lnTo>
                  <a:close/>
                  <a:moveTo>
                    <a:pt x="21" y="16"/>
                  </a:moveTo>
                  <a:lnTo>
                    <a:pt x="12" y="16"/>
                  </a:lnTo>
                  <a:lnTo>
                    <a:pt x="21" y="16"/>
                  </a:lnTo>
                  <a:lnTo>
                    <a:pt x="21" y="16"/>
                  </a:lnTo>
                  <a:lnTo>
                    <a:pt x="21" y="16"/>
                  </a:lnTo>
                  <a:lnTo>
                    <a:pt x="21" y="16"/>
                  </a:lnTo>
                  <a:close/>
                  <a:moveTo>
                    <a:pt x="111" y="132"/>
                  </a:moveTo>
                  <a:lnTo>
                    <a:pt x="111" y="116"/>
                  </a:lnTo>
                  <a:lnTo>
                    <a:pt x="118" y="132"/>
                  </a:lnTo>
                  <a:lnTo>
                    <a:pt x="132" y="132"/>
                  </a:lnTo>
                  <a:lnTo>
                    <a:pt x="106" y="144"/>
                  </a:lnTo>
                  <a:lnTo>
                    <a:pt x="106" y="156"/>
                  </a:lnTo>
                  <a:lnTo>
                    <a:pt x="97" y="156"/>
                  </a:lnTo>
                  <a:lnTo>
                    <a:pt x="90" y="132"/>
                  </a:lnTo>
                  <a:lnTo>
                    <a:pt x="111" y="132"/>
                  </a:lnTo>
                  <a:lnTo>
                    <a:pt x="111" y="132"/>
                  </a:lnTo>
                  <a:lnTo>
                    <a:pt x="111" y="132"/>
                  </a:lnTo>
                  <a:close/>
                  <a:moveTo>
                    <a:pt x="128" y="165"/>
                  </a:moveTo>
                  <a:lnTo>
                    <a:pt x="118" y="165"/>
                  </a:lnTo>
                  <a:lnTo>
                    <a:pt x="128" y="156"/>
                  </a:lnTo>
                  <a:lnTo>
                    <a:pt x="132" y="165"/>
                  </a:lnTo>
                  <a:lnTo>
                    <a:pt x="128" y="165"/>
                  </a:lnTo>
                  <a:lnTo>
                    <a:pt x="128" y="165"/>
                  </a:lnTo>
                  <a:lnTo>
                    <a:pt x="128" y="16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6" name="Freeform 455">
              <a:extLst>
                <a:ext uri="{FF2B5EF4-FFF2-40B4-BE49-F238E27FC236}">
                  <a16:creationId xmlns:a16="http://schemas.microsoft.com/office/drawing/2014/main" id="{5797A1A9-F561-4399-B56B-B0815769C1EC}"/>
                </a:ext>
              </a:extLst>
            </p:cNvPr>
            <p:cNvSpPr>
              <a:spLocks/>
            </p:cNvSpPr>
            <p:nvPr/>
          </p:nvSpPr>
          <p:spPr bwMode="gray">
            <a:xfrm>
              <a:off x="17064917" y="3791364"/>
              <a:ext cx="7201" cy="11455"/>
            </a:xfrm>
            <a:custGeom>
              <a:avLst/>
              <a:gdLst>
                <a:gd name="T0" fmla="*/ 7 w 22"/>
                <a:gd name="T1" fmla="*/ 35 h 35"/>
                <a:gd name="T2" fmla="*/ 0 w 22"/>
                <a:gd name="T3" fmla="*/ 19 h 35"/>
                <a:gd name="T4" fmla="*/ 17 w 22"/>
                <a:gd name="T5" fmla="*/ 0 h 35"/>
                <a:gd name="T6" fmla="*/ 22 w 22"/>
                <a:gd name="T7" fmla="*/ 0 h 35"/>
                <a:gd name="T8" fmla="*/ 7 w 22"/>
                <a:gd name="T9" fmla="*/ 35 h 35"/>
                <a:gd name="T10" fmla="*/ 7 w 22"/>
                <a:gd name="T11" fmla="*/ 35 h 35"/>
                <a:gd name="T12" fmla="*/ 7 w 22"/>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22" h="35">
                  <a:moveTo>
                    <a:pt x="7" y="35"/>
                  </a:moveTo>
                  <a:lnTo>
                    <a:pt x="0" y="19"/>
                  </a:lnTo>
                  <a:lnTo>
                    <a:pt x="17" y="0"/>
                  </a:lnTo>
                  <a:lnTo>
                    <a:pt x="22" y="0"/>
                  </a:lnTo>
                  <a:lnTo>
                    <a:pt x="7" y="35"/>
                  </a:lnTo>
                  <a:lnTo>
                    <a:pt x="7" y="35"/>
                  </a:lnTo>
                  <a:lnTo>
                    <a:pt x="7" y="3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7" name="Freeform 456">
              <a:extLst>
                <a:ext uri="{FF2B5EF4-FFF2-40B4-BE49-F238E27FC236}">
                  <a16:creationId xmlns:a16="http://schemas.microsoft.com/office/drawing/2014/main" id="{44D76764-D0DA-4F32-B549-DA3AF35E0F6C}"/>
                </a:ext>
              </a:extLst>
            </p:cNvPr>
            <p:cNvSpPr>
              <a:spLocks noEditPoints="1"/>
            </p:cNvSpPr>
            <p:nvPr/>
          </p:nvSpPr>
          <p:spPr bwMode="gray">
            <a:xfrm>
              <a:off x="14197471" y="3070657"/>
              <a:ext cx="193432" cy="185577"/>
            </a:xfrm>
            <a:custGeom>
              <a:avLst/>
              <a:gdLst>
                <a:gd name="T0" fmla="*/ 76 w 591"/>
                <a:gd name="T1" fmla="*/ 111 h 567"/>
                <a:gd name="T2" fmla="*/ 227 w 591"/>
                <a:gd name="T3" fmla="*/ 29 h 567"/>
                <a:gd name="T4" fmla="*/ 484 w 591"/>
                <a:gd name="T5" fmla="*/ 7 h 567"/>
                <a:gd name="T6" fmla="*/ 350 w 591"/>
                <a:gd name="T7" fmla="*/ 69 h 567"/>
                <a:gd name="T8" fmla="*/ 324 w 591"/>
                <a:gd name="T9" fmla="*/ 135 h 567"/>
                <a:gd name="T10" fmla="*/ 274 w 591"/>
                <a:gd name="T11" fmla="*/ 123 h 567"/>
                <a:gd name="T12" fmla="*/ 227 w 591"/>
                <a:gd name="T13" fmla="*/ 102 h 567"/>
                <a:gd name="T14" fmla="*/ 220 w 591"/>
                <a:gd name="T15" fmla="*/ 213 h 567"/>
                <a:gd name="T16" fmla="*/ 307 w 591"/>
                <a:gd name="T17" fmla="*/ 300 h 567"/>
                <a:gd name="T18" fmla="*/ 253 w 591"/>
                <a:gd name="T19" fmla="*/ 357 h 567"/>
                <a:gd name="T20" fmla="*/ 215 w 591"/>
                <a:gd name="T21" fmla="*/ 345 h 567"/>
                <a:gd name="T22" fmla="*/ 189 w 591"/>
                <a:gd name="T23" fmla="*/ 452 h 567"/>
                <a:gd name="T24" fmla="*/ 135 w 591"/>
                <a:gd name="T25" fmla="*/ 374 h 567"/>
                <a:gd name="T26" fmla="*/ 227 w 591"/>
                <a:gd name="T27" fmla="*/ 317 h 567"/>
                <a:gd name="T28" fmla="*/ 128 w 591"/>
                <a:gd name="T29" fmla="*/ 284 h 567"/>
                <a:gd name="T30" fmla="*/ 76 w 591"/>
                <a:gd name="T31" fmla="*/ 222 h 567"/>
                <a:gd name="T32" fmla="*/ 21 w 591"/>
                <a:gd name="T33" fmla="*/ 173 h 567"/>
                <a:gd name="T34" fmla="*/ 345 w 591"/>
                <a:gd name="T35" fmla="*/ 95 h 567"/>
                <a:gd name="T36" fmla="*/ 413 w 591"/>
                <a:gd name="T37" fmla="*/ 102 h 567"/>
                <a:gd name="T38" fmla="*/ 397 w 591"/>
                <a:gd name="T39" fmla="*/ 140 h 567"/>
                <a:gd name="T40" fmla="*/ 26 w 591"/>
                <a:gd name="T41" fmla="*/ 196 h 567"/>
                <a:gd name="T42" fmla="*/ 468 w 591"/>
                <a:gd name="T43" fmla="*/ 206 h 567"/>
                <a:gd name="T44" fmla="*/ 468 w 591"/>
                <a:gd name="T45" fmla="*/ 206 h 567"/>
                <a:gd name="T46" fmla="*/ 258 w 591"/>
                <a:gd name="T47" fmla="*/ 222 h 567"/>
                <a:gd name="T48" fmla="*/ 274 w 591"/>
                <a:gd name="T49" fmla="*/ 279 h 567"/>
                <a:gd name="T50" fmla="*/ 333 w 591"/>
                <a:gd name="T51" fmla="*/ 300 h 567"/>
                <a:gd name="T52" fmla="*/ 333 w 591"/>
                <a:gd name="T53" fmla="*/ 230 h 567"/>
                <a:gd name="T54" fmla="*/ 59 w 591"/>
                <a:gd name="T55" fmla="*/ 246 h 567"/>
                <a:gd name="T56" fmla="*/ 404 w 591"/>
                <a:gd name="T57" fmla="*/ 267 h 567"/>
                <a:gd name="T58" fmla="*/ 442 w 591"/>
                <a:gd name="T59" fmla="*/ 300 h 567"/>
                <a:gd name="T60" fmla="*/ 59 w 591"/>
                <a:gd name="T61" fmla="*/ 279 h 567"/>
                <a:gd name="T62" fmla="*/ 350 w 591"/>
                <a:gd name="T63" fmla="*/ 317 h 567"/>
                <a:gd name="T64" fmla="*/ 64 w 591"/>
                <a:gd name="T65" fmla="*/ 324 h 567"/>
                <a:gd name="T66" fmla="*/ 489 w 591"/>
                <a:gd name="T67" fmla="*/ 333 h 567"/>
                <a:gd name="T68" fmla="*/ 258 w 591"/>
                <a:gd name="T69" fmla="*/ 341 h 567"/>
                <a:gd name="T70" fmla="*/ 435 w 591"/>
                <a:gd name="T71" fmla="*/ 357 h 567"/>
                <a:gd name="T72" fmla="*/ 383 w 591"/>
                <a:gd name="T73" fmla="*/ 345 h 567"/>
                <a:gd name="T74" fmla="*/ 366 w 591"/>
                <a:gd name="T75" fmla="*/ 362 h 567"/>
                <a:gd name="T76" fmla="*/ 397 w 591"/>
                <a:gd name="T77" fmla="*/ 362 h 567"/>
                <a:gd name="T78" fmla="*/ 333 w 591"/>
                <a:gd name="T79" fmla="*/ 390 h 567"/>
                <a:gd name="T80" fmla="*/ 387 w 591"/>
                <a:gd name="T81" fmla="*/ 390 h 567"/>
                <a:gd name="T82" fmla="*/ 387 w 591"/>
                <a:gd name="T83" fmla="*/ 390 h 567"/>
                <a:gd name="T84" fmla="*/ 506 w 591"/>
                <a:gd name="T85" fmla="*/ 402 h 567"/>
                <a:gd name="T86" fmla="*/ 376 w 591"/>
                <a:gd name="T87" fmla="*/ 402 h 567"/>
                <a:gd name="T88" fmla="*/ 510 w 591"/>
                <a:gd name="T89" fmla="*/ 411 h 567"/>
                <a:gd name="T90" fmla="*/ 435 w 591"/>
                <a:gd name="T91" fmla="*/ 411 h 567"/>
                <a:gd name="T92" fmla="*/ 397 w 591"/>
                <a:gd name="T93" fmla="*/ 428 h 567"/>
                <a:gd name="T94" fmla="*/ 324 w 591"/>
                <a:gd name="T95" fmla="*/ 428 h 567"/>
                <a:gd name="T96" fmla="*/ 458 w 591"/>
                <a:gd name="T97" fmla="*/ 435 h 567"/>
                <a:gd name="T98" fmla="*/ 404 w 591"/>
                <a:gd name="T99" fmla="*/ 444 h 567"/>
                <a:gd name="T100" fmla="*/ 539 w 591"/>
                <a:gd name="T101" fmla="*/ 452 h 567"/>
                <a:gd name="T102" fmla="*/ 591 w 591"/>
                <a:gd name="T103" fmla="*/ 444 h 567"/>
                <a:gd name="T104" fmla="*/ 421 w 591"/>
                <a:gd name="T105" fmla="*/ 452 h 567"/>
                <a:gd name="T106" fmla="*/ 522 w 591"/>
                <a:gd name="T107" fmla="*/ 529 h 567"/>
                <a:gd name="T108" fmla="*/ 269 w 591"/>
                <a:gd name="T109" fmla="*/ 513 h 567"/>
                <a:gd name="T110" fmla="*/ 397 w 591"/>
                <a:gd name="T111" fmla="*/ 539 h 567"/>
                <a:gd name="T112" fmla="*/ 350 w 591"/>
                <a:gd name="T113" fmla="*/ 567 h 567"/>
                <a:gd name="T114" fmla="*/ 510 w 591"/>
                <a:gd name="T115" fmla="*/ 522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91" h="567">
                  <a:moveTo>
                    <a:pt x="21" y="173"/>
                  </a:moveTo>
                  <a:lnTo>
                    <a:pt x="38" y="173"/>
                  </a:lnTo>
                  <a:lnTo>
                    <a:pt x="43" y="168"/>
                  </a:lnTo>
                  <a:lnTo>
                    <a:pt x="38" y="168"/>
                  </a:lnTo>
                  <a:lnTo>
                    <a:pt x="54" y="156"/>
                  </a:lnTo>
                  <a:lnTo>
                    <a:pt x="43" y="152"/>
                  </a:lnTo>
                  <a:lnTo>
                    <a:pt x="64" y="135"/>
                  </a:lnTo>
                  <a:lnTo>
                    <a:pt x="76" y="111"/>
                  </a:lnTo>
                  <a:lnTo>
                    <a:pt x="92" y="95"/>
                  </a:lnTo>
                  <a:lnTo>
                    <a:pt x="92" y="69"/>
                  </a:lnTo>
                  <a:lnTo>
                    <a:pt x="128" y="69"/>
                  </a:lnTo>
                  <a:lnTo>
                    <a:pt x="144" y="62"/>
                  </a:lnTo>
                  <a:lnTo>
                    <a:pt x="161" y="45"/>
                  </a:lnTo>
                  <a:lnTo>
                    <a:pt x="215" y="45"/>
                  </a:lnTo>
                  <a:lnTo>
                    <a:pt x="215" y="29"/>
                  </a:lnTo>
                  <a:lnTo>
                    <a:pt x="227" y="29"/>
                  </a:lnTo>
                  <a:lnTo>
                    <a:pt x="274" y="29"/>
                  </a:lnTo>
                  <a:lnTo>
                    <a:pt x="324" y="12"/>
                  </a:lnTo>
                  <a:lnTo>
                    <a:pt x="387" y="41"/>
                  </a:lnTo>
                  <a:lnTo>
                    <a:pt x="451" y="29"/>
                  </a:lnTo>
                  <a:lnTo>
                    <a:pt x="451" y="12"/>
                  </a:lnTo>
                  <a:lnTo>
                    <a:pt x="442" y="0"/>
                  </a:lnTo>
                  <a:lnTo>
                    <a:pt x="468" y="0"/>
                  </a:lnTo>
                  <a:lnTo>
                    <a:pt x="484" y="7"/>
                  </a:lnTo>
                  <a:lnTo>
                    <a:pt x="484" y="29"/>
                  </a:lnTo>
                  <a:lnTo>
                    <a:pt x="458" y="41"/>
                  </a:lnTo>
                  <a:lnTo>
                    <a:pt x="468" y="62"/>
                  </a:lnTo>
                  <a:lnTo>
                    <a:pt x="442" y="85"/>
                  </a:lnTo>
                  <a:lnTo>
                    <a:pt x="442" y="78"/>
                  </a:lnTo>
                  <a:lnTo>
                    <a:pt x="383" y="62"/>
                  </a:lnTo>
                  <a:lnTo>
                    <a:pt x="383" y="62"/>
                  </a:lnTo>
                  <a:lnTo>
                    <a:pt x="350" y="69"/>
                  </a:lnTo>
                  <a:lnTo>
                    <a:pt x="328" y="62"/>
                  </a:lnTo>
                  <a:lnTo>
                    <a:pt x="307" y="85"/>
                  </a:lnTo>
                  <a:lnTo>
                    <a:pt x="279" y="78"/>
                  </a:lnTo>
                  <a:lnTo>
                    <a:pt x="274" y="85"/>
                  </a:lnTo>
                  <a:lnTo>
                    <a:pt x="291" y="111"/>
                  </a:lnTo>
                  <a:lnTo>
                    <a:pt x="312" y="118"/>
                  </a:lnTo>
                  <a:lnTo>
                    <a:pt x="328" y="135"/>
                  </a:lnTo>
                  <a:lnTo>
                    <a:pt x="324" y="135"/>
                  </a:lnTo>
                  <a:lnTo>
                    <a:pt x="312" y="118"/>
                  </a:lnTo>
                  <a:lnTo>
                    <a:pt x="291" y="118"/>
                  </a:lnTo>
                  <a:lnTo>
                    <a:pt x="279" y="118"/>
                  </a:lnTo>
                  <a:lnTo>
                    <a:pt x="279" y="123"/>
                  </a:lnTo>
                  <a:lnTo>
                    <a:pt x="295" y="135"/>
                  </a:lnTo>
                  <a:lnTo>
                    <a:pt x="295" y="140"/>
                  </a:lnTo>
                  <a:lnTo>
                    <a:pt x="295" y="152"/>
                  </a:lnTo>
                  <a:lnTo>
                    <a:pt x="274" y="123"/>
                  </a:lnTo>
                  <a:lnTo>
                    <a:pt x="253" y="123"/>
                  </a:lnTo>
                  <a:lnTo>
                    <a:pt x="253" y="135"/>
                  </a:lnTo>
                  <a:lnTo>
                    <a:pt x="279" y="152"/>
                  </a:lnTo>
                  <a:lnTo>
                    <a:pt x="258" y="152"/>
                  </a:lnTo>
                  <a:lnTo>
                    <a:pt x="253" y="123"/>
                  </a:lnTo>
                  <a:lnTo>
                    <a:pt x="220" y="111"/>
                  </a:lnTo>
                  <a:lnTo>
                    <a:pt x="220" y="102"/>
                  </a:lnTo>
                  <a:lnTo>
                    <a:pt x="227" y="102"/>
                  </a:lnTo>
                  <a:lnTo>
                    <a:pt x="227" y="95"/>
                  </a:lnTo>
                  <a:lnTo>
                    <a:pt x="199" y="102"/>
                  </a:lnTo>
                  <a:lnTo>
                    <a:pt x="199" y="140"/>
                  </a:lnTo>
                  <a:lnTo>
                    <a:pt x="253" y="213"/>
                  </a:lnTo>
                  <a:lnTo>
                    <a:pt x="236" y="222"/>
                  </a:lnTo>
                  <a:lnTo>
                    <a:pt x="241" y="213"/>
                  </a:lnTo>
                  <a:lnTo>
                    <a:pt x="227" y="196"/>
                  </a:lnTo>
                  <a:lnTo>
                    <a:pt x="220" y="213"/>
                  </a:lnTo>
                  <a:lnTo>
                    <a:pt x="236" y="230"/>
                  </a:lnTo>
                  <a:lnTo>
                    <a:pt x="220" y="234"/>
                  </a:lnTo>
                  <a:lnTo>
                    <a:pt x="199" y="246"/>
                  </a:lnTo>
                  <a:lnTo>
                    <a:pt x="227" y="251"/>
                  </a:lnTo>
                  <a:lnTo>
                    <a:pt x="236" y="263"/>
                  </a:lnTo>
                  <a:lnTo>
                    <a:pt x="253" y="263"/>
                  </a:lnTo>
                  <a:lnTo>
                    <a:pt x="253" y="267"/>
                  </a:lnTo>
                  <a:lnTo>
                    <a:pt x="307" y="300"/>
                  </a:lnTo>
                  <a:lnTo>
                    <a:pt x="295" y="307"/>
                  </a:lnTo>
                  <a:lnTo>
                    <a:pt x="307" y="333"/>
                  </a:lnTo>
                  <a:lnTo>
                    <a:pt x="295" y="341"/>
                  </a:lnTo>
                  <a:lnTo>
                    <a:pt x="269" y="307"/>
                  </a:lnTo>
                  <a:lnTo>
                    <a:pt x="227" y="324"/>
                  </a:lnTo>
                  <a:lnTo>
                    <a:pt x="236" y="324"/>
                  </a:lnTo>
                  <a:lnTo>
                    <a:pt x="241" y="345"/>
                  </a:lnTo>
                  <a:lnTo>
                    <a:pt x="253" y="357"/>
                  </a:lnTo>
                  <a:lnTo>
                    <a:pt x="253" y="345"/>
                  </a:lnTo>
                  <a:lnTo>
                    <a:pt x="258" y="345"/>
                  </a:lnTo>
                  <a:lnTo>
                    <a:pt x="269" y="362"/>
                  </a:lnTo>
                  <a:lnTo>
                    <a:pt x="253" y="362"/>
                  </a:lnTo>
                  <a:lnTo>
                    <a:pt x="241" y="374"/>
                  </a:lnTo>
                  <a:lnTo>
                    <a:pt x="236" y="362"/>
                  </a:lnTo>
                  <a:lnTo>
                    <a:pt x="236" y="362"/>
                  </a:lnTo>
                  <a:lnTo>
                    <a:pt x="215" y="345"/>
                  </a:lnTo>
                  <a:lnTo>
                    <a:pt x="236" y="418"/>
                  </a:lnTo>
                  <a:lnTo>
                    <a:pt x="227" y="428"/>
                  </a:lnTo>
                  <a:lnTo>
                    <a:pt x="241" y="444"/>
                  </a:lnTo>
                  <a:lnTo>
                    <a:pt x="227" y="435"/>
                  </a:lnTo>
                  <a:lnTo>
                    <a:pt x="215" y="411"/>
                  </a:lnTo>
                  <a:lnTo>
                    <a:pt x="203" y="411"/>
                  </a:lnTo>
                  <a:lnTo>
                    <a:pt x="189" y="428"/>
                  </a:lnTo>
                  <a:lnTo>
                    <a:pt x="189" y="452"/>
                  </a:lnTo>
                  <a:lnTo>
                    <a:pt x="165" y="395"/>
                  </a:lnTo>
                  <a:lnTo>
                    <a:pt x="151" y="395"/>
                  </a:lnTo>
                  <a:lnTo>
                    <a:pt x="161" y="411"/>
                  </a:lnTo>
                  <a:lnTo>
                    <a:pt x="151" y="418"/>
                  </a:lnTo>
                  <a:lnTo>
                    <a:pt x="135" y="411"/>
                  </a:lnTo>
                  <a:lnTo>
                    <a:pt x="135" y="402"/>
                  </a:lnTo>
                  <a:lnTo>
                    <a:pt x="128" y="390"/>
                  </a:lnTo>
                  <a:lnTo>
                    <a:pt x="135" y="374"/>
                  </a:lnTo>
                  <a:lnTo>
                    <a:pt x="135" y="362"/>
                  </a:lnTo>
                  <a:lnTo>
                    <a:pt x="97" y="324"/>
                  </a:lnTo>
                  <a:lnTo>
                    <a:pt x="113" y="307"/>
                  </a:lnTo>
                  <a:lnTo>
                    <a:pt x="113" y="291"/>
                  </a:lnTo>
                  <a:lnTo>
                    <a:pt x="135" y="300"/>
                  </a:lnTo>
                  <a:lnTo>
                    <a:pt x="151" y="284"/>
                  </a:lnTo>
                  <a:lnTo>
                    <a:pt x="220" y="317"/>
                  </a:lnTo>
                  <a:lnTo>
                    <a:pt x="227" y="317"/>
                  </a:lnTo>
                  <a:lnTo>
                    <a:pt x="220" y="307"/>
                  </a:lnTo>
                  <a:lnTo>
                    <a:pt x="241" y="307"/>
                  </a:lnTo>
                  <a:lnTo>
                    <a:pt x="241" y="300"/>
                  </a:lnTo>
                  <a:lnTo>
                    <a:pt x="215" y="291"/>
                  </a:lnTo>
                  <a:lnTo>
                    <a:pt x="189" y="279"/>
                  </a:lnTo>
                  <a:lnTo>
                    <a:pt x="182" y="284"/>
                  </a:lnTo>
                  <a:lnTo>
                    <a:pt x="161" y="279"/>
                  </a:lnTo>
                  <a:lnTo>
                    <a:pt x="128" y="284"/>
                  </a:lnTo>
                  <a:lnTo>
                    <a:pt x="113" y="279"/>
                  </a:lnTo>
                  <a:lnTo>
                    <a:pt x="97" y="284"/>
                  </a:lnTo>
                  <a:lnTo>
                    <a:pt x="92" y="263"/>
                  </a:lnTo>
                  <a:lnTo>
                    <a:pt x="64" y="246"/>
                  </a:lnTo>
                  <a:lnTo>
                    <a:pt x="76" y="234"/>
                  </a:lnTo>
                  <a:lnTo>
                    <a:pt x="97" y="246"/>
                  </a:lnTo>
                  <a:lnTo>
                    <a:pt x="97" y="230"/>
                  </a:lnTo>
                  <a:lnTo>
                    <a:pt x="76" y="222"/>
                  </a:lnTo>
                  <a:lnTo>
                    <a:pt x="76" y="230"/>
                  </a:lnTo>
                  <a:lnTo>
                    <a:pt x="76" y="234"/>
                  </a:lnTo>
                  <a:lnTo>
                    <a:pt x="64" y="234"/>
                  </a:lnTo>
                  <a:lnTo>
                    <a:pt x="54" y="206"/>
                  </a:lnTo>
                  <a:lnTo>
                    <a:pt x="38" y="206"/>
                  </a:lnTo>
                  <a:lnTo>
                    <a:pt x="38" y="180"/>
                  </a:lnTo>
                  <a:lnTo>
                    <a:pt x="21" y="173"/>
                  </a:lnTo>
                  <a:lnTo>
                    <a:pt x="21" y="173"/>
                  </a:lnTo>
                  <a:lnTo>
                    <a:pt x="21" y="173"/>
                  </a:lnTo>
                  <a:close/>
                  <a:moveTo>
                    <a:pt x="345" y="95"/>
                  </a:moveTo>
                  <a:lnTo>
                    <a:pt x="333" y="85"/>
                  </a:lnTo>
                  <a:lnTo>
                    <a:pt x="345" y="78"/>
                  </a:lnTo>
                  <a:lnTo>
                    <a:pt x="350" y="78"/>
                  </a:lnTo>
                  <a:lnTo>
                    <a:pt x="350" y="95"/>
                  </a:lnTo>
                  <a:lnTo>
                    <a:pt x="345" y="95"/>
                  </a:lnTo>
                  <a:lnTo>
                    <a:pt x="345" y="95"/>
                  </a:lnTo>
                  <a:lnTo>
                    <a:pt x="345" y="95"/>
                  </a:lnTo>
                  <a:close/>
                  <a:moveTo>
                    <a:pt x="413" y="102"/>
                  </a:moveTo>
                  <a:lnTo>
                    <a:pt x="421" y="111"/>
                  </a:lnTo>
                  <a:lnTo>
                    <a:pt x="413" y="111"/>
                  </a:lnTo>
                  <a:lnTo>
                    <a:pt x="397" y="102"/>
                  </a:lnTo>
                  <a:lnTo>
                    <a:pt x="413" y="102"/>
                  </a:lnTo>
                  <a:lnTo>
                    <a:pt x="413" y="102"/>
                  </a:lnTo>
                  <a:lnTo>
                    <a:pt x="413" y="102"/>
                  </a:lnTo>
                  <a:close/>
                  <a:moveTo>
                    <a:pt x="397" y="140"/>
                  </a:moveTo>
                  <a:lnTo>
                    <a:pt x="397" y="168"/>
                  </a:lnTo>
                  <a:lnTo>
                    <a:pt x="387" y="152"/>
                  </a:lnTo>
                  <a:lnTo>
                    <a:pt x="383" y="156"/>
                  </a:lnTo>
                  <a:lnTo>
                    <a:pt x="383" y="168"/>
                  </a:lnTo>
                  <a:lnTo>
                    <a:pt x="376" y="156"/>
                  </a:lnTo>
                  <a:lnTo>
                    <a:pt x="376" y="152"/>
                  </a:lnTo>
                  <a:lnTo>
                    <a:pt x="397" y="140"/>
                  </a:lnTo>
                  <a:lnTo>
                    <a:pt x="397" y="140"/>
                  </a:lnTo>
                  <a:lnTo>
                    <a:pt x="397" y="140"/>
                  </a:lnTo>
                  <a:close/>
                  <a:moveTo>
                    <a:pt x="5" y="156"/>
                  </a:moveTo>
                  <a:lnTo>
                    <a:pt x="10" y="168"/>
                  </a:lnTo>
                  <a:lnTo>
                    <a:pt x="5" y="173"/>
                  </a:lnTo>
                  <a:lnTo>
                    <a:pt x="10" y="189"/>
                  </a:lnTo>
                  <a:lnTo>
                    <a:pt x="21" y="189"/>
                  </a:lnTo>
                  <a:lnTo>
                    <a:pt x="26" y="196"/>
                  </a:lnTo>
                  <a:lnTo>
                    <a:pt x="10" y="189"/>
                  </a:lnTo>
                  <a:lnTo>
                    <a:pt x="0" y="173"/>
                  </a:lnTo>
                  <a:lnTo>
                    <a:pt x="0" y="168"/>
                  </a:lnTo>
                  <a:lnTo>
                    <a:pt x="5" y="156"/>
                  </a:lnTo>
                  <a:lnTo>
                    <a:pt x="5" y="156"/>
                  </a:lnTo>
                  <a:lnTo>
                    <a:pt x="5" y="156"/>
                  </a:lnTo>
                  <a:close/>
                  <a:moveTo>
                    <a:pt x="468" y="206"/>
                  </a:moveTo>
                  <a:lnTo>
                    <a:pt x="468" y="206"/>
                  </a:lnTo>
                  <a:lnTo>
                    <a:pt x="484" y="230"/>
                  </a:lnTo>
                  <a:lnTo>
                    <a:pt x="458" y="230"/>
                  </a:lnTo>
                  <a:lnTo>
                    <a:pt x="442" y="222"/>
                  </a:lnTo>
                  <a:lnTo>
                    <a:pt x="458" y="213"/>
                  </a:lnTo>
                  <a:lnTo>
                    <a:pt x="442" y="222"/>
                  </a:lnTo>
                  <a:lnTo>
                    <a:pt x="430" y="213"/>
                  </a:lnTo>
                  <a:lnTo>
                    <a:pt x="451" y="196"/>
                  </a:lnTo>
                  <a:lnTo>
                    <a:pt x="468" y="206"/>
                  </a:lnTo>
                  <a:lnTo>
                    <a:pt x="468" y="206"/>
                  </a:lnTo>
                  <a:lnTo>
                    <a:pt x="468" y="206"/>
                  </a:lnTo>
                  <a:close/>
                  <a:moveTo>
                    <a:pt x="258" y="222"/>
                  </a:moveTo>
                  <a:lnTo>
                    <a:pt x="258" y="213"/>
                  </a:lnTo>
                  <a:lnTo>
                    <a:pt x="269" y="213"/>
                  </a:lnTo>
                  <a:lnTo>
                    <a:pt x="258" y="222"/>
                  </a:lnTo>
                  <a:lnTo>
                    <a:pt x="258" y="222"/>
                  </a:lnTo>
                  <a:lnTo>
                    <a:pt x="258" y="222"/>
                  </a:lnTo>
                  <a:close/>
                  <a:moveTo>
                    <a:pt x="279" y="222"/>
                  </a:moveTo>
                  <a:lnTo>
                    <a:pt x="269" y="213"/>
                  </a:lnTo>
                  <a:lnTo>
                    <a:pt x="279" y="222"/>
                  </a:lnTo>
                  <a:lnTo>
                    <a:pt x="279" y="222"/>
                  </a:lnTo>
                  <a:lnTo>
                    <a:pt x="279" y="222"/>
                  </a:lnTo>
                  <a:lnTo>
                    <a:pt x="279" y="222"/>
                  </a:lnTo>
                  <a:close/>
                  <a:moveTo>
                    <a:pt x="307" y="284"/>
                  </a:moveTo>
                  <a:lnTo>
                    <a:pt x="274" y="279"/>
                  </a:lnTo>
                  <a:lnTo>
                    <a:pt x="274" y="267"/>
                  </a:lnTo>
                  <a:lnTo>
                    <a:pt x="241" y="246"/>
                  </a:lnTo>
                  <a:lnTo>
                    <a:pt x="220" y="246"/>
                  </a:lnTo>
                  <a:lnTo>
                    <a:pt x="253" y="230"/>
                  </a:lnTo>
                  <a:lnTo>
                    <a:pt x="269" y="251"/>
                  </a:lnTo>
                  <a:lnTo>
                    <a:pt x="312" y="263"/>
                  </a:lnTo>
                  <a:lnTo>
                    <a:pt x="312" y="291"/>
                  </a:lnTo>
                  <a:lnTo>
                    <a:pt x="333" y="300"/>
                  </a:lnTo>
                  <a:lnTo>
                    <a:pt x="333" y="317"/>
                  </a:lnTo>
                  <a:lnTo>
                    <a:pt x="328" y="317"/>
                  </a:lnTo>
                  <a:lnTo>
                    <a:pt x="307" y="284"/>
                  </a:lnTo>
                  <a:lnTo>
                    <a:pt x="307" y="284"/>
                  </a:lnTo>
                  <a:lnTo>
                    <a:pt x="307" y="284"/>
                  </a:lnTo>
                  <a:close/>
                  <a:moveTo>
                    <a:pt x="333" y="251"/>
                  </a:moveTo>
                  <a:lnTo>
                    <a:pt x="328" y="234"/>
                  </a:lnTo>
                  <a:lnTo>
                    <a:pt x="333" y="230"/>
                  </a:lnTo>
                  <a:lnTo>
                    <a:pt x="345" y="246"/>
                  </a:lnTo>
                  <a:lnTo>
                    <a:pt x="333" y="251"/>
                  </a:lnTo>
                  <a:lnTo>
                    <a:pt x="333" y="251"/>
                  </a:lnTo>
                  <a:lnTo>
                    <a:pt x="333" y="251"/>
                  </a:lnTo>
                  <a:close/>
                  <a:moveTo>
                    <a:pt x="64" y="246"/>
                  </a:moveTo>
                  <a:lnTo>
                    <a:pt x="64" y="263"/>
                  </a:lnTo>
                  <a:lnTo>
                    <a:pt x="59" y="267"/>
                  </a:lnTo>
                  <a:lnTo>
                    <a:pt x="59" y="246"/>
                  </a:lnTo>
                  <a:lnTo>
                    <a:pt x="64" y="246"/>
                  </a:lnTo>
                  <a:lnTo>
                    <a:pt x="64" y="246"/>
                  </a:lnTo>
                  <a:lnTo>
                    <a:pt x="64" y="246"/>
                  </a:lnTo>
                  <a:close/>
                  <a:moveTo>
                    <a:pt x="404" y="267"/>
                  </a:moveTo>
                  <a:lnTo>
                    <a:pt x="404" y="263"/>
                  </a:lnTo>
                  <a:lnTo>
                    <a:pt x="413" y="263"/>
                  </a:lnTo>
                  <a:lnTo>
                    <a:pt x="404" y="267"/>
                  </a:lnTo>
                  <a:lnTo>
                    <a:pt x="404" y="267"/>
                  </a:lnTo>
                  <a:lnTo>
                    <a:pt x="404" y="267"/>
                  </a:lnTo>
                  <a:close/>
                  <a:moveTo>
                    <a:pt x="442" y="300"/>
                  </a:moveTo>
                  <a:lnTo>
                    <a:pt x="430" y="291"/>
                  </a:lnTo>
                  <a:lnTo>
                    <a:pt x="435" y="284"/>
                  </a:lnTo>
                  <a:lnTo>
                    <a:pt x="430" y="267"/>
                  </a:lnTo>
                  <a:lnTo>
                    <a:pt x="451" y="267"/>
                  </a:lnTo>
                  <a:lnTo>
                    <a:pt x="451" y="291"/>
                  </a:lnTo>
                  <a:lnTo>
                    <a:pt x="442" y="300"/>
                  </a:lnTo>
                  <a:lnTo>
                    <a:pt x="442" y="300"/>
                  </a:lnTo>
                  <a:lnTo>
                    <a:pt x="442" y="300"/>
                  </a:lnTo>
                  <a:close/>
                  <a:moveTo>
                    <a:pt x="59" y="279"/>
                  </a:moveTo>
                  <a:lnTo>
                    <a:pt x="76" y="307"/>
                  </a:lnTo>
                  <a:lnTo>
                    <a:pt x="43" y="300"/>
                  </a:lnTo>
                  <a:lnTo>
                    <a:pt x="59" y="279"/>
                  </a:lnTo>
                  <a:lnTo>
                    <a:pt x="59" y="279"/>
                  </a:lnTo>
                  <a:lnTo>
                    <a:pt x="59" y="279"/>
                  </a:lnTo>
                  <a:close/>
                  <a:moveTo>
                    <a:pt x="269" y="317"/>
                  </a:moveTo>
                  <a:lnTo>
                    <a:pt x="269" y="324"/>
                  </a:lnTo>
                  <a:lnTo>
                    <a:pt x="258" y="324"/>
                  </a:lnTo>
                  <a:lnTo>
                    <a:pt x="269" y="317"/>
                  </a:lnTo>
                  <a:lnTo>
                    <a:pt x="269" y="317"/>
                  </a:lnTo>
                  <a:lnTo>
                    <a:pt x="269" y="317"/>
                  </a:lnTo>
                  <a:close/>
                  <a:moveTo>
                    <a:pt x="366" y="341"/>
                  </a:moveTo>
                  <a:lnTo>
                    <a:pt x="350" y="317"/>
                  </a:lnTo>
                  <a:lnTo>
                    <a:pt x="350" y="317"/>
                  </a:lnTo>
                  <a:lnTo>
                    <a:pt x="366" y="324"/>
                  </a:lnTo>
                  <a:lnTo>
                    <a:pt x="366" y="341"/>
                  </a:lnTo>
                  <a:lnTo>
                    <a:pt x="366" y="341"/>
                  </a:lnTo>
                  <a:lnTo>
                    <a:pt x="366" y="341"/>
                  </a:lnTo>
                  <a:close/>
                  <a:moveTo>
                    <a:pt x="76" y="341"/>
                  </a:moveTo>
                  <a:lnTo>
                    <a:pt x="64" y="333"/>
                  </a:lnTo>
                  <a:lnTo>
                    <a:pt x="64" y="324"/>
                  </a:lnTo>
                  <a:lnTo>
                    <a:pt x="92" y="341"/>
                  </a:lnTo>
                  <a:lnTo>
                    <a:pt x="80" y="341"/>
                  </a:lnTo>
                  <a:lnTo>
                    <a:pt x="76" y="341"/>
                  </a:lnTo>
                  <a:lnTo>
                    <a:pt x="76" y="341"/>
                  </a:lnTo>
                  <a:lnTo>
                    <a:pt x="76" y="341"/>
                  </a:lnTo>
                  <a:close/>
                  <a:moveTo>
                    <a:pt x="494" y="345"/>
                  </a:moveTo>
                  <a:lnTo>
                    <a:pt x="484" y="341"/>
                  </a:lnTo>
                  <a:lnTo>
                    <a:pt x="489" y="333"/>
                  </a:lnTo>
                  <a:lnTo>
                    <a:pt x="510" y="341"/>
                  </a:lnTo>
                  <a:lnTo>
                    <a:pt x="494" y="345"/>
                  </a:lnTo>
                  <a:lnTo>
                    <a:pt x="494" y="345"/>
                  </a:lnTo>
                  <a:lnTo>
                    <a:pt x="494" y="345"/>
                  </a:lnTo>
                  <a:close/>
                  <a:moveTo>
                    <a:pt x="258" y="341"/>
                  </a:moveTo>
                  <a:lnTo>
                    <a:pt x="258" y="333"/>
                  </a:lnTo>
                  <a:lnTo>
                    <a:pt x="269" y="333"/>
                  </a:lnTo>
                  <a:lnTo>
                    <a:pt x="258" y="341"/>
                  </a:lnTo>
                  <a:lnTo>
                    <a:pt x="258" y="341"/>
                  </a:lnTo>
                  <a:lnTo>
                    <a:pt x="258" y="341"/>
                  </a:lnTo>
                  <a:close/>
                  <a:moveTo>
                    <a:pt x="435" y="357"/>
                  </a:moveTo>
                  <a:lnTo>
                    <a:pt x="442" y="345"/>
                  </a:lnTo>
                  <a:lnTo>
                    <a:pt x="468" y="341"/>
                  </a:lnTo>
                  <a:lnTo>
                    <a:pt x="435" y="357"/>
                  </a:lnTo>
                  <a:lnTo>
                    <a:pt x="435" y="357"/>
                  </a:lnTo>
                  <a:lnTo>
                    <a:pt x="435" y="357"/>
                  </a:lnTo>
                  <a:close/>
                  <a:moveTo>
                    <a:pt x="324" y="357"/>
                  </a:moveTo>
                  <a:lnTo>
                    <a:pt x="324" y="341"/>
                  </a:lnTo>
                  <a:lnTo>
                    <a:pt x="328" y="341"/>
                  </a:lnTo>
                  <a:lnTo>
                    <a:pt x="324" y="357"/>
                  </a:lnTo>
                  <a:lnTo>
                    <a:pt x="324" y="357"/>
                  </a:lnTo>
                  <a:lnTo>
                    <a:pt x="324" y="357"/>
                  </a:lnTo>
                  <a:close/>
                  <a:moveTo>
                    <a:pt x="376" y="341"/>
                  </a:moveTo>
                  <a:lnTo>
                    <a:pt x="383" y="345"/>
                  </a:lnTo>
                  <a:lnTo>
                    <a:pt x="383" y="357"/>
                  </a:lnTo>
                  <a:lnTo>
                    <a:pt x="366" y="341"/>
                  </a:lnTo>
                  <a:lnTo>
                    <a:pt x="376" y="341"/>
                  </a:lnTo>
                  <a:lnTo>
                    <a:pt x="376" y="341"/>
                  </a:lnTo>
                  <a:lnTo>
                    <a:pt x="376" y="341"/>
                  </a:lnTo>
                  <a:close/>
                  <a:moveTo>
                    <a:pt x="359" y="362"/>
                  </a:moveTo>
                  <a:lnTo>
                    <a:pt x="359" y="357"/>
                  </a:lnTo>
                  <a:lnTo>
                    <a:pt x="366" y="362"/>
                  </a:lnTo>
                  <a:lnTo>
                    <a:pt x="359" y="362"/>
                  </a:lnTo>
                  <a:lnTo>
                    <a:pt x="359" y="362"/>
                  </a:lnTo>
                  <a:lnTo>
                    <a:pt x="359" y="362"/>
                  </a:lnTo>
                  <a:close/>
                  <a:moveTo>
                    <a:pt x="397" y="362"/>
                  </a:moveTo>
                  <a:lnTo>
                    <a:pt x="387" y="357"/>
                  </a:lnTo>
                  <a:lnTo>
                    <a:pt x="397" y="357"/>
                  </a:lnTo>
                  <a:lnTo>
                    <a:pt x="397" y="362"/>
                  </a:lnTo>
                  <a:lnTo>
                    <a:pt x="397" y="362"/>
                  </a:lnTo>
                  <a:lnTo>
                    <a:pt x="397" y="362"/>
                  </a:lnTo>
                  <a:close/>
                  <a:moveTo>
                    <a:pt x="328" y="357"/>
                  </a:moveTo>
                  <a:lnTo>
                    <a:pt x="333" y="362"/>
                  </a:lnTo>
                  <a:lnTo>
                    <a:pt x="328" y="374"/>
                  </a:lnTo>
                  <a:lnTo>
                    <a:pt x="328" y="357"/>
                  </a:lnTo>
                  <a:lnTo>
                    <a:pt x="328" y="357"/>
                  </a:lnTo>
                  <a:lnTo>
                    <a:pt x="328" y="357"/>
                  </a:lnTo>
                  <a:close/>
                  <a:moveTo>
                    <a:pt x="333" y="390"/>
                  </a:moveTo>
                  <a:lnTo>
                    <a:pt x="328" y="390"/>
                  </a:lnTo>
                  <a:lnTo>
                    <a:pt x="328" y="378"/>
                  </a:lnTo>
                  <a:lnTo>
                    <a:pt x="333" y="378"/>
                  </a:lnTo>
                  <a:lnTo>
                    <a:pt x="333" y="390"/>
                  </a:lnTo>
                  <a:lnTo>
                    <a:pt x="333" y="390"/>
                  </a:lnTo>
                  <a:lnTo>
                    <a:pt x="333" y="390"/>
                  </a:lnTo>
                  <a:close/>
                  <a:moveTo>
                    <a:pt x="397" y="402"/>
                  </a:moveTo>
                  <a:lnTo>
                    <a:pt x="387" y="390"/>
                  </a:lnTo>
                  <a:lnTo>
                    <a:pt x="404" y="378"/>
                  </a:lnTo>
                  <a:lnTo>
                    <a:pt x="413" y="395"/>
                  </a:lnTo>
                  <a:lnTo>
                    <a:pt x="397" y="402"/>
                  </a:lnTo>
                  <a:lnTo>
                    <a:pt x="397" y="402"/>
                  </a:lnTo>
                  <a:lnTo>
                    <a:pt x="397" y="402"/>
                  </a:lnTo>
                  <a:close/>
                  <a:moveTo>
                    <a:pt x="383" y="395"/>
                  </a:moveTo>
                  <a:lnTo>
                    <a:pt x="376" y="395"/>
                  </a:lnTo>
                  <a:lnTo>
                    <a:pt x="387" y="390"/>
                  </a:lnTo>
                  <a:lnTo>
                    <a:pt x="383" y="395"/>
                  </a:lnTo>
                  <a:lnTo>
                    <a:pt x="383" y="395"/>
                  </a:lnTo>
                  <a:lnTo>
                    <a:pt x="383" y="395"/>
                  </a:lnTo>
                  <a:close/>
                  <a:moveTo>
                    <a:pt x="506" y="402"/>
                  </a:moveTo>
                  <a:lnTo>
                    <a:pt x="494" y="390"/>
                  </a:lnTo>
                  <a:lnTo>
                    <a:pt x="510" y="395"/>
                  </a:lnTo>
                  <a:lnTo>
                    <a:pt x="506" y="402"/>
                  </a:lnTo>
                  <a:lnTo>
                    <a:pt x="506" y="402"/>
                  </a:lnTo>
                  <a:lnTo>
                    <a:pt x="506" y="402"/>
                  </a:lnTo>
                  <a:close/>
                  <a:moveTo>
                    <a:pt x="350" y="402"/>
                  </a:moveTo>
                  <a:lnTo>
                    <a:pt x="345" y="395"/>
                  </a:lnTo>
                  <a:lnTo>
                    <a:pt x="350" y="402"/>
                  </a:lnTo>
                  <a:lnTo>
                    <a:pt x="350" y="402"/>
                  </a:lnTo>
                  <a:lnTo>
                    <a:pt x="350" y="402"/>
                  </a:lnTo>
                  <a:lnTo>
                    <a:pt x="350" y="402"/>
                  </a:lnTo>
                  <a:close/>
                  <a:moveTo>
                    <a:pt x="376" y="402"/>
                  </a:moveTo>
                  <a:lnTo>
                    <a:pt x="366" y="395"/>
                  </a:lnTo>
                  <a:lnTo>
                    <a:pt x="376" y="395"/>
                  </a:lnTo>
                  <a:lnTo>
                    <a:pt x="376" y="402"/>
                  </a:lnTo>
                  <a:lnTo>
                    <a:pt x="376" y="402"/>
                  </a:lnTo>
                  <a:lnTo>
                    <a:pt x="376" y="402"/>
                  </a:lnTo>
                  <a:close/>
                  <a:moveTo>
                    <a:pt x="506" y="428"/>
                  </a:moveTo>
                  <a:lnTo>
                    <a:pt x="506" y="418"/>
                  </a:lnTo>
                  <a:lnTo>
                    <a:pt x="510" y="411"/>
                  </a:lnTo>
                  <a:lnTo>
                    <a:pt x="539" y="411"/>
                  </a:lnTo>
                  <a:lnTo>
                    <a:pt x="506" y="418"/>
                  </a:lnTo>
                  <a:lnTo>
                    <a:pt x="506" y="428"/>
                  </a:lnTo>
                  <a:lnTo>
                    <a:pt x="506" y="428"/>
                  </a:lnTo>
                  <a:lnTo>
                    <a:pt x="506" y="428"/>
                  </a:lnTo>
                  <a:close/>
                  <a:moveTo>
                    <a:pt x="430" y="418"/>
                  </a:moveTo>
                  <a:lnTo>
                    <a:pt x="421" y="411"/>
                  </a:lnTo>
                  <a:lnTo>
                    <a:pt x="435" y="411"/>
                  </a:lnTo>
                  <a:lnTo>
                    <a:pt x="430" y="418"/>
                  </a:lnTo>
                  <a:lnTo>
                    <a:pt x="430" y="418"/>
                  </a:lnTo>
                  <a:lnTo>
                    <a:pt x="430" y="418"/>
                  </a:lnTo>
                  <a:close/>
                  <a:moveTo>
                    <a:pt x="397" y="428"/>
                  </a:moveTo>
                  <a:lnTo>
                    <a:pt x="387" y="411"/>
                  </a:lnTo>
                  <a:lnTo>
                    <a:pt x="397" y="418"/>
                  </a:lnTo>
                  <a:lnTo>
                    <a:pt x="397" y="428"/>
                  </a:lnTo>
                  <a:lnTo>
                    <a:pt x="397" y="428"/>
                  </a:lnTo>
                  <a:lnTo>
                    <a:pt x="397" y="428"/>
                  </a:lnTo>
                  <a:close/>
                  <a:moveTo>
                    <a:pt x="324" y="428"/>
                  </a:moveTo>
                  <a:lnTo>
                    <a:pt x="324" y="418"/>
                  </a:lnTo>
                  <a:lnTo>
                    <a:pt x="333" y="418"/>
                  </a:lnTo>
                  <a:lnTo>
                    <a:pt x="333" y="428"/>
                  </a:lnTo>
                  <a:lnTo>
                    <a:pt x="324" y="428"/>
                  </a:lnTo>
                  <a:lnTo>
                    <a:pt x="324" y="428"/>
                  </a:lnTo>
                  <a:lnTo>
                    <a:pt x="324" y="428"/>
                  </a:lnTo>
                  <a:close/>
                  <a:moveTo>
                    <a:pt x="565" y="435"/>
                  </a:moveTo>
                  <a:lnTo>
                    <a:pt x="560" y="435"/>
                  </a:lnTo>
                  <a:lnTo>
                    <a:pt x="565" y="428"/>
                  </a:lnTo>
                  <a:lnTo>
                    <a:pt x="565" y="435"/>
                  </a:lnTo>
                  <a:lnTo>
                    <a:pt x="565" y="435"/>
                  </a:lnTo>
                  <a:lnTo>
                    <a:pt x="565" y="435"/>
                  </a:lnTo>
                  <a:close/>
                  <a:moveTo>
                    <a:pt x="473" y="435"/>
                  </a:moveTo>
                  <a:lnTo>
                    <a:pt x="458" y="435"/>
                  </a:lnTo>
                  <a:lnTo>
                    <a:pt x="458" y="435"/>
                  </a:lnTo>
                  <a:lnTo>
                    <a:pt x="468" y="428"/>
                  </a:lnTo>
                  <a:lnTo>
                    <a:pt x="473" y="435"/>
                  </a:lnTo>
                  <a:lnTo>
                    <a:pt x="473" y="435"/>
                  </a:lnTo>
                  <a:lnTo>
                    <a:pt x="473" y="435"/>
                  </a:lnTo>
                  <a:close/>
                  <a:moveTo>
                    <a:pt x="397" y="452"/>
                  </a:moveTo>
                  <a:lnTo>
                    <a:pt x="397" y="444"/>
                  </a:lnTo>
                  <a:lnTo>
                    <a:pt x="404" y="444"/>
                  </a:lnTo>
                  <a:lnTo>
                    <a:pt x="397" y="452"/>
                  </a:lnTo>
                  <a:lnTo>
                    <a:pt x="397" y="452"/>
                  </a:lnTo>
                  <a:lnTo>
                    <a:pt x="397" y="452"/>
                  </a:lnTo>
                  <a:close/>
                  <a:moveTo>
                    <a:pt x="539" y="452"/>
                  </a:moveTo>
                  <a:lnTo>
                    <a:pt x="527" y="444"/>
                  </a:lnTo>
                  <a:lnTo>
                    <a:pt x="543" y="444"/>
                  </a:lnTo>
                  <a:lnTo>
                    <a:pt x="539" y="452"/>
                  </a:lnTo>
                  <a:lnTo>
                    <a:pt x="539" y="452"/>
                  </a:lnTo>
                  <a:lnTo>
                    <a:pt x="539" y="452"/>
                  </a:lnTo>
                  <a:close/>
                  <a:moveTo>
                    <a:pt x="591" y="444"/>
                  </a:moveTo>
                  <a:lnTo>
                    <a:pt x="581" y="468"/>
                  </a:lnTo>
                  <a:lnTo>
                    <a:pt x="565" y="485"/>
                  </a:lnTo>
                  <a:lnTo>
                    <a:pt x="560" y="489"/>
                  </a:lnTo>
                  <a:lnTo>
                    <a:pt x="560" y="468"/>
                  </a:lnTo>
                  <a:lnTo>
                    <a:pt x="565" y="456"/>
                  </a:lnTo>
                  <a:lnTo>
                    <a:pt x="591" y="444"/>
                  </a:lnTo>
                  <a:lnTo>
                    <a:pt x="591" y="444"/>
                  </a:lnTo>
                  <a:lnTo>
                    <a:pt x="591" y="444"/>
                  </a:lnTo>
                  <a:close/>
                  <a:moveTo>
                    <a:pt x="421" y="452"/>
                  </a:moveTo>
                  <a:lnTo>
                    <a:pt x="421" y="444"/>
                  </a:lnTo>
                  <a:lnTo>
                    <a:pt x="430" y="452"/>
                  </a:lnTo>
                  <a:lnTo>
                    <a:pt x="421" y="452"/>
                  </a:lnTo>
                  <a:lnTo>
                    <a:pt x="421" y="452"/>
                  </a:lnTo>
                  <a:lnTo>
                    <a:pt x="421" y="452"/>
                  </a:lnTo>
                  <a:close/>
                  <a:moveTo>
                    <a:pt x="227" y="452"/>
                  </a:moveTo>
                  <a:lnTo>
                    <a:pt x="236" y="456"/>
                  </a:lnTo>
                  <a:lnTo>
                    <a:pt x="236" y="468"/>
                  </a:lnTo>
                  <a:lnTo>
                    <a:pt x="220" y="468"/>
                  </a:lnTo>
                  <a:lnTo>
                    <a:pt x="227" y="452"/>
                  </a:lnTo>
                  <a:lnTo>
                    <a:pt x="227" y="452"/>
                  </a:lnTo>
                  <a:lnTo>
                    <a:pt x="227" y="452"/>
                  </a:lnTo>
                  <a:close/>
                  <a:moveTo>
                    <a:pt x="522" y="529"/>
                  </a:moveTo>
                  <a:lnTo>
                    <a:pt x="510" y="513"/>
                  </a:lnTo>
                  <a:lnTo>
                    <a:pt x="527" y="489"/>
                  </a:lnTo>
                  <a:lnTo>
                    <a:pt x="522" y="529"/>
                  </a:lnTo>
                  <a:lnTo>
                    <a:pt x="522" y="529"/>
                  </a:lnTo>
                  <a:lnTo>
                    <a:pt x="522" y="529"/>
                  </a:lnTo>
                  <a:close/>
                  <a:moveTo>
                    <a:pt x="274" y="546"/>
                  </a:moveTo>
                  <a:lnTo>
                    <a:pt x="269" y="539"/>
                  </a:lnTo>
                  <a:lnTo>
                    <a:pt x="269" y="513"/>
                  </a:lnTo>
                  <a:lnTo>
                    <a:pt x="279" y="522"/>
                  </a:lnTo>
                  <a:lnTo>
                    <a:pt x="279" y="506"/>
                  </a:lnTo>
                  <a:lnTo>
                    <a:pt x="291" y="522"/>
                  </a:lnTo>
                  <a:lnTo>
                    <a:pt x="312" y="513"/>
                  </a:lnTo>
                  <a:lnTo>
                    <a:pt x="307" y="522"/>
                  </a:lnTo>
                  <a:lnTo>
                    <a:pt x="324" y="529"/>
                  </a:lnTo>
                  <a:lnTo>
                    <a:pt x="350" y="529"/>
                  </a:lnTo>
                  <a:lnTo>
                    <a:pt x="397" y="539"/>
                  </a:lnTo>
                  <a:lnTo>
                    <a:pt x="421" y="539"/>
                  </a:lnTo>
                  <a:lnTo>
                    <a:pt x="421" y="546"/>
                  </a:lnTo>
                  <a:lnTo>
                    <a:pt x="430" y="555"/>
                  </a:lnTo>
                  <a:lnTo>
                    <a:pt x="458" y="539"/>
                  </a:lnTo>
                  <a:lnTo>
                    <a:pt x="458" y="555"/>
                  </a:lnTo>
                  <a:lnTo>
                    <a:pt x="442" y="563"/>
                  </a:lnTo>
                  <a:lnTo>
                    <a:pt x="366" y="567"/>
                  </a:lnTo>
                  <a:lnTo>
                    <a:pt x="350" y="567"/>
                  </a:lnTo>
                  <a:lnTo>
                    <a:pt x="350" y="555"/>
                  </a:lnTo>
                  <a:lnTo>
                    <a:pt x="328" y="546"/>
                  </a:lnTo>
                  <a:lnTo>
                    <a:pt x="274" y="546"/>
                  </a:lnTo>
                  <a:lnTo>
                    <a:pt x="274" y="546"/>
                  </a:lnTo>
                  <a:lnTo>
                    <a:pt x="274" y="546"/>
                  </a:lnTo>
                  <a:close/>
                  <a:moveTo>
                    <a:pt x="494" y="529"/>
                  </a:moveTo>
                  <a:lnTo>
                    <a:pt x="506" y="529"/>
                  </a:lnTo>
                  <a:lnTo>
                    <a:pt x="510" y="522"/>
                  </a:lnTo>
                  <a:lnTo>
                    <a:pt x="494" y="529"/>
                  </a:lnTo>
                  <a:lnTo>
                    <a:pt x="494" y="529"/>
                  </a:lnTo>
                  <a:lnTo>
                    <a:pt x="494" y="52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8" name="Freeform 457">
              <a:extLst>
                <a:ext uri="{FF2B5EF4-FFF2-40B4-BE49-F238E27FC236}">
                  <a16:creationId xmlns:a16="http://schemas.microsoft.com/office/drawing/2014/main" id="{E6111962-9428-4C2D-89F1-66A6A79AD29F}"/>
                </a:ext>
              </a:extLst>
            </p:cNvPr>
            <p:cNvSpPr>
              <a:spLocks/>
            </p:cNvSpPr>
            <p:nvPr/>
          </p:nvSpPr>
          <p:spPr bwMode="gray">
            <a:xfrm>
              <a:off x="11625247" y="3689248"/>
              <a:ext cx="94261" cy="98189"/>
            </a:xfrm>
            <a:custGeom>
              <a:avLst/>
              <a:gdLst>
                <a:gd name="T0" fmla="*/ 0 w 288"/>
                <a:gd name="T1" fmla="*/ 239 h 300"/>
                <a:gd name="T2" fmla="*/ 17 w 288"/>
                <a:gd name="T3" fmla="*/ 206 h 300"/>
                <a:gd name="T4" fmla="*/ 7 w 288"/>
                <a:gd name="T5" fmla="*/ 189 h 300"/>
                <a:gd name="T6" fmla="*/ 40 w 288"/>
                <a:gd name="T7" fmla="*/ 128 h 300"/>
                <a:gd name="T8" fmla="*/ 132 w 288"/>
                <a:gd name="T9" fmla="*/ 128 h 300"/>
                <a:gd name="T10" fmla="*/ 132 w 288"/>
                <a:gd name="T11" fmla="*/ 104 h 300"/>
                <a:gd name="T12" fmla="*/ 116 w 288"/>
                <a:gd name="T13" fmla="*/ 104 h 300"/>
                <a:gd name="T14" fmla="*/ 109 w 288"/>
                <a:gd name="T15" fmla="*/ 78 h 300"/>
                <a:gd name="T16" fmla="*/ 62 w 288"/>
                <a:gd name="T17" fmla="*/ 38 h 300"/>
                <a:gd name="T18" fmla="*/ 95 w 288"/>
                <a:gd name="T19" fmla="*/ 38 h 300"/>
                <a:gd name="T20" fmla="*/ 95 w 288"/>
                <a:gd name="T21" fmla="*/ 0 h 300"/>
                <a:gd name="T22" fmla="*/ 225 w 288"/>
                <a:gd name="T23" fmla="*/ 0 h 300"/>
                <a:gd name="T24" fmla="*/ 217 w 288"/>
                <a:gd name="T25" fmla="*/ 144 h 300"/>
                <a:gd name="T26" fmla="*/ 241 w 288"/>
                <a:gd name="T27" fmla="*/ 144 h 300"/>
                <a:gd name="T28" fmla="*/ 255 w 288"/>
                <a:gd name="T29" fmla="*/ 161 h 300"/>
                <a:gd name="T30" fmla="*/ 272 w 288"/>
                <a:gd name="T31" fmla="*/ 144 h 300"/>
                <a:gd name="T32" fmla="*/ 262 w 288"/>
                <a:gd name="T33" fmla="*/ 132 h 300"/>
                <a:gd name="T34" fmla="*/ 288 w 288"/>
                <a:gd name="T35" fmla="*/ 161 h 300"/>
                <a:gd name="T36" fmla="*/ 225 w 288"/>
                <a:gd name="T37" fmla="*/ 206 h 300"/>
                <a:gd name="T38" fmla="*/ 217 w 288"/>
                <a:gd name="T39" fmla="*/ 222 h 300"/>
                <a:gd name="T40" fmla="*/ 225 w 288"/>
                <a:gd name="T41" fmla="*/ 234 h 300"/>
                <a:gd name="T42" fmla="*/ 208 w 288"/>
                <a:gd name="T43" fmla="*/ 255 h 300"/>
                <a:gd name="T44" fmla="*/ 196 w 288"/>
                <a:gd name="T45" fmla="*/ 255 h 300"/>
                <a:gd name="T46" fmla="*/ 196 w 288"/>
                <a:gd name="T47" fmla="*/ 260 h 300"/>
                <a:gd name="T48" fmla="*/ 163 w 288"/>
                <a:gd name="T49" fmla="*/ 288 h 300"/>
                <a:gd name="T50" fmla="*/ 154 w 288"/>
                <a:gd name="T51" fmla="*/ 300 h 300"/>
                <a:gd name="T52" fmla="*/ 116 w 288"/>
                <a:gd name="T53" fmla="*/ 288 h 300"/>
                <a:gd name="T54" fmla="*/ 62 w 288"/>
                <a:gd name="T55" fmla="*/ 288 h 300"/>
                <a:gd name="T56" fmla="*/ 0 w 288"/>
                <a:gd name="T57" fmla="*/ 239 h 300"/>
                <a:gd name="T58" fmla="*/ 0 w 288"/>
                <a:gd name="T59" fmla="*/ 239 h 300"/>
                <a:gd name="T60" fmla="*/ 0 w 288"/>
                <a:gd name="T61" fmla="*/ 23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8" h="300">
                  <a:moveTo>
                    <a:pt x="0" y="239"/>
                  </a:moveTo>
                  <a:lnTo>
                    <a:pt x="17" y="206"/>
                  </a:lnTo>
                  <a:lnTo>
                    <a:pt x="7" y="189"/>
                  </a:lnTo>
                  <a:lnTo>
                    <a:pt x="40" y="128"/>
                  </a:lnTo>
                  <a:lnTo>
                    <a:pt x="132" y="128"/>
                  </a:lnTo>
                  <a:lnTo>
                    <a:pt x="132" y="104"/>
                  </a:lnTo>
                  <a:lnTo>
                    <a:pt x="116" y="104"/>
                  </a:lnTo>
                  <a:lnTo>
                    <a:pt x="109" y="78"/>
                  </a:lnTo>
                  <a:lnTo>
                    <a:pt x="62" y="38"/>
                  </a:lnTo>
                  <a:lnTo>
                    <a:pt x="95" y="38"/>
                  </a:lnTo>
                  <a:lnTo>
                    <a:pt x="95" y="0"/>
                  </a:lnTo>
                  <a:lnTo>
                    <a:pt x="225" y="0"/>
                  </a:lnTo>
                  <a:lnTo>
                    <a:pt x="217" y="144"/>
                  </a:lnTo>
                  <a:lnTo>
                    <a:pt x="241" y="144"/>
                  </a:lnTo>
                  <a:lnTo>
                    <a:pt x="255" y="161"/>
                  </a:lnTo>
                  <a:lnTo>
                    <a:pt x="272" y="144"/>
                  </a:lnTo>
                  <a:lnTo>
                    <a:pt x="262" y="132"/>
                  </a:lnTo>
                  <a:lnTo>
                    <a:pt x="288" y="161"/>
                  </a:lnTo>
                  <a:lnTo>
                    <a:pt x="225" y="206"/>
                  </a:lnTo>
                  <a:lnTo>
                    <a:pt x="217" y="222"/>
                  </a:lnTo>
                  <a:lnTo>
                    <a:pt x="225" y="234"/>
                  </a:lnTo>
                  <a:lnTo>
                    <a:pt x="208" y="255"/>
                  </a:lnTo>
                  <a:lnTo>
                    <a:pt x="196" y="255"/>
                  </a:lnTo>
                  <a:lnTo>
                    <a:pt x="196" y="260"/>
                  </a:lnTo>
                  <a:lnTo>
                    <a:pt x="163" y="288"/>
                  </a:lnTo>
                  <a:lnTo>
                    <a:pt x="154" y="300"/>
                  </a:lnTo>
                  <a:lnTo>
                    <a:pt x="116" y="288"/>
                  </a:lnTo>
                  <a:lnTo>
                    <a:pt x="62" y="288"/>
                  </a:lnTo>
                  <a:lnTo>
                    <a:pt x="0" y="239"/>
                  </a:lnTo>
                  <a:lnTo>
                    <a:pt x="0" y="239"/>
                  </a:lnTo>
                  <a:lnTo>
                    <a:pt x="0" y="23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9" name="Freeform 458">
              <a:extLst>
                <a:ext uri="{FF2B5EF4-FFF2-40B4-BE49-F238E27FC236}">
                  <a16:creationId xmlns:a16="http://schemas.microsoft.com/office/drawing/2014/main" id="{1E1578B3-EE90-4934-95B2-57A150D5253D}"/>
                </a:ext>
              </a:extLst>
            </p:cNvPr>
            <p:cNvSpPr>
              <a:spLocks/>
            </p:cNvSpPr>
            <p:nvPr/>
          </p:nvSpPr>
          <p:spPr bwMode="gray">
            <a:xfrm>
              <a:off x="13398213" y="3815257"/>
              <a:ext cx="169867" cy="127646"/>
            </a:xfrm>
            <a:custGeom>
              <a:avLst/>
              <a:gdLst>
                <a:gd name="T0" fmla="*/ 21 w 519"/>
                <a:gd name="T1" fmla="*/ 83 h 390"/>
                <a:gd name="T2" fmla="*/ 54 w 519"/>
                <a:gd name="T3" fmla="*/ 71 h 390"/>
                <a:gd name="T4" fmla="*/ 92 w 519"/>
                <a:gd name="T5" fmla="*/ 71 h 390"/>
                <a:gd name="T6" fmla="*/ 75 w 519"/>
                <a:gd name="T7" fmla="*/ 38 h 390"/>
                <a:gd name="T8" fmla="*/ 92 w 519"/>
                <a:gd name="T9" fmla="*/ 0 h 390"/>
                <a:gd name="T10" fmla="*/ 141 w 519"/>
                <a:gd name="T11" fmla="*/ 17 h 390"/>
                <a:gd name="T12" fmla="*/ 196 w 519"/>
                <a:gd name="T13" fmla="*/ 21 h 390"/>
                <a:gd name="T14" fmla="*/ 264 w 519"/>
                <a:gd name="T15" fmla="*/ 17 h 390"/>
                <a:gd name="T16" fmla="*/ 271 w 519"/>
                <a:gd name="T17" fmla="*/ 45 h 390"/>
                <a:gd name="T18" fmla="*/ 309 w 519"/>
                <a:gd name="T19" fmla="*/ 54 h 390"/>
                <a:gd name="T20" fmla="*/ 363 w 519"/>
                <a:gd name="T21" fmla="*/ 45 h 390"/>
                <a:gd name="T22" fmla="*/ 378 w 519"/>
                <a:gd name="T23" fmla="*/ 38 h 390"/>
                <a:gd name="T24" fmla="*/ 401 w 519"/>
                <a:gd name="T25" fmla="*/ 17 h 390"/>
                <a:gd name="T26" fmla="*/ 427 w 519"/>
                <a:gd name="T27" fmla="*/ 28 h 390"/>
                <a:gd name="T28" fmla="*/ 439 w 519"/>
                <a:gd name="T29" fmla="*/ 71 h 390"/>
                <a:gd name="T30" fmla="*/ 448 w 519"/>
                <a:gd name="T31" fmla="*/ 83 h 390"/>
                <a:gd name="T32" fmla="*/ 448 w 519"/>
                <a:gd name="T33" fmla="*/ 128 h 390"/>
                <a:gd name="T34" fmla="*/ 481 w 519"/>
                <a:gd name="T35" fmla="*/ 116 h 390"/>
                <a:gd name="T36" fmla="*/ 491 w 519"/>
                <a:gd name="T37" fmla="*/ 165 h 390"/>
                <a:gd name="T38" fmla="*/ 486 w 519"/>
                <a:gd name="T39" fmla="*/ 194 h 390"/>
                <a:gd name="T40" fmla="*/ 491 w 519"/>
                <a:gd name="T41" fmla="*/ 236 h 390"/>
                <a:gd name="T42" fmla="*/ 503 w 519"/>
                <a:gd name="T43" fmla="*/ 248 h 390"/>
                <a:gd name="T44" fmla="*/ 503 w 519"/>
                <a:gd name="T45" fmla="*/ 260 h 390"/>
                <a:gd name="T46" fmla="*/ 519 w 519"/>
                <a:gd name="T47" fmla="*/ 293 h 390"/>
                <a:gd name="T48" fmla="*/ 519 w 519"/>
                <a:gd name="T49" fmla="*/ 302 h 390"/>
                <a:gd name="T50" fmla="*/ 481 w 519"/>
                <a:gd name="T51" fmla="*/ 298 h 390"/>
                <a:gd name="T52" fmla="*/ 491 w 519"/>
                <a:gd name="T53" fmla="*/ 319 h 390"/>
                <a:gd name="T54" fmla="*/ 491 w 519"/>
                <a:gd name="T55" fmla="*/ 331 h 390"/>
                <a:gd name="T56" fmla="*/ 470 w 519"/>
                <a:gd name="T57" fmla="*/ 359 h 390"/>
                <a:gd name="T58" fmla="*/ 453 w 519"/>
                <a:gd name="T59" fmla="*/ 359 h 390"/>
                <a:gd name="T60" fmla="*/ 439 w 519"/>
                <a:gd name="T61" fmla="*/ 385 h 390"/>
                <a:gd name="T62" fmla="*/ 401 w 519"/>
                <a:gd name="T63" fmla="*/ 376 h 390"/>
                <a:gd name="T64" fmla="*/ 401 w 519"/>
                <a:gd name="T65" fmla="*/ 352 h 390"/>
                <a:gd name="T66" fmla="*/ 373 w 519"/>
                <a:gd name="T67" fmla="*/ 298 h 390"/>
                <a:gd name="T68" fmla="*/ 309 w 519"/>
                <a:gd name="T69" fmla="*/ 314 h 390"/>
                <a:gd name="T70" fmla="*/ 318 w 519"/>
                <a:gd name="T71" fmla="*/ 276 h 390"/>
                <a:gd name="T72" fmla="*/ 302 w 519"/>
                <a:gd name="T73" fmla="*/ 260 h 390"/>
                <a:gd name="T74" fmla="*/ 271 w 519"/>
                <a:gd name="T75" fmla="*/ 187 h 390"/>
                <a:gd name="T76" fmla="*/ 222 w 519"/>
                <a:gd name="T77" fmla="*/ 194 h 390"/>
                <a:gd name="T78" fmla="*/ 200 w 519"/>
                <a:gd name="T79" fmla="*/ 194 h 390"/>
                <a:gd name="T80" fmla="*/ 167 w 519"/>
                <a:gd name="T81" fmla="*/ 236 h 390"/>
                <a:gd name="T82" fmla="*/ 141 w 519"/>
                <a:gd name="T83" fmla="*/ 260 h 390"/>
                <a:gd name="T84" fmla="*/ 125 w 519"/>
                <a:gd name="T85" fmla="*/ 248 h 390"/>
                <a:gd name="T86" fmla="*/ 108 w 519"/>
                <a:gd name="T87" fmla="*/ 220 h 390"/>
                <a:gd name="T88" fmla="*/ 104 w 519"/>
                <a:gd name="T89" fmla="*/ 220 h 390"/>
                <a:gd name="T90" fmla="*/ 104 w 519"/>
                <a:gd name="T91" fmla="*/ 203 h 390"/>
                <a:gd name="T92" fmla="*/ 92 w 519"/>
                <a:gd name="T93" fmla="*/ 210 h 390"/>
                <a:gd name="T94" fmla="*/ 87 w 519"/>
                <a:gd name="T95" fmla="*/ 203 h 390"/>
                <a:gd name="T96" fmla="*/ 37 w 519"/>
                <a:gd name="T97" fmla="*/ 154 h 390"/>
                <a:gd name="T98" fmla="*/ 37 w 519"/>
                <a:gd name="T99" fmla="*/ 132 h 390"/>
                <a:gd name="T100" fmla="*/ 16 w 519"/>
                <a:gd name="T101" fmla="*/ 128 h 390"/>
                <a:gd name="T102" fmla="*/ 16 w 519"/>
                <a:gd name="T103" fmla="*/ 116 h 390"/>
                <a:gd name="T104" fmla="*/ 0 w 519"/>
                <a:gd name="T105" fmla="*/ 132 h 390"/>
                <a:gd name="T106" fmla="*/ 0 w 519"/>
                <a:gd name="T107" fmla="*/ 12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9" h="390">
                  <a:moveTo>
                    <a:pt x="0" y="128"/>
                  </a:moveTo>
                  <a:lnTo>
                    <a:pt x="21" y="83"/>
                  </a:lnTo>
                  <a:lnTo>
                    <a:pt x="37" y="78"/>
                  </a:lnTo>
                  <a:lnTo>
                    <a:pt x="54" y="71"/>
                  </a:lnTo>
                  <a:lnTo>
                    <a:pt x="75" y="71"/>
                  </a:lnTo>
                  <a:lnTo>
                    <a:pt x="92" y="71"/>
                  </a:lnTo>
                  <a:lnTo>
                    <a:pt x="92" y="45"/>
                  </a:lnTo>
                  <a:lnTo>
                    <a:pt x="75" y="38"/>
                  </a:lnTo>
                  <a:lnTo>
                    <a:pt x="104" y="21"/>
                  </a:lnTo>
                  <a:lnTo>
                    <a:pt x="92" y="0"/>
                  </a:lnTo>
                  <a:lnTo>
                    <a:pt x="141" y="0"/>
                  </a:lnTo>
                  <a:lnTo>
                    <a:pt x="141" y="17"/>
                  </a:lnTo>
                  <a:lnTo>
                    <a:pt x="158" y="7"/>
                  </a:lnTo>
                  <a:lnTo>
                    <a:pt x="196" y="21"/>
                  </a:lnTo>
                  <a:lnTo>
                    <a:pt x="217" y="17"/>
                  </a:lnTo>
                  <a:lnTo>
                    <a:pt x="264" y="17"/>
                  </a:lnTo>
                  <a:lnTo>
                    <a:pt x="255" y="28"/>
                  </a:lnTo>
                  <a:lnTo>
                    <a:pt x="271" y="45"/>
                  </a:lnTo>
                  <a:lnTo>
                    <a:pt x="285" y="28"/>
                  </a:lnTo>
                  <a:lnTo>
                    <a:pt x="309" y="54"/>
                  </a:lnTo>
                  <a:lnTo>
                    <a:pt x="330" y="28"/>
                  </a:lnTo>
                  <a:lnTo>
                    <a:pt x="363" y="45"/>
                  </a:lnTo>
                  <a:lnTo>
                    <a:pt x="378" y="45"/>
                  </a:lnTo>
                  <a:lnTo>
                    <a:pt x="378" y="38"/>
                  </a:lnTo>
                  <a:lnTo>
                    <a:pt x="401" y="28"/>
                  </a:lnTo>
                  <a:lnTo>
                    <a:pt x="401" y="17"/>
                  </a:lnTo>
                  <a:lnTo>
                    <a:pt x="427" y="17"/>
                  </a:lnTo>
                  <a:lnTo>
                    <a:pt x="427" y="28"/>
                  </a:lnTo>
                  <a:lnTo>
                    <a:pt x="439" y="54"/>
                  </a:lnTo>
                  <a:lnTo>
                    <a:pt x="439" y="71"/>
                  </a:lnTo>
                  <a:lnTo>
                    <a:pt x="448" y="71"/>
                  </a:lnTo>
                  <a:lnTo>
                    <a:pt x="448" y="83"/>
                  </a:lnTo>
                  <a:lnTo>
                    <a:pt x="470" y="95"/>
                  </a:lnTo>
                  <a:lnTo>
                    <a:pt x="448" y="128"/>
                  </a:lnTo>
                  <a:lnTo>
                    <a:pt x="465" y="116"/>
                  </a:lnTo>
                  <a:lnTo>
                    <a:pt x="481" y="116"/>
                  </a:lnTo>
                  <a:lnTo>
                    <a:pt x="481" y="154"/>
                  </a:lnTo>
                  <a:lnTo>
                    <a:pt x="491" y="165"/>
                  </a:lnTo>
                  <a:lnTo>
                    <a:pt x="491" y="182"/>
                  </a:lnTo>
                  <a:lnTo>
                    <a:pt x="486" y="194"/>
                  </a:lnTo>
                  <a:lnTo>
                    <a:pt x="486" y="227"/>
                  </a:lnTo>
                  <a:lnTo>
                    <a:pt x="491" y="236"/>
                  </a:lnTo>
                  <a:lnTo>
                    <a:pt x="503" y="236"/>
                  </a:lnTo>
                  <a:lnTo>
                    <a:pt x="503" y="248"/>
                  </a:lnTo>
                  <a:lnTo>
                    <a:pt x="519" y="260"/>
                  </a:lnTo>
                  <a:lnTo>
                    <a:pt x="503" y="260"/>
                  </a:lnTo>
                  <a:lnTo>
                    <a:pt x="503" y="276"/>
                  </a:lnTo>
                  <a:lnTo>
                    <a:pt x="519" y="293"/>
                  </a:lnTo>
                  <a:lnTo>
                    <a:pt x="519" y="302"/>
                  </a:lnTo>
                  <a:lnTo>
                    <a:pt x="519" y="302"/>
                  </a:lnTo>
                  <a:lnTo>
                    <a:pt x="507" y="298"/>
                  </a:lnTo>
                  <a:lnTo>
                    <a:pt x="481" y="298"/>
                  </a:lnTo>
                  <a:lnTo>
                    <a:pt x="481" y="319"/>
                  </a:lnTo>
                  <a:lnTo>
                    <a:pt x="491" y="319"/>
                  </a:lnTo>
                  <a:lnTo>
                    <a:pt x="503" y="336"/>
                  </a:lnTo>
                  <a:lnTo>
                    <a:pt x="491" y="331"/>
                  </a:lnTo>
                  <a:lnTo>
                    <a:pt x="481" y="369"/>
                  </a:lnTo>
                  <a:lnTo>
                    <a:pt x="470" y="359"/>
                  </a:lnTo>
                  <a:lnTo>
                    <a:pt x="465" y="369"/>
                  </a:lnTo>
                  <a:lnTo>
                    <a:pt x="453" y="359"/>
                  </a:lnTo>
                  <a:lnTo>
                    <a:pt x="448" y="359"/>
                  </a:lnTo>
                  <a:lnTo>
                    <a:pt x="439" y="385"/>
                  </a:lnTo>
                  <a:lnTo>
                    <a:pt x="415" y="390"/>
                  </a:lnTo>
                  <a:lnTo>
                    <a:pt x="401" y="376"/>
                  </a:lnTo>
                  <a:lnTo>
                    <a:pt x="394" y="385"/>
                  </a:lnTo>
                  <a:lnTo>
                    <a:pt x="401" y="352"/>
                  </a:lnTo>
                  <a:lnTo>
                    <a:pt x="394" y="314"/>
                  </a:lnTo>
                  <a:lnTo>
                    <a:pt x="373" y="298"/>
                  </a:lnTo>
                  <a:lnTo>
                    <a:pt x="340" y="298"/>
                  </a:lnTo>
                  <a:lnTo>
                    <a:pt x="309" y="314"/>
                  </a:lnTo>
                  <a:lnTo>
                    <a:pt x="323" y="281"/>
                  </a:lnTo>
                  <a:lnTo>
                    <a:pt x="318" y="276"/>
                  </a:lnTo>
                  <a:lnTo>
                    <a:pt x="318" y="260"/>
                  </a:lnTo>
                  <a:lnTo>
                    <a:pt x="302" y="260"/>
                  </a:lnTo>
                  <a:lnTo>
                    <a:pt x="309" y="243"/>
                  </a:lnTo>
                  <a:lnTo>
                    <a:pt x="271" y="187"/>
                  </a:lnTo>
                  <a:lnTo>
                    <a:pt x="222" y="187"/>
                  </a:lnTo>
                  <a:lnTo>
                    <a:pt x="222" y="194"/>
                  </a:lnTo>
                  <a:lnTo>
                    <a:pt x="210" y="203"/>
                  </a:lnTo>
                  <a:lnTo>
                    <a:pt x="200" y="194"/>
                  </a:lnTo>
                  <a:lnTo>
                    <a:pt x="184" y="194"/>
                  </a:lnTo>
                  <a:lnTo>
                    <a:pt x="167" y="236"/>
                  </a:lnTo>
                  <a:lnTo>
                    <a:pt x="146" y="243"/>
                  </a:lnTo>
                  <a:lnTo>
                    <a:pt x="141" y="260"/>
                  </a:lnTo>
                  <a:lnTo>
                    <a:pt x="125" y="260"/>
                  </a:lnTo>
                  <a:lnTo>
                    <a:pt x="125" y="248"/>
                  </a:lnTo>
                  <a:lnTo>
                    <a:pt x="108" y="227"/>
                  </a:lnTo>
                  <a:lnTo>
                    <a:pt x="108" y="220"/>
                  </a:lnTo>
                  <a:lnTo>
                    <a:pt x="108" y="227"/>
                  </a:lnTo>
                  <a:lnTo>
                    <a:pt x="104" y="220"/>
                  </a:lnTo>
                  <a:lnTo>
                    <a:pt x="104" y="210"/>
                  </a:lnTo>
                  <a:lnTo>
                    <a:pt x="104" y="203"/>
                  </a:lnTo>
                  <a:lnTo>
                    <a:pt x="104" y="210"/>
                  </a:lnTo>
                  <a:lnTo>
                    <a:pt x="92" y="210"/>
                  </a:lnTo>
                  <a:lnTo>
                    <a:pt x="104" y="194"/>
                  </a:lnTo>
                  <a:lnTo>
                    <a:pt x="87" y="203"/>
                  </a:lnTo>
                  <a:lnTo>
                    <a:pt x="49" y="170"/>
                  </a:lnTo>
                  <a:lnTo>
                    <a:pt x="37" y="154"/>
                  </a:lnTo>
                  <a:lnTo>
                    <a:pt x="33" y="154"/>
                  </a:lnTo>
                  <a:lnTo>
                    <a:pt x="37" y="132"/>
                  </a:lnTo>
                  <a:lnTo>
                    <a:pt x="21" y="149"/>
                  </a:lnTo>
                  <a:lnTo>
                    <a:pt x="16" y="128"/>
                  </a:lnTo>
                  <a:lnTo>
                    <a:pt x="21" y="116"/>
                  </a:lnTo>
                  <a:lnTo>
                    <a:pt x="16" y="116"/>
                  </a:lnTo>
                  <a:lnTo>
                    <a:pt x="4" y="132"/>
                  </a:lnTo>
                  <a:lnTo>
                    <a:pt x="0" y="132"/>
                  </a:lnTo>
                  <a:lnTo>
                    <a:pt x="0" y="128"/>
                  </a:lnTo>
                  <a:lnTo>
                    <a:pt x="0" y="128"/>
                  </a:lnTo>
                  <a:lnTo>
                    <a:pt x="0"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0" name="Freeform 459">
              <a:extLst>
                <a:ext uri="{FF2B5EF4-FFF2-40B4-BE49-F238E27FC236}">
                  <a16:creationId xmlns:a16="http://schemas.microsoft.com/office/drawing/2014/main" id="{9431F62E-CAEF-4763-A8C8-0F1CAA4033AA}"/>
                </a:ext>
              </a:extLst>
            </p:cNvPr>
            <p:cNvSpPr>
              <a:spLocks/>
            </p:cNvSpPr>
            <p:nvPr/>
          </p:nvSpPr>
          <p:spPr bwMode="gray">
            <a:xfrm>
              <a:off x="12335153" y="3912791"/>
              <a:ext cx="113572" cy="173795"/>
            </a:xfrm>
            <a:custGeom>
              <a:avLst/>
              <a:gdLst>
                <a:gd name="T0" fmla="*/ 85 w 347"/>
                <a:gd name="T1" fmla="*/ 236 h 531"/>
                <a:gd name="T2" fmla="*/ 47 w 347"/>
                <a:gd name="T3" fmla="*/ 236 h 531"/>
                <a:gd name="T4" fmla="*/ 16 w 347"/>
                <a:gd name="T5" fmla="*/ 165 h 531"/>
                <a:gd name="T6" fmla="*/ 16 w 347"/>
                <a:gd name="T7" fmla="*/ 127 h 531"/>
                <a:gd name="T8" fmla="*/ 80 w 347"/>
                <a:gd name="T9" fmla="*/ 104 h 531"/>
                <a:gd name="T10" fmla="*/ 63 w 347"/>
                <a:gd name="T11" fmla="*/ 104 h 531"/>
                <a:gd name="T12" fmla="*/ 54 w 347"/>
                <a:gd name="T13" fmla="*/ 87 h 531"/>
                <a:gd name="T14" fmla="*/ 63 w 347"/>
                <a:gd name="T15" fmla="*/ 49 h 531"/>
                <a:gd name="T16" fmla="*/ 101 w 347"/>
                <a:gd name="T17" fmla="*/ 21 h 531"/>
                <a:gd name="T18" fmla="*/ 101 w 347"/>
                <a:gd name="T19" fmla="*/ 0 h 531"/>
                <a:gd name="T20" fmla="*/ 118 w 347"/>
                <a:gd name="T21" fmla="*/ 4 h 531"/>
                <a:gd name="T22" fmla="*/ 203 w 347"/>
                <a:gd name="T23" fmla="*/ 87 h 531"/>
                <a:gd name="T24" fmla="*/ 203 w 347"/>
                <a:gd name="T25" fmla="*/ 115 h 531"/>
                <a:gd name="T26" fmla="*/ 207 w 347"/>
                <a:gd name="T27" fmla="*/ 115 h 531"/>
                <a:gd name="T28" fmla="*/ 241 w 347"/>
                <a:gd name="T29" fmla="*/ 127 h 531"/>
                <a:gd name="T30" fmla="*/ 267 w 347"/>
                <a:gd name="T31" fmla="*/ 165 h 531"/>
                <a:gd name="T32" fmla="*/ 293 w 347"/>
                <a:gd name="T33" fmla="*/ 170 h 531"/>
                <a:gd name="T34" fmla="*/ 293 w 347"/>
                <a:gd name="T35" fmla="*/ 219 h 531"/>
                <a:gd name="T36" fmla="*/ 293 w 347"/>
                <a:gd name="T37" fmla="*/ 243 h 531"/>
                <a:gd name="T38" fmla="*/ 283 w 347"/>
                <a:gd name="T39" fmla="*/ 253 h 531"/>
                <a:gd name="T40" fmla="*/ 241 w 347"/>
                <a:gd name="T41" fmla="*/ 271 h 531"/>
                <a:gd name="T42" fmla="*/ 229 w 347"/>
                <a:gd name="T43" fmla="*/ 314 h 531"/>
                <a:gd name="T44" fmla="*/ 262 w 347"/>
                <a:gd name="T45" fmla="*/ 364 h 531"/>
                <a:gd name="T46" fmla="*/ 283 w 347"/>
                <a:gd name="T47" fmla="*/ 371 h 531"/>
                <a:gd name="T48" fmla="*/ 330 w 347"/>
                <a:gd name="T49" fmla="*/ 465 h 531"/>
                <a:gd name="T50" fmla="*/ 321 w 347"/>
                <a:gd name="T51" fmla="*/ 482 h 531"/>
                <a:gd name="T52" fmla="*/ 283 w 347"/>
                <a:gd name="T53" fmla="*/ 475 h 531"/>
                <a:gd name="T54" fmla="*/ 257 w 347"/>
                <a:gd name="T55" fmla="*/ 491 h 531"/>
                <a:gd name="T56" fmla="*/ 241 w 347"/>
                <a:gd name="T57" fmla="*/ 503 h 531"/>
                <a:gd name="T58" fmla="*/ 203 w 347"/>
                <a:gd name="T59" fmla="*/ 503 h 531"/>
                <a:gd name="T60" fmla="*/ 186 w 347"/>
                <a:gd name="T61" fmla="*/ 519 h 531"/>
                <a:gd name="T62" fmla="*/ 170 w 347"/>
                <a:gd name="T63" fmla="*/ 519 h 531"/>
                <a:gd name="T64" fmla="*/ 132 w 347"/>
                <a:gd name="T65" fmla="*/ 491 h 531"/>
                <a:gd name="T66" fmla="*/ 122 w 347"/>
                <a:gd name="T67" fmla="*/ 482 h 531"/>
                <a:gd name="T68" fmla="*/ 118 w 347"/>
                <a:gd name="T69" fmla="*/ 449 h 531"/>
                <a:gd name="T70" fmla="*/ 101 w 347"/>
                <a:gd name="T71" fmla="*/ 420 h 531"/>
                <a:gd name="T72" fmla="*/ 122 w 347"/>
                <a:gd name="T73" fmla="*/ 330 h 531"/>
                <a:gd name="T74" fmla="*/ 118 w 347"/>
                <a:gd name="T75" fmla="*/ 297 h 531"/>
                <a:gd name="T76" fmla="*/ 96 w 347"/>
                <a:gd name="T77" fmla="*/ 276 h 531"/>
                <a:gd name="T78" fmla="*/ 96 w 347"/>
                <a:gd name="T79" fmla="*/ 243 h 531"/>
                <a:gd name="T80" fmla="*/ 96 w 347"/>
                <a:gd name="T81" fmla="*/ 243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7" h="531">
                  <a:moveTo>
                    <a:pt x="96" y="243"/>
                  </a:moveTo>
                  <a:lnTo>
                    <a:pt x="85" y="236"/>
                  </a:lnTo>
                  <a:lnTo>
                    <a:pt x="80" y="236"/>
                  </a:lnTo>
                  <a:lnTo>
                    <a:pt x="47" y="236"/>
                  </a:lnTo>
                  <a:lnTo>
                    <a:pt x="0" y="186"/>
                  </a:lnTo>
                  <a:lnTo>
                    <a:pt x="16" y="165"/>
                  </a:lnTo>
                  <a:lnTo>
                    <a:pt x="16" y="144"/>
                  </a:lnTo>
                  <a:lnTo>
                    <a:pt x="16" y="127"/>
                  </a:lnTo>
                  <a:lnTo>
                    <a:pt x="47" y="127"/>
                  </a:lnTo>
                  <a:lnTo>
                    <a:pt x="80" y="104"/>
                  </a:lnTo>
                  <a:lnTo>
                    <a:pt x="68" y="92"/>
                  </a:lnTo>
                  <a:lnTo>
                    <a:pt x="63" y="104"/>
                  </a:lnTo>
                  <a:lnTo>
                    <a:pt x="54" y="92"/>
                  </a:lnTo>
                  <a:lnTo>
                    <a:pt x="54" y="87"/>
                  </a:lnTo>
                  <a:lnTo>
                    <a:pt x="47" y="71"/>
                  </a:lnTo>
                  <a:lnTo>
                    <a:pt x="63" y="49"/>
                  </a:lnTo>
                  <a:lnTo>
                    <a:pt x="96" y="33"/>
                  </a:lnTo>
                  <a:lnTo>
                    <a:pt x="101" y="21"/>
                  </a:lnTo>
                  <a:lnTo>
                    <a:pt x="106" y="21"/>
                  </a:lnTo>
                  <a:lnTo>
                    <a:pt x="101" y="0"/>
                  </a:lnTo>
                  <a:lnTo>
                    <a:pt x="106" y="4"/>
                  </a:lnTo>
                  <a:lnTo>
                    <a:pt x="118" y="4"/>
                  </a:lnTo>
                  <a:lnTo>
                    <a:pt x="160" y="33"/>
                  </a:lnTo>
                  <a:lnTo>
                    <a:pt x="203" y="87"/>
                  </a:lnTo>
                  <a:lnTo>
                    <a:pt x="203" y="108"/>
                  </a:lnTo>
                  <a:lnTo>
                    <a:pt x="203" y="115"/>
                  </a:lnTo>
                  <a:lnTo>
                    <a:pt x="191" y="149"/>
                  </a:lnTo>
                  <a:lnTo>
                    <a:pt x="207" y="115"/>
                  </a:lnTo>
                  <a:lnTo>
                    <a:pt x="212" y="115"/>
                  </a:lnTo>
                  <a:lnTo>
                    <a:pt x="241" y="127"/>
                  </a:lnTo>
                  <a:lnTo>
                    <a:pt x="262" y="149"/>
                  </a:lnTo>
                  <a:lnTo>
                    <a:pt x="267" y="165"/>
                  </a:lnTo>
                  <a:lnTo>
                    <a:pt x="278" y="160"/>
                  </a:lnTo>
                  <a:lnTo>
                    <a:pt x="293" y="170"/>
                  </a:lnTo>
                  <a:lnTo>
                    <a:pt x="300" y="182"/>
                  </a:lnTo>
                  <a:lnTo>
                    <a:pt x="293" y="219"/>
                  </a:lnTo>
                  <a:lnTo>
                    <a:pt x="283" y="227"/>
                  </a:lnTo>
                  <a:lnTo>
                    <a:pt x="293" y="243"/>
                  </a:lnTo>
                  <a:lnTo>
                    <a:pt x="283" y="243"/>
                  </a:lnTo>
                  <a:lnTo>
                    <a:pt x="283" y="253"/>
                  </a:lnTo>
                  <a:lnTo>
                    <a:pt x="262" y="253"/>
                  </a:lnTo>
                  <a:lnTo>
                    <a:pt x="241" y="271"/>
                  </a:lnTo>
                  <a:lnTo>
                    <a:pt x="245" y="276"/>
                  </a:lnTo>
                  <a:lnTo>
                    <a:pt x="229" y="314"/>
                  </a:lnTo>
                  <a:lnTo>
                    <a:pt x="229" y="326"/>
                  </a:lnTo>
                  <a:lnTo>
                    <a:pt x="262" y="364"/>
                  </a:lnTo>
                  <a:lnTo>
                    <a:pt x="262" y="371"/>
                  </a:lnTo>
                  <a:lnTo>
                    <a:pt x="283" y="371"/>
                  </a:lnTo>
                  <a:lnTo>
                    <a:pt x="293" y="408"/>
                  </a:lnTo>
                  <a:lnTo>
                    <a:pt x="330" y="465"/>
                  </a:lnTo>
                  <a:lnTo>
                    <a:pt x="347" y="475"/>
                  </a:lnTo>
                  <a:lnTo>
                    <a:pt x="321" y="482"/>
                  </a:lnTo>
                  <a:lnTo>
                    <a:pt x="300" y="465"/>
                  </a:lnTo>
                  <a:lnTo>
                    <a:pt x="283" y="475"/>
                  </a:lnTo>
                  <a:lnTo>
                    <a:pt x="267" y="491"/>
                  </a:lnTo>
                  <a:lnTo>
                    <a:pt x="257" y="491"/>
                  </a:lnTo>
                  <a:lnTo>
                    <a:pt x="241" y="498"/>
                  </a:lnTo>
                  <a:lnTo>
                    <a:pt x="241" y="503"/>
                  </a:lnTo>
                  <a:lnTo>
                    <a:pt x="212" y="498"/>
                  </a:lnTo>
                  <a:lnTo>
                    <a:pt x="203" y="503"/>
                  </a:lnTo>
                  <a:lnTo>
                    <a:pt x="203" y="519"/>
                  </a:lnTo>
                  <a:lnTo>
                    <a:pt x="186" y="519"/>
                  </a:lnTo>
                  <a:lnTo>
                    <a:pt x="177" y="531"/>
                  </a:lnTo>
                  <a:lnTo>
                    <a:pt x="170" y="519"/>
                  </a:lnTo>
                  <a:lnTo>
                    <a:pt x="148" y="515"/>
                  </a:lnTo>
                  <a:lnTo>
                    <a:pt x="132" y="491"/>
                  </a:lnTo>
                  <a:lnTo>
                    <a:pt x="122" y="491"/>
                  </a:lnTo>
                  <a:lnTo>
                    <a:pt x="122" y="482"/>
                  </a:lnTo>
                  <a:lnTo>
                    <a:pt x="118" y="482"/>
                  </a:lnTo>
                  <a:lnTo>
                    <a:pt x="118" y="449"/>
                  </a:lnTo>
                  <a:lnTo>
                    <a:pt x="106" y="441"/>
                  </a:lnTo>
                  <a:lnTo>
                    <a:pt x="101" y="420"/>
                  </a:lnTo>
                  <a:lnTo>
                    <a:pt x="106" y="364"/>
                  </a:lnTo>
                  <a:lnTo>
                    <a:pt x="122" y="330"/>
                  </a:lnTo>
                  <a:lnTo>
                    <a:pt x="118" y="309"/>
                  </a:lnTo>
                  <a:lnTo>
                    <a:pt x="118" y="297"/>
                  </a:lnTo>
                  <a:lnTo>
                    <a:pt x="85" y="293"/>
                  </a:lnTo>
                  <a:lnTo>
                    <a:pt x="96" y="276"/>
                  </a:lnTo>
                  <a:lnTo>
                    <a:pt x="101" y="253"/>
                  </a:lnTo>
                  <a:lnTo>
                    <a:pt x="96" y="243"/>
                  </a:lnTo>
                  <a:lnTo>
                    <a:pt x="96" y="243"/>
                  </a:lnTo>
                  <a:lnTo>
                    <a:pt x="96" y="24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1" name="Freeform 460">
              <a:extLst>
                <a:ext uri="{FF2B5EF4-FFF2-40B4-BE49-F238E27FC236}">
                  <a16:creationId xmlns:a16="http://schemas.microsoft.com/office/drawing/2014/main" id="{363DD3F7-7F59-4D42-B8D9-E89FF5868DE8}"/>
                </a:ext>
              </a:extLst>
            </p:cNvPr>
            <p:cNvSpPr>
              <a:spLocks/>
            </p:cNvSpPr>
            <p:nvPr/>
          </p:nvSpPr>
          <p:spPr bwMode="gray">
            <a:xfrm>
              <a:off x="14529023" y="3345259"/>
              <a:ext cx="7201" cy="6873"/>
            </a:xfrm>
            <a:custGeom>
              <a:avLst/>
              <a:gdLst>
                <a:gd name="T0" fmla="*/ 22 w 22"/>
                <a:gd name="T1" fmla="*/ 0 h 21"/>
                <a:gd name="T2" fmla="*/ 22 w 22"/>
                <a:gd name="T3" fmla="*/ 0 h 21"/>
                <a:gd name="T4" fmla="*/ 10 w 22"/>
                <a:gd name="T5" fmla="*/ 21 h 21"/>
                <a:gd name="T6" fmla="*/ 0 w 22"/>
                <a:gd name="T7" fmla="*/ 14 h 21"/>
                <a:gd name="T8" fmla="*/ 22 w 22"/>
                <a:gd name="T9" fmla="*/ 0 h 21"/>
                <a:gd name="T10" fmla="*/ 22 w 22"/>
                <a:gd name="T11" fmla="*/ 0 h 21"/>
                <a:gd name="T12" fmla="*/ 22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22" y="0"/>
                  </a:moveTo>
                  <a:lnTo>
                    <a:pt x="22" y="0"/>
                  </a:lnTo>
                  <a:lnTo>
                    <a:pt x="10" y="21"/>
                  </a:lnTo>
                  <a:lnTo>
                    <a:pt x="0" y="14"/>
                  </a:lnTo>
                  <a:lnTo>
                    <a:pt x="22" y="0"/>
                  </a:lnTo>
                  <a:lnTo>
                    <a:pt x="22" y="0"/>
                  </a:lnTo>
                  <a:lnTo>
                    <a:pt x="2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2" name="Freeform 461">
              <a:extLst>
                <a:ext uri="{FF2B5EF4-FFF2-40B4-BE49-F238E27FC236}">
                  <a16:creationId xmlns:a16="http://schemas.microsoft.com/office/drawing/2014/main" id="{3C2275EC-58A2-4B43-ADB6-AA6703F56FBD}"/>
                </a:ext>
              </a:extLst>
            </p:cNvPr>
            <p:cNvSpPr>
              <a:spLocks noEditPoints="1"/>
            </p:cNvSpPr>
            <p:nvPr/>
          </p:nvSpPr>
          <p:spPr bwMode="gray">
            <a:xfrm>
              <a:off x="12034368" y="3635898"/>
              <a:ext cx="64805" cy="48767"/>
            </a:xfrm>
            <a:custGeom>
              <a:avLst/>
              <a:gdLst>
                <a:gd name="T0" fmla="*/ 134 w 198"/>
                <a:gd name="T1" fmla="*/ 10 h 149"/>
                <a:gd name="T2" fmla="*/ 106 w 198"/>
                <a:gd name="T3" fmla="*/ 0 h 149"/>
                <a:gd name="T4" fmla="*/ 118 w 198"/>
                <a:gd name="T5" fmla="*/ 0 h 149"/>
                <a:gd name="T6" fmla="*/ 134 w 198"/>
                <a:gd name="T7" fmla="*/ 10 h 149"/>
                <a:gd name="T8" fmla="*/ 134 w 198"/>
                <a:gd name="T9" fmla="*/ 10 h 149"/>
                <a:gd name="T10" fmla="*/ 134 w 198"/>
                <a:gd name="T11" fmla="*/ 10 h 149"/>
                <a:gd name="T12" fmla="*/ 191 w 198"/>
                <a:gd name="T13" fmla="*/ 21 h 149"/>
                <a:gd name="T14" fmla="*/ 191 w 198"/>
                <a:gd name="T15" fmla="*/ 38 h 149"/>
                <a:gd name="T16" fmla="*/ 191 w 198"/>
                <a:gd name="T17" fmla="*/ 54 h 149"/>
                <a:gd name="T18" fmla="*/ 198 w 198"/>
                <a:gd name="T19" fmla="*/ 66 h 149"/>
                <a:gd name="T20" fmla="*/ 186 w 198"/>
                <a:gd name="T21" fmla="*/ 78 h 149"/>
                <a:gd name="T22" fmla="*/ 191 w 198"/>
                <a:gd name="T23" fmla="*/ 95 h 149"/>
                <a:gd name="T24" fmla="*/ 186 w 198"/>
                <a:gd name="T25" fmla="*/ 104 h 149"/>
                <a:gd name="T26" fmla="*/ 170 w 198"/>
                <a:gd name="T27" fmla="*/ 111 h 149"/>
                <a:gd name="T28" fmla="*/ 177 w 198"/>
                <a:gd name="T29" fmla="*/ 121 h 149"/>
                <a:gd name="T30" fmla="*/ 191 w 198"/>
                <a:gd name="T31" fmla="*/ 128 h 149"/>
                <a:gd name="T32" fmla="*/ 191 w 198"/>
                <a:gd name="T33" fmla="*/ 149 h 149"/>
                <a:gd name="T34" fmla="*/ 170 w 198"/>
                <a:gd name="T35" fmla="*/ 132 h 149"/>
                <a:gd name="T36" fmla="*/ 118 w 198"/>
                <a:gd name="T37" fmla="*/ 144 h 149"/>
                <a:gd name="T38" fmla="*/ 80 w 198"/>
                <a:gd name="T39" fmla="*/ 132 h 149"/>
                <a:gd name="T40" fmla="*/ 47 w 198"/>
                <a:gd name="T41" fmla="*/ 144 h 149"/>
                <a:gd name="T42" fmla="*/ 47 w 198"/>
                <a:gd name="T43" fmla="*/ 149 h 149"/>
                <a:gd name="T44" fmla="*/ 38 w 198"/>
                <a:gd name="T45" fmla="*/ 149 h 149"/>
                <a:gd name="T46" fmla="*/ 26 w 198"/>
                <a:gd name="T47" fmla="*/ 132 h 149"/>
                <a:gd name="T48" fmla="*/ 0 w 198"/>
                <a:gd name="T49" fmla="*/ 128 h 149"/>
                <a:gd name="T50" fmla="*/ 0 w 198"/>
                <a:gd name="T51" fmla="*/ 121 h 149"/>
                <a:gd name="T52" fmla="*/ 0 w 198"/>
                <a:gd name="T53" fmla="*/ 104 h 149"/>
                <a:gd name="T54" fmla="*/ 16 w 198"/>
                <a:gd name="T55" fmla="*/ 104 h 149"/>
                <a:gd name="T56" fmla="*/ 47 w 198"/>
                <a:gd name="T57" fmla="*/ 111 h 149"/>
                <a:gd name="T58" fmla="*/ 63 w 198"/>
                <a:gd name="T59" fmla="*/ 111 h 149"/>
                <a:gd name="T60" fmla="*/ 54 w 198"/>
                <a:gd name="T61" fmla="*/ 111 h 149"/>
                <a:gd name="T62" fmla="*/ 54 w 198"/>
                <a:gd name="T63" fmla="*/ 121 h 149"/>
                <a:gd name="T64" fmla="*/ 123 w 198"/>
                <a:gd name="T65" fmla="*/ 121 h 149"/>
                <a:gd name="T66" fmla="*/ 134 w 198"/>
                <a:gd name="T67" fmla="*/ 111 h 149"/>
                <a:gd name="T68" fmla="*/ 144 w 198"/>
                <a:gd name="T69" fmla="*/ 111 h 149"/>
                <a:gd name="T70" fmla="*/ 144 w 198"/>
                <a:gd name="T71" fmla="*/ 104 h 149"/>
                <a:gd name="T72" fmla="*/ 118 w 198"/>
                <a:gd name="T73" fmla="*/ 71 h 149"/>
                <a:gd name="T74" fmla="*/ 123 w 198"/>
                <a:gd name="T75" fmla="*/ 50 h 149"/>
                <a:gd name="T76" fmla="*/ 92 w 198"/>
                <a:gd name="T77" fmla="*/ 33 h 149"/>
                <a:gd name="T78" fmla="*/ 80 w 198"/>
                <a:gd name="T79" fmla="*/ 33 h 149"/>
                <a:gd name="T80" fmla="*/ 80 w 198"/>
                <a:gd name="T81" fmla="*/ 17 h 149"/>
                <a:gd name="T82" fmla="*/ 118 w 198"/>
                <a:gd name="T83" fmla="*/ 10 h 149"/>
                <a:gd name="T84" fmla="*/ 156 w 198"/>
                <a:gd name="T85" fmla="*/ 21 h 149"/>
                <a:gd name="T86" fmla="*/ 191 w 198"/>
                <a:gd name="T87" fmla="*/ 21 h 149"/>
                <a:gd name="T88" fmla="*/ 191 w 198"/>
                <a:gd name="T89" fmla="*/ 21 h 149"/>
                <a:gd name="T90" fmla="*/ 191 w 198"/>
                <a:gd name="T91" fmla="*/ 21 h 149"/>
                <a:gd name="T92" fmla="*/ 118 w 198"/>
                <a:gd name="T93" fmla="*/ 104 h 149"/>
                <a:gd name="T94" fmla="*/ 85 w 198"/>
                <a:gd name="T95" fmla="*/ 88 h 149"/>
                <a:gd name="T96" fmla="*/ 92 w 198"/>
                <a:gd name="T97" fmla="*/ 78 h 149"/>
                <a:gd name="T98" fmla="*/ 118 w 198"/>
                <a:gd name="T99" fmla="*/ 88 h 149"/>
                <a:gd name="T100" fmla="*/ 118 w 198"/>
                <a:gd name="T101" fmla="*/ 104 h 149"/>
                <a:gd name="T102" fmla="*/ 118 w 198"/>
                <a:gd name="T103" fmla="*/ 104 h 149"/>
                <a:gd name="T104" fmla="*/ 118 w 198"/>
                <a:gd name="T105" fmla="*/ 104 h 149"/>
                <a:gd name="T106" fmla="*/ 54 w 198"/>
                <a:gd name="T107" fmla="*/ 111 h 149"/>
                <a:gd name="T108" fmla="*/ 47 w 198"/>
                <a:gd name="T109" fmla="*/ 104 h 149"/>
                <a:gd name="T110" fmla="*/ 54 w 198"/>
                <a:gd name="T111" fmla="*/ 104 h 149"/>
                <a:gd name="T112" fmla="*/ 54 w 198"/>
                <a:gd name="T113" fmla="*/ 111 h 149"/>
                <a:gd name="T114" fmla="*/ 54 w 198"/>
                <a:gd name="T115" fmla="*/ 111 h 149"/>
                <a:gd name="T116" fmla="*/ 54 w 198"/>
                <a:gd name="T117" fmla="*/ 11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 h="149">
                  <a:moveTo>
                    <a:pt x="134" y="10"/>
                  </a:moveTo>
                  <a:lnTo>
                    <a:pt x="106" y="0"/>
                  </a:lnTo>
                  <a:lnTo>
                    <a:pt x="118" y="0"/>
                  </a:lnTo>
                  <a:lnTo>
                    <a:pt x="134" y="10"/>
                  </a:lnTo>
                  <a:lnTo>
                    <a:pt x="134" y="10"/>
                  </a:lnTo>
                  <a:lnTo>
                    <a:pt x="134" y="10"/>
                  </a:lnTo>
                  <a:close/>
                  <a:moveTo>
                    <a:pt x="191" y="21"/>
                  </a:moveTo>
                  <a:lnTo>
                    <a:pt x="191" y="38"/>
                  </a:lnTo>
                  <a:lnTo>
                    <a:pt x="191" y="54"/>
                  </a:lnTo>
                  <a:lnTo>
                    <a:pt x="198" y="66"/>
                  </a:lnTo>
                  <a:lnTo>
                    <a:pt x="186" y="78"/>
                  </a:lnTo>
                  <a:lnTo>
                    <a:pt x="191" y="95"/>
                  </a:lnTo>
                  <a:lnTo>
                    <a:pt x="186" y="104"/>
                  </a:lnTo>
                  <a:lnTo>
                    <a:pt x="170" y="111"/>
                  </a:lnTo>
                  <a:lnTo>
                    <a:pt x="177" y="121"/>
                  </a:lnTo>
                  <a:lnTo>
                    <a:pt x="191" y="128"/>
                  </a:lnTo>
                  <a:lnTo>
                    <a:pt x="191" y="149"/>
                  </a:lnTo>
                  <a:lnTo>
                    <a:pt x="170" y="132"/>
                  </a:lnTo>
                  <a:lnTo>
                    <a:pt x="118" y="144"/>
                  </a:lnTo>
                  <a:lnTo>
                    <a:pt x="80" y="132"/>
                  </a:lnTo>
                  <a:lnTo>
                    <a:pt x="47" y="144"/>
                  </a:lnTo>
                  <a:lnTo>
                    <a:pt x="47" y="149"/>
                  </a:lnTo>
                  <a:lnTo>
                    <a:pt x="38" y="149"/>
                  </a:lnTo>
                  <a:lnTo>
                    <a:pt x="26" y="132"/>
                  </a:lnTo>
                  <a:lnTo>
                    <a:pt x="0" y="128"/>
                  </a:lnTo>
                  <a:lnTo>
                    <a:pt x="0" y="121"/>
                  </a:lnTo>
                  <a:lnTo>
                    <a:pt x="0" y="104"/>
                  </a:lnTo>
                  <a:lnTo>
                    <a:pt x="16" y="104"/>
                  </a:lnTo>
                  <a:lnTo>
                    <a:pt x="47" y="111"/>
                  </a:lnTo>
                  <a:lnTo>
                    <a:pt x="63" y="111"/>
                  </a:lnTo>
                  <a:lnTo>
                    <a:pt x="54" y="111"/>
                  </a:lnTo>
                  <a:lnTo>
                    <a:pt x="54" y="121"/>
                  </a:lnTo>
                  <a:lnTo>
                    <a:pt x="123" y="121"/>
                  </a:lnTo>
                  <a:lnTo>
                    <a:pt x="134" y="111"/>
                  </a:lnTo>
                  <a:lnTo>
                    <a:pt x="144" y="111"/>
                  </a:lnTo>
                  <a:lnTo>
                    <a:pt x="144" y="104"/>
                  </a:lnTo>
                  <a:lnTo>
                    <a:pt x="118" y="71"/>
                  </a:lnTo>
                  <a:lnTo>
                    <a:pt x="123" y="50"/>
                  </a:lnTo>
                  <a:lnTo>
                    <a:pt x="92" y="33"/>
                  </a:lnTo>
                  <a:lnTo>
                    <a:pt x="80" y="33"/>
                  </a:lnTo>
                  <a:lnTo>
                    <a:pt x="80" y="17"/>
                  </a:lnTo>
                  <a:lnTo>
                    <a:pt x="118" y="10"/>
                  </a:lnTo>
                  <a:lnTo>
                    <a:pt x="156" y="21"/>
                  </a:lnTo>
                  <a:lnTo>
                    <a:pt x="191" y="21"/>
                  </a:lnTo>
                  <a:lnTo>
                    <a:pt x="191" y="21"/>
                  </a:lnTo>
                  <a:lnTo>
                    <a:pt x="191" y="21"/>
                  </a:lnTo>
                  <a:close/>
                  <a:moveTo>
                    <a:pt x="118" y="104"/>
                  </a:moveTo>
                  <a:lnTo>
                    <a:pt x="85" y="88"/>
                  </a:lnTo>
                  <a:lnTo>
                    <a:pt x="92" y="78"/>
                  </a:lnTo>
                  <a:lnTo>
                    <a:pt x="118" y="88"/>
                  </a:lnTo>
                  <a:lnTo>
                    <a:pt x="118" y="104"/>
                  </a:lnTo>
                  <a:lnTo>
                    <a:pt x="118" y="104"/>
                  </a:lnTo>
                  <a:lnTo>
                    <a:pt x="118" y="104"/>
                  </a:lnTo>
                  <a:close/>
                  <a:moveTo>
                    <a:pt x="54" y="111"/>
                  </a:moveTo>
                  <a:lnTo>
                    <a:pt x="47" y="104"/>
                  </a:lnTo>
                  <a:lnTo>
                    <a:pt x="54" y="104"/>
                  </a:lnTo>
                  <a:lnTo>
                    <a:pt x="54" y="111"/>
                  </a:lnTo>
                  <a:lnTo>
                    <a:pt x="54" y="111"/>
                  </a:lnTo>
                  <a:lnTo>
                    <a:pt x="54" y="11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3" name="Freeform 462">
              <a:extLst>
                <a:ext uri="{FF2B5EF4-FFF2-40B4-BE49-F238E27FC236}">
                  <a16:creationId xmlns:a16="http://schemas.microsoft.com/office/drawing/2014/main" id="{091A355A-4B9D-4B5C-BDF7-AA7708314B31}"/>
                </a:ext>
              </a:extLst>
            </p:cNvPr>
            <p:cNvSpPr>
              <a:spLocks/>
            </p:cNvSpPr>
            <p:nvPr/>
          </p:nvSpPr>
          <p:spPr bwMode="gray">
            <a:xfrm>
              <a:off x="15425161" y="5495270"/>
              <a:ext cx="14074" cy="6873"/>
            </a:xfrm>
            <a:custGeom>
              <a:avLst/>
              <a:gdLst>
                <a:gd name="T0" fmla="*/ 43 w 43"/>
                <a:gd name="T1" fmla="*/ 17 h 21"/>
                <a:gd name="T2" fmla="*/ 14 w 43"/>
                <a:gd name="T3" fmla="*/ 21 h 21"/>
                <a:gd name="T4" fmla="*/ 0 w 43"/>
                <a:gd name="T5" fmla="*/ 0 h 21"/>
                <a:gd name="T6" fmla="*/ 43 w 43"/>
                <a:gd name="T7" fmla="*/ 17 h 21"/>
                <a:gd name="T8" fmla="*/ 43 w 43"/>
                <a:gd name="T9" fmla="*/ 17 h 21"/>
                <a:gd name="T10" fmla="*/ 43 w 43"/>
                <a:gd name="T11" fmla="*/ 17 h 21"/>
              </a:gdLst>
              <a:ahLst/>
              <a:cxnLst>
                <a:cxn ang="0">
                  <a:pos x="T0" y="T1"/>
                </a:cxn>
                <a:cxn ang="0">
                  <a:pos x="T2" y="T3"/>
                </a:cxn>
                <a:cxn ang="0">
                  <a:pos x="T4" y="T5"/>
                </a:cxn>
                <a:cxn ang="0">
                  <a:pos x="T6" y="T7"/>
                </a:cxn>
                <a:cxn ang="0">
                  <a:pos x="T8" y="T9"/>
                </a:cxn>
                <a:cxn ang="0">
                  <a:pos x="T10" y="T11"/>
                </a:cxn>
              </a:cxnLst>
              <a:rect l="0" t="0" r="r" b="b"/>
              <a:pathLst>
                <a:path w="43" h="21">
                  <a:moveTo>
                    <a:pt x="43" y="17"/>
                  </a:moveTo>
                  <a:lnTo>
                    <a:pt x="14" y="21"/>
                  </a:lnTo>
                  <a:lnTo>
                    <a:pt x="0" y="0"/>
                  </a:lnTo>
                  <a:lnTo>
                    <a:pt x="43" y="17"/>
                  </a:lnTo>
                  <a:lnTo>
                    <a:pt x="43" y="17"/>
                  </a:lnTo>
                  <a:lnTo>
                    <a:pt x="43" y="1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4" name="Freeform 463">
              <a:extLst>
                <a:ext uri="{FF2B5EF4-FFF2-40B4-BE49-F238E27FC236}">
                  <a16:creationId xmlns:a16="http://schemas.microsoft.com/office/drawing/2014/main" id="{75FC2D71-131A-435D-BD5A-AD86C7D82403}"/>
                </a:ext>
              </a:extLst>
            </p:cNvPr>
            <p:cNvSpPr>
              <a:spLocks noEditPoints="1"/>
            </p:cNvSpPr>
            <p:nvPr/>
          </p:nvSpPr>
          <p:spPr bwMode="gray">
            <a:xfrm>
              <a:off x="11693325" y="3723941"/>
              <a:ext cx="141392" cy="81170"/>
            </a:xfrm>
            <a:custGeom>
              <a:avLst/>
              <a:gdLst>
                <a:gd name="T0" fmla="*/ 206 w 432"/>
                <a:gd name="T1" fmla="*/ 0 h 248"/>
                <a:gd name="T2" fmla="*/ 189 w 432"/>
                <a:gd name="T3" fmla="*/ 5 h 248"/>
                <a:gd name="T4" fmla="*/ 189 w 432"/>
                <a:gd name="T5" fmla="*/ 5 h 248"/>
                <a:gd name="T6" fmla="*/ 43 w 432"/>
                <a:gd name="T7" fmla="*/ 166 h 248"/>
                <a:gd name="T8" fmla="*/ 26 w 432"/>
                <a:gd name="T9" fmla="*/ 149 h 248"/>
                <a:gd name="T10" fmla="*/ 17 w 432"/>
                <a:gd name="T11" fmla="*/ 128 h 248"/>
                <a:gd name="T12" fmla="*/ 17 w 432"/>
                <a:gd name="T13" fmla="*/ 100 h 248"/>
                <a:gd name="T14" fmla="*/ 85 w 432"/>
                <a:gd name="T15" fmla="*/ 57 h 248"/>
                <a:gd name="T16" fmla="*/ 135 w 432"/>
                <a:gd name="T17" fmla="*/ 45 h 248"/>
                <a:gd name="T18" fmla="*/ 210 w 432"/>
                <a:gd name="T19" fmla="*/ 45 h 248"/>
                <a:gd name="T20" fmla="*/ 243 w 432"/>
                <a:gd name="T21" fmla="*/ 29 h 248"/>
                <a:gd name="T22" fmla="*/ 269 w 432"/>
                <a:gd name="T23" fmla="*/ 38 h 248"/>
                <a:gd name="T24" fmla="*/ 324 w 432"/>
                <a:gd name="T25" fmla="*/ 38 h 248"/>
                <a:gd name="T26" fmla="*/ 340 w 432"/>
                <a:gd name="T27" fmla="*/ 45 h 248"/>
                <a:gd name="T28" fmla="*/ 357 w 432"/>
                <a:gd name="T29" fmla="*/ 45 h 248"/>
                <a:gd name="T30" fmla="*/ 357 w 432"/>
                <a:gd name="T31" fmla="*/ 62 h 248"/>
                <a:gd name="T32" fmla="*/ 390 w 432"/>
                <a:gd name="T33" fmla="*/ 83 h 248"/>
                <a:gd name="T34" fmla="*/ 378 w 432"/>
                <a:gd name="T35" fmla="*/ 74 h 248"/>
                <a:gd name="T36" fmla="*/ 411 w 432"/>
                <a:gd name="T37" fmla="*/ 83 h 248"/>
                <a:gd name="T38" fmla="*/ 406 w 432"/>
                <a:gd name="T39" fmla="*/ 95 h 248"/>
                <a:gd name="T40" fmla="*/ 406 w 432"/>
                <a:gd name="T41" fmla="*/ 78 h 248"/>
                <a:gd name="T42" fmla="*/ 428 w 432"/>
                <a:gd name="T43" fmla="*/ 100 h 248"/>
                <a:gd name="T44" fmla="*/ 411 w 432"/>
                <a:gd name="T45" fmla="*/ 100 h 248"/>
                <a:gd name="T46" fmla="*/ 340 w 432"/>
                <a:gd name="T47" fmla="*/ 133 h 248"/>
                <a:gd name="T48" fmla="*/ 298 w 432"/>
                <a:gd name="T49" fmla="*/ 149 h 248"/>
                <a:gd name="T50" fmla="*/ 260 w 432"/>
                <a:gd name="T51" fmla="*/ 182 h 248"/>
                <a:gd name="T52" fmla="*/ 231 w 432"/>
                <a:gd name="T53" fmla="*/ 173 h 248"/>
                <a:gd name="T54" fmla="*/ 177 w 432"/>
                <a:gd name="T55" fmla="*/ 194 h 248"/>
                <a:gd name="T56" fmla="*/ 172 w 432"/>
                <a:gd name="T57" fmla="*/ 239 h 248"/>
                <a:gd name="T58" fmla="*/ 139 w 432"/>
                <a:gd name="T59" fmla="*/ 248 h 248"/>
                <a:gd name="T60" fmla="*/ 135 w 432"/>
                <a:gd name="T61" fmla="*/ 222 h 248"/>
                <a:gd name="T62" fmla="*/ 118 w 432"/>
                <a:gd name="T63" fmla="*/ 222 h 248"/>
                <a:gd name="T64" fmla="*/ 109 w 432"/>
                <a:gd name="T65" fmla="*/ 222 h 248"/>
                <a:gd name="T66" fmla="*/ 109 w 432"/>
                <a:gd name="T67" fmla="*/ 211 h 248"/>
                <a:gd name="T68" fmla="*/ 109 w 432"/>
                <a:gd name="T69" fmla="*/ 182 h 248"/>
                <a:gd name="T70" fmla="*/ 85 w 432"/>
                <a:gd name="T71" fmla="*/ 182 h 248"/>
                <a:gd name="T72" fmla="*/ 54 w 432"/>
                <a:gd name="T73" fmla="*/ 182 h 248"/>
                <a:gd name="T74" fmla="*/ 54 w 432"/>
                <a:gd name="T75" fmla="*/ 182 h 248"/>
                <a:gd name="T76" fmla="*/ 118 w 432"/>
                <a:gd name="T77" fmla="*/ 222 h 248"/>
                <a:gd name="T78" fmla="*/ 123 w 432"/>
                <a:gd name="T79" fmla="*/ 227 h 248"/>
                <a:gd name="T80" fmla="*/ 123 w 432"/>
                <a:gd name="T81" fmla="*/ 2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2" h="248">
                  <a:moveTo>
                    <a:pt x="189" y="5"/>
                  </a:moveTo>
                  <a:lnTo>
                    <a:pt x="206" y="0"/>
                  </a:lnTo>
                  <a:lnTo>
                    <a:pt x="215" y="0"/>
                  </a:lnTo>
                  <a:lnTo>
                    <a:pt x="189" y="5"/>
                  </a:lnTo>
                  <a:lnTo>
                    <a:pt x="189" y="5"/>
                  </a:lnTo>
                  <a:lnTo>
                    <a:pt x="189" y="5"/>
                  </a:lnTo>
                  <a:close/>
                  <a:moveTo>
                    <a:pt x="54" y="182"/>
                  </a:moveTo>
                  <a:lnTo>
                    <a:pt x="43" y="166"/>
                  </a:lnTo>
                  <a:lnTo>
                    <a:pt x="43" y="173"/>
                  </a:lnTo>
                  <a:lnTo>
                    <a:pt x="26" y="149"/>
                  </a:lnTo>
                  <a:lnTo>
                    <a:pt x="0" y="149"/>
                  </a:lnTo>
                  <a:lnTo>
                    <a:pt x="17" y="128"/>
                  </a:lnTo>
                  <a:lnTo>
                    <a:pt x="9" y="116"/>
                  </a:lnTo>
                  <a:lnTo>
                    <a:pt x="17" y="100"/>
                  </a:lnTo>
                  <a:lnTo>
                    <a:pt x="80" y="57"/>
                  </a:lnTo>
                  <a:lnTo>
                    <a:pt x="85" y="57"/>
                  </a:lnTo>
                  <a:lnTo>
                    <a:pt x="118" y="38"/>
                  </a:lnTo>
                  <a:lnTo>
                    <a:pt x="135" y="45"/>
                  </a:lnTo>
                  <a:lnTo>
                    <a:pt x="139" y="38"/>
                  </a:lnTo>
                  <a:lnTo>
                    <a:pt x="210" y="45"/>
                  </a:lnTo>
                  <a:lnTo>
                    <a:pt x="243" y="38"/>
                  </a:lnTo>
                  <a:lnTo>
                    <a:pt x="243" y="29"/>
                  </a:lnTo>
                  <a:lnTo>
                    <a:pt x="231" y="29"/>
                  </a:lnTo>
                  <a:lnTo>
                    <a:pt x="269" y="38"/>
                  </a:lnTo>
                  <a:lnTo>
                    <a:pt x="302" y="29"/>
                  </a:lnTo>
                  <a:lnTo>
                    <a:pt x="324" y="38"/>
                  </a:lnTo>
                  <a:lnTo>
                    <a:pt x="335" y="45"/>
                  </a:lnTo>
                  <a:lnTo>
                    <a:pt x="340" y="45"/>
                  </a:lnTo>
                  <a:lnTo>
                    <a:pt x="340" y="38"/>
                  </a:lnTo>
                  <a:lnTo>
                    <a:pt x="357" y="45"/>
                  </a:lnTo>
                  <a:lnTo>
                    <a:pt x="390" y="74"/>
                  </a:lnTo>
                  <a:lnTo>
                    <a:pt x="357" y="62"/>
                  </a:lnTo>
                  <a:lnTo>
                    <a:pt x="373" y="78"/>
                  </a:lnTo>
                  <a:lnTo>
                    <a:pt x="390" y="83"/>
                  </a:lnTo>
                  <a:lnTo>
                    <a:pt x="373" y="78"/>
                  </a:lnTo>
                  <a:lnTo>
                    <a:pt x="378" y="74"/>
                  </a:lnTo>
                  <a:lnTo>
                    <a:pt x="394" y="83"/>
                  </a:lnTo>
                  <a:lnTo>
                    <a:pt x="411" y="83"/>
                  </a:lnTo>
                  <a:lnTo>
                    <a:pt x="406" y="83"/>
                  </a:lnTo>
                  <a:lnTo>
                    <a:pt x="406" y="95"/>
                  </a:lnTo>
                  <a:lnTo>
                    <a:pt x="411" y="83"/>
                  </a:lnTo>
                  <a:lnTo>
                    <a:pt x="406" y="78"/>
                  </a:lnTo>
                  <a:lnTo>
                    <a:pt x="423" y="83"/>
                  </a:lnTo>
                  <a:lnTo>
                    <a:pt x="428" y="100"/>
                  </a:lnTo>
                  <a:lnTo>
                    <a:pt x="432" y="100"/>
                  </a:lnTo>
                  <a:lnTo>
                    <a:pt x="411" y="100"/>
                  </a:lnTo>
                  <a:lnTo>
                    <a:pt x="390" y="116"/>
                  </a:lnTo>
                  <a:lnTo>
                    <a:pt x="340" y="133"/>
                  </a:lnTo>
                  <a:lnTo>
                    <a:pt x="314" y="116"/>
                  </a:lnTo>
                  <a:lnTo>
                    <a:pt x="298" y="149"/>
                  </a:lnTo>
                  <a:lnTo>
                    <a:pt x="298" y="149"/>
                  </a:lnTo>
                  <a:lnTo>
                    <a:pt x="260" y="182"/>
                  </a:lnTo>
                  <a:lnTo>
                    <a:pt x="260" y="189"/>
                  </a:lnTo>
                  <a:lnTo>
                    <a:pt x="231" y="173"/>
                  </a:lnTo>
                  <a:lnTo>
                    <a:pt x="210" y="194"/>
                  </a:lnTo>
                  <a:lnTo>
                    <a:pt x="177" y="194"/>
                  </a:lnTo>
                  <a:lnTo>
                    <a:pt x="189" y="227"/>
                  </a:lnTo>
                  <a:lnTo>
                    <a:pt x="172" y="239"/>
                  </a:lnTo>
                  <a:lnTo>
                    <a:pt x="161" y="248"/>
                  </a:lnTo>
                  <a:lnTo>
                    <a:pt x="139" y="248"/>
                  </a:lnTo>
                  <a:lnTo>
                    <a:pt x="123" y="227"/>
                  </a:lnTo>
                  <a:lnTo>
                    <a:pt x="135" y="222"/>
                  </a:lnTo>
                  <a:lnTo>
                    <a:pt x="123" y="227"/>
                  </a:lnTo>
                  <a:lnTo>
                    <a:pt x="118" y="222"/>
                  </a:lnTo>
                  <a:lnTo>
                    <a:pt x="118" y="222"/>
                  </a:lnTo>
                  <a:lnTo>
                    <a:pt x="109" y="222"/>
                  </a:lnTo>
                  <a:lnTo>
                    <a:pt x="118" y="211"/>
                  </a:lnTo>
                  <a:lnTo>
                    <a:pt x="109" y="211"/>
                  </a:lnTo>
                  <a:lnTo>
                    <a:pt x="118" y="189"/>
                  </a:lnTo>
                  <a:lnTo>
                    <a:pt x="109" y="182"/>
                  </a:lnTo>
                  <a:lnTo>
                    <a:pt x="97" y="189"/>
                  </a:lnTo>
                  <a:lnTo>
                    <a:pt x="85" y="182"/>
                  </a:lnTo>
                  <a:lnTo>
                    <a:pt x="64" y="189"/>
                  </a:lnTo>
                  <a:lnTo>
                    <a:pt x="54" y="182"/>
                  </a:lnTo>
                  <a:lnTo>
                    <a:pt x="54" y="182"/>
                  </a:lnTo>
                  <a:lnTo>
                    <a:pt x="54" y="182"/>
                  </a:lnTo>
                  <a:close/>
                  <a:moveTo>
                    <a:pt x="123" y="227"/>
                  </a:moveTo>
                  <a:lnTo>
                    <a:pt x="118" y="222"/>
                  </a:lnTo>
                  <a:lnTo>
                    <a:pt x="123" y="222"/>
                  </a:lnTo>
                  <a:lnTo>
                    <a:pt x="123" y="227"/>
                  </a:lnTo>
                  <a:lnTo>
                    <a:pt x="123" y="227"/>
                  </a:lnTo>
                  <a:lnTo>
                    <a:pt x="123" y="22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5" name="Freeform 464">
              <a:extLst>
                <a:ext uri="{FF2B5EF4-FFF2-40B4-BE49-F238E27FC236}">
                  <a16:creationId xmlns:a16="http://schemas.microsoft.com/office/drawing/2014/main" id="{BFF6FBF4-6B2B-4017-B8EB-00C241B580FB}"/>
                </a:ext>
              </a:extLst>
            </p:cNvPr>
            <p:cNvSpPr>
              <a:spLocks noEditPoints="1"/>
            </p:cNvSpPr>
            <p:nvPr/>
          </p:nvSpPr>
          <p:spPr bwMode="gray">
            <a:xfrm>
              <a:off x="14053788" y="2929265"/>
              <a:ext cx="138446" cy="119136"/>
            </a:xfrm>
            <a:custGeom>
              <a:avLst/>
              <a:gdLst>
                <a:gd name="T0" fmla="*/ 82 w 423"/>
                <a:gd name="T1" fmla="*/ 83 h 364"/>
                <a:gd name="T2" fmla="*/ 125 w 423"/>
                <a:gd name="T3" fmla="*/ 95 h 364"/>
                <a:gd name="T4" fmla="*/ 125 w 423"/>
                <a:gd name="T5" fmla="*/ 71 h 364"/>
                <a:gd name="T6" fmla="*/ 151 w 423"/>
                <a:gd name="T7" fmla="*/ 38 h 364"/>
                <a:gd name="T8" fmla="*/ 196 w 423"/>
                <a:gd name="T9" fmla="*/ 0 h 364"/>
                <a:gd name="T10" fmla="*/ 264 w 423"/>
                <a:gd name="T11" fmla="*/ 54 h 364"/>
                <a:gd name="T12" fmla="*/ 340 w 423"/>
                <a:gd name="T13" fmla="*/ 71 h 364"/>
                <a:gd name="T14" fmla="*/ 378 w 423"/>
                <a:gd name="T15" fmla="*/ 88 h 364"/>
                <a:gd name="T16" fmla="*/ 389 w 423"/>
                <a:gd name="T17" fmla="*/ 104 h 364"/>
                <a:gd name="T18" fmla="*/ 389 w 423"/>
                <a:gd name="T19" fmla="*/ 149 h 364"/>
                <a:gd name="T20" fmla="*/ 356 w 423"/>
                <a:gd name="T21" fmla="*/ 137 h 364"/>
                <a:gd name="T22" fmla="*/ 260 w 423"/>
                <a:gd name="T23" fmla="*/ 128 h 364"/>
                <a:gd name="T24" fmla="*/ 212 w 423"/>
                <a:gd name="T25" fmla="*/ 121 h 364"/>
                <a:gd name="T26" fmla="*/ 163 w 423"/>
                <a:gd name="T27" fmla="*/ 128 h 364"/>
                <a:gd name="T28" fmla="*/ 189 w 423"/>
                <a:gd name="T29" fmla="*/ 199 h 364"/>
                <a:gd name="T30" fmla="*/ 243 w 423"/>
                <a:gd name="T31" fmla="*/ 260 h 364"/>
                <a:gd name="T32" fmla="*/ 286 w 423"/>
                <a:gd name="T33" fmla="*/ 310 h 364"/>
                <a:gd name="T34" fmla="*/ 243 w 423"/>
                <a:gd name="T35" fmla="*/ 276 h 364"/>
                <a:gd name="T36" fmla="*/ 175 w 423"/>
                <a:gd name="T37" fmla="*/ 253 h 364"/>
                <a:gd name="T38" fmla="*/ 108 w 423"/>
                <a:gd name="T39" fmla="*/ 203 h 364"/>
                <a:gd name="T40" fmla="*/ 141 w 423"/>
                <a:gd name="T41" fmla="*/ 203 h 364"/>
                <a:gd name="T42" fmla="*/ 104 w 423"/>
                <a:gd name="T43" fmla="*/ 144 h 364"/>
                <a:gd name="T44" fmla="*/ 54 w 423"/>
                <a:gd name="T45" fmla="*/ 111 h 364"/>
                <a:gd name="T46" fmla="*/ 12 w 423"/>
                <a:gd name="T47" fmla="*/ 128 h 364"/>
                <a:gd name="T48" fmla="*/ 12 w 423"/>
                <a:gd name="T49" fmla="*/ 95 h 364"/>
                <a:gd name="T50" fmla="*/ 66 w 423"/>
                <a:gd name="T51" fmla="*/ 137 h 364"/>
                <a:gd name="T52" fmla="*/ 87 w 423"/>
                <a:gd name="T53" fmla="*/ 144 h 364"/>
                <a:gd name="T54" fmla="*/ 71 w 423"/>
                <a:gd name="T55" fmla="*/ 177 h 364"/>
                <a:gd name="T56" fmla="*/ 54 w 423"/>
                <a:gd name="T57" fmla="*/ 128 h 364"/>
                <a:gd name="T58" fmla="*/ 71 w 423"/>
                <a:gd name="T59" fmla="*/ 177 h 364"/>
                <a:gd name="T60" fmla="*/ 87 w 423"/>
                <a:gd name="T61" fmla="*/ 165 h 364"/>
                <a:gd name="T62" fmla="*/ 87 w 423"/>
                <a:gd name="T63" fmla="*/ 165 h 364"/>
                <a:gd name="T64" fmla="*/ 120 w 423"/>
                <a:gd name="T65" fmla="*/ 236 h 364"/>
                <a:gd name="T66" fmla="*/ 120 w 423"/>
                <a:gd name="T67" fmla="*/ 236 h 364"/>
                <a:gd name="T68" fmla="*/ 226 w 423"/>
                <a:gd name="T69" fmla="*/ 293 h 364"/>
                <a:gd name="T70" fmla="*/ 243 w 423"/>
                <a:gd name="T71" fmla="*/ 288 h 364"/>
                <a:gd name="T72" fmla="*/ 226 w 423"/>
                <a:gd name="T73" fmla="*/ 293 h 364"/>
                <a:gd name="T74" fmla="*/ 260 w 423"/>
                <a:gd name="T75" fmla="*/ 305 h 364"/>
                <a:gd name="T76" fmla="*/ 248 w 423"/>
                <a:gd name="T77" fmla="*/ 310 h 364"/>
                <a:gd name="T78" fmla="*/ 196 w 423"/>
                <a:gd name="T79" fmla="*/ 310 h 364"/>
                <a:gd name="T80" fmla="*/ 179 w 423"/>
                <a:gd name="T81" fmla="*/ 314 h 364"/>
                <a:gd name="T82" fmla="*/ 352 w 423"/>
                <a:gd name="T83" fmla="*/ 359 h 364"/>
                <a:gd name="T84" fmla="*/ 314 w 423"/>
                <a:gd name="T85" fmla="*/ 331 h 364"/>
                <a:gd name="T86" fmla="*/ 286 w 423"/>
                <a:gd name="T87" fmla="*/ 326 h 364"/>
                <a:gd name="T88" fmla="*/ 217 w 423"/>
                <a:gd name="T89" fmla="*/ 314 h 364"/>
                <a:gd name="T90" fmla="*/ 234 w 423"/>
                <a:gd name="T91" fmla="*/ 326 h 364"/>
                <a:gd name="T92" fmla="*/ 234 w 423"/>
                <a:gd name="T93" fmla="*/ 331 h 364"/>
                <a:gd name="T94" fmla="*/ 243 w 423"/>
                <a:gd name="T95" fmla="*/ 343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3" h="364">
                  <a:moveTo>
                    <a:pt x="12" y="95"/>
                  </a:moveTo>
                  <a:lnTo>
                    <a:pt x="66" y="95"/>
                  </a:lnTo>
                  <a:lnTo>
                    <a:pt x="82" y="83"/>
                  </a:lnTo>
                  <a:lnTo>
                    <a:pt x="99" y="95"/>
                  </a:lnTo>
                  <a:lnTo>
                    <a:pt x="120" y="104"/>
                  </a:lnTo>
                  <a:lnTo>
                    <a:pt x="125" y="95"/>
                  </a:lnTo>
                  <a:lnTo>
                    <a:pt x="137" y="83"/>
                  </a:lnTo>
                  <a:lnTo>
                    <a:pt x="125" y="83"/>
                  </a:lnTo>
                  <a:lnTo>
                    <a:pt x="125" y="71"/>
                  </a:lnTo>
                  <a:lnTo>
                    <a:pt x="158" y="66"/>
                  </a:lnTo>
                  <a:lnTo>
                    <a:pt x="158" y="50"/>
                  </a:lnTo>
                  <a:lnTo>
                    <a:pt x="151" y="38"/>
                  </a:lnTo>
                  <a:lnTo>
                    <a:pt x="151" y="33"/>
                  </a:lnTo>
                  <a:lnTo>
                    <a:pt x="196" y="17"/>
                  </a:lnTo>
                  <a:lnTo>
                    <a:pt x="196" y="0"/>
                  </a:lnTo>
                  <a:lnTo>
                    <a:pt x="217" y="12"/>
                  </a:lnTo>
                  <a:lnTo>
                    <a:pt x="260" y="33"/>
                  </a:lnTo>
                  <a:lnTo>
                    <a:pt x="264" y="54"/>
                  </a:lnTo>
                  <a:lnTo>
                    <a:pt x="286" y="54"/>
                  </a:lnTo>
                  <a:lnTo>
                    <a:pt x="297" y="66"/>
                  </a:lnTo>
                  <a:lnTo>
                    <a:pt x="340" y="71"/>
                  </a:lnTo>
                  <a:lnTo>
                    <a:pt x="373" y="54"/>
                  </a:lnTo>
                  <a:lnTo>
                    <a:pt x="378" y="71"/>
                  </a:lnTo>
                  <a:lnTo>
                    <a:pt x="378" y="88"/>
                  </a:lnTo>
                  <a:lnTo>
                    <a:pt x="394" y="95"/>
                  </a:lnTo>
                  <a:lnTo>
                    <a:pt x="389" y="95"/>
                  </a:lnTo>
                  <a:lnTo>
                    <a:pt x="389" y="104"/>
                  </a:lnTo>
                  <a:lnTo>
                    <a:pt x="423" y="121"/>
                  </a:lnTo>
                  <a:lnTo>
                    <a:pt x="394" y="121"/>
                  </a:lnTo>
                  <a:lnTo>
                    <a:pt x="389" y="149"/>
                  </a:lnTo>
                  <a:lnTo>
                    <a:pt x="373" y="149"/>
                  </a:lnTo>
                  <a:lnTo>
                    <a:pt x="373" y="144"/>
                  </a:lnTo>
                  <a:lnTo>
                    <a:pt x="356" y="137"/>
                  </a:lnTo>
                  <a:lnTo>
                    <a:pt x="335" y="128"/>
                  </a:lnTo>
                  <a:lnTo>
                    <a:pt x="302" y="137"/>
                  </a:lnTo>
                  <a:lnTo>
                    <a:pt x="260" y="128"/>
                  </a:lnTo>
                  <a:lnTo>
                    <a:pt x="243" y="121"/>
                  </a:lnTo>
                  <a:lnTo>
                    <a:pt x="234" y="121"/>
                  </a:lnTo>
                  <a:lnTo>
                    <a:pt x="212" y="121"/>
                  </a:lnTo>
                  <a:lnTo>
                    <a:pt x="196" y="144"/>
                  </a:lnTo>
                  <a:lnTo>
                    <a:pt x="179" y="121"/>
                  </a:lnTo>
                  <a:lnTo>
                    <a:pt x="163" y="128"/>
                  </a:lnTo>
                  <a:lnTo>
                    <a:pt x="158" y="161"/>
                  </a:lnTo>
                  <a:lnTo>
                    <a:pt x="189" y="182"/>
                  </a:lnTo>
                  <a:lnTo>
                    <a:pt x="189" y="199"/>
                  </a:lnTo>
                  <a:lnTo>
                    <a:pt x="189" y="215"/>
                  </a:lnTo>
                  <a:lnTo>
                    <a:pt x="212" y="232"/>
                  </a:lnTo>
                  <a:lnTo>
                    <a:pt x="243" y="260"/>
                  </a:lnTo>
                  <a:lnTo>
                    <a:pt x="264" y="276"/>
                  </a:lnTo>
                  <a:lnTo>
                    <a:pt x="264" y="293"/>
                  </a:lnTo>
                  <a:lnTo>
                    <a:pt x="286" y="310"/>
                  </a:lnTo>
                  <a:lnTo>
                    <a:pt x="297" y="314"/>
                  </a:lnTo>
                  <a:lnTo>
                    <a:pt x="286" y="314"/>
                  </a:lnTo>
                  <a:lnTo>
                    <a:pt x="243" y="276"/>
                  </a:lnTo>
                  <a:lnTo>
                    <a:pt x="205" y="272"/>
                  </a:lnTo>
                  <a:lnTo>
                    <a:pt x="175" y="272"/>
                  </a:lnTo>
                  <a:lnTo>
                    <a:pt x="175" y="253"/>
                  </a:lnTo>
                  <a:lnTo>
                    <a:pt x="137" y="236"/>
                  </a:lnTo>
                  <a:lnTo>
                    <a:pt x="120" y="215"/>
                  </a:lnTo>
                  <a:lnTo>
                    <a:pt x="108" y="203"/>
                  </a:lnTo>
                  <a:lnTo>
                    <a:pt x="125" y="203"/>
                  </a:lnTo>
                  <a:lnTo>
                    <a:pt x="125" y="199"/>
                  </a:lnTo>
                  <a:lnTo>
                    <a:pt x="141" y="203"/>
                  </a:lnTo>
                  <a:lnTo>
                    <a:pt x="104" y="177"/>
                  </a:lnTo>
                  <a:lnTo>
                    <a:pt x="99" y="165"/>
                  </a:lnTo>
                  <a:lnTo>
                    <a:pt x="104" y="144"/>
                  </a:lnTo>
                  <a:lnTo>
                    <a:pt x="99" y="128"/>
                  </a:lnTo>
                  <a:lnTo>
                    <a:pt x="71" y="111"/>
                  </a:lnTo>
                  <a:lnTo>
                    <a:pt x="54" y="111"/>
                  </a:lnTo>
                  <a:lnTo>
                    <a:pt x="49" y="144"/>
                  </a:lnTo>
                  <a:lnTo>
                    <a:pt x="28" y="161"/>
                  </a:lnTo>
                  <a:lnTo>
                    <a:pt x="12" y="128"/>
                  </a:lnTo>
                  <a:lnTo>
                    <a:pt x="0" y="95"/>
                  </a:lnTo>
                  <a:lnTo>
                    <a:pt x="12" y="95"/>
                  </a:lnTo>
                  <a:lnTo>
                    <a:pt x="12" y="95"/>
                  </a:lnTo>
                  <a:lnTo>
                    <a:pt x="12" y="95"/>
                  </a:lnTo>
                  <a:close/>
                  <a:moveTo>
                    <a:pt x="87" y="144"/>
                  </a:moveTo>
                  <a:lnTo>
                    <a:pt x="66" y="137"/>
                  </a:lnTo>
                  <a:lnTo>
                    <a:pt x="71" y="121"/>
                  </a:lnTo>
                  <a:lnTo>
                    <a:pt x="99" y="144"/>
                  </a:lnTo>
                  <a:lnTo>
                    <a:pt x="87" y="144"/>
                  </a:lnTo>
                  <a:lnTo>
                    <a:pt x="87" y="144"/>
                  </a:lnTo>
                  <a:lnTo>
                    <a:pt x="87" y="144"/>
                  </a:lnTo>
                  <a:close/>
                  <a:moveTo>
                    <a:pt x="71" y="177"/>
                  </a:moveTo>
                  <a:lnTo>
                    <a:pt x="54" y="149"/>
                  </a:lnTo>
                  <a:lnTo>
                    <a:pt x="66" y="149"/>
                  </a:lnTo>
                  <a:lnTo>
                    <a:pt x="54" y="128"/>
                  </a:lnTo>
                  <a:lnTo>
                    <a:pt x="54" y="128"/>
                  </a:lnTo>
                  <a:lnTo>
                    <a:pt x="71" y="144"/>
                  </a:lnTo>
                  <a:lnTo>
                    <a:pt x="71" y="177"/>
                  </a:lnTo>
                  <a:lnTo>
                    <a:pt x="71" y="177"/>
                  </a:lnTo>
                  <a:lnTo>
                    <a:pt x="71" y="177"/>
                  </a:lnTo>
                  <a:close/>
                  <a:moveTo>
                    <a:pt x="87" y="165"/>
                  </a:moveTo>
                  <a:lnTo>
                    <a:pt x="125" y="199"/>
                  </a:lnTo>
                  <a:lnTo>
                    <a:pt x="108" y="199"/>
                  </a:lnTo>
                  <a:lnTo>
                    <a:pt x="87" y="165"/>
                  </a:lnTo>
                  <a:lnTo>
                    <a:pt x="87" y="165"/>
                  </a:lnTo>
                  <a:lnTo>
                    <a:pt x="87" y="165"/>
                  </a:lnTo>
                  <a:close/>
                  <a:moveTo>
                    <a:pt x="120" y="236"/>
                  </a:moveTo>
                  <a:lnTo>
                    <a:pt x="99" y="215"/>
                  </a:lnTo>
                  <a:lnTo>
                    <a:pt x="108" y="220"/>
                  </a:lnTo>
                  <a:lnTo>
                    <a:pt x="120" y="236"/>
                  </a:lnTo>
                  <a:lnTo>
                    <a:pt x="120" y="236"/>
                  </a:lnTo>
                  <a:lnTo>
                    <a:pt x="120" y="236"/>
                  </a:lnTo>
                  <a:close/>
                  <a:moveTo>
                    <a:pt x="226" y="293"/>
                  </a:moveTo>
                  <a:lnTo>
                    <a:pt x="205" y="288"/>
                  </a:lnTo>
                  <a:lnTo>
                    <a:pt x="205" y="288"/>
                  </a:lnTo>
                  <a:lnTo>
                    <a:pt x="243" y="288"/>
                  </a:lnTo>
                  <a:lnTo>
                    <a:pt x="226" y="293"/>
                  </a:lnTo>
                  <a:lnTo>
                    <a:pt x="226" y="293"/>
                  </a:lnTo>
                  <a:lnTo>
                    <a:pt x="226" y="293"/>
                  </a:lnTo>
                  <a:close/>
                  <a:moveTo>
                    <a:pt x="248" y="310"/>
                  </a:moveTo>
                  <a:lnTo>
                    <a:pt x="205" y="305"/>
                  </a:lnTo>
                  <a:lnTo>
                    <a:pt x="260" y="305"/>
                  </a:lnTo>
                  <a:lnTo>
                    <a:pt x="248" y="310"/>
                  </a:lnTo>
                  <a:lnTo>
                    <a:pt x="248" y="310"/>
                  </a:lnTo>
                  <a:lnTo>
                    <a:pt x="248" y="310"/>
                  </a:lnTo>
                  <a:close/>
                  <a:moveTo>
                    <a:pt x="179" y="314"/>
                  </a:moveTo>
                  <a:lnTo>
                    <a:pt x="179" y="310"/>
                  </a:lnTo>
                  <a:lnTo>
                    <a:pt x="196" y="310"/>
                  </a:lnTo>
                  <a:lnTo>
                    <a:pt x="179" y="314"/>
                  </a:lnTo>
                  <a:lnTo>
                    <a:pt x="179" y="314"/>
                  </a:lnTo>
                  <a:lnTo>
                    <a:pt x="179" y="314"/>
                  </a:lnTo>
                  <a:close/>
                  <a:moveTo>
                    <a:pt x="286" y="326"/>
                  </a:moveTo>
                  <a:lnTo>
                    <a:pt x="302" y="326"/>
                  </a:lnTo>
                  <a:lnTo>
                    <a:pt x="352" y="359"/>
                  </a:lnTo>
                  <a:lnTo>
                    <a:pt x="352" y="364"/>
                  </a:lnTo>
                  <a:lnTo>
                    <a:pt x="352" y="364"/>
                  </a:lnTo>
                  <a:lnTo>
                    <a:pt x="314" y="331"/>
                  </a:lnTo>
                  <a:lnTo>
                    <a:pt x="248" y="310"/>
                  </a:lnTo>
                  <a:lnTo>
                    <a:pt x="286" y="326"/>
                  </a:lnTo>
                  <a:lnTo>
                    <a:pt x="286" y="326"/>
                  </a:lnTo>
                  <a:lnTo>
                    <a:pt x="286" y="326"/>
                  </a:lnTo>
                  <a:close/>
                  <a:moveTo>
                    <a:pt x="234" y="326"/>
                  </a:moveTo>
                  <a:lnTo>
                    <a:pt x="217" y="314"/>
                  </a:lnTo>
                  <a:lnTo>
                    <a:pt x="260" y="326"/>
                  </a:lnTo>
                  <a:lnTo>
                    <a:pt x="234" y="326"/>
                  </a:lnTo>
                  <a:lnTo>
                    <a:pt x="234" y="326"/>
                  </a:lnTo>
                  <a:lnTo>
                    <a:pt x="234" y="326"/>
                  </a:lnTo>
                  <a:close/>
                  <a:moveTo>
                    <a:pt x="243" y="343"/>
                  </a:moveTo>
                  <a:lnTo>
                    <a:pt x="234" y="331"/>
                  </a:lnTo>
                  <a:lnTo>
                    <a:pt x="243" y="331"/>
                  </a:lnTo>
                  <a:lnTo>
                    <a:pt x="243" y="343"/>
                  </a:lnTo>
                  <a:lnTo>
                    <a:pt x="243" y="343"/>
                  </a:lnTo>
                  <a:lnTo>
                    <a:pt x="243" y="34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6" name="Freeform 465">
              <a:extLst>
                <a:ext uri="{FF2B5EF4-FFF2-40B4-BE49-F238E27FC236}">
                  <a16:creationId xmlns:a16="http://schemas.microsoft.com/office/drawing/2014/main" id="{A24C30FE-4653-4AE7-A024-A3855A05A048}"/>
                </a:ext>
              </a:extLst>
            </p:cNvPr>
            <p:cNvSpPr>
              <a:spLocks/>
            </p:cNvSpPr>
            <p:nvPr/>
          </p:nvSpPr>
          <p:spPr bwMode="gray">
            <a:xfrm>
              <a:off x="14111720" y="2869042"/>
              <a:ext cx="156775" cy="84115"/>
            </a:xfrm>
            <a:custGeom>
              <a:avLst/>
              <a:gdLst>
                <a:gd name="T0" fmla="*/ 298 w 479"/>
                <a:gd name="T1" fmla="*/ 224 h 257"/>
                <a:gd name="T2" fmla="*/ 248 w 479"/>
                <a:gd name="T3" fmla="*/ 217 h 257"/>
                <a:gd name="T4" fmla="*/ 227 w 479"/>
                <a:gd name="T5" fmla="*/ 234 h 257"/>
                <a:gd name="T6" fmla="*/ 215 w 479"/>
                <a:gd name="T7" fmla="*/ 234 h 257"/>
                <a:gd name="T8" fmla="*/ 194 w 479"/>
                <a:gd name="T9" fmla="*/ 241 h 257"/>
                <a:gd name="T10" fmla="*/ 163 w 479"/>
                <a:gd name="T11" fmla="*/ 257 h 257"/>
                <a:gd name="T12" fmla="*/ 118 w 479"/>
                <a:gd name="T13" fmla="*/ 250 h 257"/>
                <a:gd name="T14" fmla="*/ 109 w 479"/>
                <a:gd name="T15" fmla="*/ 241 h 257"/>
                <a:gd name="T16" fmla="*/ 87 w 479"/>
                <a:gd name="T17" fmla="*/ 241 h 257"/>
                <a:gd name="T18" fmla="*/ 80 w 479"/>
                <a:gd name="T19" fmla="*/ 217 h 257"/>
                <a:gd name="T20" fmla="*/ 38 w 479"/>
                <a:gd name="T21" fmla="*/ 196 h 257"/>
                <a:gd name="T22" fmla="*/ 16 w 479"/>
                <a:gd name="T23" fmla="*/ 168 h 257"/>
                <a:gd name="T24" fmla="*/ 26 w 479"/>
                <a:gd name="T25" fmla="*/ 160 h 257"/>
                <a:gd name="T26" fmla="*/ 0 w 479"/>
                <a:gd name="T27" fmla="*/ 156 h 257"/>
                <a:gd name="T28" fmla="*/ 16 w 479"/>
                <a:gd name="T29" fmla="*/ 144 h 257"/>
                <a:gd name="T30" fmla="*/ 33 w 479"/>
                <a:gd name="T31" fmla="*/ 144 h 257"/>
                <a:gd name="T32" fmla="*/ 26 w 479"/>
                <a:gd name="T33" fmla="*/ 123 h 257"/>
                <a:gd name="T34" fmla="*/ 33 w 479"/>
                <a:gd name="T35" fmla="*/ 123 h 257"/>
                <a:gd name="T36" fmla="*/ 33 w 479"/>
                <a:gd name="T37" fmla="*/ 106 h 257"/>
                <a:gd name="T38" fmla="*/ 49 w 479"/>
                <a:gd name="T39" fmla="*/ 99 h 257"/>
                <a:gd name="T40" fmla="*/ 33 w 479"/>
                <a:gd name="T41" fmla="*/ 83 h 257"/>
                <a:gd name="T42" fmla="*/ 38 w 479"/>
                <a:gd name="T43" fmla="*/ 73 h 257"/>
                <a:gd name="T44" fmla="*/ 49 w 479"/>
                <a:gd name="T45" fmla="*/ 83 h 257"/>
                <a:gd name="T46" fmla="*/ 71 w 479"/>
                <a:gd name="T47" fmla="*/ 83 h 257"/>
                <a:gd name="T48" fmla="*/ 80 w 479"/>
                <a:gd name="T49" fmla="*/ 49 h 257"/>
                <a:gd name="T50" fmla="*/ 92 w 479"/>
                <a:gd name="T51" fmla="*/ 49 h 257"/>
                <a:gd name="T52" fmla="*/ 125 w 479"/>
                <a:gd name="T53" fmla="*/ 73 h 257"/>
                <a:gd name="T54" fmla="*/ 156 w 479"/>
                <a:gd name="T55" fmla="*/ 73 h 257"/>
                <a:gd name="T56" fmla="*/ 194 w 479"/>
                <a:gd name="T57" fmla="*/ 66 h 257"/>
                <a:gd name="T58" fmla="*/ 194 w 479"/>
                <a:gd name="T59" fmla="*/ 54 h 257"/>
                <a:gd name="T60" fmla="*/ 210 w 479"/>
                <a:gd name="T61" fmla="*/ 49 h 257"/>
                <a:gd name="T62" fmla="*/ 243 w 479"/>
                <a:gd name="T63" fmla="*/ 45 h 257"/>
                <a:gd name="T64" fmla="*/ 248 w 479"/>
                <a:gd name="T65" fmla="*/ 33 h 257"/>
                <a:gd name="T66" fmla="*/ 269 w 479"/>
                <a:gd name="T67" fmla="*/ 45 h 257"/>
                <a:gd name="T68" fmla="*/ 302 w 479"/>
                <a:gd name="T69" fmla="*/ 28 h 257"/>
                <a:gd name="T70" fmla="*/ 319 w 479"/>
                <a:gd name="T71" fmla="*/ 0 h 257"/>
                <a:gd name="T72" fmla="*/ 323 w 479"/>
                <a:gd name="T73" fmla="*/ 0 h 257"/>
                <a:gd name="T74" fmla="*/ 357 w 479"/>
                <a:gd name="T75" fmla="*/ 0 h 257"/>
                <a:gd name="T76" fmla="*/ 378 w 479"/>
                <a:gd name="T77" fmla="*/ 0 h 257"/>
                <a:gd name="T78" fmla="*/ 404 w 479"/>
                <a:gd name="T79" fmla="*/ 16 h 257"/>
                <a:gd name="T80" fmla="*/ 427 w 479"/>
                <a:gd name="T81" fmla="*/ 16 h 257"/>
                <a:gd name="T82" fmla="*/ 432 w 479"/>
                <a:gd name="T83" fmla="*/ 16 h 257"/>
                <a:gd name="T84" fmla="*/ 465 w 479"/>
                <a:gd name="T85" fmla="*/ 45 h 257"/>
                <a:gd name="T86" fmla="*/ 475 w 479"/>
                <a:gd name="T87" fmla="*/ 45 h 257"/>
                <a:gd name="T88" fmla="*/ 479 w 479"/>
                <a:gd name="T89" fmla="*/ 54 h 257"/>
                <a:gd name="T90" fmla="*/ 465 w 479"/>
                <a:gd name="T91" fmla="*/ 73 h 257"/>
                <a:gd name="T92" fmla="*/ 442 w 479"/>
                <a:gd name="T93" fmla="*/ 83 h 257"/>
                <a:gd name="T94" fmla="*/ 420 w 479"/>
                <a:gd name="T95" fmla="*/ 99 h 257"/>
                <a:gd name="T96" fmla="*/ 420 w 479"/>
                <a:gd name="T97" fmla="*/ 111 h 257"/>
                <a:gd name="T98" fmla="*/ 394 w 479"/>
                <a:gd name="T99" fmla="*/ 144 h 257"/>
                <a:gd name="T100" fmla="*/ 390 w 479"/>
                <a:gd name="T101" fmla="*/ 168 h 257"/>
                <a:gd name="T102" fmla="*/ 373 w 479"/>
                <a:gd name="T103" fmla="*/ 179 h 257"/>
                <a:gd name="T104" fmla="*/ 366 w 479"/>
                <a:gd name="T105" fmla="*/ 212 h 257"/>
                <a:gd name="T106" fmla="*/ 335 w 479"/>
                <a:gd name="T107" fmla="*/ 212 h 257"/>
                <a:gd name="T108" fmla="*/ 323 w 479"/>
                <a:gd name="T109" fmla="*/ 224 h 257"/>
                <a:gd name="T110" fmla="*/ 314 w 479"/>
                <a:gd name="T111" fmla="*/ 217 h 257"/>
                <a:gd name="T112" fmla="*/ 298 w 479"/>
                <a:gd name="T113" fmla="*/ 224 h 257"/>
                <a:gd name="T114" fmla="*/ 298 w 479"/>
                <a:gd name="T115" fmla="*/ 224 h 257"/>
                <a:gd name="T116" fmla="*/ 298 w 479"/>
                <a:gd name="T117" fmla="*/ 22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9" h="257">
                  <a:moveTo>
                    <a:pt x="298" y="224"/>
                  </a:moveTo>
                  <a:lnTo>
                    <a:pt x="248" y="217"/>
                  </a:lnTo>
                  <a:lnTo>
                    <a:pt x="227" y="234"/>
                  </a:lnTo>
                  <a:lnTo>
                    <a:pt x="215" y="234"/>
                  </a:lnTo>
                  <a:lnTo>
                    <a:pt x="194" y="241"/>
                  </a:lnTo>
                  <a:lnTo>
                    <a:pt x="163" y="257"/>
                  </a:lnTo>
                  <a:lnTo>
                    <a:pt x="118" y="250"/>
                  </a:lnTo>
                  <a:lnTo>
                    <a:pt x="109" y="241"/>
                  </a:lnTo>
                  <a:lnTo>
                    <a:pt x="87" y="241"/>
                  </a:lnTo>
                  <a:lnTo>
                    <a:pt x="80" y="217"/>
                  </a:lnTo>
                  <a:lnTo>
                    <a:pt x="38" y="196"/>
                  </a:lnTo>
                  <a:lnTo>
                    <a:pt x="16" y="168"/>
                  </a:lnTo>
                  <a:lnTo>
                    <a:pt x="26" y="160"/>
                  </a:lnTo>
                  <a:lnTo>
                    <a:pt x="0" y="156"/>
                  </a:lnTo>
                  <a:lnTo>
                    <a:pt x="16" y="144"/>
                  </a:lnTo>
                  <a:lnTo>
                    <a:pt x="33" y="144"/>
                  </a:lnTo>
                  <a:lnTo>
                    <a:pt x="26" y="123"/>
                  </a:lnTo>
                  <a:lnTo>
                    <a:pt x="33" y="123"/>
                  </a:lnTo>
                  <a:lnTo>
                    <a:pt x="33" y="106"/>
                  </a:lnTo>
                  <a:lnTo>
                    <a:pt x="49" y="99"/>
                  </a:lnTo>
                  <a:lnTo>
                    <a:pt x="33" y="83"/>
                  </a:lnTo>
                  <a:lnTo>
                    <a:pt x="38" y="73"/>
                  </a:lnTo>
                  <a:lnTo>
                    <a:pt x="49" y="83"/>
                  </a:lnTo>
                  <a:lnTo>
                    <a:pt x="71" y="83"/>
                  </a:lnTo>
                  <a:lnTo>
                    <a:pt x="80" y="49"/>
                  </a:lnTo>
                  <a:lnTo>
                    <a:pt x="92" y="49"/>
                  </a:lnTo>
                  <a:lnTo>
                    <a:pt x="125" y="73"/>
                  </a:lnTo>
                  <a:lnTo>
                    <a:pt x="156" y="73"/>
                  </a:lnTo>
                  <a:lnTo>
                    <a:pt x="194" y="66"/>
                  </a:lnTo>
                  <a:lnTo>
                    <a:pt x="194" y="54"/>
                  </a:lnTo>
                  <a:lnTo>
                    <a:pt x="210" y="49"/>
                  </a:lnTo>
                  <a:lnTo>
                    <a:pt x="243" y="45"/>
                  </a:lnTo>
                  <a:lnTo>
                    <a:pt x="248" y="33"/>
                  </a:lnTo>
                  <a:lnTo>
                    <a:pt x="269" y="45"/>
                  </a:lnTo>
                  <a:lnTo>
                    <a:pt x="302" y="28"/>
                  </a:lnTo>
                  <a:lnTo>
                    <a:pt x="319" y="0"/>
                  </a:lnTo>
                  <a:lnTo>
                    <a:pt x="323" y="0"/>
                  </a:lnTo>
                  <a:lnTo>
                    <a:pt x="357" y="0"/>
                  </a:lnTo>
                  <a:lnTo>
                    <a:pt x="378" y="0"/>
                  </a:lnTo>
                  <a:lnTo>
                    <a:pt x="404" y="16"/>
                  </a:lnTo>
                  <a:lnTo>
                    <a:pt x="427" y="16"/>
                  </a:lnTo>
                  <a:lnTo>
                    <a:pt x="432" y="16"/>
                  </a:lnTo>
                  <a:lnTo>
                    <a:pt x="465" y="45"/>
                  </a:lnTo>
                  <a:lnTo>
                    <a:pt x="475" y="45"/>
                  </a:lnTo>
                  <a:lnTo>
                    <a:pt x="479" y="54"/>
                  </a:lnTo>
                  <a:lnTo>
                    <a:pt x="465" y="73"/>
                  </a:lnTo>
                  <a:lnTo>
                    <a:pt x="442" y="83"/>
                  </a:lnTo>
                  <a:lnTo>
                    <a:pt x="420" y="99"/>
                  </a:lnTo>
                  <a:lnTo>
                    <a:pt x="420" y="111"/>
                  </a:lnTo>
                  <a:lnTo>
                    <a:pt x="394" y="144"/>
                  </a:lnTo>
                  <a:lnTo>
                    <a:pt x="390" y="168"/>
                  </a:lnTo>
                  <a:lnTo>
                    <a:pt x="373" y="179"/>
                  </a:lnTo>
                  <a:lnTo>
                    <a:pt x="366" y="212"/>
                  </a:lnTo>
                  <a:lnTo>
                    <a:pt x="335" y="212"/>
                  </a:lnTo>
                  <a:lnTo>
                    <a:pt x="323" y="224"/>
                  </a:lnTo>
                  <a:lnTo>
                    <a:pt x="314" y="217"/>
                  </a:lnTo>
                  <a:lnTo>
                    <a:pt x="298" y="224"/>
                  </a:lnTo>
                  <a:lnTo>
                    <a:pt x="298" y="224"/>
                  </a:lnTo>
                  <a:lnTo>
                    <a:pt x="298" y="22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7" name="Freeform 466">
              <a:extLst>
                <a:ext uri="{FF2B5EF4-FFF2-40B4-BE49-F238E27FC236}">
                  <a16:creationId xmlns:a16="http://schemas.microsoft.com/office/drawing/2014/main" id="{8824F35A-2351-4504-9CDC-6B4F6E4B1F7C}"/>
                </a:ext>
              </a:extLst>
            </p:cNvPr>
            <p:cNvSpPr>
              <a:spLocks/>
            </p:cNvSpPr>
            <p:nvPr/>
          </p:nvSpPr>
          <p:spPr bwMode="gray">
            <a:xfrm>
              <a:off x="13180888" y="2252088"/>
              <a:ext cx="252673" cy="122082"/>
            </a:xfrm>
            <a:custGeom>
              <a:avLst/>
              <a:gdLst>
                <a:gd name="T0" fmla="*/ 215 w 772"/>
                <a:gd name="T1" fmla="*/ 241 h 373"/>
                <a:gd name="T2" fmla="*/ 160 w 772"/>
                <a:gd name="T3" fmla="*/ 250 h 373"/>
                <a:gd name="T4" fmla="*/ 156 w 772"/>
                <a:gd name="T5" fmla="*/ 224 h 373"/>
                <a:gd name="T6" fmla="*/ 47 w 772"/>
                <a:gd name="T7" fmla="*/ 224 h 373"/>
                <a:gd name="T8" fmla="*/ 90 w 772"/>
                <a:gd name="T9" fmla="*/ 184 h 373"/>
                <a:gd name="T10" fmla="*/ 172 w 772"/>
                <a:gd name="T11" fmla="*/ 179 h 373"/>
                <a:gd name="T12" fmla="*/ 156 w 772"/>
                <a:gd name="T13" fmla="*/ 127 h 373"/>
                <a:gd name="T14" fmla="*/ 101 w 772"/>
                <a:gd name="T15" fmla="*/ 123 h 373"/>
                <a:gd name="T16" fmla="*/ 14 w 772"/>
                <a:gd name="T17" fmla="*/ 111 h 373"/>
                <a:gd name="T18" fmla="*/ 52 w 772"/>
                <a:gd name="T19" fmla="*/ 111 h 373"/>
                <a:gd name="T20" fmla="*/ 68 w 772"/>
                <a:gd name="T21" fmla="*/ 111 h 373"/>
                <a:gd name="T22" fmla="*/ 90 w 772"/>
                <a:gd name="T23" fmla="*/ 94 h 373"/>
                <a:gd name="T24" fmla="*/ 52 w 772"/>
                <a:gd name="T25" fmla="*/ 85 h 373"/>
                <a:gd name="T26" fmla="*/ 52 w 772"/>
                <a:gd name="T27" fmla="*/ 68 h 373"/>
                <a:gd name="T28" fmla="*/ 75 w 772"/>
                <a:gd name="T29" fmla="*/ 49 h 373"/>
                <a:gd name="T30" fmla="*/ 139 w 772"/>
                <a:gd name="T31" fmla="*/ 73 h 373"/>
                <a:gd name="T32" fmla="*/ 144 w 772"/>
                <a:gd name="T33" fmla="*/ 90 h 373"/>
                <a:gd name="T34" fmla="*/ 106 w 772"/>
                <a:gd name="T35" fmla="*/ 40 h 373"/>
                <a:gd name="T36" fmla="*/ 106 w 772"/>
                <a:gd name="T37" fmla="*/ 16 h 373"/>
                <a:gd name="T38" fmla="*/ 194 w 772"/>
                <a:gd name="T39" fmla="*/ 49 h 373"/>
                <a:gd name="T40" fmla="*/ 210 w 772"/>
                <a:gd name="T41" fmla="*/ 73 h 373"/>
                <a:gd name="T42" fmla="*/ 210 w 772"/>
                <a:gd name="T43" fmla="*/ 106 h 373"/>
                <a:gd name="T44" fmla="*/ 227 w 772"/>
                <a:gd name="T45" fmla="*/ 123 h 373"/>
                <a:gd name="T46" fmla="*/ 248 w 772"/>
                <a:gd name="T47" fmla="*/ 139 h 373"/>
                <a:gd name="T48" fmla="*/ 269 w 772"/>
                <a:gd name="T49" fmla="*/ 123 h 373"/>
                <a:gd name="T50" fmla="*/ 302 w 772"/>
                <a:gd name="T51" fmla="*/ 94 h 373"/>
                <a:gd name="T52" fmla="*/ 345 w 772"/>
                <a:gd name="T53" fmla="*/ 94 h 373"/>
                <a:gd name="T54" fmla="*/ 354 w 772"/>
                <a:gd name="T55" fmla="*/ 73 h 373"/>
                <a:gd name="T56" fmla="*/ 387 w 772"/>
                <a:gd name="T57" fmla="*/ 49 h 373"/>
                <a:gd name="T58" fmla="*/ 425 w 772"/>
                <a:gd name="T59" fmla="*/ 73 h 373"/>
                <a:gd name="T60" fmla="*/ 453 w 772"/>
                <a:gd name="T61" fmla="*/ 90 h 373"/>
                <a:gd name="T62" fmla="*/ 463 w 772"/>
                <a:gd name="T63" fmla="*/ 49 h 373"/>
                <a:gd name="T64" fmla="*/ 517 w 772"/>
                <a:gd name="T65" fmla="*/ 40 h 373"/>
                <a:gd name="T66" fmla="*/ 571 w 772"/>
                <a:gd name="T67" fmla="*/ 33 h 373"/>
                <a:gd name="T68" fmla="*/ 614 w 772"/>
                <a:gd name="T69" fmla="*/ 28 h 373"/>
                <a:gd name="T70" fmla="*/ 668 w 772"/>
                <a:gd name="T71" fmla="*/ 28 h 373"/>
                <a:gd name="T72" fmla="*/ 668 w 772"/>
                <a:gd name="T73" fmla="*/ 49 h 373"/>
                <a:gd name="T74" fmla="*/ 680 w 772"/>
                <a:gd name="T75" fmla="*/ 106 h 373"/>
                <a:gd name="T76" fmla="*/ 701 w 772"/>
                <a:gd name="T77" fmla="*/ 127 h 373"/>
                <a:gd name="T78" fmla="*/ 765 w 772"/>
                <a:gd name="T79" fmla="*/ 127 h 373"/>
                <a:gd name="T80" fmla="*/ 734 w 772"/>
                <a:gd name="T81" fmla="*/ 168 h 373"/>
                <a:gd name="T82" fmla="*/ 765 w 772"/>
                <a:gd name="T83" fmla="*/ 196 h 373"/>
                <a:gd name="T84" fmla="*/ 734 w 772"/>
                <a:gd name="T85" fmla="*/ 196 h 373"/>
                <a:gd name="T86" fmla="*/ 739 w 772"/>
                <a:gd name="T87" fmla="*/ 224 h 373"/>
                <a:gd name="T88" fmla="*/ 711 w 772"/>
                <a:gd name="T89" fmla="*/ 224 h 373"/>
                <a:gd name="T90" fmla="*/ 701 w 772"/>
                <a:gd name="T91" fmla="*/ 257 h 373"/>
                <a:gd name="T92" fmla="*/ 642 w 772"/>
                <a:gd name="T93" fmla="*/ 262 h 373"/>
                <a:gd name="T94" fmla="*/ 560 w 772"/>
                <a:gd name="T95" fmla="*/ 319 h 373"/>
                <a:gd name="T96" fmla="*/ 522 w 772"/>
                <a:gd name="T97" fmla="*/ 328 h 373"/>
                <a:gd name="T98" fmla="*/ 468 w 772"/>
                <a:gd name="T99" fmla="*/ 352 h 373"/>
                <a:gd name="T100" fmla="*/ 302 w 772"/>
                <a:gd name="T101" fmla="*/ 364 h 373"/>
                <a:gd name="T102" fmla="*/ 290 w 772"/>
                <a:gd name="T103" fmla="*/ 335 h 373"/>
                <a:gd name="T104" fmla="*/ 279 w 772"/>
                <a:gd name="T105" fmla="*/ 328 h 373"/>
                <a:gd name="T106" fmla="*/ 231 w 772"/>
                <a:gd name="T107" fmla="*/ 319 h 373"/>
                <a:gd name="T108" fmla="*/ 123 w 772"/>
                <a:gd name="T109" fmla="*/ 328 h 373"/>
                <a:gd name="T110" fmla="*/ 177 w 772"/>
                <a:gd name="T111" fmla="*/ 295 h 373"/>
                <a:gd name="T112" fmla="*/ 198 w 772"/>
                <a:gd name="T113" fmla="*/ 279 h 373"/>
                <a:gd name="T114" fmla="*/ 227 w 772"/>
                <a:gd name="T115" fmla="*/ 262 h 373"/>
                <a:gd name="T116" fmla="*/ 177 w 772"/>
                <a:gd name="T117" fmla="*/ 257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72" h="373">
                  <a:moveTo>
                    <a:pt x="177" y="257"/>
                  </a:moveTo>
                  <a:lnTo>
                    <a:pt x="198" y="234"/>
                  </a:lnTo>
                  <a:lnTo>
                    <a:pt x="215" y="241"/>
                  </a:lnTo>
                  <a:lnTo>
                    <a:pt x="198" y="234"/>
                  </a:lnTo>
                  <a:lnTo>
                    <a:pt x="210" y="234"/>
                  </a:lnTo>
                  <a:lnTo>
                    <a:pt x="160" y="250"/>
                  </a:lnTo>
                  <a:lnTo>
                    <a:pt x="156" y="241"/>
                  </a:lnTo>
                  <a:lnTo>
                    <a:pt x="144" y="234"/>
                  </a:lnTo>
                  <a:lnTo>
                    <a:pt x="156" y="224"/>
                  </a:lnTo>
                  <a:lnTo>
                    <a:pt x="144" y="208"/>
                  </a:lnTo>
                  <a:lnTo>
                    <a:pt x="75" y="208"/>
                  </a:lnTo>
                  <a:lnTo>
                    <a:pt x="47" y="224"/>
                  </a:lnTo>
                  <a:lnTo>
                    <a:pt x="31" y="201"/>
                  </a:lnTo>
                  <a:lnTo>
                    <a:pt x="64" y="201"/>
                  </a:lnTo>
                  <a:lnTo>
                    <a:pt x="90" y="184"/>
                  </a:lnTo>
                  <a:lnTo>
                    <a:pt x="182" y="184"/>
                  </a:lnTo>
                  <a:lnTo>
                    <a:pt x="194" y="163"/>
                  </a:lnTo>
                  <a:lnTo>
                    <a:pt x="172" y="179"/>
                  </a:lnTo>
                  <a:lnTo>
                    <a:pt x="139" y="168"/>
                  </a:lnTo>
                  <a:lnTo>
                    <a:pt x="198" y="139"/>
                  </a:lnTo>
                  <a:lnTo>
                    <a:pt x="156" y="127"/>
                  </a:lnTo>
                  <a:lnTo>
                    <a:pt x="172" y="123"/>
                  </a:lnTo>
                  <a:lnTo>
                    <a:pt x="144" y="127"/>
                  </a:lnTo>
                  <a:lnTo>
                    <a:pt x="101" y="123"/>
                  </a:lnTo>
                  <a:lnTo>
                    <a:pt x="47" y="139"/>
                  </a:lnTo>
                  <a:lnTo>
                    <a:pt x="0" y="127"/>
                  </a:lnTo>
                  <a:lnTo>
                    <a:pt x="14" y="111"/>
                  </a:lnTo>
                  <a:lnTo>
                    <a:pt x="52" y="127"/>
                  </a:lnTo>
                  <a:lnTo>
                    <a:pt x="31" y="111"/>
                  </a:lnTo>
                  <a:lnTo>
                    <a:pt x="52" y="111"/>
                  </a:lnTo>
                  <a:lnTo>
                    <a:pt x="31" y="106"/>
                  </a:lnTo>
                  <a:lnTo>
                    <a:pt x="31" y="90"/>
                  </a:lnTo>
                  <a:lnTo>
                    <a:pt x="68" y="111"/>
                  </a:lnTo>
                  <a:lnTo>
                    <a:pt x="85" y="111"/>
                  </a:lnTo>
                  <a:lnTo>
                    <a:pt x="68" y="106"/>
                  </a:lnTo>
                  <a:lnTo>
                    <a:pt x="90" y="94"/>
                  </a:lnTo>
                  <a:lnTo>
                    <a:pt x="52" y="94"/>
                  </a:lnTo>
                  <a:lnTo>
                    <a:pt x="47" y="90"/>
                  </a:lnTo>
                  <a:lnTo>
                    <a:pt x="52" y="85"/>
                  </a:lnTo>
                  <a:lnTo>
                    <a:pt x="90" y="90"/>
                  </a:lnTo>
                  <a:lnTo>
                    <a:pt x="47" y="68"/>
                  </a:lnTo>
                  <a:lnTo>
                    <a:pt x="52" y="68"/>
                  </a:lnTo>
                  <a:lnTo>
                    <a:pt x="85" y="73"/>
                  </a:lnTo>
                  <a:lnTo>
                    <a:pt x="64" y="57"/>
                  </a:lnTo>
                  <a:lnTo>
                    <a:pt x="75" y="49"/>
                  </a:lnTo>
                  <a:lnTo>
                    <a:pt x="123" y="73"/>
                  </a:lnTo>
                  <a:lnTo>
                    <a:pt x="127" y="68"/>
                  </a:lnTo>
                  <a:lnTo>
                    <a:pt x="139" y="73"/>
                  </a:lnTo>
                  <a:lnTo>
                    <a:pt x="127" y="90"/>
                  </a:lnTo>
                  <a:lnTo>
                    <a:pt x="139" y="73"/>
                  </a:lnTo>
                  <a:lnTo>
                    <a:pt x="144" y="90"/>
                  </a:lnTo>
                  <a:lnTo>
                    <a:pt x="144" y="73"/>
                  </a:lnTo>
                  <a:lnTo>
                    <a:pt x="139" y="57"/>
                  </a:lnTo>
                  <a:lnTo>
                    <a:pt x="106" y="40"/>
                  </a:lnTo>
                  <a:lnTo>
                    <a:pt x="144" y="40"/>
                  </a:lnTo>
                  <a:lnTo>
                    <a:pt x="90" y="28"/>
                  </a:lnTo>
                  <a:lnTo>
                    <a:pt x="106" y="16"/>
                  </a:lnTo>
                  <a:lnTo>
                    <a:pt x="144" y="16"/>
                  </a:lnTo>
                  <a:lnTo>
                    <a:pt x="160" y="33"/>
                  </a:lnTo>
                  <a:lnTo>
                    <a:pt x="194" y="49"/>
                  </a:lnTo>
                  <a:lnTo>
                    <a:pt x="198" y="68"/>
                  </a:lnTo>
                  <a:lnTo>
                    <a:pt x="215" y="68"/>
                  </a:lnTo>
                  <a:lnTo>
                    <a:pt x="210" y="73"/>
                  </a:lnTo>
                  <a:lnTo>
                    <a:pt x="227" y="85"/>
                  </a:lnTo>
                  <a:lnTo>
                    <a:pt x="227" y="106"/>
                  </a:lnTo>
                  <a:lnTo>
                    <a:pt x="210" y="106"/>
                  </a:lnTo>
                  <a:lnTo>
                    <a:pt x="194" y="94"/>
                  </a:lnTo>
                  <a:lnTo>
                    <a:pt x="198" y="111"/>
                  </a:lnTo>
                  <a:lnTo>
                    <a:pt x="227" y="123"/>
                  </a:lnTo>
                  <a:lnTo>
                    <a:pt x="236" y="168"/>
                  </a:lnTo>
                  <a:lnTo>
                    <a:pt x="236" y="139"/>
                  </a:lnTo>
                  <a:lnTo>
                    <a:pt x="248" y="139"/>
                  </a:lnTo>
                  <a:lnTo>
                    <a:pt x="253" y="123"/>
                  </a:lnTo>
                  <a:lnTo>
                    <a:pt x="269" y="106"/>
                  </a:lnTo>
                  <a:lnTo>
                    <a:pt x="269" y="123"/>
                  </a:lnTo>
                  <a:lnTo>
                    <a:pt x="286" y="127"/>
                  </a:lnTo>
                  <a:lnTo>
                    <a:pt x="290" y="111"/>
                  </a:lnTo>
                  <a:lnTo>
                    <a:pt x="302" y="94"/>
                  </a:lnTo>
                  <a:lnTo>
                    <a:pt x="286" y="57"/>
                  </a:lnTo>
                  <a:lnTo>
                    <a:pt x="307" y="57"/>
                  </a:lnTo>
                  <a:lnTo>
                    <a:pt x="345" y="94"/>
                  </a:lnTo>
                  <a:lnTo>
                    <a:pt x="354" y="106"/>
                  </a:lnTo>
                  <a:lnTo>
                    <a:pt x="361" y="90"/>
                  </a:lnTo>
                  <a:lnTo>
                    <a:pt x="354" y="73"/>
                  </a:lnTo>
                  <a:lnTo>
                    <a:pt x="354" y="68"/>
                  </a:lnTo>
                  <a:lnTo>
                    <a:pt x="387" y="57"/>
                  </a:lnTo>
                  <a:lnTo>
                    <a:pt x="387" y="49"/>
                  </a:lnTo>
                  <a:lnTo>
                    <a:pt x="399" y="49"/>
                  </a:lnTo>
                  <a:lnTo>
                    <a:pt x="416" y="57"/>
                  </a:lnTo>
                  <a:lnTo>
                    <a:pt x="425" y="73"/>
                  </a:lnTo>
                  <a:lnTo>
                    <a:pt x="442" y="85"/>
                  </a:lnTo>
                  <a:lnTo>
                    <a:pt x="453" y="111"/>
                  </a:lnTo>
                  <a:lnTo>
                    <a:pt x="453" y="90"/>
                  </a:lnTo>
                  <a:lnTo>
                    <a:pt x="442" y="68"/>
                  </a:lnTo>
                  <a:lnTo>
                    <a:pt x="442" y="49"/>
                  </a:lnTo>
                  <a:lnTo>
                    <a:pt x="463" y="49"/>
                  </a:lnTo>
                  <a:lnTo>
                    <a:pt x="484" y="73"/>
                  </a:lnTo>
                  <a:lnTo>
                    <a:pt x="501" y="73"/>
                  </a:lnTo>
                  <a:lnTo>
                    <a:pt x="517" y="40"/>
                  </a:lnTo>
                  <a:lnTo>
                    <a:pt x="555" y="57"/>
                  </a:lnTo>
                  <a:lnTo>
                    <a:pt x="550" y="49"/>
                  </a:lnTo>
                  <a:lnTo>
                    <a:pt x="571" y="33"/>
                  </a:lnTo>
                  <a:lnTo>
                    <a:pt x="555" y="12"/>
                  </a:lnTo>
                  <a:lnTo>
                    <a:pt x="593" y="0"/>
                  </a:lnTo>
                  <a:lnTo>
                    <a:pt x="614" y="28"/>
                  </a:lnTo>
                  <a:lnTo>
                    <a:pt x="614" y="40"/>
                  </a:lnTo>
                  <a:lnTo>
                    <a:pt x="642" y="49"/>
                  </a:lnTo>
                  <a:lnTo>
                    <a:pt x="668" y="28"/>
                  </a:lnTo>
                  <a:lnTo>
                    <a:pt x="685" y="28"/>
                  </a:lnTo>
                  <a:lnTo>
                    <a:pt x="668" y="33"/>
                  </a:lnTo>
                  <a:lnTo>
                    <a:pt x="668" y="49"/>
                  </a:lnTo>
                  <a:lnTo>
                    <a:pt x="657" y="57"/>
                  </a:lnTo>
                  <a:lnTo>
                    <a:pt x="697" y="73"/>
                  </a:lnTo>
                  <a:lnTo>
                    <a:pt x="680" y="106"/>
                  </a:lnTo>
                  <a:lnTo>
                    <a:pt x="718" y="94"/>
                  </a:lnTo>
                  <a:lnTo>
                    <a:pt x="718" y="111"/>
                  </a:lnTo>
                  <a:lnTo>
                    <a:pt x="701" y="127"/>
                  </a:lnTo>
                  <a:lnTo>
                    <a:pt x="718" y="111"/>
                  </a:lnTo>
                  <a:lnTo>
                    <a:pt x="765" y="123"/>
                  </a:lnTo>
                  <a:lnTo>
                    <a:pt x="765" y="127"/>
                  </a:lnTo>
                  <a:lnTo>
                    <a:pt x="756" y="151"/>
                  </a:lnTo>
                  <a:lnTo>
                    <a:pt x="772" y="163"/>
                  </a:lnTo>
                  <a:lnTo>
                    <a:pt x="734" y="168"/>
                  </a:lnTo>
                  <a:lnTo>
                    <a:pt x="765" y="168"/>
                  </a:lnTo>
                  <a:lnTo>
                    <a:pt x="772" y="179"/>
                  </a:lnTo>
                  <a:lnTo>
                    <a:pt x="765" y="196"/>
                  </a:lnTo>
                  <a:lnTo>
                    <a:pt x="739" y="179"/>
                  </a:lnTo>
                  <a:lnTo>
                    <a:pt x="756" y="201"/>
                  </a:lnTo>
                  <a:lnTo>
                    <a:pt x="734" y="196"/>
                  </a:lnTo>
                  <a:lnTo>
                    <a:pt x="756" y="201"/>
                  </a:lnTo>
                  <a:lnTo>
                    <a:pt x="734" y="217"/>
                  </a:lnTo>
                  <a:lnTo>
                    <a:pt x="739" y="224"/>
                  </a:lnTo>
                  <a:lnTo>
                    <a:pt x="718" y="224"/>
                  </a:lnTo>
                  <a:lnTo>
                    <a:pt x="701" y="208"/>
                  </a:lnTo>
                  <a:lnTo>
                    <a:pt x="711" y="224"/>
                  </a:lnTo>
                  <a:lnTo>
                    <a:pt x="697" y="241"/>
                  </a:lnTo>
                  <a:lnTo>
                    <a:pt x="711" y="241"/>
                  </a:lnTo>
                  <a:lnTo>
                    <a:pt x="701" y="257"/>
                  </a:lnTo>
                  <a:lnTo>
                    <a:pt x="685" y="257"/>
                  </a:lnTo>
                  <a:lnTo>
                    <a:pt x="668" y="274"/>
                  </a:lnTo>
                  <a:lnTo>
                    <a:pt x="642" y="262"/>
                  </a:lnTo>
                  <a:lnTo>
                    <a:pt x="642" y="274"/>
                  </a:lnTo>
                  <a:lnTo>
                    <a:pt x="593" y="290"/>
                  </a:lnTo>
                  <a:lnTo>
                    <a:pt x="560" y="319"/>
                  </a:lnTo>
                  <a:lnTo>
                    <a:pt x="538" y="328"/>
                  </a:lnTo>
                  <a:lnTo>
                    <a:pt x="534" y="312"/>
                  </a:lnTo>
                  <a:lnTo>
                    <a:pt x="522" y="328"/>
                  </a:lnTo>
                  <a:lnTo>
                    <a:pt x="468" y="335"/>
                  </a:lnTo>
                  <a:lnTo>
                    <a:pt x="463" y="345"/>
                  </a:lnTo>
                  <a:lnTo>
                    <a:pt x="468" y="352"/>
                  </a:lnTo>
                  <a:lnTo>
                    <a:pt x="463" y="364"/>
                  </a:lnTo>
                  <a:lnTo>
                    <a:pt x="408" y="373"/>
                  </a:lnTo>
                  <a:lnTo>
                    <a:pt x="302" y="364"/>
                  </a:lnTo>
                  <a:lnTo>
                    <a:pt x="279" y="335"/>
                  </a:lnTo>
                  <a:lnTo>
                    <a:pt x="290" y="335"/>
                  </a:lnTo>
                  <a:lnTo>
                    <a:pt x="290" y="335"/>
                  </a:lnTo>
                  <a:lnTo>
                    <a:pt x="279" y="335"/>
                  </a:lnTo>
                  <a:lnTo>
                    <a:pt x="269" y="335"/>
                  </a:lnTo>
                  <a:lnTo>
                    <a:pt x="279" y="328"/>
                  </a:lnTo>
                  <a:lnTo>
                    <a:pt x="269" y="319"/>
                  </a:lnTo>
                  <a:lnTo>
                    <a:pt x="253" y="328"/>
                  </a:lnTo>
                  <a:lnTo>
                    <a:pt x="231" y="319"/>
                  </a:lnTo>
                  <a:lnTo>
                    <a:pt x="248" y="312"/>
                  </a:lnTo>
                  <a:lnTo>
                    <a:pt x="198" y="328"/>
                  </a:lnTo>
                  <a:lnTo>
                    <a:pt x="123" y="328"/>
                  </a:lnTo>
                  <a:lnTo>
                    <a:pt x="127" y="295"/>
                  </a:lnTo>
                  <a:lnTo>
                    <a:pt x="139" y="307"/>
                  </a:lnTo>
                  <a:lnTo>
                    <a:pt x="177" y="295"/>
                  </a:lnTo>
                  <a:lnTo>
                    <a:pt x="182" y="295"/>
                  </a:lnTo>
                  <a:lnTo>
                    <a:pt x="177" y="290"/>
                  </a:lnTo>
                  <a:lnTo>
                    <a:pt x="198" y="279"/>
                  </a:lnTo>
                  <a:lnTo>
                    <a:pt x="182" y="279"/>
                  </a:lnTo>
                  <a:lnTo>
                    <a:pt x="194" y="262"/>
                  </a:lnTo>
                  <a:lnTo>
                    <a:pt x="227" y="262"/>
                  </a:lnTo>
                  <a:lnTo>
                    <a:pt x="172" y="274"/>
                  </a:lnTo>
                  <a:lnTo>
                    <a:pt x="177" y="257"/>
                  </a:lnTo>
                  <a:lnTo>
                    <a:pt x="177" y="257"/>
                  </a:lnTo>
                  <a:lnTo>
                    <a:pt x="177" y="25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8" name="Freeform 467">
              <a:extLst>
                <a:ext uri="{FF2B5EF4-FFF2-40B4-BE49-F238E27FC236}">
                  <a16:creationId xmlns:a16="http://schemas.microsoft.com/office/drawing/2014/main" id="{E3AA16E9-53D6-4472-A384-9EC575B818BE}"/>
                </a:ext>
              </a:extLst>
            </p:cNvPr>
            <p:cNvSpPr>
              <a:spLocks noEditPoints="1"/>
            </p:cNvSpPr>
            <p:nvPr/>
          </p:nvSpPr>
          <p:spPr bwMode="gray">
            <a:xfrm>
              <a:off x="15930834" y="3973668"/>
              <a:ext cx="1051604" cy="398320"/>
            </a:xfrm>
            <a:custGeom>
              <a:avLst/>
              <a:gdLst>
                <a:gd name="T0" fmla="*/ 647 w 3213"/>
                <a:gd name="T1" fmla="*/ 629 h 1217"/>
                <a:gd name="T2" fmla="*/ 392 w 3213"/>
                <a:gd name="T3" fmla="*/ 600 h 1217"/>
                <a:gd name="T4" fmla="*/ 123 w 3213"/>
                <a:gd name="T5" fmla="*/ 52 h 1217"/>
                <a:gd name="T6" fmla="*/ 2213 w 3213"/>
                <a:gd name="T7" fmla="*/ 123 h 1217"/>
                <a:gd name="T8" fmla="*/ 1403 w 3213"/>
                <a:gd name="T9" fmla="*/ 206 h 1217"/>
                <a:gd name="T10" fmla="*/ 1592 w 3213"/>
                <a:gd name="T11" fmla="*/ 345 h 1217"/>
                <a:gd name="T12" fmla="*/ 1365 w 3213"/>
                <a:gd name="T13" fmla="*/ 733 h 1217"/>
                <a:gd name="T14" fmla="*/ 1042 w 3213"/>
                <a:gd name="T15" fmla="*/ 527 h 1217"/>
                <a:gd name="T16" fmla="*/ 895 w 3213"/>
                <a:gd name="T17" fmla="*/ 152 h 1217"/>
                <a:gd name="T18" fmla="*/ 1545 w 3213"/>
                <a:gd name="T19" fmla="*/ 180 h 1217"/>
                <a:gd name="T20" fmla="*/ 735 w 3213"/>
                <a:gd name="T21" fmla="*/ 222 h 1217"/>
                <a:gd name="T22" fmla="*/ 2332 w 3213"/>
                <a:gd name="T23" fmla="*/ 279 h 1217"/>
                <a:gd name="T24" fmla="*/ 2284 w 3213"/>
                <a:gd name="T25" fmla="*/ 456 h 1217"/>
                <a:gd name="T26" fmla="*/ 1852 w 3213"/>
                <a:gd name="T27" fmla="*/ 723 h 1217"/>
                <a:gd name="T28" fmla="*/ 1651 w 3213"/>
                <a:gd name="T29" fmla="*/ 629 h 1217"/>
                <a:gd name="T30" fmla="*/ 1906 w 3213"/>
                <a:gd name="T31" fmla="*/ 362 h 1217"/>
                <a:gd name="T32" fmla="*/ 1781 w 3213"/>
                <a:gd name="T33" fmla="*/ 527 h 1217"/>
                <a:gd name="T34" fmla="*/ 1890 w 3213"/>
                <a:gd name="T35" fmla="*/ 666 h 1217"/>
                <a:gd name="T36" fmla="*/ 2105 w 3213"/>
                <a:gd name="T37" fmla="*/ 317 h 1217"/>
                <a:gd name="T38" fmla="*/ 610 w 3213"/>
                <a:gd name="T39" fmla="*/ 350 h 1217"/>
                <a:gd name="T40" fmla="*/ 605 w 3213"/>
                <a:gd name="T41" fmla="*/ 350 h 1217"/>
                <a:gd name="T42" fmla="*/ 555 w 3213"/>
                <a:gd name="T43" fmla="*/ 378 h 1217"/>
                <a:gd name="T44" fmla="*/ 232 w 3213"/>
                <a:gd name="T45" fmla="*/ 456 h 1217"/>
                <a:gd name="T46" fmla="*/ 593 w 3213"/>
                <a:gd name="T47" fmla="*/ 444 h 1217"/>
                <a:gd name="T48" fmla="*/ 2284 w 3213"/>
                <a:gd name="T49" fmla="*/ 478 h 1217"/>
                <a:gd name="T50" fmla="*/ 3149 w 3213"/>
                <a:gd name="T51" fmla="*/ 995 h 1217"/>
                <a:gd name="T52" fmla="*/ 2787 w 3213"/>
                <a:gd name="T53" fmla="*/ 711 h 1217"/>
                <a:gd name="T54" fmla="*/ 2575 w 3213"/>
                <a:gd name="T55" fmla="*/ 629 h 1217"/>
                <a:gd name="T56" fmla="*/ 2587 w 3213"/>
                <a:gd name="T57" fmla="*/ 461 h 1217"/>
                <a:gd name="T58" fmla="*/ 3149 w 3213"/>
                <a:gd name="T59" fmla="*/ 600 h 1217"/>
                <a:gd name="T60" fmla="*/ 2872 w 3213"/>
                <a:gd name="T61" fmla="*/ 518 h 1217"/>
                <a:gd name="T62" fmla="*/ 236 w 3213"/>
                <a:gd name="T63" fmla="*/ 494 h 1217"/>
                <a:gd name="T64" fmla="*/ 1954 w 3213"/>
                <a:gd name="T65" fmla="*/ 527 h 1217"/>
                <a:gd name="T66" fmla="*/ 749 w 3213"/>
                <a:gd name="T67" fmla="*/ 629 h 1217"/>
                <a:gd name="T68" fmla="*/ 2894 w 3213"/>
                <a:gd name="T69" fmla="*/ 567 h 1217"/>
                <a:gd name="T70" fmla="*/ 2117 w 3213"/>
                <a:gd name="T71" fmla="*/ 555 h 1217"/>
                <a:gd name="T72" fmla="*/ 345 w 3213"/>
                <a:gd name="T73" fmla="*/ 629 h 1217"/>
                <a:gd name="T74" fmla="*/ 2461 w 3213"/>
                <a:gd name="T75" fmla="*/ 645 h 1217"/>
                <a:gd name="T76" fmla="*/ 810 w 3213"/>
                <a:gd name="T77" fmla="*/ 638 h 1217"/>
                <a:gd name="T78" fmla="*/ 1474 w 3213"/>
                <a:gd name="T79" fmla="*/ 711 h 1217"/>
                <a:gd name="T80" fmla="*/ 2306 w 3213"/>
                <a:gd name="T81" fmla="*/ 695 h 1217"/>
                <a:gd name="T82" fmla="*/ 1970 w 3213"/>
                <a:gd name="T83" fmla="*/ 723 h 1217"/>
                <a:gd name="T84" fmla="*/ 1923 w 3213"/>
                <a:gd name="T85" fmla="*/ 806 h 1217"/>
                <a:gd name="T86" fmla="*/ 2662 w 3213"/>
                <a:gd name="T87" fmla="*/ 811 h 1217"/>
                <a:gd name="T88" fmla="*/ 1765 w 3213"/>
                <a:gd name="T89" fmla="*/ 844 h 1217"/>
                <a:gd name="T90" fmla="*/ 739 w 3213"/>
                <a:gd name="T91" fmla="*/ 889 h 1217"/>
                <a:gd name="T92" fmla="*/ 1214 w 3213"/>
                <a:gd name="T93" fmla="*/ 933 h 1217"/>
                <a:gd name="T94" fmla="*/ 2733 w 3213"/>
                <a:gd name="T95" fmla="*/ 860 h 1217"/>
                <a:gd name="T96" fmla="*/ 697 w 3213"/>
                <a:gd name="T97" fmla="*/ 905 h 1217"/>
                <a:gd name="T98" fmla="*/ 1781 w 3213"/>
                <a:gd name="T99" fmla="*/ 938 h 1217"/>
                <a:gd name="T100" fmla="*/ 2523 w 3213"/>
                <a:gd name="T101" fmla="*/ 971 h 1217"/>
                <a:gd name="T102" fmla="*/ 2511 w 3213"/>
                <a:gd name="T103" fmla="*/ 962 h 1217"/>
                <a:gd name="T104" fmla="*/ 1349 w 3213"/>
                <a:gd name="T105" fmla="*/ 1011 h 1217"/>
                <a:gd name="T106" fmla="*/ 1944 w 3213"/>
                <a:gd name="T107" fmla="*/ 1016 h 1217"/>
                <a:gd name="T108" fmla="*/ 1559 w 3213"/>
                <a:gd name="T109" fmla="*/ 1044 h 1217"/>
                <a:gd name="T110" fmla="*/ 2301 w 3213"/>
                <a:gd name="T111" fmla="*/ 1028 h 1217"/>
                <a:gd name="T112" fmla="*/ 3061 w 3213"/>
                <a:gd name="T113" fmla="*/ 1033 h 1217"/>
                <a:gd name="T114" fmla="*/ 2306 w 3213"/>
                <a:gd name="T115" fmla="*/ 1016 h 1217"/>
                <a:gd name="T116" fmla="*/ 2230 w 3213"/>
                <a:gd name="T117" fmla="*/ 1028 h 1217"/>
                <a:gd name="T118" fmla="*/ 1961 w 3213"/>
                <a:gd name="T119" fmla="*/ 1044 h 1217"/>
                <a:gd name="T120" fmla="*/ 1755 w 3213"/>
                <a:gd name="T121" fmla="*/ 1127 h 1217"/>
                <a:gd name="T122" fmla="*/ 1939 w 3213"/>
                <a:gd name="T123" fmla="*/ 1210 h 1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13" h="1217">
                  <a:moveTo>
                    <a:pt x="10" y="12"/>
                  </a:moveTo>
                  <a:lnTo>
                    <a:pt x="0" y="12"/>
                  </a:lnTo>
                  <a:lnTo>
                    <a:pt x="0" y="0"/>
                  </a:lnTo>
                  <a:lnTo>
                    <a:pt x="10" y="12"/>
                  </a:lnTo>
                  <a:lnTo>
                    <a:pt x="10" y="12"/>
                  </a:lnTo>
                  <a:lnTo>
                    <a:pt x="10" y="12"/>
                  </a:lnTo>
                  <a:close/>
                  <a:moveTo>
                    <a:pt x="539" y="383"/>
                  </a:moveTo>
                  <a:lnTo>
                    <a:pt x="550" y="400"/>
                  </a:lnTo>
                  <a:lnTo>
                    <a:pt x="517" y="418"/>
                  </a:lnTo>
                  <a:lnTo>
                    <a:pt x="501" y="407"/>
                  </a:lnTo>
                  <a:lnTo>
                    <a:pt x="517" y="418"/>
                  </a:lnTo>
                  <a:lnTo>
                    <a:pt x="572" y="390"/>
                  </a:lnTo>
                  <a:lnTo>
                    <a:pt x="593" y="407"/>
                  </a:lnTo>
                  <a:lnTo>
                    <a:pt x="605" y="435"/>
                  </a:lnTo>
                  <a:lnTo>
                    <a:pt x="588" y="435"/>
                  </a:lnTo>
                  <a:lnTo>
                    <a:pt x="560" y="444"/>
                  </a:lnTo>
                  <a:lnTo>
                    <a:pt x="576" y="444"/>
                  </a:lnTo>
                  <a:lnTo>
                    <a:pt x="560" y="456"/>
                  </a:lnTo>
                  <a:lnTo>
                    <a:pt x="588" y="461"/>
                  </a:lnTo>
                  <a:lnTo>
                    <a:pt x="572" y="478"/>
                  </a:lnTo>
                  <a:lnTo>
                    <a:pt x="593" y="501"/>
                  </a:lnTo>
                  <a:lnTo>
                    <a:pt x="643" y="501"/>
                  </a:lnTo>
                  <a:lnTo>
                    <a:pt x="647" y="555"/>
                  </a:lnTo>
                  <a:lnTo>
                    <a:pt x="647" y="567"/>
                  </a:lnTo>
                  <a:lnTo>
                    <a:pt x="659" y="567"/>
                  </a:lnTo>
                  <a:lnTo>
                    <a:pt x="669" y="572"/>
                  </a:lnTo>
                  <a:lnTo>
                    <a:pt x="669" y="584"/>
                  </a:lnTo>
                  <a:lnTo>
                    <a:pt x="664" y="600"/>
                  </a:lnTo>
                  <a:lnTo>
                    <a:pt x="664" y="612"/>
                  </a:lnTo>
                  <a:lnTo>
                    <a:pt x="647" y="629"/>
                  </a:lnTo>
                  <a:lnTo>
                    <a:pt x="664" y="612"/>
                  </a:lnTo>
                  <a:lnTo>
                    <a:pt x="669" y="589"/>
                  </a:lnTo>
                  <a:lnTo>
                    <a:pt x="685" y="600"/>
                  </a:lnTo>
                  <a:lnTo>
                    <a:pt x="723" y="600"/>
                  </a:lnTo>
                  <a:lnTo>
                    <a:pt x="723" y="612"/>
                  </a:lnTo>
                  <a:lnTo>
                    <a:pt x="739" y="622"/>
                  </a:lnTo>
                  <a:lnTo>
                    <a:pt x="739" y="638"/>
                  </a:lnTo>
                  <a:lnTo>
                    <a:pt x="756" y="645"/>
                  </a:lnTo>
                  <a:lnTo>
                    <a:pt x="756" y="662"/>
                  </a:lnTo>
                  <a:lnTo>
                    <a:pt x="749" y="678"/>
                  </a:lnTo>
                  <a:lnTo>
                    <a:pt x="739" y="695"/>
                  </a:lnTo>
                  <a:lnTo>
                    <a:pt x="749" y="711"/>
                  </a:lnTo>
                  <a:lnTo>
                    <a:pt x="739" y="733"/>
                  </a:lnTo>
                  <a:lnTo>
                    <a:pt x="749" y="756"/>
                  </a:lnTo>
                  <a:lnTo>
                    <a:pt x="739" y="834"/>
                  </a:lnTo>
                  <a:lnTo>
                    <a:pt x="735" y="851"/>
                  </a:lnTo>
                  <a:lnTo>
                    <a:pt x="702" y="822"/>
                  </a:lnTo>
                  <a:lnTo>
                    <a:pt x="697" y="834"/>
                  </a:lnTo>
                  <a:lnTo>
                    <a:pt x="702" y="844"/>
                  </a:lnTo>
                  <a:lnTo>
                    <a:pt x="697" y="844"/>
                  </a:lnTo>
                  <a:lnTo>
                    <a:pt x="664" y="827"/>
                  </a:lnTo>
                  <a:lnTo>
                    <a:pt x="647" y="827"/>
                  </a:lnTo>
                  <a:lnTo>
                    <a:pt x="664" y="851"/>
                  </a:lnTo>
                  <a:lnTo>
                    <a:pt x="659" y="860"/>
                  </a:lnTo>
                  <a:lnTo>
                    <a:pt x="605" y="794"/>
                  </a:lnTo>
                  <a:lnTo>
                    <a:pt x="496" y="716"/>
                  </a:lnTo>
                  <a:lnTo>
                    <a:pt x="484" y="695"/>
                  </a:lnTo>
                  <a:lnTo>
                    <a:pt x="447" y="662"/>
                  </a:lnTo>
                  <a:lnTo>
                    <a:pt x="425" y="622"/>
                  </a:lnTo>
                  <a:lnTo>
                    <a:pt x="392" y="600"/>
                  </a:lnTo>
                  <a:lnTo>
                    <a:pt x="392" y="584"/>
                  </a:lnTo>
                  <a:lnTo>
                    <a:pt x="392" y="567"/>
                  </a:lnTo>
                  <a:lnTo>
                    <a:pt x="378" y="546"/>
                  </a:lnTo>
                  <a:lnTo>
                    <a:pt x="371" y="527"/>
                  </a:lnTo>
                  <a:lnTo>
                    <a:pt x="361" y="518"/>
                  </a:lnTo>
                  <a:lnTo>
                    <a:pt x="354" y="489"/>
                  </a:lnTo>
                  <a:lnTo>
                    <a:pt x="317" y="444"/>
                  </a:lnTo>
                  <a:lnTo>
                    <a:pt x="317" y="435"/>
                  </a:lnTo>
                  <a:lnTo>
                    <a:pt x="307" y="423"/>
                  </a:lnTo>
                  <a:lnTo>
                    <a:pt x="269" y="407"/>
                  </a:lnTo>
                  <a:lnTo>
                    <a:pt x="269" y="383"/>
                  </a:lnTo>
                  <a:lnTo>
                    <a:pt x="236" y="312"/>
                  </a:lnTo>
                  <a:lnTo>
                    <a:pt x="248" y="312"/>
                  </a:lnTo>
                  <a:lnTo>
                    <a:pt x="248" y="307"/>
                  </a:lnTo>
                  <a:lnTo>
                    <a:pt x="182" y="263"/>
                  </a:lnTo>
                  <a:lnTo>
                    <a:pt x="177" y="263"/>
                  </a:lnTo>
                  <a:lnTo>
                    <a:pt x="173" y="255"/>
                  </a:lnTo>
                  <a:lnTo>
                    <a:pt x="161" y="222"/>
                  </a:lnTo>
                  <a:lnTo>
                    <a:pt x="144" y="218"/>
                  </a:lnTo>
                  <a:lnTo>
                    <a:pt x="118" y="163"/>
                  </a:lnTo>
                  <a:lnTo>
                    <a:pt x="85" y="152"/>
                  </a:lnTo>
                  <a:lnTo>
                    <a:pt x="14" y="90"/>
                  </a:lnTo>
                  <a:lnTo>
                    <a:pt x="0" y="57"/>
                  </a:lnTo>
                  <a:lnTo>
                    <a:pt x="0" y="29"/>
                  </a:lnTo>
                  <a:lnTo>
                    <a:pt x="10" y="19"/>
                  </a:lnTo>
                  <a:lnTo>
                    <a:pt x="21" y="19"/>
                  </a:lnTo>
                  <a:lnTo>
                    <a:pt x="47" y="36"/>
                  </a:lnTo>
                  <a:lnTo>
                    <a:pt x="52" y="41"/>
                  </a:lnTo>
                  <a:lnTo>
                    <a:pt x="76" y="52"/>
                  </a:lnTo>
                  <a:lnTo>
                    <a:pt x="123" y="52"/>
                  </a:lnTo>
                  <a:lnTo>
                    <a:pt x="139" y="57"/>
                  </a:lnTo>
                  <a:lnTo>
                    <a:pt x="156" y="52"/>
                  </a:lnTo>
                  <a:lnTo>
                    <a:pt x="182" y="74"/>
                  </a:lnTo>
                  <a:lnTo>
                    <a:pt x="194" y="95"/>
                  </a:lnTo>
                  <a:lnTo>
                    <a:pt x="210" y="107"/>
                  </a:lnTo>
                  <a:lnTo>
                    <a:pt x="210" y="128"/>
                  </a:lnTo>
                  <a:lnTo>
                    <a:pt x="333" y="218"/>
                  </a:lnTo>
                  <a:lnTo>
                    <a:pt x="333" y="239"/>
                  </a:lnTo>
                  <a:lnTo>
                    <a:pt x="333" y="234"/>
                  </a:lnTo>
                  <a:lnTo>
                    <a:pt x="340" y="234"/>
                  </a:lnTo>
                  <a:lnTo>
                    <a:pt x="340" y="251"/>
                  </a:lnTo>
                  <a:lnTo>
                    <a:pt x="340" y="234"/>
                  </a:lnTo>
                  <a:lnTo>
                    <a:pt x="345" y="234"/>
                  </a:lnTo>
                  <a:lnTo>
                    <a:pt x="361" y="263"/>
                  </a:lnTo>
                  <a:lnTo>
                    <a:pt x="392" y="279"/>
                  </a:lnTo>
                  <a:lnTo>
                    <a:pt x="399" y="296"/>
                  </a:lnTo>
                  <a:lnTo>
                    <a:pt x="387" y="263"/>
                  </a:lnTo>
                  <a:lnTo>
                    <a:pt x="409" y="263"/>
                  </a:lnTo>
                  <a:lnTo>
                    <a:pt x="425" y="279"/>
                  </a:lnTo>
                  <a:lnTo>
                    <a:pt x="430" y="307"/>
                  </a:lnTo>
                  <a:lnTo>
                    <a:pt x="454" y="312"/>
                  </a:lnTo>
                  <a:lnTo>
                    <a:pt x="484" y="329"/>
                  </a:lnTo>
                  <a:lnTo>
                    <a:pt x="484" y="350"/>
                  </a:lnTo>
                  <a:lnTo>
                    <a:pt x="501" y="366"/>
                  </a:lnTo>
                  <a:lnTo>
                    <a:pt x="534" y="378"/>
                  </a:lnTo>
                  <a:lnTo>
                    <a:pt x="539" y="383"/>
                  </a:lnTo>
                  <a:lnTo>
                    <a:pt x="539" y="383"/>
                  </a:lnTo>
                  <a:lnTo>
                    <a:pt x="539" y="383"/>
                  </a:lnTo>
                  <a:close/>
                  <a:moveTo>
                    <a:pt x="2209" y="140"/>
                  </a:moveTo>
                  <a:lnTo>
                    <a:pt x="2213" y="123"/>
                  </a:lnTo>
                  <a:lnTo>
                    <a:pt x="2209" y="111"/>
                  </a:lnTo>
                  <a:lnTo>
                    <a:pt x="2209" y="95"/>
                  </a:lnTo>
                  <a:lnTo>
                    <a:pt x="2213" y="107"/>
                  </a:lnTo>
                  <a:lnTo>
                    <a:pt x="2225" y="123"/>
                  </a:lnTo>
                  <a:lnTo>
                    <a:pt x="2209" y="140"/>
                  </a:lnTo>
                  <a:lnTo>
                    <a:pt x="2209" y="140"/>
                  </a:lnTo>
                  <a:lnTo>
                    <a:pt x="2209" y="140"/>
                  </a:lnTo>
                  <a:close/>
                  <a:moveTo>
                    <a:pt x="1009" y="279"/>
                  </a:moveTo>
                  <a:lnTo>
                    <a:pt x="1004" y="291"/>
                  </a:lnTo>
                  <a:lnTo>
                    <a:pt x="1009" y="312"/>
                  </a:lnTo>
                  <a:lnTo>
                    <a:pt x="1075" y="366"/>
                  </a:lnTo>
                  <a:lnTo>
                    <a:pt x="1117" y="350"/>
                  </a:lnTo>
                  <a:lnTo>
                    <a:pt x="1167" y="362"/>
                  </a:lnTo>
                  <a:lnTo>
                    <a:pt x="1172" y="345"/>
                  </a:lnTo>
                  <a:lnTo>
                    <a:pt x="1181" y="345"/>
                  </a:lnTo>
                  <a:lnTo>
                    <a:pt x="1188" y="317"/>
                  </a:lnTo>
                  <a:lnTo>
                    <a:pt x="1205" y="312"/>
                  </a:lnTo>
                  <a:lnTo>
                    <a:pt x="1243" y="312"/>
                  </a:lnTo>
                  <a:lnTo>
                    <a:pt x="1252" y="329"/>
                  </a:lnTo>
                  <a:lnTo>
                    <a:pt x="1290" y="333"/>
                  </a:lnTo>
                  <a:lnTo>
                    <a:pt x="1311" y="317"/>
                  </a:lnTo>
                  <a:lnTo>
                    <a:pt x="1344" y="317"/>
                  </a:lnTo>
                  <a:lnTo>
                    <a:pt x="1361" y="329"/>
                  </a:lnTo>
                  <a:lnTo>
                    <a:pt x="1365" y="307"/>
                  </a:lnTo>
                  <a:lnTo>
                    <a:pt x="1377" y="291"/>
                  </a:lnTo>
                  <a:lnTo>
                    <a:pt x="1377" y="263"/>
                  </a:lnTo>
                  <a:lnTo>
                    <a:pt x="1403" y="251"/>
                  </a:lnTo>
                  <a:lnTo>
                    <a:pt x="1387" y="239"/>
                  </a:lnTo>
                  <a:lnTo>
                    <a:pt x="1398" y="218"/>
                  </a:lnTo>
                  <a:lnTo>
                    <a:pt x="1403" y="206"/>
                  </a:lnTo>
                  <a:lnTo>
                    <a:pt x="1420" y="206"/>
                  </a:lnTo>
                  <a:lnTo>
                    <a:pt x="1432" y="180"/>
                  </a:lnTo>
                  <a:lnTo>
                    <a:pt x="1432" y="163"/>
                  </a:lnTo>
                  <a:lnTo>
                    <a:pt x="1432" y="128"/>
                  </a:lnTo>
                  <a:lnTo>
                    <a:pt x="1441" y="111"/>
                  </a:lnTo>
                  <a:lnTo>
                    <a:pt x="1458" y="123"/>
                  </a:lnTo>
                  <a:lnTo>
                    <a:pt x="1469" y="111"/>
                  </a:lnTo>
                  <a:lnTo>
                    <a:pt x="1491" y="123"/>
                  </a:lnTo>
                  <a:lnTo>
                    <a:pt x="1545" y="111"/>
                  </a:lnTo>
                  <a:lnTo>
                    <a:pt x="1566" y="128"/>
                  </a:lnTo>
                  <a:lnTo>
                    <a:pt x="1550" y="128"/>
                  </a:lnTo>
                  <a:lnTo>
                    <a:pt x="1583" y="163"/>
                  </a:lnTo>
                  <a:lnTo>
                    <a:pt x="1576" y="168"/>
                  </a:lnTo>
                  <a:lnTo>
                    <a:pt x="1528" y="168"/>
                  </a:lnTo>
                  <a:lnTo>
                    <a:pt x="1538" y="168"/>
                  </a:lnTo>
                  <a:lnTo>
                    <a:pt x="1545" y="180"/>
                  </a:lnTo>
                  <a:lnTo>
                    <a:pt x="1559" y="180"/>
                  </a:lnTo>
                  <a:lnTo>
                    <a:pt x="1545" y="196"/>
                  </a:lnTo>
                  <a:lnTo>
                    <a:pt x="1566" y="206"/>
                  </a:lnTo>
                  <a:lnTo>
                    <a:pt x="1576" y="222"/>
                  </a:lnTo>
                  <a:lnTo>
                    <a:pt x="1583" y="222"/>
                  </a:lnTo>
                  <a:lnTo>
                    <a:pt x="1604" y="263"/>
                  </a:lnTo>
                  <a:lnTo>
                    <a:pt x="1592" y="279"/>
                  </a:lnTo>
                  <a:lnTo>
                    <a:pt x="1583" y="272"/>
                  </a:lnTo>
                  <a:lnTo>
                    <a:pt x="1592" y="296"/>
                  </a:lnTo>
                  <a:lnTo>
                    <a:pt x="1668" y="362"/>
                  </a:lnTo>
                  <a:lnTo>
                    <a:pt x="1651" y="366"/>
                  </a:lnTo>
                  <a:lnTo>
                    <a:pt x="1621" y="366"/>
                  </a:lnTo>
                  <a:lnTo>
                    <a:pt x="1597" y="362"/>
                  </a:lnTo>
                  <a:lnTo>
                    <a:pt x="1592" y="345"/>
                  </a:lnTo>
                  <a:lnTo>
                    <a:pt x="1597" y="366"/>
                  </a:lnTo>
                  <a:lnTo>
                    <a:pt x="1592" y="366"/>
                  </a:lnTo>
                  <a:lnTo>
                    <a:pt x="1576" y="378"/>
                  </a:lnTo>
                  <a:lnTo>
                    <a:pt x="1559" y="423"/>
                  </a:lnTo>
                  <a:lnTo>
                    <a:pt x="1559" y="435"/>
                  </a:lnTo>
                  <a:lnTo>
                    <a:pt x="1559" y="444"/>
                  </a:lnTo>
                  <a:lnTo>
                    <a:pt x="1559" y="461"/>
                  </a:lnTo>
                  <a:lnTo>
                    <a:pt x="1566" y="456"/>
                  </a:lnTo>
                  <a:lnTo>
                    <a:pt x="1566" y="489"/>
                  </a:lnTo>
                  <a:lnTo>
                    <a:pt x="1559" y="489"/>
                  </a:lnTo>
                  <a:lnTo>
                    <a:pt x="1545" y="489"/>
                  </a:lnTo>
                  <a:lnTo>
                    <a:pt x="1521" y="518"/>
                  </a:lnTo>
                  <a:lnTo>
                    <a:pt x="1512" y="518"/>
                  </a:lnTo>
                  <a:lnTo>
                    <a:pt x="1507" y="501"/>
                  </a:lnTo>
                  <a:lnTo>
                    <a:pt x="1507" y="527"/>
                  </a:lnTo>
                  <a:lnTo>
                    <a:pt x="1491" y="534"/>
                  </a:lnTo>
                  <a:lnTo>
                    <a:pt x="1491" y="546"/>
                  </a:lnTo>
                  <a:lnTo>
                    <a:pt x="1474" y="555"/>
                  </a:lnTo>
                  <a:lnTo>
                    <a:pt x="1491" y="555"/>
                  </a:lnTo>
                  <a:lnTo>
                    <a:pt x="1491" y="572"/>
                  </a:lnTo>
                  <a:lnTo>
                    <a:pt x="1484" y="584"/>
                  </a:lnTo>
                  <a:lnTo>
                    <a:pt x="1495" y="589"/>
                  </a:lnTo>
                  <a:lnTo>
                    <a:pt x="1491" y="612"/>
                  </a:lnTo>
                  <a:lnTo>
                    <a:pt x="1474" y="612"/>
                  </a:lnTo>
                  <a:lnTo>
                    <a:pt x="1484" y="629"/>
                  </a:lnTo>
                  <a:lnTo>
                    <a:pt x="1474" y="645"/>
                  </a:lnTo>
                  <a:lnTo>
                    <a:pt x="1469" y="629"/>
                  </a:lnTo>
                  <a:lnTo>
                    <a:pt x="1474" y="655"/>
                  </a:lnTo>
                  <a:lnTo>
                    <a:pt x="1453" y="683"/>
                  </a:lnTo>
                  <a:lnTo>
                    <a:pt x="1365" y="733"/>
                  </a:lnTo>
                  <a:lnTo>
                    <a:pt x="1361" y="723"/>
                  </a:lnTo>
                  <a:lnTo>
                    <a:pt x="1361" y="695"/>
                  </a:lnTo>
                  <a:lnTo>
                    <a:pt x="1349" y="678"/>
                  </a:lnTo>
                  <a:lnTo>
                    <a:pt x="1323" y="666"/>
                  </a:lnTo>
                  <a:lnTo>
                    <a:pt x="1290" y="678"/>
                  </a:lnTo>
                  <a:lnTo>
                    <a:pt x="1290" y="655"/>
                  </a:lnTo>
                  <a:lnTo>
                    <a:pt x="1273" y="662"/>
                  </a:lnTo>
                  <a:lnTo>
                    <a:pt x="1252" y="645"/>
                  </a:lnTo>
                  <a:lnTo>
                    <a:pt x="1243" y="655"/>
                  </a:lnTo>
                  <a:lnTo>
                    <a:pt x="1243" y="662"/>
                  </a:lnTo>
                  <a:lnTo>
                    <a:pt x="1219" y="678"/>
                  </a:lnTo>
                  <a:lnTo>
                    <a:pt x="1214" y="678"/>
                  </a:lnTo>
                  <a:lnTo>
                    <a:pt x="1188" y="666"/>
                  </a:lnTo>
                  <a:lnTo>
                    <a:pt x="1167" y="683"/>
                  </a:lnTo>
                  <a:lnTo>
                    <a:pt x="1160" y="683"/>
                  </a:lnTo>
                  <a:lnTo>
                    <a:pt x="1167" y="645"/>
                  </a:lnTo>
                  <a:lnTo>
                    <a:pt x="1160" y="629"/>
                  </a:lnTo>
                  <a:lnTo>
                    <a:pt x="1150" y="638"/>
                  </a:lnTo>
                  <a:lnTo>
                    <a:pt x="1143" y="645"/>
                  </a:lnTo>
                  <a:lnTo>
                    <a:pt x="1127" y="638"/>
                  </a:lnTo>
                  <a:lnTo>
                    <a:pt x="1106" y="655"/>
                  </a:lnTo>
                  <a:lnTo>
                    <a:pt x="1089" y="645"/>
                  </a:lnTo>
                  <a:lnTo>
                    <a:pt x="1096" y="638"/>
                  </a:lnTo>
                  <a:lnTo>
                    <a:pt x="1080" y="655"/>
                  </a:lnTo>
                  <a:lnTo>
                    <a:pt x="1075" y="638"/>
                  </a:lnTo>
                  <a:lnTo>
                    <a:pt x="1051" y="645"/>
                  </a:lnTo>
                  <a:lnTo>
                    <a:pt x="1042" y="572"/>
                  </a:lnTo>
                  <a:lnTo>
                    <a:pt x="1025" y="555"/>
                  </a:lnTo>
                  <a:lnTo>
                    <a:pt x="1037" y="551"/>
                  </a:lnTo>
                  <a:lnTo>
                    <a:pt x="1042" y="527"/>
                  </a:lnTo>
                  <a:lnTo>
                    <a:pt x="1021" y="494"/>
                  </a:lnTo>
                  <a:lnTo>
                    <a:pt x="983" y="489"/>
                  </a:lnTo>
                  <a:lnTo>
                    <a:pt x="983" y="478"/>
                  </a:lnTo>
                  <a:lnTo>
                    <a:pt x="1004" y="478"/>
                  </a:lnTo>
                  <a:lnTo>
                    <a:pt x="971" y="461"/>
                  </a:lnTo>
                  <a:lnTo>
                    <a:pt x="966" y="444"/>
                  </a:lnTo>
                  <a:lnTo>
                    <a:pt x="983" y="440"/>
                  </a:lnTo>
                  <a:lnTo>
                    <a:pt x="971" y="423"/>
                  </a:lnTo>
                  <a:lnTo>
                    <a:pt x="966" y="407"/>
                  </a:lnTo>
                  <a:lnTo>
                    <a:pt x="954" y="407"/>
                  </a:lnTo>
                  <a:lnTo>
                    <a:pt x="954" y="383"/>
                  </a:lnTo>
                  <a:lnTo>
                    <a:pt x="954" y="366"/>
                  </a:lnTo>
                  <a:lnTo>
                    <a:pt x="966" y="362"/>
                  </a:lnTo>
                  <a:lnTo>
                    <a:pt x="966" y="345"/>
                  </a:lnTo>
                  <a:lnTo>
                    <a:pt x="983" y="329"/>
                  </a:lnTo>
                  <a:lnTo>
                    <a:pt x="966" y="345"/>
                  </a:lnTo>
                  <a:lnTo>
                    <a:pt x="971" y="317"/>
                  </a:lnTo>
                  <a:lnTo>
                    <a:pt x="983" y="307"/>
                  </a:lnTo>
                  <a:lnTo>
                    <a:pt x="987" y="291"/>
                  </a:lnTo>
                  <a:lnTo>
                    <a:pt x="1009" y="279"/>
                  </a:lnTo>
                  <a:lnTo>
                    <a:pt x="1009" y="279"/>
                  </a:lnTo>
                  <a:lnTo>
                    <a:pt x="1009" y="279"/>
                  </a:lnTo>
                  <a:close/>
                  <a:moveTo>
                    <a:pt x="895" y="152"/>
                  </a:moveTo>
                  <a:lnTo>
                    <a:pt x="895" y="140"/>
                  </a:lnTo>
                  <a:lnTo>
                    <a:pt x="912" y="128"/>
                  </a:lnTo>
                  <a:lnTo>
                    <a:pt x="917" y="140"/>
                  </a:lnTo>
                  <a:lnTo>
                    <a:pt x="917" y="163"/>
                  </a:lnTo>
                  <a:lnTo>
                    <a:pt x="900" y="163"/>
                  </a:lnTo>
                  <a:lnTo>
                    <a:pt x="912" y="152"/>
                  </a:lnTo>
                  <a:lnTo>
                    <a:pt x="895" y="152"/>
                  </a:lnTo>
                  <a:lnTo>
                    <a:pt x="895" y="152"/>
                  </a:lnTo>
                  <a:lnTo>
                    <a:pt x="895" y="152"/>
                  </a:lnTo>
                  <a:close/>
                  <a:moveTo>
                    <a:pt x="1576" y="128"/>
                  </a:moveTo>
                  <a:lnTo>
                    <a:pt x="1592" y="128"/>
                  </a:lnTo>
                  <a:lnTo>
                    <a:pt x="1592" y="140"/>
                  </a:lnTo>
                  <a:lnTo>
                    <a:pt x="1576" y="128"/>
                  </a:lnTo>
                  <a:lnTo>
                    <a:pt x="1576" y="128"/>
                  </a:lnTo>
                  <a:lnTo>
                    <a:pt x="1576" y="128"/>
                  </a:lnTo>
                  <a:close/>
                  <a:moveTo>
                    <a:pt x="1566" y="128"/>
                  </a:moveTo>
                  <a:lnTo>
                    <a:pt x="1576" y="140"/>
                  </a:lnTo>
                  <a:lnTo>
                    <a:pt x="1566" y="140"/>
                  </a:lnTo>
                  <a:lnTo>
                    <a:pt x="1566" y="128"/>
                  </a:lnTo>
                  <a:lnTo>
                    <a:pt x="1566" y="128"/>
                  </a:lnTo>
                  <a:lnTo>
                    <a:pt x="1566" y="128"/>
                  </a:lnTo>
                  <a:close/>
                  <a:moveTo>
                    <a:pt x="2209" y="152"/>
                  </a:moveTo>
                  <a:lnTo>
                    <a:pt x="2197" y="140"/>
                  </a:lnTo>
                  <a:lnTo>
                    <a:pt x="2209" y="147"/>
                  </a:lnTo>
                  <a:lnTo>
                    <a:pt x="2209" y="152"/>
                  </a:lnTo>
                  <a:lnTo>
                    <a:pt x="2209" y="152"/>
                  </a:lnTo>
                  <a:lnTo>
                    <a:pt x="2209" y="152"/>
                  </a:lnTo>
                  <a:close/>
                  <a:moveTo>
                    <a:pt x="2143" y="185"/>
                  </a:moveTo>
                  <a:lnTo>
                    <a:pt x="2133" y="163"/>
                  </a:lnTo>
                  <a:lnTo>
                    <a:pt x="2143" y="163"/>
                  </a:lnTo>
                  <a:lnTo>
                    <a:pt x="2154" y="180"/>
                  </a:lnTo>
                  <a:lnTo>
                    <a:pt x="2143" y="185"/>
                  </a:lnTo>
                  <a:lnTo>
                    <a:pt x="2143" y="185"/>
                  </a:lnTo>
                  <a:lnTo>
                    <a:pt x="2143" y="185"/>
                  </a:lnTo>
                  <a:close/>
                  <a:moveTo>
                    <a:pt x="1545" y="168"/>
                  </a:moveTo>
                  <a:lnTo>
                    <a:pt x="1559" y="180"/>
                  </a:lnTo>
                  <a:lnTo>
                    <a:pt x="1545" y="180"/>
                  </a:lnTo>
                  <a:lnTo>
                    <a:pt x="1545" y="168"/>
                  </a:lnTo>
                  <a:lnTo>
                    <a:pt x="1545" y="168"/>
                  </a:lnTo>
                  <a:lnTo>
                    <a:pt x="1545" y="168"/>
                  </a:lnTo>
                  <a:close/>
                  <a:moveTo>
                    <a:pt x="1566" y="180"/>
                  </a:moveTo>
                  <a:lnTo>
                    <a:pt x="1576" y="185"/>
                  </a:lnTo>
                  <a:lnTo>
                    <a:pt x="1566" y="196"/>
                  </a:lnTo>
                  <a:lnTo>
                    <a:pt x="1566" y="180"/>
                  </a:lnTo>
                  <a:lnTo>
                    <a:pt x="1566" y="180"/>
                  </a:lnTo>
                  <a:lnTo>
                    <a:pt x="1566" y="180"/>
                  </a:lnTo>
                  <a:close/>
                  <a:moveTo>
                    <a:pt x="773" y="196"/>
                  </a:moveTo>
                  <a:lnTo>
                    <a:pt x="773" y="185"/>
                  </a:lnTo>
                  <a:lnTo>
                    <a:pt x="773" y="196"/>
                  </a:lnTo>
                  <a:lnTo>
                    <a:pt x="773" y="196"/>
                  </a:lnTo>
                  <a:lnTo>
                    <a:pt x="773" y="196"/>
                  </a:lnTo>
                  <a:close/>
                  <a:moveTo>
                    <a:pt x="1559" y="185"/>
                  </a:moveTo>
                  <a:lnTo>
                    <a:pt x="1559" y="196"/>
                  </a:lnTo>
                  <a:lnTo>
                    <a:pt x="1559" y="185"/>
                  </a:lnTo>
                  <a:lnTo>
                    <a:pt x="1559" y="185"/>
                  </a:lnTo>
                  <a:lnTo>
                    <a:pt x="1559" y="185"/>
                  </a:lnTo>
                  <a:close/>
                  <a:moveTo>
                    <a:pt x="773" y="201"/>
                  </a:moveTo>
                  <a:lnTo>
                    <a:pt x="773" y="196"/>
                  </a:lnTo>
                  <a:lnTo>
                    <a:pt x="773" y="201"/>
                  </a:lnTo>
                  <a:lnTo>
                    <a:pt x="773" y="201"/>
                  </a:lnTo>
                  <a:lnTo>
                    <a:pt x="773" y="201"/>
                  </a:lnTo>
                  <a:close/>
                  <a:moveTo>
                    <a:pt x="735" y="222"/>
                  </a:moveTo>
                  <a:lnTo>
                    <a:pt x="735" y="206"/>
                  </a:lnTo>
                  <a:lnTo>
                    <a:pt x="739" y="218"/>
                  </a:lnTo>
                  <a:lnTo>
                    <a:pt x="735" y="222"/>
                  </a:lnTo>
                  <a:lnTo>
                    <a:pt x="735" y="222"/>
                  </a:lnTo>
                  <a:lnTo>
                    <a:pt x="735" y="222"/>
                  </a:lnTo>
                  <a:close/>
                  <a:moveTo>
                    <a:pt x="950" y="218"/>
                  </a:moveTo>
                  <a:lnTo>
                    <a:pt x="954" y="206"/>
                  </a:lnTo>
                  <a:lnTo>
                    <a:pt x="954" y="218"/>
                  </a:lnTo>
                  <a:lnTo>
                    <a:pt x="950" y="218"/>
                  </a:lnTo>
                  <a:lnTo>
                    <a:pt x="950" y="218"/>
                  </a:lnTo>
                  <a:lnTo>
                    <a:pt x="950" y="218"/>
                  </a:lnTo>
                  <a:close/>
                  <a:moveTo>
                    <a:pt x="85" y="255"/>
                  </a:moveTo>
                  <a:lnTo>
                    <a:pt x="76" y="255"/>
                  </a:lnTo>
                  <a:lnTo>
                    <a:pt x="52" y="239"/>
                  </a:lnTo>
                  <a:lnTo>
                    <a:pt x="38" y="234"/>
                  </a:lnTo>
                  <a:lnTo>
                    <a:pt x="31" y="222"/>
                  </a:lnTo>
                  <a:lnTo>
                    <a:pt x="38" y="218"/>
                  </a:lnTo>
                  <a:lnTo>
                    <a:pt x="47" y="218"/>
                  </a:lnTo>
                  <a:lnTo>
                    <a:pt x="85" y="251"/>
                  </a:lnTo>
                  <a:lnTo>
                    <a:pt x="85" y="255"/>
                  </a:lnTo>
                  <a:lnTo>
                    <a:pt x="85" y="255"/>
                  </a:lnTo>
                  <a:lnTo>
                    <a:pt x="85" y="255"/>
                  </a:lnTo>
                  <a:close/>
                  <a:moveTo>
                    <a:pt x="2117" y="234"/>
                  </a:moveTo>
                  <a:lnTo>
                    <a:pt x="2117" y="239"/>
                  </a:lnTo>
                  <a:lnTo>
                    <a:pt x="2117" y="222"/>
                  </a:lnTo>
                  <a:lnTo>
                    <a:pt x="2117" y="234"/>
                  </a:lnTo>
                  <a:lnTo>
                    <a:pt x="2117" y="234"/>
                  </a:lnTo>
                  <a:lnTo>
                    <a:pt x="2117" y="234"/>
                  </a:lnTo>
                  <a:close/>
                  <a:moveTo>
                    <a:pt x="2317" y="279"/>
                  </a:moveTo>
                  <a:lnTo>
                    <a:pt x="2317" y="263"/>
                  </a:lnTo>
                  <a:lnTo>
                    <a:pt x="2332" y="239"/>
                  </a:lnTo>
                  <a:lnTo>
                    <a:pt x="2339" y="239"/>
                  </a:lnTo>
                  <a:lnTo>
                    <a:pt x="2348" y="251"/>
                  </a:lnTo>
                  <a:lnTo>
                    <a:pt x="2339" y="263"/>
                  </a:lnTo>
                  <a:lnTo>
                    <a:pt x="2332" y="279"/>
                  </a:lnTo>
                  <a:lnTo>
                    <a:pt x="2317" y="279"/>
                  </a:lnTo>
                  <a:lnTo>
                    <a:pt x="2317" y="279"/>
                  </a:lnTo>
                  <a:lnTo>
                    <a:pt x="2317" y="279"/>
                  </a:lnTo>
                  <a:close/>
                  <a:moveTo>
                    <a:pt x="144" y="279"/>
                  </a:moveTo>
                  <a:lnTo>
                    <a:pt x="128" y="263"/>
                  </a:lnTo>
                  <a:lnTo>
                    <a:pt x="139" y="263"/>
                  </a:lnTo>
                  <a:lnTo>
                    <a:pt x="144" y="279"/>
                  </a:lnTo>
                  <a:lnTo>
                    <a:pt x="144" y="279"/>
                  </a:lnTo>
                  <a:lnTo>
                    <a:pt x="144" y="279"/>
                  </a:lnTo>
                  <a:close/>
                  <a:moveTo>
                    <a:pt x="2284" y="366"/>
                  </a:moveTo>
                  <a:lnTo>
                    <a:pt x="2294" y="366"/>
                  </a:lnTo>
                  <a:lnTo>
                    <a:pt x="2294" y="350"/>
                  </a:lnTo>
                  <a:lnTo>
                    <a:pt x="2306" y="345"/>
                  </a:lnTo>
                  <a:lnTo>
                    <a:pt x="2306" y="329"/>
                  </a:lnTo>
                  <a:lnTo>
                    <a:pt x="2332" y="317"/>
                  </a:lnTo>
                  <a:lnTo>
                    <a:pt x="2348" y="312"/>
                  </a:lnTo>
                  <a:lnTo>
                    <a:pt x="2348" y="350"/>
                  </a:lnTo>
                  <a:lnTo>
                    <a:pt x="2317" y="366"/>
                  </a:lnTo>
                  <a:lnTo>
                    <a:pt x="2322" y="383"/>
                  </a:lnTo>
                  <a:lnTo>
                    <a:pt x="2348" y="390"/>
                  </a:lnTo>
                  <a:lnTo>
                    <a:pt x="2348" y="400"/>
                  </a:lnTo>
                  <a:lnTo>
                    <a:pt x="2360" y="418"/>
                  </a:lnTo>
                  <a:lnTo>
                    <a:pt x="2301" y="390"/>
                  </a:lnTo>
                  <a:lnTo>
                    <a:pt x="2294" y="400"/>
                  </a:lnTo>
                  <a:lnTo>
                    <a:pt x="2294" y="407"/>
                  </a:lnTo>
                  <a:lnTo>
                    <a:pt x="2294" y="435"/>
                  </a:lnTo>
                  <a:lnTo>
                    <a:pt x="2301" y="456"/>
                  </a:lnTo>
                  <a:lnTo>
                    <a:pt x="2322" y="494"/>
                  </a:lnTo>
                  <a:lnTo>
                    <a:pt x="2301" y="478"/>
                  </a:lnTo>
                  <a:lnTo>
                    <a:pt x="2284" y="456"/>
                  </a:lnTo>
                  <a:lnTo>
                    <a:pt x="2280" y="444"/>
                  </a:lnTo>
                  <a:lnTo>
                    <a:pt x="2280" y="418"/>
                  </a:lnTo>
                  <a:lnTo>
                    <a:pt x="2263" y="383"/>
                  </a:lnTo>
                  <a:lnTo>
                    <a:pt x="2268" y="366"/>
                  </a:lnTo>
                  <a:lnTo>
                    <a:pt x="2263" y="366"/>
                  </a:lnTo>
                  <a:lnTo>
                    <a:pt x="2263" y="350"/>
                  </a:lnTo>
                  <a:lnTo>
                    <a:pt x="2251" y="350"/>
                  </a:lnTo>
                  <a:lnTo>
                    <a:pt x="2268" y="307"/>
                  </a:lnTo>
                  <a:lnTo>
                    <a:pt x="2294" y="272"/>
                  </a:lnTo>
                  <a:lnTo>
                    <a:pt x="2301" y="272"/>
                  </a:lnTo>
                  <a:lnTo>
                    <a:pt x="2284" y="291"/>
                  </a:lnTo>
                  <a:lnTo>
                    <a:pt x="2301" y="307"/>
                  </a:lnTo>
                  <a:lnTo>
                    <a:pt x="2301" y="329"/>
                  </a:lnTo>
                  <a:lnTo>
                    <a:pt x="2268" y="362"/>
                  </a:lnTo>
                  <a:lnTo>
                    <a:pt x="2284" y="366"/>
                  </a:lnTo>
                  <a:lnTo>
                    <a:pt x="2284" y="366"/>
                  </a:lnTo>
                  <a:lnTo>
                    <a:pt x="2284" y="366"/>
                  </a:lnTo>
                  <a:close/>
                  <a:moveTo>
                    <a:pt x="454" y="291"/>
                  </a:moveTo>
                  <a:lnTo>
                    <a:pt x="447" y="307"/>
                  </a:lnTo>
                  <a:lnTo>
                    <a:pt x="430" y="307"/>
                  </a:lnTo>
                  <a:lnTo>
                    <a:pt x="430" y="291"/>
                  </a:lnTo>
                  <a:lnTo>
                    <a:pt x="430" y="279"/>
                  </a:lnTo>
                  <a:lnTo>
                    <a:pt x="447" y="272"/>
                  </a:lnTo>
                  <a:lnTo>
                    <a:pt x="454" y="291"/>
                  </a:lnTo>
                  <a:lnTo>
                    <a:pt x="454" y="291"/>
                  </a:lnTo>
                  <a:lnTo>
                    <a:pt x="454" y="291"/>
                  </a:lnTo>
                  <a:close/>
                  <a:moveTo>
                    <a:pt x="1873" y="778"/>
                  </a:moveTo>
                  <a:lnTo>
                    <a:pt x="1852" y="778"/>
                  </a:lnTo>
                  <a:lnTo>
                    <a:pt x="1835" y="766"/>
                  </a:lnTo>
                  <a:lnTo>
                    <a:pt x="1852" y="723"/>
                  </a:lnTo>
                  <a:lnTo>
                    <a:pt x="1831" y="716"/>
                  </a:lnTo>
                  <a:lnTo>
                    <a:pt x="1798" y="683"/>
                  </a:lnTo>
                  <a:lnTo>
                    <a:pt x="1798" y="666"/>
                  </a:lnTo>
                  <a:lnTo>
                    <a:pt x="1814" y="662"/>
                  </a:lnTo>
                  <a:lnTo>
                    <a:pt x="1814" y="629"/>
                  </a:lnTo>
                  <a:lnTo>
                    <a:pt x="1809" y="622"/>
                  </a:lnTo>
                  <a:lnTo>
                    <a:pt x="1793" y="612"/>
                  </a:lnTo>
                  <a:lnTo>
                    <a:pt x="1755" y="645"/>
                  </a:lnTo>
                  <a:lnTo>
                    <a:pt x="1765" y="662"/>
                  </a:lnTo>
                  <a:lnTo>
                    <a:pt x="1765" y="695"/>
                  </a:lnTo>
                  <a:lnTo>
                    <a:pt x="1760" y="723"/>
                  </a:lnTo>
                  <a:lnTo>
                    <a:pt x="1765" y="766"/>
                  </a:lnTo>
                  <a:lnTo>
                    <a:pt x="1755" y="794"/>
                  </a:lnTo>
                  <a:lnTo>
                    <a:pt x="1765" y="834"/>
                  </a:lnTo>
                  <a:lnTo>
                    <a:pt x="1760" y="827"/>
                  </a:lnTo>
                  <a:lnTo>
                    <a:pt x="1743" y="834"/>
                  </a:lnTo>
                  <a:lnTo>
                    <a:pt x="1727" y="827"/>
                  </a:lnTo>
                  <a:lnTo>
                    <a:pt x="1722" y="844"/>
                  </a:lnTo>
                  <a:lnTo>
                    <a:pt x="1710" y="844"/>
                  </a:lnTo>
                  <a:lnTo>
                    <a:pt x="1689" y="822"/>
                  </a:lnTo>
                  <a:lnTo>
                    <a:pt x="1706" y="740"/>
                  </a:lnTo>
                  <a:lnTo>
                    <a:pt x="1706" y="716"/>
                  </a:lnTo>
                  <a:lnTo>
                    <a:pt x="1701" y="695"/>
                  </a:lnTo>
                  <a:lnTo>
                    <a:pt x="1706" y="683"/>
                  </a:lnTo>
                  <a:lnTo>
                    <a:pt x="1689" y="678"/>
                  </a:lnTo>
                  <a:lnTo>
                    <a:pt x="1658" y="683"/>
                  </a:lnTo>
                  <a:lnTo>
                    <a:pt x="1651" y="666"/>
                  </a:lnTo>
                  <a:lnTo>
                    <a:pt x="1658" y="638"/>
                  </a:lnTo>
                  <a:lnTo>
                    <a:pt x="1651" y="638"/>
                  </a:lnTo>
                  <a:lnTo>
                    <a:pt x="1651" y="629"/>
                  </a:lnTo>
                  <a:lnTo>
                    <a:pt x="1651" y="612"/>
                  </a:lnTo>
                  <a:lnTo>
                    <a:pt x="1658" y="622"/>
                  </a:lnTo>
                  <a:lnTo>
                    <a:pt x="1672" y="605"/>
                  </a:lnTo>
                  <a:lnTo>
                    <a:pt x="1684" y="572"/>
                  </a:lnTo>
                  <a:lnTo>
                    <a:pt x="1689" y="567"/>
                  </a:lnTo>
                  <a:lnTo>
                    <a:pt x="1689" y="518"/>
                  </a:lnTo>
                  <a:lnTo>
                    <a:pt x="1706" y="494"/>
                  </a:lnTo>
                  <a:lnTo>
                    <a:pt x="1710" y="478"/>
                  </a:lnTo>
                  <a:lnTo>
                    <a:pt x="1727" y="489"/>
                  </a:lnTo>
                  <a:lnTo>
                    <a:pt x="1722" y="461"/>
                  </a:lnTo>
                  <a:lnTo>
                    <a:pt x="1722" y="440"/>
                  </a:lnTo>
                  <a:lnTo>
                    <a:pt x="1710" y="440"/>
                  </a:lnTo>
                  <a:lnTo>
                    <a:pt x="1706" y="435"/>
                  </a:lnTo>
                  <a:lnTo>
                    <a:pt x="1722" y="440"/>
                  </a:lnTo>
                  <a:lnTo>
                    <a:pt x="1727" y="423"/>
                  </a:lnTo>
                  <a:lnTo>
                    <a:pt x="1722" y="418"/>
                  </a:lnTo>
                  <a:lnTo>
                    <a:pt x="1727" y="390"/>
                  </a:lnTo>
                  <a:lnTo>
                    <a:pt x="1739" y="390"/>
                  </a:lnTo>
                  <a:lnTo>
                    <a:pt x="1739" y="378"/>
                  </a:lnTo>
                  <a:lnTo>
                    <a:pt x="1755" y="366"/>
                  </a:lnTo>
                  <a:lnTo>
                    <a:pt x="1760" y="362"/>
                  </a:lnTo>
                  <a:lnTo>
                    <a:pt x="1760" y="366"/>
                  </a:lnTo>
                  <a:lnTo>
                    <a:pt x="1776" y="378"/>
                  </a:lnTo>
                  <a:lnTo>
                    <a:pt x="1793" y="350"/>
                  </a:lnTo>
                  <a:lnTo>
                    <a:pt x="1793" y="333"/>
                  </a:lnTo>
                  <a:lnTo>
                    <a:pt x="1835" y="333"/>
                  </a:lnTo>
                  <a:lnTo>
                    <a:pt x="1847" y="350"/>
                  </a:lnTo>
                  <a:lnTo>
                    <a:pt x="1869" y="350"/>
                  </a:lnTo>
                  <a:lnTo>
                    <a:pt x="1873" y="350"/>
                  </a:lnTo>
                  <a:lnTo>
                    <a:pt x="1906" y="362"/>
                  </a:lnTo>
                  <a:lnTo>
                    <a:pt x="1939" y="366"/>
                  </a:lnTo>
                  <a:lnTo>
                    <a:pt x="1944" y="362"/>
                  </a:lnTo>
                  <a:lnTo>
                    <a:pt x="1961" y="362"/>
                  </a:lnTo>
                  <a:lnTo>
                    <a:pt x="2015" y="366"/>
                  </a:lnTo>
                  <a:lnTo>
                    <a:pt x="2036" y="350"/>
                  </a:lnTo>
                  <a:lnTo>
                    <a:pt x="2046" y="345"/>
                  </a:lnTo>
                  <a:lnTo>
                    <a:pt x="2062" y="345"/>
                  </a:lnTo>
                  <a:lnTo>
                    <a:pt x="2053" y="329"/>
                  </a:lnTo>
                  <a:lnTo>
                    <a:pt x="2079" y="317"/>
                  </a:lnTo>
                  <a:lnTo>
                    <a:pt x="2079" y="312"/>
                  </a:lnTo>
                  <a:lnTo>
                    <a:pt x="2084" y="307"/>
                  </a:lnTo>
                  <a:lnTo>
                    <a:pt x="2100" y="307"/>
                  </a:lnTo>
                  <a:lnTo>
                    <a:pt x="2105" y="317"/>
                  </a:lnTo>
                  <a:lnTo>
                    <a:pt x="2091" y="329"/>
                  </a:lnTo>
                  <a:lnTo>
                    <a:pt x="2079" y="362"/>
                  </a:lnTo>
                  <a:lnTo>
                    <a:pt x="2036" y="400"/>
                  </a:lnTo>
                  <a:lnTo>
                    <a:pt x="1991" y="407"/>
                  </a:lnTo>
                  <a:lnTo>
                    <a:pt x="1970" y="407"/>
                  </a:lnTo>
                  <a:lnTo>
                    <a:pt x="1954" y="390"/>
                  </a:lnTo>
                  <a:lnTo>
                    <a:pt x="1864" y="400"/>
                  </a:lnTo>
                  <a:lnTo>
                    <a:pt x="1847" y="390"/>
                  </a:lnTo>
                  <a:lnTo>
                    <a:pt x="1814" y="400"/>
                  </a:lnTo>
                  <a:lnTo>
                    <a:pt x="1776" y="390"/>
                  </a:lnTo>
                  <a:lnTo>
                    <a:pt x="1760" y="390"/>
                  </a:lnTo>
                  <a:lnTo>
                    <a:pt x="1743" y="418"/>
                  </a:lnTo>
                  <a:lnTo>
                    <a:pt x="1739" y="440"/>
                  </a:lnTo>
                  <a:lnTo>
                    <a:pt x="1743" y="473"/>
                  </a:lnTo>
                  <a:lnTo>
                    <a:pt x="1755" y="494"/>
                  </a:lnTo>
                  <a:lnTo>
                    <a:pt x="1776" y="501"/>
                  </a:lnTo>
                  <a:lnTo>
                    <a:pt x="1781" y="527"/>
                  </a:lnTo>
                  <a:lnTo>
                    <a:pt x="1793" y="527"/>
                  </a:lnTo>
                  <a:lnTo>
                    <a:pt x="1814" y="534"/>
                  </a:lnTo>
                  <a:lnTo>
                    <a:pt x="1835" y="494"/>
                  </a:lnTo>
                  <a:lnTo>
                    <a:pt x="1852" y="489"/>
                  </a:lnTo>
                  <a:lnTo>
                    <a:pt x="1852" y="494"/>
                  </a:lnTo>
                  <a:lnTo>
                    <a:pt x="1869" y="494"/>
                  </a:lnTo>
                  <a:lnTo>
                    <a:pt x="1885" y="494"/>
                  </a:lnTo>
                  <a:lnTo>
                    <a:pt x="1890" y="489"/>
                  </a:lnTo>
                  <a:lnTo>
                    <a:pt x="1939" y="489"/>
                  </a:lnTo>
                  <a:lnTo>
                    <a:pt x="1944" y="478"/>
                  </a:lnTo>
                  <a:lnTo>
                    <a:pt x="1928" y="478"/>
                  </a:lnTo>
                  <a:lnTo>
                    <a:pt x="1954" y="473"/>
                  </a:lnTo>
                  <a:lnTo>
                    <a:pt x="1970" y="473"/>
                  </a:lnTo>
                  <a:lnTo>
                    <a:pt x="1977" y="489"/>
                  </a:lnTo>
                  <a:lnTo>
                    <a:pt x="1970" y="501"/>
                  </a:lnTo>
                  <a:lnTo>
                    <a:pt x="1961" y="494"/>
                  </a:lnTo>
                  <a:lnTo>
                    <a:pt x="1939" y="494"/>
                  </a:lnTo>
                  <a:lnTo>
                    <a:pt x="1906" y="534"/>
                  </a:lnTo>
                  <a:lnTo>
                    <a:pt x="1869" y="551"/>
                  </a:lnTo>
                  <a:lnTo>
                    <a:pt x="1852" y="567"/>
                  </a:lnTo>
                  <a:lnTo>
                    <a:pt x="1831" y="555"/>
                  </a:lnTo>
                  <a:lnTo>
                    <a:pt x="1831" y="572"/>
                  </a:lnTo>
                  <a:lnTo>
                    <a:pt x="1835" y="572"/>
                  </a:lnTo>
                  <a:lnTo>
                    <a:pt x="1847" y="584"/>
                  </a:lnTo>
                  <a:lnTo>
                    <a:pt x="1869" y="600"/>
                  </a:lnTo>
                  <a:lnTo>
                    <a:pt x="1873" y="622"/>
                  </a:lnTo>
                  <a:lnTo>
                    <a:pt x="1902" y="638"/>
                  </a:lnTo>
                  <a:lnTo>
                    <a:pt x="1902" y="645"/>
                  </a:lnTo>
                  <a:lnTo>
                    <a:pt x="1906" y="655"/>
                  </a:lnTo>
                  <a:lnTo>
                    <a:pt x="1890" y="666"/>
                  </a:lnTo>
                  <a:lnTo>
                    <a:pt x="1890" y="695"/>
                  </a:lnTo>
                  <a:lnTo>
                    <a:pt x="1923" y="711"/>
                  </a:lnTo>
                  <a:lnTo>
                    <a:pt x="1923" y="723"/>
                  </a:lnTo>
                  <a:lnTo>
                    <a:pt x="1939" y="723"/>
                  </a:lnTo>
                  <a:lnTo>
                    <a:pt x="1928" y="716"/>
                  </a:lnTo>
                  <a:lnTo>
                    <a:pt x="1939" y="733"/>
                  </a:lnTo>
                  <a:lnTo>
                    <a:pt x="1939" y="749"/>
                  </a:lnTo>
                  <a:lnTo>
                    <a:pt x="1928" y="749"/>
                  </a:lnTo>
                  <a:lnTo>
                    <a:pt x="1916" y="749"/>
                  </a:lnTo>
                  <a:lnTo>
                    <a:pt x="1885" y="756"/>
                  </a:lnTo>
                  <a:lnTo>
                    <a:pt x="1873" y="766"/>
                  </a:lnTo>
                  <a:lnTo>
                    <a:pt x="1885" y="773"/>
                  </a:lnTo>
                  <a:lnTo>
                    <a:pt x="1873" y="778"/>
                  </a:lnTo>
                  <a:lnTo>
                    <a:pt x="1873" y="778"/>
                  </a:lnTo>
                  <a:lnTo>
                    <a:pt x="1873" y="778"/>
                  </a:lnTo>
                  <a:close/>
                  <a:moveTo>
                    <a:pt x="508" y="329"/>
                  </a:moveTo>
                  <a:lnTo>
                    <a:pt x="508" y="333"/>
                  </a:lnTo>
                  <a:lnTo>
                    <a:pt x="496" y="329"/>
                  </a:lnTo>
                  <a:lnTo>
                    <a:pt x="480" y="317"/>
                  </a:lnTo>
                  <a:lnTo>
                    <a:pt x="470" y="312"/>
                  </a:lnTo>
                  <a:lnTo>
                    <a:pt x="501" y="317"/>
                  </a:lnTo>
                  <a:lnTo>
                    <a:pt x="508" y="329"/>
                  </a:lnTo>
                  <a:lnTo>
                    <a:pt x="508" y="329"/>
                  </a:lnTo>
                  <a:lnTo>
                    <a:pt x="508" y="329"/>
                  </a:lnTo>
                  <a:close/>
                  <a:moveTo>
                    <a:pt x="2105" y="317"/>
                  </a:moveTo>
                  <a:lnTo>
                    <a:pt x="2105" y="329"/>
                  </a:lnTo>
                  <a:lnTo>
                    <a:pt x="2100" y="329"/>
                  </a:lnTo>
                  <a:lnTo>
                    <a:pt x="2105" y="317"/>
                  </a:lnTo>
                  <a:lnTo>
                    <a:pt x="2105" y="317"/>
                  </a:lnTo>
                  <a:lnTo>
                    <a:pt x="2105" y="317"/>
                  </a:lnTo>
                  <a:close/>
                  <a:moveTo>
                    <a:pt x="177" y="390"/>
                  </a:moveTo>
                  <a:lnTo>
                    <a:pt x="173" y="383"/>
                  </a:lnTo>
                  <a:lnTo>
                    <a:pt x="161" y="366"/>
                  </a:lnTo>
                  <a:lnTo>
                    <a:pt x="128" y="329"/>
                  </a:lnTo>
                  <a:lnTo>
                    <a:pt x="144" y="317"/>
                  </a:lnTo>
                  <a:lnTo>
                    <a:pt x="156" y="317"/>
                  </a:lnTo>
                  <a:lnTo>
                    <a:pt x="173" y="345"/>
                  </a:lnTo>
                  <a:lnTo>
                    <a:pt x="182" y="350"/>
                  </a:lnTo>
                  <a:lnTo>
                    <a:pt x="182" y="383"/>
                  </a:lnTo>
                  <a:lnTo>
                    <a:pt x="177" y="390"/>
                  </a:lnTo>
                  <a:lnTo>
                    <a:pt x="177" y="390"/>
                  </a:lnTo>
                  <a:lnTo>
                    <a:pt x="177" y="390"/>
                  </a:lnTo>
                  <a:close/>
                  <a:moveTo>
                    <a:pt x="508" y="345"/>
                  </a:moveTo>
                  <a:lnTo>
                    <a:pt x="508" y="362"/>
                  </a:lnTo>
                  <a:lnTo>
                    <a:pt x="501" y="362"/>
                  </a:lnTo>
                  <a:lnTo>
                    <a:pt x="484" y="350"/>
                  </a:lnTo>
                  <a:lnTo>
                    <a:pt x="484" y="329"/>
                  </a:lnTo>
                  <a:lnTo>
                    <a:pt x="508" y="345"/>
                  </a:lnTo>
                  <a:lnTo>
                    <a:pt x="508" y="345"/>
                  </a:lnTo>
                  <a:lnTo>
                    <a:pt x="508" y="345"/>
                  </a:lnTo>
                  <a:close/>
                  <a:moveTo>
                    <a:pt x="664" y="350"/>
                  </a:moveTo>
                  <a:lnTo>
                    <a:pt x="659" y="366"/>
                  </a:lnTo>
                  <a:lnTo>
                    <a:pt x="631" y="350"/>
                  </a:lnTo>
                  <a:lnTo>
                    <a:pt x="643" y="345"/>
                  </a:lnTo>
                  <a:lnTo>
                    <a:pt x="664" y="350"/>
                  </a:lnTo>
                  <a:lnTo>
                    <a:pt x="664" y="350"/>
                  </a:lnTo>
                  <a:lnTo>
                    <a:pt x="664" y="350"/>
                  </a:lnTo>
                  <a:close/>
                  <a:moveTo>
                    <a:pt x="626" y="345"/>
                  </a:moveTo>
                  <a:lnTo>
                    <a:pt x="614" y="362"/>
                  </a:lnTo>
                  <a:lnTo>
                    <a:pt x="610" y="350"/>
                  </a:lnTo>
                  <a:lnTo>
                    <a:pt x="614" y="345"/>
                  </a:lnTo>
                  <a:lnTo>
                    <a:pt x="626" y="345"/>
                  </a:lnTo>
                  <a:lnTo>
                    <a:pt x="626" y="345"/>
                  </a:lnTo>
                  <a:lnTo>
                    <a:pt x="626" y="345"/>
                  </a:lnTo>
                  <a:close/>
                  <a:moveTo>
                    <a:pt x="550" y="366"/>
                  </a:moveTo>
                  <a:lnTo>
                    <a:pt x="522" y="350"/>
                  </a:lnTo>
                  <a:lnTo>
                    <a:pt x="522" y="345"/>
                  </a:lnTo>
                  <a:lnTo>
                    <a:pt x="550" y="350"/>
                  </a:lnTo>
                  <a:lnTo>
                    <a:pt x="555" y="366"/>
                  </a:lnTo>
                  <a:lnTo>
                    <a:pt x="550" y="366"/>
                  </a:lnTo>
                  <a:lnTo>
                    <a:pt x="550" y="366"/>
                  </a:lnTo>
                  <a:lnTo>
                    <a:pt x="550" y="366"/>
                  </a:lnTo>
                  <a:close/>
                  <a:moveTo>
                    <a:pt x="539" y="378"/>
                  </a:moveTo>
                  <a:lnTo>
                    <a:pt x="534" y="366"/>
                  </a:lnTo>
                  <a:lnTo>
                    <a:pt x="508" y="366"/>
                  </a:lnTo>
                  <a:lnTo>
                    <a:pt x="501" y="366"/>
                  </a:lnTo>
                  <a:lnTo>
                    <a:pt x="508" y="362"/>
                  </a:lnTo>
                  <a:lnTo>
                    <a:pt x="508" y="345"/>
                  </a:lnTo>
                  <a:lnTo>
                    <a:pt x="550" y="366"/>
                  </a:lnTo>
                  <a:lnTo>
                    <a:pt x="539" y="378"/>
                  </a:lnTo>
                  <a:lnTo>
                    <a:pt x="539" y="378"/>
                  </a:lnTo>
                  <a:lnTo>
                    <a:pt x="539" y="378"/>
                  </a:lnTo>
                  <a:close/>
                  <a:moveTo>
                    <a:pt x="572" y="350"/>
                  </a:moveTo>
                  <a:lnTo>
                    <a:pt x="572" y="362"/>
                  </a:lnTo>
                  <a:lnTo>
                    <a:pt x="560" y="345"/>
                  </a:lnTo>
                  <a:lnTo>
                    <a:pt x="572" y="350"/>
                  </a:lnTo>
                  <a:lnTo>
                    <a:pt x="572" y="350"/>
                  </a:lnTo>
                  <a:lnTo>
                    <a:pt x="572" y="350"/>
                  </a:lnTo>
                  <a:close/>
                  <a:moveTo>
                    <a:pt x="610" y="362"/>
                  </a:moveTo>
                  <a:lnTo>
                    <a:pt x="605" y="350"/>
                  </a:lnTo>
                  <a:lnTo>
                    <a:pt x="610" y="362"/>
                  </a:lnTo>
                  <a:lnTo>
                    <a:pt x="610" y="362"/>
                  </a:lnTo>
                  <a:lnTo>
                    <a:pt x="610" y="362"/>
                  </a:lnTo>
                  <a:close/>
                  <a:moveTo>
                    <a:pt x="626" y="366"/>
                  </a:moveTo>
                  <a:lnTo>
                    <a:pt x="614" y="362"/>
                  </a:lnTo>
                  <a:lnTo>
                    <a:pt x="631" y="366"/>
                  </a:lnTo>
                  <a:lnTo>
                    <a:pt x="626" y="366"/>
                  </a:lnTo>
                  <a:lnTo>
                    <a:pt x="626" y="366"/>
                  </a:lnTo>
                  <a:lnTo>
                    <a:pt x="626" y="366"/>
                  </a:lnTo>
                  <a:close/>
                  <a:moveTo>
                    <a:pt x="576" y="378"/>
                  </a:moveTo>
                  <a:lnTo>
                    <a:pt x="572" y="383"/>
                  </a:lnTo>
                  <a:lnTo>
                    <a:pt x="572" y="366"/>
                  </a:lnTo>
                  <a:lnTo>
                    <a:pt x="576" y="378"/>
                  </a:lnTo>
                  <a:lnTo>
                    <a:pt x="576" y="378"/>
                  </a:lnTo>
                  <a:lnTo>
                    <a:pt x="576" y="378"/>
                  </a:lnTo>
                  <a:close/>
                  <a:moveTo>
                    <a:pt x="631" y="378"/>
                  </a:moveTo>
                  <a:lnTo>
                    <a:pt x="626" y="378"/>
                  </a:lnTo>
                  <a:lnTo>
                    <a:pt x="631" y="366"/>
                  </a:lnTo>
                  <a:lnTo>
                    <a:pt x="631" y="378"/>
                  </a:lnTo>
                  <a:lnTo>
                    <a:pt x="631" y="378"/>
                  </a:lnTo>
                  <a:lnTo>
                    <a:pt x="631" y="378"/>
                  </a:lnTo>
                  <a:close/>
                  <a:moveTo>
                    <a:pt x="2263" y="378"/>
                  </a:moveTo>
                  <a:lnTo>
                    <a:pt x="2251" y="383"/>
                  </a:lnTo>
                  <a:lnTo>
                    <a:pt x="2251" y="378"/>
                  </a:lnTo>
                  <a:lnTo>
                    <a:pt x="2263" y="378"/>
                  </a:lnTo>
                  <a:lnTo>
                    <a:pt x="2263" y="378"/>
                  </a:lnTo>
                  <a:lnTo>
                    <a:pt x="2263" y="378"/>
                  </a:lnTo>
                  <a:close/>
                  <a:moveTo>
                    <a:pt x="560" y="383"/>
                  </a:moveTo>
                  <a:lnTo>
                    <a:pt x="555" y="390"/>
                  </a:lnTo>
                  <a:lnTo>
                    <a:pt x="555" y="378"/>
                  </a:lnTo>
                  <a:lnTo>
                    <a:pt x="560" y="383"/>
                  </a:lnTo>
                  <a:lnTo>
                    <a:pt x="560" y="383"/>
                  </a:lnTo>
                  <a:lnTo>
                    <a:pt x="560" y="383"/>
                  </a:lnTo>
                  <a:close/>
                  <a:moveTo>
                    <a:pt x="2251" y="400"/>
                  </a:moveTo>
                  <a:lnTo>
                    <a:pt x="2251" y="407"/>
                  </a:lnTo>
                  <a:lnTo>
                    <a:pt x="2251" y="400"/>
                  </a:lnTo>
                  <a:lnTo>
                    <a:pt x="2251" y="400"/>
                  </a:lnTo>
                  <a:lnTo>
                    <a:pt x="2251" y="400"/>
                  </a:lnTo>
                  <a:close/>
                  <a:moveTo>
                    <a:pt x="248" y="423"/>
                  </a:moveTo>
                  <a:lnTo>
                    <a:pt x="232" y="418"/>
                  </a:lnTo>
                  <a:lnTo>
                    <a:pt x="248" y="418"/>
                  </a:lnTo>
                  <a:lnTo>
                    <a:pt x="248" y="423"/>
                  </a:lnTo>
                  <a:lnTo>
                    <a:pt x="248" y="423"/>
                  </a:lnTo>
                  <a:lnTo>
                    <a:pt x="248" y="423"/>
                  </a:lnTo>
                  <a:close/>
                  <a:moveTo>
                    <a:pt x="2407" y="444"/>
                  </a:moveTo>
                  <a:lnTo>
                    <a:pt x="2386" y="423"/>
                  </a:lnTo>
                  <a:lnTo>
                    <a:pt x="2407" y="440"/>
                  </a:lnTo>
                  <a:lnTo>
                    <a:pt x="2407" y="444"/>
                  </a:lnTo>
                  <a:lnTo>
                    <a:pt x="2407" y="444"/>
                  </a:lnTo>
                  <a:lnTo>
                    <a:pt x="2407" y="444"/>
                  </a:lnTo>
                  <a:close/>
                  <a:moveTo>
                    <a:pt x="680" y="456"/>
                  </a:moveTo>
                  <a:lnTo>
                    <a:pt x="664" y="444"/>
                  </a:lnTo>
                  <a:lnTo>
                    <a:pt x="647" y="444"/>
                  </a:lnTo>
                  <a:lnTo>
                    <a:pt x="643" y="444"/>
                  </a:lnTo>
                  <a:lnTo>
                    <a:pt x="647" y="435"/>
                  </a:lnTo>
                  <a:lnTo>
                    <a:pt x="680" y="440"/>
                  </a:lnTo>
                  <a:lnTo>
                    <a:pt x="680" y="456"/>
                  </a:lnTo>
                  <a:lnTo>
                    <a:pt x="680" y="456"/>
                  </a:lnTo>
                  <a:lnTo>
                    <a:pt x="680" y="456"/>
                  </a:lnTo>
                  <a:close/>
                  <a:moveTo>
                    <a:pt x="232" y="456"/>
                  </a:moveTo>
                  <a:lnTo>
                    <a:pt x="215" y="435"/>
                  </a:lnTo>
                  <a:lnTo>
                    <a:pt x="227" y="435"/>
                  </a:lnTo>
                  <a:lnTo>
                    <a:pt x="232" y="456"/>
                  </a:lnTo>
                  <a:lnTo>
                    <a:pt x="232" y="456"/>
                  </a:lnTo>
                  <a:lnTo>
                    <a:pt x="232" y="456"/>
                  </a:lnTo>
                  <a:close/>
                  <a:moveTo>
                    <a:pt x="2485" y="435"/>
                  </a:moveTo>
                  <a:lnTo>
                    <a:pt x="2516" y="435"/>
                  </a:lnTo>
                  <a:lnTo>
                    <a:pt x="2532" y="440"/>
                  </a:lnTo>
                  <a:lnTo>
                    <a:pt x="2532" y="444"/>
                  </a:lnTo>
                  <a:lnTo>
                    <a:pt x="2523" y="456"/>
                  </a:lnTo>
                  <a:lnTo>
                    <a:pt x="2511" y="456"/>
                  </a:lnTo>
                  <a:lnTo>
                    <a:pt x="2478" y="435"/>
                  </a:lnTo>
                  <a:lnTo>
                    <a:pt x="2499" y="456"/>
                  </a:lnTo>
                  <a:lnTo>
                    <a:pt x="2495" y="461"/>
                  </a:lnTo>
                  <a:lnTo>
                    <a:pt x="2485" y="444"/>
                  </a:lnTo>
                  <a:lnTo>
                    <a:pt x="2478" y="456"/>
                  </a:lnTo>
                  <a:lnTo>
                    <a:pt x="2478" y="444"/>
                  </a:lnTo>
                  <a:lnTo>
                    <a:pt x="2457" y="444"/>
                  </a:lnTo>
                  <a:lnTo>
                    <a:pt x="2469" y="440"/>
                  </a:lnTo>
                  <a:lnTo>
                    <a:pt x="2461" y="440"/>
                  </a:lnTo>
                  <a:lnTo>
                    <a:pt x="2457" y="440"/>
                  </a:lnTo>
                  <a:lnTo>
                    <a:pt x="2485" y="435"/>
                  </a:lnTo>
                  <a:lnTo>
                    <a:pt x="2485" y="435"/>
                  </a:lnTo>
                  <a:lnTo>
                    <a:pt x="2485" y="435"/>
                  </a:lnTo>
                  <a:close/>
                  <a:moveTo>
                    <a:pt x="1890" y="444"/>
                  </a:moveTo>
                  <a:lnTo>
                    <a:pt x="1885" y="444"/>
                  </a:lnTo>
                  <a:lnTo>
                    <a:pt x="1890" y="444"/>
                  </a:lnTo>
                  <a:lnTo>
                    <a:pt x="1890" y="444"/>
                  </a:lnTo>
                  <a:lnTo>
                    <a:pt x="1890" y="444"/>
                  </a:lnTo>
                  <a:close/>
                  <a:moveTo>
                    <a:pt x="593" y="444"/>
                  </a:moveTo>
                  <a:lnTo>
                    <a:pt x="593" y="456"/>
                  </a:lnTo>
                  <a:lnTo>
                    <a:pt x="572" y="456"/>
                  </a:lnTo>
                  <a:lnTo>
                    <a:pt x="576" y="444"/>
                  </a:lnTo>
                  <a:lnTo>
                    <a:pt x="593" y="444"/>
                  </a:lnTo>
                  <a:lnTo>
                    <a:pt x="593" y="444"/>
                  </a:lnTo>
                  <a:lnTo>
                    <a:pt x="593" y="444"/>
                  </a:lnTo>
                  <a:close/>
                  <a:moveTo>
                    <a:pt x="227" y="461"/>
                  </a:moveTo>
                  <a:lnTo>
                    <a:pt x="227" y="473"/>
                  </a:lnTo>
                  <a:lnTo>
                    <a:pt x="215" y="473"/>
                  </a:lnTo>
                  <a:lnTo>
                    <a:pt x="227" y="444"/>
                  </a:lnTo>
                  <a:lnTo>
                    <a:pt x="227" y="461"/>
                  </a:lnTo>
                  <a:lnTo>
                    <a:pt x="227" y="461"/>
                  </a:lnTo>
                  <a:lnTo>
                    <a:pt x="227" y="461"/>
                  </a:lnTo>
                  <a:close/>
                  <a:moveTo>
                    <a:pt x="2246" y="444"/>
                  </a:moveTo>
                  <a:lnTo>
                    <a:pt x="2246" y="461"/>
                  </a:lnTo>
                  <a:lnTo>
                    <a:pt x="2242" y="461"/>
                  </a:lnTo>
                  <a:lnTo>
                    <a:pt x="2242" y="444"/>
                  </a:lnTo>
                  <a:lnTo>
                    <a:pt x="2246" y="444"/>
                  </a:lnTo>
                  <a:lnTo>
                    <a:pt x="2246" y="444"/>
                  </a:lnTo>
                  <a:lnTo>
                    <a:pt x="2246" y="444"/>
                  </a:lnTo>
                  <a:close/>
                  <a:moveTo>
                    <a:pt x="1885" y="456"/>
                  </a:moveTo>
                  <a:lnTo>
                    <a:pt x="1885" y="444"/>
                  </a:lnTo>
                  <a:lnTo>
                    <a:pt x="1885" y="456"/>
                  </a:lnTo>
                  <a:lnTo>
                    <a:pt x="1885" y="456"/>
                  </a:lnTo>
                  <a:lnTo>
                    <a:pt x="1885" y="456"/>
                  </a:lnTo>
                  <a:close/>
                  <a:moveTo>
                    <a:pt x="2263" y="444"/>
                  </a:moveTo>
                  <a:lnTo>
                    <a:pt x="2280" y="461"/>
                  </a:lnTo>
                  <a:lnTo>
                    <a:pt x="2268" y="473"/>
                  </a:lnTo>
                  <a:lnTo>
                    <a:pt x="2280" y="478"/>
                  </a:lnTo>
                  <a:lnTo>
                    <a:pt x="2284" y="478"/>
                  </a:lnTo>
                  <a:lnTo>
                    <a:pt x="2294" y="489"/>
                  </a:lnTo>
                  <a:lnTo>
                    <a:pt x="2284" y="494"/>
                  </a:lnTo>
                  <a:lnTo>
                    <a:pt x="2268" y="489"/>
                  </a:lnTo>
                  <a:lnTo>
                    <a:pt x="2263" y="489"/>
                  </a:lnTo>
                  <a:lnTo>
                    <a:pt x="2246" y="461"/>
                  </a:lnTo>
                  <a:lnTo>
                    <a:pt x="2246" y="456"/>
                  </a:lnTo>
                  <a:lnTo>
                    <a:pt x="2263" y="444"/>
                  </a:lnTo>
                  <a:lnTo>
                    <a:pt x="2263" y="444"/>
                  </a:lnTo>
                  <a:lnTo>
                    <a:pt x="2263" y="444"/>
                  </a:lnTo>
                  <a:close/>
                  <a:moveTo>
                    <a:pt x="1885" y="456"/>
                  </a:moveTo>
                  <a:lnTo>
                    <a:pt x="1869" y="456"/>
                  </a:lnTo>
                  <a:lnTo>
                    <a:pt x="1873" y="444"/>
                  </a:lnTo>
                  <a:lnTo>
                    <a:pt x="1885" y="456"/>
                  </a:lnTo>
                  <a:lnTo>
                    <a:pt x="1885" y="456"/>
                  </a:lnTo>
                  <a:lnTo>
                    <a:pt x="1885" y="456"/>
                  </a:lnTo>
                  <a:close/>
                  <a:moveTo>
                    <a:pt x="647" y="456"/>
                  </a:moveTo>
                  <a:lnTo>
                    <a:pt x="659" y="461"/>
                  </a:lnTo>
                  <a:lnTo>
                    <a:pt x="647" y="473"/>
                  </a:lnTo>
                  <a:lnTo>
                    <a:pt x="631" y="461"/>
                  </a:lnTo>
                  <a:lnTo>
                    <a:pt x="647" y="456"/>
                  </a:lnTo>
                  <a:lnTo>
                    <a:pt x="647" y="456"/>
                  </a:lnTo>
                  <a:lnTo>
                    <a:pt x="647" y="456"/>
                  </a:lnTo>
                  <a:close/>
                  <a:moveTo>
                    <a:pt x="3213" y="612"/>
                  </a:moveTo>
                  <a:lnTo>
                    <a:pt x="3213" y="884"/>
                  </a:lnTo>
                  <a:lnTo>
                    <a:pt x="3203" y="905"/>
                  </a:lnTo>
                  <a:lnTo>
                    <a:pt x="3203" y="922"/>
                  </a:lnTo>
                  <a:lnTo>
                    <a:pt x="3213" y="922"/>
                  </a:lnTo>
                  <a:lnTo>
                    <a:pt x="3213" y="1089"/>
                  </a:lnTo>
                  <a:lnTo>
                    <a:pt x="3142" y="1016"/>
                  </a:lnTo>
                  <a:lnTo>
                    <a:pt x="3149" y="995"/>
                  </a:lnTo>
                  <a:lnTo>
                    <a:pt x="3132" y="1016"/>
                  </a:lnTo>
                  <a:lnTo>
                    <a:pt x="3095" y="1016"/>
                  </a:lnTo>
                  <a:lnTo>
                    <a:pt x="3090" y="1011"/>
                  </a:lnTo>
                  <a:lnTo>
                    <a:pt x="3061" y="1028"/>
                  </a:lnTo>
                  <a:lnTo>
                    <a:pt x="3057" y="1016"/>
                  </a:lnTo>
                  <a:lnTo>
                    <a:pt x="3078" y="978"/>
                  </a:lnTo>
                  <a:lnTo>
                    <a:pt x="3052" y="945"/>
                  </a:lnTo>
                  <a:lnTo>
                    <a:pt x="3073" y="955"/>
                  </a:lnTo>
                  <a:lnTo>
                    <a:pt x="3090" y="945"/>
                  </a:lnTo>
                  <a:lnTo>
                    <a:pt x="3073" y="945"/>
                  </a:lnTo>
                  <a:lnTo>
                    <a:pt x="3057" y="945"/>
                  </a:lnTo>
                  <a:lnTo>
                    <a:pt x="3040" y="933"/>
                  </a:lnTo>
                  <a:lnTo>
                    <a:pt x="3061" y="922"/>
                  </a:lnTo>
                  <a:lnTo>
                    <a:pt x="3078" y="933"/>
                  </a:lnTo>
                  <a:lnTo>
                    <a:pt x="3052" y="917"/>
                  </a:lnTo>
                  <a:lnTo>
                    <a:pt x="3052" y="905"/>
                  </a:lnTo>
                  <a:lnTo>
                    <a:pt x="3024" y="884"/>
                  </a:lnTo>
                  <a:lnTo>
                    <a:pt x="3019" y="851"/>
                  </a:lnTo>
                  <a:lnTo>
                    <a:pt x="3007" y="844"/>
                  </a:lnTo>
                  <a:lnTo>
                    <a:pt x="3024" y="834"/>
                  </a:lnTo>
                  <a:lnTo>
                    <a:pt x="3002" y="844"/>
                  </a:lnTo>
                  <a:lnTo>
                    <a:pt x="3002" y="822"/>
                  </a:lnTo>
                  <a:lnTo>
                    <a:pt x="2998" y="822"/>
                  </a:lnTo>
                  <a:lnTo>
                    <a:pt x="2948" y="789"/>
                  </a:lnTo>
                  <a:lnTo>
                    <a:pt x="2915" y="778"/>
                  </a:lnTo>
                  <a:lnTo>
                    <a:pt x="2856" y="756"/>
                  </a:lnTo>
                  <a:lnTo>
                    <a:pt x="2802" y="749"/>
                  </a:lnTo>
                  <a:lnTo>
                    <a:pt x="2764" y="723"/>
                  </a:lnTo>
                  <a:lnTo>
                    <a:pt x="2771" y="711"/>
                  </a:lnTo>
                  <a:lnTo>
                    <a:pt x="2787" y="711"/>
                  </a:lnTo>
                  <a:lnTo>
                    <a:pt x="2764" y="711"/>
                  </a:lnTo>
                  <a:lnTo>
                    <a:pt x="2754" y="716"/>
                  </a:lnTo>
                  <a:lnTo>
                    <a:pt x="2750" y="711"/>
                  </a:lnTo>
                  <a:lnTo>
                    <a:pt x="2738" y="716"/>
                  </a:lnTo>
                  <a:lnTo>
                    <a:pt x="2733" y="716"/>
                  </a:lnTo>
                  <a:lnTo>
                    <a:pt x="2733" y="700"/>
                  </a:lnTo>
                  <a:lnTo>
                    <a:pt x="2717" y="700"/>
                  </a:lnTo>
                  <a:lnTo>
                    <a:pt x="2712" y="683"/>
                  </a:lnTo>
                  <a:lnTo>
                    <a:pt x="2700" y="695"/>
                  </a:lnTo>
                  <a:lnTo>
                    <a:pt x="2695" y="678"/>
                  </a:lnTo>
                  <a:lnTo>
                    <a:pt x="2700" y="662"/>
                  </a:lnTo>
                  <a:lnTo>
                    <a:pt x="2712" y="655"/>
                  </a:lnTo>
                  <a:lnTo>
                    <a:pt x="2712" y="645"/>
                  </a:lnTo>
                  <a:lnTo>
                    <a:pt x="2695" y="655"/>
                  </a:lnTo>
                  <a:lnTo>
                    <a:pt x="2695" y="678"/>
                  </a:lnTo>
                  <a:lnTo>
                    <a:pt x="2683" y="678"/>
                  </a:lnTo>
                  <a:lnTo>
                    <a:pt x="2683" y="683"/>
                  </a:lnTo>
                  <a:lnTo>
                    <a:pt x="2679" y="700"/>
                  </a:lnTo>
                  <a:lnTo>
                    <a:pt x="2679" y="711"/>
                  </a:lnTo>
                  <a:lnTo>
                    <a:pt x="2662" y="723"/>
                  </a:lnTo>
                  <a:lnTo>
                    <a:pt x="2641" y="723"/>
                  </a:lnTo>
                  <a:lnTo>
                    <a:pt x="2629" y="695"/>
                  </a:lnTo>
                  <a:lnTo>
                    <a:pt x="2641" y="683"/>
                  </a:lnTo>
                  <a:lnTo>
                    <a:pt x="2641" y="678"/>
                  </a:lnTo>
                  <a:lnTo>
                    <a:pt x="2629" y="666"/>
                  </a:lnTo>
                  <a:lnTo>
                    <a:pt x="2624" y="666"/>
                  </a:lnTo>
                  <a:lnTo>
                    <a:pt x="2620" y="655"/>
                  </a:lnTo>
                  <a:lnTo>
                    <a:pt x="2603" y="638"/>
                  </a:lnTo>
                  <a:lnTo>
                    <a:pt x="2587" y="645"/>
                  </a:lnTo>
                  <a:lnTo>
                    <a:pt x="2575" y="629"/>
                  </a:lnTo>
                  <a:lnTo>
                    <a:pt x="2603" y="622"/>
                  </a:lnTo>
                  <a:lnTo>
                    <a:pt x="2629" y="629"/>
                  </a:lnTo>
                  <a:lnTo>
                    <a:pt x="2646" y="605"/>
                  </a:lnTo>
                  <a:lnTo>
                    <a:pt x="2662" y="605"/>
                  </a:lnTo>
                  <a:lnTo>
                    <a:pt x="2683" y="612"/>
                  </a:lnTo>
                  <a:lnTo>
                    <a:pt x="2695" y="612"/>
                  </a:lnTo>
                  <a:lnTo>
                    <a:pt x="2695" y="622"/>
                  </a:lnTo>
                  <a:lnTo>
                    <a:pt x="2700" y="605"/>
                  </a:lnTo>
                  <a:lnTo>
                    <a:pt x="2712" y="622"/>
                  </a:lnTo>
                  <a:lnTo>
                    <a:pt x="2700" y="605"/>
                  </a:lnTo>
                  <a:lnTo>
                    <a:pt x="2717" y="600"/>
                  </a:lnTo>
                  <a:lnTo>
                    <a:pt x="2717" y="589"/>
                  </a:lnTo>
                  <a:lnTo>
                    <a:pt x="2712" y="600"/>
                  </a:lnTo>
                  <a:lnTo>
                    <a:pt x="2700" y="589"/>
                  </a:lnTo>
                  <a:lnTo>
                    <a:pt x="2717" y="584"/>
                  </a:lnTo>
                  <a:lnTo>
                    <a:pt x="2695" y="589"/>
                  </a:lnTo>
                  <a:lnTo>
                    <a:pt x="2674" y="589"/>
                  </a:lnTo>
                  <a:lnTo>
                    <a:pt x="2624" y="600"/>
                  </a:lnTo>
                  <a:lnTo>
                    <a:pt x="2620" y="589"/>
                  </a:lnTo>
                  <a:lnTo>
                    <a:pt x="2603" y="589"/>
                  </a:lnTo>
                  <a:lnTo>
                    <a:pt x="2575" y="584"/>
                  </a:lnTo>
                  <a:lnTo>
                    <a:pt x="2570" y="551"/>
                  </a:lnTo>
                  <a:lnTo>
                    <a:pt x="2523" y="527"/>
                  </a:lnTo>
                  <a:lnTo>
                    <a:pt x="2532" y="534"/>
                  </a:lnTo>
                  <a:lnTo>
                    <a:pt x="2523" y="534"/>
                  </a:lnTo>
                  <a:lnTo>
                    <a:pt x="2511" y="527"/>
                  </a:lnTo>
                  <a:lnTo>
                    <a:pt x="2523" y="511"/>
                  </a:lnTo>
                  <a:lnTo>
                    <a:pt x="2523" y="489"/>
                  </a:lnTo>
                  <a:lnTo>
                    <a:pt x="2570" y="478"/>
                  </a:lnTo>
                  <a:lnTo>
                    <a:pt x="2587" y="461"/>
                  </a:lnTo>
                  <a:lnTo>
                    <a:pt x="2608" y="456"/>
                  </a:lnTo>
                  <a:lnTo>
                    <a:pt x="2662" y="473"/>
                  </a:lnTo>
                  <a:lnTo>
                    <a:pt x="2679" y="478"/>
                  </a:lnTo>
                  <a:lnTo>
                    <a:pt x="2717" y="478"/>
                  </a:lnTo>
                  <a:lnTo>
                    <a:pt x="2726" y="489"/>
                  </a:lnTo>
                  <a:lnTo>
                    <a:pt x="2717" y="494"/>
                  </a:lnTo>
                  <a:lnTo>
                    <a:pt x="2738" y="527"/>
                  </a:lnTo>
                  <a:lnTo>
                    <a:pt x="2726" y="551"/>
                  </a:lnTo>
                  <a:lnTo>
                    <a:pt x="2733" y="600"/>
                  </a:lnTo>
                  <a:lnTo>
                    <a:pt x="2750" y="638"/>
                  </a:lnTo>
                  <a:lnTo>
                    <a:pt x="2754" y="629"/>
                  </a:lnTo>
                  <a:lnTo>
                    <a:pt x="2754" y="612"/>
                  </a:lnTo>
                  <a:lnTo>
                    <a:pt x="2754" y="605"/>
                  </a:lnTo>
                  <a:lnTo>
                    <a:pt x="2764" y="605"/>
                  </a:lnTo>
                  <a:lnTo>
                    <a:pt x="2771" y="645"/>
                  </a:lnTo>
                  <a:lnTo>
                    <a:pt x="2780" y="638"/>
                  </a:lnTo>
                  <a:lnTo>
                    <a:pt x="2780" y="655"/>
                  </a:lnTo>
                  <a:lnTo>
                    <a:pt x="2780" y="662"/>
                  </a:lnTo>
                  <a:lnTo>
                    <a:pt x="2792" y="666"/>
                  </a:lnTo>
                  <a:lnTo>
                    <a:pt x="2825" y="666"/>
                  </a:lnTo>
                  <a:lnTo>
                    <a:pt x="2856" y="645"/>
                  </a:lnTo>
                  <a:lnTo>
                    <a:pt x="2863" y="622"/>
                  </a:lnTo>
                  <a:lnTo>
                    <a:pt x="2877" y="612"/>
                  </a:lnTo>
                  <a:lnTo>
                    <a:pt x="2889" y="589"/>
                  </a:lnTo>
                  <a:lnTo>
                    <a:pt x="2910" y="589"/>
                  </a:lnTo>
                  <a:lnTo>
                    <a:pt x="2943" y="584"/>
                  </a:lnTo>
                  <a:lnTo>
                    <a:pt x="2943" y="555"/>
                  </a:lnTo>
                  <a:lnTo>
                    <a:pt x="2986" y="534"/>
                  </a:lnTo>
                  <a:lnTo>
                    <a:pt x="3128" y="600"/>
                  </a:lnTo>
                  <a:lnTo>
                    <a:pt x="3149" y="600"/>
                  </a:lnTo>
                  <a:lnTo>
                    <a:pt x="3165" y="605"/>
                  </a:lnTo>
                  <a:lnTo>
                    <a:pt x="3187" y="605"/>
                  </a:lnTo>
                  <a:lnTo>
                    <a:pt x="3187" y="622"/>
                  </a:lnTo>
                  <a:lnTo>
                    <a:pt x="3213" y="612"/>
                  </a:lnTo>
                  <a:lnTo>
                    <a:pt x="3213" y="612"/>
                  </a:lnTo>
                  <a:lnTo>
                    <a:pt x="3213" y="612"/>
                  </a:lnTo>
                  <a:close/>
                  <a:moveTo>
                    <a:pt x="1869" y="461"/>
                  </a:moveTo>
                  <a:lnTo>
                    <a:pt x="1852" y="473"/>
                  </a:lnTo>
                  <a:lnTo>
                    <a:pt x="1864" y="456"/>
                  </a:lnTo>
                  <a:lnTo>
                    <a:pt x="1869" y="461"/>
                  </a:lnTo>
                  <a:lnTo>
                    <a:pt x="1869" y="461"/>
                  </a:lnTo>
                  <a:lnTo>
                    <a:pt x="1869" y="461"/>
                  </a:lnTo>
                  <a:close/>
                  <a:moveTo>
                    <a:pt x="2485" y="456"/>
                  </a:moveTo>
                  <a:lnTo>
                    <a:pt x="2485" y="461"/>
                  </a:lnTo>
                  <a:lnTo>
                    <a:pt x="2469" y="461"/>
                  </a:lnTo>
                  <a:lnTo>
                    <a:pt x="2485" y="456"/>
                  </a:lnTo>
                  <a:lnTo>
                    <a:pt x="2485" y="456"/>
                  </a:lnTo>
                  <a:lnTo>
                    <a:pt x="2485" y="456"/>
                  </a:lnTo>
                  <a:close/>
                  <a:moveTo>
                    <a:pt x="2246" y="473"/>
                  </a:moveTo>
                  <a:lnTo>
                    <a:pt x="2246" y="489"/>
                  </a:lnTo>
                  <a:lnTo>
                    <a:pt x="2242" y="489"/>
                  </a:lnTo>
                  <a:lnTo>
                    <a:pt x="2246" y="473"/>
                  </a:lnTo>
                  <a:lnTo>
                    <a:pt x="2246" y="473"/>
                  </a:lnTo>
                  <a:lnTo>
                    <a:pt x="2246" y="473"/>
                  </a:lnTo>
                  <a:close/>
                  <a:moveTo>
                    <a:pt x="2818" y="478"/>
                  </a:moveTo>
                  <a:lnTo>
                    <a:pt x="2839" y="478"/>
                  </a:lnTo>
                  <a:lnTo>
                    <a:pt x="2846" y="478"/>
                  </a:lnTo>
                  <a:lnTo>
                    <a:pt x="2872" y="501"/>
                  </a:lnTo>
                  <a:lnTo>
                    <a:pt x="2889" y="511"/>
                  </a:lnTo>
                  <a:lnTo>
                    <a:pt x="2872" y="518"/>
                  </a:lnTo>
                  <a:lnTo>
                    <a:pt x="2846" y="511"/>
                  </a:lnTo>
                  <a:lnTo>
                    <a:pt x="2839" y="489"/>
                  </a:lnTo>
                  <a:lnTo>
                    <a:pt x="2835" y="494"/>
                  </a:lnTo>
                  <a:lnTo>
                    <a:pt x="2825" y="489"/>
                  </a:lnTo>
                  <a:lnTo>
                    <a:pt x="2818" y="478"/>
                  </a:lnTo>
                  <a:lnTo>
                    <a:pt x="2818" y="478"/>
                  </a:lnTo>
                  <a:lnTo>
                    <a:pt x="2818" y="478"/>
                  </a:lnTo>
                  <a:close/>
                  <a:moveTo>
                    <a:pt x="2495" y="489"/>
                  </a:moveTo>
                  <a:lnTo>
                    <a:pt x="2499" y="489"/>
                  </a:lnTo>
                  <a:lnTo>
                    <a:pt x="2495" y="489"/>
                  </a:lnTo>
                  <a:lnTo>
                    <a:pt x="2461" y="494"/>
                  </a:lnTo>
                  <a:lnTo>
                    <a:pt x="2469" y="489"/>
                  </a:lnTo>
                  <a:lnTo>
                    <a:pt x="2495" y="489"/>
                  </a:lnTo>
                  <a:lnTo>
                    <a:pt x="2495" y="489"/>
                  </a:lnTo>
                  <a:lnTo>
                    <a:pt x="2495" y="489"/>
                  </a:lnTo>
                  <a:close/>
                  <a:moveTo>
                    <a:pt x="2499" y="494"/>
                  </a:moveTo>
                  <a:lnTo>
                    <a:pt x="2516" y="494"/>
                  </a:lnTo>
                  <a:lnTo>
                    <a:pt x="2511" y="527"/>
                  </a:lnTo>
                  <a:lnTo>
                    <a:pt x="2495" y="518"/>
                  </a:lnTo>
                  <a:lnTo>
                    <a:pt x="2485" y="501"/>
                  </a:lnTo>
                  <a:lnTo>
                    <a:pt x="2499" y="494"/>
                  </a:lnTo>
                  <a:lnTo>
                    <a:pt x="2499" y="494"/>
                  </a:lnTo>
                  <a:lnTo>
                    <a:pt x="2499" y="494"/>
                  </a:lnTo>
                  <a:close/>
                  <a:moveTo>
                    <a:pt x="286" y="551"/>
                  </a:moveTo>
                  <a:lnTo>
                    <a:pt x="279" y="546"/>
                  </a:lnTo>
                  <a:lnTo>
                    <a:pt x="279" y="555"/>
                  </a:lnTo>
                  <a:lnTo>
                    <a:pt x="269" y="555"/>
                  </a:lnTo>
                  <a:lnTo>
                    <a:pt x="248" y="546"/>
                  </a:lnTo>
                  <a:lnTo>
                    <a:pt x="232" y="511"/>
                  </a:lnTo>
                  <a:lnTo>
                    <a:pt x="236" y="494"/>
                  </a:lnTo>
                  <a:lnTo>
                    <a:pt x="253" y="494"/>
                  </a:lnTo>
                  <a:lnTo>
                    <a:pt x="286" y="551"/>
                  </a:lnTo>
                  <a:lnTo>
                    <a:pt x="286" y="551"/>
                  </a:lnTo>
                  <a:lnTo>
                    <a:pt x="286" y="551"/>
                  </a:lnTo>
                  <a:close/>
                  <a:moveTo>
                    <a:pt x="2780" y="494"/>
                  </a:moveTo>
                  <a:lnTo>
                    <a:pt x="2787" y="501"/>
                  </a:lnTo>
                  <a:lnTo>
                    <a:pt x="2780" y="511"/>
                  </a:lnTo>
                  <a:lnTo>
                    <a:pt x="2771" y="501"/>
                  </a:lnTo>
                  <a:lnTo>
                    <a:pt x="2780" y="494"/>
                  </a:lnTo>
                  <a:lnTo>
                    <a:pt x="2780" y="494"/>
                  </a:lnTo>
                  <a:lnTo>
                    <a:pt x="2780" y="494"/>
                  </a:lnTo>
                  <a:close/>
                  <a:moveTo>
                    <a:pt x="1021" y="501"/>
                  </a:moveTo>
                  <a:lnTo>
                    <a:pt x="1021" y="511"/>
                  </a:lnTo>
                  <a:lnTo>
                    <a:pt x="999" y="518"/>
                  </a:lnTo>
                  <a:lnTo>
                    <a:pt x="999" y="501"/>
                  </a:lnTo>
                  <a:lnTo>
                    <a:pt x="1021" y="501"/>
                  </a:lnTo>
                  <a:lnTo>
                    <a:pt x="1021" y="501"/>
                  </a:lnTo>
                  <a:lnTo>
                    <a:pt x="1021" y="501"/>
                  </a:lnTo>
                  <a:close/>
                  <a:moveTo>
                    <a:pt x="2431" y="511"/>
                  </a:moveTo>
                  <a:lnTo>
                    <a:pt x="2414" y="518"/>
                  </a:lnTo>
                  <a:lnTo>
                    <a:pt x="2431" y="511"/>
                  </a:lnTo>
                  <a:lnTo>
                    <a:pt x="2431" y="511"/>
                  </a:lnTo>
                  <a:lnTo>
                    <a:pt x="2431" y="511"/>
                  </a:lnTo>
                  <a:close/>
                  <a:moveTo>
                    <a:pt x="1982" y="518"/>
                  </a:moveTo>
                  <a:lnTo>
                    <a:pt x="1977" y="534"/>
                  </a:lnTo>
                  <a:lnTo>
                    <a:pt x="1970" y="534"/>
                  </a:lnTo>
                  <a:lnTo>
                    <a:pt x="1961" y="546"/>
                  </a:lnTo>
                  <a:lnTo>
                    <a:pt x="1954" y="546"/>
                  </a:lnTo>
                  <a:lnTo>
                    <a:pt x="1961" y="534"/>
                  </a:lnTo>
                  <a:lnTo>
                    <a:pt x="1954" y="527"/>
                  </a:lnTo>
                  <a:lnTo>
                    <a:pt x="1939" y="546"/>
                  </a:lnTo>
                  <a:lnTo>
                    <a:pt x="1928" y="534"/>
                  </a:lnTo>
                  <a:lnTo>
                    <a:pt x="1939" y="511"/>
                  </a:lnTo>
                  <a:lnTo>
                    <a:pt x="1961" y="511"/>
                  </a:lnTo>
                  <a:lnTo>
                    <a:pt x="1961" y="527"/>
                  </a:lnTo>
                  <a:lnTo>
                    <a:pt x="1977" y="518"/>
                  </a:lnTo>
                  <a:lnTo>
                    <a:pt x="1982" y="518"/>
                  </a:lnTo>
                  <a:lnTo>
                    <a:pt x="1982" y="518"/>
                  </a:lnTo>
                  <a:lnTo>
                    <a:pt x="1982" y="518"/>
                  </a:lnTo>
                  <a:close/>
                  <a:moveTo>
                    <a:pt x="2268" y="511"/>
                  </a:moveTo>
                  <a:lnTo>
                    <a:pt x="2268" y="518"/>
                  </a:lnTo>
                  <a:lnTo>
                    <a:pt x="2263" y="518"/>
                  </a:lnTo>
                  <a:lnTo>
                    <a:pt x="2268" y="511"/>
                  </a:lnTo>
                  <a:lnTo>
                    <a:pt x="2268" y="511"/>
                  </a:lnTo>
                  <a:lnTo>
                    <a:pt x="2268" y="511"/>
                  </a:lnTo>
                  <a:close/>
                  <a:moveTo>
                    <a:pt x="2251" y="546"/>
                  </a:moveTo>
                  <a:lnTo>
                    <a:pt x="2263" y="534"/>
                  </a:lnTo>
                  <a:lnTo>
                    <a:pt x="2268" y="527"/>
                  </a:lnTo>
                  <a:lnTo>
                    <a:pt x="2306" y="551"/>
                  </a:lnTo>
                  <a:lnTo>
                    <a:pt x="2301" y="551"/>
                  </a:lnTo>
                  <a:lnTo>
                    <a:pt x="2268" y="551"/>
                  </a:lnTo>
                  <a:lnTo>
                    <a:pt x="2251" y="551"/>
                  </a:lnTo>
                  <a:lnTo>
                    <a:pt x="2251" y="546"/>
                  </a:lnTo>
                  <a:lnTo>
                    <a:pt x="2251" y="546"/>
                  </a:lnTo>
                  <a:lnTo>
                    <a:pt x="2251" y="546"/>
                  </a:lnTo>
                  <a:close/>
                  <a:moveTo>
                    <a:pt x="803" y="645"/>
                  </a:moveTo>
                  <a:lnTo>
                    <a:pt x="803" y="655"/>
                  </a:lnTo>
                  <a:lnTo>
                    <a:pt x="787" y="655"/>
                  </a:lnTo>
                  <a:lnTo>
                    <a:pt x="787" y="645"/>
                  </a:lnTo>
                  <a:lnTo>
                    <a:pt x="749" y="629"/>
                  </a:lnTo>
                  <a:lnTo>
                    <a:pt x="749" y="622"/>
                  </a:lnTo>
                  <a:lnTo>
                    <a:pt x="749" y="605"/>
                  </a:lnTo>
                  <a:lnTo>
                    <a:pt x="739" y="600"/>
                  </a:lnTo>
                  <a:lnTo>
                    <a:pt x="735" y="584"/>
                  </a:lnTo>
                  <a:lnTo>
                    <a:pt x="697" y="572"/>
                  </a:lnTo>
                  <a:lnTo>
                    <a:pt x="697" y="567"/>
                  </a:lnTo>
                  <a:lnTo>
                    <a:pt x="711" y="555"/>
                  </a:lnTo>
                  <a:lnTo>
                    <a:pt x="711" y="551"/>
                  </a:lnTo>
                  <a:lnTo>
                    <a:pt x="711" y="546"/>
                  </a:lnTo>
                  <a:lnTo>
                    <a:pt x="723" y="546"/>
                  </a:lnTo>
                  <a:lnTo>
                    <a:pt x="735" y="551"/>
                  </a:lnTo>
                  <a:lnTo>
                    <a:pt x="739" y="555"/>
                  </a:lnTo>
                  <a:lnTo>
                    <a:pt x="735" y="546"/>
                  </a:lnTo>
                  <a:lnTo>
                    <a:pt x="749" y="534"/>
                  </a:lnTo>
                  <a:lnTo>
                    <a:pt x="756" y="546"/>
                  </a:lnTo>
                  <a:lnTo>
                    <a:pt x="773" y="600"/>
                  </a:lnTo>
                  <a:lnTo>
                    <a:pt x="810" y="612"/>
                  </a:lnTo>
                  <a:lnTo>
                    <a:pt x="794" y="638"/>
                  </a:lnTo>
                  <a:lnTo>
                    <a:pt x="803" y="645"/>
                  </a:lnTo>
                  <a:lnTo>
                    <a:pt x="803" y="645"/>
                  </a:lnTo>
                  <a:lnTo>
                    <a:pt x="803" y="645"/>
                  </a:lnTo>
                  <a:close/>
                  <a:moveTo>
                    <a:pt x="966" y="546"/>
                  </a:moveTo>
                  <a:lnTo>
                    <a:pt x="954" y="551"/>
                  </a:lnTo>
                  <a:lnTo>
                    <a:pt x="950" y="546"/>
                  </a:lnTo>
                  <a:lnTo>
                    <a:pt x="966" y="546"/>
                  </a:lnTo>
                  <a:lnTo>
                    <a:pt x="966" y="546"/>
                  </a:lnTo>
                  <a:lnTo>
                    <a:pt x="966" y="546"/>
                  </a:lnTo>
                  <a:close/>
                  <a:moveTo>
                    <a:pt x="2825" y="546"/>
                  </a:moveTo>
                  <a:lnTo>
                    <a:pt x="2927" y="555"/>
                  </a:lnTo>
                  <a:lnTo>
                    <a:pt x="2894" y="567"/>
                  </a:lnTo>
                  <a:lnTo>
                    <a:pt x="2872" y="567"/>
                  </a:lnTo>
                  <a:lnTo>
                    <a:pt x="2818" y="546"/>
                  </a:lnTo>
                  <a:lnTo>
                    <a:pt x="2825" y="546"/>
                  </a:lnTo>
                  <a:lnTo>
                    <a:pt x="2825" y="546"/>
                  </a:lnTo>
                  <a:lnTo>
                    <a:pt x="2825" y="546"/>
                  </a:lnTo>
                  <a:close/>
                  <a:moveTo>
                    <a:pt x="2046" y="551"/>
                  </a:moveTo>
                  <a:lnTo>
                    <a:pt x="2100" y="551"/>
                  </a:lnTo>
                  <a:lnTo>
                    <a:pt x="2105" y="551"/>
                  </a:lnTo>
                  <a:lnTo>
                    <a:pt x="2105" y="567"/>
                  </a:lnTo>
                  <a:lnTo>
                    <a:pt x="2079" y="567"/>
                  </a:lnTo>
                  <a:lnTo>
                    <a:pt x="2046" y="572"/>
                  </a:lnTo>
                  <a:lnTo>
                    <a:pt x="2036" y="555"/>
                  </a:lnTo>
                  <a:lnTo>
                    <a:pt x="2046" y="551"/>
                  </a:lnTo>
                  <a:lnTo>
                    <a:pt x="2046" y="551"/>
                  </a:lnTo>
                  <a:lnTo>
                    <a:pt x="2046" y="551"/>
                  </a:lnTo>
                  <a:close/>
                  <a:moveTo>
                    <a:pt x="2461" y="551"/>
                  </a:moveTo>
                  <a:lnTo>
                    <a:pt x="2469" y="555"/>
                  </a:lnTo>
                  <a:lnTo>
                    <a:pt x="2461" y="572"/>
                  </a:lnTo>
                  <a:lnTo>
                    <a:pt x="2445" y="572"/>
                  </a:lnTo>
                  <a:lnTo>
                    <a:pt x="2414" y="567"/>
                  </a:lnTo>
                  <a:lnTo>
                    <a:pt x="2461" y="551"/>
                  </a:lnTo>
                  <a:lnTo>
                    <a:pt x="2461" y="551"/>
                  </a:lnTo>
                  <a:lnTo>
                    <a:pt x="2461" y="551"/>
                  </a:lnTo>
                  <a:close/>
                  <a:moveTo>
                    <a:pt x="1961" y="555"/>
                  </a:moveTo>
                  <a:lnTo>
                    <a:pt x="1954" y="567"/>
                  </a:lnTo>
                  <a:lnTo>
                    <a:pt x="1954" y="555"/>
                  </a:lnTo>
                  <a:lnTo>
                    <a:pt x="1961" y="555"/>
                  </a:lnTo>
                  <a:lnTo>
                    <a:pt x="1961" y="555"/>
                  </a:lnTo>
                  <a:lnTo>
                    <a:pt x="1961" y="555"/>
                  </a:lnTo>
                  <a:close/>
                  <a:moveTo>
                    <a:pt x="2117" y="555"/>
                  </a:moveTo>
                  <a:lnTo>
                    <a:pt x="2187" y="555"/>
                  </a:lnTo>
                  <a:lnTo>
                    <a:pt x="2121" y="567"/>
                  </a:lnTo>
                  <a:lnTo>
                    <a:pt x="2105" y="567"/>
                  </a:lnTo>
                  <a:lnTo>
                    <a:pt x="2117" y="555"/>
                  </a:lnTo>
                  <a:lnTo>
                    <a:pt x="2117" y="555"/>
                  </a:lnTo>
                  <a:lnTo>
                    <a:pt x="2117" y="555"/>
                  </a:lnTo>
                  <a:close/>
                  <a:moveTo>
                    <a:pt x="2008" y="567"/>
                  </a:moveTo>
                  <a:lnTo>
                    <a:pt x="2008" y="572"/>
                  </a:lnTo>
                  <a:lnTo>
                    <a:pt x="1998" y="567"/>
                  </a:lnTo>
                  <a:lnTo>
                    <a:pt x="2008" y="567"/>
                  </a:lnTo>
                  <a:lnTo>
                    <a:pt x="2008" y="567"/>
                  </a:lnTo>
                  <a:lnTo>
                    <a:pt x="2008" y="567"/>
                  </a:lnTo>
                  <a:close/>
                  <a:moveTo>
                    <a:pt x="2154" y="572"/>
                  </a:moveTo>
                  <a:lnTo>
                    <a:pt x="2159" y="605"/>
                  </a:lnTo>
                  <a:lnTo>
                    <a:pt x="2143" y="584"/>
                  </a:lnTo>
                  <a:lnTo>
                    <a:pt x="2154" y="572"/>
                  </a:lnTo>
                  <a:lnTo>
                    <a:pt x="2154" y="572"/>
                  </a:lnTo>
                  <a:lnTo>
                    <a:pt x="2154" y="572"/>
                  </a:lnTo>
                  <a:close/>
                  <a:moveTo>
                    <a:pt x="324" y="600"/>
                  </a:moveTo>
                  <a:lnTo>
                    <a:pt x="302" y="589"/>
                  </a:lnTo>
                  <a:lnTo>
                    <a:pt x="302" y="572"/>
                  </a:lnTo>
                  <a:lnTo>
                    <a:pt x="307" y="572"/>
                  </a:lnTo>
                  <a:lnTo>
                    <a:pt x="324" y="600"/>
                  </a:lnTo>
                  <a:lnTo>
                    <a:pt x="324" y="600"/>
                  </a:lnTo>
                  <a:lnTo>
                    <a:pt x="324" y="600"/>
                  </a:lnTo>
                  <a:close/>
                  <a:moveTo>
                    <a:pt x="345" y="629"/>
                  </a:moveTo>
                  <a:lnTo>
                    <a:pt x="333" y="629"/>
                  </a:lnTo>
                  <a:lnTo>
                    <a:pt x="333" y="605"/>
                  </a:lnTo>
                  <a:lnTo>
                    <a:pt x="345" y="629"/>
                  </a:lnTo>
                  <a:lnTo>
                    <a:pt x="345" y="629"/>
                  </a:lnTo>
                  <a:lnTo>
                    <a:pt x="345" y="629"/>
                  </a:lnTo>
                  <a:close/>
                  <a:moveTo>
                    <a:pt x="862" y="629"/>
                  </a:moveTo>
                  <a:lnTo>
                    <a:pt x="874" y="612"/>
                  </a:lnTo>
                  <a:lnTo>
                    <a:pt x="879" y="612"/>
                  </a:lnTo>
                  <a:lnTo>
                    <a:pt x="900" y="612"/>
                  </a:lnTo>
                  <a:lnTo>
                    <a:pt x="917" y="638"/>
                  </a:lnTo>
                  <a:lnTo>
                    <a:pt x="900" y="662"/>
                  </a:lnTo>
                  <a:lnTo>
                    <a:pt x="895" y="662"/>
                  </a:lnTo>
                  <a:lnTo>
                    <a:pt x="891" y="645"/>
                  </a:lnTo>
                  <a:lnTo>
                    <a:pt x="879" y="655"/>
                  </a:lnTo>
                  <a:lnTo>
                    <a:pt x="862" y="662"/>
                  </a:lnTo>
                  <a:lnTo>
                    <a:pt x="862" y="629"/>
                  </a:lnTo>
                  <a:lnTo>
                    <a:pt x="862" y="629"/>
                  </a:lnTo>
                  <a:lnTo>
                    <a:pt x="862" y="629"/>
                  </a:lnTo>
                  <a:close/>
                  <a:moveTo>
                    <a:pt x="361" y="666"/>
                  </a:moveTo>
                  <a:lnTo>
                    <a:pt x="345" y="645"/>
                  </a:lnTo>
                  <a:lnTo>
                    <a:pt x="345" y="629"/>
                  </a:lnTo>
                  <a:lnTo>
                    <a:pt x="361" y="645"/>
                  </a:lnTo>
                  <a:lnTo>
                    <a:pt x="361" y="655"/>
                  </a:lnTo>
                  <a:lnTo>
                    <a:pt x="361" y="666"/>
                  </a:lnTo>
                  <a:lnTo>
                    <a:pt x="361" y="666"/>
                  </a:lnTo>
                  <a:lnTo>
                    <a:pt x="361" y="666"/>
                  </a:lnTo>
                  <a:close/>
                  <a:moveTo>
                    <a:pt x="2294" y="683"/>
                  </a:moveTo>
                  <a:lnTo>
                    <a:pt x="2284" y="662"/>
                  </a:lnTo>
                  <a:lnTo>
                    <a:pt x="2306" y="638"/>
                  </a:lnTo>
                  <a:lnTo>
                    <a:pt x="2360" y="638"/>
                  </a:lnTo>
                  <a:lnTo>
                    <a:pt x="2376" y="645"/>
                  </a:lnTo>
                  <a:lnTo>
                    <a:pt x="2407" y="629"/>
                  </a:lnTo>
                  <a:lnTo>
                    <a:pt x="2440" y="645"/>
                  </a:lnTo>
                  <a:lnTo>
                    <a:pt x="2461" y="645"/>
                  </a:lnTo>
                  <a:lnTo>
                    <a:pt x="2478" y="655"/>
                  </a:lnTo>
                  <a:lnTo>
                    <a:pt x="2485" y="666"/>
                  </a:lnTo>
                  <a:lnTo>
                    <a:pt x="2495" y="678"/>
                  </a:lnTo>
                  <a:lnTo>
                    <a:pt x="2499" y="683"/>
                  </a:lnTo>
                  <a:lnTo>
                    <a:pt x="2495" y="711"/>
                  </a:lnTo>
                  <a:lnTo>
                    <a:pt x="2440" y="678"/>
                  </a:lnTo>
                  <a:lnTo>
                    <a:pt x="2431" y="666"/>
                  </a:lnTo>
                  <a:lnTo>
                    <a:pt x="2402" y="666"/>
                  </a:lnTo>
                  <a:lnTo>
                    <a:pt x="2402" y="678"/>
                  </a:lnTo>
                  <a:lnTo>
                    <a:pt x="2360" y="666"/>
                  </a:lnTo>
                  <a:lnTo>
                    <a:pt x="2369" y="662"/>
                  </a:lnTo>
                  <a:lnTo>
                    <a:pt x="2360" y="662"/>
                  </a:lnTo>
                  <a:lnTo>
                    <a:pt x="2332" y="678"/>
                  </a:lnTo>
                  <a:lnTo>
                    <a:pt x="2306" y="655"/>
                  </a:lnTo>
                  <a:lnTo>
                    <a:pt x="2294" y="683"/>
                  </a:lnTo>
                  <a:lnTo>
                    <a:pt x="2294" y="683"/>
                  </a:lnTo>
                  <a:lnTo>
                    <a:pt x="2294" y="683"/>
                  </a:lnTo>
                  <a:close/>
                  <a:moveTo>
                    <a:pt x="858" y="629"/>
                  </a:moveTo>
                  <a:lnTo>
                    <a:pt x="858" y="638"/>
                  </a:lnTo>
                  <a:lnTo>
                    <a:pt x="848" y="638"/>
                  </a:lnTo>
                  <a:lnTo>
                    <a:pt x="858" y="629"/>
                  </a:lnTo>
                  <a:lnTo>
                    <a:pt x="858" y="629"/>
                  </a:lnTo>
                  <a:lnTo>
                    <a:pt x="858" y="629"/>
                  </a:lnTo>
                  <a:close/>
                  <a:moveTo>
                    <a:pt x="810" y="638"/>
                  </a:moveTo>
                  <a:lnTo>
                    <a:pt x="820" y="638"/>
                  </a:lnTo>
                  <a:lnTo>
                    <a:pt x="820" y="645"/>
                  </a:lnTo>
                  <a:lnTo>
                    <a:pt x="803" y="645"/>
                  </a:lnTo>
                  <a:lnTo>
                    <a:pt x="810" y="638"/>
                  </a:lnTo>
                  <a:lnTo>
                    <a:pt x="810" y="638"/>
                  </a:lnTo>
                  <a:lnTo>
                    <a:pt x="810" y="638"/>
                  </a:lnTo>
                  <a:close/>
                  <a:moveTo>
                    <a:pt x="2294" y="638"/>
                  </a:moveTo>
                  <a:lnTo>
                    <a:pt x="2294" y="645"/>
                  </a:lnTo>
                  <a:lnTo>
                    <a:pt x="2284" y="645"/>
                  </a:lnTo>
                  <a:lnTo>
                    <a:pt x="2294" y="638"/>
                  </a:lnTo>
                  <a:lnTo>
                    <a:pt x="2294" y="638"/>
                  </a:lnTo>
                  <a:lnTo>
                    <a:pt x="2294" y="638"/>
                  </a:lnTo>
                  <a:close/>
                  <a:moveTo>
                    <a:pt x="2171" y="655"/>
                  </a:moveTo>
                  <a:lnTo>
                    <a:pt x="2171" y="662"/>
                  </a:lnTo>
                  <a:lnTo>
                    <a:pt x="2187" y="655"/>
                  </a:lnTo>
                  <a:lnTo>
                    <a:pt x="2209" y="645"/>
                  </a:lnTo>
                  <a:lnTo>
                    <a:pt x="2230" y="655"/>
                  </a:lnTo>
                  <a:lnTo>
                    <a:pt x="2242" y="662"/>
                  </a:lnTo>
                  <a:lnTo>
                    <a:pt x="2230" y="666"/>
                  </a:lnTo>
                  <a:lnTo>
                    <a:pt x="2246" y="666"/>
                  </a:lnTo>
                  <a:lnTo>
                    <a:pt x="2246" y="695"/>
                  </a:lnTo>
                  <a:lnTo>
                    <a:pt x="2209" y="700"/>
                  </a:lnTo>
                  <a:lnTo>
                    <a:pt x="2192" y="700"/>
                  </a:lnTo>
                  <a:lnTo>
                    <a:pt x="2159" y="678"/>
                  </a:lnTo>
                  <a:lnTo>
                    <a:pt x="2159" y="662"/>
                  </a:lnTo>
                  <a:lnTo>
                    <a:pt x="2171" y="655"/>
                  </a:lnTo>
                  <a:lnTo>
                    <a:pt x="2171" y="655"/>
                  </a:lnTo>
                  <a:lnTo>
                    <a:pt x="2171" y="655"/>
                  </a:lnTo>
                  <a:close/>
                  <a:moveTo>
                    <a:pt x="2280" y="655"/>
                  </a:moveTo>
                  <a:lnTo>
                    <a:pt x="2284" y="662"/>
                  </a:lnTo>
                  <a:lnTo>
                    <a:pt x="2268" y="662"/>
                  </a:lnTo>
                  <a:lnTo>
                    <a:pt x="2280" y="655"/>
                  </a:lnTo>
                  <a:lnTo>
                    <a:pt x="2280" y="655"/>
                  </a:lnTo>
                  <a:lnTo>
                    <a:pt x="2280" y="655"/>
                  </a:lnTo>
                  <a:close/>
                  <a:moveTo>
                    <a:pt x="1474" y="662"/>
                  </a:moveTo>
                  <a:lnTo>
                    <a:pt x="1474" y="711"/>
                  </a:lnTo>
                  <a:lnTo>
                    <a:pt x="1458" y="716"/>
                  </a:lnTo>
                  <a:lnTo>
                    <a:pt x="1458" y="695"/>
                  </a:lnTo>
                  <a:lnTo>
                    <a:pt x="1469" y="666"/>
                  </a:lnTo>
                  <a:lnTo>
                    <a:pt x="1474" y="662"/>
                  </a:lnTo>
                  <a:lnTo>
                    <a:pt x="1474" y="662"/>
                  </a:lnTo>
                  <a:lnTo>
                    <a:pt x="1474" y="662"/>
                  </a:lnTo>
                  <a:close/>
                  <a:moveTo>
                    <a:pt x="2268" y="662"/>
                  </a:moveTo>
                  <a:lnTo>
                    <a:pt x="2268" y="666"/>
                  </a:lnTo>
                  <a:lnTo>
                    <a:pt x="2263" y="666"/>
                  </a:lnTo>
                  <a:lnTo>
                    <a:pt x="2268" y="662"/>
                  </a:lnTo>
                  <a:lnTo>
                    <a:pt x="2268" y="662"/>
                  </a:lnTo>
                  <a:lnTo>
                    <a:pt x="2268" y="662"/>
                  </a:lnTo>
                  <a:close/>
                  <a:moveTo>
                    <a:pt x="1484" y="678"/>
                  </a:moveTo>
                  <a:lnTo>
                    <a:pt x="1484" y="695"/>
                  </a:lnTo>
                  <a:lnTo>
                    <a:pt x="1474" y="683"/>
                  </a:lnTo>
                  <a:lnTo>
                    <a:pt x="1484" y="678"/>
                  </a:lnTo>
                  <a:lnTo>
                    <a:pt x="1484" y="678"/>
                  </a:lnTo>
                  <a:lnTo>
                    <a:pt x="1484" y="678"/>
                  </a:lnTo>
                  <a:close/>
                  <a:moveTo>
                    <a:pt x="2339" y="678"/>
                  </a:moveTo>
                  <a:lnTo>
                    <a:pt x="2348" y="678"/>
                  </a:lnTo>
                  <a:lnTo>
                    <a:pt x="2348" y="683"/>
                  </a:lnTo>
                  <a:lnTo>
                    <a:pt x="2339" y="695"/>
                  </a:lnTo>
                  <a:lnTo>
                    <a:pt x="2339" y="678"/>
                  </a:lnTo>
                  <a:lnTo>
                    <a:pt x="2339" y="678"/>
                  </a:lnTo>
                  <a:lnTo>
                    <a:pt x="2339" y="678"/>
                  </a:lnTo>
                  <a:close/>
                  <a:moveTo>
                    <a:pt x="2301" y="683"/>
                  </a:moveTo>
                  <a:lnTo>
                    <a:pt x="2322" y="683"/>
                  </a:lnTo>
                  <a:lnTo>
                    <a:pt x="2317" y="700"/>
                  </a:lnTo>
                  <a:lnTo>
                    <a:pt x="2306" y="700"/>
                  </a:lnTo>
                  <a:lnTo>
                    <a:pt x="2306" y="695"/>
                  </a:lnTo>
                  <a:lnTo>
                    <a:pt x="2294" y="700"/>
                  </a:lnTo>
                  <a:lnTo>
                    <a:pt x="2294" y="695"/>
                  </a:lnTo>
                  <a:lnTo>
                    <a:pt x="2301" y="683"/>
                  </a:lnTo>
                  <a:lnTo>
                    <a:pt x="2301" y="683"/>
                  </a:lnTo>
                  <a:lnTo>
                    <a:pt x="2301" y="683"/>
                  </a:lnTo>
                  <a:close/>
                  <a:moveTo>
                    <a:pt x="2332" y="683"/>
                  </a:moveTo>
                  <a:lnTo>
                    <a:pt x="2339" y="683"/>
                  </a:lnTo>
                  <a:lnTo>
                    <a:pt x="2322" y="695"/>
                  </a:lnTo>
                  <a:lnTo>
                    <a:pt x="2332" y="683"/>
                  </a:lnTo>
                  <a:lnTo>
                    <a:pt x="2332" y="683"/>
                  </a:lnTo>
                  <a:lnTo>
                    <a:pt x="2332" y="683"/>
                  </a:lnTo>
                  <a:close/>
                  <a:moveTo>
                    <a:pt x="1954" y="683"/>
                  </a:moveTo>
                  <a:lnTo>
                    <a:pt x="1961" y="683"/>
                  </a:lnTo>
                  <a:lnTo>
                    <a:pt x="1954" y="695"/>
                  </a:lnTo>
                  <a:lnTo>
                    <a:pt x="1954" y="683"/>
                  </a:lnTo>
                  <a:lnTo>
                    <a:pt x="1954" y="683"/>
                  </a:lnTo>
                  <a:lnTo>
                    <a:pt x="1954" y="683"/>
                  </a:lnTo>
                  <a:close/>
                  <a:moveTo>
                    <a:pt x="2246" y="700"/>
                  </a:moveTo>
                  <a:lnTo>
                    <a:pt x="2246" y="711"/>
                  </a:lnTo>
                  <a:lnTo>
                    <a:pt x="2242" y="711"/>
                  </a:lnTo>
                  <a:lnTo>
                    <a:pt x="2246" y="700"/>
                  </a:lnTo>
                  <a:lnTo>
                    <a:pt x="2246" y="700"/>
                  </a:lnTo>
                  <a:lnTo>
                    <a:pt x="2246" y="700"/>
                  </a:lnTo>
                  <a:close/>
                  <a:moveTo>
                    <a:pt x="2726" y="711"/>
                  </a:moveTo>
                  <a:lnTo>
                    <a:pt x="2733" y="716"/>
                  </a:lnTo>
                  <a:lnTo>
                    <a:pt x="2726" y="711"/>
                  </a:lnTo>
                  <a:lnTo>
                    <a:pt x="2726" y="711"/>
                  </a:lnTo>
                  <a:lnTo>
                    <a:pt x="2726" y="711"/>
                  </a:lnTo>
                  <a:close/>
                  <a:moveTo>
                    <a:pt x="1954" y="716"/>
                  </a:moveTo>
                  <a:lnTo>
                    <a:pt x="1970" y="723"/>
                  </a:lnTo>
                  <a:lnTo>
                    <a:pt x="1961" y="733"/>
                  </a:lnTo>
                  <a:lnTo>
                    <a:pt x="1944" y="723"/>
                  </a:lnTo>
                  <a:lnTo>
                    <a:pt x="1954" y="716"/>
                  </a:lnTo>
                  <a:lnTo>
                    <a:pt x="1954" y="716"/>
                  </a:lnTo>
                  <a:lnTo>
                    <a:pt x="1954" y="716"/>
                  </a:lnTo>
                  <a:close/>
                  <a:moveTo>
                    <a:pt x="2674" y="723"/>
                  </a:moveTo>
                  <a:lnTo>
                    <a:pt x="2695" y="740"/>
                  </a:lnTo>
                  <a:lnTo>
                    <a:pt x="2674" y="733"/>
                  </a:lnTo>
                  <a:lnTo>
                    <a:pt x="2674" y="723"/>
                  </a:lnTo>
                  <a:lnTo>
                    <a:pt x="2674" y="723"/>
                  </a:lnTo>
                  <a:lnTo>
                    <a:pt x="2674" y="723"/>
                  </a:lnTo>
                  <a:close/>
                  <a:moveTo>
                    <a:pt x="1954" y="749"/>
                  </a:moveTo>
                  <a:lnTo>
                    <a:pt x="1961" y="756"/>
                  </a:lnTo>
                  <a:lnTo>
                    <a:pt x="1961" y="778"/>
                  </a:lnTo>
                  <a:lnTo>
                    <a:pt x="1954" y="766"/>
                  </a:lnTo>
                  <a:lnTo>
                    <a:pt x="1954" y="773"/>
                  </a:lnTo>
                  <a:lnTo>
                    <a:pt x="1944" y="794"/>
                  </a:lnTo>
                  <a:lnTo>
                    <a:pt x="1961" y="811"/>
                  </a:lnTo>
                  <a:lnTo>
                    <a:pt x="1939" y="822"/>
                  </a:lnTo>
                  <a:lnTo>
                    <a:pt x="1939" y="834"/>
                  </a:lnTo>
                  <a:lnTo>
                    <a:pt x="1923" y="834"/>
                  </a:lnTo>
                  <a:lnTo>
                    <a:pt x="1916" y="827"/>
                  </a:lnTo>
                  <a:lnTo>
                    <a:pt x="1928" y="794"/>
                  </a:lnTo>
                  <a:lnTo>
                    <a:pt x="1939" y="756"/>
                  </a:lnTo>
                  <a:lnTo>
                    <a:pt x="1954" y="749"/>
                  </a:lnTo>
                  <a:lnTo>
                    <a:pt x="1954" y="749"/>
                  </a:lnTo>
                  <a:lnTo>
                    <a:pt x="1954" y="749"/>
                  </a:lnTo>
                  <a:close/>
                  <a:moveTo>
                    <a:pt x="1928" y="766"/>
                  </a:moveTo>
                  <a:lnTo>
                    <a:pt x="1928" y="789"/>
                  </a:lnTo>
                  <a:lnTo>
                    <a:pt x="1923" y="806"/>
                  </a:lnTo>
                  <a:lnTo>
                    <a:pt x="1923" y="811"/>
                  </a:lnTo>
                  <a:lnTo>
                    <a:pt x="1916" y="822"/>
                  </a:lnTo>
                  <a:lnTo>
                    <a:pt x="1902" y="822"/>
                  </a:lnTo>
                  <a:lnTo>
                    <a:pt x="1906" y="794"/>
                  </a:lnTo>
                  <a:lnTo>
                    <a:pt x="1902" y="778"/>
                  </a:lnTo>
                  <a:lnTo>
                    <a:pt x="1928" y="766"/>
                  </a:lnTo>
                  <a:lnTo>
                    <a:pt x="1928" y="766"/>
                  </a:lnTo>
                  <a:lnTo>
                    <a:pt x="1928" y="766"/>
                  </a:lnTo>
                  <a:close/>
                  <a:moveTo>
                    <a:pt x="1873" y="794"/>
                  </a:moveTo>
                  <a:lnTo>
                    <a:pt x="1885" y="822"/>
                  </a:lnTo>
                  <a:lnTo>
                    <a:pt x="1873" y="822"/>
                  </a:lnTo>
                  <a:lnTo>
                    <a:pt x="1864" y="811"/>
                  </a:lnTo>
                  <a:lnTo>
                    <a:pt x="1869" y="794"/>
                  </a:lnTo>
                  <a:lnTo>
                    <a:pt x="1873" y="794"/>
                  </a:lnTo>
                  <a:lnTo>
                    <a:pt x="1873" y="794"/>
                  </a:lnTo>
                  <a:lnTo>
                    <a:pt x="1873" y="794"/>
                  </a:lnTo>
                  <a:close/>
                  <a:moveTo>
                    <a:pt x="501" y="827"/>
                  </a:moveTo>
                  <a:lnTo>
                    <a:pt x="480" y="811"/>
                  </a:lnTo>
                  <a:lnTo>
                    <a:pt x="484" y="811"/>
                  </a:lnTo>
                  <a:lnTo>
                    <a:pt x="501" y="822"/>
                  </a:lnTo>
                  <a:lnTo>
                    <a:pt x="501" y="827"/>
                  </a:lnTo>
                  <a:lnTo>
                    <a:pt x="501" y="827"/>
                  </a:lnTo>
                  <a:lnTo>
                    <a:pt x="501" y="827"/>
                  </a:lnTo>
                  <a:close/>
                  <a:moveTo>
                    <a:pt x="2662" y="811"/>
                  </a:moveTo>
                  <a:lnTo>
                    <a:pt x="2658" y="834"/>
                  </a:lnTo>
                  <a:lnTo>
                    <a:pt x="2641" y="860"/>
                  </a:lnTo>
                  <a:lnTo>
                    <a:pt x="2658" y="811"/>
                  </a:lnTo>
                  <a:lnTo>
                    <a:pt x="2662" y="811"/>
                  </a:lnTo>
                  <a:lnTo>
                    <a:pt x="2662" y="811"/>
                  </a:lnTo>
                  <a:lnTo>
                    <a:pt x="2662" y="811"/>
                  </a:lnTo>
                  <a:close/>
                  <a:moveTo>
                    <a:pt x="2754" y="822"/>
                  </a:moveTo>
                  <a:lnTo>
                    <a:pt x="2764" y="827"/>
                  </a:lnTo>
                  <a:lnTo>
                    <a:pt x="2771" y="851"/>
                  </a:lnTo>
                  <a:lnTo>
                    <a:pt x="2771" y="860"/>
                  </a:lnTo>
                  <a:lnTo>
                    <a:pt x="2764" y="860"/>
                  </a:lnTo>
                  <a:lnTo>
                    <a:pt x="2738" y="860"/>
                  </a:lnTo>
                  <a:lnTo>
                    <a:pt x="2750" y="844"/>
                  </a:lnTo>
                  <a:lnTo>
                    <a:pt x="2733" y="844"/>
                  </a:lnTo>
                  <a:lnTo>
                    <a:pt x="2738" y="844"/>
                  </a:lnTo>
                  <a:lnTo>
                    <a:pt x="2754" y="822"/>
                  </a:lnTo>
                  <a:lnTo>
                    <a:pt x="2754" y="822"/>
                  </a:lnTo>
                  <a:lnTo>
                    <a:pt x="2754" y="822"/>
                  </a:lnTo>
                  <a:close/>
                  <a:moveTo>
                    <a:pt x="2629" y="834"/>
                  </a:moveTo>
                  <a:lnTo>
                    <a:pt x="2629" y="851"/>
                  </a:lnTo>
                  <a:lnTo>
                    <a:pt x="2629" y="860"/>
                  </a:lnTo>
                  <a:lnTo>
                    <a:pt x="2624" y="834"/>
                  </a:lnTo>
                  <a:lnTo>
                    <a:pt x="2629" y="834"/>
                  </a:lnTo>
                  <a:lnTo>
                    <a:pt x="2629" y="834"/>
                  </a:lnTo>
                  <a:lnTo>
                    <a:pt x="2629" y="834"/>
                  </a:lnTo>
                  <a:close/>
                  <a:moveTo>
                    <a:pt x="1226" y="844"/>
                  </a:moveTo>
                  <a:lnTo>
                    <a:pt x="1226" y="851"/>
                  </a:lnTo>
                  <a:lnTo>
                    <a:pt x="1219" y="851"/>
                  </a:lnTo>
                  <a:lnTo>
                    <a:pt x="1226" y="844"/>
                  </a:lnTo>
                  <a:lnTo>
                    <a:pt x="1226" y="844"/>
                  </a:lnTo>
                  <a:lnTo>
                    <a:pt x="1226" y="844"/>
                  </a:lnTo>
                  <a:close/>
                  <a:moveTo>
                    <a:pt x="1765" y="844"/>
                  </a:moveTo>
                  <a:lnTo>
                    <a:pt x="1776" y="867"/>
                  </a:lnTo>
                  <a:lnTo>
                    <a:pt x="1765" y="900"/>
                  </a:lnTo>
                  <a:lnTo>
                    <a:pt x="1765" y="844"/>
                  </a:lnTo>
                  <a:lnTo>
                    <a:pt x="1765" y="844"/>
                  </a:lnTo>
                  <a:lnTo>
                    <a:pt x="1765" y="844"/>
                  </a:lnTo>
                  <a:close/>
                  <a:moveTo>
                    <a:pt x="1361" y="1066"/>
                  </a:moveTo>
                  <a:lnTo>
                    <a:pt x="1332" y="1049"/>
                  </a:lnTo>
                  <a:lnTo>
                    <a:pt x="1323" y="1049"/>
                  </a:lnTo>
                  <a:lnTo>
                    <a:pt x="1295" y="1044"/>
                  </a:lnTo>
                  <a:lnTo>
                    <a:pt x="1257" y="1028"/>
                  </a:lnTo>
                  <a:lnTo>
                    <a:pt x="1219" y="1033"/>
                  </a:lnTo>
                  <a:lnTo>
                    <a:pt x="1160" y="1028"/>
                  </a:lnTo>
                  <a:lnTo>
                    <a:pt x="1150" y="1033"/>
                  </a:lnTo>
                  <a:lnTo>
                    <a:pt x="1080" y="1016"/>
                  </a:lnTo>
                  <a:lnTo>
                    <a:pt x="1037" y="995"/>
                  </a:lnTo>
                  <a:lnTo>
                    <a:pt x="987" y="988"/>
                  </a:lnTo>
                  <a:lnTo>
                    <a:pt x="966" y="988"/>
                  </a:lnTo>
                  <a:lnTo>
                    <a:pt x="954" y="978"/>
                  </a:lnTo>
                  <a:lnTo>
                    <a:pt x="933" y="988"/>
                  </a:lnTo>
                  <a:lnTo>
                    <a:pt x="928" y="995"/>
                  </a:lnTo>
                  <a:lnTo>
                    <a:pt x="900" y="995"/>
                  </a:lnTo>
                  <a:lnTo>
                    <a:pt x="858" y="971"/>
                  </a:lnTo>
                  <a:lnTo>
                    <a:pt x="777" y="962"/>
                  </a:lnTo>
                  <a:lnTo>
                    <a:pt x="777" y="955"/>
                  </a:lnTo>
                  <a:lnTo>
                    <a:pt x="794" y="938"/>
                  </a:lnTo>
                  <a:lnTo>
                    <a:pt x="787" y="933"/>
                  </a:lnTo>
                  <a:lnTo>
                    <a:pt x="777" y="933"/>
                  </a:lnTo>
                  <a:lnTo>
                    <a:pt x="756" y="922"/>
                  </a:lnTo>
                  <a:lnTo>
                    <a:pt x="718" y="922"/>
                  </a:lnTo>
                  <a:lnTo>
                    <a:pt x="702" y="917"/>
                  </a:lnTo>
                  <a:lnTo>
                    <a:pt x="718" y="922"/>
                  </a:lnTo>
                  <a:lnTo>
                    <a:pt x="723" y="905"/>
                  </a:lnTo>
                  <a:lnTo>
                    <a:pt x="723" y="900"/>
                  </a:lnTo>
                  <a:lnTo>
                    <a:pt x="739" y="889"/>
                  </a:lnTo>
                  <a:lnTo>
                    <a:pt x="739" y="867"/>
                  </a:lnTo>
                  <a:lnTo>
                    <a:pt x="756" y="851"/>
                  </a:lnTo>
                  <a:lnTo>
                    <a:pt x="765" y="860"/>
                  </a:lnTo>
                  <a:lnTo>
                    <a:pt x="773" y="860"/>
                  </a:lnTo>
                  <a:lnTo>
                    <a:pt x="787" y="867"/>
                  </a:lnTo>
                  <a:lnTo>
                    <a:pt x="803" y="860"/>
                  </a:lnTo>
                  <a:lnTo>
                    <a:pt x="810" y="867"/>
                  </a:lnTo>
                  <a:lnTo>
                    <a:pt x="824" y="867"/>
                  </a:lnTo>
                  <a:lnTo>
                    <a:pt x="824" y="851"/>
                  </a:lnTo>
                  <a:lnTo>
                    <a:pt x="848" y="860"/>
                  </a:lnTo>
                  <a:lnTo>
                    <a:pt x="874" y="884"/>
                  </a:lnTo>
                  <a:lnTo>
                    <a:pt x="891" y="877"/>
                  </a:lnTo>
                  <a:lnTo>
                    <a:pt x="900" y="884"/>
                  </a:lnTo>
                  <a:lnTo>
                    <a:pt x="917" y="884"/>
                  </a:lnTo>
                  <a:lnTo>
                    <a:pt x="933" y="900"/>
                  </a:lnTo>
                  <a:lnTo>
                    <a:pt x="933" y="917"/>
                  </a:lnTo>
                  <a:lnTo>
                    <a:pt x="983" y="922"/>
                  </a:lnTo>
                  <a:lnTo>
                    <a:pt x="1004" y="922"/>
                  </a:lnTo>
                  <a:lnTo>
                    <a:pt x="1063" y="933"/>
                  </a:lnTo>
                  <a:lnTo>
                    <a:pt x="1075" y="922"/>
                  </a:lnTo>
                  <a:lnTo>
                    <a:pt x="1089" y="889"/>
                  </a:lnTo>
                  <a:lnTo>
                    <a:pt x="1096" y="889"/>
                  </a:lnTo>
                  <a:lnTo>
                    <a:pt x="1113" y="889"/>
                  </a:lnTo>
                  <a:lnTo>
                    <a:pt x="1113" y="917"/>
                  </a:lnTo>
                  <a:lnTo>
                    <a:pt x="1134" y="917"/>
                  </a:lnTo>
                  <a:lnTo>
                    <a:pt x="1143" y="905"/>
                  </a:lnTo>
                  <a:lnTo>
                    <a:pt x="1160" y="917"/>
                  </a:lnTo>
                  <a:lnTo>
                    <a:pt x="1172" y="917"/>
                  </a:lnTo>
                  <a:lnTo>
                    <a:pt x="1181" y="933"/>
                  </a:lnTo>
                  <a:lnTo>
                    <a:pt x="1214" y="933"/>
                  </a:lnTo>
                  <a:lnTo>
                    <a:pt x="1219" y="945"/>
                  </a:lnTo>
                  <a:lnTo>
                    <a:pt x="1226" y="945"/>
                  </a:lnTo>
                  <a:lnTo>
                    <a:pt x="1235" y="955"/>
                  </a:lnTo>
                  <a:lnTo>
                    <a:pt x="1226" y="971"/>
                  </a:lnTo>
                  <a:lnTo>
                    <a:pt x="1257" y="988"/>
                  </a:lnTo>
                  <a:lnTo>
                    <a:pt x="1295" y="988"/>
                  </a:lnTo>
                  <a:lnTo>
                    <a:pt x="1323" y="978"/>
                  </a:lnTo>
                  <a:lnTo>
                    <a:pt x="1344" y="995"/>
                  </a:lnTo>
                  <a:lnTo>
                    <a:pt x="1344" y="1033"/>
                  </a:lnTo>
                  <a:lnTo>
                    <a:pt x="1349" y="1049"/>
                  </a:lnTo>
                  <a:lnTo>
                    <a:pt x="1361" y="1056"/>
                  </a:lnTo>
                  <a:lnTo>
                    <a:pt x="1361" y="1066"/>
                  </a:lnTo>
                  <a:lnTo>
                    <a:pt x="1361" y="1066"/>
                  </a:lnTo>
                  <a:lnTo>
                    <a:pt x="1361" y="1066"/>
                  </a:lnTo>
                  <a:close/>
                  <a:moveTo>
                    <a:pt x="2754" y="860"/>
                  </a:moveTo>
                  <a:lnTo>
                    <a:pt x="2764" y="860"/>
                  </a:lnTo>
                  <a:lnTo>
                    <a:pt x="2771" y="867"/>
                  </a:lnTo>
                  <a:lnTo>
                    <a:pt x="2771" y="884"/>
                  </a:lnTo>
                  <a:lnTo>
                    <a:pt x="2764" y="889"/>
                  </a:lnTo>
                  <a:lnTo>
                    <a:pt x="2738" y="867"/>
                  </a:lnTo>
                  <a:lnTo>
                    <a:pt x="2754" y="860"/>
                  </a:lnTo>
                  <a:lnTo>
                    <a:pt x="2754" y="860"/>
                  </a:lnTo>
                  <a:lnTo>
                    <a:pt x="2754" y="860"/>
                  </a:lnTo>
                  <a:close/>
                  <a:moveTo>
                    <a:pt x="2733" y="860"/>
                  </a:moveTo>
                  <a:lnTo>
                    <a:pt x="2733" y="867"/>
                  </a:lnTo>
                  <a:lnTo>
                    <a:pt x="2750" y="884"/>
                  </a:lnTo>
                  <a:lnTo>
                    <a:pt x="2738" y="884"/>
                  </a:lnTo>
                  <a:lnTo>
                    <a:pt x="2726" y="867"/>
                  </a:lnTo>
                  <a:lnTo>
                    <a:pt x="2726" y="860"/>
                  </a:lnTo>
                  <a:lnTo>
                    <a:pt x="2733" y="860"/>
                  </a:lnTo>
                  <a:lnTo>
                    <a:pt x="2733" y="860"/>
                  </a:lnTo>
                  <a:lnTo>
                    <a:pt x="2733" y="860"/>
                  </a:lnTo>
                  <a:close/>
                  <a:moveTo>
                    <a:pt x="2726" y="877"/>
                  </a:moveTo>
                  <a:lnTo>
                    <a:pt x="2754" y="905"/>
                  </a:lnTo>
                  <a:lnTo>
                    <a:pt x="2733" y="933"/>
                  </a:lnTo>
                  <a:lnTo>
                    <a:pt x="2726" y="917"/>
                  </a:lnTo>
                  <a:lnTo>
                    <a:pt x="2726" y="877"/>
                  </a:lnTo>
                  <a:lnTo>
                    <a:pt x="2726" y="877"/>
                  </a:lnTo>
                  <a:lnTo>
                    <a:pt x="2726" y="877"/>
                  </a:lnTo>
                  <a:close/>
                  <a:moveTo>
                    <a:pt x="2750" y="884"/>
                  </a:moveTo>
                  <a:lnTo>
                    <a:pt x="2764" y="889"/>
                  </a:lnTo>
                  <a:lnTo>
                    <a:pt x="2754" y="900"/>
                  </a:lnTo>
                  <a:lnTo>
                    <a:pt x="2738" y="889"/>
                  </a:lnTo>
                  <a:lnTo>
                    <a:pt x="2750" y="884"/>
                  </a:lnTo>
                  <a:lnTo>
                    <a:pt x="2750" y="884"/>
                  </a:lnTo>
                  <a:lnTo>
                    <a:pt x="2750" y="884"/>
                  </a:lnTo>
                  <a:close/>
                  <a:moveTo>
                    <a:pt x="2780" y="884"/>
                  </a:moveTo>
                  <a:lnTo>
                    <a:pt x="2780" y="900"/>
                  </a:lnTo>
                  <a:lnTo>
                    <a:pt x="2771" y="889"/>
                  </a:lnTo>
                  <a:lnTo>
                    <a:pt x="2780" y="884"/>
                  </a:lnTo>
                  <a:lnTo>
                    <a:pt x="2780" y="884"/>
                  </a:lnTo>
                  <a:lnTo>
                    <a:pt x="2780" y="884"/>
                  </a:lnTo>
                  <a:close/>
                  <a:moveTo>
                    <a:pt x="2764" y="889"/>
                  </a:moveTo>
                  <a:lnTo>
                    <a:pt x="2771" y="900"/>
                  </a:lnTo>
                  <a:lnTo>
                    <a:pt x="2764" y="900"/>
                  </a:lnTo>
                  <a:lnTo>
                    <a:pt x="2764" y="889"/>
                  </a:lnTo>
                  <a:lnTo>
                    <a:pt x="2764" y="889"/>
                  </a:lnTo>
                  <a:lnTo>
                    <a:pt x="2764" y="889"/>
                  </a:lnTo>
                  <a:close/>
                  <a:moveTo>
                    <a:pt x="702" y="900"/>
                  </a:moveTo>
                  <a:lnTo>
                    <a:pt x="697" y="905"/>
                  </a:lnTo>
                  <a:lnTo>
                    <a:pt x="702" y="900"/>
                  </a:lnTo>
                  <a:lnTo>
                    <a:pt x="702" y="900"/>
                  </a:lnTo>
                  <a:lnTo>
                    <a:pt x="702" y="900"/>
                  </a:lnTo>
                  <a:close/>
                  <a:moveTo>
                    <a:pt x="3040" y="917"/>
                  </a:moveTo>
                  <a:lnTo>
                    <a:pt x="3057" y="922"/>
                  </a:lnTo>
                  <a:lnTo>
                    <a:pt x="3052" y="922"/>
                  </a:lnTo>
                  <a:lnTo>
                    <a:pt x="3040" y="917"/>
                  </a:lnTo>
                  <a:lnTo>
                    <a:pt x="3040" y="917"/>
                  </a:lnTo>
                  <a:lnTo>
                    <a:pt x="3040" y="917"/>
                  </a:lnTo>
                  <a:close/>
                  <a:moveTo>
                    <a:pt x="1403" y="922"/>
                  </a:moveTo>
                  <a:lnTo>
                    <a:pt x="1432" y="933"/>
                  </a:lnTo>
                  <a:lnTo>
                    <a:pt x="1415" y="933"/>
                  </a:lnTo>
                  <a:lnTo>
                    <a:pt x="1403" y="933"/>
                  </a:lnTo>
                  <a:lnTo>
                    <a:pt x="1398" y="933"/>
                  </a:lnTo>
                  <a:lnTo>
                    <a:pt x="1403" y="922"/>
                  </a:lnTo>
                  <a:lnTo>
                    <a:pt x="1403" y="922"/>
                  </a:lnTo>
                  <a:lnTo>
                    <a:pt x="1403" y="922"/>
                  </a:lnTo>
                  <a:close/>
                  <a:moveTo>
                    <a:pt x="1243" y="922"/>
                  </a:moveTo>
                  <a:lnTo>
                    <a:pt x="1311" y="922"/>
                  </a:lnTo>
                  <a:lnTo>
                    <a:pt x="1328" y="933"/>
                  </a:lnTo>
                  <a:lnTo>
                    <a:pt x="1280" y="945"/>
                  </a:lnTo>
                  <a:lnTo>
                    <a:pt x="1226" y="945"/>
                  </a:lnTo>
                  <a:lnTo>
                    <a:pt x="1219" y="938"/>
                  </a:lnTo>
                  <a:lnTo>
                    <a:pt x="1243" y="922"/>
                  </a:lnTo>
                  <a:lnTo>
                    <a:pt x="1243" y="922"/>
                  </a:lnTo>
                  <a:lnTo>
                    <a:pt x="1243" y="922"/>
                  </a:lnTo>
                  <a:close/>
                  <a:moveTo>
                    <a:pt x="1781" y="938"/>
                  </a:moveTo>
                  <a:lnTo>
                    <a:pt x="1793" y="938"/>
                  </a:lnTo>
                  <a:lnTo>
                    <a:pt x="1793" y="945"/>
                  </a:lnTo>
                  <a:lnTo>
                    <a:pt x="1781" y="938"/>
                  </a:lnTo>
                  <a:lnTo>
                    <a:pt x="1781" y="938"/>
                  </a:lnTo>
                  <a:lnTo>
                    <a:pt x="1781" y="938"/>
                  </a:lnTo>
                  <a:close/>
                  <a:moveTo>
                    <a:pt x="1332" y="938"/>
                  </a:moveTo>
                  <a:lnTo>
                    <a:pt x="1344" y="945"/>
                  </a:lnTo>
                  <a:lnTo>
                    <a:pt x="1332" y="945"/>
                  </a:lnTo>
                  <a:lnTo>
                    <a:pt x="1332" y="938"/>
                  </a:lnTo>
                  <a:lnTo>
                    <a:pt x="1332" y="938"/>
                  </a:lnTo>
                  <a:lnTo>
                    <a:pt x="1332" y="938"/>
                  </a:lnTo>
                  <a:close/>
                  <a:moveTo>
                    <a:pt x="2339" y="938"/>
                  </a:moveTo>
                  <a:lnTo>
                    <a:pt x="2348" y="938"/>
                  </a:lnTo>
                  <a:lnTo>
                    <a:pt x="2339" y="945"/>
                  </a:lnTo>
                  <a:lnTo>
                    <a:pt x="2332" y="945"/>
                  </a:lnTo>
                  <a:lnTo>
                    <a:pt x="2339" y="938"/>
                  </a:lnTo>
                  <a:lnTo>
                    <a:pt x="2339" y="938"/>
                  </a:lnTo>
                  <a:lnTo>
                    <a:pt x="2339" y="938"/>
                  </a:lnTo>
                  <a:close/>
                  <a:moveTo>
                    <a:pt x="2565" y="938"/>
                  </a:moveTo>
                  <a:lnTo>
                    <a:pt x="2570" y="938"/>
                  </a:lnTo>
                  <a:lnTo>
                    <a:pt x="2575" y="955"/>
                  </a:lnTo>
                  <a:lnTo>
                    <a:pt x="2565" y="938"/>
                  </a:lnTo>
                  <a:lnTo>
                    <a:pt x="2565" y="938"/>
                  </a:lnTo>
                  <a:lnTo>
                    <a:pt x="2565" y="938"/>
                  </a:lnTo>
                  <a:close/>
                  <a:moveTo>
                    <a:pt x="2554" y="938"/>
                  </a:moveTo>
                  <a:lnTo>
                    <a:pt x="2565" y="945"/>
                  </a:lnTo>
                  <a:lnTo>
                    <a:pt x="2554" y="955"/>
                  </a:lnTo>
                  <a:lnTo>
                    <a:pt x="2554" y="978"/>
                  </a:lnTo>
                  <a:lnTo>
                    <a:pt x="2537" y="995"/>
                  </a:lnTo>
                  <a:lnTo>
                    <a:pt x="2532" y="1011"/>
                  </a:lnTo>
                  <a:lnTo>
                    <a:pt x="2516" y="1011"/>
                  </a:lnTo>
                  <a:lnTo>
                    <a:pt x="2516" y="995"/>
                  </a:lnTo>
                  <a:lnTo>
                    <a:pt x="2523" y="971"/>
                  </a:lnTo>
                  <a:lnTo>
                    <a:pt x="2554" y="938"/>
                  </a:lnTo>
                  <a:lnTo>
                    <a:pt x="2554" y="938"/>
                  </a:lnTo>
                  <a:lnTo>
                    <a:pt x="2554" y="938"/>
                  </a:lnTo>
                  <a:close/>
                  <a:moveTo>
                    <a:pt x="1814" y="955"/>
                  </a:moveTo>
                  <a:lnTo>
                    <a:pt x="1819" y="962"/>
                  </a:lnTo>
                  <a:lnTo>
                    <a:pt x="1814" y="962"/>
                  </a:lnTo>
                  <a:lnTo>
                    <a:pt x="1814" y="955"/>
                  </a:lnTo>
                  <a:lnTo>
                    <a:pt x="1814" y="955"/>
                  </a:lnTo>
                  <a:lnTo>
                    <a:pt x="1814" y="955"/>
                  </a:lnTo>
                  <a:close/>
                  <a:moveTo>
                    <a:pt x="1864" y="962"/>
                  </a:moveTo>
                  <a:lnTo>
                    <a:pt x="1869" y="962"/>
                  </a:lnTo>
                  <a:lnTo>
                    <a:pt x="1864" y="962"/>
                  </a:lnTo>
                  <a:lnTo>
                    <a:pt x="1864" y="962"/>
                  </a:lnTo>
                  <a:lnTo>
                    <a:pt x="1864" y="962"/>
                  </a:lnTo>
                  <a:close/>
                  <a:moveTo>
                    <a:pt x="3040" y="962"/>
                  </a:moveTo>
                  <a:lnTo>
                    <a:pt x="3057" y="962"/>
                  </a:lnTo>
                  <a:lnTo>
                    <a:pt x="3073" y="978"/>
                  </a:lnTo>
                  <a:lnTo>
                    <a:pt x="3057" y="1011"/>
                  </a:lnTo>
                  <a:lnTo>
                    <a:pt x="3024" y="1033"/>
                  </a:lnTo>
                  <a:lnTo>
                    <a:pt x="2986" y="1033"/>
                  </a:lnTo>
                  <a:lnTo>
                    <a:pt x="2969" y="1033"/>
                  </a:lnTo>
                  <a:lnTo>
                    <a:pt x="3002" y="978"/>
                  </a:lnTo>
                  <a:lnTo>
                    <a:pt x="3040" y="962"/>
                  </a:lnTo>
                  <a:lnTo>
                    <a:pt x="3040" y="962"/>
                  </a:lnTo>
                  <a:lnTo>
                    <a:pt x="3040" y="962"/>
                  </a:lnTo>
                  <a:close/>
                  <a:moveTo>
                    <a:pt x="2511" y="962"/>
                  </a:moveTo>
                  <a:lnTo>
                    <a:pt x="2523" y="962"/>
                  </a:lnTo>
                  <a:lnTo>
                    <a:pt x="2511" y="971"/>
                  </a:lnTo>
                  <a:lnTo>
                    <a:pt x="2511" y="962"/>
                  </a:lnTo>
                  <a:lnTo>
                    <a:pt x="2511" y="962"/>
                  </a:lnTo>
                  <a:lnTo>
                    <a:pt x="2511" y="962"/>
                  </a:lnTo>
                  <a:close/>
                  <a:moveTo>
                    <a:pt x="2251" y="971"/>
                  </a:moveTo>
                  <a:lnTo>
                    <a:pt x="2263" y="978"/>
                  </a:lnTo>
                  <a:lnTo>
                    <a:pt x="2251" y="978"/>
                  </a:lnTo>
                  <a:lnTo>
                    <a:pt x="2251" y="971"/>
                  </a:lnTo>
                  <a:lnTo>
                    <a:pt x="2251" y="971"/>
                  </a:lnTo>
                  <a:lnTo>
                    <a:pt x="2251" y="971"/>
                  </a:lnTo>
                  <a:close/>
                  <a:moveTo>
                    <a:pt x="2154" y="978"/>
                  </a:moveTo>
                  <a:lnTo>
                    <a:pt x="2171" y="988"/>
                  </a:lnTo>
                  <a:lnTo>
                    <a:pt x="2197" y="978"/>
                  </a:lnTo>
                  <a:lnTo>
                    <a:pt x="2213" y="988"/>
                  </a:lnTo>
                  <a:lnTo>
                    <a:pt x="2187" y="1000"/>
                  </a:lnTo>
                  <a:lnTo>
                    <a:pt x="2159" y="995"/>
                  </a:lnTo>
                  <a:lnTo>
                    <a:pt x="2138" y="1011"/>
                  </a:lnTo>
                  <a:lnTo>
                    <a:pt x="2154" y="978"/>
                  </a:lnTo>
                  <a:lnTo>
                    <a:pt x="2154" y="978"/>
                  </a:lnTo>
                  <a:lnTo>
                    <a:pt x="2154" y="978"/>
                  </a:lnTo>
                  <a:close/>
                  <a:moveTo>
                    <a:pt x="2407" y="995"/>
                  </a:moveTo>
                  <a:lnTo>
                    <a:pt x="2424" y="995"/>
                  </a:lnTo>
                  <a:lnTo>
                    <a:pt x="2424" y="1011"/>
                  </a:lnTo>
                  <a:lnTo>
                    <a:pt x="2407" y="1000"/>
                  </a:lnTo>
                  <a:lnTo>
                    <a:pt x="2407" y="995"/>
                  </a:lnTo>
                  <a:lnTo>
                    <a:pt x="2407" y="995"/>
                  </a:lnTo>
                  <a:lnTo>
                    <a:pt x="2407" y="995"/>
                  </a:lnTo>
                  <a:close/>
                  <a:moveTo>
                    <a:pt x="2242" y="1011"/>
                  </a:moveTo>
                  <a:lnTo>
                    <a:pt x="2246" y="1011"/>
                  </a:lnTo>
                  <a:lnTo>
                    <a:pt x="2242" y="1011"/>
                  </a:lnTo>
                  <a:lnTo>
                    <a:pt x="2242" y="1011"/>
                  </a:lnTo>
                  <a:lnTo>
                    <a:pt x="2242" y="1011"/>
                  </a:lnTo>
                  <a:close/>
                  <a:moveTo>
                    <a:pt x="1349" y="1011"/>
                  </a:moveTo>
                  <a:lnTo>
                    <a:pt x="1382" y="1016"/>
                  </a:lnTo>
                  <a:lnTo>
                    <a:pt x="1398" y="1011"/>
                  </a:lnTo>
                  <a:lnTo>
                    <a:pt x="1420" y="1016"/>
                  </a:lnTo>
                  <a:lnTo>
                    <a:pt x="1436" y="1033"/>
                  </a:lnTo>
                  <a:lnTo>
                    <a:pt x="1403" y="1049"/>
                  </a:lnTo>
                  <a:lnTo>
                    <a:pt x="1398" y="1056"/>
                  </a:lnTo>
                  <a:lnTo>
                    <a:pt x="1403" y="1066"/>
                  </a:lnTo>
                  <a:lnTo>
                    <a:pt x="1398" y="1066"/>
                  </a:lnTo>
                  <a:lnTo>
                    <a:pt x="1398" y="1056"/>
                  </a:lnTo>
                  <a:lnTo>
                    <a:pt x="1377" y="1044"/>
                  </a:lnTo>
                  <a:lnTo>
                    <a:pt x="1361" y="1033"/>
                  </a:lnTo>
                  <a:lnTo>
                    <a:pt x="1349" y="1016"/>
                  </a:lnTo>
                  <a:lnTo>
                    <a:pt x="1349" y="1011"/>
                  </a:lnTo>
                  <a:lnTo>
                    <a:pt x="1349" y="1011"/>
                  </a:lnTo>
                  <a:lnTo>
                    <a:pt x="1349" y="1011"/>
                  </a:lnTo>
                  <a:close/>
                  <a:moveTo>
                    <a:pt x="1722" y="1056"/>
                  </a:moveTo>
                  <a:lnTo>
                    <a:pt x="1722" y="1049"/>
                  </a:lnTo>
                  <a:lnTo>
                    <a:pt x="1755" y="1028"/>
                  </a:lnTo>
                  <a:lnTo>
                    <a:pt x="1798" y="1033"/>
                  </a:lnTo>
                  <a:lnTo>
                    <a:pt x="1847" y="1049"/>
                  </a:lnTo>
                  <a:lnTo>
                    <a:pt x="1852" y="1044"/>
                  </a:lnTo>
                  <a:lnTo>
                    <a:pt x="1873" y="1044"/>
                  </a:lnTo>
                  <a:lnTo>
                    <a:pt x="1902" y="1049"/>
                  </a:lnTo>
                  <a:lnTo>
                    <a:pt x="1906" y="1049"/>
                  </a:lnTo>
                  <a:lnTo>
                    <a:pt x="1923" y="1033"/>
                  </a:lnTo>
                  <a:lnTo>
                    <a:pt x="1939" y="1028"/>
                  </a:lnTo>
                  <a:lnTo>
                    <a:pt x="1944" y="1016"/>
                  </a:lnTo>
                  <a:lnTo>
                    <a:pt x="1928" y="1028"/>
                  </a:lnTo>
                  <a:lnTo>
                    <a:pt x="1939" y="1011"/>
                  </a:lnTo>
                  <a:lnTo>
                    <a:pt x="1944" y="1016"/>
                  </a:lnTo>
                  <a:lnTo>
                    <a:pt x="1944" y="1028"/>
                  </a:lnTo>
                  <a:lnTo>
                    <a:pt x="1928" y="1033"/>
                  </a:lnTo>
                  <a:lnTo>
                    <a:pt x="1939" y="1049"/>
                  </a:lnTo>
                  <a:lnTo>
                    <a:pt x="1864" y="1073"/>
                  </a:lnTo>
                  <a:lnTo>
                    <a:pt x="1835" y="1066"/>
                  </a:lnTo>
                  <a:lnTo>
                    <a:pt x="1831" y="1073"/>
                  </a:lnTo>
                  <a:lnTo>
                    <a:pt x="1809" y="1073"/>
                  </a:lnTo>
                  <a:lnTo>
                    <a:pt x="1776" y="1066"/>
                  </a:lnTo>
                  <a:lnTo>
                    <a:pt x="1727" y="1066"/>
                  </a:lnTo>
                  <a:lnTo>
                    <a:pt x="1722" y="1056"/>
                  </a:lnTo>
                  <a:lnTo>
                    <a:pt x="1722" y="1056"/>
                  </a:lnTo>
                  <a:lnTo>
                    <a:pt x="1722" y="1056"/>
                  </a:lnTo>
                  <a:close/>
                  <a:moveTo>
                    <a:pt x="1684" y="1056"/>
                  </a:moveTo>
                  <a:lnTo>
                    <a:pt x="1668" y="1066"/>
                  </a:lnTo>
                  <a:lnTo>
                    <a:pt x="1658" y="1056"/>
                  </a:lnTo>
                  <a:lnTo>
                    <a:pt x="1651" y="1056"/>
                  </a:lnTo>
                  <a:lnTo>
                    <a:pt x="1647" y="1056"/>
                  </a:lnTo>
                  <a:lnTo>
                    <a:pt x="1658" y="1066"/>
                  </a:lnTo>
                  <a:lnTo>
                    <a:pt x="1630" y="1066"/>
                  </a:lnTo>
                  <a:lnTo>
                    <a:pt x="1621" y="1066"/>
                  </a:lnTo>
                  <a:lnTo>
                    <a:pt x="1621" y="1049"/>
                  </a:lnTo>
                  <a:lnTo>
                    <a:pt x="1604" y="1066"/>
                  </a:lnTo>
                  <a:lnTo>
                    <a:pt x="1576" y="1073"/>
                  </a:lnTo>
                  <a:lnTo>
                    <a:pt x="1550" y="1082"/>
                  </a:lnTo>
                  <a:lnTo>
                    <a:pt x="1545" y="1082"/>
                  </a:lnTo>
                  <a:lnTo>
                    <a:pt x="1528" y="1089"/>
                  </a:lnTo>
                  <a:lnTo>
                    <a:pt x="1507" y="1073"/>
                  </a:lnTo>
                  <a:lnTo>
                    <a:pt x="1512" y="1049"/>
                  </a:lnTo>
                  <a:lnTo>
                    <a:pt x="1538" y="1033"/>
                  </a:lnTo>
                  <a:lnTo>
                    <a:pt x="1559" y="1044"/>
                  </a:lnTo>
                  <a:lnTo>
                    <a:pt x="1566" y="1033"/>
                  </a:lnTo>
                  <a:lnTo>
                    <a:pt x="1566" y="1044"/>
                  </a:lnTo>
                  <a:lnTo>
                    <a:pt x="1592" y="1056"/>
                  </a:lnTo>
                  <a:lnTo>
                    <a:pt x="1597" y="1056"/>
                  </a:lnTo>
                  <a:lnTo>
                    <a:pt x="1613" y="1056"/>
                  </a:lnTo>
                  <a:lnTo>
                    <a:pt x="1613" y="1049"/>
                  </a:lnTo>
                  <a:lnTo>
                    <a:pt x="1597" y="1044"/>
                  </a:lnTo>
                  <a:lnTo>
                    <a:pt x="1576" y="1028"/>
                  </a:lnTo>
                  <a:lnTo>
                    <a:pt x="1576" y="1016"/>
                  </a:lnTo>
                  <a:lnTo>
                    <a:pt x="1592" y="1011"/>
                  </a:lnTo>
                  <a:lnTo>
                    <a:pt x="1604" y="1016"/>
                  </a:lnTo>
                  <a:lnTo>
                    <a:pt x="1621" y="1033"/>
                  </a:lnTo>
                  <a:lnTo>
                    <a:pt x="1630" y="1028"/>
                  </a:lnTo>
                  <a:lnTo>
                    <a:pt x="1647" y="1028"/>
                  </a:lnTo>
                  <a:lnTo>
                    <a:pt x="1647" y="1049"/>
                  </a:lnTo>
                  <a:lnTo>
                    <a:pt x="1651" y="1028"/>
                  </a:lnTo>
                  <a:lnTo>
                    <a:pt x="1668" y="1028"/>
                  </a:lnTo>
                  <a:lnTo>
                    <a:pt x="1668" y="1049"/>
                  </a:lnTo>
                  <a:lnTo>
                    <a:pt x="1684" y="1056"/>
                  </a:lnTo>
                  <a:lnTo>
                    <a:pt x="1684" y="1056"/>
                  </a:lnTo>
                  <a:lnTo>
                    <a:pt x="1684" y="1056"/>
                  </a:lnTo>
                  <a:close/>
                  <a:moveTo>
                    <a:pt x="2495" y="1033"/>
                  </a:moveTo>
                  <a:lnTo>
                    <a:pt x="2511" y="1011"/>
                  </a:lnTo>
                  <a:lnTo>
                    <a:pt x="2523" y="1016"/>
                  </a:lnTo>
                  <a:lnTo>
                    <a:pt x="2495" y="1033"/>
                  </a:lnTo>
                  <a:lnTo>
                    <a:pt x="2495" y="1033"/>
                  </a:lnTo>
                  <a:lnTo>
                    <a:pt x="2495" y="1033"/>
                  </a:lnTo>
                  <a:close/>
                  <a:moveTo>
                    <a:pt x="2284" y="1011"/>
                  </a:moveTo>
                  <a:lnTo>
                    <a:pt x="2306" y="1016"/>
                  </a:lnTo>
                  <a:lnTo>
                    <a:pt x="2301" y="1028"/>
                  </a:lnTo>
                  <a:lnTo>
                    <a:pt x="2284" y="1016"/>
                  </a:lnTo>
                  <a:lnTo>
                    <a:pt x="2284" y="1011"/>
                  </a:lnTo>
                  <a:lnTo>
                    <a:pt x="2284" y="1011"/>
                  </a:lnTo>
                  <a:lnTo>
                    <a:pt x="2284" y="1011"/>
                  </a:lnTo>
                  <a:close/>
                  <a:moveTo>
                    <a:pt x="2053" y="1016"/>
                  </a:moveTo>
                  <a:lnTo>
                    <a:pt x="2091" y="1016"/>
                  </a:lnTo>
                  <a:lnTo>
                    <a:pt x="2100" y="1028"/>
                  </a:lnTo>
                  <a:lnTo>
                    <a:pt x="2046" y="1044"/>
                  </a:lnTo>
                  <a:lnTo>
                    <a:pt x="2053" y="1016"/>
                  </a:lnTo>
                  <a:lnTo>
                    <a:pt x="2053" y="1016"/>
                  </a:lnTo>
                  <a:lnTo>
                    <a:pt x="2053" y="1016"/>
                  </a:lnTo>
                  <a:close/>
                  <a:moveTo>
                    <a:pt x="1672" y="1016"/>
                  </a:moveTo>
                  <a:lnTo>
                    <a:pt x="1668" y="1028"/>
                  </a:lnTo>
                  <a:lnTo>
                    <a:pt x="1672" y="1016"/>
                  </a:lnTo>
                  <a:lnTo>
                    <a:pt x="1672" y="1016"/>
                  </a:lnTo>
                  <a:lnTo>
                    <a:pt x="1672" y="1016"/>
                  </a:lnTo>
                  <a:close/>
                  <a:moveTo>
                    <a:pt x="1566" y="1033"/>
                  </a:moveTo>
                  <a:lnTo>
                    <a:pt x="1559" y="1016"/>
                  </a:lnTo>
                  <a:lnTo>
                    <a:pt x="1576" y="1016"/>
                  </a:lnTo>
                  <a:lnTo>
                    <a:pt x="1566" y="1033"/>
                  </a:lnTo>
                  <a:lnTo>
                    <a:pt x="1566" y="1033"/>
                  </a:lnTo>
                  <a:lnTo>
                    <a:pt x="1566" y="1033"/>
                  </a:lnTo>
                  <a:close/>
                  <a:moveTo>
                    <a:pt x="2280" y="1016"/>
                  </a:moveTo>
                  <a:lnTo>
                    <a:pt x="2284" y="1016"/>
                  </a:lnTo>
                  <a:lnTo>
                    <a:pt x="2268" y="1028"/>
                  </a:lnTo>
                  <a:lnTo>
                    <a:pt x="2280" y="1016"/>
                  </a:lnTo>
                  <a:lnTo>
                    <a:pt x="2280" y="1016"/>
                  </a:lnTo>
                  <a:lnTo>
                    <a:pt x="2280" y="1016"/>
                  </a:lnTo>
                  <a:close/>
                  <a:moveTo>
                    <a:pt x="3057" y="1016"/>
                  </a:moveTo>
                  <a:lnTo>
                    <a:pt x="3061" y="1033"/>
                  </a:lnTo>
                  <a:lnTo>
                    <a:pt x="3040" y="1033"/>
                  </a:lnTo>
                  <a:lnTo>
                    <a:pt x="3052" y="1016"/>
                  </a:lnTo>
                  <a:lnTo>
                    <a:pt x="3057" y="1016"/>
                  </a:lnTo>
                  <a:lnTo>
                    <a:pt x="3057" y="1016"/>
                  </a:lnTo>
                  <a:lnTo>
                    <a:pt x="3057" y="1016"/>
                  </a:lnTo>
                  <a:close/>
                  <a:moveTo>
                    <a:pt x="2015" y="1033"/>
                  </a:moveTo>
                  <a:lnTo>
                    <a:pt x="2024" y="1033"/>
                  </a:lnTo>
                  <a:lnTo>
                    <a:pt x="2036" y="1016"/>
                  </a:lnTo>
                  <a:lnTo>
                    <a:pt x="2024" y="1049"/>
                  </a:lnTo>
                  <a:lnTo>
                    <a:pt x="2015" y="1033"/>
                  </a:lnTo>
                  <a:lnTo>
                    <a:pt x="2008" y="1044"/>
                  </a:lnTo>
                  <a:lnTo>
                    <a:pt x="2015" y="1033"/>
                  </a:lnTo>
                  <a:lnTo>
                    <a:pt x="2015" y="1033"/>
                  </a:lnTo>
                  <a:lnTo>
                    <a:pt x="2015" y="1033"/>
                  </a:lnTo>
                  <a:close/>
                  <a:moveTo>
                    <a:pt x="1977" y="1049"/>
                  </a:moveTo>
                  <a:lnTo>
                    <a:pt x="1961" y="1044"/>
                  </a:lnTo>
                  <a:lnTo>
                    <a:pt x="1982" y="1033"/>
                  </a:lnTo>
                  <a:lnTo>
                    <a:pt x="1970" y="1028"/>
                  </a:lnTo>
                  <a:lnTo>
                    <a:pt x="1977" y="1028"/>
                  </a:lnTo>
                  <a:lnTo>
                    <a:pt x="1982" y="1028"/>
                  </a:lnTo>
                  <a:lnTo>
                    <a:pt x="1991" y="1033"/>
                  </a:lnTo>
                  <a:lnTo>
                    <a:pt x="1998" y="1016"/>
                  </a:lnTo>
                  <a:lnTo>
                    <a:pt x="2015" y="1028"/>
                  </a:lnTo>
                  <a:lnTo>
                    <a:pt x="1977" y="1049"/>
                  </a:lnTo>
                  <a:lnTo>
                    <a:pt x="1977" y="1049"/>
                  </a:lnTo>
                  <a:lnTo>
                    <a:pt x="1977" y="1049"/>
                  </a:lnTo>
                  <a:close/>
                  <a:moveTo>
                    <a:pt x="2306" y="1016"/>
                  </a:moveTo>
                  <a:lnTo>
                    <a:pt x="2317" y="1028"/>
                  </a:lnTo>
                  <a:lnTo>
                    <a:pt x="2306" y="1028"/>
                  </a:lnTo>
                  <a:lnTo>
                    <a:pt x="2306" y="1016"/>
                  </a:lnTo>
                  <a:lnTo>
                    <a:pt x="2306" y="1016"/>
                  </a:lnTo>
                  <a:lnTo>
                    <a:pt x="2306" y="1016"/>
                  </a:lnTo>
                  <a:close/>
                  <a:moveTo>
                    <a:pt x="1484" y="1016"/>
                  </a:moveTo>
                  <a:lnTo>
                    <a:pt x="1507" y="1033"/>
                  </a:lnTo>
                  <a:lnTo>
                    <a:pt x="1495" y="1066"/>
                  </a:lnTo>
                  <a:lnTo>
                    <a:pt x="1495" y="1073"/>
                  </a:lnTo>
                  <a:lnTo>
                    <a:pt x="1491" y="1073"/>
                  </a:lnTo>
                  <a:lnTo>
                    <a:pt x="1491" y="1066"/>
                  </a:lnTo>
                  <a:lnTo>
                    <a:pt x="1469" y="1073"/>
                  </a:lnTo>
                  <a:lnTo>
                    <a:pt x="1441" y="1066"/>
                  </a:lnTo>
                  <a:lnTo>
                    <a:pt x="1441" y="1056"/>
                  </a:lnTo>
                  <a:lnTo>
                    <a:pt x="1458" y="1056"/>
                  </a:lnTo>
                  <a:lnTo>
                    <a:pt x="1458" y="1033"/>
                  </a:lnTo>
                  <a:lnTo>
                    <a:pt x="1484" y="1016"/>
                  </a:lnTo>
                  <a:lnTo>
                    <a:pt x="1484" y="1016"/>
                  </a:lnTo>
                  <a:lnTo>
                    <a:pt x="1484" y="1016"/>
                  </a:lnTo>
                  <a:close/>
                  <a:moveTo>
                    <a:pt x="1954" y="1028"/>
                  </a:moveTo>
                  <a:lnTo>
                    <a:pt x="1970" y="1028"/>
                  </a:lnTo>
                  <a:lnTo>
                    <a:pt x="1970" y="1033"/>
                  </a:lnTo>
                  <a:lnTo>
                    <a:pt x="1944" y="1033"/>
                  </a:lnTo>
                  <a:lnTo>
                    <a:pt x="1954" y="1028"/>
                  </a:lnTo>
                  <a:lnTo>
                    <a:pt x="1954" y="1028"/>
                  </a:lnTo>
                  <a:lnTo>
                    <a:pt x="1954" y="1028"/>
                  </a:lnTo>
                  <a:close/>
                  <a:moveTo>
                    <a:pt x="2024" y="1106"/>
                  </a:moveTo>
                  <a:lnTo>
                    <a:pt x="2062" y="1089"/>
                  </a:lnTo>
                  <a:lnTo>
                    <a:pt x="2084" y="1073"/>
                  </a:lnTo>
                  <a:lnTo>
                    <a:pt x="2100" y="1049"/>
                  </a:lnTo>
                  <a:lnTo>
                    <a:pt x="2187" y="1033"/>
                  </a:lnTo>
                  <a:lnTo>
                    <a:pt x="2197" y="1044"/>
                  </a:lnTo>
                  <a:lnTo>
                    <a:pt x="2230" y="1028"/>
                  </a:lnTo>
                  <a:lnTo>
                    <a:pt x="2246" y="1033"/>
                  </a:lnTo>
                  <a:lnTo>
                    <a:pt x="2230" y="1056"/>
                  </a:lnTo>
                  <a:lnTo>
                    <a:pt x="2197" y="1066"/>
                  </a:lnTo>
                  <a:lnTo>
                    <a:pt x="2192" y="1073"/>
                  </a:lnTo>
                  <a:lnTo>
                    <a:pt x="2171" y="1082"/>
                  </a:lnTo>
                  <a:lnTo>
                    <a:pt x="2117" y="1099"/>
                  </a:lnTo>
                  <a:lnTo>
                    <a:pt x="2091" y="1111"/>
                  </a:lnTo>
                  <a:lnTo>
                    <a:pt x="2084" y="1127"/>
                  </a:lnTo>
                  <a:lnTo>
                    <a:pt x="2046" y="1160"/>
                  </a:lnTo>
                  <a:lnTo>
                    <a:pt x="2024" y="1160"/>
                  </a:lnTo>
                  <a:lnTo>
                    <a:pt x="2008" y="1177"/>
                  </a:lnTo>
                  <a:lnTo>
                    <a:pt x="1982" y="1177"/>
                  </a:lnTo>
                  <a:lnTo>
                    <a:pt x="1982" y="1165"/>
                  </a:lnTo>
                  <a:lnTo>
                    <a:pt x="1998" y="1160"/>
                  </a:lnTo>
                  <a:lnTo>
                    <a:pt x="1982" y="1155"/>
                  </a:lnTo>
                  <a:lnTo>
                    <a:pt x="1991" y="1127"/>
                  </a:lnTo>
                  <a:lnTo>
                    <a:pt x="2024" y="1106"/>
                  </a:lnTo>
                  <a:lnTo>
                    <a:pt x="2024" y="1106"/>
                  </a:lnTo>
                  <a:lnTo>
                    <a:pt x="2024" y="1106"/>
                  </a:lnTo>
                  <a:close/>
                  <a:moveTo>
                    <a:pt x="1701" y="1033"/>
                  </a:moveTo>
                  <a:lnTo>
                    <a:pt x="1706" y="1049"/>
                  </a:lnTo>
                  <a:lnTo>
                    <a:pt x="1701" y="1049"/>
                  </a:lnTo>
                  <a:lnTo>
                    <a:pt x="1701" y="1056"/>
                  </a:lnTo>
                  <a:lnTo>
                    <a:pt x="1689" y="1056"/>
                  </a:lnTo>
                  <a:lnTo>
                    <a:pt x="1701" y="1033"/>
                  </a:lnTo>
                  <a:lnTo>
                    <a:pt x="1701" y="1033"/>
                  </a:lnTo>
                  <a:lnTo>
                    <a:pt x="1701" y="1033"/>
                  </a:lnTo>
                  <a:close/>
                  <a:moveTo>
                    <a:pt x="1944" y="1049"/>
                  </a:moveTo>
                  <a:lnTo>
                    <a:pt x="1944" y="1044"/>
                  </a:lnTo>
                  <a:lnTo>
                    <a:pt x="1961" y="1044"/>
                  </a:lnTo>
                  <a:lnTo>
                    <a:pt x="1944" y="1049"/>
                  </a:lnTo>
                  <a:lnTo>
                    <a:pt x="1944" y="1049"/>
                  </a:lnTo>
                  <a:lnTo>
                    <a:pt x="1944" y="1049"/>
                  </a:lnTo>
                  <a:close/>
                  <a:moveTo>
                    <a:pt x="1269" y="1044"/>
                  </a:moveTo>
                  <a:lnTo>
                    <a:pt x="1269" y="1033"/>
                  </a:lnTo>
                  <a:lnTo>
                    <a:pt x="1273" y="1044"/>
                  </a:lnTo>
                  <a:lnTo>
                    <a:pt x="1269" y="1044"/>
                  </a:lnTo>
                  <a:lnTo>
                    <a:pt x="1269" y="1044"/>
                  </a:lnTo>
                  <a:lnTo>
                    <a:pt x="1269" y="1044"/>
                  </a:lnTo>
                  <a:close/>
                  <a:moveTo>
                    <a:pt x="1710" y="1056"/>
                  </a:moveTo>
                  <a:lnTo>
                    <a:pt x="1710" y="1066"/>
                  </a:lnTo>
                  <a:lnTo>
                    <a:pt x="1706" y="1066"/>
                  </a:lnTo>
                  <a:lnTo>
                    <a:pt x="1710" y="1049"/>
                  </a:lnTo>
                  <a:lnTo>
                    <a:pt x="1710" y="1056"/>
                  </a:lnTo>
                  <a:lnTo>
                    <a:pt x="1710" y="1056"/>
                  </a:lnTo>
                  <a:lnTo>
                    <a:pt x="1710" y="1056"/>
                  </a:lnTo>
                  <a:close/>
                  <a:moveTo>
                    <a:pt x="1432" y="1066"/>
                  </a:moveTo>
                  <a:lnTo>
                    <a:pt x="1420" y="1056"/>
                  </a:lnTo>
                  <a:lnTo>
                    <a:pt x="1432" y="1056"/>
                  </a:lnTo>
                  <a:lnTo>
                    <a:pt x="1432" y="1066"/>
                  </a:lnTo>
                  <a:lnTo>
                    <a:pt x="1432" y="1066"/>
                  </a:lnTo>
                  <a:lnTo>
                    <a:pt x="1432" y="1066"/>
                  </a:lnTo>
                  <a:close/>
                  <a:moveTo>
                    <a:pt x="1684" y="1139"/>
                  </a:moveTo>
                  <a:lnTo>
                    <a:pt x="1658" y="1122"/>
                  </a:lnTo>
                  <a:lnTo>
                    <a:pt x="1668" y="1111"/>
                  </a:lnTo>
                  <a:lnTo>
                    <a:pt x="1684" y="1106"/>
                  </a:lnTo>
                  <a:lnTo>
                    <a:pt x="1722" y="1106"/>
                  </a:lnTo>
                  <a:lnTo>
                    <a:pt x="1727" y="1099"/>
                  </a:lnTo>
                  <a:lnTo>
                    <a:pt x="1755" y="1111"/>
                  </a:lnTo>
                  <a:lnTo>
                    <a:pt x="1755" y="1127"/>
                  </a:lnTo>
                  <a:lnTo>
                    <a:pt x="1765" y="1122"/>
                  </a:lnTo>
                  <a:lnTo>
                    <a:pt x="1776" y="1127"/>
                  </a:lnTo>
                  <a:lnTo>
                    <a:pt x="1798" y="1160"/>
                  </a:lnTo>
                  <a:lnTo>
                    <a:pt x="1781" y="1165"/>
                  </a:lnTo>
                  <a:lnTo>
                    <a:pt x="1755" y="1165"/>
                  </a:lnTo>
                  <a:lnTo>
                    <a:pt x="1710" y="1139"/>
                  </a:lnTo>
                  <a:lnTo>
                    <a:pt x="1684" y="1139"/>
                  </a:lnTo>
                  <a:lnTo>
                    <a:pt x="1684" y="1139"/>
                  </a:lnTo>
                  <a:lnTo>
                    <a:pt x="1684" y="1139"/>
                  </a:lnTo>
                  <a:close/>
                  <a:moveTo>
                    <a:pt x="1977" y="1160"/>
                  </a:moveTo>
                  <a:lnTo>
                    <a:pt x="1982" y="1165"/>
                  </a:lnTo>
                  <a:lnTo>
                    <a:pt x="1970" y="1177"/>
                  </a:lnTo>
                  <a:lnTo>
                    <a:pt x="1977" y="1160"/>
                  </a:lnTo>
                  <a:lnTo>
                    <a:pt x="1977" y="1160"/>
                  </a:lnTo>
                  <a:lnTo>
                    <a:pt x="1977" y="1160"/>
                  </a:lnTo>
                  <a:close/>
                  <a:moveTo>
                    <a:pt x="1864" y="1193"/>
                  </a:moveTo>
                  <a:lnTo>
                    <a:pt x="1869" y="1181"/>
                  </a:lnTo>
                  <a:lnTo>
                    <a:pt x="1873" y="1181"/>
                  </a:lnTo>
                  <a:lnTo>
                    <a:pt x="1869" y="1193"/>
                  </a:lnTo>
                  <a:lnTo>
                    <a:pt x="1864" y="1193"/>
                  </a:lnTo>
                  <a:lnTo>
                    <a:pt x="1864" y="1193"/>
                  </a:lnTo>
                  <a:lnTo>
                    <a:pt x="1864" y="1193"/>
                  </a:lnTo>
                  <a:close/>
                  <a:moveTo>
                    <a:pt x="1939" y="1210"/>
                  </a:moveTo>
                  <a:lnTo>
                    <a:pt x="1977" y="1181"/>
                  </a:lnTo>
                  <a:lnTo>
                    <a:pt x="1977" y="1200"/>
                  </a:lnTo>
                  <a:lnTo>
                    <a:pt x="1961" y="1210"/>
                  </a:lnTo>
                  <a:lnTo>
                    <a:pt x="1939" y="1217"/>
                  </a:lnTo>
                  <a:lnTo>
                    <a:pt x="1939" y="1210"/>
                  </a:lnTo>
                  <a:lnTo>
                    <a:pt x="1939" y="1210"/>
                  </a:lnTo>
                  <a:lnTo>
                    <a:pt x="1939" y="12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9" name="Freeform 468">
              <a:extLst>
                <a:ext uri="{FF2B5EF4-FFF2-40B4-BE49-F238E27FC236}">
                  <a16:creationId xmlns:a16="http://schemas.microsoft.com/office/drawing/2014/main" id="{F2FEA076-2DBB-4289-ABF5-F43D7607E292}"/>
                </a:ext>
              </a:extLst>
            </p:cNvPr>
            <p:cNvSpPr>
              <a:spLocks/>
            </p:cNvSpPr>
            <p:nvPr/>
          </p:nvSpPr>
          <p:spPr bwMode="gray">
            <a:xfrm>
              <a:off x="13635503" y="2686411"/>
              <a:ext cx="9819" cy="12437"/>
            </a:xfrm>
            <a:custGeom>
              <a:avLst/>
              <a:gdLst>
                <a:gd name="T0" fmla="*/ 0 w 30"/>
                <a:gd name="T1" fmla="*/ 38 h 38"/>
                <a:gd name="T2" fmla="*/ 0 w 30"/>
                <a:gd name="T3" fmla="*/ 22 h 38"/>
                <a:gd name="T4" fmla="*/ 26 w 30"/>
                <a:gd name="T5" fmla="*/ 0 h 38"/>
                <a:gd name="T6" fmla="*/ 30 w 30"/>
                <a:gd name="T7" fmla="*/ 17 h 38"/>
                <a:gd name="T8" fmla="*/ 26 w 30"/>
                <a:gd name="T9" fmla="*/ 22 h 38"/>
                <a:gd name="T10" fmla="*/ 0 w 30"/>
                <a:gd name="T11" fmla="*/ 38 h 38"/>
                <a:gd name="T12" fmla="*/ 0 w 30"/>
                <a:gd name="T13" fmla="*/ 38 h 38"/>
                <a:gd name="T14" fmla="*/ 0 w 3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8">
                  <a:moveTo>
                    <a:pt x="0" y="38"/>
                  </a:moveTo>
                  <a:lnTo>
                    <a:pt x="0" y="22"/>
                  </a:lnTo>
                  <a:lnTo>
                    <a:pt x="26" y="0"/>
                  </a:lnTo>
                  <a:lnTo>
                    <a:pt x="30" y="17"/>
                  </a:lnTo>
                  <a:lnTo>
                    <a:pt x="26" y="22"/>
                  </a:lnTo>
                  <a:lnTo>
                    <a:pt x="0" y="38"/>
                  </a:lnTo>
                  <a:lnTo>
                    <a:pt x="0" y="38"/>
                  </a:lnTo>
                  <a:lnTo>
                    <a:pt x="0" y="3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0" name="Freeform 469">
              <a:extLst>
                <a:ext uri="{FF2B5EF4-FFF2-40B4-BE49-F238E27FC236}">
                  <a16:creationId xmlns:a16="http://schemas.microsoft.com/office/drawing/2014/main" id="{9456CAE9-BF74-42AF-BE36-3F255A8F8940}"/>
                </a:ext>
              </a:extLst>
            </p:cNvPr>
            <p:cNvSpPr>
              <a:spLocks noEditPoints="1"/>
            </p:cNvSpPr>
            <p:nvPr/>
          </p:nvSpPr>
          <p:spPr bwMode="gray">
            <a:xfrm>
              <a:off x="15307007" y="3240851"/>
              <a:ext cx="670958" cy="713507"/>
            </a:xfrm>
            <a:custGeom>
              <a:avLst/>
              <a:gdLst>
                <a:gd name="T0" fmla="*/ 1634 w 2050"/>
                <a:gd name="T1" fmla="*/ 959 h 2180"/>
                <a:gd name="T2" fmla="*/ 1701 w 2050"/>
                <a:gd name="T3" fmla="*/ 839 h 2180"/>
                <a:gd name="T4" fmla="*/ 1507 w 2050"/>
                <a:gd name="T5" fmla="*/ 756 h 2180"/>
                <a:gd name="T6" fmla="*/ 1419 w 2050"/>
                <a:gd name="T7" fmla="*/ 711 h 2180"/>
                <a:gd name="T8" fmla="*/ 1469 w 2050"/>
                <a:gd name="T9" fmla="*/ 810 h 2180"/>
                <a:gd name="T10" fmla="*/ 1441 w 2050"/>
                <a:gd name="T11" fmla="*/ 876 h 2180"/>
                <a:gd name="T12" fmla="*/ 1474 w 2050"/>
                <a:gd name="T13" fmla="*/ 1049 h 2180"/>
                <a:gd name="T14" fmla="*/ 1431 w 2050"/>
                <a:gd name="T15" fmla="*/ 1094 h 2180"/>
                <a:gd name="T16" fmla="*/ 1386 w 2050"/>
                <a:gd name="T17" fmla="*/ 1020 h 2180"/>
                <a:gd name="T18" fmla="*/ 1327 w 2050"/>
                <a:gd name="T19" fmla="*/ 1160 h 2180"/>
                <a:gd name="T20" fmla="*/ 1219 w 2050"/>
                <a:gd name="T21" fmla="*/ 1238 h 2180"/>
                <a:gd name="T22" fmla="*/ 1171 w 2050"/>
                <a:gd name="T23" fmla="*/ 1276 h 2180"/>
                <a:gd name="T24" fmla="*/ 954 w 2050"/>
                <a:gd name="T25" fmla="*/ 1481 h 2180"/>
                <a:gd name="T26" fmla="*/ 848 w 2050"/>
                <a:gd name="T27" fmla="*/ 1609 h 2180"/>
                <a:gd name="T28" fmla="*/ 827 w 2050"/>
                <a:gd name="T29" fmla="*/ 1864 h 2180"/>
                <a:gd name="T30" fmla="*/ 765 w 2050"/>
                <a:gd name="T31" fmla="*/ 1998 h 2180"/>
                <a:gd name="T32" fmla="*/ 593 w 2050"/>
                <a:gd name="T33" fmla="*/ 2020 h 2180"/>
                <a:gd name="T34" fmla="*/ 534 w 2050"/>
                <a:gd name="T35" fmla="*/ 1835 h 2180"/>
                <a:gd name="T36" fmla="*/ 404 w 2050"/>
                <a:gd name="T37" fmla="*/ 1547 h 2180"/>
                <a:gd name="T38" fmla="*/ 340 w 2050"/>
                <a:gd name="T39" fmla="*/ 1292 h 2180"/>
                <a:gd name="T40" fmla="*/ 340 w 2050"/>
                <a:gd name="T41" fmla="*/ 1148 h 2180"/>
                <a:gd name="T42" fmla="*/ 356 w 2050"/>
                <a:gd name="T43" fmla="*/ 1077 h 2180"/>
                <a:gd name="T44" fmla="*/ 286 w 2050"/>
                <a:gd name="T45" fmla="*/ 1037 h 2180"/>
                <a:gd name="T46" fmla="*/ 297 w 2050"/>
                <a:gd name="T47" fmla="*/ 1087 h 2180"/>
                <a:gd name="T48" fmla="*/ 172 w 2050"/>
                <a:gd name="T49" fmla="*/ 983 h 2180"/>
                <a:gd name="T50" fmla="*/ 26 w 2050"/>
                <a:gd name="T51" fmla="*/ 933 h 2180"/>
                <a:gd name="T52" fmla="*/ 64 w 2050"/>
                <a:gd name="T53" fmla="*/ 888 h 2180"/>
                <a:gd name="T54" fmla="*/ 198 w 2050"/>
                <a:gd name="T55" fmla="*/ 872 h 2180"/>
                <a:gd name="T56" fmla="*/ 125 w 2050"/>
                <a:gd name="T57" fmla="*/ 704 h 2180"/>
                <a:gd name="T58" fmla="*/ 286 w 2050"/>
                <a:gd name="T59" fmla="*/ 560 h 2180"/>
                <a:gd name="T60" fmla="*/ 458 w 2050"/>
                <a:gd name="T61" fmla="*/ 354 h 2180"/>
                <a:gd name="T62" fmla="*/ 486 w 2050"/>
                <a:gd name="T63" fmla="*/ 243 h 2180"/>
                <a:gd name="T64" fmla="*/ 411 w 2050"/>
                <a:gd name="T65" fmla="*/ 111 h 2180"/>
                <a:gd name="T66" fmla="*/ 621 w 2050"/>
                <a:gd name="T67" fmla="*/ 61 h 2180"/>
                <a:gd name="T68" fmla="*/ 751 w 2050"/>
                <a:gd name="T69" fmla="*/ 111 h 2180"/>
                <a:gd name="T70" fmla="*/ 751 w 2050"/>
                <a:gd name="T71" fmla="*/ 243 h 2180"/>
                <a:gd name="T72" fmla="*/ 756 w 2050"/>
                <a:gd name="T73" fmla="*/ 338 h 2180"/>
                <a:gd name="T74" fmla="*/ 864 w 2050"/>
                <a:gd name="T75" fmla="*/ 477 h 2180"/>
                <a:gd name="T76" fmla="*/ 982 w 2050"/>
                <a:gd name="T77" fmla="*/ 600 h 2180"/>
                <a:gd name="T78" fmla="*/ 1129 w 2050"/>
                <a:gd name="T79" fmla="*/ 633 h 2180"/>
                <a:gd name="T80" fmla="*/ 1327 w 2050"/>
                <a:gd name="T81" fmla="*/ 711 h 2180"/>
                <a:gd name="T82" fmla="*/ 1403 w 2050"/>
                <a:gd name="T83" fmla="*/ 600 h 2180"/>
                <a:gd name="T84" fmla="*/ 1474 w 2050"/>
                <a:gd name="T85" fmla="*/ 687 h 2180"/>
                <a:gd name="T86" fmla="*/ 1684 w 2050"/>
                <a:gd name="T87" fmla="*/ 683 h 2180"/>
                <a:gd name="T88" fmla="*/ 1710 w 2050"/>
                <a:gd name="T89" fmla="*/ 609 h 2180"/>
                <a:gd name="T90" fmla="*/ 1916 w 2050"/>
                <a:gd name="T91" fmla="*/ 517 h 2180"/>
                <a:gd name="T92" fmla="*/ 1982 w 2050"/>
                <a:gd name="T93" fmla="*/ 555 h 2180"/>
                <a:gd name="T94" fmla="*/ 2024 w 2050"/>
                <a:gd name="T95" fmla="*/ 654 h 2180"/>
                <a:gd name="T96" fmla="*/ 1861 w 2050"/>
                <a:gd name="T97" fmla="*/ 810 h 2180"/>
                <a:gd name="T98" fmla="*/ 1764 w 2050"/>
                <a:gd name="T99" fmla="*/ 983 h 2180"/>
                <a:gd name="T100" fmla="*/ 1705 w 2050"/>
                <a:gd name="T101" fmla="*/ 983 h 2180"/>
                <a:gd name="T102" fmla="*/ 1441 w 2050"/>
                <a:gd name="T103" fmla="*/ 1070 h 2180"/>
                <a:gd name="T104" fmla="*/ 1743 w 2050"/>
                <a:gd name="T105" fmla="*/ 1687 h 2180"/>
                <a:gd name="T106" fmla="*/ 1727 w 2050"/>
                <a:gd name="T107" fmla="*/ 1743 h 2180"/>
                <a:gd name="T108" fmla="*/ 1727 w 2050"/>
                <a:gd name="T109" fmla="*/ 1776 h 2180"/>
                <a:gd name="T110" fmla="*/ 1727 w 2050"/>
                <a:gd name="T111" fmla="*/ 1793 h 2180"/>
                <a:gd name="T112" fmla="*/ 1701 w 2050"/>
                <a:gd name="T113" fmla="*/ 1831 h 2180"/>
                <a:gd name="T114" fmla="*/ 1722 w 2050"/>
                <a:gd name="T115" fmla="*/ 1847 h 2180"/>
                <a:gd name="T116" fmla="*/ 1710 w 2050"/>
                <a:gd name="T117" fmla="*/ 1887 h 2180"/>
                <a:gd name="T118" fmla="*/ 1755 w 2050"/>
                <a:gd name="T119" fmla="*/ 2069 h 2180"/>
                <a:gd name="T120" fmla="*/ 1776 w 2050"/>
                <a:gd name="T121" fmla="*/ 2091 h 2180"/>
                <a:gd name="T122" fmla="*/ 1793 w 2050"/>
                <a:gd name="T123" fmla="*/ 2091 h 2180"/>
                <a:gd name="T124" fmla="*/ 1814 w 2050"/>
                <a:gd name="T125" fmla="*/ 2164 h 2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0" h="2180">
                  <a:moveTo>
                    <a:pt x="1701" y="926"/>
                  </a:moveTo>
                  <a:lnTo>
                    <a:pt x="1684" y="933"/>
                  </a:lnTo>
                  <a:lnTo>
                    <a:pt x="1672" y="926"/>
                  </a:lnTo>
                  <a:lnTo>
                    <a:pt x="1672" y="943"/>
                  </a:lnTo>
                  <a:lnTo>
                    <a:pt x="1656" y="959"/>
                  </a:lnTo>
                  <a:lnTo>
                    <a:pt x="1667" y="976"/>
                  </a:lnTo>
                  <a:lnTo>
                    <a:pt x="1656" y="983"/>
                  </a:lnTo>
                  <a:lnTo>
                    <a:pt x="1646" y="983"/>
                  </a:lnTo>
                  <a:lnTo>
                    <a:pt x="1634" y="959"/>
                  </a:lnTo>
                  <a:lnTo>
                    <a:pt x="1634" y="976"/>
                  </a:lnTo>
                  <a:lnTo>
                    <a:pt x="1630" y="976"/>
                  </a:lnTo>
                  <a:lnTo>
                    <a:pt x="1618" y="933"/>
                  </a:lnTo>
                  <a:lnTo>
                    <a:pt x="1630" y="909"/>
                  </a:lnTo>
                  <a:lnTo>
                    <a:pt x="1634" y="893"/>
                  </a:lnTo>
                  <a:lnTo>
                    <a:pt x="1667" y="893"/>
                  </a:lnTo>
                  <a:lnTo>
                    <a:pt x="1672" y="876"/>
                  </a:lnTo>
                  <a:lnTo>
                    <a:pt x="1689" y="872"/>
                  </a:lnTo>
                  <a:lnTo>
                    <a:pt x="1701" y="839"/>
                  </a:lnTo>
                  <a:lnTo>
                    <a:pt x="1710" y="839"/>
                  </a:lnTo>
                  <a:lnTo>
                    <a:pt x="1705" y="822"/>
                  </a:lnTo>
                  <a:lnTo>
                    <a:pt x="1684" y="815"/>
                  </a:lnTo>
                  <a:lnTo>
                    <a:pt x="1566" y="815"/>
                  </a:lnTo>
                  <a:lnTo>
                    <a:pt x="1528" y="810"/>
                  </a:lnTo>
                  <a:lnTo>
                    <a:pt x="1528" y="761"/>
                  </a:lnTo>
                  <a:lnTo>
                    <a:pt x="1521" y="737"/>
                  </a:lnTo>
                  <a:lnTo>
                    <a:pt x="1512" y="737"/>
                  </a:lnTo>
                  <a:lnTo>
                    <a:pt x="1507" y="756"/>
                  </a:lnTo>
                  <a:lnTo>
                    <a:pt x="1490" y="756"/>
                  </a:lnTo>
                  <a:lnTo>
                    <a:pt x="1474" y="737"/>
                  </a:lnTo>
                  <a:lnTo>
                    <a:pt x="1474" y="721"/>
                  </a:lnTo>
                  <a:lnTo>
                    <a:pt x="1469" y="721"/>
                  </a:lnTo>
                  <a:lnTo>
                    <a:pt x="1457" y="721"/>
                  </a:lnTo>
                  <a:lnTo>
                    <a:pt x="1474" y="728"/>
                  </a:lnTo>
                  <a:lnTo>
                    <a:pt x="1457" y="737"/>
                  </a:lnTo>
                  <a:lnTo>
                    <a:pt x="1431" y="704"/>
                  </a:lnTo>
                  <a:lnTo>
                    <a:pt x="1419" y="711"/>
                  </a:lnTo>
                  <a:lnTo>
                    <a:pt x="1431" y="711"/>
                  </a:lnTo>
                  <a:lnTo>
                    <a:pt x="1436" y="721"/>
                  </a:lnTo>
                  <a:lnTo>
                    <a:pt x="1415" y="737"/>
                  </a:lnTo>
                  <a:lnTo>
                    <a:pt x="1403" y="761"/>
                  </a:lnTo>
                  <a:lnTo>
                    <a:pt x="1419" y="765"/>
                  </a:lnTo>
                  <a:lnTo>
                    <a:pt x="1436" y="794"/>
                  </a:lnTo>
                  <a:lnTo>
                    <a:pt x="1453" y="794"/>
                  </a:lnTo>
                  <a:lnTo>
                    <a:pt x="1457" y="798"/>
                  </a:lnTo>
                  <a:lnTo>
                    <a:pt x="1469" y="810"/>
                  </a:lnTo>
                  <a:lnTo>
                    <a:pt x="1469" y="815"/>
                  </a:lnTo>
                  <a:lnTo>
                    <a:pt x="1431" y="815"/>
                  </a:lnTo>
                  <a:lnTo>
                    <a:pt x="1419" y="839"/>
                  </a:lnTo>
                  <a:lnTo>
                    <a:pt x="1403" y="832"/>
                  </a:lnTo>
                  <a:lnTo>
                    <a:pt x="1415" y="839"/>
                  </a:lnTo>
                  <a:lnTo>
                    <a:pt x="1398" y="855"/>
                  </a:lnTo>
                  <a:lnTo>
                    <a:pt x="1403" y="865"/>
                  </a:lnTo>
                  <a:lnTo>
                    <a:pt x="1436" y="876"/>
                  </a:lnTo>
                  <a:lnTo>
                    <a:pt x="1441" y="876"/>
                  </a:lnTo>
                  <a:lnTo>
                    <a:pt x="1453" y="888"/>
                  </a:lnTo>
                  <a:lnTo>
                    <a:pt x="1453" y="909"/>
                  </a:lnTo>
                  <a:lnTo>
                    <a:pt x="1436" y="921"/>
                  </a:lnTo>
                  <a:lnTo>
                    <a:pt x="1436" y="933"/>
                  </a:lnTo>
                  <a:lnTo>
                    <a:pt x="1453" y="943"/>
                  </a:lnTo>
                  <a:lnTo>
                    <a:pt x="1453" y="959"/>
                  </a:lnTo>
                  <a:lnTo>
                    <a:pt x="1469" y="966"/>
                  </a:lnTo>
                  <a:lnTo>
                    <a:pt x="1457" y="983"/>
                  </a:lnTo>
                  <a:lnTo>
                    <a:pt x="1474" y="1049"/>
                  </a:lnTo>
                  <a:lnTo>
                    <a:pt x="1469" y="1061"/>
                  </a:lnTo>
                  <a:lnTo>
                    <a:pt x="1474" y="1087"/>
                  </a:lnTo>
                  <a:lnTo>
                    <a:pt x="1441" y="1094"/>
                  </a:lnTo>
                  <a:lnTo>
                    <a:pt x="1453" y="1054"/>
                  </a:lnTo>
                  <a:lnTo>
                    <a:pt x="1441" y="1054"/>
                  </a:lnTo>
                  <a:lnTo>
                    <a:pt x="1441" y="1061"/>
                  </a:lnTo>
                  <a:lnTo>
                    <a:pt x="1441" y="1037"/>
                  </a:lnTo>
                  <a:lnTo>
                    <a:pt x="1436" y="1094"/>
                  </a:lnTo>
                  <a:lnTo>
                    <a:pt x="1431" y="1094"/>
                  </a:lnTo>
                  <a:lnTo>
                    <a:pt x="1436" y="1061"/>
                  </a:lnTo>
                  <a:lnTo>
                    <a:pt x="1431" y="1087"/>
                  </a:lnTo>
                  <a:lnTo>
                    <a:pt x="1419" y="1087"/>
                  </a:lnTo>
                  <a:lnTo>
                    <a:pt x="1415" y="1070"/>
                  </a:lnTo>
                  <a:lnTo>
                    <a:pt x="1415" y="1094"/>
                  </a:lnTo>
                  <a:lnTo>
                    <a:pt x="1403" y="1061"/>
                  </a:lnTo>
                  <a:lnTo>
                    <a:pt x="1415" y="1049"/>
                  </a:lnTo>
                  <a:lnTo>
                    <a:pt x="1398" y="1037"/>
                  </a:lnTo>
                  <a:lnTo>
                    <a:pt x="1386" y="1020"/>
                  </a:lnTo>
                  <a:lnTo>
                    <a:pt x="1398" y="1037"/>
                  </a:lnTo>
                  <a:lnTo>
                    <a:pt x="1415" y="1054"/>
                  </a:lnTo>
                  <a:lnTo>
                    <a:pt x="1382" y="1077"/>
                  </a:lnTo>
                  <a:lnTo>
                    <a:pt x="1344" y="1094"/>
                  </a:lnTo>
                  <a:lnTo>
                    <a:pt x="1327" y="1103"/>
                  </a:lnTo>
                  <a:lnTo>
                    <a:pt x="1311" y="1115"/>
                  </a:lnTo>
                  <a:lnTo>
                    <a:pt x="1327" y="1148"/>
                  </a:lnTo>
                  <a:lnTo>
                    <a:pt x="1323" y="1148"/>
                  </a:lnTo>
                  <a:lnTo>
                    <a:pt x="1327" y="1160"/>
                  </a:lnTo>
                  <a:lnTo>
                    <a:pt x="1311" y="1172"/>
                  </a:lnTo>
                  <a:lnTo>
                    <a:pt x="1306" y="1181"/>
                  </a:lnTo>
                  <a:lnTo>
                    <a:pt x="1311" y="1172"/>
                  </a:lnTo>
                  <a:lnTo>
                    <a:pt x="1311" y="1181"/>
                  </a:lnTo>
                  <a:lnTo>
                    <a:pt x="1290" y="1198"/>
                  </a:lnTo>
                  <a:lnTo>
                    <a:pt x="1290" y="1214"/>
                  </a:lnTo>
                  <a:lnTo>
                    <a:pt x="1273" y="1205"/>
                  </a:lnTo>
                  <a:lnTo>
                    <a:pt x="1280" y="1214"/>
                  </a:lnTo>
                  <a:lnTo>
                    <a:pt x="1219" y="1238"/>
                  </a:lnTo>
                  <a:lnTo>
                    <a:pt x="1226" y="1221"/>
                  </a:lnTo>
                  <a:lnTo>
                    <a:pt x="1219" y="1214"/>
                  </a:lnTo>
                  <a:lnTo>
                    <a:pt x="1205" y="1226"/>
                  </a:lnTo>
                  <a:lnTo>
                    <a:pt x="1197" y="1243"/>
                  </a:lnTo>
                  <a:lnTo>
                    <a:pt x="1205" y="1238"/>
                  </a:lnTo>
                  <a:lnTo>
                    <a:pt x="1214" y="1226"/>
                  </a:lnTo>
                  <a:lnTo>
                    <a:pt x="1214" y="1238"/>
                  </a:lnTo>
                  <a:lnTo>
                    <a:pt x="1167" y="1276"/>
                  </a:lnTo>
                  <a:lnTo>
                    <a:pt x="1171" y="1276"/>
                  </a:lnTo>
                  <a:lnTo>
                    <a:pt x="1167" y="1283"/>
                  </a:lnTo>
                  <a:lnTo>
                    <a:pt x="1129" y="1332"/>
                  </a:lnTo>
                  <a:lnTo>
                    <a:pt x="1091" y="1354"/>
                  </a:lnTo>
                  <a:lnTo>
                    <a:pt x="1063" y="1387"/>
                  </a:lnTo>
                  <a:lnTo>
                    <a:pt x="1004" y="1427"/>
                  </a:lnTo>
                  <a:lnTo>
                    <a:pt x="999" y="1436"/>
                  </a:lnTo>
                  <a:lnTo>
                    <a:pt x="1004" y="1443"/>
                  </a:lnTo>
                  <a:lnTo>
                    <a:pt x="999" y="1460"/>
                  </a:lnTo>
                  <a:lnTo>
                    <a:pt x="954" y="1481"/>
                  </a:lnTo>
                  <a:lnTo>
                    <a:pt x="928" y="1481"/>
                  </a:lnTo>
                  <a:lnTo>
                    <a:pt x="912" y="1521"/>
                  </a:lnTo>
                  <a:lnTo>
                    <a:pt x="895" y="1514"/>
                  </a:lnTo>
                  <a:lnTo>
                    <a:pt x="895" y="1505"/>
                  </a:lnTo>
                  <a:lnTo>
                    <a:pt x="895" y="1521"/>
                  </a:lnTo>
                  <a:lnTo>
                    <a:pt x="890" y="1514"/>
                  </a:lnTo>
                  <a:lnTo>
                    <a:pt x="857" y="1531"/>
                  </a:lnTo>
                  <a:lnTo>
                    <a:pt x="841" y="1576"/>
                  </a:lnTo>
                  <a:lnTo>
                    <a:pt x="848" y="1609"/>
                  </a:lnTo>
                  <a:lnTo>
                    <a:pt x="841" y="1642"/>
                  </a:lnTo>
                  <a:lnTo>
                    <a:pt x="857" y="1698"/>
                  </a:lnTo>
                  <a:lnTo>
                    <a:pt x="848" y="1670"/>
                  </a:lnTo>
                  <a:lnTo>
                    <a:pt x="841" y="1682"/>
                  </a:lnTo>
                  <a:lnTo>
                    <a:pt x="857" y="1703"/>
                  </a:lnTo>
                  <a:lnTo>
                    <a:pt x="848" y="1769"/>
                  </a:lnTo>
                  <a:lnTo>
                    <a:pt x="827" y="1798"/>
                  </a:lnTo>
                  <a:lnTo>
                    <a:pt x="819" y="1826"/>
                  </a:lnTo>
                  <a:lnTo>
                    <a:pt x="827" y="1864"/>
                  </a:lnTo>
                  <a:lnTo>
                    <a:pt x="827" y="1925"/>
                  </a:lnTo>
                  <a:lnTo>
                    <a:pt x="789" y="1925"/>
                  </a:lnTo>
                  <a:lnTo>
                    <a:pt x="782" y="1942"/>
                  </a:lnTo>
                  <a:lnTo>
                    <a:pt x="756" y="1980"/>
                  </a:lnTo>
                  <a:lnTo>
                    <a:pt x="765" y="1998"/>
                  </a:lnTo>
                  <a:lnTo>
                    <a:pt x="789" y="1998"/>
                  </a:lnTo>
                  <a:lnTo>
                    <a:pt x="793" y="2003"/>
                  </a:lnTo>
                  <a:lnTo>
                    <a:pt x="789" y="1998"/>
                  </a:lnTo>
                  <a:lnTo>
                    <a:pt x="765" y="1998"/>
                  </a:lnTo>
                  <a:lnTo>
                    <a:pt x="727" y="2015"/>
                  </a:lnTo>
                  <a:lnTo>
                    <a:pt x="713" y="2020"/>
                  </a:lnTo>
                  <a:lnTo>
                    <a:pt x="701" y="2057"/>
                  </a:lnTo>
                  <a:lnTo>
                    <a:pt x="664" y="2086"/>
                  </a:lnTo>
                  <a:lnTo>
                    <a:pt x="647" y="2086"/>
                  </a:lnTo>
                  <a:lnTo>
                    <a:pt x="626" y="2057"/>
                  </a:lnTo>
                  <a:lnTo>
                    <a:pt x="593" y="2031"/>
                  </a:lnTo>
                  <a:lnTo>
                    <a:pt x="605" y="2020"/>
                  </a:lnTo>
                  <a:lnTo>
                    <a:pt x="593" y="2020"/>
                  </a:lnTo>
                  <a:lnTo>
                    <a:pt x="576" y="1998"/>
                  </a:lnTo>
                  <a:lnTo>
                    <a:pt x="571" y="1946"/>
                  </a:lnTo>
                  <a:lnTo>
                    <a:pt x="576" y="1958"/>
                  </a:lnTo>
                  <a:lnTo>
                    <a:pt x="576" y="1980"/>
                  </a:lnTo>
                  <a:lnTo>
                    <a:pt x="588" y="1980"/>
                  </a:lnTo>
                  <a:lnTo>
                    <a:pt x="571" y="1937"/>
                  </a:lnTo>
                  <a:lnTo>
                    <a:pt x="571" y="1946"/>
                  </a:lnTo>
                  <a:lnTo>
                    <a:pt x="571" y="1942"/>
                  </a:lnTo>
                  <a:lnTo>
                    <a:pt x="534" y="1835"/>
                  </a:lnTo>
                  <a:lnTo>
                    <a:pt x="501" y="1798"/>
                  </a:lnTo>
                  <a:lnTo>
                    <a:pt x="470" y="1736"/>
                  </a:lnTo>
                  <a:lnTo>
                    <a:pt x="442" y="1616"/>
                  </a:lnTo>
                  <a:lnTo>
                    <a:pt x="442" y="1609"/>
                  </a:lnTo>
                  <a:lnTo>
                    <a:pt x="432" y="1616"/>
                  </a:lnTo>
                  <a:lnTo>
                    <a:pt x="432" y="1604"/>
                  </a:lnTo>
                  <a:lnTo>
                    <a:pt x="425" y="1592"/>
                  </a:lnTo>
                  <a:lnTo>
                    <a:pt x="411" y="1554"/>
                  </a:lnTo>
                  <a:lnTo>
                    <a:pt x="404" y="1547"/>
                  </a:lnTo>
                  <a:lnTo>
                    <a:pt x="411" y="1554"/>
                  </a:lnTo>
                  <a:lnTo>
                    <a:pt x="404" y="1547"/>
                  </a:lnTo>
                  <a:lnTo>
                    <a:pt x="378" y="1498"/>
                  </a:lnTo>
                  <a:lnTo>
                    <a:pt x="361" y="1427"/>
                  </a:lnTo>
                  <a:lnTo>
                    <a:pt x="335" y="1309"/>
                  </a:lnTo>
                  <a:lnTo>
                    <a:pt x="335" y="1299"/>
                  </a:lnTo>
                  <a:lnTo>
                    <a:pt x="340" y="1299"/>
                  </a:lnTo>
                  <a:lnTo>
                    <a:pt x="349" y="1299"/>
                  </a:lnTo>
                  <a:lnTo>
                    <a:pt x="340" y="1292"/>
                  </a:lnTo>
                  <a:lnTo>
                    <a:pt x="349" y="1283"/>
                  </a:lnTo>
                  <a:lnTo>
                    <a:pt x="340" y="1276"/>
                  </a:lnTo>
                  <a:lnTo>
                    <a:pt x="335" y="1292"/>
                  </a:lnTo>
                  <a:lnTo>
                    <a:pt x="335" y="1283"/>
                  </a:lnTo>
                  <a:lnTo>
                    <a:pt x="335" y="1259"/>
                  </a:lnTo>
                  <a:lnTo>
                    <a:pt x="349" y="1271"/>
                  </a:lnTo>
                  <a:lnTo>
                    <a:pt x="323" y="1254"/>
                  </a:lnTo>
                  <a:lnTo>
                    <a:pt x="323" y="1221"/>
                  </a:lnTo>
                  <a:lnTo>
                    <a:pt x="340" y="1148"/>
                  </a:lnTo>
                  <a:lnTo>
                    <a:pt x="335" y="1143"/>
                  </a:lnTo>
                  <a:lnTo>
                    <a:pt x="335" y="1127"/>
                  </a:lnTo>
                  <a:lnTo>
                    <a:pt x="319" y="1127"/>
                  </a:lnTo>
                  <a:lnTo>
                    <a:pt x="323" y="1115"/>
                  </a:lnTo>
                  <a:lnTo>
                    <a:pt x="319" y="1103"/>
                  </a:lnTo>
                  <a:lnTo>
                    <a:pt x="323" y="1103"/>
                  </a:lnTo>
                  <a:lnTo>
                    <a:pt x="319" y="1103"/>
                  </a:lnTo>
                  <a:lnTo>
                    <a:pt x="335" y="1087"/>
                  </a:lnTo>
                  <a:lnTo>
                    <a:pt x="356" y="1077"/>
                  </a:lnTo>
                  <a:lnTo>
                    <a:pt x="307" y="1087"/>
                  </a:lnTo>
                  <a:lnTo>
                    <a:pt x="319" y="1070"/>
                  </a:lnTo>
                  <a:lnTo>
                    <a:pt x="323" y="1061"/>
                  </a:lnTo>
                  <a:lnTo>
                    <a:pt x="319" y="1061"/>
                  </a:lnTo>
                  <a:lnTo>
                    <a:pt x="307" y="1061"/>
                  </a:lnTo>
                  <a:lnTo>
                    <a:pt x="319" y="1049"/>
                  </a:lnTo>
                  <a:lnTo>
                    <a:pt x="323" y="1049"/>
                  </a:lnTo>
                  <a:lnTo>
                    <a:pt x="340" y="1037"/>
                  </a:lnTo>
                  <a:lnTo>
                    <a:pt x="286" y="1037"/>
                  </a:lnTo>
                  <a:lnTo>
                    <a:pt x="302" y="1049"/>
                  </a:lnTo>
                  <a:lnTo>
                    <a:pt x="297" y="1054"/>
                  </a:lnTo>
                  <a:lnTo>
                    <a:pt x="281" y="1061"/>
                  </a:lnTo>
                  <a:lnTo>
                    <a:pt x="286" y="1061"/>
                  </a:lnTo>
                  <a:lnTo>
                    <a:pt x="286" y="1070"/>
                  </a:lnTo>
                  <a:lnTo>
                    <a:pt x="281" y="1070"/>
                  </a:lnTo>
                  <a:lnTo>
                    <a:pt x="281" y="1077"/>
                  </a:lnTo>
                  <a:lnTo>
                    <a:pt x="286" y="1070"/>
                  </a:lnTo>
                  <a:lnTo>
                    <a:pt x="297" y="1087"/>
                  </a:lnTo>
                  <a:lnTo>
                    <a:pt x="286" y="1115"/>
                  </a:lnTo>
                  <a:lnTo>
                    <a:pt x="243" y="1143"/>
                  </a:lnTo>
                  <a:lnTo>
                    <a:pt x="193" y="1160"/>
                  </a:lnTo>
                  <a:lnTo>
                    <a:pt x="139" y="1127"/>
                  </a:lnTo>
                  <a:lnTo>
                    <a:pt x="64" y="1037"/>
                  </a:lnTo>
                  <a:lnTo>
                    <a:pt x="71" y="1020"/>
                  </a:lnTo>
                  <a:lnTo>
                    <a:pt x="80" y="1037"/>
                  </a:lnTo>
                  <a:lnTo>
                    <a:pt x="146" y="1016"/>
                  </a:lnTo>
                  <a:lnTo>
                    <a:pt x="172" y="983"/>
                  </a:lnTo>
                  <a:lnTo>
                    <a:pt x="172" y="976"/>
                  </a:lnTo>
                  <a:lnTo>
                    <a:pt x="163" y="976"/>
                  </a:lnTo>
                  <a:lnTo>
                    <a:pt x="163" y="983"/>
                  </a:lnTo>
                  <a:lnTo>
                    <a:pt x="125" y="987"/>
                  </a:lnTo>
                  <a:lnTo>
                    <a:pt x="118" y="999"/>
                  </a:lnTo>
                  <a:lnTo>
                    <a:pt x="80" y="987"/>
                  </a:lnTo>
                  <a:lnTo>
                    <a:pt x="38" y="966"/>
                  </a:lnTo>
                  <a:lnTo>
                    <a:pt x="26" y="950"/>
                  </a:lnTo>
                  <a:lnTo>
                    <a:pt x="26" y="933"/>
                  </a:lnTo>
                  <a:lnTo>
                    <a:pt x="49" y="921"/>
                  </a:lnTo>
                  <a:lnTo>
                    <a:pt x="26" y="926"/>
                  </a:lnTo>
                  <a:lnTo>
                    <a:pt x="16" y="933"/>
                  </a:lnTo>
                  <a:lnTo>
                    <a:pt x="0" y="933"/>
                  </a:lnTo>
                  <a:lnTo>
                    <a:pt x="12" y="921"/>
                  </a:lnTo>
                  <a:lnTo>
                    <a:pt x="16" y="909"/>
                  </a:lnTo>
                  <a:lnTo>
                    <a:pt x="49" y="909"/>
                  </a:lnTo>
                  <a:lnTo>
                    <a:pt x="49" y="876"/>
                  </a:lnTo>
                  <a:lnTo>
                    <a:pt x="64" y="888"/>
                  </a:lnTo>
                  <a:lnTo>
                    <a:pt x="108" y="888"/>
                  </a:lnTo>
                  <a:lnTo>
                    <a:pt x="118" y="893"/>
                  </a:lnTo>
                  <a:lnTo>
                    <a:pt x="134" y="893"/>
                  </a:lnTo>
                  <a:lnTo>
                    <a:pt x="139" y="876"/>
                  </a:lnTo>
                  <a:lnTo>
                    <a:pt x="172" y="872"/>
                  </a:lnTo>
                  <a:lnTo>
                    <a:pt x="177" y="888"/>
                  </a:lnTo>
                  <a:lnTo>
                    <a:pt x="189" y="888"/>
                  </a:lnTo>
                  <a:lnTo>
                    <a:pt x="210" y="872"/>
                  </a:lnTo>
                  <a:lnTo>
                    <a:pt x="198" y="872"/>
                  </a:lnTo>
                  <a:lnTo>
                    <a:pt x="198" y="855"/>
                  </a:lnTo>
                  <a:lnTo>
                    <a:pt x="210" y="855"/>
                  </a:lnTo>
                  <a:lnTo>
                    <a:pt x="193" y="815"/>
                  </a:lnTo>
                  <a:lnTo>
                    <a:pt x="189" y="798"/>
                  </a:lnTo>
                  <a:lnTo>
                    <a:pt x="177" y="777"/>
                  </a:lnTo>
                  <a:lnTo>
                    <a:pt x="156" y="777"/>
                  </a:lnTo>
                  <a:lnTo>
                    <a:pt x="139" y="756"/>
                  </a:lnTo>
                  <a:lnTo>
                    <a:pt x="146" y="711"/>
                  </a:lnTo>
                  <a:lnTo>
                    <a:pt x="125" y="704"/>
                  </a:lnTo>
                  <a:lnTo>
                    <a:pt x="101" y="699"/>
                  </a:lnTo>
                  <a:lnTo>
                    <a:pt x="108" y="654"/>
                  </a:lnTo>
                  <a:lnTo>
                    <a:pt x="163" y="593"/>
                  </a:lnTo>
                  <a:lnTo>
                    <a:pt x="177" y="593"/>
                  </a:lnTo>
                  <a:lnTo>
                    <a:pt x="189" y="617"/>
                  </a:lnTo>
                  <a:lnTo>
                    <a:pt x="193" y="617"/>
                  </a:lnTo>
                  <a:lnTo>
                    <a:pt x="269" y="600"/>
                  </a:lnTo>
                  <a:lnTo>
                    <a:pt x="269" y="588"/>
                  </a:lnTo>
                  <a:lnTo>
                    <a:pt x="286" y="560"/>
                  </a:lnTo>
                  <a:lnTo>
                    <a:pt x="302" y="539"/>
                  </a:lnTo>
                  <a:lnTo>
                    <a:pt x="340" y="517"/>
                  </a:lnTo>
                  <a:lnTo>
                    <a:pt x="373" y="444"/>
                  </a:lnTo>
                  <a:lnTo>
                    <a:pt x="411" y="428"/>
                  </a:lnTo>
                  <a:lnTo>
                    <a:pt x="411" y="411"/>
                  </a:lnTo>
                  <a:lnTo>
                    <a:pt x="442" y="371"/>
                  </a:lnTo>
                  <a:lnTo>
                    <a:pt x="463" y="354"/>
                  </a:lnTo>
                  <a:lnTo>
                    <a:pt x="458" y="350"/>
                  </a:lnTo>
                  <a:lnTo>
                    <a:pt x="458" y="354"/>
                  </a:lnTo>
                  <a:lnTo>
                    <a:pt x="449" y="350"/>
                  </a:lnTo>
                  <a:lnTo>
                    <a:pt x="458" y="321"/>
                  </a:lnTo>
                  <a:lnTo>
                    <a:pt x="449" y="300"/>
                  </a:lnTo>
                  <a:lnTo>
                    <a:pt x="458" y="295"/>
                  </a:lnTo>
                  <a:lnTo>
                    <a:pt x="479" y="279"/>
                  </a:lnTo>
                  <a:lnTo>
                    <a:pt x="501" y="279"/>
                  </a:lnTo>
                  <a:lnTo>
                    <a:pt x="512" y="262"/>
                  </a:lnTo>
                  <a:lnTo>
                    <a:pt x="512" y="255"/>
                  </a:lnTo>
                  <a:lnTo>
                    <a:pt x="486" y="243"/>
                  </a:lnTo>
                  <a:lnTo>
                    <a:pt x="463" y="243"/>
                  </a:lnTo>
                  <a:lnTo>
                    <a:pt x="463" y="222"/>
                  </a:lnTo>
                  <a:lnTo>
                    <a:pt x="442" y="222"/>
                  </a:lnTo>
                  <a:lnTo>
                    <a:pt x="442" y="201"/>
                  </a:lnTo>
                  <a:lnTo>
                    <a:pt x="416" y="189"/>
                  </a:lnTo>
                  <a:lnTo>
                    <a:pt x="425" y="156"/>
                  </a:lnTo>
                  <a:lnTo>
                    <a:pt x="416" y="144"/>
                  </a:lnTo>
                  <a:lnTo>
                    <a:pt x="432" y="116"/>
                  </a:lnTo>
                  <a:lnTo>
                    <a:pt x="411" y="111"/>
                  </a:lnTo>
                  <a:lnTo>
                    <a:pt x="416" y="99"/>
                  </a:lnTo>
                  <a:lnTo>
                    <a:pt x="404" y="90"/>
                  </a:lnTo>
                  <a:lnTo>
                    <a:pt x="411" y="73"/>
                  </a:lnTo>
                  <a:lnTo>
                    <a:pt x="442" y="57"/>
                  </a:lnTo>
                  <a:lnTo>
                    <a:pt x="534" y="78"/>
                  </a:lnTo>
                  <a:lnTo>
                    <a:pt x="555" y="73"/>
                  </a:lnTo>
                  <a:lnTo>
                    <a:pt x="567" y="73"/>
                  </a:lnTo>
                  <a:lnTo>
                    <a:pt x="588" y="57"/>
                  </a:lnTo>
                  <a:lnTo>
                    <a:pt x="621" y="61"/>
                  </a:lnTo>
                  <a:lnTo>
                    <a:pt x="626" y="33"/>
                  </a:lnTo>
                  <a:lnTo>
                    <a:pt x="685" y="0"/>
                  </a:lnTo>
                  <a:lnTo>
                    <a:pt x="701" y="0"/>
                  </a:lnTo>
                  <a:lnTo>
                    <a:pt x="697" y="17"/>
                  </a:lnTo>
                  <a:lnTo>
                    <a:pt x="718" y="73"/>
                  </a:lnTo>
                  <a:lnTo>
                    <a:pt x="739" y="78"/>
                  </a:lnTo>
                  <a:lnTo>
                    <a:pt x="765" y="95"/>
                  </a:lnTo>
                  <a:lnTo>
                    <a:pt x="765" y="99"/>
                  </a:lnTo>
                  <a:lnTo>
                    <a:pt x="751" y="111"/>
                  </a:lnTo>
                  <a:lnTo>
                    <a:pt x="751" y="156"/>
                  </a:lnTo>
                  <a:lnTo>
                    <a:pt x="765" y="172"/>
                  </a:lnTo>
                  <a:lnTo>
                    <a:pt x="793" y="189"/>
                  </a:lnTo>
                  <a:lnTo>
                    <a:pt x="789" y="206"/>
                  </a:lnTo>
                  <a:lnTo>
                    <a:pt x="803" y="222"/>
                  </a:lnTo>
                  <a:lnTo>
                    <a:pt x="789" y="243"/>
                  </a:lnTo>
                  <a:lnTo>
                    <a:pt x="782" y="243"/>
                  </a:lnTo>
                  <a:lnTo>
                    <a:pt x="765" y="255"/>
                  </a:lnTo>
                  <a:lnTo>
                    <a:pt x="751" y="243"/>
                  </a:lnTo>
                  <a:lnTo>
                    <a:pt x="751" y="227"/>
                  </a:lnTo>
                  <a:lnTo>
                    <a:pt x="727" y="239"/>
                  </a:lnTo>
                  <a:lnTo>
                    <a:pt x="727" y="262"/>
                  </a:lnTo>
                  <a:lnTo>
                    <a:pt x="751" y="284"/>
                  </a:lnTo>
                  <a:lnTo>
                    <a:pt x="739" y="300"/>
                  </a:lnTo>
                  <a:lnTo>
                    <a:pt x="756" y="312"/>
                  </a:lnTo>
                  <a:lnTo>
                    <a:pt x="751" y="317"/>
                  </a:lnTo>
                  <a:lnTo>
                    <a:pt x="751" y="333"/>
                  </a:lnTo>
                  <a:lnTo>
                    <a:pt x="756" y="338"/>
                  </a:lnTo>
                  <a:lnTo>
                    <a:pt x="772" y="321"/>
                  </a:lnTo>
                  <a:lnTo>
                    <a:pt x="803" y="366"/>
                  </a:lnTo>
                  <a:lnTo>
                    <a:pt x="827" y="366"/>
                  </a:lnTo>
                  <a:lnTo>
                    <a:pt x="857" y="378"/>
                  </a:lnTo>
                  <a:lnTo>
                    <a:pt x="848" y="395"/>
                  </a:lnTo>
                  <a:lnTo>
                    <a:pt x="879" y="406"/>
                  </a:lnTo>
                  <a:lnTo>
                    <a:pt x="912" y="428"/>
                  </a:lnTo>
                  <a:lnTo>
                    <a:pt x="864" y="461"/>
                  </a:lnTo>
                  <a:lnTo>
                    <a:pt x="864" y="477"/>
                  </a:lnTo>
                  <a:lnTo>
                    <a:pt x="848" y="482"/>
                  </a:lnTo>
                  <a:lnTo>
                    <a:pt x="857" y="501"/>
                  </a:lnTo>
                  <a:lnTo>
                    <a:pt x="841" y="534"/>
                  </a:lnTo>
                  <a:lnTo>
                    <a:pt x="874" y="555"/>
                  </a:lnTo>
                  <a:lnTo>
                    <a:pt x="874" y="543"/>
                  </a:lnTo>
                  <a:lnTo>
                    <a:pt x="916" y="572"/>
                  </a:lnTo>
                  <a:lnTo>
                    <a:pt x="928" y="588"/>
                  </a:lnTo>
                  <a:lnTo>
                    <a:pt x="966" y="609"/>
                  </a:lnTo>
                  <a:lnTo>
                    <a:pt x="982" y="600"/>
                  </a:lnTo>
                  <a:lnTo>
                    <a:pt x="1004" y="628"/>
                  </a:lnTo>
                  <a:lnTo>
                    <a:pt x="1025" y="617"/>
                  </a:lnTo>
                  <a:lnTo>
                    <a:pt x="1025" y="633"/>
                  </a:lnTo>
                  <a:lnTo>
                    <a:pt x="1058" y="645"/>
                  </a:lnTo>
                  <a:lnTo>
                    <a:pt x="1063" y="650"/>
                  </a:lnTo>
                  <a:lnTo>
                    <a:pt x="1075" y="645"/>
                  </a:lnTo>
                  <a:lnTo>
                    <a:pt x="1105" y="650"/>
                  </a:lnTo>
                  <a:lnTo>
                    <a:pt x="1105" y="645"/>
                  </a:lnTo>
                  <a:lnTo>
                    <a:pt x="1129" y="633"/>
                  </a:lnTo>
                  <a:lnTo>
                    <a:pt x="1134" y="645"/>
                  </a:lnTo>
                  <a:lnTo>
                    <a:pt x="1160" y="650"/>
                  </a:lnTo>
                  <a:lnTo>
                    <a:pt x="1167" y="671"/>
                  </a:lnTo>
                  <a:lnTo>
                    <a:pt x="1214" y="699"/>
                  </a:lnTo>
                  <a:lnTo>
                    <a:pt x="1226" y="683"/>
                  </a:lnTo>
                  <a:lnTo>
                    <a:pt x="1252" y="704"/>
                  </a:lnTo>
                  <a:lnTo>
                    <a:pt x="1256" y="699"/>
                  </a:lnTo>
                  <a:lnTo>
                    <a:pt x="1311" y="721"/>
                  </a:lnTo>
                  <a:lnTo>
                    <a:pt x="1327" y="711"/>
                  </a:lnTo>
                  <a:lnTo>
                    <a:pt x="1344" y="721"/>
                  </a:lnTo>
                  <a:lnTo>
                    <a:pt x="1386" y="711"/>
                  </a:lnTo>
                  <a:lnTo>
                    <a:pt x="1398" y="721"/>
                  </a:lnTo>
                  <a:lnTo>
                    <a:pt x="1415" y="699"/>
                  </a:lnTo>
                  <a:lnTo>
                    <a:pt x="1398" y="666"/>
                  </a:lnTo>
                  <a:lnTo>
                    <a:pt x="1403" y="633"/>
                  </a:lnTo>
                  <a:lnTo>
                    <a:pt x="1415" y="609"/>
                  </a:lnTo>
                  <a:lnTo>
                    <a:pt x="1403" y="609"/>
                  </a:lnTo>
                  <a:lnTo>
                    <a:pt x="1403" y="600"/>
                  </a:lnTo>
                  <a:lnTo>
                    <a:pt x="1431" y="593"/>
                  </a:lnTo>
                  <a:lnTo>
                    <a:pt x="1441" y="588"/>
                  </a:lnTo>
                  <a:lnTo>
                    <a:pt x="1457" y="593"/>
                  </a:lnTo>
                  <a:lnTo>
                    <a:pt x="1457" y="609"/>
                  </a:lnTo>
                  <a:lnTo>
                    <a:pt x="1453" y="633"/>
                  </a:lnTo>
                  <a:lnTo>
                    <a:pt x="1457" y="650"/>
                  </a:lnTo>
                  <a:lnTo>
                    <a:pt x="1453" y="666"/>
                  </a:lnTo>
                  <a:lnTo>
                    <a:pt x="1457" y="671"/>
                  </a:lnTo>
                  <a:lnTo>
                    <a:pt x="1474" y="687"/>
                  </a:lnTo>
                  <a:lnTo>
                    <a:pt x="1490" y="687"/>
                  </a:lnTo>
                  <a:lnTo>
                    <a:pt x="1512" y="699"/>
                  </a:lnTo>
                  <a:lnTo>
                    <a:pt x="1545" y="699"/>
                  </a:lnTo>
                  <a:lnTo>
                    <a:pt x="1566" y="683"/>
                  </a:lnTo>
                  <a:lnTo>
                    <a:pt x="1592" y="687"/>
                  </a:lnTo>
                  <a:lnTo>
                    <a:pt x="1630" y="687"/>
                  </a:lnTo>
                  <a:lnTo>
                    <a:pt x="1634" y="683"/>
                  </a:lnTo>
                  <a:lnTo>
                    <a:pt x="1646" y="687"/>
                  </a:lnTo>
                  <a:lnTo>
                    <a:pt x="1684" y="683"/>
                  </a:lnTo>
                  <a:lnTo>
                    <a:pt x="1672" y="666"/>
                  </a:lnTo>
                  <a:lnTo>
                    <a:pt x="1684" y="650"/>
                  </a:lnTo>
                  <a:lnTo>
                    <a:pt x="1672" y="633"/>
                  </a:lnTo>
                  <a:lnTo>
                    <a:pt x="1651" y="633"/>
                  </a:lnTo>
                  <a:lnTo>
                    <a:pt x="1651" y="628"/>
                  </a:lnTo>
                  <a:lnTo>
                    <a:pt x="1651" y="617"/>
                  </a:lnTo>
                  <a:lnTo>
                    <a:pt x="1672" y="617"/>
                  </a:lnTo>
                  <a:lnTo>
                    <a:pt x="1701" y="609"/>
                  </a:lnTo>
                  <a:lnTo>
                    <a:pt x="1710" y="609"/>
                  </a:lnTo>
                  <a:lnTo>
                    <a:pt x="1727" y="600"/>
                  </a:lnTo>
                  <a:lnTo>
                    <a:pt x="1727" y="588"/>
                  </a:lnTo>
                  <a:lnTo>
                    <a:pt x="1760" y="572"/>
                  </a:lnTo>
                  <a:lnTo>
                    <a:pt x="1776" y="543"/>
                  </a:lnTo>
                  <a:lnTo>
                    <a:pt x="1814" y="543"/>
                  </a:lnTo>
                  <a:lnTo>
                    <a:pt x="1835" y="517"/>
                  </a:lnTo>
                  <a:lnTo>
                    <a:pt x="1861" y="489"/>
                  </a:lnTo>
                  <a:lnTo>
                    <a:pt x="1873" y="506"/>
                  </a:lnTo>
                  <a:lnTo>
                    <a:pt x="1916" y="517"/>
                  </a:lnTo>
                  <a:lnTo>
                    <a:pt x="1927" y="501"/>
                  </a:lnTo>
                  <a:lnTo>
                    <a:pt x="1958" y="482"/>
                  </a:lnTo>
                  <a:lnTo>
                    <a:pt x="1975" y="501"/>
                  </a:lnTo>
                  <a:lnTo>
                    <a:pt x="1982" y="501"/>
                  </a:lnTo>
                  <a:lnTo>
                    <a:pt x="1970" y="517"/>
                  </a:lnTo>
                  <a:lnTo>
                    <a:pt x="1970" y="522"/>
                  </a:lnTo>
                  <a:lnTo>
                    <a:pt x="1991" y="517"/>
                  </a:lnTo>
                  <a:lnTo>
                    <a:pt x="1996" y="539"/>
                  </a:lnTo>
                  <a:lnTo>
                    <a:pt x="1982" y="555"/>
                  </a:lnTo>
                  <a:lnTo>
                    <a:pt x="1982" y="572"/>
                  </a:lnTo>
                  <a:lnTo>
                    <a:pt x="2008" y="560"/>
                  </a:lnTo>
                  <a:lnTo>
                    <a:pt x="2029" y="572"/>
                  </a:lnTo>
                  <a:lnTo>
                    <a:pt x="2034" y="572"/>
                  </a:lnTo>
                  <a:lnTo>
                    <a:pt x="2050" y="576"/>
                  </a:lnTo>
                  <a:lnTo>
                    <a:pt x="2050" y="600"/>
                  </a:lnTo>
                  <a:lnTo>
                    <a:pt x="2024" y="628"/>
                  </a:lnTo>
                  <a:lnTo>
                    <a:pt x="2034" y="666"/>
                  </a:lnTo>
                  <a:lnTo>
                    <a:pt x="2024" y="654"/>
                  </a:lnTo>
                  <a:lnTo>
                    <a:pt x="2008" y="650"/>
                  </a:lnTo>
                  <a:lnTo>
                    <a:pt x="1975" y="650"/>
                  </a:lnTo>
                  <a:lnTo>
                    <a:pt x="1920" y="699"/>
                  </a:lnTo>
                  <a:lnTo>
                    <a:pt x="1899" y="704"/>
                  </a:lnTo>
                  <a:lnTo>
                    <a:pt x="1890" y="728"/>
                  </a:lnTo>
                  <a:lnTo>
                    <a:pt x="1899" y="744"/>
                  </a:lnTo>
                  <a:lnTo>
                    <a:pt x="1882" y="782"/>
                  </a:lnTo>
                  <a:lnTo>
                    <a:pt x="1861" y="798"/>
                  </a:lnTo>
                  <a:lnTo>
                    <a:pt x="1861" y="810"/>
                  </a:lnTo>
                  <a:lnTo>
                    <a:pt x="1868" y="815"/>
                  </a:lnTo>
                  <a:lnTo>
                    <a:pt x="1868" y="822"/>
                  </a:lnTo>
                  <a:lnTo>
                    <a:pt x="1830" y="921"/>
                  </a:lnTo>
                  <a:lnTo>
                    <a:pt x="1797" y="905"/>
                  </a:lnTo>
                  <a:lnTo>
                    <a:pt x="1781" y="909"/>
                  </a:lnTo>
                  <a:lnTo>
                    <a:pt x="1776" y="893"/>
                  </a:lnTo>
                  <a:lnTo>
                    <a:pt x="1776" y="926"/>
                  </a:lnTo>
                  <a:lnTo>
                    <a:pt x="1776" y="966"/>
                  </a:lnTo>
                  <a:lnTo>
                    <a:pt x="1764" y="983"/>
                  </a:lnTo>
                  <a:lnTo>
                    <a:pt x="1760" y="976"/>
                  </a:lnTo>
                  <a:lnTo>
                    <a:pt x="1755" y="1004"/>
                  </a:lnTo>
                  <a:lnTo>
                    <a:pt x="1760" y="1037"/>
                  </a:lnTo>
                  <a:lnTo>
                    <a:pt x="1755" y="1037"/>
                  </a:lnTo>
                  <a:lnTo>
                    <a:pt x="1743" y="1054"/>
                  </a:lnTo>
                  <a:lnTo>
                    <a:pt x="1727" y="1049"/>
                  </a:lnTo>
                  <a:lnTo>
                    <a:pt x="1722" y="1061"/>
                  </a:lnTo>
                  <a:lnTo>
                    <a:pt x="1710" y="1004"/>
                  </a:lnTo>
                  <a:lnTo>
                    <a:pt x="1705" y="983"/>
                  </a:lnTo>
                  <a:lnTo>
                    <a:pt x="1705" y="959"/>
                  </a:lnTo>
                  <a:lnTo>
                    <a:pt x="1701" y="926"/>
                  </a:lnTo>
                  <a:lnTo>
                    <a:pt x="1701" y="926"/>
                  </a:lnTo>
                  <a:lnTo>
                    <a:pt x="1701" y="926"/>
                  </a:lnTo>
                  <a:close/>
                  <a:moveTo>
                    <a:pt x="1441" y="1070"/>
                  </a:moveTo>
                  <a:lnTo>
                    <a:pt x="1436" y="1070"/>
                  </a:lnTo>
                  <a:lnTo>
                    <a:pt x="1441" y="1061"/>
                  </a:lnTo>
                  <a:lnTo>
                    <a:pt x="1441" y="1070"/>
                  </a:lnTo>
                  <a:lnTo>
                    <a:pt x="1441" y="1070"/>
                  </a:lnTo>
                  <a:lnTo>
                    <a:pt x="1441" y="1070"/>
                  </a:lnTo>
                  <a:close/>
                  <a:moveTo>
                    <a:pt x="1403" y="1070"/>
                  </a:moveTo>
                  <a:lnTo>
                    <a:pt x="1403" y="1087"/>
                  </a:lnTo>
                  <a:lnTo>
                    <a:pt x="1403" y="1070"/>
                  </a:lnTo>
                  <a:lnTo>
                    <a:pt x="1403" y="1070"/>
                  </a:lnTo>
                  <a:lnTo>
                    <a:pt x="1403" y="1070"/>
                  </a:lnTo>
                  <a:close/>
                  <a:moveTo>
                    <a:pt x="1738" y="1736"/>
                  </a:moveTo>
                  <a:lnTo>
                    <a:pt x="1738" y="1703"/>
                  </a:lnTo>
                  <a:lnTo>
                    <a:pt x="1743" y="1687"/>
                  </a:lnTo>
                  <a:lnTo>
                    <a:pt x="1755" y="1687"/>
                  </a:lnTo>
                  <a:lnTo>
                    <a:pt x="1755" y="1720"/>
                  </a:lnTo>
                  <a:lnTo>
                    <a:pt x="1743" y="1720"/>
                  </a:lnTo>
                  <a:lnTo>
                    <a:pt x="1738" y="1736"/>
                  </a:lnTo>
                  <a:lnTo>
                    <a:pt x="1738" y="1736"/>
                  </a:lnTo>
                  <a:lnTo>
                    <a:pt x="1738" y="1736"/>
                  </a:lnTo>
                  <a:close/>
                  <a:moveTo>
                    <a:pt x="1738" y="1776"/>
                  </a:moveTo>
                  <a:lnTo>
                    <a:pt x="1727" y="1776"/>
                  </a:lnTo>
                  <a:lnTo>
                    <a:pt x="1727" y="1743"/>
                  </a:lnTo>
                  <a:lnTo>
                    <a:pt x="1743" y="1736"/>
                  </a:lnTo>
                  <a:lnTo>
                    <a:pt x="1743" y="1760"/>
                  </a:lnTo>
                  <a:lnTo>
                    <a:pt x="1743" y="1769"/>
                  </a:lnTo>
                  <a:lnTo>
                    <a:pt x="1738" y="1769"/>
                  </a:lnTo>
                  <a:lnTo>
                    <a:pt x="1738" y="1776"/>
                  </a:lnTo>
                  <a:lnTo>
                    <a:pt x="1738" y="1776"/>
                  </a:lnTo>
                  <a:lnTo>
                    <a:pt x="1738" y="1776"/>
                  </a:lnTo>
                  <a:close/>
                  <a:moveTo>
                    <a:pt x="1727" y="1793"/>
                  </a:moveTo>
                  <a:lnTo>
                    <a:pt x="1727" y="1776"/>
                  </a:lnTo>
                  <a:lnTo>
                    <a:pt x="1743" y="1776"/>
                  </a:lnTo>
                  <a:lnTo>
                    <a:pt x="1727" y="1793"/>
                  </a:lnTo>
                  <a:lnTo>
                    <a:pt x="1727" y="1793"/>
                  </a:lnTo>
                  <a:lnTo>
                    <a:pt x="1727" y="1793"/>
                  </a:lnTo>
                  <a:close/>
                  <a:moveTo>
                    <a:pt x="1727" y="1793"/>
                  </a:moveTo>
                  <a:lnTo>
                    <a:pt x="1727" y="1835"/>
                  </a:lnTo>
                  <a:lnTo>
                    <a:pt x="1710" y="1809"/>
                  </a:lnTo>
                  <a:lnTo>
                    <a:pt x="1727" y="1781"/>
                  </a:lnTo>
                  <a:lnTo>
                    <a:pt x="1727" y="1793"/>
                  </a:lnTo>
                  <a:lnTo>
                    <a:pt x="1727" y="1793"/>
                  </a:lnTo>
                  <a:lnTo>
                    <a:pt x="1727" y="1793"/>
                  </a:lnTo>
                  <a:close/>
                  <a:moveTo>
                    <a:pt x="1755" y="1798"/>
                  </a:moveTo>
                  <a:lnTo>
                    <a:pt x="1755" y="1809"/>
                  </a:lnTo>
                  <a:lnTo>
                    <a:pt x="1743" y="1798"/>
                  </a:lnTo>
                  <a:lnTo>
                    <a:pt x="1755" y="1798"/>
                  </a:lnTo>
                  <a:lnTo>
                    <a:pt x="1755" y="1798"/>
                  </a:lnTo>
                  <a:lnTo>
                    <a:pt x="1755" y="1798"/>
                  </a:lnTo>
                  <a:close/>
                  <a:moveTo>
                    <a:pt x="1701" y="1831"/>
                  </a:moveTo>
                  <a:lnTo>
                    <a:pt x="1689" y="1831"/>
                  </a:lnTo>
                  <a:lnTo>
                    <a:pt x="1701" y="1831"/>
                  </a:lnTo>
                  <a:lnTo>
                    <a:pt x="1701" y="1831"/>
                  </a:lnTo>
                  <a:lnTo>
                    <a:pt x="1701" y="1831"/>
                  </a:lnTo>
                  <a:close/>
                  <a:moveTo>
                    <a:pt x="1722" y="1847"/>
                  </a:moveTo>
                  <a:lnTo>
                    <a:pt x="1722" y="1831"/>
                  </a:lnTo>
                  <a:lnTo>
                    <a:pt x="1727" y="1847"/>
                  </a:lnTo>
                  <a:lnTo>
                    <a:pt x="1722" y="1847"/>
                  </a:lnTo>
                  <a:lnTo>
                    <a:pt x="1722" y="1847"/>
                  </a:lnTo>
                  <a:lnTo>
                    <a:pt x="1722" y="1847"/>
                  </a:lnTo>
                  <a:close/>
                  <a:moveTo>
                    <a:pt x="1710" y="1887"/>
                  </a:moveTo>
                  <a:lnTo>
                    <a:pt x="1710" y="1909"/>
                  </a:lnTo>
                  <a:lnTo>
                    <a:pt x="1705" y="1904"/>
                  </a:lnTo>
                  <a:lnTo>
                    <a:pt x="1705" y="1887"/>
                  </a:lnTo>
                  <a:lnTo>
                    <a:pt x="1710" y="1880"/>
                  </a:lnTo>
                  <a:lnTo>
                    <a:pt x="1710" y="1887"/>
                  </a:lnTo>
                  <a:lnTo>
                    <a:pt x="1710" y="1887"/>
                  </a:lnTo>
                  <a:lnTo>
                    <a:pt x="1710" y="1887"/>
                  </a:lnTo>
                  <a:close/>
                  <a:moveTo>
                    <a:pt x="1738" y="1998"/>
                  </a:moveTo>
                  <a:lnTo>
                    <a:pt x="1738" y="2003"/>
                  </a:lnTo>
                  <a:lnTo>
                    <a:pt x="1727" y="2003"/>
                  </a:lnTo>
                  <a:lnTo>
                    <a:pt x="1738" y="1998"/>
                  </a:lnTo>
                  <a:lnTo>
                    <a:pt x="1738" y="1998"/>
                  </a:lnTo>
                  <a:lnTo>
                    <a:pt x="1738" y="1998"/>
                  </a:lnTo>
                  <a:close/>
                  <a:moveTo>
                    <a:pt x="1755" y="2069"/>
                  </a:moveTo>
                  <a:lnTo>
                    <a:pt x="1760" y="2074"/>
                  </a:lnTo>
                  <a:lnTo>
                    <a:pt x="1755" y="2069"/>
                  </a:lnTo>
                  <a:lnTo>
                    <a:pt x="1755" y="2069"/>
                  </a:lnTo>
                  <a:lnTo>
                    <a:pt x="1755" y="2069"/>
                  </a:lnTo>
                  <a:close/>
                  <a:moveTo>
                    <a:pt x="1781" y="2074"/>
                  </a:moveTo>
                  <a:lnTo>
                    <a:pt x="1781" y="2091"/>
                  </a:lnTo>
                  <a:lnTo>
                    <a:pt x="1776" y="2074"/>
                  </a:lnTo>
                  <a:lnTo>
                    <a:pt x="1781" y="2074"/>
                  </a:lnTo>
                  <a:lnTo>
                    <a:pt x="1781" y="2074"/>
                  </a:lnTo>
                  <a:lnTo>
                    <a:pt x="1781" y="2074"/>
                  </a:lnTo>
                  <a:close/>
                  <a:moveTo>
                    <a:pt x="1776" y="2091"/>
                  </a:moveTo>
                  <a:lnTo>
                    <a:pt x="1781" y="2102"/>
                  </a:lnTo>
                  <a:lnTo>
                    <a:pt x="1764" y="2091"/>
                  </a:lnTo>
                  <a:lnTo>
                    <a:pt x="1776" y="2091"/>
                  </a:lnTo>
                  <a:lnTo>
                    <a:pt x="1776" y="2091"/>
                  </a:lnTo>
                  <a:lnTo>
                    <a:pt x="1776" y="2091"/>
                  </a:lnTo>
                  <a:close/>
                  <a:moveTo>
                    <a:pt x="1793" y="2091"/>
                  </a:moveTo>
                  <a:lnTo>
                    <a:pt x="1781" y="2091"/>
                  </a:lnTo>
                  <a:lnTo>
                    <a:pt x="1793" y="2091"/>
                  </a:lnTo>
                  <a:lnTo>
                    <a:pt x="1793" y="2091"/>
                  </a:lnTo>
                  <a:lnTo>
                    <a:pt x="1793" y="2091"/>
                  </a:lnTo>
                  <a:close/>
                  <a:moveTo>
                    <a:pt x="1797" y="2131"/>
                  </a:moveTo>
                  <a:lnTo>
                    <a:pt x="1797" y="2143"/>
                  </a:lnTo>
                  <a:lnTo>
                    <a:pt x="1793" y="2147"/>
                  </a:lnTo>
                  <a:lnTo>
                    <a:pt x="1797" y="2131"/>
                  </a:lnTo>
                  <a:lnTo>
                    <a:pt x="1797" y="2131"/>
                  </a:lnTo>
                  <a:lnTo>
                    <a:pt x="1797" y="2131"/>
                  </a:lnTo>
                  <a:close/>
                  <a:moveTo>
                    <a:pt x="1807" y="2147"/>
                  </a:moveTo>
                  <a:lnTo>
                    <a:pt x="1814" y="2164"/>
                  </a:lnTo>
                  <a:lnTo>
                    <a:pt x="1807" y="2180"/>
                  </a:lnTo>
                  <a:lnTo>
                    <a:pt x="1793" y="2159"/>
                  </a:lnTo>
                  <a:lnTo>
                    <a:pt x="1807" y="2147"/>
                  </a:lnTo>
                  <a:lnTo>
                    <a:pt x="1807" y="2147"/>
                  </a:lnTo>
                  <a:lnTo>
                    <a:pt x="1807" y="214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1" name="Freeform 470">
              <a:extLst>
                <a:ext uri="{FF2B5EF4-FFF2-40B4-BE49-F238E27FC236}">
                  <a16:creationId xmlns:a16="http://schemas.microsoft.com/office/drawing/2014/main" id="{69D4E3D2-B2BE-4954-879D-6B0F73614D31}"/>
                </a:ext>
              </a:extLst>
            </p:cNvPr>
            <p:cNvSpPr>
              <a:spLocks/>
            </p:cNvSpPr>
            <p:nvPr/>
          </p:nvSpPr>
          <p:spPr bwMode="gray">
            <a:xfrm>
              <a:off x="15405196" y="4282964"/>
              <a:ext cx="2946" cy="5564"/>
            </a:xfrm>
            <a:custGeom>
              <a:avLst/>
              <a:gdLst>
                <a:gd name="T0" fmla="*/ 9 w 9"/>
                <a:gd name="T1" fmla="*/ 17 h 17"/>
                <a:gd name="T2" fmla="*/ 0 w 9"/>
                <a:gd name="T3" fmla="*/ 12 h 17"/>
                <a:gd name="T4" fmla="*/ 9 w 9"/>
                <a:gd name="T5" fmla="*/ 17 h 17"/>
                <a:gd name="T6" fmla="*/ 9 w 9"/>
                <a:gd name="T7" fmla="*/ 0 h 17"/>
                <a:gd name="T8" fmla="*/ 9 w 9"/>
                <a:gd name="T9" fmla="*/ 12 h 17"/>
                <a:gd name="T10" fmla="*/ 9 w 9"/>
                <a:gd name="T11" fmla="*/ 17 h 17"/>
                <a:gd name="T12" fmla="*/ 9 w 9"/>
                <a:gd name="T13" fmla="*/ 17 h 17"/>
                <a:gd name="T14" fmla="*/ 9 w 9"/>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7">
                  <a:moveTo>
                    <a:pt x="9" y="17"/>
                  </a:moveTo>
                  <a:lnTo>
                    <a:pt x="0" y="12"/>
                  </a:lnTo>
                  <a:lnTo>
                    <a:pt x="9" y="17"/>
                  </a:lnTo>
                  <a:lnTo>
                    <a:pt x="9" y="0"/>
                  </a:lnTo>
                  <a:lnTo>
                    <a:pt x="9" y="12"/>
                  </a:lnTo>
                  <a:lnTo>
                    <a:pt x="9" y="17"/>
                  </a:lnTo>
                  <a:lnTo>
                    <a:pt x="9" y="17"/>
                  </a:lnTo>
                  <a:lnTo>
                    <a:pt x="9" y="1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2" name="Freeform 471">
              <a:extLst>
                <a:ext uri="{FF2B5EF4-FFF2-40B4-BE49-F238E27FC236}">
                  <a16:creationId xmlns:a16="http://schemas.microsoft.com/office/drawing/2014/main" id="{EFCE762D-E7D7-46DC-A523-73275454C639}"/>
                </a:ext>
              </a:extLst>
            </p:cNvPr>
            <p:cNvSpPr>
              <a:spLocks noEditPoints="1"/>
            </p:cNvSpPr>
            <p:nvPr/>
          </p:nvSpPr>
          <p:spPr bwMode="gray">
            <a:xfrm>
              <a:off x="14753221" y="3125643"/>
              <a:ext cx="445451" cy="384901"/>
            </a:xfrm>
            <a:custGeom>
              <a:avLst/>
              <a:gdLst>
                <a:gd name="T0" fmla="*/ 1252 w 1361"/>
                <a:gd name="T1" fmla="*/ 711 h 1176"/>
                <a:gd name="T2" fmla="*/ 1238 w 1361"/>
                <a:gd name="T3" fmla="*/ 893 h 1176"/>
                <a:gd name="T4" fmla="*/ 1323 w 1361"/>
                <a:gd name="T5" fmla="*/ 933 h 1176"/>
                <a:gd name="T6" fmla="*/ 1361 w 1361"/>
                <a:gd name="T7" fmla="*/ 1021 h 1176"/>
                <a:gd name="T8" fmla="*/ 1297 w 1361"/>
                <a:gd name="T9" fmla="*/ 1061 h 1176"/>
                <a:gd name="T10" fmla="*/ 1252 w 1361"/>
                <a:gd name="T11" fmla="*/ 1094 h 1176"/>
                <a:gd name="T12" fmla="*/ 1222 w 1361"/>
                <a:gd name="T13" fmla="*/ 1176 h 1176"/>
                <a:gd name="T14" fmla="*/ 1163 w 1361"/>
                <a:gd name="T15" fmla="*/ 1165 h 1176"/>
                <a:gd name="T16" fmla="*/ 1059 w 1361"/>
                <a:gd name="T17" fmla="*/ 1155 h 1176"/>
                <a:gd name="T18" fmla="*/ 983 w 1361"/>
                <a:gd name="T19" fmla="*/ 1132 h 1176"/>
                <a:gd name="T20" fmla="*/ 898 w 1361"/>
                <a:gd name="T21" fmla="*/ 1021 h 1176"/>
                <a:gd name="T22" fmla="*/ 823 w 1361"/>
                <a:gd name="T23" fmla="*/ 1028 h 1176"/>
                <a:gd name="T24" fmla="*/ 730 w 1361"/>
                <a:gd name="T25" fmla="*/ 1054 h 1176"/>
                <a:gd name="T26" fmla="*/ 605 w 1361"/>
                <a:gd name="T27" fmla="*/ 999 h 1176"/>
                <a:gd name="T28" fmla="*/ 525 w 1361"/>
                <a:gd name="T29" fmla="*/ 954 h 1176"/>
                <a:gd name="T30" fmla="*/ 482 w 1361"/>
                <a:gd name="T31" fmla="*/ 876 h 1176"/>
                <a:gd name="T32" fmla="*/ 466 w 1361"/>
                <a:gd name="T33" fmla="*/ 839 h 1176"/>
                <a:gd name="T34" fmla="*/ 390 w 1361"/>
                <a:gd name="T35" fmla="*/ 782 h 1176"/>
                <a:gd name="T36" fmla="*/ 374 w 1361"/>
                <a:gd name="T37" fmla="*/ 761 h 1176"/>
                <a:gd name="T38" fmla="*/ 319 w 1361"/>
                <a:gd name="T39" fmla="*/ 798 h 1176"/>
                <a:gd name="T40" fmla="*/ 286 w 1361"/>
                <a:gd name="T41" fmla="*/ 721 h 1176"/>
                <a:gd name="T42" fmla="*/ 244 w 1361"/>
                <a:gd name="T43" fmla="*/ 610 h 1176"/>
                <a:gd name="T44" fmla="*/ 147 w 1361"/>
                <a:gd name="T45" fmla="*/ 560 h 1176"/>
                <a:gd name="T46" fmla="*/ 142 w 1361"/>
                <a:gd name="T47" fmla="*/ 510 h 1176"/>
                <a:gd name="T48" fmla="*/ 104 w 1361"/>
                <a:gd name="T49" fmla="*/ 473 h 1176"/>
                <a:gd name="T50" fmla="*/ 109 w 1361"/>
                <a:gd name="T51" fmla="*/ 428 h 1176"/>
                <a:gd name="T52" fmla="*/ 142 w 1361"/>
                <a:gd name="T53" fmla="*/ 390 h 1176"/>
                <a:gd name="T54" fmla="*/ 142 w 1361"/>
                <a:gd name="T55" fmla="*/ 338 h 1176"/>
                <a:gd name="T56" fmla="*/ 119 w 1361"/>
                <a:gd name="T57" fmla="*/ 317 h 1176"/>
                <a:gd name="T58" fmla="*/ 71 w 1361"/>
                <a:gd name="T59" fmla="*/ 267 h 1176"/>
                <a:gd name="T60" fmla="*/ 55 w 1361"/>
                <a:gd name="T61" fmla="*/ 222 h 1176"/>
                <a:gd name="T62" fmla="*/ 17 w 1361"/>
                <a:gd name="T63" fmla="*/ 156 h 1176"/>
                <a:gd name="T64" fmla="*/ 17 w 1361"/>
                <a:gd name="T65" fmla="*/ 66 h 1176"/>
                <a:gd name="T66" fmla="*/ 34 w 1361"/>
                <a:gd name="T67" fmla="*/ 7 h 1176"/>
                <a:gd name="T68" fmla="*/ 93 w 1361"/>
                <a:gd name="T69" fmla="*/ 45 h 1176"/>
                <a:gd name="T70" fmla="*/ 201 w 1361"/>
                <a:gd name="T71" fmla="*/ 45 h 1176"/>
                <a:gd name="T72" fmla="*/ 303 w 1361"/>
                <a:gd name="T73" fmla="*/ 62 h 1176"/>
                <a:gd name="T74" fmla="*/ 308 w 1361"/>
                <a:gd name="T75" fmla="*/ 95 h 1176"/>
                <a:gd name="T76" fmla="*/ 357 w 1361"/>
                <a:gd name="T77" fmla="*/ 173 h 1176"/>
                <a:gd name="T78" fmla="*/ 504 w 1361"/>
                <a:gd name="T79" fmla="*/ 250 h 1176"/>
                <a:gd name="T80" fmla="*/ 697 w 1361"/>
                <a:gd name="T81" fmla="*/ 246 h 1176"/>
                <a:gd name="T82" fmla="*/ 719 w 1361"/>
                <a:gd name="T83" fmla="*/ 206 h 1176"/>
                <a:gd name="T84" fmla="*/ 806 w 1361"/>
                <a:gd name="T85" fmla="*/ 139 h 1176"/>
                <a:gd name="T86" fmla="*/ 874 w 1361"/>
                <a:gd name="T87" fmla="*/ 123 h 1176"/>
                <a:gd name="T88" fmla="*/ 945 w 1361"/>
                <a:gd name="T89" fmla="*/ 151 h 1176"/>
                <a:gd name="T90" fmla="*/ 1075 w 1361"/>
                <a:gd name="T91" fmla="*/ 189 h 1176"/>
                <a:gd name="T92" fmla="*/ 1205 w 1361"/>
                <a:gd name="T93" fmla="*/ 262 h 1176"/>
                <a:gd name="T94" fmla="*/ 1189 w 1361"/>
                <a:gd name="T95" fmla="*/ 428 h 1176"/>
                <a:gd name="T96" fmla="*/ 1163 w 1361"/>
                <a:gd name="T97" fmla="*/ 465 h 1176"/>
                <a:gd name="T98" fmla="*/ 1184 w 1361"/>
                <a:gd name="T99" fmla="*/ 617 h 1176"/>
                <a:gd name="T100" fmla="*/ 865 w 1361"/>
                <a:gd name="T101" fmla="*/ 1037 h 1176"/>
                <a:gd name="T102" fmla="*/ 827 w 1361"/>
                <a:gd name="T103" fmla="*/ 1044 h 1176"/>
                <a:gd name="T104" fmla="*/ 865 w 1361"/>
                <a:gd name="T105" fmla="*/ 1037 h 1176"/>
                <a:gd name="T106" fmla="*/ 823 w 1361"/>
                <a:gd name="T107" fmla="*/ 1044 h 1176"/>
                <a:gd name="T108" fmla="*/ 697 w 1361"/>
                <a:gd name="T109" fmla="*/ 1065 h 1176"/>
                <a:gd name="T110" fmla="*/ 702 w 1361"/>
                <a:gd name="T111" fmla="*/ 1065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61" h="1176">
                  <a:moveTo>
                    <a:pt x="1184" y="638"/>
                  </a:moveTo>
                  <a:lnTo>
                    <a:pt x="1184" y="678"/>
                  </a:lnTo>
                  <a:lnTo>
                    <a:pt x="1243" y="687"/>
                  </a:lnTo>
                  <a:lnTo>
                    <a:pt x="1252" y="711"/>
                  </a:lnTo>
                  <a:lnTo>
                    <a:pt x="1243" y="732"/>
                  </a:lnTo>
                  <a:lnTo>
                    <a:pt x="1184" y="806"/>
                  </a:lnTo>
                  <a:lnTo>
                    <a:pt x="1215" y="843"/>
                  </a:lnTo>
                  <a:lnTo>
                    <a:pt x="1238" y="893"/>
                  </a:lnTo>
                  <a:lnTo>
                    <a:pt x="1260" y="910"/>
                  </a:lnTo>
                  <a:lnTo>
                    <a:pt x="1290" y="917"/>
                  </a:lnTo>
                  <a:lnTo>
                    <a:pt x="1307" y="933"/>
                  </a:lnTo>
                  <a:lnTo>
                    <a:pt x="1323" y="933"/>
                  </a:lnTo>
                  <a:lnTo>
                    <a:pt x="1323" y="999"/>
                  </a:lnTo>
                  <a:lnTo>
                    <a:pt x="1323" y="1011"/>
                  </a:lnTo>
                  <a:lnTo>
                    <a:pt x="1349" y="1004"/>
                  </a:lnTo>
                  <a:lnTo>
                    <a:pt x="1361" y="1021"/>
                  </a:lnTo>
                  <a:lnTo>
                    <a:pt x="1349" y="1021"/>
                  </a:lnTo>
                  <a:lnTo>
                    <a:pt x="1345" y="1061"/>
                  </a:lnTo>
                  <a:lnTo>
                    <a:pt x="1323" y="1061"/>
                  </a:lnTo>
                  <a:lnTo>
                    <a:pt x="1297" y="1061"/>
                  </a:lnTo>
                  <a:lnTo>
                    <a:pt x="1281" y="1065"/>
                  </a:lnTo>
                  <a:lnTo>
                    <a:pt x="1281" y="1077"/>
                  </a:lnTo>
                  <a:lnTo>
                    <a:pt x="1276" y="1077"/>
                  </a:lnTo>
                  <a:lnTo>
                    <a:pt x="1252" y="1094"/>
                  </a:lnTo>
                  <a:lnTo>
                    <a:pt x="1252" y="1120"/>
                  </a:lnTo>
                  <a:lnTo>
                    <a:pt x="1243" y="1120"/>
                  </a:lnTo>
                  <a:lnTo>
                    <a:pt x="1238" y="1172"/>
                  </a:lnTo>
                  <a:lnTo>
                    <a:pt x="1222" y="1176"/>
                  </a:lnTo>
                  <a:lnTo>
                    <a:pt x="1167" y="1165"/>
                  </a:lnTo>
                  <a:lnTo>
                    <a:pt x="1163" y="1148"/>
                  </a:lnTo>
                  <a:lnTo>
                    <a:pt x="1151" y="1155"/>
                  </a:lnTo>
                  <a:lnTo>
                    <a:pt x="1163" y="1165"/>
                  </a:lnTo>
                  <a:lnTo>
                    <a:pt x="1146" y="1155"/>
                  </a:lnTo>
                  <a:lnTo>
                    <a:pt x="1097" y="1155"/>
                  </a:lnTo>
                  <a:lnTo>
                    <a:pt x="1092" y="1148"/>
                  </a:lnTo>
                  <a:lnTo>
                    <a:pt x="1059" y="1155"/>
                  </a:lnTo>
                  <a:lnTo>
                    <a:pt x="1042" y="1139"/>
                  </a:lnTo>
                  <a:lnTo>
                    <a:pt x="1011" y="1139"/>
                  </a:lnTo>
                  <a:lnTo>
                    <a:pt x="1000" y="1139"/>
                  </a:lnTo>
                  <a:lnTo>
                    <a:pt x="983" y="1132"/>
                  </a:lnTo>
                  <a:lnTo>
                    <a:pt x="936" y="1120"/>
                  </a:lnTo>
                  <a:lnTo>
                    <a:pt x="929" y="1098"/>
                  </a:lnTo>
                  <a:lnTo>
                    <a:pt x="912" y="1044"/>
                  </a:lnTo>
                  <a:lnTo>
                    <a:pt x="898" y="1021"/>
                  </a:lnTo>
                  <a:lnTo>
                    <a:pt x="891" y="1021"/>
                  </a:lnTo>
                  <a:lnTo>
                    <a:pt x="849" y="1021"/>
                  </a:lnTo>
                  <a:lnTo>
                    <a:pt x="844" y="1028"/>
                  </a:lnTo>
                  <a:lnTo>
                    <a:pt x="823" y="1028"/>
                  </a:lnTo>
                  <a:lnTo>
                    <a:pt x="811" y="1044"/>
                  </a:lnTo>
                  <a:lnTo>
                    <a:pt x="789" y="1044"/>
                  </a:lnTo>
                  <a:lnTo>
                    <a:pt x="756" y="1065"/>
                  </a:lnTo>
                  <a:lnTo>
                    <a:pt x="730" y="1054"/>
                  </a:lnTo>
                  <a:lnTo>
                    <a:pt x="686" y="1054"/>
                  </a:lnTo>
                  <a:lnTo>
                    <a:pt x="660" y="1028"/>
                  </a:lnTo>
                  <a:lnTo>
                    <a:pt x="605" y="1004"/>
                  </a:lnTo>
                  <a:lnTo>
                    <a:pt x="605" y="999"/>
                  </a:lnTo>
                  <a:lnTo>
                    <a:pt x="596" y="983"/>
                  </a:lnTo>
                  <a:lnTo>
                    <a:pt x="567" y="966"/>
                  </a:lnTo>
                  <a:lnTo>
                    <a:pt x="534" y="966"/>
                  </a:lnTo>
                  <a:lnTo>
                    <a:pt x="525" y="954"/>
                  </a:lnTo>
                  <a:lnTo>
                    <a:pt x="497" y="910"/>
                  </a:lnTo>
                  <a:lnTo>
                    <a:pt x="497" y="893"/>
                  </a:lnTo>
                  <a:lnTo>
                    <a:pt x="482" y="876"/>
                  </a:lnTo>
                  <a:lnTo>
                    <a:pt x="482" y="876"/>
                  </a:lnTo>
                  <a:lnTo>
                    <a:pt x="487" y="876"/>
                  </a:lnTo>
                  <a:lnTo>
                    <a:pt x="487" y="872"/>
                  </a:lnTo>
                  <a:lnTo>
                    <a:pt x="466" y="860"/>
                  </a:lnTo>
                  <a:lnTo>
                    <a:pt x="466" y="839"/>
                  </a:lnTo>
                  <a:lnTo>
                    <a:pt x="433" y="798"/>
                  </a:lnTo>
                  <a:lnTo>
                    <a:pt x="428" y="777"/>
                  </a:lnTo>
                  <a:lnTo>
                    <a:pt x="390" y="789"/>
                  </a:lnTo>
                  <a:lnTo>
                    <a:pt x="390" y="782"/>
                  </a:lnTo>
                  <a:lnTo>
                    <a:pt x="357" y="777"/>
                  </a:lnTo>
                  <a:lnTo>
                    <a:pt x="352" y="765"/>
                  </a:lnTo>
                  <a:lnTo>
                    <a:pt x="362" y="765"/>
                  </a:lnTo>
                  <a:lnTo>
                    <a:pt x="374" y="761"/>
                  </a:lnTo>
                  <a:lnTo>
                    <a:pt x="352" y="749"/>
                  </a:lnTo>
                  <a:lnTo>
                    <a:pt x="341" y="765"/>
                  </a:lnTo>
                  <a:lnTo>
                    <a:pt x="352" y="789"/>
                  </a:lnTo>
                  <a:lnTo>
                    <a:pt x="319" y="798"/>
                  </a:lnTo>
                  <a:lnTo>
                    <a:pt x="308" y="798"/>
                  </a:lnTo>
                  <a:lnTo>
                    <a:pt x="308" y="777"/>
                  </a:lnTo>
                  <a:lnTo>
                    <a:pt x="286" y="761"/>
                  </a:lnTo>
                  <a:lnTo>
                    <a:pt x="286" y="721"/>
                  </a:lnTo>
                  <a:lnTo>
                    <a:pt x="265" y="721"/>
                  </a:lnTo>
                  <a:lnTo>
                    <a:pt x="265" y="678"/>
                  </a:lnTo>
                  <a:lnTo>
                    <a:pt x="270" y="654"/>
                  </a:lnTo>
                  <a:lnTo>
                    <a:pt x="244" y="610"/>
                  </a:lnTo>
                  <a:lnTo>
                    <a:pt x="244" y="600"/>
                  </a:lnTo>
                  <a:lnTo>
                    <a:pt x="227" y="600"/>
                  </a:lnTo>
                  <a:lnTo>
                    <a:pt x="173" y="560"/>
                  </a:lnTo>
                  <a:lnTo>
                    <a:pt x="147" y="560"/>
                  </a:lnTo>
                  <a:lnTo>
                    <a:pt x="156" y="539"/>
                  </a:lnTo>
                  <a:lnTo>
                    <a:pt x="142" y="510"/>
                  </a:lnTo>
                  <a:lnTo>
                    <a:pt x="135" y="510"/>
                  </a:lnTo>
                  <a:lnTo>
                    <a:pt x="142" y="510"/>
                  </a:lnTo>
                  <a:lnTo>
                    <a:pt x="135" y="506"/>
                  </a:lnTo>
                  <a:lnTo>
                    <a:pt x="126" y="506"/>
                  </a:lnTo>
                  <a:lnTo>
                    <a:pt x="109" y="482"/>
                  </a:lnTo>
                  <a:lnTo>
                    <a:pt x="104" y="473"/>
                  </a:lnTo>
                  <a:lnTo>
                    <a:pt x="109" y="465"/>
                  </a:lnTo>
                  <a:lnTo>
                    <a:pt x="109" y="449"/>
                  </a:lnTo>
                  <a:lnTo>
                    <a:pt x="104" y="432"/>
                  </a:lnTo>
                  <a:lnTo>
                    <a:pt x="109" y="428"/>
                  </a:lnTo>
                  <a:lnTo>
                    <a:pt x="126" y="432"/>
                  </a:lnTo>
                  <a:lnTo>
                    <a:pt x="119" y="416"/>
                  </a:lnTo>
                  <a:lnTo>
                    <a:pt x="135" y="399"/>
                  </a:lnTo>
                  <a:lnTo>
                    <a:pt x="142" y="390"/>
                  </a:lnTo>
                  <a:lnTo>
                    <a:pt x="156" y="390"/>
                  </a:lnTo>
                  <a:lnTo>
                    <a:pt x="156" y="378"/>
                  </a:lnTo>
                  <a:lnTo>
                    <a:pt x="142" y="354"/>
                  </a:lnTo>
                  <a:lnTo>
                    <a:pt x="142" y="338"/>
                  </a:lnTo>
                  <a:lnTo>
                    <a:pt x="163" y="333"/>
                  </a:lnTo>
                  <a:lnTo>
                    <a:pt x="147" y="321"/>
                  </a:lnTo>
                  <a:lnTo>
                    <a:pt x="126" y="333"/>
                  </a:lnTo>
                  <a:lnTo>
                    <a:pt x="119" y="317"/>
                  </a:lnTo>
                  <a:lnTo>
                    <a:pt x="104" y="317"/>
                  </a:lnTo>
                  <a:lnTo>
                    <a:pt x="93" y="284"/>
                  </a:lnTo>
                  <a:lnTo>
                    <a:pt x="81" y="279"/>
                  </a:lnTo>
                  <a:lnTo>
                    <a:pt x="71" y="267"/>
                  </a:lnTo>
                  <a:lnTo>
                    <a:pt x="81" y="250"/>
                  </a:lnTo>
                  <a:lnTo>
                    <a:pt x="67" y="246"/>
                  </a:lnTo>
                  <a:lnTo>
                    <a:pt x="67" y="227"/>
                  </a:lnTo>
                  <a:lnTo>
                    <a:pt x="55" y="222"/>
                  </a:lnTo>
                  <a:lnTo>
                    <a:pt x="55" y="206"/>
                  </a:lnTo>
                  <a:lnTo>
                    <a:pt x="38" y="194"/>
                  </a:lnTo>
                  <a:lnTo>
                    <a:pt x="50" y="173"/>
                  </a:lnTo>
                  <a:lnTo>
                    <a:pt x="17" y="156"/>
                  </a:lnTo>
                  <a:lnTo>
                    <a:pt x="34" y="118"/>
                  </a:lnTo>
                  <a:lnTo>
                    <a:pt x="29" y="118"/>
                  </a:lnTo>
                  <a:lnTo>
                    <a:pt x="29" y="78"/>
                  </a:lnTo>
                  <a:lnTo>
                    <a:pt x="17" y="66"/>
                  </a:lnTo>
                  <a:lnTo>
                    <a:pt x="17" y="57"/>
                  </a:lnTo>
                  <a:lnTo>
                    <a:pt x="0" y="28"/>
                  </a:lnTo>
                  <a:lnTo>
                    <a:pt x="34" y="28"/>
                  </a:lnTo>
                  <a:lnTo>
                    <a:pt x="34" y="7"/>
                  </a:lnTo>
                  <a:lnTo>
                    <a:pt x="50" y="0"/>
                  </a:lnTo>
                  <a:lnTo>
                    <a:pt x="55" y="7"/>
                  </a:lnTo>
                  <a:lnTo>
                    <a:pt x="81" y="45"/>
                  </a:lnTo>
                  <a:lnTo>
                    <a:pt x="93" y="45"/>
                  </a:lnTo>
                  <a:lnTo>
                    <a:pt x="104" y="62"/>
                  </a:lnTo>
                  <a:lnTo>
                    <a:pt x="156" y="78"/>
                  </a:lnTo>
                  <a:lnTo>
                    <a:pt x="180" y="66"/>
                  </a:lnTo>
                  <a:lnTo>
                    <a:pt x="201" y="45"/>
                  </a:lnTo>
                  <a:lnTo>
                    <a:pt x="282" y="0"/>
                  </a:lnTo>
                  <a:lnTo>
                    <a:pt x="308" y="28"/>
                  </a:lnTo>
                  <a:lnTo>
                    <a:pt x="286" y="40"/>
                  </a:lnTo>
                  <a:lnTo>
                    <a:pt x="303" y="62"/>
                  </a:lnTo>
                  <a:lnTo>
                    <a:pt x="286" y="66"/>
                  </a:lnTo>
                  <a:lnTo>
                    <a:pt x="286" y="78"/>
                  </a:lnTo>
                  <a:lnTo>
                    <a:pt x="303" y="95"/>
                  </a:lnTo>
                  <a:lnTo>
                    <a:pt x="308" y="95"/>
                  </a:lnTo>
                  <a:lnTo>
                    <a:pt x="324" y="118"/>
                  </a:lnTo>
                  <a:lnTo>
                    <a:pt x="341" y="111"/>
                  </a:lnTo>
                  <a:lnTo>
                    <a:pt x="352" y="156"/>
                  </a:lnTo>
                  <a:lnTo>
                    <a:pt x="357" y="173"/>
                  </a:lnTo>
                  <a:lnTo>
                    <a:pt x="378" y="189"/>
                  </a:lnTo>
                  <a:lnTo>
                    <a:pt x="433" y="194"/>
                  </a:lnTo>
                  <a:lnTo>
                    <a:pt x="449" y="222"/>
                  </a:lnTo>
                  <a:lnTo>
                    <a:pt x="504" y="250"/>
                  </a:lnTo>
                  <a:lnTo>
                    <a:pt x="558" y="267"/>
                  </a:lnTo>
                  <a:lnTo>
                    <a:pt x="702" y="234"/>
                  </a:lnTo>
                  <a:lnTo>
                    <a:pt x="676" y="246"/>
                  </a:lnTo>
                  <a:lnTo>
                    <a:pt x="697" y="246"/>
                  </a:lnTo>
                  <a:lnTo>
                    <a:pt x="702" y="246"/>
                  </a:lnTo>
                  <a:lnTo>
                    <a:pt x="702" y="234"/>
                  </a:lnTo>
                  <a:lnTo>
                    <a:pt x="697" y="206"/>
                  </a:lnTo>
                  <a:lnTo>
                    <a:pt x="719" y="206"/>
                  </a:lnTo>
                  <a:lnTo>
                    <a:pt x="752" y="194"/>
                  </a:lnTo>
                  <a:lnTo>
                    <a:pt x="756" y="189"/>
                  </a:lnTo>
                  <a:lnTo>
                    <a:pt x="768" y="168"/>
                  </a:lnTo>
                  <a:lnTo>
                    <a:pt x="806" y="139"/>
                  </a:lnTo>
                  <a:lnTo>
                    <a:pt x="860" y="139"/>
                  </a:lnTo>
                  <a:lnTo>
                    <a:pt x="865" y="139"/>
                  </a:lnTo>
                  <a:lnTo>
                    <a:pt x="865" y="135"/>
                  </a:lnTo>
                  <a:lnTo>
                    <a:pt x="874" y="123"/>
                  </a:lnTo>
                  <a:lnTo>
                    <a:pt x="898" y="123"/>
                  </a:lnTo>
                  <a:lnTo>
                    <a:pt x="919" y="135"/>
                  </a:lnTo>
                  <a:lnTo>
                    <a:pt x="929" y="123"/>
                  </a:lnTo>
                  <a:lnTo>
                    <a:pt x="945" y="151"/>
                  </a:lnTo>
                  <a:lnTo>
                    <a:pt x="1000" y="168"/>
                  </a:lnTo>
                  <a:lnTo>
                    <a:pt x="1004" y="173"/>
                  </a:lnTo>
                  <a:lnTo>
                    <a:pt x="1054" y="173"/>
                  </a:lnTo>
                  <a:lnTo>
                    <a:pt x="1075" y="189"/>
                  </a:lnTo>
                  <a:lnTo>
                    <a:pt x="1092" y="210"/>
                  </a:lnTo>
                  <a:lnTo>
                    <a:pt x="1130" y="227"/>
                  </a:lnTo>
                  <a:lnTo>
                    <a:pt x="1146" y="262"/>
                  </a:lnTo>
                  <a:lnTo>
                    <a:pt x="1205" y="262"/>
                  </a:lnTo>
                  <a:lnTo>
                    <a:pt x="1215" y="345"/>
                  </a:lnTo>
                  <a:lnTo>
                    <a:pt x="1200" y="373"/>
                  </a:lnTo>
                  <a:lnTo>
                    <a:pt x="1200" y="411"/>
                  </a:lnTo>
                  <a:lnTo>
                    <a:pt x="1189" y="428"/>
                  </a:lnTo>
                  <a:lnTo>
                    <a:pt x="1172" y="432"/>
                  </a:lnTo>
                  <a:lnTo>
                    <a:pt x="1184" y="449"/>
                  </a:lnTo>
                  <a:lnTo>
                    <a:pt x="1167" y="449"/>
                  </a:lnTo>
                  <a:lnTo>
                    <a:pt x="1163" y="465"/>
                  </a:lnTo>
                  <a:lnTo>
                    <a:pt x="1163" y="506"/>
                  </a:lnTo>
                  <a:lnTo>
                    <a:pt x="1189" y="510"/>
                  </a:lnTo>
                  <a:lnTo>
                    <a:pt x="1167" y="543"/>
                  </a:lnTo>
                  <a:lnTo>
                    <a:pt x="1184" y="617"/>
                  </a:lnTo>
                  <a:lnTo>
                    <a:pt x="1184" y="638"/>
                  </a:lnTo>
                  <a:lnTo>
                    <a:pt x="1184" y="638"/>
                  </a:lnTo>
                  <a:lnTo>
                    <a:pt x="1184" y="638"/>
                  </a:lnTo>
                  <a:close/>
                  <a:moveTo>
                    <a:pt x="865" y="1037"/>
                  </a:moveTo>
                  <a:lnTo>
                    <a:pt x="844" y="1054"/>
                  </a:lnTo>
                  <a:lnTo>
                    <a:pt x="794" y="1061"/>
                  </a:lnTo>
                  <a:lnTo>
                    <a:pt x="794" y="1054"/>
                  </a:lnTo>
                  <a:lnTo>
                    <a:pt x="827" y="1044"/>
                  </a:lnTo>
                  <a:lnTo>
                    <a:pt x="827" y="1037"/>
                  </a:lnTo>
                  <a:lnTo>
                    <a:pt x="865" y="1037"/>
                  </a:lnTo>
                  <a:lnTo>
                    <a:pt x="865" y="1037"/>
                  </a:lnTo>
                  <a:lnTo>
                    <a:pt x="865" y="1037"/>
                  </a:lnTo>
                  <a:close/>
                  <a:moveTo>
                    <a:pt x="823" y="1044"/>
                  </a:moveTo>
                  <a:lnTo>
                    <a:pt x="823" y="1044"/>
                  </a:lnTo>
                  <a:lnTo>
                    <a:pt x="823" y="1037"/>
                  </a:lnTo>
                  <a:lnTo>
                    <a:pt x="823" y="1044"/>
                  </a:lnTo>
                  <a:lnTo>
                    <a:pt x="823" y="1044"/>
                  </a:lnTo>
                  <a:lnTo>
                    <a:pt x="823" y="1044"/>
                  </a:lnTo>
                  <a:close/>
                  <a:moveTo>
                    <a:pt x="702" y="1065"/>
                  </a:moveTo>
                  <a:lnTo>
                    <a:pt x="697" y="1065"/>
                  </a:lnTo>
                  <a:lnTo>
                    <a:pt x="702" y="1061"/>
                  </a:lnTo>
                  <a:lnTo>
                    <a:pt x="702" y="1065"/>
                  </a:lnTo>
                  <a:lnTo>
                    <a:pt x="702" y="1065"/>
                  </a:lnTo>
                  <a:lnTo>
                    <a:pt x="702" y="106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3" name="Freeform 472">
              <a:extLst>
                <a:ext uri="{FF2B5EF4-FFF2-40B4-BE49-F238E27FC236}">
                  <a16:creationId xmlns:a16="http://schemas.microsoft.com/office/drawing/2014/main" id="{F820C7DF-B139-4A43-9987-9B08DB2DB8E0}"/>
                </a:ext>
              </a:extLst>
            </p:cNvPr>
            <p:cNvSpPr>
              <a:spLocks/>
            </p:cNvSpPr>
            <p:nvPr/>
          </p:nvSpPr>
          <p:spPr bwMode="gray">
            <a:xfrm>
              <a:off x="14532950" y="3301074"/>
              <a:ext cx="29457" cy="98189"/>
            </a:xfrm>
            <a:custGeom>
              <a:avLst/>
              <a:gdLst>
                <a:gd name="T0" fmla="*/ 52 w 90"/>
                <a:gd name="T1" fmla="*/ 7 h 300"/>
                <a:gd name="T2" fmla="*/ 73 w 90"/>
                <a:gd name="T3" fmla="*/ 17 h 300"/>
                <a:gd name="T4" fmla="*/ 90 w 90"/>
                <a:gd name="T5" fmla="*/ 0 h 300"/>
                <a:gd name="T6" fmla="*/ 90 w 90"/>
                <a:gd name="T7" fmla="*/ 0 h 300"/>
                <a:gd name="T8" fmla="*/ 90 w 90"/>
                <a:gd name="T9" fmla="*/ 45 h 300"/>
                <a:gd name="T10" fmla="*/ 81 w 90"/>
                <a:gd name="T11" fmla="*/ 45 h 300"/>
                <a:gd name="T12" fmla="*/ 81 w 90"/>
                <a:gd name="T13" fmla="*/ 74 h 300"/>
                <a:gd name="T14" fmla="*/ 59 w 90"/>
                <a:gd name="T15" fmla="*/ 57 h 300"/>
                <a:gd name="T16" fmla="*/ 52 w 90"/>
                <a:gd name="T17" fmla="*/ 62 h 300"/>
                <a:gd name="T18" fmla="*/ 43 w 90"/>
                <a:gd name="T19" fmla="*/ 111 h 300"/>
                <a:gd name="T20" fmla="*/ 59 w 90"/>
                <a:gd name="T21" fmla="*/ 118 h 300"/>
                <a:gd name="T22" fmla="*/ 43 w 90"/>
                <a:gd name="T23" fmla="*/ 128 h 300"/>
                <a:gd name="T24" fmla="*/ 38 w 90"/>
                <a:gd name="T25" fmla="*/ 151 h 300"/>
                <a:gd name="T26" fmla="*/ 52 w 90"/>
                <a:gd name="T27" fmla="*/ 151 h 300"/>
                <a:gd name="T28" fmla="*/ 81 w 90"/>
                <a:gd name="T29" fmla="*/ 140 h 300"/>
                <a:gd name="T30" fmla="*/ 73 w 90"/>
                <a:gd name="T31" fmla="*/ 156 h 300"/>
                <a:gd name="T32" fmla="*/ 73 w 90"/>
                <a:gd name="T33" fmla="*/ 168 h 300"/>
                <a:gd name="T34" fmla="*/ 59 w 90"/>
                <a:gd name="T35" fmla="*/ 222 h 300"/>
                <a:gd name="T36" fmla="*/ 59 w 90"/>
                <a:gd name="T37" fmla="*/ 246 h 300"/>
                <a:gd name="T38" fmla="*/ 43 w 90"/>
                <a:gd name="T39" fmla="*/ 296 h 300"/>
                <a:gd name="T40" fmla="*/ 38 w 90"/>
                <a:gd name="T41" fmla="*/ 300 h 300"/>
                <a:gd name="T42" fmla="*/ 0 w 90"/>
                <a:gd name="T43" fmla="*/ 156 h 300"/>
                <a:gd name="T44" fmla="*/ 10 w 90"/>
                <a:gd name="T45" fmla="*/ 135 h 300"/>
                <a:gd name="T46" fmla="*/ 10 w 90"/>
                <a:gd name="T47" fmla="*/ 135 h 300"/>
                <a:gd name="T48" fmla="*/ 26 w 90"/>
                <a:gd name="T49" fmla="*/ 102 h 300"/>
                <a:gd name="T50" fmla="*/ 43 w 90"/>
                <a:gd name="T51" fmla="*/ 29 h 300"/>
                <a:gd name="T52" fmla="*/ 52 w 90"/>
                <a:gd name="T53" fmla="*/ 29 h 300"/>
                <a:gd name="T54" fmla="*/ 52 w 90"/>
                <a:gd name="T55" fmla="*/ 7 h 300"/>
                <a:gd name="T56" fmla="*/ 52 w 90"/>
                <a:gd name="T57" fmla="*/ 7 h 300"/>
                <a:gd name="T58" fmla="*/ 52 w 90"/>
                <a:gd name="T59" fmla="*/ 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 h="300">
                  <a:moveTo>
                    <a:pt x="52" y="7"/>
                  </a:moveTo>
                  <a:lnTo>
                    <a:pt x="73" y="17"/>
                  </a:lnTo>
                  <a:lnTo>
                    <a:pt x="90" y="0"/>
                  </a:lnTo>
                  <a:lnTo>
                    <a:pt x="90" y="0"/>
                  </a:lnTo>
                  <a:lnTo>
                    <a:pt x="90" y="45"/>
                  </a:lnTo>
                  <a:lnTo>
                    <a:pt x="81" y="45"/>
                  </a:lnTo>
                  <a:lnTo>
                    <a:pt x="81" y="74"/>
                  </a:lnTo>
                  <a:lnTo>
                    <a:pt x="59" y="57"/>
                  </a:lnTo>
                  <a:lnTo>
                    <a:pt x="52" y="62"/>
                  </a:lnTo>
                  <a:lnTo>
                    <a:pt x="43" y="111"/>
                  </a:lnTo>
                  <a:lnTo>
                    <a:pt x="59" y="118"/>
                  </a:lnTo>
                  <a:lnTo>
                    <a:pt x="43" y="128"/>
                  </a:lnTo>
                  <a:lnTo>
                    <a:pt x="38" y="151"/>
                  </a:lnTo>
                  <a:lnTo>
                    <a:pt x="52" y="151"/>
                  </a:lnTo>
                  <a:lnTo>
                    <a:pt x="81" y="140"/>
                  </a:lnTo>
                  <a:lnTo>
                    <a:pt x="73" y="156"/>
                  </a:lnTo>
                  <a:lnTo>
                    <a:pt x="73" y="168"/>
                  </a:lnTo>
                  <a:lnTo>
                    <a:pt x="59" y="222"/>
                  </a:lnTo>
                  <a:lnTo>
                    <a:pt x="59" y="246"/>
                  </a:lnTo>
                  <a:lnTo>
                    <a:pt x="43" y="296"/>
                  </a:lnTo>
                  <a:lnTo>
                    <a:pt x="38" y="300"/>
                  </a:lnTo>
                  <a:lnTo>
                    <a:pt x="0" y="156"/>
                  </a:lnTo>
                  <a:lnTo>
                    <a:pt x="10" y="135"/>
                  </a:lnTo>
                  <a:lnTo>
                    <a:pt x="10" y="135"/>
                  </a:lnTo>
                  <a:lnTo>
                    <a:pt x="26" y="102"/>
                  </a:lnTo>
                  <a:lnTo>
                    <a:pt x="43" y="29"/>
                  </a:lnTo>
                  <a:lnTo>
                    <a:pt x="52" y="29"/>
                  </a:lnTo>
                  <a:lnTo>
                    <a:pt x="52" y="7"/>
                  </a:lnTo>
                  <a:lnTo>
                    <a:pt x="52" y="7"/>
                  </a:lnTo>
                  <a:lnTo>
                    <a:pt x="52" y="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4" name="Freeform 474">
              <a:extLst>
                <a:ext uri="{FF2B5EF4-FFF2-40B4-BE49-F238E27FC236}">
                  <a16:creationId xmlns:a16="http://schemas.microsoft.com/office/drawing/2014/main" id="{547BCA59-8AD8-48FB-A278-0BED07910476}"/>
                </a:ext>
              </a:extLst>
            </p:cNvPr>
            <p:cNvSpPr>
              <a:spLocks noEditPoints="1"/>
            </p:cNvSpPr>
            <p:nvPr/>
          </p:nvSpPr>
          <p:spPr bwMode="gray">
            <a:xfrm>
              <a:off x="13547133" y="3860096"/>
              <a:ext cx="139428" cy="150884"/>
            </a:xfrm>
            <a:custGeom>
              <a:avLst/>
              <a:gdLst>
                <a:gd name="T0" fmla="*/ 69 w 426"/>
                <a:gd name="T1" fmla="*/ 421 h 461"/>
                <a:gd name="T2" fmla="*/ 81 w 426"/>
                <a:gd name="T3" fmla="*/ 383 h 461"/>
                <a:gd name="T4" fmla="*/ 86 w 426"/>
                <a:gd name="T5" fmla="*/ 350 h 461"/>
                <a:gd name="T6" fmla="*/ 48 w 426"/>
                <a:gd name="T7" fmla="*/ 326 h 461"/>
                <a:gd name="T8" fmla="*/ 0 w 426"/>
                <a:gd name="T9" fmla="*/ 305 h 461"/>
                <a:gd name="T10" fmla="*/ 26 w 426"/>
                <a:gd name="T11" fmla="*/ 255 h 461"/>
                <a:gd name="T12" fmla="*/ 15 w 426"/>
                <a:gd name="T13" fmla="*/ 222 h 461"/>
                <a:gd name="T14" fmla="*/ 38 w 426"/>
                <a:gd name="T15" fmla="*/ 194 h 461"/>
                <a:gd name="T16" fmla="*/ 38 w 426"/>
                <a:gd name="T17" fmla="*/ 184 h 461"/>
                <a:gd name="T18" fmla="*/ 26 w 426"/>
                <a:gd name="T19" fmla="*/ 161 h 461"/>
                <a:gd name="T20" fmla="*/ 64 w 426"/>
                <a:gd name="T21" fmla="*/ 168 h 461"/>
                <a:gd name="T22" fmla="*/ 64 w 426"/>
                <a:gd name="T23" fmla="*/ 156 h 461"/>
                <a:gd name="T24" fmla="*/ 48 w 426"/>
                <a:gd name="T25" fmla="*/ 123 h 461"/>
                <a:gd name="T26" fmla="*/ 48 w 426"/>
                <a:gd name="T27" fmla="*/ 111 h 461"/>
                <a:gd name="T28" fmla="*/ 38 w 426"/>
                <a:gd name="T29" fmla="*/ 99 h 461"/>
                <a:gd name="T30" fmla="*/ 31 w 426"/>
                <a:gd name="T31" fmla="*/ 57 h 461"/>
                <a:gd name="T32" fmla="*/ 52 w 426"/>
                <a:gd name="T33" fmla="*/ 45 h 461"/>
                <a:gd name="T34" fmla="*/ 107 w 426"/>
                <a:gd name="T35" fmla="*/ 45 h 461"/>
                <a:gd name="T36" fmla="*/ 140 w 426"/>
                <a:gd name="T37" fmla="*/ 28 h 461"/>
                <a:gd name="T38" fmla="*/ 156 w 426"/>
                <a:gd name="T39" fmla="*/ 12 h 461"/>
                <a:gd name="T40" fmla="*/ 161 w 426"/>
                <a:gd name="T41" fmla="*/ 0 h 461"/>
                <a:gd name="T42" fmla="*/ 173 w 426"/>
                <a:gd name="T43" fmla="*/ 45 h 461"/>
                <a:gd name="T44" fmla="*/ 194 w 426"/>
                <a:gd name="T45" fmla="*/ 28 h 461"/>
                <a:gd name="T46" fmla="*/ 225 w 426"/>
                <a:gd name="T47" fmla="*/ 33 h 461"/>
                <a:gd name="T48" fmla="*/ 253 w 426"/>
                <a:gd name="T49" fmla="*/ 57 h 461"/>
                <a:gd name="T50" fmla="*/ 300 w 426"/>
                <a:gd name="T51" fmla="*/ 83 h 461"/>
                <a:gd name="T52" fmla="*/ 350 w 426"/>
                <a:gd name="T53" fmla="*/ 57 h 461"/>
                <a:gd name="T54" fmla="*/ 409 w 426"/>
                <a:gd name="T55" fmla="*/ 99 h 461"/>
                <a:gd name="T56" fmla="*/ 409 w 426"/>
                <a:gd name="T57" fmla="*/ 123 h 461"/>
                <a:gd name="T58" fmla="*/ 426 w 426"/>
                <a:gd name="T59" fmla="*/ 184 h 461"/>
                <a:gd name="T60" fmla="*/ 393 w 426"/>
                <a:gd name="T61" fmla="*/ 267 h 461"/>
                <a:gd name="T62" fmla="*/ 371 w 426"/>
                <a:gd name="T63" fmla="*/ 293 h 461"/>
                <a:gd name="T64" fmla="*/ 409 w 426"/>
                <a:gd name="T65" fmla="*/ 378 h 461"/>
                <a:gd name="T66" fmla="*/ 393 w 426"/>
                <a:gd name="T67" fmla="*/ 404 h 461"/>
                <a:gd name="T68" fmla="*/ 393 w 426"/>
                <a:gd name="T69" fmla="*/ 404 h 461"/>
                <a:gd name="T70" fmla="*/ 376 w 426"/>
                <a:gd name="T71" fmla="*/ 388 h 461"/>
                <a:gd name="T72" fmla="*/ 371 w 426"/>
                <a:gd name="T73" fmla="*/ 404 h 461"/>
                <a:gd name="T74" fmla="*/ 338 w 426"/>
                <a:gd name="T75" fmla="*/ 399 h 461"/>
                <a:gd name="T76" fmla="*/ 338 w 426"/>
                <a:gd name="T77" fmla="*/ 399 h 461"/>
                <a:gd name="T78" fmla="*/ 263 w 426"/>
                <a:gd name="T79" fmla="*/ 404 h 461"/>
                <a:gd name="T80" fmla="*/ 232 w 426"/>
                <a:gd name="T81" fmla="*/ 399 h 461"/>
                <a:gd name="T82" fmla="*/ 232 w 426"/>
                <a:gd name="T83" fmla="*/ 404 h 461"/>
                <a:gd name="T84" fmla="*/ 253 w 426"/>
                <a:gd name="T85" fmla="*/ 404 h 461"/>
                <a:gd name="T86" fmla="*/ 81 w 426"/>
                <a:gd name="T87" fmla="*/ 461 h 461"/>
                <a:gd name="T88" fmla="*/ 81 w 426"/>
                <a:gd name="T89" fmla="*/ 461 h 461"/>
                <a:gd name="T90" fmla="*/ 305 w 426"/>
                <a:gd name="T91" fmla="*/ 399 h 461"/>
                <a:gd name="T92" fmla="*/ 263 w 426"/>
                <a:gd name="T93" fmla="*/ 404 h 461"/>
                <a:gd name="T94" fmla="*/ 263 w 426"/>
                <a:gd name="T95" fmla="*/ 404 h 461"/>
                <a:gd name="T96" fmla="*/ 388 w 426"/>
                <a:gd name="T97" fmla="*/ 404 h 461"/>
                <a:gd name="T98" fmla="*/ 388 w 426"/>
                <a:gd name="T99" fmla="*/ 404 h 461"/>
                <a:gd name="T100" fmla="*/ 388 w 426"/>
                <a:gd name="T101" fmla="*/ 404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6" h="461">
                  <a:moveTo>
                    <a:pt x="81" y="461"/>
                  </a:moveTo>
                  <a:lnTo>
                    <a:pt x="69" y="421"/>
                  </a:lnTo>
                  <a:lnTo>
                    <a:pt x="86" y="388"/>
                  </a:lnTo>
                  <a:lnTo>
                    <a:pt x="81" y="383"/>
                  </a:lnTo>
                  <a:lnTo>
                    <a:pt x="86" y="378"/>
                  </a:lnTo>
                  <a:lnTo>
                    <a:pt x="86" y="350"/>
                  </a:lnTo>
                  <a:lnTo>
                    <a:pt x="52" y="350"/>
                  </a:lnTo>
                  <a:lnTo>
                    <a:pt x="48" y="326"/>
                  </a:lnTo>
                  <a:lnTo>
                    <a:pt x="31" y="326"/>
                  </a:lnTo>
                  <a:lnTo>
                    <a:pt x="0" y="305"/>
                  </a:lnTo>
                  <a:lnTo>
                    <a:pt x="15" y="276"/>
                  </a:lnTo>
                  <a:lnTo>
                    <a:pt x="26" y="255"/>
                  </a:lnTo>
                  <a:lnTo>
                    <a:pt x="10" y="234"/>
                  </a:lnTo>
                  <a:lnTo>
                    <a:pt x="15" y="222"/>
                  </a:lnTo>
                  <a:lnTo>
                    <a:pt x="26" y="234"/>
                  </a:lnTo>
                  <a:lnTo>
                    <a:pt x="38" y="194"/>
                  </a:lnTo>
                  <a:lnTo>
                    <a:pt x="48" y="201"/>
                  </a:lnTo>
                  <a:lnTo>
                    <a:pt x="38" y="184"/>
                  </a:lnTo>
                  <a:lnTo>
                    <a:pt x="26" y="184"/>
                  </a:lnTo>
                  <a:lnTo>
                    <a:pt x="26" y="161"/>
                  </a:lnTo>
                  <a:lnTo>
                    <a:pt x="52" y="161"/>
                  </a:lnTo>
                  <a:lnTo>
                    <a:pt x="64" y="168"/>
                  </a:lnTo>
                  <a:lnTo>
                    <a:pt x="64" y="168"/>
                  </a:lnTo>
                  <a:lnTo>
                    <a:pt x="64" y="156"/>
                  </a:lnTo>
                  <a:lnTo>
                    <a:pt x="48" y="139"/>
                  </a:lnTo>
                  <a:lnTo>
                    <a:pt x="48" y="123"/>
                  </a:lnTo>
                  <a:lnTo>
                    <a:pt x="64" y="123"/>
                  </a:lnTo>
                  <a:lnTo>
                    <a:pt x="48" y="111"/>
                  </a:lnTo>
                  <a:lnTo>
                    <a:pt x="48" y="99"/>
                  </a:lnTo>
                  <a:lnTo>
                    <a:pt x="38" y="99"/>
                  </a:lnTo>
                  <a:lnTo>
                    <a:pt x="31" y="90"/>
                  </a:lnTo>
                  <a:lnTo>
                    <a:pt x="31" y="57"/>
                  </a:lnTo>
                  <a:lnTo>
                    <a:pt x="38" y="45"/>
                  </a:lnTo>
                  <a:lnTo>
                    <a:pt x="52" y="45"/>
                  </a:lnTo>
                  <a:lnTo>
                    <a:pt x="69" y="17"/>
                  </a:lnTo>
                  <a:lnTo>
                    <a:pt x="107" y="45"/>
                  </a:lnTo>
                  <a:lnTo>
                    <a:pt x="119" y="28"/>
                  </a:lnTo>
                  <a:lnTo>
                    <a:pt x="140" y="28"/>
                  </a:lnTo>
                  <a:lnTo>
                    <a:pt x="140" y="0"/>
                  </a:lnTo>
                  <a:lnTo>
                    <a:pt x="156" y="12"/>
                  </a:lnTo>
                  <a:lnTo>
                    <a:pt x="156" y="0"/>
                  </a:lnTo>
                  <a:lnTo>
                    <a:pt x="161" y="0"/>
                  </a:lnTo>
                  <a:lnTo>
                    <a:pt x="173" y="33"/>
                  </a:lnTo>
                  <a:lnTo>
                    <a:pt x="173" y="45"/>
                  </a:lnTo>
                  <a:lnTo>
                    <a:pt x="178" y="45"/>
                  </a:lnTo>
                  <a:lnTo>
                    <a:pt x="194" y="28"/>
                  </a:lnTo>
                  <a:lnTo>
                    <a:pt x="215" y="17"/>
                  </a:lnTo>
                  <a:lnTo>
                    <a:pt x="225" y="33"/>
                  </a:lnTo>
                  <a:lnTo>
                    <a:pt x="241" y="33"/>
                  </a:lnTo>
                  <a:lnTo>
                    <a:pt x="253" y="57"/>
                  </a:lnTo>
                  <a:lnTo>
                    <a:pt x="267" y="73"/>
                  </a:lnTo>
                  <a:lnTo>
                    <a:pt x="300" y="83"/>
                  </a:lnTo>
                  <a:lnTo>
                    <a:pt x="305" y="66"/>
                  </a:lnTo>
                  <a:lnTo>
                    <a:pt x="350" y="57"/>
                  </a:lnTo>
                  <a:lnTo>
                    <a:pt x="376" y="57"/>
                  </a:lnTo>
                  <a:lnTo>
                    <a:pt x="409" y="99"/>
                  </a:lnTo>
                  <a:lnTo>
                    <a:pt x="414" y="90"/>
                  </a:lnTo>
                  <a:lnTo>
                    <a:pt x="409" y="123"/>
                  </a:lnTo>
                  <a:lnTo>
                    <a:pt x="414" y="128"/>
                  </a:lnTo>
                  <a:lnTo>
                    <a:pt x="426" y="184"/>
                  </a:lnTo>
                  <a:lnTo>
                    <a:pt x="409" y="201"/>
                  </a:lnTo>
                  <a:lnTo>
                    <a:pt x="393" y="267"/>
                  </a:lnTo>
                  <a:lnTo>
                    <a:pt x="376" y="288"/>
                  </a:lnTo>
                  <a:lnTo>
                    <a:pt x="371" y="293"/>
                  </a:lnTo>
                  <a:lnTo>
                    <a:pt x="393" y="366"/>
                  </a:lnTo>
                  <a:lnTo>
                    <a:pt x="409" y="378"/>
                  </a:lnTo>
                  <a:lnTo>
                    <a:pt x="409" y="404"/>
                  </a:lnTo>
                  <a:lnTo>
                    <a:pt x="393" y="404"/>
                  </a:lnTo>
                  <a:lnTo>
                    <a:pt x="402" y="399"/>
                  </a:lnTo>
                  <a:lnTo>
                    <a:pt x="393" y="404"/>
                  </a:lnTo>
                  <a:lnTo>
                    <a:pt x="376" y="399"/>
                  </a:lnTo>
                  <a:lnTo>
                    <a:pt x="376" y="388"/>
                  </a:lnTo>
                  <a:lnTo>
                    <a:pt x="371" y="388"/>
                  </a:lnTo>
                  <a:lnTo>
                    <a:pt x="371" y="404"/>
                  </a:lnTo>
                  <a:lnTo>
                    <a:pt x="322" y="399"/>
                  </a:lnTo>
                  <a:lnTo>
                    <a:pt x="338" y="399"/>
                  </a:lnTo>
                  <a:lnTo>
                    <a:pt x="334" y="388"/>
                  </a:lnTo>
                  <a:lnTo>
                    <a:pt x="338" y="399"/>
                  </a:lnTo>
                  <a:lnTo>
                    <a:pt x="284" y="388"/>
                  </a:lnTo>
                  <a:lnTo>
                    <a:pt x="263" y="404"/>
                  </a:lnTo>
                  <a:lnTo>
                    <a:pt x="253" y="399"/>
                  </a:lnTo>
                  <a:lnTo>
                    <a:pt x="232" y="399"/>
                  </a:lnTo>
                  <a:lnTo>
                    <a:pt x="225" y="404"/>
                  </a:lnTo>
                  <a:lnTo>
                    <a:pt x="232" y="404"/>
                  </a:lnTo>
                  <a:lnTo>
                    <a:pt x="232" y="399"/>
                  </a:lnTo>
                  <a:lnTo>
                    <a:pt x="253" y="404"/>
                  </a:lnTo>
                  <a:lnTo>
                    <a:pt x="187" y="416"/>
                  </a:lnTo>
                  <a:lnTo>
                    <a:pt x="81" y="461"/>
                  </a:lnTo>
                  <a:lnTo>
                    <a:pt x="81" y="461"/>
                  </a:lnTo>
                  <a:lnTo>
                    <a:pt x="81" y="461"/>
                  </a:lnTo>
                  <a:close/>
                  <a:moveTo>
                    <a:pt x="263" y="404"/>
                  </a:moveTo>
                  <a:lnTo>
                    <a:pt x="305" y="399"/>
                  </a:lnTo>
                  <a:lnTo>
                    <a:pt x="322" y="399"/>
                  </a:lnTo>
                  <a:lnTo>
                    <a:pt x="263" y="404"/>
                  </a:lnTo>
                  <a:lnTo>
                    <a:pt x="263" y="404"/>
                  </a:lnTo>
                  <a:lnTo>
                    <a:pt x="263" y="404"/>
                  </a:lnTo>
                  <a:close/>
                  <a:moveTo>
                    <a:pt x="388" y="404"/>
                  </a:moveTo>
                  <a:lnTo>
                    <a:pt x="388" y="404"/>
                  </a:lnTo>
                  <a:lnTo>
                    <a:pt x="376" y="404"/>
                  </a:lnTo>
                  <a:lnTo>
                    <a:pt x="388" y="404"/>
                  </a:lnTo>
                  <a:lnTo>
                    <a:pt x="388" y="404"/>
                  </a:lnTo>
                  <a:lnTo>
                    <a:pt x="388" y="40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5" name="Freeform 475">
              <a:extLst>
                <a:ext uri="{FF2B5EF4-FFF2-40B4-BE49-F238E27FC236}">
                  <a16:creationId xmlns:a16="http://schemas.microsoft.com/office/drawing/2014/main" id="{3E530761-2C6E-4235-AB99-2D2F4D148269}"/>
                </a:ext>
              </a:extLst>
            </p:cNvPr>
            <p:cNvSpPr>
              <a:spLocks/>
            </p:cNvSpPr>
            <p:nvPr/>
          </p:nvSpPr>
          <p:spPr bwMode="gray">
            <a:xfrm>
              <a:off x="14635721" y="3189138"/>
              <a:ext cx="221907" cy="217980"/>
            </a:xfrm>
            <a:custGeom>
              <a:avLst/>
              <a:gdLst>
                <a:gd name="T0" fmla="*/ 31 w 678"/>
                <a:gd name="T1" fmla="*/ 420 h 666"/>
                <a:gd name="T2" fmla="*/ 15 w 678"/>
                <a:gd name="T3" fmla="*/ 416 h 666"/>
                <a:gd name="T4" fmla="*/ 15 w 678"/>
                <a:gd name="T5" fmla="*/ 399 h 666"/>
                <a:gd name="T6" fmla="*/ 156 w 678"/>
                <a:gd name="T7" fmla="*/ 250 h 666"/>
                <a:gd name="T8" fmla="*/ 171 w 678"/>
                <a:gd name="T9" fmla="*/ 182 h 666"/>
                <a:gd name="T10" fmla="*/ 178 w 678"/>
                <a:gd name="T11" fmla="*/ 127 h 666"/>
                <a:gd name="T12" fmla="*/ 171 w 678"/>
                <a:gd name="T13" fmla="*/ 87 h 666"/>
                <a:gd name="T14" fmla="*/ 208 w 678"/>
                <a:gd name="T15" fmla="*/ 66 h 666"/>
                <a:gd name="T16" fmla="*/ 263 w 678"/>
                <a:gd name="T17" fmla="*/ 28 h 666"/>
                <a:gd name="T18" fmla="*/ 291 w 678"/>
                <a:gd name="T19" fmla="*/ 12 h 666"/>
                <a:gd name="T20" fmla="*/ 338 w 678"/>
                <a:gd name="T21" fmla="*/ 16 h 666"/>
                <a:gd name="T22" fmla="*/ 371 w 678"/>
                <a:gd name="T23" fmla="*/ 12 h 666"/>
                <a:gd name="T24" fmla="*/ 376 w 678"/>
                <a:gd name="T25" fmla="*/ 28 h 666"/>
                <a:gd name="T26" fmla="*/ 409 w 678"/>
                <a:gd name="T27" fmla="*/ 16 h 666"/>
                <a:gd name="T28" fmla="*/ 426 w 678"/>
                <a:gd name="T29" fmla="*/ 33 h 666"/>
                <a:gd name="T30" fmla="*/ 440 w 678"/>
                <a:gd name="T31" fmla="*/ 54 h 666"/>
                <a:gd name="T32" fmla="*/ 440 w 678"/>
                <a:gd name="T33" fmla="*/ 82 h 666"/>
                <a:gd name="T34" fmla="*/ 461 w 678"/>
                <a:gd name="T35" fmla="*/ 123 h 666"/>
                <a:gd name="T36" fmla="*/ 485 w 678"/>
                <a:gd name="T37" fmla="*/ 139 h 666"/>
                <a:gd name="T38" fmla="*/ 522 w 678"/>
                <a:gd name="T39" fmla="*/ 139 h 666"/>
                <a:gd name="T40" fmla="*/ 499 w 678"/>
                <a:gd name="T41" fmla="*/ 160 h 666"/>
                <a:gd name="T42" fmla="*/ 515 w 678"/>
                <a:gd name="T43" fmla="*/ 193 h 666"/>
                <a:gd name="T44" fmla="*/ 494 w 678"/>
                <a:gd name="T45" fmla="*/ 205 h 666"/>
                <a:gd name="T46" fmla="*/ 485 w 678"/>
                <a:gd name="T47" fmla="*/ 238 h 666"/>
                <a:gd name="T48" fmla="*/ 461 w 678"/>
                <a:gd name="T49" fmla="*/ 238 h 666"/>
                <a:gd name="T50" fmla="*/ 468 w 678"/>
                <a:gd name="T51" fmla="*/ 271 h 666"/>
                <a:gd name="T52" fmla="*/ 468 w 678"/>
                <a:gd name="T53" fmla="*/ 288 h 666"/>
                <a:gd name="T54" fmla="*/ 494 w 678"/>
                <a:gd name="T55" fmla="*/ 309 h 666"/>
                <a:gd name="T56" fmla="*/ 494 w 678"/>
                <a:gd name="T57" fmla="*/ 316 h 666"/>
                <a:gd name="T58" fmla="*/ 515 w 678"/>
                <a:gd name="T59" fmla="*/ 342 h 666"/>
                <a:gd name="T60" fmla="*/ 532 w 678"/>
                <a:gd name="T61" fmla="*/ 366 h 666"/>
                <a:gd name="T62" fmla="*/ 603 w 678"/>
                <a:gd name="T63" fmla="*/ 404 h 666"/>
                <a:gd name="T64" fmla="*/ 629 w 678"/>
                <a:gd name="T65" fmla="*/ 460 h 666"/>
                <a:gd name="T66" fmla="*/ 624 w 678"/>
                <a:gd name="T67" fmla="*/ 527 h 666"/>
                <a:gd name="T68" fmla="*/ 645 w 678"/>
                <a:gd name="T69" fmla="*/ 564 h 666"/>
                <a:gd name="T70" fmla="*/ 667 w 678"/>
                <a:gd name="T71" fmla="*/ 604 h 666"/>
                <a:gd name="T72" fmla="*/ 641 w 678"/>
                <a:gd name="T73" fmla="*/ 593 h 666"/>
                <a:gd name="T74" fmla="*/ 586 w 678"/>
                <a:gd name="T75" fmla="*/ 593 h 666"/>
                <a:gd name="T76" fmla="*/ 537 w 678"/>
                <a:gd name="T77" fmla="*/ 666 h 666"/>
                <a:gd name="T78" fmla="*/ 414 w 678"/>
                <a:gd name="T79" fmla="*/ 666 h 666"/>
                <a:gd name="T80" fmla="*/ 182 w 678"/>
                <a:gd name="T81" fmla="*/ 493 h 666"/>
                <a:gd name="T82" fmla="*/ 22 w 678"/>
                <a:gd name="T83" fmla="*/ 427 h 666"/>
                <a:gd name="T84" fmla="*/ 22 w 678"/>
                <a:gd name="T85" fmla="*/ 427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8" h="666">
                  <a:moveTo>
                    <a:pt x="22" y="427"/>
                  </a:moveTo>
                  <a:lnTo>
                    <a:pt x="31" y="420"/>
                  </a:lnTo>
                  <a:lnTo>
                    <a:pt x="31" y="416"/>
                  </a:lnTo>
                  <a:lnTo>
                    <a:pt x="15" y="416"/>
                  </a:lnTo>
                  <a:lnTo>
                    <a:pt x="10" y="404"/>
                  </a:lnTo>
                  <a:lnTo>
                    <a:pt x="15" y="399"/>
                  </a:lnTo>
                  <a:lnTo>
                    <a:pt x="0" y="333"/>
                  </a:lnTo>
                  <a:lnTo>
                    <a:pt x="156" y="250"/>
                  </a:lnTo>
                  <a:lnTo>
                    <a:pt x="171" y="215"/>
                  </a:lnTo>
                  <a:lnTo>
                    <a:pt x="171" y="182"/>
                  </a:lnTo>
                  <a:lnTo>
                    <a:pt x="178" y="149"/>
                  </a:lnTo>
                  <a:lnTo>
                    <a:pt x="178" y="127"/>
                  </a:lnTo>
                  <a:lnTo>
                    <a:pt x="171" y="111"/>
                  </a:lnTo>
                  <a:lnTo>
                    <a:pt x="171" y="87"/>
                  </a:lnTo>
                  <a:lnTo>
                    <a:pt x="178" y="71"/>
                  </a:lnTo>
                  <a:lnTo>
                    <a:pt x="208" y="66"/>
                  </a:lnTo>
                  <a:lnTo>
                    <a:pt x="246" y="28"/>
                  </a:lnTo>
                  <a:lnTo>
                    <a:pt x="263" y="28"/>
                  </a:lnTo>
                  <a:lnTo>
                    <a:pt x="279" y="0"/>
                  </a:lnTo>
                  <a:lnTo>
                    <a:pt x="291" y="12"/>
                  </a:lnTo>
                  <a:lnTo>
                    <a:pt x="300" y="0"/>
                  </a:lnTo>
                  <a:lnTo>
                    <a:pt x="338" y="16"/>
                  </a:lnTo>
                  <a:lnTo>
                    <a:pt x="355" y="16"/>
                  </a:lnTo>
                  <a:lnTo>
                    <a:pt x="371" y="12"/>
                  </a:lnTo>
                  <a:lnTo>
                    <a:pt x="376" y="16"/>
                  </a:lnTo>
                  <a:lnTo>
                    <a:pt x="376" y="28"/>
                  </a:lnTo>
                  <a:lnTo>
                    <a:pt x="388" y="38"/>
                  </a:lnTo>
                  <a:lnTo>
                    <a:pt x="409" y="16"/>
                  </a:lnTo>
                  <a:lnTo>
                    <a:pt x="414" y="28"/>
                  </a:lnTo>
                  <a:lnTo>
                    <a:pt x="426" y="33"/>
                  </a:lnTo>
                  <a:lnTo>
                    <a:pt x="426" y="49"/>
                  </a:lnTo>
                  <a:lnTo>
                    <a:pt x="440" y="54"/>
                  </a:lnTo>
                  <a:lnTo>
                    <a:pt x="430" y="71"/>
                  </a:lnTo>
                  <a:lnTo>
                    <a:pt x="440" y="82"/>
                  </a:lnTo>
                  <a:lnTo>
                    <a:pt x="452" y="87"/>
                  </a:lnTo>
                  <a:lnTo>
                    <a:pt x="461" y="123"/>
                  </a:lnTo>
                  <a:lnTo>
                    <a:pt x="478" y="123"/>
                  </a:lnTo>
                  <a:lnTo>
                    <a:pt x="485" y="139"/>
                  </a:lnTo>
                  <a:lnTo>
                    <a:pt x="506" y="127"/>
                  </a:lnTo>
                  <a:lnTo>
                    <a:pt x="522" y="139"/>
                  </a:lnTo>
                  <a:lnTo>
                    <a:pt x="499" y="144"/>
                  </a:lnTo>
                  <a:lnTo>
                    <a:pt x="499" y="160"/>
                  </a:lnTo>
                  <a:lnTo>
                    <a:pt x="515" y="182"/>
                  </a:lnTo>
                  <a:lnTo>
                    <a:pt x="515" y="193"/>
                  </a:lnTo>
                  <a:lnTo>
                    <a:pt x="499" y="193"/>
                  </a:lnTo>
                  <a:lnTo>
                    <a:pt x="494" y="205"/>
                  </a:lnTo>
                  <a:lnTo>
                    <a:pt x="478" y="222"/>
                  </a:lnTo>
                  <a:lnTo>
                    <a:pt x="485" y="238"/>
                  </a:lnTo>
                  <a:lnTo>
                    <a:pt x="468" y="234"/>
                  </a:lnTo>
                  <a:lnTo>
                    <a:pt x="461" y="238"/>
                  </a:lnTo>
                  <a:lnTo>
                    <a:pt x="468" y="255"/>
                  </a:lnTo>
                  <a:lnTo>
                    <a:pt x="468" y="271"/>
                  </a:lnTo>
                  <a:lnTo>
                    <a:pt x="461" y="276"/>
                  </a:lnTo>
                  <a:lnTo>
                    <a:pt x="468" y="288"/>
                  </a:lnTo>
                  <a:lnTo>
                    <a:pt x="485" y="309"/>
                  </a:lnTo>
                  <a:lnTo>
                    <a:pt x="494" y="309"/>
                  </a:lnTo>
                  <a:lnTo>
                    <a:pt x="499" y="316"/>
                  </a:lnTo>
                  <a:lnTo>
                    <a:pt x="494" y="316"/>
                  </a:lnTo>
                  <a:lnTo>
                    <a:pt x="499" y="316"/>
                  </a:lnTo>
                  <a:lnTo>
                    <a:pt x="515" y="342"/>
                  </a:lnTo>
                  <a:lnTo>
                    <a:pt x="506" y="366"/>
                  </a:lnTo>
                  <a:lnTo>
                    <a:pt x="532" y="366"/>
                  </a:lnTo>
                  <a:lnTo>
                    <a:pt x="586" y="404"/>
                  </a:lnTo>
                  <a:lnTo>
                    <a:pt x="603" y="404"/>
                  </a:lnTo>
                  <a:lnTo>
                    <a:pt x="603" y="416"/>
                  </a:lnTo>
                  <a:lnTo>
                    <a:pt x="629" y="460"/>
                  </a:lnTo>
                  <a:lnTo>
                    <a:pt x="624" y="482"/>
                  </a:lnTo>
                  <a:lnTo>
                    <a:pt x="624" y="527"/>
                  </a:lnTo>
                  <a:lnTo>
                    <a:pt x="645" y="527"/>
                  </a:lnTo>
                  <a:lnTo>
                    <a:pt x="645" y="564"/>
                  </a:lnTo>
                  <a:lnTo>
                    <a:pt x="667" y="581"/>
                  </a:lnTo>
                  <a:lnTo>
                    <a:pt x="667" y="604"/>
                  </a:lnTo>
                  <a:lnTo>
                    <a:pt x="678" y="604"/>
                  </a:lnTo>
                  <a:lnTo>
                    <a:pt x="641" y="593"/>
                  </a:lnTo>
                  <a:lnTo>
                    <a:pt x="624" y="593"/>
                  </a:lnTo>
                  <a:lnTo>
                    <a:pt x="586" y="593"/>
                  </a:lnTo>
                  <a:lnTo>
                    <a:pt x="570" y="638"/>
                  </a:lnTo>
                  <a:lnTo>
                    <a:pt x="537" y="666"/>
                  </a:lnTo>
                  <a:lnTo>
                    <a:pt x="537" y="666"/>
                  </a:lnTo>
                  <a:lnTo>
                    <a:pt x="414" y="666"/>
                  </a:lnTo>
                  <a:lnTo>
                    <a:pt x="232" y="510"/>
                  </a:lnTo>
                  <a:lnTo>
                    <a:pt x="182" y="493"/>
                  </a:lnTo>
                  <a:lnTo>
                    <a:pt x="107" y="444"/>
                  </a:lnTo>
                  <a:lnTo>
                    <a:pt x="22" y="427"/>
                  </a:lnTo>
                  <a:lnTo>
                    <a:pt x="22" y="427"/>
                  </a:lnTo>
                  <a:lnTo>
                    <a:pt x="22" y="42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6" name="Freeform 476">
              <a:extLst>
                <a:ext uri="{FF2B5EF4-FFF2-40B4-BE49-F238E27FC236}">
                  <a16:creationId xmlns:a16="http://schemas.microsoft.com/office/drawing/2014/main" id="{6B119AC4-53A7-4B05-B098-A29F97D1A93D}"/>
                </a:ext>
              </a:extLst>
            </p:cNvPr>
            <p:cNvSpPr>
              <a:spLocks noEditPoints="1"/>
            </p:cNvSpPr>
            <p:nvPr/>
          </p:nvSpPr>
          <p:spPr bwMode="gray">
            <a:xfrm>
              <a:off x="16581827" y="2960358"/>
              <a:ext cx="510255" cy="571133"/>
            </a:xfrm>
            <a:custGeom>
              <a:avLst/>
              <a:gdLst>
                <a:gd name="T0" fmla="*/ 1521 w 1559"/>
                <a:gd name="T1" fmla="*/ 193 h 1745"/>
                <a:gd name="T2" fmla="*/ 1483 w 1559"/>
                <a:gd name="T3" fmla="*/ 215 h 1745"/>
                <a:gd name="T4" fmla="*/ 1207 w 1559"/>
                <a:gd name="T5" fmla="*/ 267 h 1745"/>
                <a:gd name="T6" fmla="*/ 1181 w 1559"/>
                <a:gd name="T7" fmla="*/ 337 h 1745"/>
                <a:gd name="T8" fmla="*/ 1191 w 1559"/>
                <a:gd name="T9" fmla="*/ 222 h 1745"/>
                <a:gd name="T10" fmla="*/ 1278 w 1559"/>
                <a:gd name="T11" fmla="*/ 82 h 1745"/>
                <a:gd name="T12" fmla="*/ 1450 w 1559"/>
                <a:gd name="T13" fmla="*/ 139 h 1745"/>
                <a:gd name="T14" fmla="*/ 1245 w 1559"/>
                <a:gd name="T15" fmla="*/ 33 h 1745"/>
                <a:gd name="T16" fmla="*/ 1115 w 1559"/>
                <a:gd name="T17" fmla="*/ 292 h 1745"/>
                <a:gd name="T18" fmla="*/ 1136 w 1559"/>
                <a:gd name="T19" fmla="*/ 897 h 1745"/>
                <a:gd name="T20" fmla="*/ 1127 w 1559"/>
                <a:gd name="T21" fmla="*/ 876 h 1745"/>
                <a:gd name="T22" fmla="*/ 1072 w 1559"/>
                <a:gd name="T23" fmla="*/ 897 h 1745"/>
                <a:gd name="T24" fmla="*/ 943 w 1559"/>
                <a:gd name="T25" fmla="*/ 914 h 1745"/>
                <a:gd name="T26" fmla="*/ 938 w 1559"/>
                <a:gd name="T27" fmla="*/ 947 h 1745"/>
                <a:gd name="T28" fmla="*/ 801 w 1559"/>
                <a:gd name="T29" fmla="*/ 987 h 1745"/>
                <a:gd name="T30" fmla="*/ 737 w 1559"/>
                <a:gd name="T31" fmla="*/ 930 h 1745"/>
                <a:gd name="T32" fmla="*/ 666 w 1559"/>
                <a:gd name="T33" fmla="*/ 954 h 1745"/>
                <a:gd name="T34" fmla="*/ 574 w 1559"/>
                <a:gd name="T35" fmla="*/ 975 h 1745"/>
                <a:gd name="T36" fmla="*/ 633 w 1559"/>
                <a:gd name="T37" fmla="*/ 864 h 1745"/>
                <a:gd name="T38" fmla="*/ 829 w 1559"/>
                <a:gd name="T39" fmla="*/ 859 h 1745"/>
                <a:gd name="T40" fmla="*/ 921 w 1559"/>
                <a:gd name="T41" fmla="*/ 753 h 1745"/>
                <a:gd name="T42" fmla="*/ 943 w 1559"/>
                <a:gd name="T43" fmla="*/ 732 h 1745"/>
                <a:gd name="T44" fmla="*/ 1136 w 1559"/>
                <a:gd name="T45" fmla="*/ 581 h 1745"/>
                <a:gd name="T46" fmla="*/ 1169 w 1559"/>
                <a:gd name="T47" fmla="*/ 415 h 1745"/>
                <a:gd name="T48" fmla="*/ 1235 w 1559"/>
                <a:gd name="T49" fmla="*/ 375 h 1745"/>
                <a:gd name="T50" fmla="*/ 1283 w 1559"/>
                <a:gd name="T51" fmla="*/ 543 h 1745"/>
                <a:gd name="T52" fmla="*/ 1212 w 1559"/>
                <a:gd name="T53" fmla="*/ 654 h 1745"/>
                <a:gd name="T54" fmla="*/ 1051 w 1559"/>
                <a:gd name="T55" fmla="*/ 642 h 1745"/>
                <a:gd name="T56" fmla="*/ 683 w 1559"/>
                <a:gd name="T57" fmla="*/ 786 h 1745"/>
                <a:gd name="T58" fmla="*/ 1106 w 1559"/>
                <a:gd name="T59" fmla="*/ 918 h 1745"/>
                <a:gd name="T60" fmla="*/ 411 w 1559"/>
                <a:gd name="T61" fmla="*/ 918 h 1745"/>
                <a:gd name="T62" fmla="*/ 780 w 1559"/>
                <a:gd name="T63" fmla="*/ 959 h 1745"/>
                <a:gd name="T64" fmla="*/ 725 w 1559"/>
                <a:gd name="T65" fmla="*/ 1025 h 1745"/>
                <a:gd name="T66" fmla="*/ 628 w 1559"/>
                <a:gd name="T67" fmla="*/ 1041 h 1745"/>
                <a:gd name="T68" fmla="*/ 720 w 1559"/>
                <a:gd name="T69" fmla="*/ 954 h 1745"/>
                <a:gd name="T70" fmla="*/ 402 w 1559"/>
                <a:gd name="T71" fmla="*/ 959 h 1745"/>
                <a:gd name="T72" fmla="*/ 657 w 1559"/>
                <a:gd name="T73" fmla="*/ 954 h 1745"/>
                <a:gd name="T74" fmla="*/ 628 w 1559"/>
                <a:gd name="T75" fmla="*/ 970 h 1745"/>
                <a:gd name="T76" fmla="*/ 565 w 1559"/>
                <a:gd name="T77" fmla="*/ 1008 h 1745"/>
                <a:gd name="T78" fmla="*/ 527 w 1559"/>
                <a:gd name="T79" fmla="*/ 1181 h 1745"/>
                <a:gd name="T80" fmla="*/ 489 w 1559"/>
                <a:gd name="T81" fmla="*/ 1174 h 1745"/>
                <a:gd name="T82" fmla="*/ 489 w 1559"/>
                <a:gd name="T83" fmla="*/ 1081 h 1745"/>
                <a:gd name="T84" fmla="*/ 456 w 1559"/>
                <a:gd name="T85" fmla="*/ 1098 h 1745"/>
                <a:gd name="T86" fmla="*/ 435 w 1559"/>
                <a:gd name="T87" fmla="*/ 1070 h 1745"/>
                <a:gd name="T88" fmla="*/ 472 w 1559"/>
                <a:gd name="T89" fmla="*/ 1008 h 1745"/>
                <a:gd name="T90" fmla="*/ 423 w 1559"/>
                <a:gd name="T91" fmla="*/ 1004 h 1745"/>
                <a:gd name="T92" fmla="*/ 418 w 1559"/>
                <a:gd name="T93" fmla="*/ 1029 h 1745"/>
                <a:gd name="T94" fmla="*/ 385 w 1559"/>
                <a:gd name="T95" fmla="*/ 1058 h 1745"/>
                <a:gd name="T96" fmla="*/ 359 w 1559"/>
                <a:gd name="T97" fmla="*/ 1081 h 1745"/>
                <a:gd name="T98" fmla="*/ 465 w 1559"/>
                <a:gd name="T99" fmla="*/ 1103 h 1745"/>
                <a:gd name="T100" fmla="*/ 456 w 1559"/>
                <a:gd name="T101" fmla="*/ 1124 h 1745"/>
                <a:gd name="T102" fmla="*/ 527 w 1559"/>
                <a:gd name="T103" fmla="*/ 1230 h 1745"/>
                <a:gd name="T104" fmla="*/ 489 w 1559"/>
                <a:gd name="T105" fmla="*/ 1280 h 1745"/>
                <a:gd name="T106" fmla="*/ 385 w 1559"/>
                <a:gd name="T107" fmla="*/ 1436 h 1745"/>
                <a:gd name="T108" fmla="*/ 397 w 1559"/>
                <a:gd name="T109" fmla="*/ 1436 h 1745"/>
                <a:gd name="T110" fmla="*/ 359 w 1559"/>
                <a:gd name="T111" fmla="*/ 1502 h 1745"/>
                <a:gd name="T112" fmla="*/ 293 w 1559"/>
                <a:gd name="T113" fmla="*/ 1596 h 1745"/>
                <a:gd name="T114" fmla="*/ 217 w 1559"/>
                <a:gd name="T115" fmla="*/ 1580 h 1745"/>
                <a:gd name="T116" fmla="*/ 116 w 1559"/>
                <a:gd name="T117" fmla="*/ 1696 h 1745"/>
                <a:gd name="T118" fmla="*/ 33 w 1559"/>
                <a:gd name="T119" fmla="*/ 1729 h 1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59" h="1745">
                  <a:moveTo>
                    <a:pt x="1450" y="139"/>
                  </a:moveTo>
                  <a:lnTo>
                    <a:pt x="1483" y="144"/>
                  </a:lnTo>
                  <a:lnTo>
                    <a:pt x="1521" y="104"/>
                  </a:lnTo>
                  <a:lnTo>
                    <a:pt x="1531" y="111"/>
                  </a:lnTo>
                  <a:lnTo>
                    <a:pt x="1505" y="155"/>
                  </a:lnTo>
                  <a:lnTo>
                    <a:pt x="1517" y="165"/>
                  </a:lnTo>
                  <a:lnTo>
                    <a:pt x="1521" y="177"/>
                  </a:lnTo>
                  <a:lnTo>
                    <a:pt x="1517" y="165"/>
                  </a:lnTo>
                  <a:lnTo>
                    <a:pt x="1521" y="193"/>
                  </a:lnTo>
                  <a:lnTo>
                    <a:pt x="1521" y="193"/>
                  </a:lnTo>
                  <a:lnTo>
                    <a:pt x="1538" y="198"/>
                  </a:lnTo>
                  <a:lnTo>
                    <a:pt x="1547" y="193"/>
                  </a:lnTo>
                  <a:lnTo>
                    <a:pt x="1559" y="193"/>
                  </a:lnTo>
                  <a:lnTo>
                    <a:pt x="1547" y="193"/>
                  </a:lnTo>
                  <a:lnTo>
                    <a:pt x="1538" y="210"/>
                  </a:lnTo>
                  <a:lnTo>
                    <a:pt x="1517" y="210"/>
                  </a:lnTo>
                  <a:lnTo>
                    <a:pt x="1500" y="222"/>
                  </a:lnTo>
                  <a:lnTo>
                    <a:pt x="1483" y="215"/>
                  </a:lnTo>
                  <a:lnTo>
                    <a:pt x="1479" y="231"/>
                  </a:lnTo>
                  <a:lnTo>
                    <a:pt x="1450" y="222"/>
                  </a:lnTo>
                  <a:lnTo>
                    <a:pt x="1429" y="231"/>
                  </a:lnTo>
                  <a:lnTo>
                    <a:pt x="1391" y="271"/>
                  </a:lnTo>
                  <a:lnTo>
                    <a:pt x="1375" y="321"/>
                  </a:lnTo>
                  <a:lnTo>
                    <a:pt x="1278" y="255"/>
                  </a:lnTo>
                  <a:lnTo>
                    <a:pt x="1250" y="267"/>
                  </a:lnTo>
                  <a:lnTo>
                    <a:pt x="1224" y="288"/>
                  </a:lnTo>
                  <a:lnTo>
                    <a:pt x="1207" y="267"/>
                  </a:lnTo>
                  <a:lnTo>
                    <a:pt x="1181" y="267"/>
                  </a:lnTo>
                  <a:lnTo>
                    <a:pt x="1174" y="271"/>
                  </a:lnTo>
                  <a:lnTo>
                    <a:pt x="1169" y="288"/>
                  </a:lnTo>
                  <a:lnTo>
                    <a:pt x="1191" y="304"/>
                  </a:lnTo>
                  <a:lnTo>
                    <a:pt x="1198" y="304"/>
                  </a:lnTo>
                  <a:lnTo>
                    <a:pt x="1235" y="326"/>
                  </a:lnTo>
                  <a:lnTo>
                    <a:pt x="1224" y="337"/>
                  </a:lnTo>
                  <a:lnTo>
                    <a:pt x="1198" y="326"/>
                  </a:lnTo>
                  <a:lnTo>
                    <a:pt x="1181" y="337"/>
                  </a:lnTo>
                  <a:lnTo>
                    <a:pt x="1181" y="349"/>
                  </a:lnTo>
                  <a:lnTo>
                    <a:pt x="1169" y="359"/>
                  </a:lnTo>
                  <a:lnTo>
                    <a:pt x="1153" y="359"/>
                  </a:lnTo>
                  <a:lnTo>
                    <a:pt x="1153" y="342"/>
                  </a:lnTo>
                  <a:lnTo>
                    <a:pt x="1157" y="309"/>
                  </a:lnTo>
                  <a:lnTo>
                    <a:pt x="1136" y="288"/>
                  </a:lnTo>
                  <a:lnTo>
                    <a:pt x="1136" y="255"/>
                  </a:lnTo>
                  <a:lnTo>
                    <a:pt x="1174" y="238"/>
                  </a:lnTo>
                  <a:lnTo>
                    <a:pt x="1191" y="222"/>
                  </a:lnTo>
                  <a:lnTo>
                    <a:pt x="1174" y="198"/>
                  </a:lnTo>
                  <a:lnTo>
                    <a:pt x="1181" y="193"/>
                  </a:lnTo>
                  <a:lnTo>
                    <a:pt x="1207" y="210"/>
                  </a:lnTo>
                  <a:lnTo>
                    <a:pt x="1228" y="210"/>
                  </a:lnTo>
                  <a:lnTo>
                    <a:pt x="1250" y="193"/>
                  </a:lnTo>
                  <a:lnTo>
                    <a:pt x="1245" y="160"/>
                  </a:lnTo>
                  <a:lnTo>
                    <a:pt x="1266" y="139"/>
                  </a:lnTo>
                  <a:lnTo>
                    <a:pt x="1266" y="111"/>
                  </a:lnTo>
                  <a:lnTo>
                    <a:pt x="1278" y="82"/>
                  </a:lnTo>
                  <a:lnTo>
                    <a:pt x="1261" y="28"/>
                  </a:lnTo>
                  <a:lnTo>
                    <a:pt x="1266" y="11"/>
                  </a:lnTo>
                  <a:lnTo>
                    <a:pt x="1287" y="0"/>
                  </a:lnTo>
                  <a:lnTo>
                    <a:pt x="1370" y="87"/>
                  </a:lnTo>
                  <a:lnTo>
                    <a:pt x="1408" y="111"/>
                  </a:lnTo>
                  <a:lnTo>
                    <a:pt x="1413" y="127"/>
                  </a:lnTo>
                  <a:lnTo>
                    <a:pt x="1446" y="127"/>
                  </a:lnTo>
                  <a:lnTo>
                    <a:pt x="1450" y="139"/>
                  </a:lnTo>
                  <a:lnTo>
                    <a:pt x="1450" y="139"/>
                  </a:lnTo>
                  <a:lnTo>
                    <a:pt x="1450" y="139"/>
                  </a:lnTo>
                  <a:close/>
                  <a:moveTo>
                    <a:pt x="1224" y="11"/>
                  </a:moveTo>
                  <a:lnTo>
                    <a:pt x="1228" y="11"/>
                  </a:lnTo>
                  <a:lnTo>
                    <a:pt x="1224" y="28"/>
                  </a:lnTo>
                  <a:lnTo>
                    <a:pt x="1224" y="11"/>
                  </a:lnTo>
                  <a:lnTo>
                    <a:pt x="1224" y="11"/>
                  </a:lnTo>
                  <a:lnTo>
                    <a:pt x="1224" y="11"/>
                  </a:lnTo>
                  <a:close/>
                  <a:moveTo>
                    <a:pt x="1228" y="28"/>
                  </a:moveTo>
                  <a:lnTo>
                    <a:pt x="1245" y="33"/>
                  </a:lnTo>
                  <a:lnTo>
                    <a:pt x="1228" y="33"/>
                  </a:lnTo>
                  <a:lnTo>
                    <a:pt x="1228" y="28"/>
                  </a:lnTo>
                  <a:lnTo>
                    <a:pt x="1228" y="28"/>
                  </a:lnTo>
                  <a:lnTo>
                    <a:pt x="1228" y="28"/>
                  </a:lnTo>
                  <a:close/>
                  <a:moveTo>
                    <a:pt x="1115" y="292"/>
                  </a:moveTo>
                  <a:lnTo>
                    <a:pt x="1120" y="288"/>
                  </a:lnTo>
                  <a:lnTo>
                    <a:pt x="1115" y="304"/>
                  </a:lnTo>
                  <a:lnTo>
                    <a:pt x="1115" y="292"/>
                  </a:lnTo>
                  <a:lnTo>
                    <a:pt x="1115" y="292"/>
                  </a:lnTo>
                  <a:lnTo>
                    <a:pt x="1115" y="292"/>
                  </a:lnTo>
                  <a:close/>
                  <a:moveTo>
                    <a:pt x="1207" y="748"/>
                  </a:moveTo>
                  <a:lnTo>
                    <a:pt x="1191" y="791"/>
                  </a:lnTo>
                  <a:lnTo>
                    <a:pt x="1207" y="843"/>
                  </a:lnTo>
                  <a:lnTo>
                    <a:pt x="1181" y="859"/>
                  </a:lnTo>
                  <a:lnTo>
                    <a:pt x="1174" y="892"/>
                  </a:lnTo>
                  <a:lnTo>
                    <a:pt x="1157" y="892"/>
                  </a:lnTo>
                  <a:lnTo>
                    <a:pt x="1143" y="902"/>
                  </a:lnTo>
                  <a:lnTo>
                    <a:pt x="1136" y="897"/>
                  </a:lnTo>
                  <a:lnTo>
                    <a:pt x="1143" y="897"/>
                  </a:lnTo>
                  <a:lnTo>
                    <a:pt x="1136" y="876"/>
                  </a:lnTo>
                  <a:lnTo>
                    <a:pt x="1157" y="848"/>
                  </a:lnTo>
                  <a:lnTo>
                    <a:pt x="1143" y="843"/>
                  </a:lnTo>
                  <a:lnTo>
                    <a:pt x="1136" y="843"/>
                  </a:lnTo>
                  <a:lnTo>
                    <a:pt x="1136" y="859"/>
                  </a:lnTo>
                  <a:lnTo>
                    <a:pt x="1127" y="859"/>
                  </a:lnTo>
                  <a:lnTo>
                    <a:pt x="1127" y="876"/>
                  </a:lnTo>
                  <a:lnTo>
                    <a:pt x="1127" y="876"/>
                  </a:lnTo>
                  <a:lnTo>
                    <a:pt x="1127" y="892"/>
                  </a:lnTo>
                  <a:lnTo>
                    <a:pt x="1120" y="876"/>
                  </a:lnTo>
                  <a:lnTo>
                    <a:pt x="1089" y="881"/>
                  </a:lnTo>
                  <a:lnTo>
                    <a:pt x="1082" y="892"/>
                  </a:lnTo>
                  <a:lnTo>
                    <a:pt x="1089" y="902"/>
                  </a:lnTo>
                  <a:lnTo>
                    <a:pt x="1068" y="930"/>
                  </a:lnTo>
                  <a:lnTo>
                    <a:pt x="1061" y="918"/>
                  </a:lnTo>
                  <a:lnTo>
                    <a:pt x="1068" y="897"/>
                  </a:lnTo>
                  <a:lnTo>
                    <a:pt x="1072" y="897"/>
                  </a:lnTo>
                  <a:lnTo>
                    <a:pt x="1061" y="892"/>
                  </a:lnTo>
                  <a:lnTo>
                    <a:pt x="1051" y="892"/>
                  </a:lnTo>
                  <a:lnTo>
                    <a:pt x="1035" y="902"/>
                  </a:lnTo>
                  <a:lnTo>
                    <a:pt x="1018" y="930"/>
                  </a:lnTo>
                  <a:lnTo>
                    <a:pt x="980" y="918"/>
                  </a:lnTo>
                  <a:lnTo>
                    <a:pt x="943" y="930"/>
                  </a:lnTo>
                  <a:lnTo>
                    <a:pt x="964" y="918"/>
                  </a:lnTo>
                  <a:lnTo>
                    <a:pt x="959" y="914"/>
                  </a:lnTo>
                  <a:lnTo>
                    <a:pt x="943" y="914"/>
                  </a:lnTo>
                  <a:lnTo>
                    <a:pt x="938" y="902"/>
                  </a:lnTo>
                  <a:lnTo>
                    <a:pt x="938" y="914"/>
                  </a:lnTo>
                  <a:lnTo>
                    <a:pt x="938" y="918"/>
                  </a:lnTo>
                  <a:lnTo>
                    <a:pt x="926" y="918"/>
                  </a:lnTo>
                  <a:lnTo>
                    <a:pt x="926" y="892"/>
                  </a:lnTo>
                  <a:lnTo>
                    <a:pt x="909" y="897"/>
                  </a:lnTo>
                  <a:lnTo>
                    <a:pt x="905" y="918"/>
                  </a:lnTo>
                  <a:lnTo>
                    <a:pt x="905" y="930"/>
                  </a:lnTo>
                  <a:lnTo>
                    <a:pt x="938" y="947"/>
                  </a:lnTo>
                  <a:lnTo>
                    <a:pt x="938" y="954"/>
                  </a:lnTo>
                  <a:lnTo>
                    <a:pt x="909" y="954"/>
                  </a:lnTo>
                  <a:lnTo>
                    <a:pt x="900" y="959"/>
                  </a:lnTo>
                  <a:lnTo>
                    <a:pt x="888" y="987"/>
                  </a:lnTo>
                  <a:lnTo>
                    <a:pt x="850" y="1025"/>
                  </a:lnTo>
                  <a:lnTo>
                    <a:pt x="829" y="1013"/>
                  </a:lnTo>
                  <a:lnTo>
                    <a:pt x="817" y="1008"/>
                  </a:lnTo>
                  <a:lnTo>
                    <a:pt x="829" y="1004"/>
                  </a:lnTo>
                  <a:lnTo>
                    <a:pt x="801" y="987"/>
                  </a:lnTo>
                  <a:lnTo>
                    <a:pt x="813" y="970"/>
                  </a:lnTo>
                  <a:lnTo>
                    <a:pt x="801" y="959"/>
                  </a:lnTo>
                  <a:lnTo>
                    <a:pt x="801" y="954"/>
                  </a:lnTo>
                  <a:lnTo>
                    <a:pt x="829" y="930"/>
                  </a:lnTo>
                  <a:lnTo>
                    <a:pt x="817" y="918"/>
                  </a:lnTo>
                  <a:lnTo>
                    <a:pt x="801" y="930"/>
                  </a:lnTo>
                  <a:lnTo>
                    <a:pt x="775" y="914"/>
                  </a:lnTo>
                  <a:lnTo>
                    <a:pt x="742" y="918"/>
                  </a:lnTo>
                  <a:lnTo>
                    <a:pt x="737" y="930"/>
                  </a:lnTo>
                  <a:lnTo>
                    <a:pt x="725" y="930"/>
                  </a:lnTo>
                  <a:lnTo>
                    <a:pt x="737" y="930"/>
                  </a:lnTo>
                  <a:lnTo>
                    <a:pt x="725" y="947"/>
                  </a:lnTo>
                  <a:lnTo>
                    <a:pt x="704" y="937"/>
                  </a:lnTo>
                  <a:lnTo>
                    <a:pt x="683" y="954"/>
                  </a:lnTo>
                  <a:lnTo>
                    <a:pt x="671" y="947"/>
                  </a:lnTo>
                  <a:lnTo>
                    <a:pt x="671" y="954"/>
                  </a:lnTo>
                  <a:lnTo>
                    <a:pt x="666" y="959"/>
                  </a:lnTo>
                  <a:lnTo>
                    <a:pt x="666" y="954"/>
                  </a:lnTo>
                  <a:lnTo>
                    <a:pt x="650" y="954"/>
                  </a:lnTo>
                  <a:lnTo>
                    <a:pt x="628" y="959"/>
                  </a:lnTo>
                  <a:lnTo>
                    <a:pt x="628" y="954"/>
                  </a:lnTo>
                  <a:lnTo>
                    <a:pt x="612" y="954"/>
                  </a:lnTo>
                  <a:lnTo>
                    <a:pt x="602" y="959"/>
                  </a:lnTo>
                  <a:lnTo>
                    <a:pt x="595" y="992"/>
                  </a:lnTo>
                  <a:lnTo>
                    <a:pt x="586" y="1004"/>
                  </a:lnTo>
                  <a:lnTo>
                    <a:pt x="586" y="987"/>
                  </a:lnTo>
                  <a:lnTo>
                    <a:pt x="574" y="975"/>
                  </a:lnTo>
                  <a:lnTo>
                    <a:pt x="532" y="987"/>
                  </a:lnTo>
                  <a:lnTo>
                    <a:pt x="520" y="975"/>
                  </a:lnTo>
                  <a:lnTo>
                    <a:pt x="510" y="987"/>
                  </a:lnTo>
                  <a:lnTo>
                    <a:pt x="510" y="947"/>
                  </a:lnTo>
                  <a:lnTo>
                    <a:pt x="548" y="947"/>
                  </a:lnTo>
                  <a:lnTo>
                    <a:pt x="557" y="930"/>
                  </a:lnTo>
                  <a:lnTo>
                    <a:pt x="579" y="918"/>
                  </a:lnTo>
                  <a:lnTo>
                    <a:pt x="633" y="876"/>
                  </a:lnTo>
                  <a:lnTo>
                    <a:pt x="633" y="864"/>
                  </a:lnTo>
                  <a:lnTo>
                    <a:pt x="666" y="848"/>
                  </a:lnTo>
                  <a:lnTo>
                    <a:pt x="687" y="859"/>
                  </a:lnTo>
                  <a:lnTo>
                    <a:pt x="742" y="848"/>
                  </a:lnTo>
                  <a:lnTo>
                    <a:pt x="763" y="843"/>
                  </a:lnTo>
                  <a:lnTo>
                    <a:pt x="796" y="843"/>
                  </a:lnTo>
                  <a:lnTo>
                    <a:pt x="813" y="836"/>
                  </a:lnTo>
                  <a:lnTo>
                    <a:pt x="817" y="843"/>
                  </a:lnTo>
                  <a:lnTo>
                    <a:pt x="813" y="848"/>
                  </a:lnTo>
                  <a:lnTo>
                    <a:pt x="829" y="859"/>
                  </a:lnTo>
                  <a:lnTo>
                    <a:pt x="817" y="848"/>
                  </a:lnTo>
                  <a:lnTo>
                    <a:pt x="829" y="848"/>
                  </a:lnTo>
                  <a:lnTo>
                    <a:pt x="834" y="859"/>
                  </a:lnTo>
                  <a:lnTo>
                    <a:pt x="850" y="859"/>
                  </a:lnTo>
                  <a:lnTo>
                    <a:pt x="872" y="836"/>
                  </a:lnTo>
                  <a:lnTo>
                    <a:pt x="872" y="843"/>
                  </a:lnTo>
                  <a:lnTo>
                    <a:pt x="872" y="836"/>
                  </a:lnTo>
                  <a:lnTo>
                    <a:pt x="867" y="819"/>
                  </a:lnTo>
                  <a:lnTo>
                    <a:pt x="921" y="753"/>
                  </a:lnTo>
                  <a:lnTo>
                    <a:pt x="921" y="737"/>
                  </a:lnTo>
                  <a:lnTo>
                    <a:pt x="921" y="715"/>
                  </a:lnTo>
                  <a:lnTo>
                    <a:pt x="926" y="699"/>
                  </a:lnTo>
                  <a:lnTo>
                    <a:pt x="964" y="692"/>
                  </a:lnTo>
                  <a:lnTo>
                    <a:pt x="964" y="699"/>
                  </a:lnTo>
                  <a:lnTo>
                    <a:pt x="943" y="715"/>
                  </a:lnTo>
                  <a:lnTo>
                    <a:pt x="938" y="715"/>
                  </a:lnTo>
                  <a:lnTo>
                    <a:pt x="926" y="725"/>
                  </a:lnTo>
                  <a:lnTo>
                    <a:pt x="943" y="732"/>
                  </a:lnTo>
                  <a:lnTo>
                    <a:pt x="943" y="748"/>
                  </a:lnTo>
                  <a:lnTo>
                    <a:pt x="959" y="753"/>
                  </a:lnTo>
                  <a:lnTo>
                    <a:pt x="976" y="737"/>
                  </a:lnTo>
                  <a:lnTo>
                    <a:pt x="1030" y="715"/>
                  </a:lnTo>
                  <a:lnTo>
                    <a:pt x="1051" y="699"/>
                  </a:lnTo>
                  <a:lnTo>
                    <a:pt x="1068" y="670"/>
                  </a:lnTo>
                  <a:lnTo>
                    <a:pt x="1115" y="637"/>
                  </a:lnTo>
                  <a:lnTo>
                    <a:pt x="1115" y="614"/>
                  </a:lnTo>
                  <a:lnTo>
                    <a:pt x="1136" y="581"/>
                  </a:lnTo>
                  <a:lnTo>
                    <a:pt x="1153" y="531"/>
                  </a:lnTo>
                  <a:lnTo>
                    <a:pt x="1153" y="503"/>
                  </a:lnTo>
                  <a:lnTo>
                    <a:pt x="1127" y="486"/>
                  </a:lnTo>
                  <a:lnTo>
                    <a:pt x="1127" y="486"/>
                  </a:lnTo>
                  <a:lnTo>
                    <a:pt x="1143" y="486"/>
                  </a:lnTo>
                  <a:lnTo>
                    <a:pt x="1153" y="460"/>
                  </a:lnTo>
                  <a:lnTo>
                    <a:pt x="1136" y="432"/>
                  </a:lnTo>
                  <a:lnTo>
                    <a:pt x="1153" y="415"/>
                  </a:lnTo>
                  <a:lnTo>
                    <a:pt x="1169" y="415"/>
                  </a:lnTo>
                  <a:lnTo>
                    <a:pt x="1174" y="375"/>
                  </a:lnTo>
                  <a:lnTo>
                    <a:pt x="1198" y="382"/>
                  </a:lnTo>
                  <a:lnTo>
                    <a:pt x="1198" y="415"/>
                  </a:lnTo>
                  <a:lnTo>
                    <a:pt x="1207" y="404"/>
                  </a:lnTo>
                  <a:lnTo>
                    <a:pt x="1212" y="399"/>
                  </a:lnTo>
                  <a:lnTo>
                    <a:pt x="1228" y="404"/>
                  </a:lnTo>
                  <a:lnTo>
                    <a:pt x="1235" y="404"/>
                  </a:lnTo>
                  <a:lnTo>
                    <a:pt x="1235" y="382"/>
                  </a:lnTo>
                  <a:lnTo>
                    <a:pt x="1235" y="375"/>
                  </a:lnTo>
                  <a:lnTo>
                    <a:pt x="1207" y="382"/>
                  </a:lnTo>
                  <a:lnTo>
                    <a:pt x="1212" y="349"/>
                  </a:lnTo>
                  <a:lnTo>
                    <a:pt x="1235" y="366"/>
                  </a:lnTo>
                  <a:lnTo>
                    <a:pt x="1250" y="366"/>
                  </a:lnTo>
                  <a:lnTo>
                    <a:pt x="1245" y="382"/>
                  </a:lnTo>
                  <a:lnTo>
                    <a:pt x="1250" y="432"/>
                  </a:lnTo>
                  <a:lnTo>
                    <a:pt x="1278" y="460"/>
                  </a:lnTo>
                  <a:lnTo>
                    <a:pt x="1299" y="515"/>
                  </a:lnTo>
                  <a:lnTo>
                    <a:pt x="1283" y="543"/>
                  </a:lnTo>
                  <a:lnTo>
                    <a:pt x="1283" y="564"/>
                  </a:lnTo>
                  <a:lnTo>
                    <a:pt x="1266" y="564"/>
                  </a:lnTo>
                  <a:lnTo>
                    <a:pt x="1266" y="571"/>
                  </a:lnTo>
                  <a:lnTo>
                    <a:pt x="1261" y="581"/>
                  </a:lnTo>
                  <a:lnTo>
                    <a:pt x="1261" y="626"/>
                  </a:lnTo>
                  <a:lnTo>
                    <a:pt x="1245" y="614"/>
                  </a:lnTo>
                  <a:lnTo>
                    <a:pt x="1228" y="621"/>
                  </a:lnTo>
                  <a:lnTo>
                    <a:pt x="1212" y="637"/>
                  </a:lnTo>
                  <a:lnTo>
                    <a:pt x="1212" y="654"/>
                  </a:lnTo>
                  <a:lnTo>
                    <a:pt x="1224" y="675"/>
                  </a:lnTo>
                  <a:lnTo>
                    <a:pt x="1224" y="699"/>
                  </a:lnTo>
                  <a:lnTo>
                    <a:pt x="1224" y="732"/>
                  </a:lnTo>
                  <a:lnTo>
                    <a:pt x="1207" y="748"/>
                  </a:lnTo>
                  <a:lnTo>
                    <a:pt x="1207" y="748"/>
                  </a:lnTo>
                  <a:lnTo>
                    <a:pt x="1207" y="748"/>
                  </a:lnTo>
                  <a:close/>
                  <a:moveTo>
                    <a:pt x="1044" y="626"/>
                  </a:moveTo>
                  <a:lnTo>
                    <a:pt x="1035" y="642"/>
                  </a:lnTo>
                  <a:lnTo>
                    <a:pt x="1051" y="642"/>
                  </a:lnTo>
                  <a:lnTo>
                    <a:pt x="1044" y="659"/>
                  </a:lnTo>
                  <a:lnTo>
                    <a:pt x="1030" y="670"/>
                  </a:lnTo>
                  <a:lnTo>
                    <a:pt x="1035" y="654"/>
                  </a:lnTo>
                  <a:lnTo>
                    <a:pt x="1030" y="654"/>
                  </a:lnTo>
                  <a:lnTo>
                    <a:pt x="1030" y="642"/>
                  </a:lnTo>
                  <a:lnTo>
                    <a:pt x="1044" y="626"/>
                  </a:lnTo>
                  <a:lnTo>
                    <a:pt x="1044" y="626"/>
                  </a:lnTo>
                  <a:lnTo>
                    <a:pt x="1044" y="626"/>
                  </a:lnTo>
                  <a:close/>
                  <a:moveTo>
                    <a:pt x="683" y="786"/>
                  </a:moveTo>
                  <a:lnTo>
                    <a:pt x="687" y="803"/>
                  </a:lnTo>
                  <a:lnTo>
                    <a:pt x="671" y="803"/>
                  </a:lnTo>
                  <a:lnTo>
                    <a:pt x="671" y="791"/>
                  </a:lnTo>
                  <a:lnTo>
                    <a:pt x="683" y="786"/>
                  </a:lnTo>
                  <a:lnTo>
                    <a:pt x="683" y="786"/>
                  </a:lnTo>
                  <a:lnTo>
                    <a:pt x="683" y="786"/>
                  </a:lnTo>
                  <a:close/>
                  <a:moveTo>
                    <a:pt x="1106" y="914"/>
                  </a:moveTo>
                  <a:lnTo>
                    <a:pt x="1115" y="918"/>
                  </a:lnTo>
                  <a:lnTo>
                    <a:pt x="1106" y="918"/>
                  </a:lnTo>
                  <a:lnTo>
                    <a:pt x="1106" y="914"/>
                  </a:lnTo>
                  <a:lnTo>
                    <a:pt x="1106" y="914"/>
                  </a:lnTo>
                  <a:lnTo>
                    <a:pt x="1106" y="914"/>
                  </a:lnTo>
                  <a:close/>
                  <a:moveTo>
                    <a:pt x="411" y="918"/>
                  </a:moveTo>
                  <a:lnTo>
                    <a:pt x="402" y="954"/>
                  </a:lnTo>
                  <a:lnTo>
                    <a:pt x="397" y="954"/>
                  </a:lnTo>
                  <a:lnTo>
                    <a:pt x="397" y="930"/>
                  </a:lnTo>
                  <a:lnTo>
                    <a:pt x="411" y="918"/>
                  </a:lnTo>
                  <a:lnTo>
                    <a:pt x="411" y="918"/>
                  </a:lnTo>
                  <a:lnTo>
                    <a:pt x="411" y="918"/>
                  </a:lnTo>
                  <a:close/>
                  <a:moveTo>
                    <a:pt x="780" y="959"/>
                  </a:moveTo>
                  <a:lnTo>
                    <a:pt x="775" y="954"/>
                  </a:lnTo>
                  <a:lnTo>
                    <a:pt x="796" y="930"/>
                  </a:lnTo>
                  <a:lnTo>
                    <a:pt x="791" y="947"/>
                  </a:lnTo>
                  <a:lnTo>
                    <a:pt x="796" y="959"/>
                  </a:lnTo>
                  <a:lnTo>
                    <a:pt x="780" y="959"/>
                  </a:lnTo>
                  <a:lnTo>
                    <a:pt x="780" y="959"/>
                  </a:lnTo>
                  <a:lnTo>
                    <a:pt x="780" y="959"/>
                  </a:lnTo>
                  <a:close/>
                  <a:moveTo>
                    <a:pt x="758" y="937"/>
                  </a:moveTo>
                  <a:lnTo>
                    <a:pt x="746" y="947"/>
                  </a:lnTo>
                  <a:lnTo>
                    <a:pt x="742" y="937"/>
                  </a:lnTo>
                  <a:lnTo>
                    <a:pt x="758" y="937"/>
                  </a:lnTo>
                  <a:lnTo>
                    <a:pt x="758" y="937"/>
                  </a:lnTo>
                  <a:lnTo>
                    <a:pt x="758" y="937"/>
                  </a:lnTo>
                  <a:close/>
                  <a:moveTo>
                    <a:pt x="746" y="1013"/>
                  </a:moveTo>
                  <a:lnTo>
                    <a:pt x="742" y="1041"/>
                  </a:lnTo>
                  <a:lnTo>
                    <a:pt x="725" y="1025"/>
                  </a:lnTo>
                  <a:lnTo>
                    <a:pt x="709" y="1013"/>
                  </a:lnTo>
                  <a:lnTo>
                    <a:pt x="683" y="1029"/>
                  </a:lnTo>
                  <a:lnTo>
                    <a:pt x="671" y="1041"/>
                  </a:lnTo>
                  <a:lnTo>
                    <a:pt x="657" y="1058"/>
                  </a:lnTo>
                  <a:lnTo>
                    <a:pt x="657" y="1081"/>
                  </a:lnTo>
                  <a:lnTo>
                    <a:pt x="633" y="1081"/>
                  </a:lnTo>
                  <a:lnTo>
                    <a:pt x="640" y="1065"/>
                  </a:lnTo>
                  <a:lnTo>
                    <a:pt x="619" y="1065"/>
                  </a:lnTo>
                  <a:lnTo>
                    <a:pt x="628" y="1041"/>
                  </a:lnTo>
                  <a:lnTo>
                    <a:pt x="612" y="1029"/>
                  </a:lnTo>
                  <a:lnTo>
                    <a:pt x="612" y="1025"/>
                  </a:lnTo>
                  <a:lnTo>
                    <a:pt x="586" y="1029"/>
                  </a:lnTo>
                  <a:lnTo>
                    <a:pt x="633" y="1008"/>
                  </a:lnTo>
                  <a:lnTo>
                    <a:pt x="650" y="970"/>
                  </a:lnTo>
                  <a:lnTo>
                    <a:pt x="666" y="987"/>
                  </a:lnTo>
                  <a:lnTo>
                    <a:pt x="694" y="987"/>
                  </a:lnTo>
                  <a:lnTo>
                    <a:pt x="704" y="959"/>
                  </a:lnTo>
                  <a:lnTo>
                    <a:pt x="720" y="954"/>
                  </a:lnTo>
                  <a:lnTo>
                    <a:pt x="737" y="947"/>
                  </a:lnTo>
                  <a:lnTo>
                    <a:pt x="758" y="959"/>
                  </a:lnTo>
                  <a:lnTo>
                    <a:pt x="763" y="959"/>
                  </a:lnTo>
                  <a:lnTo>
                    <a:pt x="775" y="975"/>
                  </a:lnTo>
                  <a:lnTo>
                    <a:pt x="780" y="992"/>
                  </a:lnTo>
                  <a:lnTo>
                    <a:pt x="746" y="1013"/>
                  </a:lnTo>
                  <a:lnTo>
                    <a:pt x="746" y="1013"/>
                  </a:lnTo>
                  <a:lnTo>
                    <a:pt x="746" y="1013"/>
                  </a:lnTo>
                  <a:close/>
                  <a:moveTo>
                    <a:pt x="402" y="959"/>
                  </a:moveTo>
                  <a:lnTo>
                    <a:pt x="385" y="970"/>
                  </a:lnTo>
                  <a:lnTo>
                    <a:pt x="397" y="954"/>
                  </a:lnTo>
                  <a:lnTo>
                    <a:pt x="402" y="959"/>
                  </a:lnTo>
                  <a:lnTo>
                    <a:pt x="402" y="959"/>
                  </a:lnTo>
                  <a:lnTo>
                    <a:pt x="402" y="959"/>
                  </a:lnTo>
                  <a:close/>
                  <a:moveTo>
                    <a:pt x="657" y="954"/>
                  </a:moveTo>
                  <a:lnTo>
                    <a:pt x="666" y="959"/>
                  </a:lnTo>
                  <a:lnTo>
                    <a:pt x="657" y="959"/>
                  </a:lnTo>
                  <a:lnTo>
                    <a:pt x="657" y="954"/>
                  </a:lnTo>
                  <a:lnTo>
                    <a:pt x="657" y="954"/>
                  </a:lnTo>
                  <a:lnTo>
                    <a:pt x="657" y="954"/>
                  </a:lnTo>
                  <a:close/>
                  <a:moveTo>
                    <a:pt x="628" y="959"/>
                  </a:moveTo>
                  <a:lnTo>
                    <a:pt x="619" y="970"/>
                  </a:lnTo>
                  <a:lnTo>
                    <a:pt x="619" y="959"/>
                  </a:lnTo>
                  <a:lnTo>
                    <a:pt x="628" y="959"/>
                  </a:lnTo>
                  <a:lnTo>
                    <a:pt x="628" y="959"/>
                  </a:lnTo>
                  <a:lnTo>
                    <a:pt x="628" y="959"/>
                  </a:lnTo>
                  <a:close/>
                  <a:moveTo>
                    <a:pt x="628" y="970"/>
                  </a:moveTo>
                  <a:lnTo>
                    <a:pt x="628" y="975"/>
                  </a:lnTo>
                  <a:lnTo>
                    <a:pt x="619" y="970"/>
                  </a:lnTo>
                  <a:lnTo>
                    <a:pt x="628" y="970"/>
                  </a:lnTo>
                  <a:lnTo>
                    <a:pt x="628" y="970"/>
                  </a:lnTo>
                  <a:lnTo>
                    <a:pt x="628" y="970"/>
                  </a:lnTo>
                  <a:close/>
                  <a:moveTo>
                    <a:pt x="532" y="1008"/>
                  </a:moveTo>
                  <a:lnTo>
                    <a:pt x="548" y="1013"/>
                  </a:lnTo>
                  <a:lnTo>
                    <a:pt x="557" y="1008"/>
                  </a:lnTo>
                  <a:lnTo>
                    <a:pt x="565" y="1008"/>
                  </a:lnTo>
                  <a:lnTo>
                    <a:pt x="574" y="1025"/>
                  </a:lnTo>
                  <a:lnTo>
                    <a:pt x="557" y="1029"/>
                  </a:lnTo>
                  <a:lnTo>
                    <a:pt x="557" y="1041"/>
                  </a:lnTo>
                  <a:lnTo>
                    <a:pt x="579" y="1041"/>
                  </a:lnTo>
                  <a:lnTo>
                    <a:pt x="574" y="1046"/>
                  </a:lnTo>
                  <a:lnTo>
                    <a:pt x="586" y="1070"/>
                  </a:lnTo>
                  <a:lnTo>
                    <a:pt x="565" y="1098"/>
                  </a:lnTo>
                  <a:lnTo>
                    <a:pt x="541" y="1190"/>
                  </a:lnTo>
                  <a:lnTo>
                    <a:pt x="527" y="1181"/>
                  </a:lnTo>
                  <a:lnTo>
                    <a:pt x="520" y="1190"/>
                  </a:lnTo>
                  <a:lnTo>
                    <a:pt x="527" y="1197"/>
                  </a:lnTo>
                  <a:lnTo>
                    <a:pt x="494" y="1226"/>
                  </a:lnTo>
                  <a:lnTo>
                    <a:pt x="503" y="1190"/>
                  </a:lnTo>
                  <a:lnTo>
                    <a:pt x="489" y="1174"/>
                  </a:lnTo>
                  <a:lnTo>
                    <a:pt x="503" y="1174"/>
                  </a:lnTo>
                  <a:lnTo>
                    <a:pt x="503" y="1169"/>
                  </a:lnTo>
                  <a:lnTo>
                    <a:pt x="494" y="1157"/>
                  </a:lnTo>
                  <a:lnTo>
                    <a:pt x="489" y="1174"/>
                  </a:lnTo>
                  <a:lnTo>
                    <a:pt x="494" y="1209"/>
                  </a:lnTo>
                  <a:lnTo>
                    <a:pt x="465" y="1197"/>
                  </a:lnTo>
                  <a:lnTo>
                    <a:pt x="472" y="1169"/>
                  </a:lnTo>
                  <a:lnTo>
                    <a:pt x="456" y="1157"/>
                  </a:lnTo>
                  <a:lnTo>
                    <a:pt x="456" y="1136"/>
                  </a:lnTo>
                  <a:lnTo>
                    <a:pt x="489" y="1103"/>
                  </a:lnTo>
                  <a:lnTo>
                    <a:pt x="489" y="1086"/>
                  </a:lnTo>
                  <a:lnTo>
                    <a:pt x="477" y="1086"/>
                  </a:lnTo>
                  <a:lnTo>
                    <a:pt x="489" y="1081"/>
                  </a:lnTo>
                  <a:lnTo>
                    <a:pt x="477" y="1065"/>
                  </a:lnTo>
                  <a:lnTo>
                    <a:pt x="477" y="1058"/>
                  </a:lnTo>
                  <a:lnTo>
                    <a:pt x="465" y="1046"/>
                  </a:lnTo>
                  <a:lnTo>
                    <a:pt x="456" y="1046"/>
                  </a:lnTo>
                  <a:lnTo>
                    <a:pt x="465" y="1065"/>
                  </a:lnTo>
                  <a:lnTo>
                    <a:pt x="456" y="1070"/>
                  </a:lnTo>
                  <a:lnTo>
                    <a:pt x="472" y="1070"/>
                  </a:lnTo>
                  <a:lnTo>
                    <a:pt x="472" y="1086"/>
                  </a:lnTo>
                  <a:lnTo>
                    <a:pt x="456" y="1098"/>
                  </a:lnTo>
                  <a:lnTo>
                    <a:pt x="456" y="1086"/>
                  </a:lnTo>
                  <a:lnTo>
                    <a:pt x="465" y="1081"/>
                  </a:lnTo>
                  <a:lnTo>
                    <a:pt x="456" y="1081"/>
                  </a:lnTo>
                  <a:lnTo>
                    <a:pt x="435" y="1098"/>
                  </a:lnTo>
                  <a:lnTo>
                    <a:pt x="439" y="1081"/>
                  </a:lnTo>
                  <a:lnTo>
                    <a:pt x="423" y="1070"/>
                  </a:lnTo>
                  <a:lnTo>
                    <a:pt x="423" y="1058"/>
                  </a:lnTo>
                  <a:lnTo>
                    <a:pt x="435" y="1065"/>
                  </a:lnTo>
                  <a:lnTo>
                    <a:pt x="435" y="1070"/>
                  </a:lnTo>
                  <a:lnTo>
                    <a:pt x="451" y="1070"/>
                  </a:lnTo>
                  <a:lnTo>
                    <a:pt x="439" y="1058"/>
                  </a:lnTo>
                  <a:lnTo>
                    <a:pt x="418" y="1041"/>
                  </a:lnTo>
                  <a:lnTo>
                    <a:pt x="418" y="1029"/>
                  </a:lnTo>
                  <a:lnTo>
                    <a:pt x="435" y="1029"/>
                  </a:lnTo>
                  <a:lnTo>
                    <a:pt x="439" y="1013"/>
                  </a:lnTo>
                  <a:lnTo>
                    <a:pt x="451" y="1025"/>
                  </a:lnTo>
                  <a:lnTo>
                    <a:pt x="465" y="1008"/>
                  </a:lnTo>
                  <a:lnTo>
                    <a:pt x="472" y="1008"/>
                  </a:lnTo>
                  <a:lnTo>
                    <a:pt x="477" y="992"/>
                  </a:lnTo>
                  <a:lnTo>
                    <a:pt x="494" y="987"/>
                  </a:lnTo>
                  <a:lnTo>
                    <a:pt x="520" y="987"/>
                  </a:lnTo>
                  <a:lnTo>
                    <a:pt x="527" y="1008"/>
                  </a:lnTo>
                  <a:lnTo>
                    <a:pt x="532" y="1008"/>
                  </a:lnTo>
                  <a:lnTo>
                    <a:pt x="532" y="1008"/>
                  </a:lnTo>
                  <a:lnTo>
                    <a:pt x="532" y="1008"/>
                  </a:lnTo>
                  <a:close/>
                  <a:moveTo>
                    <a:pt x="423" y="1004"/>
                  </a:moveTo>
                  <a:lnTo>
                    <a:pt x="423" y="1004"/>
                  </a:lnTo>
                  <a:lnTo>
                    <a:pt x="423" y="992"/>
                  </a:lnTo>
                  <a:lnTo>
                    <a:pt x="435" y="1004"/>
                  </a:lnTo>
                  <a:lnTo>
                    <a:pt x="423" y="1004"/>
                  </a:lnTo>
                  <a:lnTo>
                    <a:pt x="423" y="1004"/>
                  </a:lnTo>
                  <a:lnTo>
                    <a:pt x="423" y="1004"/>
                  </a:lnTo>
                  <a:close/>
                  <a:moveTo>
                    <a:pt x="418" y="1029"/>
                  </a:moveTo>
                  <a:lnTo>
                    <a:pt x="402" y="1046"/>
                  </a:lnTo>
                  <a:lnTo>
                    <a:pt x="418" y="1025"/>
                  </a:lnTo>
                  <a:lnTo>
                    <a:pt x="418" y="1029"/>
                  </a:lnTo>
                  <a:lnTo>
                    <a:pt x="418" y="1029"/>
                  </a:lnTo>
                  <a:lnTo>
                    <a:pt x="418" y="1029"/>
                  </a:lnTo>
                  <a:close/>
                  <a:moveTo>
                    <a:pt x="385" y="1058"/>
                  </a:moveTo>
                  <a:lnTo>
                    <a:pt x="385" y="1065"/>
                  </a:lnTo>
                  <a:lnTo>
                    <a:pt x="385" y="1065"/>
                  </a:lnTo>
                  <a:lnTo>
                    <a:pt x="380" y="1070"/>
                  </a:lnTo>
                  <a:lnTo>
                    <a:pt x="380" y="1065"/>
                  </a:lnTo>
                  <a:lnTo>
                    <a:pt x="385" y="1046"/>
                  </a:lnTo>
                  <a:lnTo>
                    <a:pt x="385" y="1058"/>
                  </a:lnTo>
                  <a:lnTo>
                    <a:pt x="385" y="1058"/>
                  </a:lnTo>
                  <a:lnTo>
                    <a:pt x="385" y="1058"/>
                  </a:lnTo>
                  <a:close/>
                  <a:moveTo>
                    <a:pt x="359" y="1081"/>
                  </a:moveTo>
                  <a:lnTo>
                    <a:pt x="359" y="1081"/>
                  </a:lnTo>
                  <a:lnTo>
                    <a:pt x="364" y="1081"/>
                  </a:lnTo>
                  <a:lnTo>
                    <a:pt x="369" y="1086"/>
                  </a:lnTo>
                  <a:lnTo>
                    <a:pt x="347" y="1086"/>
                  </a:lnTo>
                  <a:lnTo>
                    <a:pt x="359" y="1081"/>
                  </a:lnTo>
                  <a:lnTo>
                    <a:pt x="359" y="1081"/>
                  </a:lnTo>
                  <a:lnTo>
                    <a:pt x="359" y="1081"/>
                  </a:lnTo>
                  <a:close/>
                  <a:moveTo>
                    <a:pt x="451" y="1124"/>
                  </a:moveTo>
                  <a:lnTo>
                    <a:pt x="451" y="1103"/>
                  </a:lnTo>
                  <a:lnTo>
                    <a:pt x="456" y="1098"/>
                  </a:lnTo>
                  <a:lnTo>
                    <a:pt x="465" y="1115"/>
                  </a:lnTo>
                  <a:lnTo>
                    <a:pt x="451" y="1124"/>
                  </a:lnTo>
                  <a:lnTo>
                    <a:pt x="451" y="1124"/>
                  </a:lnTo>
                  <a:lnTo>
                    <a:pt x="451" y="1124"/>
                  </a:lnTo>
                  <a:close/>
                  <a:moveTo>
                    <a:pt x="465" y="1103"/>
                  </a:moveTo>
                  <a:lnTo>
                    <a:pt x="477" y="1098"/>
                  </a:lnTo>
                  <a:lnTo>
                    <a:pt x="472" y="1115"/>
                  </a:lnTo>
                  <a:lnTo>
                    <a:pt x="465" y="1103"/>
                  </a:lnTo>
                  <a:lnTo>
                    <a:pt x="465" y="1103"/>
                  </a:lnTo>
                  <a:lnTo>
                    <a:pt x="465" y="1103"/>
                  </a:lnTo>
                  <a:close/>
                  <a:moveTo>
                    <a:pt x="456" y="1124"/>
                  </a:moveTo>
                  <a:lnTo>
                    <a:pt x="465" y="1124"/>
                  </a:lnTo>
                  <a:lnTo>
                    <a:pt x="456" y="1124"/>
                  </a:lnTo>
                  <a:lnTo>
                    <a:pt x="456" y="1124"/>
                  </a:lnTo>
                  <a:lnTo>
                    <a:pt x="456" y="1124"/>
                  </a:lnTo>
                  <a:lnTo>
                    <a:pt x="456" y="1124"/>
                  </a:lnTo>
                  <a:close/>
                  <a:moveTo>
                    <a:pt x="423" y="1169"/>
                  </a:moveTo>
                  <a:lnTo>
                    <a:pt x="435" y="1157"/>
                  </a:lnTo>
                  <a:lnTo>
                    <a:pt x="423" y="1169"/>
                  </a:lnTo>
                  <a:lnTo>
                    <a:pt x="423" y="1169"/>
                  </a:lnTo>
                  <a:lnTo>
                    <a:pt x="423" y="1169"/>
                  </a:lnTo>
                  <a:lnTo>
                    <a:pt x="423" y="1169"/>
                  </a:lnTo>
                  <a:close/>
                  <a:moveTo>
                    <a:pt x="527" y="1230"/>
                  </a:moveTo>
                  <a:lnTo>
                    <a:pt x="520" y="1268"/>
                  </a:lnTo>
                  <a:lnTo>
                    <a:pt x="510" y="1268"/>
                  </a:lnTo>
                  <a:lnTo>
                    <a:pt x="510" y="1247"/>
                  </a:lnTo>
                  <a:lnTo>
                    <a:pt x="527" y="1230"/>
                  </a:lnTo>
                  <a:lnTo>
                    <a:pt x="527" y="1230"/>
                  </a:lnTo>
                  <a:lnTo>
                    <a:pt x="527" y="1230"/>
                  </a:lnTo>
                  <a:close/>
                  <a:moveTo>
                    <a:pt x="489" y="1263"/>
                  </a:moveTo>
                  <a:lnTo>
                    <a:pt x="494" y="1268"/>
                  </a:lnTo>
                  <a:lnTo>
                    <a:pt x="489" y="1280"/>
                  </a:lnTo>
                  <a:lnTo>
                    <a:pt x="477" y="1280"/>
                  </a:lnTo>
                  <a:lnTo>
                    <a:pt x="472" y="1268"/>
                  </a:lnTo>
                  <a:lnTo>
                    <a:pt x="489" y="1263"/>
                  </a:lnTo>
                  <a:lnTo>
                    <a:pt x="489" y="1263"/>
                  </a:lnTo>
                  <a:lnTo>
                    <a:pt x="489" y="1263"/>
                  </a:lnTo>
                  <a:close/>
                  <a:moveTo>
                    <a:pt x="423" y="1412"/>
                  </a:moveTo>
                  <a:lnTo>
                    <a:pt x="423" y="1419"/>
                  </a:lnTo>
                  <a:lnTo>
                    <a:pt x="402" y="1445"/>
                  </a:lnTo>
                  <a:lnTo>
                    <a:pt x="385" y="1436"/>
                  </a:lnTo>
                  <a:lnTo>
                    <a:pt x="423" y="1412"/>
                  </a:lnTo>
                  <a:lnTo>
                    <a:pt x="423" y="1412"/>
                  </a:lnTo>
                  <a:lnTo>
                    <a:pt x="423" y="1412"/>
                  </a:lnTo>
                  <a:close/>
                  <a:moveTo>
                    <a:pt x="397" y="1436"/>
                  </a:moveTo>
                  <a:lnTo>
                    <a:pt x="402" y="1445"/>
                  </a:lnTo>
                  <a:lnTo>
                    <a:pt x="397" y="1445"/>
                  </a:lnTo>
                  <a:lnTo>
                    <a:pt x="397" y="1436"/>
                  </a:lnTo>
                  <a:lnTo>
                    <a:pt x="397" y="1436"/>
                  </a:lnTo>
                  <a:lnTo>
                    <a:pt x="397" y="1436"/>
                  </a:lnTo>
                  <a:close/>
                  <a:moveTo>
                    <a:pt x="369" y="1457"/>
                  </a:moveTo>
                  <a:lnTo>
                    <a:pt x="380" y="1474"/>
                  </a:lnTo>
                  <a:lnTo>
                    <a:pt x="369" y="1485"/>
                  </a:lnTo>
                  <a:lnTo>
                    <a:pt x="369" y="1469"/>
                  </a:lnTo>
                  <a:lnTo>
                    <a:pt x="369" y="1457"/>
                  </a:lnTo>
                  <a:lnTo>
                    <a:pt x="369" y="1457"/>
                  </a:lnTo>
                  <a:lnTo>
                    <a:pt x="369" y="1457"/>
                  </a:lnTo>
                  <a:close/>
                  <a:moveTo>
                    <a:pt x="347" y="1502"/>
                  </a:moveTo>
                  <a:lnTo>
                    <a:pt x="359" y="1502"/>
                  </a:lnTo>
                  <a:lnTo>
                    <a:pt x="347" y="1507"/>
                  </a:lnTo>
                  <a:lnTo>
                    <a:pt x="347" y="1502"/>
                  </a:lnTo>
                  <a:lnTo>
                    <a:pt x="347" y="1502"/>
                  </a:lnTo>
                  <a:lnTo>
                    <a:pt x="347" y="1502"/>
                  </a:lnTo>
                  <a:close/>
                  <a:moveTo>
                    <a:pt x="326" y="1547"/>
                  </a:moveTo>
                  <a:lnTo>
                    <a:pt x="331" y="1547"/>
                  </a:lnTo>
                  <a:lnTo>
                    <a:pt x="326" y="1556"/>
                  </a:lnTo>
                  <a:lnTo>
                    <a:pt x="293" y="1580"/>
                  </a:lnTo>
                  <a:lnTo>
                    <a:pt x="293" y="1596"/>
                  </a:lnTo>
                  <a:lnTo>
                    <a:pt x="288" y="1601"/>
                  </a:lnTo>
                  <a:lnTo>
                    <a:pt x="288" y="1580"/>
                  </a:lnTo>
                  <a:lnTo>
                    <a:pt x="305" y="1568"/>
                  </a:lnTo>
                  <a:lnTo>
                    <a:pt x="305" y="1556"/>
                  </a:lnTo>
                  <a:lnTo>
                    <a:pt x="309" y="1563"/>
                  </a:lnTo>
                  <a:lnTo>
                    <a:pt x="326" y="1547"/>
                  </a:lnTo>
                  <a:lnTo>
                    <a:pt x="326" y="1547"/>
                  </a:lnTo>
                  <a:lnTo>
                    <a:pt x="326" y="1547"/>
                  </a:lnTo>
                  <a:close/>
                  <a:moveTo>
                    <a:pt x="217" y="1580"/>
                  </a:moveTo>
                  <a:lnTo>
                    <a:pt x="222" y="1585"/>
                  </a:lnTo>
                  <a:lnTo>
                    <a:pt x="217" y="1580"/>
                  </a:lnTo>
                  <a:lnTo>
                    <a:pt x="217" y="1580"/>
                  </a:lnTo>
                  <a:lnTo>
                    <a:pt x="217" y="1580"/>
                  </a:lnTo>
                  <a:lnTo>
                    <a:pt x="217" y="1580"/>
                  </a:lnTo>
                  <a:close/>
                  <a:moveTo>
                    <a:pt x="116" y="1696"/>
                  </a:moveTo>
                  <a:lnTo>
                    <a:pt x="125" y="1707"/>
                  </a:lnTo>
                  <a:lnTo>
                    <a:pt x="116" y="1707"/>
                  </a:lnTo>
                  <a:lnTo>
                    <a:pt x="116" y="1696"/>
                  </a:lnTo>
                  <a:lnTo>
                    <a:pt x="116" y="1696"/>
                  </a:lnTo>
                  <a:lnTo>
                    <a:pt x="116" y="1696"/>
                  </a:lnTo>
                  <a:close/>
                  <a:moveTo>
                    <a:pt x="33" y="1729"/>
                  </a:moveTo>
                  <a:lnTo>
                    <a:pt x="40" y="1729"/>
                  </a:lnTo>
                  <a:lnTo>
                    <a:pt x="45" y="1724"/>
                  </a:lnTo>
                  <a:lnTo>
                    <a:pt x="40" y="1736"/>
                  </a:lnTo>
                  <a:lnTo>
                    <a:pt x="33" y="1736"/>
                  </a:lnTo>
                  <a:lnTo>
                    <a:pt x="33" y="1729"/>
                  </a:lnTo>
                  <a:lnTo>
                    <a:pt x="33" y="1729"/>
                  </a:lnTo>
                  <a:lnTo>
                    <a:pt x="33" y="1729"/>
                  </a:lnTo>
                  <a:close/>
                  <a:moveTo>
                    <a:pt x="7" y="1729"/>
                  </a:moveTo>
                  <a:lnTo>
                    <a:pt x="24" y="1736"/>
                  </a:lnTo>
                  <a:lnTo>
                    <a:pt x="17" y="1745"/>
                  </a:lnTo>
                  <a:lnTo>
                    <a:pt x="0" y="1736"/>
                  </a:lnTo>
                  <a:lnTo>
                    <a:pt x="7" y="1729"/>
                  </a:lnTo>
                  <a:lnTo>
                    <a:pt x="7" y="1729"/>
                  </a:lnTo>
                  <a:lnTo>
                    <a:pt x="7" y="172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7" name="Freeform 477">
              <a:extLst>
                <a:ext uri="{FF2B5EF4-FFF2-40B4-BE49-F238E27FC236}">
                  <a16:creationId xmlns:a16="http://schemas.microsoft.com/office/drawing/2014/main" id="{3CD9A3AB-3572-4C95-8C0E-118DFC9E4A38}"/>
                </a:ext>
              </a:extLst>
            </p:cNvPr>
            <p:cNvSpPr>
              <a:spLocks/>
            </p:cNvSpPr>
            <p:nvPr/>
          </p:nvSpPr>
          <p:spPr bwMode="gray">
            <a:xfrm>
              <a:off x="13693435" y="2848750"/>
              <a:ext cx="5237" cy="3273"/>
            </a:xfrm>
            <a:custGeom>
              <a:avLst/>
              <a:gdLst>
                <a:gd name="T0" fmla="*/ 9 w 16"/>
                <a:gd name="T1" fmla="*/ 10 h 10"/>
                <a:gd name="T2" fmla="*/ 0 w 16"/>
                <a:gd name="T3" fmla="*/ 0 h 10"/>
                <a:gd name="T4" fmla="*/ 16 w 16"/>
                <a:gd name="T5" fmla="*/ 0 h 10"/>
                <a:gd name="T6" fmla="*/ 9 w 16"/>
                <a:gd name="T7" fmla="*/ 10 h 10"/>
                <a:gd name="T8" fmla="*/ 9 w 16"/>
                <a:gd name="T9" fmla="*/ 10 h 10"/>
                <a:gd name="T10" fmla="*/ 9 w 16"/>
                <a:gd name="T11" fmla="*/ 10 h 10"/>
              </a:gdLst>
              <a:ahLst/>
              <a:cxnLst>
                <a:cxn ang="0">
                  <a:pos x="T0" y="T1"/>
                </a:cxn>
                <a:cxn ang="0">
                  <a:pos x="T2" y="T3"/>
                </a:cxn>
                <a:cxn ang="0">
                  <a:pos x="T4" y="T5"/>
                </a:cxn>
                <a:cxn ang="0">
                  <a:pos x="T6" y="T7"/>
                </a:cxn>
                <a:cxn ang="0">
                  <a:pos x="T8" y="T9"/>
                </a:cxn>
                <a:cxn ang="0">
                  <a:pos x="T10" y="T11"/>
                </a:cxn>
              </a:cxnLst>
              <a:rect l="0" t="0" r="r" b="b"/>
              <a:pathLst>
                <a:path w="16" h="10">
                  <a:moveTo>
                    <a:pt x="9" y="10"/>
                  </a:moveTo>
                  <a:lnTo>
                    <a:pt x="0" y="0"/>
                  </a:lnTo>
                  <a:lnTo>
                    <a:pt x="16" y="0"/>
                  </a:lnTo>
                  <a:lnTo>
                    <a:pt x="9" y="10"/>
                  </a:lnTo>
                  <a:lnTo>
                    <a:pt x="9" y="10"/>
                  </a:lnTo>
                  <a:lnTo>
                    <a:pt x="9"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8" name="Freeform 478">
              <a:extLst>
                <a:ext uri="{FF2B5EF4-FFF2-40B4-BE49-F238E27FC236}">
                  <a16:creationId xmlns:a16="http://schemas.microsoft.com/office/drawing/2014/main" id="{9A2D7071-77BD-4022-8A74-3528B6EF4866}"/>
                </a:ext>
              </a:extLst>
            </p:cNvPr>
            <p:cNvSpPr>
              <a:spLocks/>
            </p:cNvSpPr>
            <p:nvPr/>
          </p:nvSpPr>
          <p:spPr bwMode="gray">
            <a:xfrm>
              <a:off x="11945998" y="3672228"/>
              <a:ext cx="47458" cy="20947"/>
            </a:xfrm>
            <a:custGeom>
              <a:avLst/>
              <a:gdLst>
                <a:gd name="T0" fmla="*/ 119 w 145"/>
                <a:gd name="T1" fmla="*/ 47 h 64"/>
                <a:gd name="T2" fmla="*/ 102 w 145"/>
                <a:gd name="T3" fmla="*/ 38 h 64"/>
                <a:gd name="T4" fmla="*/ 93 w 145"/>
                <a:gd name="T5" fmla="*/ 54 h 64"/>
                <a:gd name="T6" fmla="*/ 85 w 145"/>
                <a:gd name="T7" fmla="*/ 47 h 64"/>
                <a:gd name="T8" fmla="*/ 81 w 145"/>
                <a:gd name="T9" fmla="*/ 64 h 64"/>
                <a:gd name="T10" fmla="*/ 64 w 145"/>
                <a:gd name="T11" fmla="*/ 54 h 64"/>
                <a:gd name="T12" fmla="*/ 38 w 145"/>
                <a:gd name="T13" fmla="*/ 54 h 64"/>
                <a:gd name="T14" fmla="*/ 17 w 145"/>
                <a:gd name="T15" fmla="*/ 21 h 64"/>
                <a:gd name="T16" fmla="*/ 0 w 145"/>
                <a:gd name="T17" fmla="*/ 21 h 64"/>
                <a:gd name="T18" fmla="*/ 10 w 145"/>
                <a:gd name="T19" fmla="*/ 10 h 64"/>
                <a:gd name="T20" fmla="*/ 31 w 145"/>
                <a:gd name="T21" fmla="*/ 0 h 64"/>
                <a:gd name="T22" fmla="*/ 81 w 145"/>
                <a:gd name="T23" fmla="*/ 10 h 64"/>
                <a:gd name="T24" fmla="*/ 140 w 145"/>
                <a:gd name="T25" fmla="*/ 33 h 64"/>
                <a:gd name="T26" fmla="*/ 145 w 145"/>
                <a:gd name="T27" fmla="*/ 47 h 64"/>
                <a:gd name="T28" fmla="*/ 123 w 145"/>
                <a:gd name="T29" fmla="*/ 54 h 64"/>
                <a:gd name="T30" fmla="*/ 119 w 145"/>
                <a:gd name="T31" fmla="*/ 47 h 64"/>
                <a:gd name="T32" fmla="*/ 119 w 145"/>
                <a:gd name="T33" fmla="*/ 47 h 64"/>
                <a:gd name="T34" fmla="*/ 119 w 145"/>
                <a:gd name="T35"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5" h="64">
                  <a:moveTo>
                    <a:pt x="119" y="47"/>
                  </a:moveTo>
                  <a:lnTo>
                    <a:pt x="102" y="38"/>
                  </a:lnTo>
                  <a:lnTo>
                    <a:pt x="93" y="54"/>
                  </a:lnTo>
                  <a:lnTo>
                    <a:pt x="85" y="47"/>
                  </a:lnTo>
                  <a:lnTo>
                    <a:pt x="81" y="64"/>
                  </a:lnTo>
                  <a:lnTo>
                    <a:pt x="64" y="54"/>
                  </a:lnTo>
                  <a:lnTo>
                    <a:pt x="38" y="54"/>
                  </a:lnTo>
                  <a:lnTo>
                    <a:pt x="17" y="21"/>
                  </a:lnTo>
                  <a:lnTo>
                    <a:pt x="0" y="21"/>
                  </a:lnTo>
                  <a:lnTo>
                    <a:pt x="10" y="10"/>
                  </a:lnTo>
                  <a:lnTo>
                    <a:pt x="31" y="0"/>
                  </a:lnTo>
                  <a:lnTo>
                    <a:pt x="81" y="10"/>
                  </a:lnTo>
                  <a:lnTo>
                    <a:pt x="140" y="33"/>
                  </a:lnTo>
                  <a:lnTo>
                    <a:pt x="145" y="47"/>
                  </a:lnTo>
                  <a:lnTo>
                    <a:pt x="123" y="54"/>
                  </a:lnTo>
                  <a:lnTo>
                    <a:pt x="119" y="47"/>
                  </a:lnTo>
                  <a:lnTo>
                    <a:pt x="119" y="47"/>
                  </a:lnTo>
                  <a:lnTo>
                    <a:pt x="119" y="4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9" name="Freeform 479">
              <a:extLst>
                <a:ext uri="{FF2B5EF4-FFF2-40B4-BE49-F238E27FC236}">
                  <a16:creationId xmlns:a16="http://schemas.microsoft.com/office/drawing/2014/main" id="{8965764F-1113-426F-9DED-7688209EDE18}"/>
                </a:ext>
              </a:extLst>
            </p:cNvPr>
            <p:cNvSpPr>
              <a:spLocks/>
            </p:cNvSpPr>
            <p:nvPr/>
          </p:nvSpPr>
          <p:spPr bwMode="gray">
            <a:xfrm>
              <a:off x="13534041" y="2064220"/>
              <a:ext cx="28802" cy="15383"/>
            </a:xfrm>
            <a:custGeom>
              <a:avLst/>
              <a:gdLst>
                <a:gd name="T0" fmla="*/ 12 w 88"/>
                <a:gd name="T1" fmla="*/ 47 h 47"/>
                <a:gd name="T2" fmla="*/ 0 w 88"/>
                <a:gd name="T3" fmla="*/ 35 h 47"/>
                <a:gd name="T4" fmla="*/ 50 w 88"/>
                <a:gd name="T5" fmla="*/ 14 h 47"/>
                <a:gd name="T6" fmla="*/ 55 w 88"/>
                <a:gd name="T7" fmla="*/ 0 h 47"/>
                <a:gd name="T8" fmla="*/ 88 w 88"/>
                <a:gd name="T9" fmla="*/ 0 h 47"/>
                <a:gd name="T10" fmla="*/ 76 w 88"/>
                <a:gd name="T11" fmla="*/ 14 h 47"/>
                <a:gd name="T12" fmla="*/ 38 w 88"/>
                <a:gd name="T13" fmla="*/ 21 h 47"/>
                <a:gd name="T14" fmla="*/ 12 w 88"/>
                <a:gd name="T15" fmla="*/ 47 h 47"/>
                <a:gd name="T16" fmla="*/ 12 w 88"/>
                <a:gd name="T17" fmla="*/ 47 h 47"/>
                <a:gd name="T18" fmla="*/ 12 w 88"/>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47">
                  <a:moveTo>
                    <a:pt x="12" y="47"/>
                  </a:moveTo>
                  <a:lnTo>
                    <a:pt x="0" y="35"/>
                  </a:lnTo>
                  <a:lnTo>
                    <a:pt x="50" y="14"/>
                  </a:lnTo>
                  <a:lnTo>
                    <a:pt x="55" y="0"/>
                  </a:lnTo>
                  <a:lnTo>
                    <a:pt x="88" y="0"/>
                  </a:lnTo>
                  <a:lnTo>
                    <a:pt x="76" y="14"/>
                  </a:lnTo>
                  <a:lnTo>
                    <a:pt x="38" y="21"/>
                  </a:lnTo>
                  <a:lnTo>
                    <a:pt x="12" y="47"/>
                  </a:lnTo>
                  <a:lnTo>
                    <a:pt x="12" y="47"/>
                  </a:lnTo>
                  <a:lnTo>
                    <a:pt x="12" y="4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0" name="Freeform 480">
              <a:extLst>
                <a:ext uri="{FF2B5EF4-FFF2-40B4-BE49-F238E27FC236}">
                  <a16:creationId xmlns:a16="http://schemas.microsoft.com/office/drawing/2014/main" id="{8B3214CD-1556-483C-81D9-DC743C555E41}"/>
                </a:ext>
              </a:extLst>
            </p:cNvPr>
            <p:cNvSpPr>
              <a:spLocks/>
            </p:cNvSpPr>
            <p:nvPr/>
          </p:nvSpPr>
          <p:spPr bwMode="gray">
            <a:xfrm>
              <a:off x="14547024" y="3297146"/>
              <a:ext cx="98189" cy="109972"/>
            </a:xfrm>
            <a:custGeom>
              <a:avLst/>
              <a:gdLst>
                <a:gd name="T0" fmla="*/ 38 w 300"/>
                <a:gd name="T1" fmla="*/ 152 h 336"/>
                <a:gd name="T2" fmla="*/ 38 w 300"/>
                <a:gd name="T3" fmla="*/ 90 h 336"/>
                <a:gd name="T4" fmla="*/ 38 w 300"/>
                <a:gd name="T5" fmla="*/ 83 h 336"/>
                <a:gd name="T6" fmla="*/ 38 w 300"/>
                <a:gd name="T7" fmla="*/ 55 h 336"/>
                <a:gd name="T8" fmla="*/ 49 w 300"/>
                <a:gd name="T9" fmla="*/ 55 h 336"/>
                <a:gd name="T10" fmla="*/ 71 w 300"/>
                <a:gd name="T11" fmla="*/ 50 h 336"/>
                <a:gd name="T12" fmla="*/ 75 w 300"/>
                <a:gd name="T13" fmla="*/ 67 h 336"/>
                <a:gd name="T14" fmla="*/ 101 w 300"/>
                <a:gd name="T15" fmla="*/ 83 h 336"/>
                <a:gd name="T16" fmla="*/ 130 w 300"/>
                <a:gd name="T17" fmla="*/ 83 h 336"/>
                <a:gd name="T18" fmla="*/ 269 w 300"/>
                <a:gd name="T19" fmla="*/ 0 h 336"/>
                <a:gd name="T20" fmla="*/ 283 w 300"/>
                <a:gd name="T21" fmla="*/ 67 h 336"/>
                <a:gd name="T22" fmla="*/ 279 w 300"/>
                <a:gd name="T23" fmla="*/ 74 h 336"/>
                <a:gd name="T24" fmla="*/ 283 w 300"/>
                <a:gd name="T25" fmla="*/ 83 h 336"/>
                <a:gd name="T26" fmla="*/ 300 w 300"/>
                <a:gd name="T27" fmla="*/ 83 h 336"/>
                <a:gd name="T28" fmla="*/ 300 w 300"/>
                <a:gd name="T29" fmla="*/ 90 h 336"/>
                <a:gd name="T30" fmla="*/ 290 w 300"/>
                <a:gd name="T31" fmla="*/ 95 h 336"/>
                <a:gd name="T32" fmla="*/ 283 w 300"/>
                <a:gd name="T33" fmla="*/ 107 h 336"/>
                <a:gd name="T34" fmla="*/ 139 w 300"/>
                <a:gd name="T35" fmla="*/ 145 h 336"/>
                <a:gd name="T36" fmla="*/ 210 w 300"/>
                <a:gd name="T37" fmla="*/ 234 h 336"/>
                <a:gd name="T38" fmla="*/ 182 w 300"/>
                <a:gd name="T39" fmla="*/ 239 h 336"/>
                <a:gd name="T40" fmla="*/ 177 w 300"/>
                <a:gd name="T41" fmla="*/ 274 h 336"/>
                <a:gd name="T42" fmla="*/ 123 w 300"/>
                <a:gd name="T43" fmla="*/ 279 h 336"/>
                <a:gd name="T44" fmla="*/ 108 w 300"/>
                <a:gd name="T45" fmla="*/ 312 h 336"/>
                <a:gd name="T46" fmla="*/ 75 w 300"/>
                <a:gd name="T47" fmla="*/ 336 h 336"/>
                <a:gd name="T48" fmla="*/ 0 w 300"/>
                <a:gd name="T49" fmla="*/ 317 h 336"/>
                <a:gd name="T50" fmla="*/ 0 w 300"/>
                <a:gd name="T51" fmla="*/ 308 h 336"/>
                <a:gd name="T52" fmla="*/ 16 w 300"/>
                <a:gd name="T53" fmla="*/ 256 h 336"/>
                <a:gd name="T54" fmla="*/ 16 w 300"/>
                <a:gd name="T55" fmla="*/ 234 h 336"/>
                <a:gd name="T56" fmla="*/ 33 w 300"/>
                <a:gd name="T57" fmla="*/ 178 h 336"/>
                <a:gd name="T58" fmla="*/ 33 w 300"/>
                <a:gd name="T59" fmla="*/ 168 h 336"/>
                <a:gd name="T60" fmla="*/ 38 w 300"/>
                <a:gd name="T61" fmla="*/ 152 h 336"/>
                <a:gd name="T62" fmla="*/ 38 w 300"/>
                <a:gd name="T63" fmla="*/ 152 h 336"/>
                <a:gd name="T64" fmla="*/ 38 w 300"/>
                <a:gd name="T65" fmla="*/ 15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336">
                  <a:moveTo>
                    <a:pt x="38" y="152"/>
                  </a:moveTo>
                  <a:lnTo>
                    <a:pt x="38" y="90"/>
                  </a:lnTo>
                  <a:lnTo>
                    <a:pt x="38" y="83"/>
                  </a:lnTo>
                  <a:lnTo>
                    <a:pt x="38" y="55"/>
                  </a:lnTo>
                  <a:lnTo>
                    <a:pt x="49" y="55"/>
                  </a:lnTo>
                  <a:lnTo>
                    <a:pt x="71" y="50"/>
                  </a:lnTo>
                  <a:lnTo>
                    <a:pt x="75" y="67"/>
                  </a:lnTo>
                  <a:lnTo>
                    <a:pt x="101" y="83"/>
                  </a:lnTo>
                  <a:lnTo>
                    <a:pt x="130" y="83"/>
                  </a:lnTo>
                  <a:lnTo>
                    <a:pt x="269" y="0"/>
                  </a:lnTo>
                  <a:lnTo>
                    <a:pt x="283" y="67"/>
                  </a:lnTo>
                  <a:lnTo>
                    <a:pt x="279" y="74"/>
                  </a:lnTo>
                  <a:lnTo>
                    <a:pt x="283" y="83"/>
                  </a:lnTo>
                  <a:lnTo>
                    <a:pt x="300" y="83"/>
                  </a:lnTo>
                  <a:lnTo>
                    <a:pt x="300" y="90"/>
                  </a:lnTo>
                  <a:lnTo>
                    <a:pt x="290" y="95"/>
                  </a:lnTo>
                  <a:lnTo>
                    <a:pt x="283" y="107"/>
                  </a:lnTo>
                  <a:lnTo>
                    <a:pt x="139" y="145"/>
                  </a:lnTo>
                  <a:lnTo>
                    <a:pt x="210" y="234"/>
                  </a:lnTo>
                  <a:lnTo>
                    <a:pt x="182" y="239"/>
                  </a:lnTo>
                  <a:lnTo>
                    <a:pt x="177" y="274"/>
                  </a:lnTo>
                  <a:lnTo>
                    <a:pt x="123" y="279"/>
                  </a:lnTo>
                  <a:lnTo>
                    <a:pt x="108" y="312"/>
                  </a:lnTo>
                  <a:lnTo>
                    <a:pt x="75" y="336"/>
                  </a:lnTo>
                  <a:lnTo>
                    <a:pt x="0" y="317"/>
                  </a:lnTo>
                  <a:lnTo>
                    <a:pt x="0" y="308"/>
                  </a:lnTo>
                  <a:lnTo>
                    <a:pt x="16" y="256"/>
                  </a:lnTo>
                  <a:lnTo>
                    <a:pt x="16" y="234"/>
                  </a:lnTo>
                  <a:lnTo>
                    <a:pt x="33" y="178"/>
                  </a:lnTo>
                  <a:lnTo>
                    <a:pt x="33" y="168"/>
                  </a:lnTo>
                  <a:lnTo>
                    <a:pt x="38" y="152"/>
                  </a:lnTo>
                  <a:lnTo>
                    <a:pt x="38" y="152"/>
                  </a:lnTo>
                  <a:lnTo>
                    <a:pt x="38" y="15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1" name="Freeform 481">
              <a:extLst>
                <a:ext uri="{FF2B5EF4-FFF2-40B4-BE49-F238E27FC236}">
                  <a16:creationId xmlns:a16="http://schemas.microsoft.com/office/drawing/2014/main" id="{96EACF7D-6D07-485C-A9AA-186015F94B57}"/>
                </a:ext>
              </a:extLst>
            </p:cNvPr>
            <p:cNvSpPr>
              <a:spLocks noEditPoints="1"/>
            </p:cNvSpPr>
            <p:nvPr/>
          </p:nvSpPr>
          <p:spPr bwMode="gray">
            <a:xfrm>
              <a:off x="14521495" y="4004761"/>
              <a:ext cx="183941" cy="220925"/>
            </a:xfrm>
            <a:custGeom>
              <a:avLst/>
              <a:gdLst>
                <a:gd name="T0" fmla="*/ 0 w 562"/>
                <a:gd name="T1" fmla="*/ 408 h 675"/>
                <a:gd name="T2" fmla="*/ 7 w 562"/>
                <a:gd name="T3" fmla="*/ 347 h 675"/>
                <a:gd name="T4" fmla="*/ 0 w 562"/>
                <a:gd name="T5" fmla="*/ 331 h 675"/>
                <a:gd name="T6" fmla="*/ 23 w 562"/>
                <a:gd name="T7" fmla="*/ 290 h 675"/>
                <a:gd name="T8" fmla="*/ 38 w 562"/>
                <a:gd name="T9" fmla="*/ 274 h 675"/>
                <a:gd name="T10" fmla="*/ 45 w 562"/>
                <a:gd name="T11" fmla="*/ 253 h 675"/>
                <a:gd name="T12" fmla="*/ 71 w 562"/>
                <a:gd name="T13" fmla="*/ 241 h 675"/>
                <a:gd name="T14" fmla="*/ 61 w 562"/>
                <a:gd name="T15" fmla="*/ 234 h 675"/>
                <a:gd name="T16" fmla="*/ 75 w 562"/>
                <a:gd name="T17" fmla="*/ 212 h 675"/>
                <a:gd name="T18" fmla="*/ 75 w 562"/>
                <a:gd name="T19" fmla="*/ 196 h 675"/>
                <a:gd name="T20" fmla="*/ 71 w 562"/>
                <a:gd name="T21" fmla="*/ 156 h 675"/>
                <a:gd name="T22" fmla="*/ 61 w 562"/>
                <a:gd name="T23" fmla="*/ 130 h 675"/>
                <a:gd name="T24" fmla="*/ 45 w 562"/>
                <a:gd name="T25" fmla="*/ 123 h 675"/>
                <a:gd name="T26" fmla="*/ 38 w 562"/>
                <a:gd name="T27" fmla="*/ 90 h 675"/>
                <a:gd name="T28" fmla="*/ 38 w 562"/>
                <a:gd name="T29" fmla="*/ 68 h 675"/>
                <a:gd name="T30" fmla="*/ 23 w 562"/>
                <a:gd name="T31" fmla="*/ 57 h 675"/>
                <a:gd name="T32" fmla="*/ 7 w 562"/>
                <a:gd name="T33" fmla="*/ 28 h 675"/>
                <a:gd name="T34" fmla="*/ 38 w 562"/>
                <a:gd name="T35" fmla="*/ 0 h 675"/>
                <a:gd name="T36" fmla="*/ 146 w 562"/>
                <a:gd name="T37" fmla="*/ 0 h 675"/>
                <a:gd name="T38" fmla="*/ 153 w 562"/>
                <a:gd name="T39" fmla="*/ 12 h 675"/>
                <a:gd name="T40" fmla="*/ 222 w 562"/>
                <a:gd name="T41" fmla="*/ 19 h 675"/>
                <a:gd name="T42" fmla="*/ 305 w 562"/>
                <a:gd name="T43" fmla="*/ 73 h 675"/>
                <a:gd name="T44" fmla="*/ 326 w 562"/>
                <a:gd name="T45" fmla="*/ 73 h 675"/>
                <a:gd name="T46" fmla="*/ 394 w 562"/>
                <a:gd name="T47" fmla="*/ 90 h 675"/>
                <a:gd name="T48" fmla="*/ 418 w 562"/>
                <a:gd name="T49" fmla="*/ 52 h 675"/>
                <a:gd name="T50" fmla="*/ 486 w 562"/>
                <a:gd name="T51" fmla="*/ 28 h 675"/>
                <a:gd name="T52" fmla="*/ 510 w 562"/>
                <a:gd name="T53" fmla="*/ 52 h 675"/>
                <a:gd name="T54" fmla="*/ 562 w 562"/>
                <a:gd name="T55" fmla="*/ 45 h 675"/>
                <a:gd name="T56" fmla="*/ 524 w 562"/>
                <a:gd name="T57" fmla="*/ 106 h 675"/>
                <a:gd name="T58" fmla="*/ 503 w 562"/>
                <a:gd name="T59" fmla="*/ 130 h 675"/>
                <a:gd name="T60" fmla="*/ 503 w 562"/>
                <a:gd name="T61" fmla="*/ 401 h 675"/>
                <a:gd name="T62" fmla="*/ 541 w 562"/>
                <a:gd name="T63" fmla="*/ 458 h 675"/>
                <a:gd name="T64" fmla="*/ 524 w 562"/>
                <a:gd name="T65" fmla="*/ 475 h 675"/>
                <a:gd name="T66" fmla="*/ 494 w 562"/>
                <a:gd name="T67" fmla="*/ 479 h 675"/>
                <a:gd name="T68" fmla="*/ 494 w 562"/>
                <a:gd name="T69" fmla="*/ 508 h 675"/>
                <a:gd name="T70" fmla="*/ 486 w 562"/>
                <a:gd name="T71" fmla="*/ 496 h 675"/>
                <a:gd name="T72" fmla="*/ 486 w 562"/>
                <a:gd name="T73" fmla="*/ 508 h 675"/>
                <a:gd name="T74" fmla="*/ 472 w 562"/>
                <a:gd name="T75" fmla="*/ 520 h 675"/>
                <a:gd name="T76" fmla="*/ 465 w 562"/>
                <a:gd name="T77" fmla="*/ 520 h 675"/>
                <a:gd name="T78" fmla="*/ 449 w 562"/>
                <a:gd name="T79" fmla="*/ 529 h 675"/>
                <a:gd name="T80" fmla="*/ 439 w 562"/>
                <a:gd name="T81" fmla="*/ 569 h 675"/>
                <a:gd name="T82" fmla="*/ 423 w 562"/>
                <a:gd name="T83" fmla="*/ 574 h 675"/>
                <a:gd name="T84" fmla="*/ 385 w 562"/>
                <a:gd name="T85" fmla="*/ 675 h 675"/>
                <a:gd name="T86" fmla="*/ 368 w 562"/>
                <a:gd name="T87" fmla="*/ 675 h 675"/>
                <a:gd name="T88" fmla="*/ 260 w 562"/>
                <a:gd name="T89" fmla="*/ 586 h 675"/>
                <a:gd name="T90" fmla="*/ 271 w 562"/>
                <a:gd name="T91" fmla="*/ 574 h 675"/>
                <a:gd name="T92" fmla="*/ 260 w 562"/>
                <a:gd name="T93" fmla="*/ 553 h 675"/>
                <a:gd name="T94" fmla="*/ 0 w 562"/>
                <a:gd name="T95" fmla="*/ 408 h 675"/>
                <a:gd name="T96" fmla="*/ 0 w 562"/>
                <a:gd name="T97" fmla="*/ 408 h 675"/>
                <a:gd name="T98" fmla="*/ 0 w 562"/>
                <a:gd name="T99" fmla="*/ 408 h 675"/>
                <a:gd name="T100" fmla="*/ 503 w 562"/>
                <a:gd name="T101" fmla="*/ 496 h 675"/>
                <a:gd name="T102" fmla="*/ 503 w 562"/>
                <a:gd name="T103" fmla="*/ 491 h 675"/>
                <a:gd name="T104" fmla="*/ 510 w 562"/>
                <a:gd name="T105" fmla="*/ 491 h 675"/>
                <a:gd name="T106" fmla="*/ 503 w 562"/>
                <a:gd name="T107" fmla="*/ 496 h 675"/>
                <a:gd name="T108" fmla="*/ 503 w 562"/>
                <a:gd name="T109" fmla="*/ 496 h 675"/>
                <a:gd name="T110" fmla="*/ 503 w 562"/>
                <a:gd name="T111" fmla="*/ 496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2" h="675">
                  <a:moveTo>
                    <a:pt x="0" y="408"/>
                  </a:moveTo>
                  <a:lnTo>
                    <a:pt x="7" y="347"/>
                  </a:lnTo>
                  <a:lnTo>
                    <a:pt x="0" y="331"/>
                  </a:lnTo>
                  <a:lnTo>
                    <a:pt x="23" y="290"/>
                  </a:lnTo>
                  <a:lnTo>
                    <a:pt x="38" y="274"/>
                  </a:lnTo>
                  <a:lnTo>
                    <a:pt x="45" y="253"/>
                  </a:lnTo>
                  <a:lnTo>
                    <a:pt x="71" y="241"/>
                  </a:lnTo>
                  <a:lnTo>
                    <a:pt x="61" y="234"/>
                  </a:lnTo>
                  <a:lnTo>
                    <a:pt x="75" y="212"/>
                  </a:lnTo>
                  <a:lnTo>
                    <a:pt x="75" y="196"/>
                  </a:lnTo>
                  <a:lnTo>
                    <a:pt x="71" y="156"/>
                  </a:lnTo>
                  <a:lnTo>
                    <a:pt x="61" y="130"/>
                  </a:lnTo>
                  <a:lnTo>
                    <a:pt x="45" y="123"/>
                  </a:lnTo>
                  <a:lnTo>
                    <a:pt x="38" y="90"/>
                  </a:lnTo>
                  <a:lnTo>
                    <a:pt x="38" y="68"/>
                  </a:lnTo>
                  <a:lnTo>
                    <a:pt x="23" y="57"/>
                  </a:lnTo>
                  <a:lnTo>
                    <a:pt x="7" y="28"/>
                  </a:lnTo>
                  <a:lnTo>
                    <a:pt x="38" y="0"/>
                  </a:lnTo>
                  <a:lnTo>
                    <a:pt x="146" y="0"/>
                  </a:lnTo>
                  <a:lnTo>
                    <a:pt x="153" y="12"/>
                  </a:lnTo>
                  <a:lnTo>
                    <a:pt x="222" y="19"/>
                  </a:lnTo>
                  <a:lnTo>
                    <a:pt x="305" y="73"/>
                  </a:lnTo>
                  <a:lnTo>
                    <a:pt x="326" y="73"/>
                  </a:lnTo>
                  <a:lnTo>
                    <a:pt x="394" y="90"/>
                  </a:lnTo>
                  <a:lnTo>
                    <a:pt x="418" y="52"/>
                  </a:lnTo>
                  <a:lnTo>
                    <a:pt x="486" y="28"/>
                  </a:lnTo>
                  <a:lnTo>
                    <a:pt x="510" y="52"/>
                  </a:lnTo>
                  <a:lnTo>
                    <a:pt x="562" y="45"/>
                  </a:lnTo>
                  <a:lnTo>
                    <a:pt x="524" y="106"/>
                  </a:lnTo>
                  <a:lnTo>
                    <a:pt x="503" y="130"/>
                  </a:lnTo>
                  <a:lnTo>
                    <a:pt x="503" y="401"/>
                  </a:lnTo>
                  <a:lnTo>
                    <a:pt x="541" y="458"/>
                  </a:lnTo>
                  <a:lnTo>
                    <a:pt x="524" y="475"/>
                  </a:lnTo>
                  <a:lnTo>
                    <a:pt x="494" y="479"/>
                  </a:lnTo>
                  <a:lnTo>
                    <a:pt x="494" y="508"/>
                  </a:lnTo>
                  <a:lnTo>
                    <a:pt x="486" y="496"/>
                  </a:lnTo>
                  <a:lnTo>
                    <a:pt x="486" y="508"/>
                  </a:lnTo>
                  <a:lnTo>
                    <a:pt x="472" y="520"/>
                  </a:lnTo>
                  <a:lnTo>
                    <a:pt x="465" y="520"/>
                  </a:lnTo>
                  <a:lnTo>
                    <a:pt x="449" y="529"/>
                  </a:lnTo>
                  <a:lnTo>
                    <a:pt x="439" y="569"/>
                  </a:lnTo>
                  <a:lnTo>
                    <a:pt x="423" y="574"/>
                  </a:lnTo>
                  <a:lnTo>
                    <a:pt x="385" y="675"/>
                  </a:lnTo>
                  <a:lnTo>
                    <a:pt x="368" y="675"/>
                  </a:lnTo>
                  <a:lnTo>
                    <a:pt x="260" y="586"/>
                  </a:lnTo>
                  <a:lnTo>
                    <a:pt x="271" y="574"/>
                  </a:lnTo>
                  <a:lnTo>
                    <a:pt x="260" y="553"/>
                  </a:lnTo>
                  <a:lnTo>
                    <a:pt x="0" y="408"/>
                  </a:lnTo>
                  <a:lnTo>
                    <a:pt x="0" y="408"/>
                  </a:lnTo>
                  <a:lnTo>
                    <a:pt x="0" y="408"/>
                  </a:lnTo>
                  <a:close/>
                  <a:moveTo>
                    <a:pt x="503" y="496"/>
                  </a:moveTo>
                  <a:lnTo>
                    <a:pt x="503" y="491"/>
                  </a:lnTo>
                  <a:lnTo>
                    <a:pt x="510" y="491"/>
                  </a:lnTo>
                  <a:lnTo>
                    <a:pt x="503" y="496"/>
                  </a:lnTo>
                  <a:lnTo>
                    <a:pt x="503" y="496"/>
                  </a:lnTo>
                  <a:lnTo>
                    <a:pt x="503" y="49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2" name="Freeform 482">
              <a:extLst>
                <a:ext uri="{FF2B5EF4-FFF2-40B4-BE49-F238E27FC236}">
                  <a16:creationId xmlns:a16="http://schemas.microsoft.com/office/drawing/2014/main" id="{8340FE2C-471C-4472-96FE-CC530387E2FA}"/>
                </a:ext>
              </a:extLst>
            </p:cNvPr>
            <p:cNvSpPr>
              <a:spLocks/>
            </p:cNvSpPr>
            <p:nvPr/>
          </p:nvSpPr>
          <p:spPr bwMode="gray">
            <a:xfrm>
              <a:off x="15334827" y="3025817"/>
              <a:ext cx="250382" cy="113899"/>
            </a:xfrm>
            <a:custGeom>
              <a:avLst/>
              <a:gdLst>
                <a:gd name="T0" fmla="*/ 397 w 765"/>
                <a:gd name="T1" fmla="*/ 255 h 348"/>
                <a:gd name="T2" fmla="*/ 359 w 765"/>
                <a:gd name="T3" fmla="*/ 272 h 348"/>
                <a:gd name="T4" fmla="*/ 321 w 765"/>
                <a:gd name="T5" fmla="*/ 305 h 348"/>
                <a:gd name="T6" fmla="*/ 321 w 765"/>
                <a:gd name="T7" fmla="*/ 326 h 348"/>
                <a:gd name="T8" fmla="*/ 271 w 765"/>
                <a:gd name="T9" fmla="*/ 331 h 348"/>
                <a:gd name="T10" fmla="*/ 212 w 765"/>
                <a:gd name="T11" fmla="*/ 348 h 348"/>
                <a:gd name="T12" fmla="*/ 168 w 765"/>
                <a:gd name="T13" fmla="*/ 343 h 348"/>
                <a:gd name="T14" fmla="*/ 158 w 765"/>
                <a:gd name="T15" fmla="*/ 326 h 348"/>
                <a:gd name="T16" fmla="*/ 125 w 765"/>
                <a:gd name="T17" fmla="*/ 326 h 348"/>
                <a:gd name="T18" fmla="*/ 104 w 765"/>
                <a:gd name="T19" fmla="*/ 331 h 348"/>
                <a:gd name="T20" fmla="*/ 87 w 765"/>
                <a:gd name="T21" fmla="*/ 315 h 348"/>
                <a:gd name="T22" fmla="*/ 0 w 765"/>
                <a:gd name="T23" fmla="*/ 293 h 348"/>
                <a:gd name="T24" fmla="*/ 7 w 765"/>
                <a:gd name="T25" fmla="*/ 289 h 348"/>
                <a:gd name="T26" fmla="*/ 16 w 765"/>
                <a:gd name="T27" fmla="*/ 272 h 348"/>
                <a:gd name="T28" fmla="*/ 87 w 765"/>
                <a:gd name="T29" fmla="*/ 277 h 348"/>
                <a:gd name="T30" fmla="*/ 92 w 765"/>
                <a:gd name="T31" fmla="*/ 289 h 348"/>
                <a:gd name="T32" fmla="*/ 113 w 765"/>
                <a:gd name="T33" fmla="*/ 272 h 348"/>
                <a:gd name="T34" fmla="*/ 146 w 765"/>
                <a:gd name="T35" fmla="*/ 255 h 348"/>
                <a:gd name="T36" fmla="*/ 196 w 765"/>
                <a:gd name="T37" fmla="*/ 260 h 348"/>
                <a:gd name="T38" fmla="*/ 201 w 765"/>
                <a:gd name="T39" fmla="*/ 248 h 348"/>
                <a:gd name="T40" fmla="*/ 217 w 765"/>
                <a:gd name="T41" fmla="*/ 232 h 348"/>
                <a:gd name="T42" fmla="*/ 250 w 765"/>
                <a:gd name="T43" fmla="*/ 222 h 348"/>
                <a:gd name="T44" fmla="*/ 234 w 765"/>
                <a:gd name="T45" fmla="*/ 206 h 348"/>
                <a:gd name="T46" fmla="*/ 201 w 765"/>
                <a:gd name="T47" fmla="*/ 199 h 348"/>
                <a:gd name="T48" fmla="*/ 184 w 765"/>
                <a:gd name="T49" fmla="*/ 182 h 348"/>
                <a:gd name="T50" fmla="*/ 168 w 765"/>
                <a:gd name="T51" fmla="*/ 149 h 348"/>
                <a:gd name="T52" fmla="*/ 146 w 765"/>
                <a:gd name="T53" fmla="*/ 166 h 348"/>
                <a:gd name="T54" fmla="*/ 108 w 765"/>
                <a:gd name="T55" fmla="*/ 178 h 348"/>
                <a:gd name="T56" fmla="*/ 87 w 765"/>
                <a:gd name="T57" fmla="*/ 161 h 348"/>
                <a:gd name="T58" fmla="*/ 104 w 765"/>
                <a:gd name="T59" fmla="*/ 123 h 348"/>
                <a:gd name="T60" fmla="*/ 108 w 765"/>
                <a:gd name="T61" fmla="*/ 107 h 348"/>
                <a:gd name="T62" fmla="*/ 125 w 765"/>
                <a:gd name="T63" fmla="*/ 78 h 348"/>
                <a:gd name="T64" fmla="*/ 108 w 765"/>
                <a:gd name="T65" fmla="*/ 78 h 348"/>
                <a:gd name="T66" fmla="*/ 168 w 765"/>
                <a:gd name="T67" fmla="*/ 41 h 348"/>
                <a:gd name="T68" fmla="*/ 293 w 765"/>
                <a:gd name="T69" fmla="*/ 74 h 348"/>
                <a:gd name="T70" fmla="*/ 305 w 765"/>
                <a:gd name="T71" fmla="*/ 17 h 348"/>
                <a:gd name="T72" fmla="*/ 385 w 765"/>
                <a:gd name="T73" fmla="*/ 24 h 348"/>
                <a:gd name="T74" fmla="*/ 456 w 765"/>
                <a:gd name="T75" fmla="*/ 24 h 348"/>
                <a:gd name="T76" fmla="*/ 543 w 765"/>
                <a:gd name="T77" fmla="*/ 24 h 348"/>
                <a:gd name="T78" fmla="*/ 699 w 765"/>
                <a:gd name="T79" fmla="*/ 41 h 348"/>
                <a:gd name="T80" fmla="*/ 711 w 765"/>
                <a:gd name="T81" fmla="*/ 74 h 348"/>
                <a:gd name="T82" fmla="*/ 765 w 765"/>
                <a:gd name="T83" fmla="*/ 95 h 348"/>
                <a:gd name="T84" fmla="*/ 742 w 765"/>
                <a:gd name="T85" fmla="*/ 111 h 348"/>
                <a:gd name="T86" fmla="*/ 704 w 765"/>
                <a:gd name="T87" fmla="*/ 128 h 348"/>
                <a:gd name="T88" fmla="*/ 635 w 765"/>
                <a:gd name="T89" fmla="*/ 178 h 348"/>
                <a:gd name="T90" fmla="*/ 536 w 765"/>
                <a:gd name="T91" fmla="*/ 199 h 348"/>
                <a:gd name="T92" fmla="*/ 520 w 765"/>
                <a:gd name="T93" fmla="*/ 232 h 348"/>
                <a:gd name="T94" fmla="*/ 482 w 765"/>
                <a:gd name="T95" fmla="*/ 248 h 348"/>
                <a:gd name="T96" fmla="*/ 439 w 765"/>
                <a:gd name="T97" fmla="*/ 232 h 348"/>
                <a:gd name="T98" fmla="*/ 385 w 765"/>
                <a:gd name="T99" fmla="*/ 239 h 348"/>
                <a:gd name="T100" fmla="*/ 385 w 765"/>
                <a:gd name="T101" fmla="*/ 23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5" h="348">
                  <a:moveTo>
                    <a:pt x="385" y="239"/>
                  </a:moveTo>
                  <a:lnTo>
                    <a:pt x="397" y="255"/>
                  </a:lnTo>
                  <a:lnTo>
                    <a:pt x="380" y="255"/>
                  </a:lnTo>
                  <a:lnTo>
                    <a:pt x="359" y="272"/>
                  </a:lnTo>
                  <a:lnTo>
                    <a:pt x="331" y="277"/>
                  </a:lnTo>
                  <a:lnTo>
                    <a:pt x="321" y="305"/>
                  </a:lnTo>
                  <a:lnTo>
                    <a:pt x="326" y="315"/>
                  </a:lnTo>
                  <a:lnTo>
                    <a:pt x="321" y="326"/>
                  </a:lnTo>
                  <a:lnTo>
                    <a:pt x="309" y="326"/>
                  </a:lnTo>
                  <a:lnTo>
                    <a:pt x="271" y="331"/>
                  </a:lnTo>
                  <a:lnTo>
                    <a:pt x="217" y="331"/>
                  </a:lnTo>
                  <a:lnTo>
                    <a:pt x="212" y="348"/>
                  </a:lnTo>
                  <a:lnTo>
                    <a:pt x="196" y="331"/>
                  </a:lnTo>
                  <a:lnTo>
                    <a:pt x="168" y="343"/>
                  </a:lnTo>
                  <a:lnTo>
                    <a:pt x="168" y="326"/>
                  </a:lnTo>
                  <a:lnTo>
                    <a:pt x="158" y="326"/>
                  </a:lnTo>
                  <a:lnTo>
                    <a:pt x="158" y="315"/>
                  </a:lnTo>
                  <a:lnTo>
                    <a:pt x="125" y="326"/>
                  </a:lnTo>
                  <a:lnTo>
                    <a:pt x="113" y="331"/>
                  </a:lnTo>
                  <a:lnTo>
                    <a:pt x="104" y="331"/>
                  </a:lnTo>
                  <a:lnTo>
                    <a:pt x="92" y="315"/>
                  </a:lnTo>
                  <a:lnTo>
                    <a:pt x="87" y="315"/>
                  </a:lnTo>
                  <a:lnTo>
                    <a:pt x="0" y="315"/>
                  </a:lnTo>
                  <a:lnTo>
                    <a:pt x="0" y="293"/>
                  </a:lnTo>
                  <a:lnTo>
                    <a:pt x="0" y="277"/>
                  </a:lnTo>
                  <a:lnTo>
                    <a:pt x="7" y="289"/>
                  </a:lnTo>
                  <a:lnTo>
                    <a:pt x="16" y="289"/>
                  </a:lnTo>
                  <a:lnTo>
                    <a:pt x="16" y="272"/>
                  </a:lnTo>
                  <a:lnTo>
                    <a:pt x="54" y="260"/>
                  </a:lnTo>
                  <a:lnTo>
                    <a:pt x="87" y="277"/>
                  </a:lnTo>
                  <a:lnTo>
                    <a:pt x="87" y="289"/>
                  </a:lnTo>
                  <a:lnTo>
                    <a:pt x="92" y="289"/>
                  </a:lnTo>
                  <a:lnTo>
                    <a:pt x="92" y="272"/>
                  </a:lnTo>
                  <a:lnTo>
                    <a:pt x="113" y="272"/>
                  </a:lnTo>
                  <a:lnTo>
                    <a:pt x="113" y="260"/>
                  </a:lnTo>
                  <a:lnTo>
                    <a:pt x="146" y="255"/>
                  </a:lnTo>
                  <a:lnTo>
                    <a:pt x="168" y="272"/>
                  </a:lnTo>
                  <a:lnTo>
                    <a:pt x="196" y="260"/>
                  </a:lnTo>
                  <a:lnTo>
                    <a:pt x="196" y="255"/>
                  </a:lnTo>
                  <a:lnTo>
                    <a:pt x="201" y="248"/>
                  </a:lnTo>
                  <a:lnTo>
                    <a:pt x="217" y="248"/>
                  </a:lnTo>
                  <a:lnTo>
                    <a:pt x="217" y="232"/>
                  </a:lnTo>
                  <a:lnTo>
                    <a:pt x="234" y="239"/>
                  </a:lnTo>
                  <a:lnTo>
                    <a:pt x="250" y="222"/>
                  </a:lnTo>
                  <a:lnTo>
                    <a:pt x="271" y="215"/>
                  </a:lnTo>
                  <a:lnTo>
                    <a:pt x="234" y="206"/>
                  </a:lnTo>
                  <a:lnTo>
                    <a:pt x="217" y="194"/>
                  </a:lnTo>
                  <a:lnTo>
                    <a:pt x="201" y="199"/>
                  </a:lnTo>
                  <a:lnTo>
                    <a:pt x="201" y="182"/>
                  </a:lnTo>
                  <a:lnTo>
                    <a:pt x="184" y="182"/>
                  </a:lnTo>
                  <a:lnTo>
                    <a:pt x="184" y="166"/>
                  </a:lnTo>
                  <a:lnTo>
                    <a:pt x="168" y="149"/>
                  </a:lnTo>
                  <a:lnTo>
                    <a:pt x="163" y="166"/>
                  </a:lnTo>
                  <a:lnTo>
                    <a:pt x="146" y="166"/>
                  </a:lnTo>
                  <a:lnTo>
                    <a:pt x="146" y="182"/>
                  </a:lnTo>
                  <a:lnTo>
                    <a:pt x="108" y="178"/>
                  </a:lnTo>
                  <a:lnTo>
                    <a:pt x="104" y="161"/>
                  </a:lnTo>
                  <a:lnTo>
                    <a:pt x="87" y="161"/>
                  </a:lnTo>
                  <a:lnTo>
                    <a:pt x="61" y="149"/>
                  </a:lnTo>
                  <a:lnTo>
                    <a:pt x="104" y="123"/>
                  </a:lnTo>
                  <a:lnTo>
                    <a:pt x="108" y="123"/>
                  </a:lnTo>
                  <a:lnTo>
                    <a:pt x="108" y="107"/>
                  </a:lnTo>
                  <a:lnTo>
                    <a:pt x="142" y="95"/>
                  </a:lnTo>
                  <a:lnTo>
                    <a:pt x="125" y="78"/>
                  </a:lnTo>
                  <a:lnTo>
                    <a:pt x="113" y="90"/>
                  </a:lnTo>
                  <a:lnTo>
                    <a:pt x="108" y="78"/>
                  </a:lnTo>
                  <a:lnTo>
                    <a:pt x="130" y="50"/>
                  </a:lnTo>
                  <a:lnTo>
                    <a:pt x="168" y="41"/>
                  </a:lnTo>
                  <a:lnTo>
                    <a:pt x="212" y="41"/>
                  </a:lnTo>
                  <a:lnTo>
                    <a:pt x="293" y="74"/>
                  </a:lnTo>
                  <a:lnTo>
                    <a:pt x="293" y="57"/>
                  </a:lnTo>
                  <a:lnTo>
                    <a:pt x="305" y="17"/>
                  </a:lnTo>
                  <a:lnTo>
                    <a:pt x="347" y="0"/>
                  </a:lnTo>
                  <a:lnTo>
                    <a:pt x="385" y="24"/>
                  </a:lnTo>
                  <a:lnTo>
                    <a:pt x="451" y="41"/>
                  </a:lnTo>
                  <a:lnTo>
                    <a:pt x="456" y="24"/>
                  </a:lnTo>
                  <a:lnTo>
                    <a:pt x="520" y="33"/>
                  </a:lnTo>
                  <a:lnTo>
                    <a:pt x="543" y="24"/>
                  </a:lnTo>
                  <a:lnTo>
                    <a:pt x="557" y="33"/>
                  </a:lnTo>
                  <a:lnTo>
                    <a:pt x="699" y="41"/>
                  </a:lnTo>
                  <a:lnTo>
                    <a:pt x="699" y="50"/>
                  </a:lnTo>
                  <a:lnTo>
                    <a:pt x="711" y="74"/>
                  </a:lnTo>
                  <a:lnTo>
                    <a:pt x="753" y="74"/>
                  </a:lnTo>
                  <a:lnTo>
                    <a:pt x="765" y="95"/>
                  </a:lnTo>
                  <a:lnTo>
                    <a:pt x="765" y="107"/>
                  </a:lnTo>
                  <a:lnTo>
                    <a:pt x="742" y="111"/>
                  </a:lnTo>
                  <a:lnTo>
                    <a:pt x="737" y="123"/>
                  </a:lnTo>
                  <a:lnTo>
                    <a:pt x="704" y="128"/>
                  </a:lnTo>
                  <a:lnTo>
                    <a:pt x="645" y="161"/>
                  </a:lnTo>
                  <a:lnTo>
                    <a:pt x="635" y="178"/>
                  </a:lnTo>
                  <a:lnTo>
                    <a:pt x="619" y="194"/>
                  </a:lnTo>
                  <a:lnTo>
                    <a:pt x="536" y="199"/>
                  </a:lnTo>
                  <a:lnTo>
                    <a:pt x="520" y="215"/>
                  </a:lnTo>
                  <a:lnTo>
                    <a:pt x="520" y="232"/>
                  </a:lnTo>
                  <a:lnTo>
                    <a:pt x="494" y="255"/>
                  </a:lnTo>
                  <a:lnTo>
                    <a:pt x="482" y="248"/>
                  </a:lnTo>
                  <a:lnTo>
                    <a:pt x="451" y="255"/>
                  </a:lnTo>
                  <a:lnTo>
                    <a:pt x="439" y="232"/>
                  </a:lnTo>
                  <a:lnTo>
                    <a:pt x="418" y="248"/>
                  </a:lnTo>
                  <a:lnTo>
                    <a:pt x="385" y="239"/>
                  </a:lnTo>
                  <a:lnTo>
                    <a:pt x="385" y="239"/>
                  </a:lnTo>
                  <a:lnTo>
                    <a:pt x="385" y="23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3" name="Freeform 483">
              <a:extLst>
                <a:ext uri="{FF2B5EF4-FFF2-40B4-BE49-F238E27FC236}">
                  <a16:creationId xmlns:a16="http://schemas.microsoft.com/office/drawing/2014/main" id="{D04EB60E-2FBF-447E-849B-BA6413046E7A}"/>
                </a:ext>
              </a:extLst>
            </p:cNvPr>
            <p:cNvSpPr>
              <a:spLocks/>
            </p:cNvSpPr>
            <p:nvPr/>
          </p:nvSpPr>
          <p:spPr bwMode="gray">
            <a:xfrm>
              <a:off x="16597210" y="3033018"/>
              <a:ext cx="146301" cy="149247"/>
            </a:xfrm>
            <a:custGeom>
              <a:avLst/>
              <a:gdLst>
                <a:gd name="T0" fmla="*/ 45 w 447"/>
                <a:gd name="T1" fmla="*/ 217 h 456"/>
                <a:gd name="T2" fmla="*/ 55 w 447"/>
                <a:gd name="T3" fmla="*/ 217 h 456"/>
                <a:gd name="T4" fmla="*/ 104 w 447"/>
                <a:gd name="T5" fmla="*/ 184 h 456"/>
                <a:gd name="T6" fmla="*/ 156 w 447"/>
                <a:gd name="T7" fmla="*/ 144 h 456"/>
                <a:gd name="T8" fmla="*/ 189 w 447"/>
                <a:gd name="T9" fmla="*/ 106 h 456"/>
                <a:gd name="T10" fmla="*/ 270 w 447"/>
                <a:gd name="T11" fmla="*/ 144 h 456"/>
                <a:gd name="T12" fmla="*/ 270 w 447"/>
                <a:gd name="T13" fmla="*/ 106 h 456"/>
                <a:gd name="T14" fmla="*/ 324 w 447"/>
                <a:gd name="T15" fmla="*/ 89 h 456"/>
                <a:gd name="T16" fmla="*/ 357 w 447"/>
                <a:gd name="T17" fmla="*/ 49 h 456"/>
                <a:gd name="T18" fmla="*/ 378 w 447"/>
                <a:gd name="T19" fmla="*/ 49 h 456"/>
                <a:gd name="T20" fmla="*/ 421 w 447"/>
                <a:gd name="T21" fmla="*/ 11 h 456"/>
                <a:gd name="T22" fmla="*/ 442 w 447"/>
                <a:gd name="T23" fmla="*/ 45 h 456"/>
                <a:gd name="T24" fmla="*/ 447 w 447"/>
                <a:gd name="T25" fmla="*/ 66 h 456"/>
                <a:gd name="T26" fmla="*/ 378 w 447"/>
                <a:gd name="T27" fmla="*/ 122 h 456"/>
                <a:gd name="T28" fmla="*/ 388 w 447"/>
                <a:gd name="T29" fmla="*/ 144 h 456"/>
                <a:gd name="T30" fmla="*/ 350 w 447"/>
                <a:gd name="T31" fmla="*/ 200 h 456"/>
                <a:gd name="T32" fmla="*/ 303 w 447"/>
                <a:gd name="T33" fmla="*/ 238 h 456"/>
                <a:gd name="T34" fmla="*/ 286 w 447"/>
                <a:gd name="T35" fmla="*/ 255 h 456"/>
                <a:gd name="T36" fmla="*/ 260 w 447"/>
                <a:gd name="T37" fmla="*/ 271 h 456"/>
                <a:gd name="T38" fmla="*/ 232 w 447"/>
                <a:gd name="T39" fmla="*/ 323 h 456"/>
                <a:gd name="T40" fmla="*/ 218 w 447"/>
                <a:gd name="T41" fmla="*/ 311 h 456"/>
                <a:gd name="T42" fmla="*/ 248 w 447"/>
                <a:gd name="T43" fmla="*/ 340 h 456"/>
                <a:gd name="T44" fmla="*/ 281 w 447"/>
                <a:gd name="T45" fmla="*/ 394 h 456"/>
                <a:gd name="T46" fmla="*/ 206 w 447"/>
                <a:gd name="T47" fmla="*/ 406 h 456"/>
                <a:gd name="T48" fmla="*/ 163 w 447"/>
                <a:gd name="T49" fmla="*/ 451 h 456"/>
                <a:gd name="T50" fmla="*/ 135 w 447"/>
                <a:gd name="T51" fmla="*/ 451 h 456"/>
                <a:gd name="T52" fmla="*/ 121 w 447"/>
                <a:gd name="T53" fmla="*/ 439 h 456"/>
                <a:gd name="T54" fmla="*/ 109 w 447"/>
                <a:gd name="T55" fmla="*/ 432 h 456"/>
                <a:gd name="T56" fmla="*/ 104 w 447"/>
                <a:gd name="T57" fmla="*/ 439 h 456"/>
                <a:gd name="T58" fmla="*/ 88 w 447"/>
                <a:gd name="T59" fmla="*/ 439 h 456"/>
                <a:gd name="T60" fmla="*/ 71 w 447"/>
                <a:gd name="T61" fmla="*/ 422 h 456"/>
                <a:gd name="T62" fmla="*/ 45 w 447"/>
                <a:gd name="T63" fmla="*/ 406 h 456"/>
                <a:gd name="T64" fmla="*/ 83 w 447"/>
                <a:gd name="T65" fmla="*/ 366 h 456"/>
                <a:gd name="T66" fmla="*/ 66 w 447"/>
                <a:gd name="T67" fmla="*/ 361 h 456"/>
                <a:gd name="T68" fmla="*/ 71 w 447"/>
                <a:gd name="T69" fmla="*/ 304 h 456"/>
                <a:gd name="T70" fmla="*/ 55 w 447"/>
                <a:gd name="T71" fmla="*/ 295 h 456"/>
                <a:gd name="T72" fmla="*/ 33 w 447"/>
                <a:gd name="T73" fmla="*/ 288 h 456"/>
                <a:gd name="T74" fmla="*/ 17 w 447"/>
                <a:gd name="T75" fmla="*/ 283 h 456"/>
                <a:gd name="T76" fmla="*/ 12 w 447"/>
                <a:gd name="T77" fmla="*/ 250 h 456"/>
                <a:gd name="T78" fmla="*/ 12 w 447"/>
                <a:gd name="T79" fmla="*/ 25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47" h="456">
                  <a:moveTo>
                    <a:pt x="12" y="250"/>
                  </a:moveTo>
                  <a:lnTo>
                    <a:pt x="45" y="217"/>
                  </a:lnTo>
                  <a:lnTo>
                    <a:pt x="55" y="229"/>
                  </a:lnTo>
                  <a:lnTo>
                    <a:pt x="55" y="217"/>
                  </a:lnTo>
                  <a:lnTo>
                    <a:pt x="83" y="200"/>
                  </a:lnTo>
                  <a:lnTo>
                    <a:pt x="104" y="184"/>
                  </a:lnTo>
                  <a:lnTo>
                    <a:pt x="125" y="184"/>
                  </a:lnTo>
                  <a:lnTo>
                    <a:pt x="156" y="144"/>
                  </a:lnTo>
                  <a:lnTo>
                    <a:pt x="163" y="122"/>
                  </a:lnTo>
                  <a:lnTo>
                    <a:pt x="189" y="106"/>
                  </a:lnTo>
                  <a:lnTo>
                    <a:pt x="210" y="139"/>
                  </a:lnTo>
                  <a:lnTo>
                    <a:pt x="270" y="144"/>
                  </a:lnTo>
                  <a:lnTo>
                    <a:pt x="281" y="122"/>
                  </a:lnTo>
                  <a:lnTo>
                    <a:pt x="270" y="106"/>
                  </a:lnTo>
                  <a:lnTo>
                    <a:pt x="265" y="89"/>
                  </a:lnTo>
                  <a:lnTo>
                    <a:pt x="324" y="89"/>
                  </a:lnTo>
                  <a:lnTo>
                    <a:pt x="350" y="66"/>
                  </a:lnTo>
                  <a:lnTo>
                    <a:pt x="357" y="49"/>
                  </a:lnTo>
                  <a:lnTo>
                    <a:pt x="366" y="56"/>
                  </a:lnTo>
                  <a:lnTo>
                    <a:pt x="378" y="49"/>
                  </a:lnTo>
                  <a:lnTo>
                    <a:pt x="395" y="0"/>
                  </a:lnTo>
                  <a:lnTo>
                    <a:pt x="421" y="11"/>
                  </a:lnTo>
                  <a:lnTo>
                    <a:pt x="421" y="28"/>
                  </a:lnTo>
                  <a:lnTo>
                    <a:pt x="442" y="45"/>
                  </a:lnTo>
                  <a:lnTo>
                    <a:pt x="442" y="49"/>
                  </a:lnTo>
                  <a:lnTo>
                    <a:pt x="447" y="66"/>
                  </a:lnTo>
                  <a:lnTo>
                    <a:pt x="433" y="56"/>
                  </a:lnTo>
                  <a:lnTo>
                    <a:pt x="378" y="122"/>
                  </a:lnTo>
                  <a:lnTo>
                    <a:pt x="378" y="139"/>
                  </a:lnTo>
                  <a:lnTo>
                    <a:pt x="388" y="144"/>
                  </a:lnTo>
                  <a:lnTo>
                    <a:pt x="378" y="193"/>
                  </a:lnTo>
                  <a:lnTo>
                    <a:pt x="350" y="200"/>
                  </a:lnTo>
                  <a:lnTo>
                    <a:pt x="340" y="217"/>
                  </a:lnTo>
                  <a:lnTo>
                    <a:pt x="303" y="238"/>
                  </a:lnTo>
                  <a:lnTo>
                    <a:pt x="303" y="250"/>
                  </a:lnTo>
                  <a:lnTo>
                    <a:pt x="286" y="255"/>
                  </a:lnTo>
                  <a:lnTo>
                    <a:pt x="265" y="255"/>
                  </a:lnTo>
                  <a:lnTo>
                    <a:pt x="260" y="271"/>
                  </a:lnTo>
                  <a:lnTo>
                    <a:pt x="227" y="283"/>
                  </a:lnTo>
                  <a:lnTo>
                    <a:pt x="232" y="323"/>
                  </a:lnTo>
                  <a:lnTo>
                    <a:pt x="227" y="311"/>
                  </a:lnTo>
                  <a:lnTo>
                    <a:pt x="218" y="311"/>
                  </a:lnTo>
                  <a:lnTo>
                    <a:pt x="218" y="328"/>
                  </a:lnTo>
                  <a:lnTo>
                    <a:pt x="248" y="340"/>
                  </a:lnTo>
                  <a:lnTo>
                    <a:pt x="286" y="378"/>
                  </a:lnTo>
                  <a:lnTo>
                    <a:pt x="281" y="394"/>
                  </a:lnTo>
                  <a:lnTo>
                    <a:pt x="265" y="399"/>
                  </a:lnTo>
                  <a:lnTo>
                    <a:pt x="206" y="406"/>
                  </a:lnTo>
                  <a:lnTo>
                    <a:pt x="173" y="439"/>
                  </a:lnTo>
                  <a:lnTo>
                    <a:pt x="163" y="451"/>
                  </a:lnTo>
                  <a:lnTo>
                    <a:pt x="151" y="439"/>
                  </a:lnTo>
                  <a:lnTo>
                    <a:pt x="135" y="451"/>
                  </a:lnTo>
                  <a:lnTo>
                    <a:pt x="135" y="456"/>
                  </a:lnTo>
                  <a:lnTo>
                    <a:pt x="121" y="439"/>
                  </a:lnTo>
                  <a:lnTo>
                    <a:pt x="121" y="451"/>
                  </a:lnTo>
                  <a:lnTo>
                    <a:pt x="109" y="432"/>
                  </a:lnTo>
                  <a:lnTo>
                    <a:pt x="97" y="422"/>
                  </a:lnTo>
                  <a:lnTo>
                    <a:pt x="104" y="439"/>
                  </a:lnTo>
                  <a:lnTo>
                    <a:pt x="71" y="456"/>
                  </a:lnTo>
                  <a:lnTo>
                    <a:pt x="88" y="439"/>
                  </a:lnTo>
                  <a:lnTo>
                    <a:pt x="50" y="432"/>
                  </a:lnTo>
                  <a:lnTo>
                    <a:pt x="71" y="422"/>
                  </a:lnTo>
                  <a:lnTo>
                    <a:pt x="29" y="415"/>
                  </a:lnTo>
                  <a:lnTo>
                    <a:pt x="45" y="406"/>
                  </a:lnTo>
                  <a:lnTo>
                    <a:pt x="50" y="382"/>
                  </a:lnTo>
                  <a:lnTo>
                    <a:pt x="83" y="366"/>
                  </a:lnTo>
                  <a:lnTo>
                    <a:pt x="97" y="378"/>
                  </a:lnTo>
                  <a:lnTo>
                    <a:pt x="66" y="361"/>
                  </a:lnTo>
                  <a:lnTo>
                    <a:pt x="83" y="323"/>
                  </a:lnTo>
                  <a:lnTo>
                    <a:pt x="71" y="304"/>
                  </a:lnTo>
                  <a:lnTo>
                    <a:pt x="83" y="295"/>
                  </a:lnTo>
                  <a:lnTo>
                    <a:pt x="55" y="295"/>
                  </a:lnTo>
                  <a:lnTo>
                    <a:pt x="33" y="283"/>
                  </a:lnTo>
                  <a:lnTo>
                    <a:pt x="33" y="288"/>
                  </a:lnTo>
                  <a:lnTo>
                    <a:pt x="29" y="295"/>
                  </a:lnTo>
                  <a:lnTo>
                    <a:pt x="17" y="283"/>
                  </a:lnTo>
                  <a:lnTo>
                    <a:pt x="0" y="267"/>
                  </a:lnTo>
                  <a:lnTo>
                    <a:pt x="12" y="250"/>
                  </a:lnTo>
                  <a:lnTo>
                    <a:pt x="12" y="250"/>
                  </a:lnTo>
                  <a:lnTo>
                    <a:pt x="12" y="25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4" name="Freeform 485">
              <a:extLst>
                <a:ext uri="{FF2B5EF4-FFF2-40B4-BE49-F238E27FC236}">
                  <a16:creationId xmlns:a16="http://schemas.microsoft.com/office/drawing/2014/main" id="{5A061037-6073-480A-B1CE-8F0F7B8ECA99}"/>
                </a:ext>
              </a:extLst>
            </p:cNvPr>
            <p:cNvSpPr>
              <a:spLocks noEditPoints="1"/>
            </p:cNvSpPr>
            <p:nvPr/>
          </p:nvSpPr>
          <p:spPr bwMode="gray">
            <a:xfrm>
              <a:off x="16605720" y="3156736"/>
              <a:ext cx="144011" cy="144338"/>
            </a:xfrm>
            <a:custGeom>
              <a:avLst/>
              <a:gdLst>
                <a:gd name="T0" fmla="*/ 239 w 440"/>
                <a:gd name="T1" fmla="*/ 23 h 441"/>
                <a:gd name="T2" fmla="*/ 277 w 440"/>
                <a:gd name="T3" fmla="*/ 40 h 441"/>
                <a:gd name="T4" fmla="*/ 340 w 440"/>
                <a:gd name="T5" fmla="*/ 155 h 441"/>
                <a:gd name="T6" fmla="*/ 347 w 440"/>
                <a:gd name="T7" fmla="*/ 210 h 441"/>
                <a:gd name="T8" fmla="*/ 314 w 440"/>
                <a:gd name="T9" fmla="*/ 292 h 441"/>
                <a:gd name="T10" fmla="*/ 260 w 440"/>
                <a:gd name="T11" fmla="*/ 297 h 441"/>
                <a:gd name="T12" fmla="*/ 260 w 440"/>
                <a:gd name="T13" fmla="*/ 297 h 441"/>
                <a:gd name="T14" fmla="*/ 206 w 440"/>
                <a:gd name="T15" fmla="*/ 304 h 441"/>
                <a:gd name="T16" fmla="*/ 206 w 440"/>
                <a:gd name="T17" fmla="*/ 333 h 441"/>
                <a:gd name="T18" fmla="*/ 201 w 440"/>
                <a:gd name="T19" fmla="*/ 333 h 441"/>
                <a:gd name="T20" fmla="*/ 189 w 440"/>
                <a:gd name="T21" fmla="*/ 333 h 441"/>
                <a:gd name="T22" fmla="*/ 163 w 440"/>
                <a:gd name="T23" fmla="*/ 349 h 441"/>
                <a:gd name="T24" fmla="*/ 114 w 440"/>
                <a:gd name="T25" fmla="*/ 321 h 441"/>
                <a:gd name="T26" fmla="*/ 130 w 440"/>
                <a:gd name="T27" fmla="*/ 333 h 441"/>
                <a:gd name="T28" fmla="*/ 137 w 440"/>
                <a:gd name="T29" fmla="*/ 314 h 441"/>
                <a:gd name="T30" fmla="*/ 125 w 440"/>
                <a:gd name="T31" fmla="*/ 314 h 441"/>
                <a:gd name="T32" fmla="*/ 114 w 440"/>
                <a:gd name="T33" fmla="*/ 292 h 441"/>
                <a:gd name="T34" fmla="*/ 125 w 440"/>
                <a:gd name="T35" fmla="*/ 281 h 441"/>
                <a:gd name="T36" fmla="*/ 147 w 440"/>
                <a:gd name="T37" fmla="*/ 248 h 441"/>
                <a:gd name="T38" fmla="*/ 137 w 440"/>
                <a:gd name="T39" fmla="*/ 226 h 441"/>
                <a:gd name="T40" fmla="*/ 147 w 440"/>
                <a:gd name="T41" fmla="*/ 222 h 441"/>
                <a:gd name="T42" fmla="*/ 125 w 440"/>
                <a:gd name="T43" fmla="*/ 155 h 441"/>
                <a:gd name="T44" fmla="*/ 109 w 440"/>
                <a:gd name="T45" fmla="*/ 155 h 441"/>
                <a:gd name="T46" fmla="*/ 125 w 440"/>
                <a:gd name="T47" fmla="*/ 148 h 441"/>
                <a:gd name="T48" fmla="*/ 130 w 440"/>
                <a:gd name="T49" fmla="*/ 148 h 441"/>
                <a:gd name="T50" fmla="*/ 151 w 440"/>
                <a:gd name="T51" fmla="*/ 155 h 441"/>
                <a:gd name="T52" fmla="*/ 151 w 440"/>
                <a:gd name="T53" fmla="*/ 115 h 441"/>
                <a:gd name="T54" fmla="*/ 151 w 440"/>
                <a:gd name="T55" fmla="*/ 111 h 441"/>
                <a:gd name="T56" fmla="*/ 130 w 440"/>
                <a:gd name="T57" fmla="*/ 73 h 441"/>
                <a:gd name="T58" fmla="*/ 147 w 440"/>
                <a:gd name="T59" fmla="*/ 61 h 441"/>
                <a:gd name="T60" fmla="*/ 7 w 440"/>
                <a:gd name="T61" fmla="*/ 61 h 441"/>
                <a:gd name="T62" fmla="*/ 7 w 440"/>
                <a:gd name="T63" fmla="*/ 56 h 441"/>
                <a:gd name="T64" fmla="*/ 130 w 440"/>
                <a:gd name="T65" fmla="*/ 82 h 441"/>
                <a:gd name="T66" fmla="*/ 130 w 440"/>
                <a:gd name="T67" fmla="*/ 73 h 441"/>
                <a:gd name="T68" fmla="*/ 440 w 440"/>
                <a:gd name="T69" fmla="*/ 94 h 441"/>
                <a:gd name="T70" fmla="*/ 440 w 440"/>
                <a:gd name="T71" fmla="*/ 94 h 441"/>
                <a:gd name="T72" fmla="*/ 125 w 440"/>
                <a:gd name="T73" fmla="*/ 181 h 441"/>
                <a:gd name="T74" fmla="*/ 125 w 440"/>
                <a:gd name="T75" fmla="*/ 181 h 441"/>
                <a:gd name="T76" fmla="*/ 288 w 440"/>
                <a:gd name="T77" fmla="*/ 304 h 441"/>
                <a:gd name="T78" fmla="*/ 277 w 440"/>
                <a:gd name="T79" fmla="*/ 314 h 441"/>
                <a:gd name="T80" fmla="*/ 288 w 440"/>
                <a:gd name="T81" fmla="*/ 304 h 441"/>
                <a:gd name="T82" fmla="*/ 234 w 440"/>
                <a:gd name="T83" fmla="*/ 314 h 441"/>
                <a:gd name="T84" fmla="*/ 222 w 440"/>
                <a:gd name="T85" fmla="*/ 321 h 441"/>
                <a:gd name="T86" fmla="*/ 234 w 440"/>
                <a:gd name="T87" fmla="*/ 304 h 441"/>
                <a:gd name="T88" fmla="*/ 222 w 440"/>
                <a:gd name="T89" fmla="*/ 333 h 441"/>
                <a:gd name="T90" fmla="*/ 222 w 440"/>
                <a:gd name="T91" fmla="*/ 333 h 441"/>
                <a:gd name="T92" fmla="*/ 114 w 440"/>
                <a:gd name="T93" fmla="*/ 349 h 441"/>
                <a:gd name="T94" fmla="*/ 125 w 440"/>
                <a:gd name="T95" fmla="*/ 337 h 441"/>
                <a:gd name="T96" fmla="*/ 222 w 440"/>
                <a:gd name="T97" fmla="*/ 337 h 441"/>
                <a:gd name="T98" fmla="*/ 222 w 440"/>
                <a:gd name="T99" fmla="*/ 337 h 441"/>
                <a:gd name="T100" fmla="*/ 184 w 440"/>
                <a:gd name="T101" fmla="*/ 337 h 441"/>
                <a:gd name="T102" fmla="*/ 184 w 440"/>
                <a:gd name="T103" fmla="*/ 337 h 441"/>
                <a:gd name="T104" fmla="*/ 147 w 440"/>
                <a:gd name="T105" fmla="*/ 349 h 441"/>
                <a:gd name="T106" fmla="*/ 147 w 440"/>
                <a:gd name="T107" fmla="*/ 349 h 441"/>
                <a:gd name="T108" fmla="*/ 151 w 440"/>
                <a:gd name="T109" fmla="*/ 415 h 441"/>
                <a:gd name="T110" fmla="*/ 114 w 440"/>
                <a:gd name="T111" fmla="*/ 441 h 441"/>
                <a:gd name="T112" fmla="*/ 151 w 440"/>
                <a:gd name="T113" fmla="*/ 415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0" h="441">
                  <a:moveTo>
                    <a:pt x="147" y="61"/>
                  </a:moveTo>
                  <a:lnTo>
                    <a:pt x="180" y="28"/>
                  </a:lnTo>
                  <a:lnTo>
                    <a:pt x="239" y="23"/>
                  </a:lnTo>
                  <a:lnTo>
                    <a:pt x="255" y="16"/>
                  </a:lnTo>
                  <a:lnTo>
                    <a:pt x="260" y="0"/>
                  </a:lnTo>
                  <a:lnTo>
                    <a:pt x="277" y="40"/>
                  </a:lnTo>
                  <a:lnTo>
                    <a:pt x="310" y="78"/>
                  </a:lnTo>
                  <a:lnTo>
                    <a:pt x="340" y="132"/>
                  </a:lnTo>
                  <a:lnTo>
                    <a:pt x="340" y="155"/>
                  </a:lnTo>
                  <a:lnTo>
                    <a:pt x="331" y="210"/>
                  </a:lnTo>
                  <a:lnTo>
                    <a:pt x="340" y="222"/>
                  </a:lnTo>
                  <a:lnTo>
                    <a:pt x="347" y="210"/>
                  </a:lnTo>
                  <a:lnTo>
                    <a:pt x="347" y="210"/>
                  </a:lnTo>
                  <a:lnTo>
                    <a:pt x="340" y="248"/>
                  </a:lnTo>
                  <a:lnTo>
                    <a:pt x="314" y="292"/>
                  </a:lnTo>
                  <a:lnTo>
                    <a:pt x="293" y="292"/>
                  </a:lnTo>
                  <a:lnTo>
                    <a:pt x="277" y="281"/>
                  </a:lnTo>
                  <a:lnTo>
                    <a:pt x="260" y="297"/>
                  </a:lnTo>
                  <a:lnTo>
                    <a:pt x="272" y="297"/>
                  </a:lnTo>
                  <a:lnTo>
                    <a:pt x="272" y="314"/>
                  </a:lnTo>
                  <a:lnTo>
                    <a:pt x="260" y="297"/>
                  </a:lnTo>
                  <a:lnTo>
                    <a:pt x="255" y="304"/>
                  </a:lnTo>
                  <a:lnTo>
                    <a:pt x="239" y="297"/>
                  </a:lnTo>
                  <a:lnTo>
                    <a:pt x="206" y="304"/>
                  </a:lnTo>
                  <a:lnTo>
                    <a:pt x="206" y="314"/>
                  </a:lnTo>
                  <a:lnTo>
                    <a:pt x="222" y="314"/>
                  </a:lnTo>
                  <a:lnTo>
                    <a:pt x="206" y="333"/>
                  </a:lnTo>
                  <a:lnTo>
                    <a:pt x="201" y="304"/>
                  </a:lnTo>
                  <a:lnTo>
                    <a:pt x="189" y="321"/>
                  </a:lnTo>
                  <a:lnTo>
                    <a:pt x="201" y="333"/>
                  </a:lnTo>
                  <a:lnTo>
                    <a:pt x="189" y="337"/>
                  </a:lnTo>
                  <a:lnTo>
                    <a:pt x="180" y="337"/>
                  </a:lnTo>
                  <a:lnTo>
                    <a:pt x="189" y="333"/>
                  </a:lnTo>
                  <a:lnTo>
                    <a:pt x="189" y="321"/>
                  </a:lnTo>
                  <a:lnTo>
                    <a:pt x="168" y="333"/>
                  </a:lnTo>
                  <a:lnTo>
                    <a:pt x="163" y="349"/>
                  </a:lnTo>
                  <a:lnTo>
                    <a:pt x="151" y="333"/>
                  </a:lnTo>
                  <a:lnTo>
                    <a:pt x="137" y="354"/>
                  </a:lnTo>
                  <a:lnTo>
                    <a:pt x="114" y="321"/>
                  </a:lnTo>
                  <a:lnTo>
                    <a:pt x="114" y="321"/>
                  </a:lnTo>
                  <a:lnTo>
                    <a:pt x="130" y="333"/>
                  </a:lnTo>
                  <a:lnTo>
                    <a:pt x="130" y="333"/>
                  </a:lnTo>
                  <a:lnTo>
                    <a:pt x="137" y="333"/>
                  </a:lnTo>
                  <a:lnTo>
                    <a:pt x="130" y="321"/>
                  </a:lnTo>
                  <a:lnTo>
                    <a:pt x="137" y="314"/>
                  </a:lnTo>
                  <a:lnTo>
                    <a:pt x="130" y="304"/>
                  </a:lnTo>
                  <a:lnTo>
                    <a:pt x="130" y="314"/>
                  </a:lnTo>
                  <a:lnTo>
                    <a:pt x="125" y="314"/>
                  </a:lnTo>
                  <a:lnTo>
                    <a:pt x="125" y="297"/>
                  </a:lnTo>
                  <a:lnTo>
                    <a:pt x="114" y="304"/>
                  </a:lnTo>
                  <a:lnTo>
                    <a:pt x="114" y="292"/>
                  </a:lnTo>
                  <a:lnTo>
                    <a:pt x="125" y="281"/>
                  </a:lnTo>
                  <a:lnTo>
                    <a:pt x="125" y="297"/>
                  </a:lnTo>
                  <a:lnTo>
                    <a:pt x="125" y="281"/>
                  </a:lnTo>
                  <a:lnTo>
                    <a:pt x="125" y="264"/>
                  </a:lnTo>
                  <a:lnTo>
                    <a:pt x="130" y="259"/>
                  </a:lnTo>
                  <a:lnTo>
                    <a:pt x="147" y="248"/>
                  </a:lnTo>
                  <a:lnTo>
                    <a:pt x="130" y="243"/>
                  </a:lnTo>
                  <a:lnTo>
                    <a:pt x="151" y="226"/>
                  </a:lnTo>
                  <a:lnTo>
                    <a:pt x="137" y="226"/>
                  </a:lnTo>
                  <a:lnTo>
                    <a:pt x="137" y="222"/>
                  </a:lnTo>
                  <a:lnTo>
                    <a:pt x="151" y="210"/>
                  </a:lnTo>
                  <a:lnTo>
                    <a:pt x="147" y="222"/>
                  </a:lnTo>
                  <a:lnTo>
                    <a:pt x="130" y="205"/>
                  </a:lnTo>
                  <a:lnTo>
                    <a:pt x="130" y="155"/>
                  </a:lnTo>
                  <a:lnTo>
                    <a:pt x="125" y="155"/>
                  </a:lnTo>
                  <a:lnTo>
                    <a:pt x="114" y="172"/>
                  </a:lnTo>
                  <a:lnTo>
                    <a:pt x="114" y="155"/>
                  </a:lnTo>
                  <a:lnTo>
                    <a:pt x="109" y="155"/>
                  </a:lnTo>
                  <a:lnTo>
                    <a:pt x="114" y="139"/>
                  </a:lnTo>
                  <a:lnTo>
                    <a:pt x="114" y="148"/>
                  </a:lnTo>
                  <a:lnTo>
                    <a:pt x="125" y="148"/>
                  </a:lnTo>
                  <a:lnTo>
                    <a:pt x="125" y="132"/>
                  </a:lnTo>
                  <a:lnTo>
                    <a:pt x="125" y="132"/>
                  </a:lnTo>
                  <a:lnTo>
                    <a:pt x="130" y="148"/>
                  </a:lnTo>
                  <a:lnTo>
                    <a:pt x="130" y="132"/>
                  </a:lnTo>
                  <a:lnTo>
                    <a:pt x="151" y="139"/>
                  </a:lnTo>
                  <a:lnTo>
                    <a:pt x="151" y="155"/>
                  </a:lnTo>
                  <a:lnTo>
                    <a:pt x="168" y="139"/>
                  </a:lnTo>
                  <a:lnTo>
                    <a:pt x="147" y="132"/>
                  </a:lnTo>
                  <a:lnTo>
                    <a:pt x="151" y="115"/>
                  </a:lnTo>
                  <a:lnTo>
                    <a:pt x="137" y="127"/>
                  </a:lnTo>
                  <a:lnTo>
                    <a:pt x="137" y="115"/>
                  </a:lnTo>
                  <a:lnTo>
                    <a:pt x="151" y="111"/>
                  </a:lnTo>
                  <a:lnTo>
                    <a:pt x="147" y="111"/>
                  </a:lnTo>
                  <a:lnTo>
                    <a:pt x="130" y="78"/>
                  </a:lnTo>
                  <a:lnTo>
                    <a:pt x="130" y="73"/>
                  </a:lnTo>
                  <a:lnTo>
                    <a:pt x="147" y="78"/>
                  </a:lnTo>
                  <a:lnTo>
                    <a:pt x="147" y="61"/>
                  </a:lnTo>
                  <a:lnTo>
                    <a:pt x="147" y="61"/>
                  </a:lnTo>
                  <a:lnTo>
                    <a:pt x="147" y="61"/>
                  </a:lnTo>
                  <a:close/>
                  <a:moveTo>
                    <a:pt x="7" y="56"/>
                  </a:moveTo>
                  <a:lnTo>
                    <a:pt x="7" y="61"/>
                  </a:lnTo>
                  <a:lnTo>
                    <a:pt x="0" y="56"/>
                  </a:lnTo>
                  <a:lnTo>
                    <a:pt x="7" y="56"/>
                  </a:lnTo>
                  <a:lnTo>
                    <a:pt x="7" y="56"/>
                  </a:lnTo>
                  <a:lnTo>
                    <a:pt x="7" y="56"/>
                  </a:lnTo>
                  <a:close/>
                  <a:moveTo>
                    <a:pt x="130" y="73"/>
                  </a:moveTo>
                  <a:lnTo>
                    <a:pt x="130" y="82"/>
                  </a:lnTo>
                  <a:lnTo>
                    <a:pt x="125" y="82"/>
                  </a:lnTo>
                  <a:lnTo>
                    <a:pt x="125" y="73"/>
                  </a:lnTo>
                  <a:lnTo>
                    <a:pt x="130" y="73"/>
                  </a:lnTo>
                  <a:lnTo>
                    <a:pt x="130" y="73"/>
                  </a:lnTo>
                  <a:lnTo>
                    <a:pt x="130" y="73"/>
                  </a:lnTo>
                  <a:close/>
                  <a:moveTo>
                    <a:pt x="440" y="94"/>
                  </a:moveTo>
                  <a:lnTo>
                    <a:pt x="440" y="99"/>
                  </a:lnTo>
                  <a:lnTo>
                    <a:pt x="433" y="94"/>
                  </a:lnTo>
                  <a:lnTo>
                    <a:pt x="440" y="94"/>
                  </a:lnTo>
                  <a:lnTo>
                    <a:pt x="440" y="94"/>
                  </a:lnTo>
                  <a:lnTo>
                    <a:pt x="440" y="94"/>
                  </a:lnTo>
                  <a:close/>
                  <a:moveTo>
                    <a:pt x="125" y="181"/>
                  </a:moveTo>
                  <a:lnTo>
                    <a:pt x="125" y="181"/>
                  </a:lnTo>
                  <a:lnTo>
                    <a:pt x="125" y="165"/>
                  </a:lnTo>
                  <a:lnTo>
                    <a:pt x="125" y="181"/>
                  </a:lnTo>
                  <a:lnTo>
                    <a:pt x="125" y="181"/>
                  </a:lnTo>
                  <a:lnTo>
                    <a:pt x="125" y="181"/>
                  </a:lnTo>
                  <a:close/>
                  <a:moveTo>
                    <a:pt x="288" y="304"/>
                  </a:moveTo>
                  <a:lnTo>
                    <a:pt x="288" y="314"/>
                  </a:lnTo>
                  <a:lnTo>
                    <a:pt x="277" y="321"/>
                  </a:lnTo>
                  <a:lnTo>
                    <a:pt x="277" y="314"/>
                  </a:lnTo>
                  <a:lnTo>
                    <a:pt x="272" y="304"/>
                  </a:lnTo>
                  <a:lnTo>
                    <a:pt x="288" y="304"/>
                  </a:lnTo>
                  <a:lnTo>
                    <a:pt x="288" y="304"/>
                  </a:lnTo>
                  <a:lnTo>
                    <a:pt x="288" y="304"/>
                  </a:lnTo>
                  <a:close/>
                  <a:moveTo>
                    <a:pt x="234" y="304"/>
                  </a:moveTo>
                  <a:lnTo>
                    <a:pt x="234" y="314"/>
                  </a:lnTo>
                  <a:lnTo>
                    <a:pt x="239" y="314"/>
                  </a:lnTo>
                  <a:lnTo>
                    <a:pt x="239" y="321"/>
                  </a:lnTo>
                  <a:lnTo>
                    <a:pt x="222" y="321"/>
                  </a:lnTo>
                  <a:lnTo>
                    <a:pt x="222" y="304"/>
                  </a:lnTo>
                  <a:lnTo>
                    <a:pt x="234" y="304"/>
                  </a:lnTo>
                  <a:lnTo>
                    <a:pt x="234" y="304"/>
                  </a:lnTo>
                  <a:lnTo>
                    <a:pt x="234" y="304"/>
                  </a:lnTo>
                  <a:close/>
                  <a:moveTo>
                    <a:pt x="222" y="333"/>
                  </a:moveTo>
                  <a:lnTo>
                    <a:pt x="222" y="333"/>
                  </a:lnTo>
                  <a:lnTo>
                    <a:pt x="218" y="333"/>
                  </a:lnTo>
                  <a:lnTo>
                    <a:pt x="222" y="333"/>
                  </a:lnTo>
                  <a:lnTo>
                    <a:pt x="222" y="333"/>
                  </a:lnTo>
                  <a:lnTo>
                    <a:pt x="222" y="333"/>
                  </a:lnTo>
                  <a:close/>
                  <a:moveTo>
                    <a:pt x="125" y="337"/>
                  </a:moveTo>
                  <a:lnTo>
                    <a:pt x="114" y="349"/>
                  </a:lnTo>
                  <a:lnTo>
                    <a:pt x="99" y="349"/>
                  </a:lnTo>
                  <a:lnTo>
                    <a:pt x="114" y="333"/>
                  </a:lnTo>
                  <a:lnTo>
                    <a:pt x="125" y="337"/>
                  </a:lnTo>
                  <a:lnTo>
                    <a:pt x="125" y="337"/>
                  </a:lnTo>
                  <a:lnTo>
                    <a:pt x="125" y="337"/>
                  </a:lnTo>
                  <a:close/>
                  <a:moveTo>
                    <a:pt x="222" y="337"/>
                  </a:moveTo>
                  <a:lnTo>
                    <a:pt x="222" y="337"/>
                  </a:lnTo>
                  <a:lnTo>
                    <a:pt x="218" y="337"/>
                  </a:lnTo>
                  <a:lnTo>
                    <a:pt x="222" y="337"/>
                  </a:lnTo>
                  <a:lnTo>
                    <a:pt x="222" y="337"/>
                  </a:lnTo>
                  <a:lnTo>
                    <a:pt x="222" y="337"/>
                  </a:lnTo>
                  <a:close/>
                  <a:moveTo>
                    <a:pt x="184" y="337"/>
                  </a:moveTo>
                  <a:lnTo>
                    <a:pt x="184" y="349"/>
                  </a:lnTo>
                  <a:lnTo>
                    <a:pt x="180" y="349"/>
                  </a:lnTo>
                  <a:lnTo>
                    <a:pt x="184" y="337"/>
                  </a:lnTo>
                  <a:lnTo>
                    <a:pt x="184" y="337"/>
                  </a:lnTo>
                  <a:lnTo>
                    <a:pt x="184" y="337"/>
                  </a:lnTo>
                  <a:close/>
                  <a:moveTo>
                    <a:pt x="147" y="349"/>
                  </a:moveTo>
                  <a:lnTo>
                    <a:pt x="147" y="354"/>
                  </a:lnTo>
                  <a:lnTo>
                    <a:pt x="137" y="354"/>
                  </a:lnTo>
                  <a:lnTo>
                    <a:pt x="147" y="349"/>
                  </a:lnTo>
                  <a:lnTo>
                    <a:pt x="147" y="349"/>
                  </a:lnTo>
                  <a:lnTo>
                    <a:pt x="147" y="349"/>
                  </a:lnTo>
                  <a:close/>
                  <a:moveTo>
                    <a:pt x="151" y="415"/>
                  </a:moveTo>
                  <a:lnTo>
                    <a:pt x="163" y="425"/>
                  </a:lnTo>
                  <a:lnTo>
                    <a:pt x="151" y="432"/>
                  </a:lnTo>
                  <a:lnTo>
                    <a:pt x="114" y="441"/>
                  </a:lnTo>
                  <a:lnTo>
                    <a:pt x="109" y="441"/>
                  </a:lnTo>
                  <a:lnTo>
                    <a:pt x="114" y="425"/>
                  </a:lnTo>
                  <a:lnTo>
                    <a:pt x="151" y="415"/>
                  </a:lnTo>
                  <a:lnTo>
                    <a:pt x="151" y="415"/>
                  </a:lnTo>
                  <a:lnTo>
                    <a:pt x="151" y="41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5" name="Freeform 486">
              <a:extLst>
                <a:ext uri="{FF2B5EF4-FFF2-40B4-BE49-F238E27FC236}">
                  <a16:creationId xmlns:a16="http://schemas.microsoft.com/office/drawing/2014/main" id="{7D54BB71-9227-4063-B1A0-E7E05C94D231}"/>
                </a:ext>
              </a:extLst>
            </p:cNvPr>
            <p:cNvSpPr>
              <a:spLocks/>
            </p:cNvSpPr>
            <p:nvPr/>
          </p:nvSpPr>
          <p:spPr bwMode="gray">
            <a:xfrm>
              <a:off x="16168124" y="4358896"/>
              <a:ext cx="2291" cy="5237"/>
            </a:xfrm>
            <a:custGeom>
              <a:avLst/>
              <a:gdLst>
                <a:gd name="T0" fmla="*/ 7 w 7"/>
                <a:gd name="T1" fmla="*/ 16 h 16"/>
                <a:gd name="T2" fmla="*/ 0 w 7"/>
                <a:gd name="T3" fmla="*/ 7 h 16"/>
                <a:gd name="T4" fmla="*/ 7 w 7"/>
                <a:gd name="T5" fmla="*/ 0 h 16"/>
                <a:gd name="T6" fmla="*/ 7 w 7"/>
                <a:gd name="T7" fmla="*/ 16 h 16"/>
                <a:gd name="T8" fmla="*/ 7 w 7"/>
                <a:gd name="T9" fmla="*/ 16 h 16"/>
                <a:gd name="T10" fmla="*/ 7 w 7"/>
                <a:gd name="T11" fmla="*/ 16 h 16"/>
              </a:gdLst>
              <a:ahLst/>
              <a:cxnLst>
                <a:cxn ang="0">
                  <a:pos x="T0" y="T1"/>
                </a:cxn>
                <a:cxn ang="0">
                  <a:pos x="T2" y="T3"/>
                </a:cxn>
                <a:cxn ang="0">
                  <a:pos x="T4" y="T5"/>
                </a:cxn>
                <a:cxn ang="0">
                  <a:pos x="T6" y="T7"/>
                </a:cxn>
                <a:cxn ang="0">
                  <a:pos x="T8" y="T9"/>
                </a:cxn>
                <a:cxn ang="0">
                  <a:pos x="T10" y="T11"/>
                </a:cxn>
              </a:cxnLst>
              <a:rect l="0" t="0" r="r" b="b"/>
              <a:pathLst>
                <a:path w="7" h="16">
                  <a:moveTo>
                    <a:pt x="7" y="16"/>
                  </a:moveTo>
                  <a:lnTo>
                    <a:pt x="0" y="7"/>
                  </a:lnTo>
                  <a:lnTo>
                    <a:pt x="7" y="0"/>
                  </a:lnTo>
                  <a:lnTo>
                    <a:pt x="7" y="16"/>
                  </a:lnTo>
                  <a:lnTo>
                    <a:pt x="7" y="16"/>
                  </a:lnTo>
                  <a:lnTo>
                    <a:pt x="7" y="1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6" name="Freeform 487">
              <a:extLst>
                <a:ext uri="{FF2B5EF4-FFF2-40B4-BE49-F238E27FC236}">
                  <a16:creationId xmlns:a16="http://schemas.microsoft.com/office/drawing/2014/main" id="{A2A34F1B-C5DB-4FA9-99F4-3087DE3D959B}"/>
                </a:ext>
              </a:extLst>
            </p:cNvPr>
            <p:cNvSpPr>
              <a:spLocks noEditPoints="1"/>
            </p:cNvSpPr>
            <p:nvPr/>
          </p:nvSpPr>
          <p:spPr bwMode="gray">
            <a:xfrm>
              <a:off x="14812134" y="3383225"/>
              <a:ext cx="42549" cy="40258"/>
            </a:xfrm>
            <a:custGeom>
              <a:avLst/>
              <a:gdLst>
                <a:gd name="T0" fmla="*/ 0 w 130"/>
                <a:gd name="T1" fmla="*/ 73 h 123"/>
                <a:gd name="T2" fmla="*/ 33 w 130"/>
                <a:gd name="T3" fmla="*/ 45 h 123"/>
                <a:gd name="T4" fmla="*/ 50 w 130"/>
                <a:gd name="T5" fmla="*/ 0 h 123"/>
                <a:gd name="T6" fmla="*/ 87 w 130"/>
                <a:gd name="T7" fmla="*/ 0 h 123"/>
                <a:gd name="T8" fmla="*/ 104 w 130"/>
                <a:gd name="T9" fmla="*/ 0 h 123"/>
                <a:gd name="T10" fmla="*/ 118 w 130"/>
                <a:gd name="T11" fmla="*/ 45 h 123"/>
                <a:gd name="T12" fmla="*/ 104 w 130"/>
                <a:gd name="T13" fmla="*/ 33 h 123"/>
                <a:gd name="T14" fmla="*/ 87 w 130"/>
                <a:gd name="T15" fmla="*/ 56 h 123"/>
                <a:gd name="T16" fmla="*/ 109 w 130"/>
                <a:gd name="T17" fmla="*/ 56 h 123"/>
                <a:gd name="T18" fmla="*/ 130 w 130"/>
                <a:gd name="T19" fmla="*/ 123 h 123"/>
                <a:gd name="T20" fmla="*/ 87 w 130"/>
                <a:gd name="T21" fmla="*/ 123 h 123"/>
                <a:gd name="T22" fmla="*/ 66 w 130"/>
                <a:gd name="T23" fmla="*/ 85 h 123"/>
                <a:gd name="T24" fmla="*/ 0 w 130"/>
                <a:gd name="T25" fmla="*/ 73 h 123"/>
                <a:gd name="T26" fmla="*/ 0 w 130"/>
                <a:gd name="T27" fmla="*/ 73 h 123"/>
                <a:gd name="T28" fmla="*/ 0 w 130"/>
                <a:gd name="T29" fmla="*/ 73 h 123"/>
                <a:gd name="T30" fmla="*/ 0 w 130"/>
                <a:gd name="T31" fmla="*/ 73 h 123"/>
                <a:gd name="T32" fmla="*/ 118 w 130"/>
                <a:gd name="T33" fmla="*/ 9 h 123"/>
                <a:gd name="T34" fmla="*/ 130 w 130"/>
                <a:gd name="T35" fmla="*/ 28 h 123"/>
                <a:gd name="T36" fmla="*/ 118 w 130"/>
                <a:gd name="T37" fmla="*/ 45 h 123"/>
                <a:gd name="T38" fmla="*/ 109 w 130"/>
                <a:gd name="T39" fmla="*/ 28 h 123"/>
                <a:gd name="T40" fmla="*/ 109 w 130"/>
                <a:gd name="T41" fmla="*/ 9 h 123"/>
                <a:gd name="T42" fmla="*/ 118 w 130"/>
                <a:gd name="T43" fmla="*/ 9 h 123"/>
                <a:gd name="T44" fmla="*/ 118 w 130"/>
                <a:gd name="T45" fmla="*/ 9 h 123"/>
                <a:gd name="T46" fmla="*/ 118 w 130"/>
                <a:gd name="T47" fmla="*/ 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123">
                  <a:moveTo>
                    <a:pt x="0" y="73"/>
                  </a:moveTo>
                  <a:lnTo>
                    <a:pt x="33" y="45"/>
                  </a:lnTo>
                  <a:lnTo>
                    <a:pt x="50" y="0"/>
                  </a:lnTo>
                  <a:lnTo>
                    <a:pt x="87" y="0"/>
                  </a:lnTo>
                  <a:lnTo>
                    <a:pt x="104" y="0"/>
                  </a:lnTo>
                  <a:lnTo>
                    <a:pt x="118" y="45"/>
                  </a:lnTo>
                  <a:lnTo>
                    <a:pt x="104" y="33"/>
                  </a:lnTo>
                  <a:lnTo>
                    <a:pt x="87" y="56"/>
                  </a:lnTo>
                  <a:lnTo>
                    <a:pt x="109" y="56"/>
                  </a:lnTo>
                  <a:lnTo>
                    <a:pt x="130" y="123"/>
                  </a:lnTo>
                  <a:lnTo>
                    <a:pt x="87" y="123"/>
                  </a:lnTo>
                  <a:lnTo>
                    <a:pt x="66" y="85"/>
                  </a:lnTo>
                  <a:lnTo>
                    <a:pt x="0" y="73"/>
                  </a:lnTo>
                  <a:lnTo>
                    <a:pt x="0" y="73"/>
                  </a:lnTo>
                  <a:lnTo>
                    <a:pt x="0" y="73"/>
                  </a:lnTo>
                  <a:lnTo>
                    <a:pt x="0" y="73"/>
                  </a:lnTo>
                  <a:close/>
                  <a:moveTo>
                    <a:pt x="118" y="9"/>
                  </a:moveTo>
                  <a:lnTo>
                    <a:pt x="130" y="28"/>
                  </a:lnTo>
                  <a:lnTo>
                    <a:pt x="118" y="45"/>
                  </a:lnTo>
                  <a:lnTo>
                    <a:pt x="109" y="28"/>
                  </a:lnTo>
                  <a:lnTo>
                    <a:pt x="109" y="9"/>
                  </a:lnTo>
                  <a:lnTo>
                    <a:pt x="118" y="9"/>
                  </a:lnTo>
                  <a:lnTo>
                    <a:pt x="118" y="9"/>
                  </a:lnTo>
                  <a:lnTo>
                    <a:pt x="118" y="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7" name="Freeform 488">
              <a:extLst>
                <a:ext uri="{FF2B5EF4-FFF2-40B4-BE49-F238E27FC236}">
                  <a16:creationId xmlns:a16="http://schemas.microsoft.com/office/drawing/2014/main" id="{77430B18-6EBD-4734-8D08-3162DAE7ABD8}"/>
                </a:ext>
              </a:extLst>
            </p:cNvPr>
            <p:cNvSpPr>
              <a:spLocks noEditPoints="1"/>
            </p:cNvSpPr>
            <p:nvPr/>
          </p:nvSpPr>
          <p:spPr bwMode="gray">
            <a:xfrm>
              <a:off x="14812134" y="2651063"/>
              <a:ext cx="937050" cy="450688"/>
            </a:xfrm>
            <a:custGeom>
              <a:avLst/>
              <a:gdLst>
                <a:gd name="T0" fmla="*/ 456 w 2863"/>
                <a:gd name="T1" fmla="*/ 1240 h 1377"/>
                <a:gd name="T2" fmla="*/ 364 w 2863"/>
                <a:gd name="T3" fmla="*/ 1155 h 1377"/>
                <a:gd name="T4" fmla="*/ 267 w 2863"/>
                <a:gd name="T5" fmla="*/ 1015 h 1377"/>
                <a:gd name="T6" fmla="*/ 309 w 2863"/>
                <a:gd name="T7" fmla="*/ 994 h 1377"/>
                <a:gd name="T8" fmla="*/ 465 w 2863"/>
                <a:gd name="T9" fmla="*/ 878 h 1377"/>
                <a:gd name="T10" fmla="*/ 394 w 2863"/>
                <a:gd name="T11" fmla="*/ 829 h 1377"/>
                <a:gd name="T12" fmla="*/ 196 w 2863"/>
                <a:gd name="T13" fmla="*/ 850 h 1377"/>
                <a:gd name="T14" fmla="*/ 158 w 2863"/>
                <a:gd name="T15" fmla="*/ 834 h 1377"/>
                <a:gd name="T16" fmla="*/ 0 w 2863"/>
                <a:gd name="T17" fmla="*/ 678 h 1377"/>
                <a:gd name="T18" fmla="*/ 71 w 2863"/>
                <a:gd name="T19" fmla="*/ 493 h 1377"/>
                <a:gd name="T20" fmla="*/ 158 w 2863"/>
                <a:gd name="T21" fmla="*/ 510 h 1377"/>
                <a:gd name="T22" fmla="*/ 272 w 2863"/>
                <a:gd name="T23" fmla="*/ 399 h 1377"/>
                <a:gd name="T24" fmla="*/ 335 w 2863"/>
                <a:gd name="T25" fmla="*/ 382 h 1377"/>
                <a:gd name="T26" fmla="*/ 411 w 2863"/>
                <a:gd name="T27" fmla="*/ 366 h 1377"/>
                <a:gd name="T28" fmla="*/ 562 w 2863"/>
                <a:gd name="T29" fmla="*/ 456 h 1377"/>
                <a:gd name="T30" fmla="*/ 574 w 2863"/>
                <a:gd name="T31" fmla="*/ 434 h 1377"/>
                <a:gd name="T32" fmla="*/ 713 w 2863"/>
                <a:gd name="T33" fmla="*/ 434 h 1377"/>
                <a:gd name="T34" fmla="*/ 827 w 2863"/>
                <a:gd name="T35" fmla="*/ 423 h 1377"/>
                <a:gd name="T36" fmla="*/ 914 w 2863"/>
                <a:gd name="T37" fmla="*/ 489 h 1377"/>
                <a:gd name="T38" fmla="*/ 1061 w 2863"/>
                <a:gd name="T39" fmla="*/ 418 h 1377"/>
                <a:gd name="T40" fmla="*/ 952 w 2863"/>
                <a:gd name="T41" fmla="*/ 349 h 1377"/>
                <a:gd name="T42" fmla="*/ 1006 w 2863"/>
                <a:gd name="T43" fmla="*/ 278 h 1377"/>
                <a:gd name="T44" fmla="*/ 1028 w 2863"/>
                <a:gd name="T45" fmla="*/ 217 h 1377"/>
                <a:gd name="T46" fmla="*/ 1037 w 2863"/>
                <a:gd name="T47" fmla="*/ 167 h 1377"/>
                <a:gd name="T48" fmla="*/ 1129 w 2863"/>
                <a:gd name="T49" fmla="*/ 160 h 1377"/>
                <a:gd name="T50" fmla="*/ 1226 w 2863"/>
                <a:gd name="T51" fmla="*/ 111 h 1377"/>
                <a:gd name="T52" fmla="*/ 1368 w 2863"/>
                <a:gd name="T53" fmla="*/ 89 h 1377"/>
                <a:gd name="T54" fmla="*/ 1561 w 2863"/>
                <a:gd name="T55" fmla="*/ 12 h 1377"/>
                <a:gd name="T56" fmla="*/ 1687 w 2863"/>
                <a:gd name="T57" fmla="*/ 16 h 1377"/>
                <a:gd name="T58" fmla="*/ 1729 w 2863"/>
                <a:gd name="T59" fmla="*/ 111 h 1377"/>
                <a:gd name="T60" fmla="*/ 1795 w 2863"/>
                <a:gd name="T61" fmla="*/ 106 h 1377"/>
                <a:gd name="T62" fmla="*/ 1838 w 2863"/>
                <a:gd name="T63" fmla="*/ 156 h 1377"/>
                <a:gd name="T64" fmla="*/ 1918 w 2863"/>
                <a:gd name="T65" fmla="*/ 139 h 1377"/>
                <a:gd name="T66" fmla="*/ 1946 w 2863"/>
                <a:gd name="T67" fmla="*/ 184 h 1377"/>
                <a:gd name="T68" fmla="*/ 2027 w 2863"/>
                <a:gd name="T69" fmla="*/ 139 h 1377"/>
                <a:gd name="T70" fmla="*/ 2119 w 2863"/>
                <a:gd name="T71" fmla="*/ 127 h 1377"/>
                <a:gd name="T72" fmla="*/ 2376 w 2863"/>
                <a:gd name="T73" fmla="*/ 423 h 1377"/>
                <a:gd name="T74" fmla="*/ 2523 w 2863"/>
                <a:gd name="T75" fmla="*/ 460 h 1377"/>
                <a:gd name="T76" fmla="*/ 2702 w 2863"/>
                <a:gd name="T77" fmla="*/ 534 h 1377"/>
                <a:gd name="T78" fmla="*/ 2825 w 2863"/>
                <a:gd name="T79" fmla="*/ 550 h 1377"/>
                <a:gd name="T80" fmla="*/ 2837 w 2863"/>
                <a:gd name="T81" fmla="*/ 612 h 1377"/>
                <a:gd name="T82" fmla="*/ 2750 w 2863"/>
                <a:gd name="T83" fmla="*/ 777 h 1377"/>
                <a:gd name="T84" fmla="*/ 2627 w 2863"/>
                <a:gd name="T85" fmla="*/ 810 h 1377"/>
                <a:gd name="T86" fmla="*/ 2485 w 2863"/>
                <a:gd name="T87" fmla="*/ 978 h 1377"/>
                <a:gd name="T88" fmla="*/ 2376 w 2863"/>
                <a:gd name="T89" fmla="*/ 1027 h 1377"/>
                <a:gd name="T90" fmla="*/ 2362 w 2863"/>
                <a:gd name="T91" fmla="*/ 1200 h 1377"/>
                <a:gd name="T92" fmla="*/ 2157 w 2863"/>
                <a:gd name="T93" fmla="*/ 1178 h 1377"/>
                <a:gd name="T94" fmla="*/ 1902 w 2863"/>
                <a:gd name="T95" fmla="*/ 1162 h 1377"/>
                <a:gd name="T96" fmla="*/ 1713 w 2863"/>
                <a:gd name="T97" fmla="*/ 1233 h 1377"/>
                <a:gd name="T98" fmla="*/ 1583 w 2863"/>
                <a:gd name="T99" fmla="*/ 1323 h 1377"/>
                <a:gd name="T100" fmla="*/ 1422 w 2863"/>
                <a:gd name="T101" fmla="*/ 1327 h 1377"/>
                <a:gd name="T102" fmla="*/ 1292 w 2863"/>
                <a:gd name="T103" fmla="*/ 1105 h 1377"/>
                <a:gd name="T104" fmla="*/ 666 w 2863"/>
                <a:gd name="T105" fmla="*/ 1311 h 1377"/>
                <a:gd name="T106" fmla="*/ 456 w 2863"/>
                <a:gd name="T107" fmla="*/ 883 h 1377"/>
                <a:gd name="T108" fmla="*/ 267 w 2863"/>
                <a:gd name="T109" fmla="*/ 994 h 1377"/>
                <a:gd name="T110" fmla="*/ 255 w 2863"/>
                <a:gd name="T111" fmla="*/ 999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3" h="1377">
                  <a:moveTo>
                    <a:pt x="666" y="1311"/>
                  </a:moveTo>
                  <a:lnTo>
                    <a:pt x="628" y="1323"/>
                  </a:lnTo>
                  <a:lnTo>
                    <a:pt x="595" y="1273"/>
                  </a:lnTo>
                  <a:lnTo>
                    <a:pt x="595" y="1266"/>
                  </a:lnTo>
                  <a:lnTo>
                    <a:pt x="541" y="1221"/>
                  </a:lnTo>
                  <a:lnTo>
                    <a:pt x="487" y="1233"/>
                  </a:lnTo>
                  <a:lnTo>
                    <a:pt x="456" y="1240"/>
                  </a:lnTo>
                  <a:lnTo>
                    <a:pt x="418" y="1282"/>
                  </a:lnTo>
                  <a:lnTo>
                    <a:pt x="418" y="1266"/>
                  </a:lnTo>
                  <a:lnTo>
                    <a:pt x="411" y="1249"/>
                  </a:lnTo>
                  <a:lnTo>
                    <a:pt x="432" y="1195"/>
                  </a:lnTo>
                  <a:lnTo>
                    <a:pt x="394" y="1178"/>
                  </a:lnTo>
                  <a:lnTo>
                    <a:pt x="380" y="1183"/>
                  </a:lnTo>
                  <a:lnTo>
                    <a:pt x="364" y="1155"/>
                  </a:lnTo>
                  <a:lnTo>
                    <a:pt x="335" y="1155"/>
                  </a:lnTo>
                  <a:lnTo>
                    <a:pt x="335" y="1129"/>
                  </a:lnTo>
                  <a:lnTo>
                    <a:pt x="319" y="1100"/>
                  </a:lnTo>
                  <a:lnTo>
                    <a:pt x="305" y="1067"/>
                  </a:lnTo>
                  <a:lnTo>
                    <a:pt x="267" y="1051"/>
                  </a:lnTo>
                  <a:lnTo>
                    <a:pt x="267" y="1027"/>
                  </a:lnTo>
                  <a:lnTo>
                    <a:pt x="267" y="1015"/>
                  </a:lnTo>
                  <a:lnTo>
                    <a:pt x="305" y="1027"/>
                  </a:lnTo>
                  <a:lnTo>
                    <a:pt x="326" y="1034"/>
                  </a:lnTo>
                  <a:lnTo>
                    <a:pt x="357" y="1034"/>
                  </a:lnTo>
                  <a:lnTo>
                    <a:pt x="335" y="1027"/>
                  </a:lnTo>
                  <a:lnTo>
                    <a:pt x="335" y="1015"/>
                  </a:lnTo>
                  <a:lnTo>
                    <a:pt x="309" y="999"/>
                  </a:lnTo>
                  <a:lnTo>
                    <a:pt x="309" y="994"/>
                  </a:lnTo>
                  <a:lnTo>
                    <a:pt x="335" y="978"/>
                  </a:lnTo>
                  <a:lnTo>
                    <a:pt x="343" y="956"/>
                  </a:lnTo>
                  <a:lnTo>
                    <a:pt x="418" y="956"/>
                  </a:lnTo>
                  <a:lnTo>
                    <a:pt x="470" y="961"/>
                  </a:lnTo>
                  <a:lnTo>
                    <a:pt x="432" y="940"/>
                  </a:lnTo>
                  <a:lnTo>
                    <a:pt x="465" y="900"/>
                  </a:lnTo>
                  <a:lnTo>
                    <a:pt x="465" y="878"/>
                  </a:lnTo>
                  <a:lnTo>
                    <a:pt x="456" y="862"/>
                  </a:lnTo>
                  <a:lnTo>
                    <a:pt x="470" y="845"/>
                  </a:lnTo>
                  <a:lnTo>
                    <a:pt x="470" y="834"/>
                  </a:lnTo>
                  <a:lnTo>
                    <a:pt x="456" y="822"/>
                  </a:lnTo>
                  <a:lnTo>
                    <a:pt x="449" y="810"/>
                  </a:lnTo>
                  <a:lnTo>
                    <a:pt x="418" y="810"/>
                  </a:lnTo>
                  <a:lnTo>
                    <a:pt x="394" y="829"/>
                  </a:lnTo>
                  <a:lnTo>
                    <a:pt x="373" y="822"/>
                  </a:lnTo>
                  <a:lnTo>
                    <a:pt x="357" y="805"/>
                  </a:lnTo>
                  <a:lnTo>
                    <a:pt x="326" y="805"/>
                  </a:lnTo>
                  <a:lnTo>
                    <a:pt x="305" y="822"/>
                  </a:lnTo>
                  <a:lnTo>
                    <a:pt x="272" y="822"/>
                  </a:lnTo>
                  <a:lnTo>
                    <a:pt x="234" y="850"/>
                  </a:lnTo>
                  <a:lnTo>
                    <a:pt x="196" y="850"/>
                  </a:lnTo>
                  <a:lnTo>
                    <a:pt x="201" y="867"/>
                  </a:lnTo>
                  <a:lnTo>
                    <a:pt x="196" y="862"/>
                  </a:lnTo>
                  <a:lnTo>
                    <a:pt x="184" y="867"/>
                  </a:lnTo>
                  <a:lnTo>
                    <a:pt x="142" y="850"/>
                  </a:lnTo>
                  <a:lnTo>
                    <a:pt x="142" y="834"/>
                  </a:lnTo>
                  <a:lnTo>
                    <a:pt x="158" y="834"/>
                  </a:lnTo>
                  <a:lnTo>
                    <a:pt x="158" y="834"/>
                  </a:lnTo>
                  <a:lnTo>
                    <a:pt x="180" y="829"/>
                  </a:lnTo>
                  <a:lnTo>
                    <a:pt x="120" y="751"/>
                  </a:lnTo>
                  <a:lnTo>
                    <a:pt x="66" y="734"/>
                  </a:lnTo>
                  <a:lnTo>
                    <a:pt x="66" y="751"/>
                  </a:lnTo>
                  <a:lnTo>
                    <a:pt x="50" y="734"/>
                  </a:lnTo>
                  <a:lnTo>
                    <a:pt x="38" y="694"/>
                  </a:lnTo>
                  <a:lnTo>
                    <a:pt x="0" y="678"/>
                  </a:lnTo>
                  <a:lnTo>
                    <a:pt x="17" y="628"/>
                  </a:lnTo>
                  <a:lnTo>
                    <a:pt x="38" y="612"/>
                  </a:lnTo>
                  <a:lnTo>
                    <a:pt x="17" y="600"/>
                  </a:lnTo>
                  <a:lnTo>
                    <a:pt x="33" y="550"/>
                  </a:lnTo>
                  <a:lnTo>
                    <a:pt x="54" y="529"/>
                  </a:lnTo>
                  <a:lnTo>
                    <a:pt x="54" y="501"/>
                  </a:lnTo>
                  <a:lnTo>
                    <a:pt x="71" y="493"/>
                  </a:lnTo>
                  <a:lnTo>
                    <a:pt x="76" y="489"/>
                  </a:lnTo>
                  <a:lnTo>
                    <a:pt x="104" y="510"/>
                  </a:lnTo>
                  <a:lnTo>
                    <a:pt x="125" y="545"/>
                  </a:lnTo>
                  <a:lnTo>
                    <a:pt x="130" y="550"/>
                  </a:lnTo>
                  <a:lnTo>
                    <a:pt x="163" y="545"/>
                  </a:lnTo>
                  <a:lnTo>
                    <a:pt x="175" y="529"/>
                  </a:lnTo>
                  <a:lnTo>
                    <a:pt x="158" y="510"/>
                  </a:lnTo>
                  <a:lnTo>
                    <a:pt x="158" y="477"/>
                  </a:lnTo>
                  <a:lnTo>
                    <a:pt x="201" y="456"/>
                  </a:lnTo>
                  <a:lnTo>
                    <a:pt x="201" y="439"/>
                  </a:lnTo>
                  <a:lnTo>
                    <a:pt x="213" y="423"/>
                  </a:lnTo>
                  <a:lnTo>
                    <a:pt x="234" y="434"/>
                  </a:lnTo>
                  <a:lnTo>
                    <a:pt x="272" y="406"/>
                  </a:lnTo>
                  <a:lnTo>
                    <a:pt x="272" y="399"/>
                  </a:lnTo>
                  <a:lnTo>
                    <a:pt x="288" y="389"/>
                  </a:lnTo>
                  <a:lnTo>
                    <a:pt x="288" y="378"/>
                  </a:lnTo>
                  <a:lnTo>
                    <a:pt x="305" y="382"/>
                  </a:lnTo>
                  <a:lnTo>
                    <a:pt x="305" y="366"/>
                  </a:lnTo>
                  <a:lnTo>
                    <a:pt x="343" y="378"/>
                  </a:lnTo>
                  <a:lnTo>
                    <a:pt x="343" y="382"/>
                  </a:lnTo>
                  <a:lnTo>
                    <a:pt x="335" y="382"/>
                  </a:lnTo>
                  <a:lnTo>
                    <a:pt x="335" y="389"/>
                  </a:lnTo>
                  <a:lnTo>
                    <a:pt x="364" y="389"/>
                  </a:lnTo>
                  <a:lnTo>
                    <a:pt x="373" y="389"/>
                  </a:lnTo>
                  <a:lnTo>
                    <a:pt x="373" y="382"/>
                  </a:lnTo>
                  <a:lnTo>
                    <a:pt x="380" y="378"/>
                  </a:lnTo>
                  <a:lnTo>
                    <a:pt x="394" y="378"/>
                  </a:lnTo>
                  <a:lnTo>
                    <a:pt x="411" y="366"/>
                  </a:lnTo>
                  <a:lnTo>
                    <a:pt x="428" y="389"/>
                  </a:lnTo>
                  <a:lnTo>
                    <a:pt x="487" y="389"/>
                  </a:lnTo>
                  <a:lnTo>
                    <a:pt x="503" y="399"/>
                  </a:lnTo>
                  <a:lnTo>
                    <a:pt x="503" y="418"/>
                  </a:lnTo>
                  <a:lnTo>
                    <a:pt x="524" y="423"/>
                  </a:lnTo>
                  <a:lnTo>
                    <a:pt x="553" y="444"/>
                  </a:lnTo>
                  <a:lnTo>
                    <a:pt x="562" y="456"/>
                  </a:lnTo>
                  <a:lnTo>
                    <a:pt x="557" y="472"/>
                  </a:lnTo>
                  <a:lnTo>
                    <a:pt x="562" y="489"/>
                  </a:lnTo>
                  <a:lnTo>
                    <a:pt x="574" y="477"/>
                  </a:lnTo>
                  <a:lnTo>
                    <a:pt x="574" y="444"/>
                  </a:lnTo>
                  <a:lnTo>
                    <a:pt x="562" y="444"/>
                  </a:lnTo>
                  <a:lnTo>
                    <a:pt x="562" y="439"/>
                  </a:lnTo>
                  <a:lnTo>
                    <a:pt x="574" y="434"/>
                  </a:lnTo>
                  <a:lnTo>
                    <a:pt x="645" y="489"/>
                  </a:lnTo>
                  <a:lnTo>
                    <a:pt x="671" y="460"/>
                  </a:lnTo>
                  <a:lnTo>
                    <a:pt x="683" y="444"/>
                  </a:lnTo>
                  <a:lnTo>
                    <a:pt x="687" y="444"/>
                  </a:lnTo>
                  <a:lnTo>
                    <a:pt x="704" y="434"/>
                  </a:lnTo>
                  <a:lnTo>
                    <a:pt x="720" y="439"/>
                  </a:lnTo>
                  <a:lnTo>
                    <a:pt x="713" y="434"/>
                  </a:lnTo>
                  <a:lnTo>
                    <a:pt x="720" y="434"/>
                  </a:lnTo>
                  <a:lnTo>
                    <a:pt x="742" y="434"/>
                  </a:lnTo>
                  <a:lnTo>
                    <a:pt x="772" y="456"/>
                  </a:lnTo>
                  <a:lnTo>
                    <a:pt x="789" y="444"/>
                  </a:lnTo>
                  <a:lnTo>
                    <a:pt x="789" y="434"/>
                  </a:lnTo>
                  <a:lnTo>
                    <a:pt x="822" y="434"/>
                  </a:lnTo>
                  <a:lnTo>
                    <a:pt x="827" y="423"/>
                  </a:lnTo>
                  <a:lnTo>
                    <a:pt x="848" y="434"/>
                  </a:lnTo>
                  <a:lnTo>
                    <a:pt x="843" y="444"/>
                  </a:lnTo>
                  <a:lnTo>
                    <a:pt x="848" y="456"/>
                  </a:lnTo>
                  <a:lnTo>
                    <a:pt x="876" y="472"/>
                  </a:lnTo>
                  <a:lnTo>
                    <a:pt x="914" y="472"/>
                  </a:lnTo>
                  <a:lnTo>
                    <a:pt x="919" y="477"/>
                  </a:lnTo>
                  <a:lnTo>
                    <a:pt x="914" y="489"/>
                  </a:lnTo>
                  <a:lnTo>
                    <a:pt x="914" y="489"/>
                  </a:lnTo>
                  <a:lnTo>
                    <a:pt x="935" y="477"/>
                  </a:lnTo>
                  <a:lnTo>
                    <a:pt x="952" y="456"/>
                  </a:lnTo>
                  <a:lnTo>
                    <a:pt x="968" y="472"/>
                  </a:lnTo>
                  <a:lnTo>
                    <a:pt x="994" y="472"/>
                  </a:lnTo>
                  <a:lnTo>
                    <a:pt x="1044" y="460"/>
                  </a:lnTo>
                  <a:lnTo>
                    <a:pt x="1061" y="418"/>
                  </a:lnTo>
                  <a:lnTo>
                    <a:pt x="1065" y="418"/>
                  </a:lnTo>
                  <a:lnTo>
                    <a:pt x="1049" y="399"/>
                  </a:lnTo>
                  <a:lnTo>
                    <a:pt x="1011" y="389"/>
                  </a:lnTo>
                  <a:lnTo>
                    <a:pt x="1011" y="382"/>
                  </a:lnTo>
                  <a:lnTo>
                    <a:pt x="973" y="378"/>
                  </a:lnTo>
                  <a:lnTo>
                    <a:pt x="985" y="361"/>
                  </a:lnTo>
                  <a:lnTo>
                    <a:pt x="952" y="349"/>
                  </a:lnTo>
                  <a:lnTo>
                    <a:pt x="940" y="345"/>
                  </a:lnTo>
                  <a:lnTo>
                    <a:pt x="985" y="328"/>
                  </a:lnTo>
                  <a:lnTo>
                    <a:pt x="994" y="328"/>
                  </a:lnTo>
                  <a:lnTo>
                    <a:pt x="1023" y="312"/>
                  </a:lnTo>
                  <a:lnTo>
                    <a:pt x="1011" y="295"/>
                  </a:lnTo>
                  <a:lnTo>
                    <a:pt x="1006" y="288"/>
                  </a:lnTo>
                  <a:lnTo>
                    <a:pt x="1006" y="278"/>
                  </a:lnTo>
                  <a:lnTo>
                    <a:pt x="994" y="278"/>
                  </a:lnTo>
                  <a:lnTo>
                    <a:pt x="1023" y="250"/>
                  </a:lnTo>
                  <a:lnTo>
                    <a:pt x="1049" y="238"/>
                  </a:lnTo>
                  <a:lnTo>
                    <a:pt x="1082" y="250"/>
                  </a:lnTo>
                  <a:lnTo>
                    <a:pt x="1098" y="250"/>
                  </a:lnTo>
                  <a:lnTo>
                    <a:pt x="1098" y="234"/>
                  </a:lnTo>
                  <a:lnTo>
                    <a:pt x="1028" y="217"/>
                  </a:lnTo>
                  <a:lnTo>
                    <a:pt x="1037" y="193"/>
                  </a:lnTo>
                  <a:lnTo>
                    <a:pt x="1044" y="201"/>
                  </a:lnTo>
                  <a:lnTo>
                    <a:pt x="1061" y="193"/>
                  </a:lnTo>
                  <a:lnTo>
                    <a:pt x="1049" y="184"/>
                  </a:lnTo>
                  <a:lnTo>
                    <a:pt x="1011" y="184"/>
                  </a:lnTo>
                  <a:lnTo>
                    <a:pt x="1023" y="184"/>
                  </a:lnTo>
                  <a:lnTo>
                    <a:pt x="1037" y="167"/>
                  </a:lnTo>
                  <a:lnTo>
                    <a:pt x="1023" y="160"/>
                  </a:lnTo>
                  <a:lnTo>
                    <a:pt x="1023" y="156"/>
                  </a:lnTo>
                  <a:lnTo>
                    <a:pt x="1044" y="139"/>
                  </a:lnTo>
                  <a:lnTo>
                    <a:pt x="1091" y="156"/>
                  </a:lnTo>
                  <a:lnTo>
                    <a:pt x="1091" y="144"/>
                  </a:lnTo>
                  <a:lnTo>
                    <a:pt x="1113" y="144"/>
                  </a:lnTo>
                  <a:lnTo>
                    <a:pt x="1129" y="160"/>
                  </a:lnTo>
                  <a:lnTo>
                    <a:pt x="1129" y="144"/>
                  </a:lnTo>
                  <a:lnTo>
                    <a:pt x="1167" y="139"/>
                  </a:lnTo>
                  <a:lnTo>
                    <a:pt x="1167" y="127"/>
                  </a:lnTo>
                  <a:lnTo>
                    <a:pt x="1205" y="123"/>
                  </a:lnTo>
                  <a:lnTo>
                    <a:pt x="1221" y="127"/>
                  </a:lnTo>
                  <a:lnTo>
                    <a:pt x="1226" y="123"/>
                  </a:lnTo>
                  <a:lnTo>
                    <a:pt x="1226" y="111"/>
                  </a:lnTo>
                  <a:lnTo>
                    <a:pt x="1292" y="106"/>
                  </a:lnTo>
                  <a:lnTo>
                    <a:pt x="1313" y="111"/>
                  </a:lnTo>
                  <a:lnTo>
                    <a:pt x="1313" y="99"/>
                  </a:lnTo>
                  <a:lnTo>
                    <a:pt x="1330" y="82"/>
                  </a:lnTo>
                  <a:lnTo>
                    <a:pt x="1351" y="89"/>
                  </a:lnTo>
                  <a:lnTo>
                    <a:pt x="1368" y="73"/>
                  </a:lnTo>
                  <a:lnTo>
                    <a:pt x="1368" y="89"/>
                  </a:lnTo>
                  <a:lnTo>
                    <a:pt x="1476" y="66"/>
                  </a:lnTo>
                  <a:lnTo>
                    <a:pt x="1507" y="49"/>
                  </a:lnTo>
                  <a:lnTo>
                    <a:pt x="1524" y="49"/>
                  </a:lnTo>
                  <a:lnTo>
                    <a:pt x="1528" y="45"/>
                  </a:lnTo>
                  <a:lnTo>
                    <a:pt x="1524" y="28"/>
                  </a:lnTo>
                  <a:lnTo>
                    <a:pt x="1552" y="28"/>
                  </a:lnTo>
                  <a:lnTo>
                    <a:pt x="1561" y="12"/>
                  </a:lnTo>
                  <a:lnTo>
                    <a:pt x="1578" y="16"/>
                  </a:lnTo>
                  <a:lnTo>
                    <a:pt x="1578" y="0"/>
                  </a:lnTo>
                  <a:lnTo>
                    <a:pt x="1594" y="16"/>
                  </a:lnTo>
                  <a:lnTo>
                    <a:pt x="1599" y="12"/>
                  </a:lnTo>
                  <a:lnTo>
                    <a:pt x="1620" y="12"/>
                  </a:lnTo>
                  <a:lnTo>
                    <a:pt x="1670" y="33"/>
                  </a:lnTo>
                  <a:lnTo>
                    <a:pt x="1687" y="16"/>
                  </a:lnTo>
                  <a:lnTo>
                    <a:pt x="1708" y="16"/>
                  </a:lnTo>
                  <a:lnTo>
                    <a:pt x="1708" y="16"/>
                  </a:lnTo>
                  <a:lnTo>
                    <a:pt x="1713" y="45"/>
                  </a:lnTo>
                  <a:lnTo>
                    <a:pt x="1724" y="66"/>
                  </a:lnTo>
                  <a:lnTo>
                    <a:pt x="1741" y="82"/>
                  </a:lnTo>
                  <a:lnTo>
                    <a:pt x="1729" y="89"/>
                  </a:lnTo>
                  <a:lnTo>
                    <a:pt x="1729" y="111"/>
                  </a:lnTo>
                  <a:lnTo>
                    <a:pt x="1713" y="111"/>
                  </a:lnTo>
                  <a:lnTo>
                    <a:pt x="1729" y="139"/>
                  </a:lnTo>
                  <a:lnTo>
                    <a:pt x="1746" y="127"/>
                  </a:lnTo>
                  <a:lnTo>
                    <a:pt x="1762" y="139"/>
                  </a:lnTo>
                  <a:lnTo>
                    <a:pt x="1767" y="123"/>
                  </a:lnTo>
                  <a:lnTo>
                    <a:pt x="1800" y="139"/>
                  </a:lnTo>
                  <a:lnTo>
                    <a:pt x="1795" y="106"/>
                  </a:lnTo>
                  <a:lnTo>
                    <a:pt x="1800" y="111"/>
                  </a:lnTo>
                  <a:lnTo>
                    <a:pt x="1817" y="123"/>
                  </a:lnTo>
                  <a:lnTo>
                    <a:pt x="1809" y="127"/>
                  </a:lnTo>
                  <a:lnTo>
                    <a:pt x="1821" y="127"/>
                  </a:lnTo>
                  <a:lnTo>
                    <a:pt x="1817" y="156"/>
                  </a:lnTo>
                  <a:lnTo>
                    <a:pt x="1821" y="156"/>
                  </a:lnTo>
                  <a:lnTo>
                    <a:pt x="1838" y="156"/>
                  </a:lnTo>
                  <a:lnTo>
                    <a:pt x="1838" y="139"/>
                  </a:lnTo>
                  <a:lnTo>
                    <a:pt x="1821" y="144"/>
                  </a:lnTo>
                  <a:lnTo>
                    <a:pt x="1833" y="127"/>
                  </a:lnTo>
                  <a:lnTo>
                    <a:pt x="1854" y="139"/>
                  </a:lnTo>
                  <a:lnTo>
                    <a:pt x="1864" y="144"/>
                  </a:lnTo>
                  <a:lnTo>
                    <a:pt x="1876" y="156"/>
                  </a:lnTo>
                  <a:lnTo>
                    <a:pt x="1918" y="139"/>
                  </a:lnTo>
                  <a:lnTo>
                    <a:pt x="1909" y="160"/>
                  </a:lnTo>
                  <a:lnTo>
                    <a:pt x="1892" y="160"/>
                  </a:lnTo>
                  <a:lnTo>
                    <a:pt x="1876" y="184"/>
                  </a:lnTo>
                  <a:lnTo>
                    <a:pt x="1892" y="201"/>
                  </a:lnTo>
                  <a:lnTo>
                    <a:pt x="1909" y="184"/>
                  </a:lnTo>
                  <a:lnTo>
                    <a:pt x="1923" y="184"/>
                  </a:lnTo>
                  <a:lnTo>
                    <a:pt x="1946" y="184"/>
                  </a:lnTo>
                  <a:lnTo>
                    <a:pt x="1961" y="201"/>
                  </a:lnTo>
                  <a:lnTo>
                    <a:pt x="1961" y="177"/>
                  </a:lnTo>
                  <a:lnTo>
                    <a:pt x="1977" y="177"/>
                  </a:lnTo>
                  <a:lnTo>
                    <a:pt x="1984" y="160"/>
                  </a:lnTo>
                  <a:lnTo>
                    <a:pt x="1998" y="167"/>
                  </a:lnTo>
                  <a:lnTo>
                    <a:pt x="2031" y="144"/>
                  </a:lnTo>
                  <a:lnTo>
                    <a:pt x="2027" y="139"/>
                  </a:lnTo>
                  <a:lnTo>
                    <a:pt x="2031" y="139"/>
                  </a:lnTo>
                  <a:lnTo>
                    <a:pt x="2086" y="123"/>
                  </a:lnTo>
                  <a:lnTo>
                    <a:pt x="2086" y="111"/>
                  </a:lnTo>
                  <a:lnTo>
                    <a:pt x="2102" y="111"/>
                  </a:lnTo>
                  <a:lnTo>
                    <a:pt x="2124" y="106"/>
                  </a:lnTo>
                  <a:lnTo>
                    <a:pt x="2135" y="123"/>
                  </a:lnTo>
                  <a:lnTo>
                    <a:pt x="2119" y="127"/>
                  </a:lnTo>
                  <a:lnTo>
                    <a:pt x="2102" y="127"/>
                  </a:lnTo>
                  <a:lnTo>
                    <a:pt x="2107" y="144"/>
                  </a:lnTo>
                  <a:lnTo>
                    <a:pt x="2199" y="217"/>
                  </a:lnTo>
                  <a:lnTo>
                    <a:pt x="2355" y="460"/>
                  </a:lnTo>
                  <a:lnTo>
                    <a:pt x="2355" y="456"/>
                  </a:lnTo>
                  <a:lnTo>
                    <a:pt x="2388" y="439"/>
                  </a:lnTo>
                  <a:lnTo>
                    <a:pt x="2376" y="423"/>
                  </a:lnTo>
                  <a:lnTo>
                    <a:pt x="2393" y="418"/>
                  </a:lnTo>
                  <a:lnTo>
                    <a:pt x="2405" y="406"/>
                  </a:lnTo>
                  <a:lnTo>
                    <a:pt x="2431" y="423"/>
                  </a:lnTo>
                  <a:lnTo>
                    <a:pt x="2426" y="444"/>
                  </a:lnTo>
                  <a:lnTo>
                    <a:pt x="2447" y="439"/>
                  </a:lnTo>
                  <a:lnTo>
                    <a:pt x="2459" y="460"/>
                  </a:lnTo>
                  <a:lnTo>
                    <a:pt x="2523" y="460"/>
                  </a:lnTo>
                  <a:lnTo>
                    <a:pt x="2539" y="456"/>
                  </a:lnTo>
                  <a:lnTo>
                    <a:pt x="2539" y="444"/>
                  </a:lnTo>
                  <a:lnTo>
                    <a:pt x="2594" y="439"/>
                  </a:lnTo>
                  <a:lnTo>
                    <a:pt x="2627" y="456"/>
                  </a:lnTo>
                  <a:lnTo>
                    <a:pt x="2657" y="510"/>
                  </a:lnTo>
                  <a:lnTo>
                    <a:pt x="2702" y="529"/>
                  </a:lnTo>
                  <a:lnTo>
                    <a:pt x="2702" y="534"/>
                  </a:lnTo>
                  <a:lnTo>
                    <a:pt x="2702" y="545"/>
                  </a:lnTo>
                  <a:lnTo>
                    <a:pt x="2712" y="545"/>
                  </a:lnTo>
                  <a:lnTo>
                    <a:pt x="2717" y="571"/>
                  </a:lnTo>
                  <a:lnTo>
                    <a:pt x="2750" y="571"/>
                  </a:lnTo>
                  <a:lnTo>
                    <a:pt x="2787" y="583"/>
                  </a:lnTo>
                  <a:lnTo>
                    <a:pt x="2809" y="550"/>
                  </a:lnTo>
                  <a:lnTo>
                    <a:pt x="2825" y="550"/>
                  </a:lnTo>
                  <a:lnTo>
                    <a:pt x="2825" y="555"/>
                  </a:lnTo>
                  <a:lnTo>
                    <a:pt x="2809" y="571"/>
                  </a:lnTo>
                  <a:lnTo>
                    <a:pt x="2837" y="583"/>
                  </a:lnTo>
                  <a:lnTo>
                    <a:pt x="2837" y="600"/>
                  </a:lnTo>
                  <a:lnTo>
                    <a:pt x="2863" y="604"/>
                  </a:lnTo>
                  <a:lnTo>
                    <a:pt x="2863" y="623"/>
                  </a:lnTo>
                  <a:lnTo>
                    <a:pt x="2837" y="612"/>
                  </a:lnTo>
                  <a:lnTo>
                    <a:pt x="2820" y="628"/>
                  </a:lnTo>
                  <a:lnTo>
                    <a:pt x="2825" y="656"/>
                  </a:lnTo>
                  <a:lnTo>
                    <a:pt x="2809" y="666"/>
                  </a:lnTo>
                  <a:lnTo>
                    <a:pt x="2754" y="682"/>
                  </a:lnTo>
                  <a:lnTo>
                    <a:pt x="2740" y="723"/>
                  </a:lnTo>
                  <a:lnTo>
                    <a:pt x="2740" y="767"/>
                  </a:lnTo>
                  <a:lnTo>
                    <a:pt x="2750" y="777"/>
                  </a:lnTo>
                  <a:lnTo>
                    <a:pt x="2750" y="789"/>
                  </a:lnTo>
                  <a:lnTo>
                    <a:pt x="2740" y="805"/>
                  </a:lnTo>
                  <a:lnTo>
                    <a:pt x="2717" y="805"/>
                  </a:lnTo>
                  <a:lnTo>
                    <a:pt x="2686" y="829"/>
                  </a:lnTo>
                  <a:lnTo>
                    <a:pt x="2686" y="822"/>
                  </a:lnTo>
                  <a:lnTo>
                    <a:pt x="2679" y="810"/>
                  </a:lnTo>
                  <a:lnTo>
                    <a:pt x="2627" y="810"/>
                  </a:lnTo>
                  <a:lnTo>
                    <a:pt x="2565" y="789"/>
                  </a:lnTo>
                  <a:lnTo>
                    <a:pt x="2565" y="810"/>
                  </a:lnTo>
                  <a:lnTo>
                    <a:pt x="2513" y="940"/>
                  </a:lnTo>
                  <a:lnTo>
                    <a:pt x="2535" y="956"/>
                  </a:lnTo>
                  <a:lnTo>
                    <a:pt x="2535" y="978"/>
                  </a:lnTo>
                  <a:lnTo>
                    <a:pt x="2513" y="973"/>
                  </a:lnTo>
                  <a:lnTo>
                    <a:pt x="2485" y="978"/>
                  </a:lnTo>
                  <a:lnTo>
                    <a:pt x="2468" y="961"/>
                  </a:lnTo>
                  <a:lnTo>
                    <a:pt x="2355" y="989"/>
                  </a:lnTo>
                  <a:lnTo>
                    <a:pt x="2339" y="999"/>
                  </a:lnTo>
                  <a:lnTo>
                    <a:pt x="2350" y="1011"/>
                  </a:lnTo>
                  <a:lnTo>
                    <a:pt x="2372" y="1011"/>
                  </a:lnTo>
                  <a:lnTo>
                    <a:pt x="2388" y="1015"/>
                  </a:lnTo>
                  <a:lnTo>
                    <a:pt x="2376" y="1027"/>
                  </a:lnTo>
                  <a:lnTo>
                    <a:pt x="2376" y="1067"/>
                  </a:lnTo>
                  <a:lnTo>
                    <a:pt x="2405" y="1129"/>
                  </a:lnTo>
                  <a:lnTo>
                    <a:pt x="2409" y="1155"/>
                  </a:lnTo>
                  <a:lnTo>
                    <a:pt x="2376" y="1167"/>
                  </a:lnTo>
                  <a:lnTo>
                    <a:pt x="2393" y="1178"/>
                  </a:lnTo>
                  <a:lnTo>
                    <a:pt x="2372" y="1183"/>
                  </a:lnTo>
                  <a:lnTo>
                    <a:pt x="2362" y="1200"/>
                  </a:lnTo>
                  <a:lnTo>
                    <a:pt x="2372" y="1233"/>
                  </a:lnTo>
                  <a:lnTo>
                    <a:pt x="2362" y="1240"/>
                  </a:lnTo>
                  <a:lnTo>
                    <a:pt x="2350" y="1216"/>
                  </a:lnTo>
                  <a:lnTo>
                    <a:pt x="2308" y="1216"/>
                  </a:lnTo>
                  <a:lnTo>
                    <a:pt x="2296" y="1195"/>
                  </a:lnTo>
                  <a:lnTo>
                    <a:pt x="2296" y="1183"/>
                  </a:lnTo>
                  <a:lnTo>
                    <a:pt x="2157" y="1178"/>
                  </a:lnTo>
                  <a:lnTo>
                    <a:pt x="2140" y="1167"/>
                  </a:lnTo>
                  <a:lnTo>
                    <a:pt x="2119" y="1178"/>
                  </a:lnTo>
                  <a:lnTo>
                    <a:pt x="2053" y="1167"/>
                  </a:lnTo>
                  <a:lnTo>
                    <a:pt x="2048" y="1183"/>
                  </a:lnTo>
                  <a:lnTo>
                    <a:pt x="1984" y="1167"/>
                  </a:lnTo>
                  <a:lnTo>
                    <a:pt x="1946" y="1145"/>
                  </a:lnTo>
                  <a:lnTo>
                    <a:pt x="1902" y="1162"/>
                  </a:lnTo>
                  <a:lnTo>
                    <a:pt x="1892" y="1200"/>
                  </a:lnTo>
                  <a:lnTo>
                    <a:pt x="1892" y="1216"/>
                  </a:lnTo>
                  <a:lnTo>
                    <a:pt x="1809" y="1183"/>
                  </a:lnTo>
                  <a:lnTo>
                    <a:pt x="1767" y="1183"/>
                  </a:lnTo>
                  <a:lnTo>
                    <a:pt x="1729" y="1195"/>
                  </a:lnTo>
                  <a:lnTo>
                    <a:pt x="1708" y="1221"/>
                  </a:lnTo>
                  <a:lnTo>
                    <a:pt x="1713" y="1233"/>
                  </a:lnTo>
                  <a:lnTo>
                    <a:pt x="1703" y="1240"/>
                  </a:lnTo>
                  <a:lnTo>
                    <a:pt x="1691" y="1256"/>
                  </a:lnTo>
                  <a:lnTo>
                    <a:pt x="1675" y="1249"/>
                  </a:lnTo>
                  <a:lnTo>
                    <a:pt x="1649" y="1282"/>
                  </a:lnTo>
                  <a:lnTo>
                    <a:pt x="1620" y="1282"/>
                  </a:lnTo>
                  <a:lnTo>
                    <a:pt x="1583" y="1311"/>
                  </a:lnTo>
                  <a:lnTo>
                    <a:pt x="1583" y="1323"/>
                  </a:lnTo>
                  <a:lnTo>
                    <a:pt x="1552" y="1351"/>
                  </a:lnTo>
                  <a:lnTo>
                    <a:pt x="1552" y="1377"/>
                  </a:lnTo>
                  <a:lnTo>
                    <a:pt x="1540" y="1377"/>
                  </a:lnTo>
                  <a:lnTo>
                    <a:pt x="1514" y="1360"/>
                  </a:lnTo>
                  <a:lnTo>
                    <a:pt x="1524" y="1339"/>
                  </a:lnTo>
                  <a:lnTo>
                    <a:pt x="1507" y="1327"/>
                  </a:lnTo>
                  <a:lnTo>
                    <a:pt x="1422" y="1327"/>
                  </a:lnTo>
                  <a:lnTo>
                    <a:pt x="1405" y="1256"/>
                  </a:lnTo>
                  <a:lnTo>
                    <a:pt x="1368" y="1256"/>
                  </a:lnTo>
                  <a:lnTo>
                    <a:pt x="1377" y="1167"/>
                  </a:lnTo>
                  <a:lnTo>
                    <a:pt x="1351" y="1178"/>
                  </a:lnTo>
                  <a:lnTo>
                    <a:pt x="1335" y="1138"/>
                  </a:lnTo>
                  <a:lnTo>
                    <a:pt x="1313" y="1129"/>
                  </a:lnTo>
                  <a:lnTo>
                    <a:pt x="1292" y="1105"/>
                  </a:lnTo>
                  <a:lnTo>
                    <a:pt x="1259" y="1122"/>
                  </a:lnTo>
                  <a:lnTo>
                    <a:pt x="1174" y="1110"/>
                  </a:lnTo>
                  <a:lnTo>
                    <a:pt x="1091" y="1122"/>
                  </a:lnTo>
                  <a:lnTo>
                    <a:pt x="1028" y="1056"/>
                  </a:lnTo>
                  <a:lnTo>
                    <a:pt x="843" y="940"/>
                  </a:lnTo>
                  <a:lnTo>
                    <a:pt x="666" y="994"/>
                  </a:lnTo>
                  <a:lnTo>
                    <a:pt x="666" y="1311"/>
                  </a:lnTo>
                  <a:lnTo>
                    <a:pt x="666" y="1311"/>
                  </a:lnTo>
                  <a:lnTo>
                    <a:pt x="666" y="1311"/>
                  </a:lnTo>
                  <a:close/>
                  <a:moveTo>
                    <a:pt x="456" y="883"/>
                  </a:moveTo>
                  <a:lnTo>
                    <a:pt x="449" y="878"/>
                  </a:lnTo>
                  <a:lnTo>
                    <a:pt x="456" y="867"/>
                  </a:lnTo>
                  <a:lnTo>
                    <a:pt x="465" y="878"/>
                  </a:lnTo>
                  <a:lnTo>
                    <a:pt x="456" y="883"/>
                  </a:lnTo>
                  <a:lnTo>
                    <a:pt x="456" y="883"/>
                  </a:lnTo>
                  <a:lnTo>
                    <a:pt x="456" y="883"/>
                  </a:lnTo>
                  <a:close/>
                  <a:moveTo>
                    <a:pt x="267" y="994"/>
                  </a:moveTo>
                  <a:lnTo>
                    <a:pt x="267" y="989"/>
                  </a:lnTo>
                  <a:lnTo>
                    <a:pt x="272" y="989"/>
                  </a:lnTo>
                  <a:lnTo>
                    <a:pt x="267" y="994"/>
                  </a:lnTo>
                  <a:lnTo>
                    <a:pt x="267" y="994"/>
                  </a:lnTo>
                  <a:lnTo>
                    <a:pt x="267" y="994"/>
                  </a:lnTo>
                  <a:close/>
                  <a:moveTo>
                    <a:pt x="255" y="1011"/>
                  </a:moveTo>
                  <a:lnTo>
                    <a:pt x="239" y="994"/>
                  </a:lnTo>
                  <a:lnTo>
                    <a:pt x="250" y="989"/>
                  </a:lnTo>
                  <a:lnTo>
                    <a:pt x="255" y="989"/>
                  </a:lnTo>
                  <a:lnTo>
                    <a:pt x="250" y="994"/>
                  </a:lnTo>
                  <a:lnTo>
                    <a:pt x="255" y="999"/>
                  </a:lnTo>
                  <a:lnTo>
                    <a:pt x="255" y="1011"/>
                  </a:lnTo>
                  <a:lnTo>
                    <a:pt x="255" y="1011"/>
                  </a:lnTo>
                  <a:lnTo>
                    <a:pt x="255" y="101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8" name="Freeform 489">
              <a:extLst>
                <a:ext uri="{FF2B5EF4-FFF2-40B4-BE49-F238E27FC236}">
                  <a16:creationId xmlns:a16="http://schemas.microsoft.com/office/drawing/2014/main" id="{21DEFEEB-EFD5-4523-8CA4-7E050692E890}"/>
                </a:ext>
              </a:extLst>
            </p:cNvPr>
            <p:cNvSpPr>
              <a:spLocks/>
            </p:cNvSpPr>
            <p:nvPr/>
          </p:nvSpPr>
          <p:spPr bwMode="gray">
            <a:xfrm>
              <a:off x="16041461" y="3575676"/>
              <a:ext cx="175431" cy="208815"/>
            </a:xfrm>
            <a:custGeom>
              <a:avLst/>
              <a:gdLst>
                <a:gd name="T0" fmla="*/ 5 w 536"/>
                <a:gd name="T1" fmla="*/ 127 h 638"/>
                <a:gd name="T2" fmla="*/ 33 w 536"/>
                <a:gd name="T3" fmla="*/ 120 h 638"/>
                <a:gd name="T4" fmla="*/ 49 w 536"/>
                <a:gd name="T5" fmla="*/ 87 h 638"/>
                <a:gd name="T6" fmla="*/ 75 w 536"/>
                <a:gd name="T7" fmla="*/ 66 h 638"/>
                <a:gd name="T8" fmla="*/ 104 w 536"/>
                <a:gd name="T9" fmla="*/ 94 h 638"/>
                <a:gd name="T10" fmla="*/ 125 w 536"/>
                <a:gd name="T11" fmla="*/ 94 h 638"/>
                <a:gd name="T12" fmla="*/ 113 w 536"/>
                <a:gd name="T13" fmla="*/ 49 h 638"/>
                <a:gd name="T14" fmla="*/ 104 w 536"/>
                <a:gd name="T15" fmla="*/ 16 h 638"/>
                <a:gd name="T16" fmla="*/ 146 w 536"/>
                <a:gd name="T17" fmla="*/ 9 h 638"/>
                <a:gd name="T18" fmla="*/ 179 w 536"/>
                <a:gd name="T19" fmla="*/ 66 h 638"/>
                <a:gd name="T20" fmla="*/ 196 w 536"/>
                <a:gd name="T21" fmla="*/ 87 h 638"/>
                <a:gd name="T22" fmla="*/ 255 w 536"/>
                <a:gd name="T23" fmla="*/ 137 h 638"/>
                <a:gd name="T24" fmla="*/ 276 w 536"/>
                <a:gd name="T25" fmla="*/ 111 h 638"/>
                <a:gd name="T26" fmla="*/ 305 w 536"/>
                <a:gd name="T27" fmla="*/ 149 h 638"/>
                <a:gd name="T28" fmla="*/ 342 w 536"/>
                <a:gd name="T29" fmla="*/ 177 h 638"/>
                <a:gd name="T30" fmla="*/ 331 w 536"/>
                <a:gd name="T31" fmla="*/ 194 h 638"/>
                <a:gd name="T32" fmla="*/ 319 w 536"/>
                <a:gd name="T33" fmla="*/ 215 h 638"/>
                <a:gd name="T34" fmla="*/ 276 w 536"/>
                <a:gd name="T35" fmla="*/ 222 h 638"/>
                <a:gd name="T36" fmla="*/ 288 w 536"/>
                <a:gd name="T37" fmla="*/ 248 h 638"/>
                <a:gd name="T38" fmla="*/ 357 w 536"/>
                <a:gd name="T39" fmla="*/ 288 h 638"/>
                <a:gd name="T40" fmla="*/ 357 w 536"/>
                <a:gd name="T41" fmla="*/ 309 h 638"/>
                <a:gd name="T42" fmla="*/ 380 w 536"/>
                <a:gd name="T43" fmla="*/ 326 h 638"/>
                <a:gd name="T44" fmla="*/ 439 w 536"/>
                <a:gd name="T45" fmla="*/ 399 h 638"/>
                <a:gd name="T46" fmla="*/ 456 w 536"/>
                <a:gd name="T47" fmla="*/ 416 h 638"/>
                <a:gd name="T48" fmla="*/ 465 w 536"/>
                <a:gd name="T49" fmla="*/ 456 h 638"/>
                <a:gd name="T50" fmla="*/ 482 w 536"/>
                <a:gd name="T51" fmla="*/ 444 h 638"/>
                <a:gd name="T52" fmla="*/ 494 w 536"/>
                <a:gd name="T53" fmla="*/ 460 h 638"/>
                <a:gd name="T54" fmla="*/ 520 w 536"/>
                <a:gd name="T55" fmla="*/ 477 h 638"/>
                <a:gd name="T56" fmla="*/ 494 w 536"/>
                <a:gd name="T57" fmla="*/ 498 h 638"/>
                <a:gd name="T58" fmla="*/ 527 w 536"/>
                <a:gd name="T59" fmla="*/ 555 h 638"/>
                <a:gd name="T60" fmla="*/ 527 w 536"/>
                <a:gd name="T61" fmla="*/ 583 h 638"/>
                <a:gd name="T62" fmla="*/ 456 w 536"/>
                <a:gd name="T63" fmla="*/ 588 h 638"/>
                <a:gd name="T64" fmla="*/ 435 w 536"/>
                <a:gd name="T65" fmla="*/ 593 h 638"/>
                <a:gd name="T66" fmla="*/ 418 w 536"/>
                <a:gd name="T67" fmla="*/ 605 h 638"/>
                <a:gd name="T68" fmla="*/ 418 w 536"/>
                <a:gd name="T69" fmla="*/ 638 h 638"/>
                <a:gd name="T70" fmla="*/ 385 w 536"/>
                <a:gd name="T71" fmla="*/ 621 h 638"/>
                <a:gd name="T72" fmla="*/ 357 w 536"/>
                <a:gd name="T73" fmla="*/ 605 h 638"/>
                <a:gd name="T74" fmla="*/ 385 w 536"/>
                <a:gd name="T75" fmla="*/ 555 h 638"/>
                <a:gd name="T76" fmla="*/ 385 w 536"/>
                <a:gd name="T77" fmla="*/ 510 h 638"/>
                <a:gd name="T78" fmla="*/ 373 w 536"/>
                <a:gd name="T79" fmla="*/ 494 h 638"/>
                <a:gd name="T80" fmla="*/ 347 w 536"/>
                <a:gd name="T81" fmla="*/ 477 h 638"/>
                <a:gd name="T82" fmla="*/ 331 w 536"/>
                <a:gd name="T83" fmla="*/ 387 h 638"/>
                <a:gd name="T84" fmla="*/ 293 w 536"/>
                <a:gd name="T85" fmla="*/ 349 h 638"/>
                <a:gd name="T86" fmla="*/ 234 w 536"/>
                <a:gd name="T87" fmla="*/ 305 h 638"/>
                <a:gd name="T88" fmla="*/ 222 w 536"/>
                <a:gd name="T89" fmla="*/ 316 h 638"/>
                <a:gd name="T90" fmla="*/ 212 w 536"/>
                <a:gd name="T91" fmla="*/ 333 h 638"/>
                <a:gd name="T92" fmla="*/ 179 w 536"/>
                <a:gd name="T93" fmla="*/ 349 h 638"/>
                <a:gd name="T94" fmla="*/ 163 w 536"/>
                <a:gd name="T95" fmla="*/ 333 h 638"/>
                <a:gd name="T96" fmla="*/ 125 w 536"/>
                <a:gd name="T97" fmla="*/ 333 h 638"/>
                <a:gd name="T98" fmla="*/ 104 w 536"/>
                <a:gd name="T99" fmla="*/ 349 h 638"/>
                <a:gd name="T100" fmla="*/ 59 w 536"/>
                <a:gd name="T101" fmla="*/ 366 h 638"/>
                <a:gd name="T102" fmla="*/ 75 w 536"/>
                <a:gd name="T103" fmla="*/ 309 h 638"/>
                <a:gd name="T104" fmla="*/ 87 w 536"/>
                <a:gd name="T105" fmla="*/ 288 h 638"/>
                <a:gd name="T106" fmla="*/ 87 w 536"/>
                <a:gd name="T107" fmla="*/ 255 h 638"/>
                <a:gd name="T108" fmla="*/ 87 w 536"/>
                <a:gd name="T109" fmla="*/ 222 h 638"/>
                <a:gd name="T110" fmla="*/ 49 w 536"/>
                <a:gd name="T111" fmla="*/ 222 h 638"/>
                <a:gd name="T112" fmla="*/ 21 w 536"/>
                <a:gd name="T113" fmla="*/ 205 h 638"/>
                <a:gd name="T114" fmla="*/ 21 w 536"/>
                <a:gd name="T115" fmla="*/ 177 h 638"/>
                <a:gd name="T116" fmla="*/ 5 w 536"/>
                <a:gd name="T117" fmla="*/ 165 h 638"/>
                <a:gd name="T118" fmla="*/ 0 w 536"/>
                <a:gd name="T119" fmla="*/ 16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 h="638">
                  <a:moveTo>
                    <a:pt x="0" y="160"/>
                  </a:moveTo>
                  <a:lnTo>
                    <a:pt x="5" y="127"/>
                  </a:lnTo>
                  <a:lnTo>
                    <a:pt x="38" y="120"/>
                  </a:lnTo>
                  <a:lnTo>
                    <a:pt x="33" y="120"/>
                  </a:lnTo>
                  <a:lnTo>
                    <a:pt x="33" y="111"/>
                  </a:lnTo>
                  <a:lnTo>
                    <a:pt x="49" y="87"/>
                  </a:lnTo>
                  <a:lnTo>
                    <a:pt x="59" y="83"/>
                  </a:lnTo>
                  <a:lnTo>
                    <a:pt x="75" y="66"/>
                  </a:lnTo>
                  <a:lnTo>
                    <a:pt x="87" y="94"/>
                  </a:lnTo>
                  <a:lnTo>
                    <a:pt x="104" y="94"/>
                  </a:lnTo>
                  <a:lnTo>
                    <a:pt x="113" y="104"/>
                  </a:lnTo>
                  <a:lnTo>
                    <a:pt x="125" y="94"/>
                  </a:lnTo>
                  <a:lnTo>
                    <a:pt x="113" y="87"/>
                  </a:lnTo>
                  <a:lnTo>
                    <a:pt x="113" y="49"/>
                  </a:lnTo>
                  <a:lnTo>
                    <a:pt x="109" y="38"/>
                  </a:lnTo>
                  <a:lnTo>
                    <a:pt x="104" y="16"/>
                  </a:lnTo>
                  <a:lnTo>
                    <a:pt x="113" y="0"/>
                  </a:lnTo>
                  <a:lnTo>
                    <a:pt x="146" y="9"/>
                  </a:lnTo>
                  <a:lnTo>
                    <a:pt x="179" y="38"/>
                  </a:lnTo>
                  <a:lnTo>
                    <a:pt x="179" y="66"/>
                  </a:lnTo>
                  <a:lnTo>
                    <a:pt x="201" y="54"/>
                  </a:lnTo>
                  <a:lnTo>
                    <a:pt x="196" y="87"/>
                  </a:lnTo>
                  <a:lnTo>
                    <a:pt x="217" y="120"/>
                  </a:lnTo>
                  <a:lnTo>
                    <a:pt x="255" y="137"/>
                  </a:lnTo>
                  <a:lnTo>
                    <a:pt x="264" y="120"/>
                  </a:lnTo>
                  <a:lnTo>
                    <a:pt x="276" y="111"/>
                  </a:lnTo>
                  <a:lnTo>
                    <a:pt x="319" y="137"/>
                  </a:lnTo>
                  <a:lnTo>
                    <a:pt x="305" y="149"/>
                  </a:lnTo>
                  <a:lnTo>
                    <a:pt x="319" y="149"/>
                  </a:lnTo>
                  <a:lnTo>
                    <a:pt x="342" y="177"/>
                  </a:lnTo>
                  <a:lnTo>
                    <a:pt x="342" y="182"/>
                  </a:lnTo>
                  <a:lnTo>
                    <a:pt x="331" y="194"/>
                  </a:lnTo>
                  <a:lnTo>
                    <a:pt x="331" y="198"/>
                  </a:lnTo>
                  <a:lnTo>
                    <a:pt x="319" y="215"/>
                  </a:lnTo>
                  <a:lnTo>
                    <a:pt x="276" y="205"/>
                  </a:lnTo>
                  <a:lnTo>
                    <a:pt x="276" y="222"/>
                  </a:lnTo>
                  <a:lnTo>
                    <a:pt x="264" y="238"/>
                  </a:lnTo>
                  <a:lnTo>
                    <a:pt x="288" y="248"/>
                  </a:lnTo>
                  <a:lnTo>
                    <a:pt x="326" y="276"/>
                  </a:lnTo>
                  <a:lnTo>
                    <a:pt x="357" y="288"/>
                  </a:lnTo>
                  <a:lnTo>
                    <a:pt x="357" y="305"/>
                  </a:lnTo>
                  <a:lnTo>
                    <a:pt x="357" y="309"/>
                  </a:lnTo>
                  <a:lnTo>
                    <a:pt x="373" y="326"/>
                  </a:lnTo>
                  <a:lnTo>
                    <a:pt x="380" y="326"/>
                  </a:lnTo>
                  <a:lnTo>
                    <a:pt x="397" y="361"/>
                  </a:lnTo>
                  <a:lnTo>
                    <a:pt x="439" y="399"/>
                  </a:lnTo>
                  <a:lnTo>
                    <a:pt x="449" y="416"/>
                  </a:lnTo>
                  <a:lnTo>
                    <a:pt x="456" y="416"/>
                  </a:lnTo>
                  <a:lnTo>
                    <a:pt x="456" y="437"/>
                  </a:lnTo>
                  <a:lnTo>
                    <a:pt x="465" y="456"/>
                  </a:lnTo>
                  <a:lnTo>
                    <a:pt x="472" y="456"/>
                  </a:lnTo>
                  <a:lnTo>
                    <a:pt x="482" y="444"/>
                  </a:lnTo>
                  <a:lnTo>
                    <a:pt x="489" y="460"/>
                  </a:lnTo>
                  <a:lnTo>
                    <a:pt x="494" y="460"/>
                  </a:lnTo>
                  <a:lnTo>
                    <a:pt x="510" y="477"/>
                  </a:lnTo>
                  <a:lnTo>
                    <a:pt x="520" y="477"/>
                  </a:lnTo>
                  <a:lnTo>
                    <a:pt x="510" y="494"/>
                  </a:lnTo>
                  <a:lnTo>
                    <a:pt x="494" y="498"/>
                  </a:lnTo>
                  <a:lnTo>
                    <a:pt x="536" y="538"/>
                  </a:lnTo>
                  <a:lnTo>
                    <a:pt x="527" y="555"/>
                  </a:lnTo>
                  <a:lnTo>
                    <a:pt x="520" y="555"/>
                  </a:lnTo>
                  <a:lnTo>
                    <a:pt x="527" y="583"/>
                  </a:lnTo>
                  <a:lnTo>
                    <a:pt x="472" y="609"/>
                  </a:lnTo>
                  <a:lnTo>
                    <a:pt x="456" y="588"/>
                  </a:lnTo>
                  <a:lnTo>
                    <a:pt x="439" y="593"/>
                  </a:lnTo>
                  <a:lnTo>
                    <a:pt x="435" y="593"/>
                  </a:lnTo>
                  <a:lnTo>
                    <a:pt x="435" y="605"/>
                  </a:lnTo>
                  <a:lnTo>
                    <a:pt x="418" y="605"/>
                  </a:lnTo>
                  <a:lnTo>
                    <a:pt x="427" y="628"/>
                  </a:lnTo>
                  <a:lnTo>
                    <a:pt x="418" y="638"/>
                  </a:lnTo>
                  <a:lnTo>
                    <a:pt x="411" y="638"/>
                  </a:lnTo>
                  <a:lnTo>
                    <a:pt x="385" y="621"/>
                  </a:lnTo>
                  <a:lnTo>
                    <a:pt x="373" y="628"/>
                  </a:lnTo>
                  <a:lnTo>
                    <a:pt x="357" y="605"/>
                  </a:lnTo>
                  <a:lnTo>
                    <a:pt x="380" y="588"/>
                  </a:lnTo>
                  <a:lnTo>
                    <a:pt x="385" y="555"/>
                  </a:lnTo>
                  <a:lnTo>
                    <a:pt x="380" y="550"/>
                  </a:lnTo>
                  <a:lnTo>
                    <a:pt x="385" y="510"/>
                  </a:lnTo>
                  <a:lnTo>
                    <a:pt x="373" y="498"/>
                  </a:lnTo>
                  <a:lnTo>
                    <a:pt x="373" y="494"/>
                  </a:lnTo>
                  <a:lnTo>
                    <a:pt x="373" y="482"/>
                  </a:lnTo>
                  <a:lnTo>
                    <a:pt x="347" y="477"/>
                  </a:lnTo>
                  <a:lnTo>
                    <a:pt x="326" y="444"/>
                  </a:lnTo>
                  <a:lnTo>
                    <a:pt x="331" y="387"/>
                  </a:lnTo>
                  <a:lnTo>
                    <a:pt x="326" y="371"/>
                  </a:lnTo>
                  <a:lnTo>
                    <a:pt x="293" y="349"/>
                  </a:lnTo>
                  <a:lnTo>
                    <a:pt x="272" y="309"/>
                  </a:lnTo>
                  <a:lnTo>
                    <a:pt x="234" y="305"/>
                  </a:lnTo>
                  <a:lnTo>
                    <a:pt x="222" y="309"/>
                  </a:lnTo>
                  <a:lnTo>
                    <a:pt x="222" y="316"/>
                  </a:lnTo>
                  <a:lnTo>
                    <a:pt x="212" y="326"/>
                  </a:lnTo>
                  <a:lnTo>
                    <a:pt x="212" y="333"/>
                  </a:lnTo>
                  <a:lnTo>
                    <a:pt x="196" y="333"/>
                  </a:lnTo>
                  <a:lnTo>
                    <a:pt x="179" y="349"/>
                  </a:lnTo>
                  <a:lnTo>
                    <a:pt x="179" y="342"/>
                  </a:lnTo>
                  <a:lnTo>
                    <a:pt x="163" y="333"/>
                  </a:lnTo>
                  <a:lnTo>
                    <a:pt x="142" y="316"/>
                  </a:lnTo>
                  <a:lnTo>
                    <a:pt x="125" y="333"/>
                  </a:lnTo>
                  <a:lnTo>
                    <a:pt x="113" y="333"/>
                  </a:lnTo>
                  <a:lnTo>
                    <a:pt x="104" y="349"/>
                  </a:lnTo>
                  <a:lnTo>
                    <a:pt x="75" y="371"/>
                  </a:lnTo>
                  <a:lnTo>
                    <a:pt x="59" y="366"/>
                  </a:lnTo>
                  <a:lnTo>
                    <a:pt x="75" y="326"/>
                  </a:lnTo>
                  <a:lnTo>
                    <a:pt x="75" y="309"/>
                  </a:lnTo>
                  <a:lnTo>
                    <a:pt x="71" y="305"/>
                  </a:lnTo>
                  <a:lnTo>
                    <a:pt x="87" y="288"/>
                  </a:lnTo>
                  <a:lnTo>
                    <a:pt x="75" y="272"/>
                  </a:lnTo>
                  <a:lnTo>
                    <a:pt x="87" y="255"/>
                  </a:lnTo>
                  <a:lnTo>
                    <a:pt x="75" y="231"/>
                  </a:lnTo>
                  <a:lnTo>
                    <a:pt x="87" y="222"/>
                  </a:lnTo>
                  <a:lnTo>
                    <a:pt x="54" y="215"/>
                  </a:lnTo>
                  <a:lnTo>
                    <a:pt x="49" y="222"/>
                  </a:lnTo>
                  <a:lnTo>
                    <a:pt x="33" y="222"/>
                  </a:lnTo>
                  <a:lnTo>
                    <a:pt x="21" y="205"/>
                  </a:lnTo>
                  <a:lnTo>
                    <a:pt x="33" y="177"/>
                  </a:lnTo>
                  <a:lnTo>
                    <a:pt x="21" y="177"/>
                  </a:lnTo>
                  <a:lnTo>
                    <a:pt x="16" y="160"/>
                  </a:lnTo>
                  <a:lnTo>
                    <a:pt x="5" y="165"/>
                  </a:lnTo>
                  <a:lnTo>
                    <a:pt x="0" y="160"/>
                  </a:lnTo>
                  <a:lnTo>
                    <a:pt x="0" y="160"/>
                  </a:lnTo>
                  <a:lnTo>
                    <a:pt x="0" y="16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9" name="Freeform 490">
              <a:extLst>
                <a:ext uri="{FF2B5EF4-FFF2-40B4-BE49-F238E27FC236}">
                  <a16:creationId xmlns:a16="http://schemas.microsoft.com/office/drawing/2014/main" id="{C6CAF45C-2118-499F-A0D4-8F0F3B30AA0F}"/>
                </a:ext>
              </a:extLst>
            </p:cNvPr>
            <p:cNvSpPr>
              <a:spLocks/>
            </p:cNvSpPr>
            <p:nvPr/>
          </p:nvSpPr>
          <p:spPr bwMode="gray">
            <a:xfrm>
              <a:off x="14549970" y="3264744"/>
              <a:ext cx="36330" cy="42549"/>
            </a:xfrm>
            <a:custGeom>
              <a:avLst/>
              <a:gdLst>
                <a:gd name="T0" fmla="*/ 38 w 111"/>
                <a:gd name="T1" fmla="*/ 111 h 130"/>
                <a:gd name="T2" fmla="*/ 21 w 111"/>
                <a:gd name="T3" fmla="*/ 130 h 130"/>
                <a:gd name="T4" fmla="*/ 0 w 111"/>
                <a:gd name="T5" fmla="*/ 118 h 130"/>
                <a:gd name="T6" fmla="*/ 21 w 111"/>
                <a:gd name="T7" fmla="*/ 57 h 130"/>
                <a:gd name="T8" fmla="*/ 38 w 111"/>
                <a:gd name="T9" fmla="*/ 45 h 130"/>
                <a:gd name="T10" fmla="*/ 38 w 111"/>
                <a:gd name="T11" fmla="*/ 24 h 130"/>
                <a:gd name="T12" fmla="*/ 62 w 111"/>
                <a:gd name="T13" fmla="*/ 5 h 130"/>
                <a:gd name="T14" fmla="*/ 62 w 111"/>
                <a:gd name="T15" fmla="*/ 0 h 130"/>
                <a:gd name="T16" fmla="*/ 95 w 111"/>
                <a:gd name="T17" fmla="*/ 0 h 130"/>
                <a:gd name="T18" fmla="*/ 83 w 111"/>
                <a:gd name="T19" fmla="*/ 5 h 130"/>
                <a:gd name="T20" fmla="*/ 99 w 111"/>
                <a:gd name="T21" fmla="*/ 17 h 130"/>
                <a:gd name="T22" fmla="*/ 111 w 111"/>
                <a:gd name="T23" fmla="*/ 29 h 130"/>
                <a:gd name="T24" fmla="*/ 83 w 111"/>
                <a:gd name="T25" fmla="*/ 57 h 130"/>
                <a:gd name="T26" fmla="*/ 95 w 111"/>
                <a:gd name="T27" fmla="*/ 62 h 130"/>
                <a:gd name="T28" fmla="*/ 66 w 111"/>
                <a:gd name="T29" fmla="*/ 62 h 130"/>
                <a:gd name="T30" fmla="*/ 62 w 111"/>
                <a:gd name="T31" fmla="*/ 78 h 130"/>
                <a:gd name="T32" fmla="*/ 66 w 111"/>
                <a:gd name="T33" fmla="*/ 78 h 130"/>
                <a:gd name="T34" fmla="*/ 38 w 111"/>
                <a:gd name="T35" fmla="*/ 111 h 130"/>
                <a:gd name="T36" fmla="*/ 38 w 111"/>
                <a:gd name="T37" fmla="*/ 111 h 130"/>
                <a:gd name="T38" fmla="*/ 38 w 111"/>
                <a:gd name="T39" fmla="*/ 11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30">
                  <a:moveTo>
                    <a:pt x="38" y="111"/>
                  </a:moveTo>
                  <a:lnTo>
                    <a:pt x="21" y="130"/>
                  </a:lnTo>
                  <a:lnTo>
                    <a:pt x="0" y="118"/>
                  </a:lnTo>
                  <a:lnTo>
                    <a:pt x="21" y="57"/>
                  </a:lnTo>
                  <a:lnTo>
                    <a:pt x="38" y="45"/>
                  </a:lnTo>
                  <a:lnTo>
                    <a:pt x="38" y="24"/>
                  </a:lnTo>
                  <a:lnTo>
                    <a:pt x="62" y="5"/>
                  </a:lnTo>
                  <a:lnTo>
                    <a:pt x="62" y="0"/>
                  </a:lnTo>
                  <a:lnTo>
                    <a:pt x="95" y="0"/>
                  </a:lnTo>
                  <a:lnTo>
                    <a:pt x="83" y="5"/>
                  </a:lnTo>
                  <a:lnTo>
                    <a:pt x="99" y="17"/>
                  </a:lnTo>
                  <a:lnTo>
                    <a:pt x="111" y="29"/>
                  </a:lnTo>
                  <a:lnTo>
                    <a:pt x="83" y="57"/>
                  </a:lnTo>
                  <a:lnTo>
                    <a:pt x="95" y="62"/>
                  </a:lnTo>
                  <a:lnTo>
                    <a:pt x="66" y="62"/>
                  </a:lnTo>
                  <a:lnTo>
                    <a:pt x="62" y="78"/>
                  </a:lnTo>
                  <a:lnTo>
                    <a:pt x="66" y="78"/>
                  </a:lnTo>
                  <a:lnTo>
                    <a:pt x="38" y="111"/>
                  </a:lnTo>
                  <a:lnTo>
                    <a:pt x="38" y="111"/>
                  </a:lnTo>
                  <a:lnTo>
                    <a:pt x="38" y="11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0" name="Freeform 491">
              <a:extLst>
                <a:ext uri="{FF2B5EF4-FFF2-40B4-BE49-F238E27FC236}">
                  <a16:creationId xmlns:a16="http://schemas.microsoft.com/office/drawing/2014/main" id="{5F6CAC7B-C096-4FB7-8D37-B31F0892BF2C}"/>
                </a:ext>
              </a:extLst>
            </p:cNvPr>
            <p:cNvSpPr>
              <a:spLocks/>
            </p:cNvSpPr>
            <p:nvPr/>
          </p:nvSpPr>
          <p:spPr bwMode="gray">
            <a:xfrm>
              <a:off x="14226928" y="2564329"/>
              <a:ext cx="166921" cy="79533"/>
            </a:xfrm>
            <a:custGeom>
              <a:avLst/>
              <a:gdLst>
                <a:gd name="T0" fmla="*/ 234 w 510"/>
                <a:gd name="T1" fmla="*/ 21 h 243"/>
                <a:gd name="T2" fmla="*/ 288 w 510"/>
                <a:gd name="T3" fmla="*/ 0 h 243"/>
                <a:gd name="T4" fmla="*/ 297 w 510"/>
                <a:gd name="T5" fmla="*/ 5 h 243"/>
                <a:gd name="T6" fmla="*/ 297 w 510"/>
                <a:gd name="T7" fmla="*/ 0 h 243"/>
                <a:gd name="T8" fmla="*/ 352 w 510"/>
                <a:gd name="T9" fmla="*/ 21 h 243"/>
                <a:gd name="T10" fmla="*/ 385 w 510"/>
                <a:gd name="T11" fmla="*/ 55 h 243"/>
                <a:gd name="T12" fmla="*/ 418 w 510"/>
                <a:gd name="T13" fmla="*/ 43 h 243"/>
                <a:gd name="T14" fmla="*/ 451 w 510"/>
                <a:gd name="T15" fmla="*/ 55 h 243"/>
                <a:gd name="T16" fmla="*/ 456 w 510"/>
                <a:gd name="T17" fmla="*/ 55 h 243"/>
                <a:gd name="T18" fmla="*/ 456 w 510"/>
                <a:gd name="T19" fmla="*/ 59 h 243"/>
                <a:gd name="T20" fmla="*/ 477 w 510"/>
                <a:gd name="T21" fmla="*/ 76 h 243"/>
                <a:gd name="T22" fmla="*/ 472 w 510"/>
                <a:gd name="T23" fmla="*/ 116 h 243"/>
                <a:gd name="T24" fmla="*/ 489 w 510"/>
                <a:gd name="T25" fmla="*/ 128 h 243"/>
                <a:gd name="T26" fmla="*/ 510 w 510"/>
                <a:gd name="T27" fmla="*/ 182 h 243"/>
                <a:gd name="T28" fmla="*/ 505 w 510"/>
                <a:gd name="T29" fmla="*/ 199 h 243"/>
                <a:gd name="T30" fmla="*/ 489 w 510"/>
                <a:gd name="T31" fmla="*/ 199 h 243"/>
                <a:gd name="T32" fmla="*/ 460 w 510"/>
                <a:gd name="T33" fmla="*/ 222 h 243"/>
                <a:gd name="T34" fmla="*/ 460 w 510"/>
                <a:gd name="T35" fmla="*/ 239 h 243"/>
                <a:gd name="T36" fmla="*/ 418 w 510"/>
                <a:gd name="T37" fmla="*/ 227 h 243"/>
                <a:gd name="T38" fmla="*/ 406 w 510"/>
                <a:gd name="T39" fmla="*/ 243 h 243"/>
                <a:gd name="T40" fmla="*/ 397 w 510"/>
                <a:gd name="T41" fmla="*/ 243 h 243"/>
                <a:gd name="T42" fmla="*/ 368 w 510"/>
                <a:gd name="T43" fmla="*/ 239 h 243"/>
                <a:gd name="T44" fmla="*/ 331 w 510"/>
                <a:gd name="T45" fmla="*/ 199 h 243"/>
                <a:gd name="T46" fmla="*/ 288 w 510"/>
                <a:gd name="T47" fmla="*/ 189 h 243"/>
                <a:gd name="T48" fmla="*/ 271 w 510"/>
                <a:gd name="T49" fmla="*/ 166 h 243"/>
                <a:gd name="T50" fmla="*/ 243 w 510"/>
                <a:gd name="T51" fmla="*/ 182 h 243"/>
                <a:gd name="T52" fmla="*/ 222 w 510"/>
                <a:gd name="T53" fmla="*/ 189 h 243"/>
                <a:gd name="T54" fmla="*/ 163 w 510"/>
                <a:gd name="T55" fmla="*/ 170 h 243"/>
                <a:gd name="T56" fmla="*/ 146 w 510"/>
                <a:gd name="T57" fmla="*/ 182 h 243"/>
                <a:gd name="T58" fmla="*/ 134 w 510"/>
                <a:gd name="T59" fmla="*/ 170 h 243"/>
                <a:gd name="T60" fmla="*/ 113 w 510"/>
                <a:gd name="T61" fmla="*/ 170 h 243"/>
                <a:gd name="T62" fmla="*/ 75 w 510"/>
                <a:gd name="T63" fmla="*/ 170 h 243"/>
                <a:gd name="T64" fmla="*/ 21 w 510"/>
                <a:gd name="T65" fmla="*/ 189 h 243"/>
                <a:gd name="T66" fmla="*/ 16 w 510"/>
                <a:gd name="T67" fmla="*/ 206 h 243"/>
                <a:gd name="T68" fmla="*/ 0 w 510"/>
                <a:gd name="T69" fmla="*/ 206 h 243"/>
                <a:gd name="T70" fmla="*/ 0 w 510"/>
                <a:gd name="T71" fmla="*/ 170 h 243"/>
                <a:gd name="T72" fmla="*/ 0 w 510"/>
                <a:gd name="T73" fmla="*/ 154 h 243"/>
                <a:gd name="T74" fmla="*/ 5 w 510"/>
                <a:gd name="T75" fmla="*/ 166 h 243"/>
                <a:gd name="T76" fmla="*/ 0 w 510"/>
                <a:gd name="T77" fmla="*/ 128 h 243"/>
                <a:gd name="T78" fmla="*/ 21 w 510"/>
                <a:gd name="T79" fmla="*/ 111 h 243"/>
                <a:gd name="T80" fmla="*/ 26 w 510"/>
                <a:gd name="T81" fmla="*/ 76 h 243"/>
                <a:gd name="T82" fmla="*/ 54 w 510"/>
                <a:gd name="T83" fmla="*/ 55 h 243"/>
                <a:gd name="T84" fmla="*/ 113 w 510"/>
                <a:gd name="T85" fmla="*/ 33 h 243"/>
                <a:gd name="T86" fmla="*/ 113 w 510"/>
                <a:gd name="T87" fmla="*/ 43 h 243"/>
                <a:gd name="T88" fmla="*/ 146 w 510"/>
                <a:gd name="T89" fmla="*/ 71 h 243"/>
                <a:gd name="T90" fmla="*/ 151 w 510"/>
                <a:gd name="T91" fmla="*/ 99 h 243"/>
                <a:gd name="T92" fmla="*/ 189 w 510"/>
                <a:gd name="T93" fmla="*/ 111 h 243"/>
                <a:gd name="T94" fmla="*/ 238 w 510"/>
                <a:gd name="T95" fmla="*/ 88 h 243"/>
                <a:gd name="T96" fmla="*/ 234 w 510"/>
                <a:gd name="T97" fmla="*/ 21 h 243"/>
                <a:gd name="T98" fmla="*/ 234 w 510"/>
                <a:gd name="T99" fmla="*/ 21 h 243"/>
                <a:gd name="T100" fmla="*/ 234 w 510"/>
                <a:gd name="T101" fmla="*/ 21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0" h="243">
                  <a:moveTo>
                    <a:pt x="234" y="21"/>
                  </a:moveTo>
                  <a:lnTo>
                    <a:pt x="288" y="0"/>
                  </a:lnTo>
                  <a:lnTo>
                    <a:pt x="297" y="5"/>
                  </a:lnTo>
                  <a:lnTo>
                    <a:pt x="297" y="0"/>
                  </a:lnTo>
                  <a:lnTo>
                    <a:pt x="352" y="21"/>
                  </a:lnTo>
                  <a:lnTo>
                    <a:pt x="385" y="55"/>
                  </a:lnTo>
                  <a:lnTo>
                    <a:pt x="418" y="43"/>
                  </a:lnTo>
                  <a:lnTo>
                    <a:pt x="451" y="55"/>
                  </a:lnTo>
                  <a:lnTo>
                    <a:pt x="456" y="55"/>
                  </a:lnTo>
                  <a:lnTo>
                    <a:pt x="456" y="59"/>
                  </a:lnTo>
                  <a:lnTo>
                    <a:pt x="477" y="76"/>
                  </a:lnTo>
                  <a:lnTo>
                    <a:pt x="472" y="116"/>
                  </a:lnTo>
                  <a:lnTo>
                    <a:pt x="489" y="128"/>
                  </a:lnTo>
                  <a:lnTo>
                    <a:pt x="510" y="182"/>
                  </a:lnTo>
                  <a:lnTo>
                    <a:pt x="505" y="199"/>
                  </a:lnTo>
                  <a:lnTo>
                    <a:pt x="489" y="199"/>
                  </a:lnTo>
                  <a:lnTo>
                    <a:pt x="460" y="222"/>
                  </a:lnTo>
                  <a:lnTo>
                    <a:pt x="460" y="239"/>
                  </a:lnTo>
                  <a:lnTo>
                    <a:pt x="418" y="227"/>
                  </a:lnTo>
                  <a:lnTo>
                    <a:pt x="406" y="243"/>
                  </a:lnTo>
                  <a:lnTo>
                    <a:pt x="397" y="243"/>
                  </a:lnTo>
                  <a:lnTo>
                    <a:pt x="368" y="239"/>
                  </a:lnTo>
                  <a:lnTo>
                    <a:pt x="331" y="199"/>
                  </a:lnTo>
                  <a:lnTo>
                    <a:pt x="288" y="189"/>
                  </a:lnTo>
                  <a:lnTo>
                    <a:pt x="271" y="166"/>
                  </a:lnTo>
                  <a:lnTo>
                    <a:pt x="243" y="182"/>
                  </a:lnTo>
                  <a:lnTo>
                    <a:pt x="222" y="189"/>
                  </a:lnTo>
                  <a:lnTo>
                    <a:pt x="163" y="170"/>
                  </a:lnTo>
                  <a:lnTo>
                    <a:pt x="146" y="182"/>
                  </a:lnTo>
                  <a:lnTo>
                    <a:pt x="134" y="170"/>
                  </a:lnTo>
                  <a:lnTo>
                    <a:pt x="113" y="170"/>
                  </a:lnTo>
                  <a:lnTo>
                    <a:pt x="75" y="170"/>
                  </a:lnTo>
                  <a:lnTo>
                    <a:pt x="21" y="189"/>
                  </a:lnTo>
                  <a:lnTo>
                    <a:pt x="16" y="206"/>
                  </a:lnTo>
                  <a:lnTo>
                    <a:pt x="0" y="206"/>
                  </a:lnTo>
                  <a:lnTo>
                    <a:pt x="0" y="170"/>
                  </a:lnTo>
                  <a:lnTo>
                    <a:pt x="0" y="154"/>
                  </a:lnTo>
                  <a:lnTo>
                    <a:pt x="5" y="166"/>
                  </a:lnTo>
                  <a:lnTo>
                    <a:pt x="0" y="128"/>
                  </a:lnTo>
                  <a:lnTo>
                    <a:pt x="21" y="111"/>
                  </a:lnTo>
                  <a:lnTo>
                    <a:pt x="26" y="76"/>
                  </a:lnTo>
                  <a:lnTo>
                    <a:pt x="54" y="55"/>
                  </a:lnTo>
                  <a:lnTo>
                    <a:pt x="113" y="33"/>
                  </a:lnTo>
                  <a:lnTo>
                    <a:pt x="113" y="43"/>
                  </a:lnTo>
                  <a:lnTo>
                    <a:pt x="146" y="71"/>
                  </a:lnTo>
                  <a:lnTo>
                    <a:pt x="151" y="99"/>
                  </a:lnTo>
                  <a:lnTo>
                    <a:pt x="189" y="111"/>
                  </a:lnTo>
                  <a:lnTo>
                    <a:pt x="238" y="88"/>
                  </a:lnTo>
                  <a:lnTo>
                    <a:pt x="234" y="21"/>
                  </a:lnTo>
                  <a:lnTo>
                    <a:pt x="234" y="21"/>
                  </a:lnTo>
                  <a:lnTo>
                    <a:pt x="234" y="2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1" name="Freeform 492">
              <a:extLst>
                <a:ext uri="{FF2B5EF4-FFF2-40B4-BE49-F238E27FC236}">
                  <a16:creationId xmlns:a16="http://schemas.microsoft.com/office/drawing/2014/main" id="{0542F521-6014-42CC-B81D-419E1DF8735E}"/>
                </a:ext>
              </a:extLst>
            </p:cNvPr>
            <p:cNvSpPr>
              <a:spLocks noEditPoints="1"/>
            </p:cNvSpPr>
            <p:nvPr/>
          </p:nvSpPr>
          <p:spPr bwMode="gray">
            <a:xfrm>
              <a:off x="14223655" y="2618660"/>
              <a:ext cx="136810" cy="85752"/>
            </a:xfrm>
            <a:custGeom>
              <a:avLst/>
              <a:gdLst>
                <a:gd name="T0" fmla="*/ 137 w 418"/>
                <a:gd name="T1" fmla="*/ 212 h 262"/>
                <a:gd name="T2" fmla="*/ 126 w 418"/>
                <a:gd name="T3" fmla="*/ 200 h 262"/>
                <a:gd name="T4" fmla="*/ 137 w 418"/>
                <a:gd name="T5" fmla="*/ 184 h 262"/>
                <a:gd name="T6" fmla="*/ 142 w 418"/>
                <a:gd name="T7" fmla="*/ 167 h 262"/>
                <a:gd name="T8" fmla="*/ 121 w 418"/>
                <a:gd name="T9" fmla="*/ 146 h 262"/>
                <a:gd name="T10" fmla="*/ 88 w 418"/>
                <a:gd name="T11" fmla="*/ 146 h 262"/>
                <a:gd name="T12" fmla="*/ 33 w 418"/>
                <a:gd name="T13" fmla="*/ 118 h 262"/>
                <a:gd name="T14" fmla="*/ 29 w 418"/>
                <a:gd name="T15" fmla="*/ 129 h 262"/>
                <a:gd name="T16" fmla="*/ 29 w 418"/>
                <a:gd name="T17" fmla="*/ 113 h 262"/>
                <a:gd name="T18" fmla="*/ 29 w 418"/>
                <a:gd name="T19" fmla="*/ 113 h 262"/>
                <a:gd name="T20" fmla="*/ 29 w 418"/>
                <a:gd name="T21" fmla="*/ 101 h 262"/>
                <a:gd name="T22" fmla="*/ 12 w 418"/>
                <a:gd name="T23" fmla="*/ 73 h 262"/>
                <a:gd name="T24" fmla="*/ 12 w 418"/>
                <a:gd name="T25" fmla="*/ 40 h 262"/>
                <a:gd name="T26" fmla="*/ 29 w 418"/>
                <a:gd name="T27" fmla="*/ 40 h 262"/>
                <a:gd name="T28" fmla="*/ 33 w 418"/>
                <a:gd name="T29" fmla="*/ 23 h 262"/>
                <a:gd name="T30" fmla="*/ 88 w 418"/>
                <a:gd name="T31" fmla="*/ 7 h 262"/>
                <a:gd name="T32" fmla="*/ 126 w 418"/>
                <a:gd name="T33" fmla="*/ 7 h 262"/>
                <a:gd name="T34" fmla="*/ 147 w 418"/>
                <a:gd name="T35" fmla="*/ 7 h 262"/>
                <a:gd name="T36" fmla="*/ 159 w 418"/>
                <a:gd name="T37" fmla="*/ 16 h 262"/>
                <a:gd name="T38" fmla="*/ 175 w 418"/>
                <a:gd name="T39" fmla="*/ 7 h 262"/>
                <a:gd name="T40" fmla="*/ 234 w 418"/>
                <a:gd name="T41" fmla="*/ 23 h 262"/>
                <a:gd name="T42" fmla="*/ 256 w 418"/>
                <a:gd name="T43" fmla="*/ 16 h 262"/>
                <a:gd name="T44" fmla="*/ 281 w 418"/>
                <a:gd name="T45" fmla="*/ 0 h 262"/>
                <a:gd name="T46" fmla="*/ 298 w 418"/>
                <a:gd name="T47" fmla="*/ 23 h 262"/>
                <a:gd name="T48" fmla="*/ 341 w 418"/>
                <a:gd name="T49" fmla="*/ 35 h 262"/>
                <a:gd name="T50" fmla="*/ 378 w 418"/>
                <a:gd name="T51" fmla="*/ 73 h 262"/>
                <a:gd name="T52" fmla="*/ 407 w 418"/>
                <a:gd name="T53" fmla="*/ 77 h 262"/>
                <a:gd name="T54" fmla="*/ 395 w 418"/>
                <a:gd name="T55" fmla="*/ 113 h 262"/>
                <a:gd name="T56" fmla="*/ 418 w 418"/>
                <a:gd name="T57" fmla="*/ 118 h 262"/>
                <a:gd name="T58" fmla="*/ 395 w 418"/>
                <a:gd name="T59" fmla="*/ 134 h 262"/>
                <a:gd name="T60" fmla="*/ 378 w 418"/>
                <a:gd name="T61" fmla="*/ 134 h 262"/>
                <a:gd name="T62" fmla="*/ 374 w 418"/>
                <a:gd name="T63" fmla="*/ 151 h 262"/>
                <a:gd name="T64" fmla="*/ 341 w 418"/>
                <a:gd name="T65" fmla="*/ 155 h 262"/>
                <a:gd name="T66" fmla="*/ 341 w 418"/>
                <a:gd name="T67" fmla="*/ 191 h 262"/>
                <a:gd name="T68" fmla="*/ 326 w 418"/>
                <a:gd name="T69" fmla="*/ 212 h 262"/>
                <a:gd name="T70" fmla="*/ 341 w 418"/>
                <a:gd name="T71" fmla="*/ 212 h 262"/>
                <a:gd name="T72" fmla="*/ 341 w 418"/>
                <a:gd name="T73" fmla="*/ 229 h 262"/>
                <a:gd name="T74" fmla="*/ 326 w 418"/>
                <a:gd name="T75" fmla="*/ 229 h 262"/>
                <a:gd name="T76" fmla="*/ 336 w 418"/>
                <a:gd name="T77" fmla="*/ 224 h 262"/>
                <a:gd name="T78" fmla="*/ 326 w 418"/>
                <a:gd name="T79" fmla="*/ 212 h 262"/>
                <a:gd name="T80" fmla="*/ 298 w 418"/>
                <a:gd name="T81" fmla="*/ 240 h 262"/>
                <a:gd name="T82" fmla="*/ 281 w 418"/>
                <a:gd name="T83" fmla="*/ 229 h 262"/>
                <a:gd name="T84" fmla="*/ 281 w 418"/>
                <a:gd name="T85" fmla="*/ 257 h 262"/>
                <a:gd name="T86" fmla="*/ 265 w 418"/>
                <a:gd name="T87" fmla="*/ 245 h 262"/>
                <a:gd name="T88" fmla="*/ 251 w 418"/>
                <a:gd name="T89" fmla="*/ 262 h 262"/>
                <a:gd name="T90" fmla="*/ 234 w 418"/>
                <a:gd name="T91" fmla="*/ 257 h 262"/>
                <a:gd name="T92" fmla="*/ 189 w 418"/>
                <a:gd name="T93" fmla="*/ 257 h 262"/>
                <a:gd name="T94" fmla="*/ 180 w 418"/>
                <a:gd name="T95" fmla="*/ 240 h 262"/>
                <a:gd name="T96" fmla="*/ 175 w 418"/>
                <a:gd name="T97" fmla="*/ 224 h 262"/>
                <a:gd name="T98" fmla="*/ 147 w 418"/>
                <a:gd name="T99" fmla="*/ 207 h 262"/>
                <a:gd name="T100" fmla="*/ 137 w 418"/>
                <a:gd name="T101" fmla="*/ 212 h 262"/>
                <a:gd name="T102" fmla="*/ 137 w 418"/>
                <a:gd name="T103" fmla="*/ 212 h 262"/>
                <a:gd name="T104" fmla="*/ 137 w 418"/>
                <a:gd name="T105" fmla="*/ 212 h 262"/>
                <a:gd name="T106" fmla="*/ 12 w 418"/>
                <a:gd name="T107" fmla="*/ 118 h 262"/>
                <a:gd name="T108" fmla="*/ 0 w 418"/>
                <a:gd name="T109" fmla="*/ 118 h 262"/>
                <a:gd name="T110" fmla="*/ 17 w 418"/>
                <a:gd name="T111" fmla="*/ 94 h 262"/>
                <a:gd name="T112" fmla="*/ 17 w 418"/>
                <a:gd name="T113" fmla="*/ 77 h 262"/>
                <a:gd name="T114" fmla="*/ 17 w 418"/>
                <a:gd name="T115" fmla="*/ 101 h 262"/>
                <a:gd name="T116" fmla="*/ 12 w 418"/>
                <a:gd name="T117" fmla="*/ 118 h 262"/>
                <a:gd name="T118" fmla="*/ 12 w 418"/>
                <a:gd name="T119" fmla="*/ 118 h 262"/>
                <a:gd name="T120" fmla="*/ 12 w 418"/>
                <a:gd name="T121" fmla="*/ 11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8" h="262">
                  <a:moveTo>
                    <a:pt x="137" y="212"/>
                  </a:moveTo>
                  <a:lnTo>
                    <a:pt x="126" y="200"/>
                  </a:lnTo>
                  <a:lnTo>
                    <a:pt x="137" y="184"/>
                  </a:lnTo>
                  <a:lnTo>
                    <a:pt x="142" y="167"/>
                  </a:lnTo>
                  <a:lnTo>
                    <a:pt x="121" y="146"/>
                  </a:lnTo>
                  <a:lnTo>
                    <a:pt x="88" y="146"/>
                  </a:lnTo>
                  <a:lnTo>
                    <a:pt x="33" y="118"/>
                  </a:lnTo>
                  <a:lnTo>
                    <a:pt x="29" y="129"/>
                  </a:lnTo>
                  <a:lnTo>
                    <a:pt x="29" y="113"/>
                  </a:lnTo>
                  <a:lnTo>
                    <a:pt x="29" y="113"/>
                  </a:lnTo>
                  <a:lnTo>
                    <a:pt x="29" y="101"/>
                  </a:lnTo>
                  <a:lnTo>
                    <a:pt x="12" y="73"/>
                  </a:lnTo>
                  <a:lnTo>
                    <a:pt x="12" y="40"/>
                  </a:lnTo>
                  <a:lnTo>
                    <a:pt x="29" y="40"/>
                  </a:lnTo>
                  <a:lnTo>
                    <a:pt x="33" y="23"/>
                  </a:lnTo>
                  <a:lnTo>
                    <a:pt x="88" y="7"/>
                  </a:lnTo>
                  <a:lnTo>
                    <a:pt x="126" y="7"/>
                  </a:lnTo>
                  <a:lnTo>
                    <a:pt x="147" y="7"/>
                  </a:lnTo>
                  <a:lnTo>
                    <a:pt x="159" y="16"/>
                  </a:lnTo>
                  <a:lnTo>
                    <a:pt x="175" y="7"/>
                  </a:lnTo>
                  <a:lnTo>
                    <a:pt x="234" y="23"/>
                  </a:lnTo>
                  <a:lnTo>
                    <a:pt x="256" y="16"/>
                  </a:lnTo>
                  <a:lnTo>
                    <a:pt x="281" y="0"/>
                  </a:lnTo>
                  <a:lnTo>
                    <a:pt x="298" y="23"/>
                  </a:lnTo>
                  <a:lnTo>
                    <a:pt x="341" y="35"/>
                  </a:lnTo>
                  <a:lnTo>
                    <a:pt x="378" y="73"/>
                  </a:lnTo>
                  <a:lnTo>
                    <a:pt x="407" y="77"/>
                  </a:lnTo>
                  <a:lnTo>
                    <a:pt x="395" y="113"/>
                  </a:lnTo>
                  <a:lnTo>
                    <a:pt x="418" y="118"/>
                  </a:lnTo>
                  <a:lnTo>
                    <a:pt x="395" y="134"/>
                  </a:lnTo>
                  <a:lnTo>
                    <a:pt x="378" y="134"/>
                  </a:lnTo>
                  <a:lnTo>
                    <a:pt x="374" y="151"/>
                  </a:lnTo>
                  <a:lnTo>
                    <a:pt x="341" y="155"/>
                  </a:lnTo>
                  <a:lnTo>
                    <a:pt x="341" y="191"/>
                  </a:lnTo>
                  <a:lnTo>
                    <a:pt x="326" y="212"/>
                  </a:lnTo>
                  <a:lnTo>
                    <a:pt x="341" y="212"/>
                  </a:lnTo>
                  <a:lnTo>
                    <a:pt x="341" y="229"/>
                  </a:lnTo>
                  <a:lnTo>
                    <a:pt x="326" y="229"/>
                  </a:lnTo>
                  <a:lnTo>
                    <a:pt x="336" y="224"/>
                  </a:lnTo>
                  <a:lnTo>
                    <a:pt x="326" y="212"/>
                  </a:lnTo>
                  <a:lnTo>
                    <a:pt x="298" y="240"/>
                  </a:lnTo>
                  <a:lnTo>
                    <a:pt x="281" y="229"/>
                  </a:lnTo>
                  <a:lnTo>
                    <a:pt x="281" y="257"/>
                  </a:lnTo>
                  <a:lnTo>
                    <a:pt x="265" y="245"/>
                  </a:lnTo>
                  <a:lnTo>
                    <a:pt x="251" y="262"/>
                  </a:lnTo>
                  <a:lnTo>
                    <a:pt x="234" y="257"/>
                  </a:lnTo>
                  <a:lnTo>
                    <a:pt x="189" y="257"/>
                  </a:lnTo>
                  <a:lnTo>
                    <a:pt x="180" y="240"/>
                  </a:lnTo>
                  <a:lnTo>
                    <a:pt x="175" y="224"/>
                  </a:lnTo>
                  <a:lnTo>
                    <a:pt x="147" y="207"/>
                  </a:lnTo>
                  <a:lnTo>
                    <a:pt x="137" y="212"/>
                  </a:lnTo>
                  <a:lnTo>
                    <a:pt x="137" y="212"/>
                  </a:lnTo>
                  <a:lnTo>
                    <a:pt x="137" y="212"/>
                  </a:lnTo>
                  <a:close/>
                  <a:moveTo>
                    <a:pt x="12" y="118"/>
                  </a:moveTo>
                  <a:lnTo>
                    <a:pt x="0" y="118"/>
                  </a:lnTo>
                  <a:lnTo>
                    <a:pt x="17" y="94"/>
                  </a:lnTo>
                  <a:lnTo>
                    <a:pt x="17" y="77"/>
                  </a:lnTo>
                  <a:lnTo>
                    <a:pt x="17" y="101"/>
                  </a:lnTo>
                  <a:lnTo>
                    <a:pt x="12" y="118"/>
                  </a:lnTo>
                  <a:lnTo>
                    <a:pt x="12" y="118"/>
                  </a:lnTo>
                  <a:lnTo>
                    <a:pt x="12" y="11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2" name="Freeform 493">
              <a:extLst>
                <a:ext uri="{FF2B5EF4-FFF2-40B4-BE49-F238E27FC236}">
                  <a16:creationId xmlns:a16="http://schemas.microsoft.com/office/drawing/2014/main" id="{8712A18C-DEEE-416D-8F6B-4052733808D0}"/>
                </a:ext>
              </a:extLst>
            </p:cNvPr>
            <p:cNvSpPr>
              <a:spLocks/>
            </p:cNvSpPr>
            <p:nvPr/>
          </p:nvSpPr>
          <p:spPr bwMode="gray">
            <a:xfrm>
              <a:off x="13480692" y="3912791"/>
              <a:ext cx="94589" cy="98189"/>
            </a:xfrm>
            <a:custGeom>
              <a:avLst/>
              <a:gdLst>
                <a:gd name="T0" fmla="*/ 0 w 289"/>
                <a:gd name="T1" fmla="*/ 115 h 300"/>
                <a:gd name="T2" fmla="*/ 12 w 289"/>
                <a:gd name="T3" fmla="*/ 94 h 300"/>
                <a:gd name="T4" fmla="*/ 38 w 289"/>
                <a:gd name="T5" fmla="*/ 71 h 300"/>
                <a:gd name="T6" fmla="*/ 66 w 289"/>
                <a:gd name="T7" fmla="*/ 54 h 300"/>
                <a:gd name="T8" fmla="*/ 66 w 289"/>
                <a:gd name="T9" fmla="*/ 33 h 300"/>
                <a:gd name="T10" fmla="*/ 76 w 289"/>
                <a:gd name="T11" fmla="*/ 21 h 300"/>
                <a:gd name="T12" fmla="*/ 88 w 289"/>
                <a:gd name="T13" fmla="*/ 0 h 300"/>
                <a:gd name="T14" fmla="*/ 121 w 289"/>
                <a:gd name="T15" fmla="*/ 0 h 300"/>
                <a:gd name="T16" fmla="*/ 142 w 289"/>
                <a:gd name="T17" fmla="*/ 16 h 300"/>
                <a:gd name="T18" fmla="*/ 147 w 289"/>
                <a:gd name="T19" fmla="*/ 54 h 300"/>
                <a:gd name="T20" fmla="*/ 142 w 289"/>
                <a:gd name="T21" fmla="*/ 87 h 300"/>
                <a:gd name="T22" fmla="*/ 147 w 289"/>
                <a:gd name="T23" fmla="*/ 75 h 300"/>
                <a:gd name="T24" fmla="*/ 163 w 289"/>
                <a:gd name="T25" fmla="*/ 94 h 300"/>
                <a:gd name="T26" fmla="*/ 185 w 289"/>
                <a:gd name="T27" fmla="*/ 87 h 300"/>
                <a:gd name="T28" fmla="*/ 196 w 289"/>
                <a:gd name="T29" fmla="*/ 59 h 300"/>
                <a:gd name="T30" fmla="*/ 201 w 289"/>
                <a:gd name="T31" fmla="*/ 59 h 300"/>
                <a:gd name="T32" fmla="*/ 213 w 289"/>
                <a:gd name="T33" fmla="*/ 71 h 300"/>
                <a:gd name="T34" fmla="*/ 229 w 289"/>
                <a:gd name="T35" fmla="*/ 94 h 300"/>
                <a:gd name="T36" fmla="*/ 218 w 289"/>
                <a:gd name="T37" fmla="*/ 115 h 300"/>
                <a:gd name="T38" fmla="*/ 201 w 289"/>
                <a:gd name="T39" fmla="*/ 144 h 300"/>
                <a:gd name="T40" fmla="*/ 234 w 289"/>
                <a:gd name="T41" fmla="*/ 165 h 300"/>
                <a:gd name="T42" fmla="*/ 251 w 289"/>
                <a:gd name="T43" fmla="*/ 165 h 300"/>
                <a:gd name="T44" fmla="*/ 255 w 289"/>
                <a:gd name="T45" fmla="*/ 189 h 300"/>
                <a:gd name="T46" fmla="*/ 289 w 289"/>
                <a:gd name="T47" fmla="*/ 189 h 300"/>
                <a:gd name="T48" fmla="*/ 289 w 289"/>
                <a:gd name="T49" fmla="*/ 215 h 300"/>
                <a:gd name="T50" fmla="*/ 284 w 289"/>
                <a:gd name="T51" fmla="*/ 222 h 300"/>
                <a:gd name="T52" fmla="*/ 289 w 289"/>
                <a:gd name="T53" fmla="*/ 227 h 300"/>
                <a:gd name="T54" fmla="*/ 272 w 289"/>
                <a:gd name="T55" fmla="*/ 260 h 300"/>
                <a:gd name="T56" fmla="*/ 284 w 289"/>
                <a:gd name="T57" fmla="*/ 300 h 300"/>
                <a:gd name="T58" fmla="*/ 229 w 289"/>
                <a:gd name="T59" fmla="*/ 283 h 300"/>
                <a:gd name="T60" fmla="*/ 163 w 289"/>
                <a:gd name="T61" fmla="*/ 255 h 300"/>
                <a:gd name="T62" fmla="*/ 76 w 289"/>
                <a:gd name="T63" fmla="*/ 165 h 300"/>
                <a:gd name="T64" fmla="*/ 50 w 289"/>
                <a:gd name="T65" fmla="*/ 165 h 300"/>
                <a:gd name="T66" fmla="*/ 38 w 289"/>
                <a:gd name="T67" fmla="*/ 149 h 300"/>
                <a:gd name="T68" fmla="*/ 12 w 289"/>
                <a:gd name="T69" fmla="*/ 132 h 300"/>
                <a:gd name="T70" fmla="*/ 0 w 289"/>
                <a:gd name="T71" fmla="*/ 115 h 300"/>
                <a:gd name="T72" fmla="*/ 0 w 289"/>
                <a:gd name="T73" fmla="*/ 115 h 300"/>
                <a:gd name="T74" fmla="*/ 0 w 289"/>
                <a:gd name="T75" fmla="*/ 11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9" h="300">
                  <a:moveTo>
                    <a:pt x="0" y="115"/>
                  </a:moveTo>
                  <a:lnTo>
                    <a:pt x="12" y="94"/>
                  </a:lnTo>
                  <a:lnTo>
                    <a:pt x="38" y="71"/>
                  </a:lnTo>
                  <a:lnTo>
                    <a:pt x="66" y="54"/>
                  </a:lnTo>
                  <a:lnTo>
                    <a:pt x="66" y="33"/>
                  </a:lnTo>
                  <a:lnTo>
                    <a:pt x="76" y="21"/>
                  </a:lnTo>
                  <a:lnTo>
                    <a:pt x="88" y="0"/>
                  </a:lnTo>
                  <a:lnTo>
                    <a:pt x="121" y="0"/>
                  </a:lnTo>
                  <a:lnTo>
                    <a:pt x="142" y="16"/>
                  </a:lnTo>
                  <a:lnTo>
                    <a:pt x="147" y="54"/>
                  </a:lnTo>
                  <a:lnTo>
                    <a:pt x="142" y="87"/>
                  </a:lnTo>
                  <a:lnTo>
                    <a:pt x="147" y="75"/>
                  </a:lnTo>
                  <a:lnTo>
                    <a:pt x="163" y="94"/>
                  </a:lnTo>
                  <a:lnTo>
                    <a:pt x="185" y="87"/>
                  </a:lnTo>
                  <a:lnTo>
                    <a:pt x="196" y="59"/>
                  </a:lnTo>
                  <a:lnTo>
                    <a:pt x="201" y="59"/>
                  </a:lnTo>
                  <a:lnTo>
                    <a:pt x="213" y="71"/>
                  </a:lnTo>
                  <a:lnTo>
                    <a:pt x="229" y="94"/>
                  </a:lnTo>
                  <a:lnTo>
                    <a:pt x="218" y="115"/>
                  </a:lnTo>
                  <a:lnTo>
                    <a:pt x="201" y="144"/>
                  </a:lnTo>
                  <a:lnTo>
                    <a:pt x="234" y="165"/>
                  </a:lnTo>
                  <a:lnTo>
                    <a:pt x="251" y="165"/>
                  </a:lnTo>
                  <a:lnTo>
                    <a:pt x="255" y="189"/>
                  </a:lnTo>
                  <a:lnTo>
                    <a:pt x="289" y="189"/>
                  </a:lnTo>
                  <a:lnTo>
                    <a:pt x="289" y="215"/>
                  </a:lnTo>
                  <a:lnTo>
                    <a:pt x="284" y="222"/>
                  </a:lnTo>
                  <a:lnTo>
                    <a:pt x="289" y="227"/>
                  </a:lnTo>
                  <a:lnTo>
                    <a:pt x="272" y="260"/>
                  </a:lnTo>
                  <a:lnTo>
                    <a:pt x="284" y="300"/>
                  </a:lnTo>
                  <a:lnTo>
                    <a:pt x="229" y="283"/>
                  </a:lnTo>
                  <a:lnTo>
                    <a:pt x="163" y="255"/>
                  </a:lnTo>
                  <a:lnTo>
                    <a:pt x="76" y="165"/>
                  </a:lnTo>
                  <a:lnTo>
                    <a:pt x="50" y="165"/>
                  </a:lnTo>
                  <a:lnTo>
                    <a:pt x="38" y="149"/>
                  </a:lnTo>
                  <a:lnTo>
                    <a:pt x="12" y="132"/>
                  </a:lnTo>
                  <a:lnTo>
                    <a:pt x="0" y="115"/>
                  </a:lnTo>
                  <a:lnTo>
                    <a:pt x="0" y="115"/>
                  </a:lnTo>
                  <a:lnTo>
                    <a:pt x="0" y="11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3" name="Freeform 494">
              <a:extLst>
                <a:ext uri="{FF2B5EF4-FFF2-40B4-BE49-F238E27FC236}">
                  <a16:creationId xmlns:a16="http://schemas.microsoft.com/office/drawing/2014/main" id="{A430896B-8E8D-493C-887C-B7117495585A}"/>
                </a:ext>
              </a:extLst>
            </p:cNvPr>
            <p:cNvSpPr>
              <a:spLocks/>
            </p:cNvSpPr>
            <p:nvPr/>
          </p:nvSpPr>
          <p:spPr bwMode="gray">
            <a:xfrm>
              <a:off x="14130375" y="2837949"/>
              <a:ext cx="131246" cy="54986"/>
            </a:xfrm>
            <a:custGeom>
              <a:avLst/>
              <a:gdLst>
                <a:gd name="T0" fmla="*/ 155 w 401"/>
                <a:gd name="T1" fmla="*/ 144 h 168"/>
                <a:gd name="T2" fmla="*/ 139 w 401"/>
                <a:gd name="T3" fmla="*/ 152 h 168"/>
                <a:gd name="T4" fmla="*/ 139 w 401"/>
                <a:gd name="T5" fmla="*/ 161 h 168"/>
                <a:gd name="T6" fmla="*/ 101 w 401"/>
                <a:gd name="T7" fmla="*/ 168 h 168"/>
                <a:gd name="T8" fmla="*/ 68 w 401"/>
                <a:gd name="T9" fmla="*/ 168 h 168"/>
                <a:gd name="T10" fmla="*/ 37 w 401"/>
                <a:gd name="T11" fmla="*/ 144 h 168"/>
                <a:gd name="T12" fmla="*/ 26 w 401"/>
                <a:gd name="T13" fmla="*/ 144 h 168"/>
                <a:gd name="T14" fmla="*/ 0 w 401"/>
                <a:gd name="T15" fmla="*/ 111 h 168"/>
                <a:gd name="T16" fmla="*/ 9 w 401"/>
                <a:gd name="T17" fmla="*/ 90 h 168"/>
                <a:gd name="T18" fmla="*/ 26 w 401"/>
                <a:gd name="T19" fmla="*/ 67 h 168"/>
                <a:gd name="T20" fmla="*/ 63 w 401"/>
                <a:gd name="T21" fmla="*/ 67 h 168"/>
                <a:gd name="T22" fmla="*/ 85 w 401"/>
                <a:gd name="T23" fmla="*/ 50 h 168"/>
                <a:gd name="T24" fmla="*/ 101 w 401"/>
                <a:gd name="T25" fmla="*/ 29 h 168"/>
                <a:gd name="T26" fmla="*/ 122 w 401"/>
                <a:gd name="T27" fmla="*/ 12 h 168"/>
                <a:gd name="T28" fmla="*/ 139 w 401"/>
                <a:gd name="T29" fmla="*/ 12 h 168"/>
                <a:gd name="T30" fmla="*/ 144 w 401"/>
                <a:gd name="T31" fmla="*/ 12 h 168"/>
                <a:gd name="T32" fmla="*/ 155 w 401"/>
                <a:gd name="T33" fmla="*/ 17 h 168"/>
                <a:gd name="T34" fmla="*/ 160 w 401"/>
                <a:gd name="T35" fmla="*/ 17 h 168"/>
                <a:gd name="T36" fmla="*/ 186 w 401"/>
                <a:gd name="T37" fmla="*/ 0 h 168"/>
                <a:gd name="T38" fmla="*/ 203 w 401"/>
                <a:gd name="T39" fmla="*/ 17 h 168"/>
                <a:gd name="T40" fmla="*/ 207 w 401"/>
                <a:gd name="T41" fmla="*/ 17 h 168"/>
                <a:gd name="T42" fmla="*/ 207 w 401"/>
                <a:gd name="T43" fmla="*/ 33 h 168"/>
                <a:gd name="T44" fmla="*/ 224 w 401"/>
                <a:gd name="T45" fmla="*/ 38 h 168"/>
                <a:gd name="T46" fmla="*/ 229 w 401"/>
                <a:gd name="T47" fmla="*/ 29 h 168"/>
                <a:gd name="T48" fmla="*/ 245 w 401"/>
                <a:gd name="T49" fmla="*/ 17 h 168"/>
                <a:gd name="T50" fmla="*/ 278 w 401"/>
                <a:gd name="T51" fmla="*/ 17 h 168"/>
                <a:gd name="T52" fmla="*/ 283 w 401"/>
                <a:gd name="T53" fmla="*/ 29 h 168"/>
                <a:gd name="T54" fmla="*/ 300 w 401"/>
                <a:gd name="T55" fmla="*/ 17 h 168"/>
                <a:gd name="T56" fmla="*/ 337 w 401"/>
                <a:gd name="T57" fmla="*/ 17 h 168"/>
                <a:gd name="T58" fmla="*/ 363 w 401"/>
                <a:gd name="T59" fmla="*/ 29 h 168"/>
                <a:gd name="T60" fmla="*/ 363 w 401"/>
                <a:gd name="T61" fmla="*/ 33 h 168"/>
                <a:gd name="T62" fmla="*/ 401 w 401"/>
                <a:gd name="T63" fmla="*/ 50 h 168"/>
                <a:gd name="T64" fmla="*/ 387 w 401"/>
                <a:gd name="T65" fmla="*/ 83 h 168"/>
                <a:gd name="T66" fmla="*/ 370 w 401"/>
                <a:gd name="T67" fmla="*/ 95 h 168"/>
                <a:gd name="T68" fmla="*/ 370 w 401"/>
                <a:gd name="T69" fmla="*/ 111 h 168"/>
                <a:gd name="T70" fmla="*/ 349 w 401"/>
                <a:gd name="T71" fmla="*/ 111 h 168"/>
                <a:gd name="T72" fmla="*/ 321 w 401"/>
                <a:gd name="T73" fmla="*/ 95 h 168"/>
                <a:gd name="T74" fmla="*/ 300 w 401"/>
                <a:gd name="T75" fmla="*/ 95 h 168"/>
                <a:gd name="T76" fmla="*/ 266 w 401"/>
                <a:gd name="T77" fmla="*/ 95 h 168"/>
                <a:gd name="T78" fmla="*/ 262 w 401"/>
                <a:gd name="T79" fmla="*/ 95 h 168"/>
                <a:gd name="T80" fmla="*/ 245 w 401"/>
                <a:gd name="T81" fmla="*/ 123 h 168"/>
                <a:gd name="T82" fmla="*/ 215 w 401"/>
                <a:gd name="T83" fmla="*/ 140 h 168"/>
                <a:gd name="T84" fmla="*/ 193 w 401"/>
                <a:gd name="T85" fmla="*/ 128 h 168"/>
                <a:gd name="T86" fmla="*/ 186 w 401"/>
                <a:gd name="T87" fmla="*/ 140 h 168"/>
                <a:gd name="T88" fmla="*/ 155 w 401"/>
                <a:gd name="T89" fmla="*/ 144 h 168"/>
                <a:gd name="T90" fmla="*/ 155 w 401"/>
                <a:gd name="T91" fmla="*/ 144 h 168"/>
                <a:gd name="T92" fmla="*/ 155 w 401"/>
                <a:gd name="T93" fmla="*/ 14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1" h="168">
                  <a:moveTo>
                    <a:pt x="155" y="144"/>
                  </a:moveTo>
                  <a:lnTo>
                    <a:pt x="139" y="152"/>
                  </a:lnTo>
                  <a:lnTo>
                    <a:pt x="139" y="161"/>
                  </a:lnTo>
                  <a:lnTo>
                    <a:pt x="101" y="168"/>
                  </a:lnTo>
                  <a:lnTo>
                    <a:pt x="68" y="168"/>
                  </a:lnTo>
                  <a:lnTo>
                    <a:pt x="37" y="144"/>
                  </a:lnTo>
                  <a:lnTo>
                    <a:pt x="26" y="144"/>
                  </a:lnTo>
                  <a:lnTo>
                    <a:pt x="0" y="111"/>
                  </a:lnTo>
                  <a:lnTo>
                    <a:pt x="9" y="90"/>
                  </a:lnTo>
                  <a:lnTo>
                    <a:pt x="26" y="67"/>
                  </a:lnTo>
                  <a:lnTo>
                    <a:pt x="63" y="67"/>
                  </a:lnTo>
                  <a:lnTo>
                    <a:pt x="85" y="50"/>
                  </a:lnTo>
                  <a:lnTo>
                    <a:pt x="101" y="29"/>
                  </a:lnTo>
                  <a:lnTo>
                    <a:pt x="122" y="12"/>
                  </a:lnTo>
                  <a:lnTo>
                    <a:pt x="139" y="12"/>
                  </a:lnTo>
                  <a:lnTo>
                    <a:pt x="144" y="12"/>
                  </a:lnTo>
                  <a:lnTo>
                    <a:pt x="155" y="17"/>
                  </a:lnTo>
                  <a:lnTo>
                    <a:pt x="160" y="17"/>
                  </a:lnTo>
                  <a:lnTo>
                    <a:pt x="186" y="0"/>
                  </a:lnTo>
                  <a:lnTo>
                    <a:pt x="203" y="17"/>
                  </a:lnTo>
                  <a:lnTo>
                    <a:pt x="207" y="17"/>
                  </a:lnTo>
                  <a:lnTo>
                    <a:pt x="207" y="33"/>
                  </a:lnTo>
                  <a:lnTo>
                    <a:pt x="224" y="38"/>
                  </a:lnTo>
                  <a:lnTo>
                    <a:pt x="229" y="29"/>
                  </a:lnTo>
                  <a:lnTo>
                    <a:pt x="245" y="17"/>
                  </a:lnTo>
                  <a:lnTo>
                    <a:pt x="278" y="17"/>
                  </a:lnTo>
                  <a:lnTo>
                    <a:pt x="283" y="29"/>
                  </a:lnTo>
                  <a:lnTo>
                    <a:pt x="300" y="17"/>
                  </a:lnTo>
                  <a:lnTo>
                    <a:pt x="337" y="17"/>
                  </a:lnTo>
                  <a:lnTo>
                    <a:pt x="363" y="29"/>
                  </a:lnTo>
                  <a:lnTo>
                    <a:pt x="363" y="33"/>
                  </a:lnTo>
                  <a:lnTo>
                    <a:pt x="401" y="50"/>
                  </a:lnTo>
                  <a:lnTo>
                    <a:pt x="387" y="83"/>
                  </a:lnTo>
                  <a:lnTo>
                    <a:pt x="370" y="95"/>
                  </a:lnTo>
                  <a:lnTo>
                    <a:pt x="370" y="111"/>
                  </a:lnTo>
                  <a:lnTo>
                    <a:pt x="349" y="111"/>
                  </a:lnTo>
                  <a:lnTo>
                    <a:pt x="321" y="95"/>
                  </a:lnTo>
                  <a:lnTo>
                    <a:pt x="300" y="95"/>
                  </a:lnTo>
                  <a:lnTo>
                    <a:pt x="266" y="95"/>
                  </a:lnTo>
                  <a:lnTo>
                    <a:pt x="262" y="95"/>
                  </a:lnTo>
                  <a:lnTo>
                    <a:pt x="245" y="123"/>
                  </a:lnTo>
                  <a:lnTo>
                    <a:pt x="215" y="140"/>
                  </a:lnTo>
                  <a:lnTo>
                    <a:pt x="193" y="128"/>
                  </a:lnTo>
                  <a:lnTo>
                    <a:pt x="186" y="140"/>
                  </a:lnTo>
                  <a:lnTo>
                    <a:pt x="155" y="144"/>
                  </a:lnTo>
                  <a:lnTo>
                    <a:pt x="155" y="144"/>
                  </a:lnTo>
                  <a:lnTo>
                    <a:pt x="155" y="14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4" name="Freeform 495">
              <a:extLst>
                <a:ext uri="{FF2B5EF4-FFF2-40B4-BE49-F238E27FC236}">
                  <a16:creationId xmlns:a16="http://schemas.microsoft.com/office/drawing/2014/main" id="{679EFAE3-E8A6-4B22-8A9D-BBA9B9185003}"/>
                </a:ext>
              </a:extLst>
            </p:cNvPr>
            <p:cNvSpPr>
              <a:spLocks/>
            </p:cNvSpPr>
            <p:nvPr/>
          </p:nvSpPr>
          <p:spPr bwMode="gray">
            <a:xfrm>
              <a:off x="13961818" y="2909300"/>
              <a:ext cx="2291" cy="6219"/>
            </a:xfrm>
            <a:custGeom>
              <a:avLst/>
              <a:gdLst>
                <a:gd name="T0" fmla="*/ 7 w 7"/>
                <a:gd name="T1" fmla="*/ 0 h 19"/>
                <a:gd name="T2" fmla="*/ 7 w 7"/>
                <a:gd name="T3" fmla="*/ 19 h 19"/>
                <a:gd name="T4" fmla="*/ 0 w 7"/>
                <a:gd name="T5" fmla="*/ 19 h 19"/>
                <a:gd name="T6" fmla="*/ 7 w 7"/>
                <a:gd name="T7" fmla="*/ 0 h 19"/>
                <a:gd name="T8" fmla="*/ 7 w 7"/>
                <a:gd name="T9" fmla="*/ 0 h 19"/>
                <a:gd name="T10" fmla="*/ 7 w 7"/>
                <a:gd name="T11" fmla="*/ 0 h 19"/>
              </a:gdLst>
              <a:ahLst/>
              <a:cxnLst>
                <a:cxn ang="0">
                  <a:pos x="T0" y="T1"/>
                </a:cxn>
                <a:cxn ang="0">
                  <a:pos x="T2" y="T3"/>
                </a:cxn>
                <a:cxn ang="0">
                  <a:pos x="T4" y="T5"/>
                </a:cxn>
                <a:cxn ang="0">
                  <a:pos x="T6" y="T7"/>
                </a:cxn>
                <a:cxn ang="0">
                  <a:pos x="T8" y="T9"/>
                </a:cxn>
                <a:cxn ang="0">
                  <a:pos x="T10" y="T11"/>
                </a:cxn>
              </a:cxnLst>
              <a:rect l="0" t="0" r="r" b="b"/>
              <a:pathLst>
                <a:path w="7" h="19">
                  <a:moveTo>
                    <a:pt x="7" y="0"/>
                  </a:moveTo>
                  <a:lnTo>
                    <a:pt x="7" y="19"/>
                  </a:lnTo>
                  <a:lnTo>
                    <a:pt x="0" y="19"/>
                  </a:lnTo>
                  <a:lnTo>
                    <a:pt x="7" y="0"/>
                  </a:lnTo>
                  <a:lnTo>
                    <a:pt x="7" y="0"/>
                  </a:lnTo>
                  <a:lnTo>
                    <a:pt x="7"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5" name="Freeform 496">
              <a:extLst>
                <a:ext uri="{FF2B5EF4-FFF2-40B4-BE49-F238E27FC236}">
                  <a16:creationId xmlns:a16="http://schemas.microsoft.com/office/drawing/2014/main" id="{EE97993F-40C6-4BF6-ABFF-12D9CD055082}"/>
                </a:ext>
              </a:extLst>
            </p:cNvPr>
            <p:cNvSpPr>
              <a:spLocks/>
            </p:cNvSpPr>
            <p:nvPr/>
          </p:nvSpPr>
          <p:spPr bwMode="gray">
            <a:xfrm>
              <a:off x="14364393" y="4807293"/>
              <a:ext cx="57277" cy="53349"/>
            </a:xfrm>
            <a:custGeom>
              <a:avLst/>
              <a:gdLst>
                <a:gd name="T0" fmla="*/ 128 w 175"/>
                <a:gd name="T1" fmla="*/ 12 h 163"/>
                <a:gd name="T2" fmla="*/ 166 w 175"/>
                <a:gd name="T3" fmla="*/ 38 h 163"/>
                <a:gd name="T4" fmla="*/ 175 w 175"/>
                <a:gd name="T5" fmla="*/ 56 h 163"/>
                <a:gd name="T6" fmla="*/ 159 w 175"/>
                <a:gd name="T7" fmla="*/ 73 h 163"/>
                <a:gd name="T8" fmla="*/ 159 w 175"/>
                <a:gd name="T9" fmla="*/ 78 h 163"/>
                <a:gd name="T10" fmla="*/ 149 w 175"/>
                <a:gd name="T11" fmla="*/ 78 h 163"/>
                <a:gd name="T12" fmla="*/ 149 w 175"/>
                <a:gd name="T13" fmla="*/ 106 h 163"/>
                <a:gd name="T14" fmla="*/ 128 w 175"/>
                <a:gd name="T15" fmla="*/ 123 h 163"/>
                <a:gd name="T16" fmla="*/ 95 w 175"/>
                <a:gd name="T17" fmla="*/ 123 h 163"/>
                <a:gd name="T18" fmla="*/ 71 w 175"/>
                <a:gd name="T19" fmla="*/ 163 h 163"/>
                <a:gd name="T20" fmla="*/ 50 w 175"/>
                <a:gd name="T21" fmla="*/ 163 h 163"/>
                <a:gd name="T22" fmla="*/ 29 w 175"/>
                <a:gd name="T23" fmla="*/ 134 h 163"/>
                <a:gd name="T24" fmla="*/ 17 w 175"/>
                <a:gd name="T25" fmla="*/ 111 h 163"/>
                <a:gd name="T26" fmla="*/ 0 w 175"/>
                <a:gd name="T27" fmla="*/ 78 h 163"/>
                <a:gd name="T28" fmla="*/ 17 w 175"/>
                <a:gd name="T29" fmla="*/ 73 h 163"/>
                <a:gd name="T30" fmla="*/ 38 w 175"/>
                <a:gd name="T31" fmla="*/ 33 h 163"/>
                <a:gd name="T32" fmla="*/ 83 w 175"/>
                <a:gd name="T33" fmla="*/ 12 h 163"/>
                <a:gd name="T34" fmla="*/ 111 w 175"/>
                <a:gd name="T35" fmla="*/ 0 h 163"/>
                <a:gd name="T36" fmla="*/ 128 w 175"/>
                <a:gd name="T37" fmla="*/ 12 h 163"/>
                <a:gd name="T38" fmla="*/ 128 w 175"/>
                <a:gd name="T39" fmla="*/ 12 h 163"/>
                <a:gd name="T40" fmla="*/ 128 w 175"/>
                <a:gd name="T41" fmla="*/ 1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63">
                  <a:moveTo>
                    <a:pt x="128" y="12"/>
                  </a:moveTo>
                  <a:lnTo>
                    <a:pt x="166" y="38"/>
                  </a:lnTo>
                  <a:lnTo>
                    <a:pt x="175" y="56"/>
                  </a:lnTo>
                  <a:lnTo>
                    <a:pt x="159" y="73"/>
                  </a:lnTo>
                  <a:lnTo>
                    <a:pt x="159" y="78"/>
                  </a:lnTo>
                  <a:lnTo>
                    <a:pt x="149" y="78"/>
                  </a:lnTo>
                  <a:lnTo>
                    <a:pt x="149" y="106"/>
                  </a:lnTo>
                  <a:lnTo>
                    <a:pt x="128" y="123"/>
                  </a:lnTo>
                  <a:lnTo>
                    <a:pt x="95" y="123"/>
                  </a:lnTo>
                  <a:lnTo>
                    <a:pt x="71" y="163"/>
                  </a:lnTo>
                  <a:lnTo>
                    <a:pt x="50" y="163"/>
                  </a:lnTo>
                  <a:lnTo>
                    <a:pt x="29" y="134"/>
                  </a:lnTo>
                  <a:lnTo>
                    <a:pt x="17" y="111"/>
                  </a:lnTo>
                  <a:lnTo>
                    <a:pt x="0" y="78"/>
                  </a:lnTo>
                  <a:lnTo>
                    <a:pt x="17" y="73"/>
                  </a:lnTo>
                  <a:lnTo>
                    <a:pt x="38" y="33"/>
                  </a:lnTo>
                  <a:lnTo>
                    <a:pt x="83" y="12"/>
                  </a:lnTo>
                  <a:lnTo>
                    <a:pt x="111" y="0"/>
                  </a:lnTo>
                  <a:lnTo>
                    <a:pt x="128" y="12"/>
                  </a:lnTo>
                  <a:lnTo>
                    <a:pt x="128" y="12"/>
                  </a:lnTo>
                  <a:lnTo>
                    <a:pt x="128"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6" name="Freeform 497">
              <a:extLst>
                <a:ext uri="{FF2B5EF4-FFF2-40B4-BE49-F238E27FC236}">
                  <a16:creationId xmlns:a16="http://schemas.microsoft.com/office/drawing/2014/main" id="{67EA89B3-D14F-4C29-9DD5-27EA84EB13CA}"/>
                </a:ext>
              </a:extLst>
            </p:cNvPr>
            <p:cNvSpPr>
              <a:spLocks/>
            </p:cNvSpPr>
            <p:nvPr/>
          </p:nvSpPr>
          <p:spPr bwMode="gray">
            <a:xfrm>
              <a:off x="13875739" y="2820930"/>
              <a:ext cx="17019" cy="20947"/>
            </a:xfrm>
            <a:custGeom>
              <a:avLst/>
              <a:gdLst>
                <a:gd name="T0" fmla="*/ 45 w 52"/>
                <a:gd name="T1" fmla="*/ 64 h 64"/>
                <a:gd name="T2" fmla="*/ 45 w 52"/>
                <a:gd name="T3" fmla="*/ 64 h 64"/>
                <a:gd name="T4" fmla="*/ 15 w 52"/>
                <a:gd name="T5" fmla="*/ 64 h 64"/>
                <a:gd name="T6" fmla="*/ 5 w 52"/>
                <a:gd name="T7" fmla="*/ 55 h 64"/>
                <a:gd name="T8" fmla="*/ 15 w 52"/>
                <a:gd name="T9" fmla="*/ 48 h 64"/>
                <a:gd name="T10" fmla="*/ 0 w 52"/>
                <a:gd name="T11" fmla="*/ 33 h 64"/>
                <a:gd name="T12" fmla="*/ 0 w 52"/>
                <a:gd name="T13" fmla="*/ 17 h 64"/>
                <a:gd name="T14" fmla="*/ 15 w 52"/>
                <a:gd name="T15" fmla="*/ 0 h 64"/>
                <a:gd name="T16" fmla="*/ 31 w 52"/>
                <a:gd name="T17" fmla="*/ 0 h 64"/>
                <a:gd name="T18" fmla="*/ 36 w 52"/>
                <a:gd name="T19" fmla="*/ 26 h 64"/>
                <a:gd name="T20" fmla="*/ 52 w 52"/>
                <a:gd name="T21" fmla="*/ 33 h 64"/>
                <a:gd name="T22" fmla="*/ 45 w 52"/>
                <a:gd name="T23" fmla="*/ 64 h 64"/>
                <a:gd name="T24" fmla="*/ 45 w 52"/>
                <a:gd name="T25" fmla="*/ 64 h 64"/>
                <a:gd name="T26" fmla="*/ 45 w 52"/>
                <a:gd name="T2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64">
                  <a:moveTo>
                    <a:pt x="45" y="64"/>
                  </a:moveTo>
                  <a:lnTo>
                    <a:pt x="45" y="64"/>
                  </a:lnTo>
                  <a:lnTo>
                    <a:pt x="15" y="64"/>
                  </a:lnTo>
                  <a:lnTo>
                    <a:pt x="5" y="55"/>
                  </a:lnTo>
                  <a:lnTo>
                    <a:pt x="15" y="48"/>
                  </a:lnTo>
                  <a:lnTo>
                    <a:pt x="0" y="33"/>
                  </a:lnTo>
                  <a:lnTo>
                    <a:pt x="0" y="17"/>
                  </a:lnTo>
                  <a:lnTo>
                    <a:pt x="15" y="0"/>
                  </a:lnTo>
                  <a:lnTo>
                    <a:pt x="31" y="0"/>
                  </a:lnTo>
                  <a:lnTo>
                    <a:pt x="36" y="26"/>
                  </a:lnTo>
                  <a:lnTo>
                    <a:pt x="52" y="33"/>
                  </a:lnTo>
                  <a:lnTo>
                    <a:pt x="45" y="64"/>
                  </a:lnTo>
                  <a:lnTo>
                    <a:pt x="45" y="64"/>
                  </a:lnTo>
                  <a:lnTo>
                    <a:pt x="45" y="6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7" name="Freeform 498">
              <a:extLst>
                <a:ext uri="{FF2B5EF4-FFF2-40B4-BE49-F238E27FC236}">
                  <a16:creationId xmlns:a16="http://schemas.microsoft.com/office/drawing/2014/main" id="{4F0043A0-A9A9-4BF7-BD94-1DFCB2A4F0F5}"/>
                </a:ext>
              </a:extLst>
            </p:cNvPr>
            <p:cNvSpPr>
              <a:spLocks/>
            </p:cNvSpPr>
            <p:nvPr/>
          </p:nvSpPr>
          <p:spPr bwMode="gray">
            <a:xfrm>
              <a:off x="13958545" y="3302710"/>
              <a:ext cx="363299" cy="345625"/>
            </a:xfrm>
            <a:custGeom>
              <a:avLst/>
              <a:gdLst>
                <a:gd name="T0" fmla="*/ 1096 w 1110"/>
                <a:gd name="T1" fmla="*/ 867 h 1056"/>
                <a:gd name="T2" fmla="*/ 1025 w 1110"/>
                <a:gd name="T3" fmla="*/ 1018 h 1056"/>
                <a:gd name="T4" fmla="*/ 740 w 1110"/>
                <a:gd name="T5" fmla="*/ 900 h 1056"/>
                <a:gd name="T6" fmla="*/ 395 w 1110"/>
                <a:gd name="T7" fmla="*/ 794 h 1056"/>
                <a:gd name="T8" fmla="*/ 291 w 1110"/>
                <a:gd name="T9" fmla="*/ 777 h 1056"/>
                <a:gd name="T10" fmla="*/ 156 w 1110"/>
                <a:gd name="T11" fmla="*/ 690 h 1056"/>
                <a:gd name="T12" fmla="*/ 76 w 1110"/>
                <a:gd name="T13" fmla="*/ 683 h 1056"/>
                <a:gd name="T14" fmla="*/ 64 w 1110"/>
                <a:gd name="T15" fmla="*/ 661 h 1056"/>
                <a:gd name="T16" fmla="*/ 50 w 1110"/>
                <a:gd name="T17" fmla="*/ 612 h 1056"/>
                <a:gd name="T18" fmla="*/ 12 w 1110"/>
                <a:gd name="T19" fmla="*/ 534 h 1056"/>
                <a:gd name="T20" fmla="*/ 38 w 1110"/>
                <a:gd name="T21" fmla="*/ 501 h 1056"/>
                <a:gd name="T22" fmla="*/ 21 w 1110"/>
                <a:gd name="T23" fmla="*/ 461 h 1056"/>
                <a:gd name="T24" fmla="*/ 33 w 1110"/>
                <a:gd name="T25" fmla="*/ 390 h 1056"/>
                <a:gd name="T26" fmla="*/ 21 w 1110"/>
                <a:gd name="T27" fmla="*/ 279 h 1056"/>
                <a:gd name="T28" fmla="*/ 17 w 1110"/>
                <a:gd name="T29" fmla="*/ 234 h 1056"/>
                <a:gd name="T30" fmla="*/ 64 w 1110"/>
                <a:gd name="T31" fmla="*/ 189 h 1056"/>
                <a:gd name="T32" fmla="*/ 54 w 1110"/>
                <a:gd name="T33" fmla="*/ 135 h 1056"/>
                <a:gd name="T34" fmla="*/ 76 w 1110"/>
                <a:gd name="T35" fmla="*/ 111 h 1056"/>
                <a:gd name="T36" fmla="*/ 156 w 1110"/>
                <a:gd name="T37" fmla="*/ 57 h 1056"/>
                <a:gd name="T38" fmla="*/ 156 w 1110"/>
                <a:gd name="T39" fmla="*/ 0 h 1056"/>
                <a:gd name="T40" fmla="*/ 248 w 1110"/>
                <a:gd name="T41" fmla="*/ 24 h 1056"/>
                <a:gd name="T42" fmla="*/ 340 w 1110"/>
                <a:gd name="T43" fmla="*/ 33 h 1056"/>
                <a:gd name="T44" fmla="*/ 411 w 1110"/>
                <a:gd name="T45" fmla="*/ 57 h 1056"/>
                <a:gd name="T46" fmla="*/ 432 w 1110"/>
                <a:gd name="T47" fmla="*/ 123 h 1056"/>
                <a:gd name="T48" fmla="*/ 480 w 1110"/>
                <a:gd name="T49" fmla="*/ 151 h 1056"/>
                <a:gd name="T50" fmla="*/ 560 w 1110"/>
                <a:gd name="T51" fmla="*/ 168 h 1056"/>
                <a:gd name="T52" fmla="*/ 680 w 1110"/>
                <a:gd name="T53" fmla="*/ 234 h 1056"/>
                <a:gd name="T54" fmla="*/ 718 w 1110"/>
                <a:gd name="T55" fmla="*/ 217 h 1056"/>
                <a:gd name="T56" fmla="*/ 756 w 1110"/>
                <a:gd name="T57" fmla="*/ 161 h 1056"/>
                <a:gd name="T58" fmla="*/ 756 w 1110"/>
                <a:gd name="T59" fmla="*/ 78 h 1056"/>
                <a:gd name="T60" fmla="*/ 820 w 1110"/>
                <a:gd name="T61" fmla="*/ 33 h 1056"/>
                <a:gd name="T62" fmla="*/ 862 w 1110"/>
                <a:gd name="T63" fmla="*/ 17 h 1056"/>
                <a:gd name="T64" fmla="*/ 966 w 1110"/>
                <a:gd name="T65" fmla="*/ 40 h 1056"/>
                <a:gd name="T66" fmla="*/ 971 w 1110"/>
                <a:gd name="T67" fmla="*/ 73 h 1056"/>
                <a:gd name="T68" fmla="*/ 1035 w 1110"/>
                <a:gd name="T69" fmla="*/ 95 h 1056"/>
                <a:gd name="T70" fmla="*/ 1110 w 1110"/>
                <a:gd name="T71" fmla="*/ 123 h 1056"/>
                <a:gd name="T72" fmla="*/ 1096 w 1110"/>
                <a:gd name="T73" fmla="*/ 189 h 1056"/>
                <a:gd name="T74" fmla="*/ 1096 w 1110"/>
                <a:gd name="T75" fmla="*/ 312 h 1056"/>
                <a:gd name="T76" fmla="*/ 1096 w 1110"/>
                <a:gd name="T77" fmla="*/ 43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10" h="1056">
                  <a:moveTo>
                    <a:pt x="1096" y="439"/>
                  </a:moveTo>
                  <a:lnTo>
                    <a:pt x="1096" y="867"/>
                  </a:lnTo>
                  <a:lnTo>
                    <a:pt x="1096" y="1018"/>
                  </a:lnTo>
                  <a:lnTo>
                    <a:pt x="1025" y="1018"/>
                  </a:lnTo>
                  <a:lnTo>
                    <a:pt x="1025" y="1056"/>
                  </a:lnTo>
                  <a:lnTo>
                    <a:pt x="740" y="900"/>
                  </a:lnTo>
                  <a:lnTo>
                    <a:pt x="463" y="761"/>
                  </a:lnTo>
                  <a:lnTo>
                    <a:pt x="395" y="794"/>
                  </a:lnTo>
                  <a:lnTo>
                    <a:pt x="340" y="829"/>
                  </a:lnTo>
                  <a:lnTo>
                    <a:pt x="291" y="777"/>
                  </a:lnTo>
                  <a:lnTo>
                    <a:pt x="184" y="756"/>
                  </a:lnTo>
                  <a:lnTo>
                    <a:pt x="156" y="690"/>
                  </a:lnTo>
                  <a:lnTo>
                    <a:pt x="92" y="678"/>
                  </a:lnTo>
                  <a:lnTo>
                    <a:pt x="76" y="683"/>
                  </a:lnTo>
                  <a:lnTo>
                    <a:pt x="64" y="666"/>
                  </a:lnTo>
                  <a:lnTo>
                    <a:pt x="64" y="661"/>
                  </a:lnTo>
                  <a:lnTo>
                    <a:pt x="50" y="650"/>
                  </a:lnTo>
                  <a:lnTo>
                    <a:pt x="50" y="612"/>
                  </a:lnTo>
                  <a:lnTo>
                    <a:pt x="0" y="550"/>
                  </a:lnTo>
                  <a:lnTo>
                    <a:pt x="12" y="534"/>
                  </a:lnTo>
                  <a:lnTo>
                    <a:pt x="38" y="522"/>
                  </a:lnTo>
                  <a:lnTo>
                    <a:pt x="38" y="501"/>
                  </a:lnTo>
                  <a:lnTo>
                    <a:pt x="38" y="494"/>
                  </a:lnTo>
                  <a:lnTo>
                    <a:pt x="21" y="461"/>
                  </a:lnTo>
                  <a:lnTo>
                    <a:pt x="50" y="423"/>
                  </a:lnTo>
                  <a:lnTo>
                    <a:pt x="33" y="390"/>
                  </a:lnTo>
                  <a:lnTo>
                    <a:pt x="33" y="317"/>
                  </a:lnTo>
                  <a:lnTo>
                    <a:pt x="21" y="279"/>
                  </a:lnTo>
                  <a:lnTo>
                    <a:pt x="0" y="239"/>
                  </a:lnTo>
                  <a:lnTo>
                    <a:pt x="17" y="234"/>
                  </a:lnTo>
                  <a:lnTo>
                    <a:pt x="38" y="222"/>
                  </a:lnTo>
                  <a:lnTo>
                    <a:pt x="64" y="189"/>
                  </a:lnTo>
                  <a:lnTo>
                    <a:pt x="71" y="177"/>
                  </a:lnTo>
                  <a:lnTo>
                    <a:pt x="54" y="135"/>
                  </a:lnTo>
                  <a:lnTo>
                    <a:pt x="71" y="123"/>
                  </a:lnTo>
                  <a:lnTo>
                    <a:pt x="76" y="111"/>
                  </a:lnTo>
                  <a:lnTo>
                    <a:pt x="109" y="78"/>
                  </a:lnTo>
                  <a:lnTo>
                    <a:pt x="156" y="57"/>
                  </a:lnTo>
                  <a:lnTo>
                    <a:pt x="147" y="40"/>
                  </a:lnTo>
                  <a:lnTo>
                    <a:pt x="156" y="0"/>
                  </a:lnTo>
                  <a:lnTo>
                    <a:pt x="210" y="24"/>
                  </a:lnTo>
                  <a:lnTo>
                    <a:pt x="248" y="24"/>
                  </a:lnTo>
                  <a:lnTo>
                    <a:pt x="281" y="17"/>
                  </a:lnTo>
                  <a:lnTo>
                    <a:pt x="340" y="33"/>
                  </a:lnTo>
                  <a:lnTo>
                    <a:pt x="362" y="50"/>
                  </a:lnTo>
                  <a:lnTo>
                    <a:pt x="411" y="57"/>
                  </a:lnTo>
                  <a:lnTo>
                    <a:pt x="425" y="78"/>
                  </a:lnTo>
                  <a:lnTo>
                    <a:pt x="432" y="123"/>
                  </a:lnTo>
                  <a:lnTo>
                    <a:pt x="449" y="144"/>
                  </a:lnTo>
                  <a:lnTo>
                    <a:pt x="480" y="151"/>
                  </a:lnTo>
                  <a:lnTo>
                    <a:pt x="517" y="151"/>
                  </a:lnTo>
                  <a:lnTo>
                    <a:pt x="560" y="168"/>
                  </a:lnTo>
                  <a:lnTo>
                    <a:pt x="614" y="189"/>
                  </a:lnTo>
                  <a:lnTo>
                    <a:pt x="680" y="234"/>
                  </a:lnTo>
                  <a:lnTo>
                    <a:pt x="702" y="234"/>
                  </a:lnTo>
                  <a:lnTo>
                    <a:pt x="718" y="217"/>
                  </a:lnTo>
                  <a:lnTo>
                    <a:pt x="749" y="184"/>
                  </a:lnTo>
                  <a:lnTo>
                    <a:pt x="756" y="161"/>
                  </a:lnTo>
                  <a:lnTo>
                    <a:pt x="740" y="111"/>
                  </a:lnTo>
                  <a:lnTo>
                    <a:pt x="756" y="78"/>
                  </a:lnTo>
                  <a:lnTo>
                    <a:pt x="787" y="50"/>
                  </a:lnTo>
                  <a:lnTo>
                    <a:pt x="820" y="33"/>
                  </a:lnTo>
                  <a:lnTo>
                    <a:pt x="848" y="24"/>
                  </a:lnTo>
                  <a:lnTo>
                    <a:pt x="862" y="17"/>
                  </a:lnTo>
                  <a:lnTo>
                    <a:pt x="912" y="24"/>
                  </a:lnTo>
                  <a:lnTo>
                    <a:pt x="966" y="40"/>
                  </a:lnTo>
                  <a:lnTo>
                    <a:pt x="966" y="66"/>
                  </a:lnTo>
                  <a:lnTo>
                    <a:pt x="971" y="73"/>
                  </a:lnTo>
                  <a:lnTo>
                    <a:pt x="1009" y="78"/>
                  </a:lnTo>
                  <a:lnTo>
                    <a:pt x="1035" y="95"/>
                  </a:lnTo>
                  <a:lnTo>
                    <a:pt x="1096" y="95"/>
                  </a:lnTo>
                  <a:lnTo>
                    <a:pt x="1110" y="123"/>
                  </a:lnTo>
                  <a:lnTo>
                    <a:pt x="1089" y="144"/>
                  </a:lnTo>
                  <a:lnTo>
                    <a:pt x="1096" y="189"/>
                  </a:lnTo>
                  <a:lnTo>
                    <a:pt x="1080" y="239"/>
                  </a:lnTo>
                  <a:lnTo>
                    <a:pt x="1096" y="312"/>
                  </a:lnTo>
                  <a:lnTo>
                    <a:pt x="1096" y="439"/>
                  </a:lnTo>
                  <a:lnTo>
                    <a:pt x="1096" y="439"/>
                  </a:lnTo>
                  <a:lnTo>
                    <a:pt x="1096" y="43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8" name="Freeform 499">
              <a:extLst>
                <a:ext uri="{FF2B5EF4-FFF2-40B4-BE49-F238E27FC236}">
                  <a16:creationId xmlns:a16="http://schemas.microsoft.com/office/drawing/2014/main" id="{5C59B3B0-355A-40F6-86A2-8E13C3E5D496}"/>
                </a:ext>
              </a:extLst>
            </p:cNvPr>
            <p:cNvSpPr>
              <a:spLocks noEditPoints="1"/>
            </p:cNvSpPr>
            <p:nvPr/>
          </p:nvSpPr>
          <p:spPr bwMode="gray">
            <a:xfrm>
              <a:off x="14736529" y="4396536"/>
              <a:ext cx="167576" cy="333515"/>
            </a:xfrm>
            <a:custGeom>
              <a:avLst/>
              <a:gdLst>
                <a:gd name="T0" fmla="*/ 349 w 512"/>
                <a:gd name="T1" fmla="*/ 723 h 1019"/>
                <a:gd name="T2" fmla="*/ 307 w 512"/>
                <a:gd name="T3" fmla="*/ 884 h 1019"/>
                <a:gd name="T4" fmla="*/ 243 w 512"/>
                <a:gd name="T5" fmla="*/ 995 h 1019"/>
                <a:gd name="T6" fmla="*/ 163 w 512"/>
                <a:gd name="T7" fmla="*/ 1019 h 1019"/>
                <a:gd name="T8" fmla="*/ 108 w 512"/>
                <a:gd name="T9" fmla="*/ 1002 h 1019"/>
                <a:gd name="T10" fmla="*/ 82 w 512"/>
                <a:gd name="T11" fmla="*/ 990 h 1019"/>
                <a:gd name="T12" fmla="*/ 54 w 512"/>
                <a:gd name="T13" fmla="*/ 978 h 1019"/>
                <a:gd name="T14" fmla="*/ 33 w 512"/>
                <a:gd name="T15" fmla="*/ 924 h 1019"/>
                <a:gd name="T16" fmla="*/ 37 w 512"/>
                <a:gd name="T17" fmla="*/ 863 h 1019"/>
                <a:gd name="T18" fmla="*/ 28 w 512"/>
                <a:gd name="T19" fmla="*/ 830 h 1019"/>
                <a:gd name="T20" fmla="*/ 0 w 512"/>
                <a:gd name="T21" fmla="*/ 756 h 1019"/>
                <a:gd name="T22" fmla="*/ 16 w 512"/>
                <a:gd name="T23" fmla="*/ 723 h 1019"/>
                <a:gd name="T24" fmla="*/ 37 w 512"/>
                <a:gd name="T25" fmla="*/ 685 h 1019"/>
                <a:gd name="T26" fmla="*/ 87 w 512"/>
                <a:gd name="T27" fmla="*/ 596 h 1019"/>
                <a:gd name="T28" fmla="*/ 87 w 512"/>
                <a:gd name="T29" fmla="*/ 558 h 1019"/>
                <a:gd name="T30" fmla="*/ 70 w 512"/>
                <a:gd name="T31" fmla="*/ 513 h 1019"/>
                <a:gd name="T32" fmla="*/ 54 w 512"/>
                <a:gd name="T33" fmla="*/ 428 h 1019"/>
                <a:gd name="T34" fmla="*/ 87 w 512"/>
                <a:gd name="T35" fmla="*/ 350 h 1019"/>
                <a:gd name="T36" fmla="*/ 118 w 512"/>
                <a:gd name="T37" fmla="*/ 312 h 1019"/>
                <a:gd name="T38" fmla="*/ 146 w 512"/>
                <a:gd name="T39" fmla="*/ 308 h 1019"/>
                <a:gd name="T40" fmla="*/ 155 w 512"/>
                <a:gd name="T41" fmla="*/ 296 h 1019"/>
                <a:gd name="T42" fmla="*/ 172 w 512"/>
                <a:gd name="T43" fmla="*/ 308 h 1019"/>
                <a:gd name="T44" fmla="*/ 188 w 512"/>
                <a:gd name="T45" fmla="*/ 279 h 1019"/>
                <a:gd name="T46" fmla="*/ 200 w 512"/>
                <a:gd name="T47" fmla="*/ 279 h 1019"/>
                <a:gd name="T48" fmla="*/ 210 w 512"/>
                <a:gd name="T49" fmla="*/ 279 h 1019"/>
                <a:gd name="T50" fmla="*/ 214 w 512"/>
                <a:gd name="T51" fmla="*/ 296 h 1019"/>
                <a:gd name="T52" fmla="*/ 214 w 512"/>
                <a:gd name="T53" fmla="*/ 279 h 1019"/>
                <a:gd name="T54" fmla="*/ 264 w 512"/>
                <a:gd name="T55" fmla="*/ 239 h 1019"/>
                <a:gd name="T56" fmla="*/ 264 w 512"/>
                <a:gd name="T57" fmla="*/ 263 h 1019"/>
                <a:gd name="T58" fmla="*/ 269 w 512"/>
                <a:gd name="T59" fmla="*/ 239 h 1019"/>
                <a:gd name="T60" fmla="*/ 302 w 512"/>
                <a:gd name="T61" fmla="*/ 206 h 1019"/>
                <a:gd name="T62" fmla="*/ 323 w 512"/>
                <a:gd name="T63" fmla="*/ 197 h 1019"/>
                <a:gd name="T64" fmla="*/ 333 w 512"/>
                <a:gd name="T65" fmla="*/ 206 h 1019"/>
                <a:gd name="T66" fmla="*/ 318 w 512"/>
                <a:gd name="T67" fmla="*/ 197 h 1019"/>
                <a:gd name="T68" fmla="*/ 318 w 512"/>
                <a:gd name="T69" fmla="*/ 168 h 1019"/>
                <a:gd name="T70" fmla="*/ 323 w 512"/>
                <a:gd name="T71" fmla="*/ 163 h 1019"/>
                <a:gd name="T72" fmla="*/ 333 w 512"/>
                <a:gd name="T73" fmla="*/ 180 h 1019"/>
                <a:gd name="T74" fmla="*/ 333 w 512"/>
                <a:gd name="T75" fmla="*/ 152 h 1019"/>
                <a:gd name="T76" fmla="*/ 323 w 512"/>
                <a:gd name="T77" fmla="*/ 140 h 1019"/>
                <a:gd name="T78" fmla="*/ 340 w 512"/>
                <a:gd name="T79" fmla="*/ 111 h 1019"/>
                <a:gd name="T80" fmla="*/ 356 w 512"/>
                <a:gd name="T81" fmla="*/ 123 h 1019"/>
                <a:gd name="T82" fmla="*/ 403 w 512"/>
                <a:gd name="T83" fmla="*/ 69 h 1019"/>
                <a:gd name="T84" fmla="*/ 387 w 512"/>
                <a:gd name="T85" fmla="*/ 34 h 1019"/>
                <a:gd name="T86" fmla="*/ 403 w 512"/>
                <a:gd name="T87" fmla="*/ 29 h 1019"/>
                <a:gd name="T88" fmla="*/ 415 w 512"/>
                <a:gd name="T89" fmla="*/ 12 h 1019"/>
                <a:gd name="T90" fmla="*/ 429 w 512"/>
                <a:gd name="T91" fmla="*/ 17 h 1019"/>
                <a:gd name="T92" fmla="*/ 425 w 512"/>
                <a:gd name="T93" fmla="*/ 17 h 1019"/>
                <a:gd name="T94" fmla="*/ 446 w 512"/>
                <a:gd name="T95" fmla="*/ 50 h 1019"/>
                <a:gd name="T96" fmla="*/ 484 w 512"/>
                <a:gd name="T97" fmla="*/ 140 h 1019"/>
                <a:gd name="T98" fmla="*/ 512 w 512"/>
                <a:gd name="T99" fmla="*/ 251 h 1019"/>
                <a:gd name="T100" fmla="*/ 479 w 512"/>
                <a:gd name="T101" fmla="*/ 291 h 1019"/>
                <a:gd name="T102" fmla="*/ 458 w 512"/>
                <a:gd name="T103" fmla="*/ 258 h 1019"/>
                <a:gd name="T104" fmla="*/ 458 w 512"/>
                <a:gd name="T105" fmla="*/ 291 h 1019"/>
                <a:gd name="T106" fmla="*/ 462 w 512"/>
                <a:gd name="T107" fmla="*/ 312 h 1019"/>
                <a:gd name="T108" fmla="*/ 458 w 512"/>
                <a:gd name="T109" fmla="*/ 350 h 1019"/>
                <a:gd name="T110" fmla="*/ 446 w 512"/>
                <a:gd name="T111" fmla="*/ 369 h 1019"/>
                <a:gd name="T112" fmla="*/ 441 w 512"/>
                <a:gd name="T113" fmla="*/ 423 h 1019"/>
                <a:gd name="T114" fmla="*/ 377 w 512"/>
                <a:gd name="T115" fmla="*/ 629 h 1019"/>
                <a:gd name="T116" fmla="*/ 377 w 512"/>
                <a:gd name="T117" fmla="*/ 629 h 1019"/>
                <a:gd name="T118" fmla="*/ 349 w 512"/>
                <a:gd name="T119" fmla="*/ 107 h 1019"/>
                <a:gd name="T120" fmla="*/ 356 w 512"/>
                <a:gd name="T121" fmla="*/ 107 h 1019"/>
                <a:gd name="T122" fmla="*/ 356 w 512"/>
                <a:gd name="T123" fmla="*/ 107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1019">
                  <a:moveTo>
                    <a:pt x="377" y="629"/>
                  </a:moveTo>
                  <a:lnTo>
                    <a:pt x="349" y="723"/>
                  </a:lnTo>
                  <a:lnTo>
                    <a:pt x="323" y="780"/>
                  </a:lnTo>
                  <a:lnTo>
                    <a:pt x="307" y="884"/>
                  </a:lnTo>
                  <a:lnTo>
                    <a:pt x="269" y="974"/>
                  </a:lnTo>
                  <a:lnTo>
                    <a:pt x="243" y="995"/>
                  </a:lnTo>
                  <a:lnTo>
                    <a:pt x="210" y="995"/>
                  </a:lnTo>
                  <a:lnTo>
                    <a:pt x="163" y="1019"/>
                  </a:lnTo>
                  <a:lnTo>
                    <a:pt x="141" y="1019"/>
                  </a:lnTo>
                  <a:lnTo>
                    <a:pt x="108" y="1002"/>
                  </a:lnTo>
                  <a:lnTo>
                    <a:pt x="82" y="995"/>
                  </a:lnTo>
                  <a:lnTo>
                    <a:pt x="82" y="990"/>
                  </a:lnTo>
                  <a:lnTo>
                    <a:pt x="87" y="995"/>
                  </a:lnTo>
                  <a:lnTo>
                    <a:pt x="54" y="978"/>
                  </a:lnTo>
                  <a:lnTo>
                    <a:pt x="49" y="945"/>
                  </a:lnTo>
                  <a:lnTo>
                    <a:pt x="33" y="924"/>
                  </a:lnTo>
                  <a:lnTo>
                    <a:pt x="33" y="879"/>
                  </a:lnTo>
                  <a:lnTo>
                    <a:pt x="37" y="863"/>
                  </a:lnTo>
                  <a:lnTo>
                    <a:pt x="33" y="851"/>
                  </a:lnTo>
                  <a:lnTo>
                    <a:pt x="28" y="830"/>
                  </a:lnTo>
                  <a:lnTo>
                    <a:pt x="11" y="813"/>
                  </a:lnTo>
                  <a:lnTo>
                    <a:pt x="0" y="756"/>
                  </a:lnTo>
                  <a:lnTo>
                    <a:pt x="11" y="735"/>
                  </a:lnTo>
                  <a:lnTo>
                    <a:pt x="16" y="723"/>
                  </a:lnTo>
                  <a:lnTo>
                    <a:pt x="16" y="702"/>
                  </a:lnTo>
                  <a:lnTo>
                    <a:pt x="37" y="685"/>
                  </a:lnTo>
                  <a:lnTo>
                    <a:pt x="49" y="662"/>
                  </a:lnTo>
                  <a:lnTo>
                    <a:pt x="87" y="596"/>
                  </a:lnTo>
                  <a:lnTo>
                    <a:pt x="82" y="584"/>
                  </a:lnTo>
                  <a:lnTo>
                    <a:pt x="87" y="558"/>
                  </a:lnTo>
                  <a:lnTo>
                    <a:pt x="70" y="530"/>
                  </a:lnTo>
                  <a:lnTo>
                    <a:pt x="70" y="513"/>
                  </a:lnTo>
                  <a:lnTo>
                    <a:pt x="54" y="480"/>
                  </a:lnTo>
                  <a:lnTo>
                    <a:pt x="54" y="428"/>
                  </a:lnTo>
                  <a:lnTo>
                    <a:pt x="49" y="419"/>
                  </a:lnTo>
                  <a:lnTo>
                    <a:pt x="87" y="350"/>
                  </a:lnTo>
                  <a:lnTo>
                    <a:pt x="87" y="312"/>
                  </a:lnTo>
                  <a:lnTo>
                    <a:pt x="118" y="312"/>
                  </a:lnTo>
                  <a:lnTo>
                    <a:pt x="146" y="296"/>
                  </a:lnTo>
                  <a:lnTo>
                    <a:pt x="146" y="308"/>
                  </a:lnTo>
                  <a:lnTo>
                    <a:pt x="155" y="308"/>
                  </a:lnTo>
                  <a:lnTo>
                    <a:pt x="155" y="296"/>
                  </a:lnTo>
                  <a:lnTo>
                    <a:pt x="163" y="296"/>
                  </a:lnTo>
                  <a:lnTo>
                    <a:pt x="172" y="308"/>
                  </a:lnTo>
                  <a:lnTo>
                    <a:pt x="177" y="279"/>
                  </a:lnTo>
                  <a:lnTo>
                    <a:pt x="188" y="279"/>
                  </a:lnTo>
                  <a:lnTo>
                    <a:pt x="200" y="291"/>
                  </a:lnTo>
                  <a:lnTo>
                    <a:pt x="200" y="279"/>
                  </a:lnTo>
                  <a:lnTo>
                    <a:pt x="193" y="279"/>
                  </a:lnTo>
                  <a:lnTo>
                    <a:pt x="210" y="279"/>
                  </a:lnTo>
                  <a:lnTo>
                    <a:pt x="210" y="279"/>
                  </a:lnTo>
                  <a:lnTo>
                    <a:pt x="214" y="296"/>
                  </a:lnTo>
                  <a:lnTo>
                    <a:pt x="231" y="296"/>
                  </a:lnTo>
                  <a:lnTo>
                    <a:pt x="214" y="279"/>
                  </a:lnTo>
                  <a:lnTo>
                    <a:pt x="214" y="274"/>
                  </a:lnTo>
                  <a:lnTo>
                    <a:pt x="264" y="239"/>
                  </a:lnTo>
                  <a:lnTo>
                    <a:pt x="269" y="251"/>
                  </a:lnTo>
                  <a:lnTo>
                    <a:pt x="264" y="263"/>
                  </a:lnTo>
                  <a:lnTo>
                    <a:pt x="281" y="258"/>
                  </a:lnTo>
                  <a:lnTo>
                    <a:pt x="269" y="239"/>
                  </a:lnTo>
                  <a:lnTo>
                    <a:pt x="297" y="201"/>
                  </a:lnTo>
                  <a:lnTo>
                    <a:pt x="302" y="206"/>
                  </a:lnTo>
                  <a:lnTo>
                    <a:pt x="297" y="234"/>
                  </a:lnTo>
                  <a:lnTo>
                    <a:pt x="323" y="197"/>
                  </a:lnTo>
                  <a:lnTo>
                    <a:pt x="333" y="201"/>
                  </a:lnTo>
                  <a:lnTo>
                    <a:pt x="333" y="206"/>
                  </a:lnTo>
                  <a:lnTo>
                    <a:pt x="333" y="197"/>
                  </a:lnTo>
                  <a:lnTo>
                    <a:pt x="318" y="197"/>
                  </a:lnTo>
                  <a:lnTo>
                    <a:pt x="318" y="185"/>
                  </a:lnTo>
                  <a:lnTo>
                    <a:pt x="318" y="168"/>
                  </a:lnTo>
                  <a:lnTo>
                    <a:pt x="333" y="168"/>
                  </a:lnTo>
                  <a:lnTo>
                    <a:pt x="323" y="163"/>
                  </a:lnTo>
                  <a:lnTo>
                    <a:pt x="340" y="163"/>
                  </a:lnTo>
                  <a:lnTo>
                    <a:pt x="333" y="180"/>
                  </a:lnTo>
                  <a:lnTo>
                    <a:pt x="340" y="163"/>
                  </a:lnTo>
                  <a:lnTo>
                    <a:pt x="333" y="152"/>
                  </a:lnTo>
                  <a:lnTo>
                    <a:pt x="340" y="145"/>
                  </a:lnTo>
                  <a:lnTo>
                    <a:pt x="323" y="140"/>
                  </a:lnTo>
                  <a:lnTo>
                    <a:pt x="333" y="123"/>
                  </a:lnTo>
                  <a:lnTo>
                    <a:pt x="340" y="111"/>
                  </a:lnTo>
                  <a:lnTo>
                    <a:pt x="356" y="140"/>
                  </a:lnTo>
                  <a:lnTo>
                    <a:pt x="356" y="123"/>
                  </a:lnTo>
                  <a:lnTo>
                    <a:pt x="394" y="107"/>
                  </a:lnTo>
                  <a:lnTo>
                    <a:pt x="403" y="69"/>
                  </a:lnTo>
                  <a:lnTo>
                    <a:pt x="394" y="50"/>
                  </a:lnTo>
                  <a:lnTo>
                    <a:pt x="387" y="34"/>
                  </a:lnTo>
                  <a:lnTo>
                    <a:pt x="403" y="41"/>
                  </a:lnTo>
                  <a:lnTo>
                    <a:pt x="403" y="29"/>
                  </a:lnTo>
                  <a:lnTo>
                    <a:pt x="415" y="17"/>
                  </a:lnTo>
                  <a:lnTo>
                    <a:pt x="415" y="12"/>
                  </a:lnTo>
                  <a:lnTo>
                    <a:pt x="425" y="0"/>
                  </a:lnTo>
                  <a:lnTo>
                    <a:pt x="429" y="17"/>
                  </a:lnTo>
                  <a:lnTo>
                    <a:pt x="425" y="17"/>
                  </a:lnTo>
                  <a:lnTo>
                    <a:pt x="425" y="17"/>
                  </a:lnTo>
                  <a:lnTo>
                    <a:pt x="441" y="29"/>
                  </a:lnTo>
                  <a:lnTo>
                    <a:pt x="446" y="50"/>
                  </a:lnTo>
                  <a:lnTo>
                    <a:pt x="467" y="85"/>
                  </a:lnTo>
                  <a:lnTo>
                    <a:pt x="484" y="140"/>
                  </a:lnTo>
                  <a:lnTo>
                    <a:pt x="484" y="197"/>
                  </a:lnTo>
                  <a:lnTo>
                    <a:pt x="512" y="251"/>
                  </a:lnTo>
                  <a:lnTo>
                    <a:pt x="496" y="296"/>
                  </a:lnTo>
                  <a:lnTo>
                    <a:pt x="479" y="291"/>
                  </a:lnTo>
                  <a:lnTo>
                    <a:pt x="462" y="258"/>
                  </a:lnTo>
                  <a:lnTo>
                    <a:pt x="458" y="258"/>
                  </a:lnTo>
                  <a:lnTo>
                    <a:pt x="446" y="263"/>
                  </a:lnTo>
                  <a:lnTo>
                    <a:pt x="458" y="291"/>
                  </a:lnTo>
                  <a:lnTo>
                    <a:pt x="458" y="308"/>
                  </a:lnTo>
                  <a:lnTo>
                    <a:pt x="462" y="312"/>
                  </a:lnTo>
                  <a:lnTo>
                    <a:pt x="462" y="334"/>
                  </a:lnTo>
                  <a:lnTo>
                    <a:pt x="458" y="350"/>
                  </a:lnTo>
                  <a:lnTo>
                    <a:pt x="462" y="362"/>
                  </a:lnTo>
                  <a:lnTo>
                    <a:pt x="446" y="369"/>
                  </a:lnTo>
                  <a:lnTo>
                    <a:pt x="429" y="402"/>
                  </a:lnTo>
                  <a:lnTo>
                    <a:pt x="441" y="423"/>
                  </a:lnTo>
                  <a:lnTo>
                    <a:pt x="429" y="473"/>
                  </a:lnTo>
                  <a:lnTo>
                    <a:pt x="377" y="629"/>
                  </a:lnTo>
                  <a:lnTo>
                    <a:pt x="377" y="629"/>
                  </a:lnTo>
                  <a:lnTo>
                    <a:pt x="377" y="629"/>
                  </a:lnTo>
                  <a:close/>
                  <a:moveTo>
                    <a:pt x="356" y="107"/>
                  </a:moveTo>
                  <a:lnTo>
                    <a:pt x="349" y="107"/>
                  </a:lnTo>
                  <a:lnTo>
                    <a:pt x="356" y="90"/>
                  </a:lnTo>
                  <a:lnTo>
                    <a:pt x="356" y="107"/>
                  </a:lnTo>
                  <a:lnTo>
                    <a:pt x="356" y="107"/>
                  </a:lnTo>
                  <a:lnTo>
                    <a:pt x="356" y="10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9" name="Freeform 500">
              <a:extLst>
                <a:ext uri="{FF2B5EF4-FFF2-40B4-BE49-F238E27FC236}">
                  <a16:creationId xmlns:a16="http://schemas.microsoft.com/office/drawing/2014/main" id="{900EBD83-407C-4E65-B6B4-AEB9EC052C9C}"/>
                </a:ext>
              </a:extLst>
            </p:cNvPr>
            <p:cNvSpPr>
              <a:spLocks/>
            </p:cNvSpPr>
            <p:nvPr/>
          </p:nvSpPr>
          <p:spPr bwMode="gray">
            <a:xfrm>
              <a:off x="12338099" y="3760271"/>
              <a:ext cx="10801" cy="13419"/>
            </a:xfrm>
            <a:custGeom>
              <a:avLst/>
              <a:gdLst>
                <a:gd name="T0" fmla="*/ 33 w 33"/>
                <a:gd name="T1" fmla="*/ 41 h 41"/>
                <a:gd name="T2" fmla="*/ 17 w 33"/>
                <a:gd name="T3" fmla="*/ 29 h 41"/>
                <a:gd name="T4" fmla="*/ 0 w 33"/>
                <a:gd name="T5" fmla="*/ 7 h 41"/>
                <a:gd name="T6" fmla="*/ 5 w 33"/>
                <a:gd name="T7" fmla="*/ 0 h 41"/>
                <a:gd name="T8" fmla="*/ 21 w 33"/>
                <a:gd name="T9" fmla="*/ 17 h 41"/>
                <a:gd name="T10" fmla="*/ 33 w 33"/>
                <a:gd name="T11" fmla="*/ 24 h 41"/>
                <a:gd name="T12" fmla="*/ 33 w 33"/>
                <a:gd name="T13" fmla="*/ 41 h 41"/>
                <a:gd name="T14" fmla="*/ 33 w 33"/>
                <a:gd name="T15" fmla="*/ 41 h 41"/>
                <a:gd name="T16" fmla="*/ 33 w 33"/>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1">
                  <a:moveTo>
                    <a:pt x="33" y="41"/>
                  </a:moveTo>
                  <a:lnTo>
                    <a:pt x="17" y="29"/>
                  </a:lnTo>
                  <a:lnTo>
                    <a:pt x="0" y="7"/>
                  </a:lnTo>
                  <a:lnTo>
                    <a:pt x="5" y="0"/>
                  </a:lnTo>
                  <a:lnTo>
                    <a:pt x="21" y="17"/>
                  </a:lnTo>
                  <a:lnTo>
                    <a:pt x="33" y="24"/>
                  </a:lnTo>
                  <a:lnTo>
                    <a:pt x="33" y="41"/>
                  </a:lnTo>
                  <a:lnTo>
                    <a:pt x="33" y="41"/>
                  </a:lnTo>
                  <a:lnTo>
                    <a:pt x="33" y="4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0" name="Freeform 501">
              <a:extLst>
                <a:ext uri="{FF2B5EF4-FFF2-40B4-BE49-F238E27FC236}">
                  <a16:creationId xmlns:a16="http://schemas.microsoft.com/office/drawing/2014/main" id="{22796230-A86C-4F7B-99DB-2BD281236A00}"/>
                </a:ext>
              </a:extLst>
            </p:cNvPr>
            <p:cNvSpPr>
              <a:spLocks/>
            </p:cNvSpPr>
            <p:nvPr/>
          </p:nvSpPr>
          <p:spPr bwMode="gray">
            <a:xfrm>
              <a:off x="14355883" y="2872970"/>
              <a:ext cx="80515" cy="90988"/>
            </a:xfrm>
            <a:custGeom>
              <a:avLst/>
              <a:gdLst>
                <a:gd name="T0" fmla="*/ 0 w 246"/>
                <a:gd name="T1" fmla="*/ 16 h 278"/>
                <a:gd name="T2" fmla="*/ 5 w 246"/>
                <a:gd name="T3" fmla="*/ 7 h 278"/>
                <a:gd name="T4" fmla="*/ 76 w 246"/>
                <a:gd name="T5" fmla="*/ 0 h 278"/>
                <a:gd name="T6" fmla="*/ 97 w 246"/>
                <a:gd name="T7" fmla="*/ 16 h 278"/>
                <a:gd name="T8" fmla="*/ 97 w 246"/>
                <a:gd name="T9" fmla="*/ 23 h 278"/>
                <a:gd name="T10" fmla="*/ 152 w 246"/>
                <a:gd name="T11" fmla="*/ 33 h 278"/>
                <a:gd name="T12" fmla="*/ 168 w 246"/>
                <a:gd name="T13" fmla="*/ 45 h 278"/>
                <a:gd name="T14" fmla="*/ 175 w 246"/>
                <a:gd name="T15" fmla="*/ 45 h 278"/>
                <a:gd name="T16" fmla="*/ 185 w 246"/>
                <a:gd name="T17" fmla="*/ 61 h 278"/>
                <a:gd name="T18" fmla="*/ 175 w 246"/>
                <a:gd name="T19" fmla="*/ 89 h 278"/>
                <a:gd name="T20" fmla="*/ 175 w 246"/>
                <a:gd name="T21" fmla="*/ 94 h 278"/>
                <a:gd name="T22" fmla="*/ 192 w 246"/>
                <a:gd name="T23" fmla="*/ 111 h 278"/>
                <a:gd name="T24" fmla="*/ 208 w 246"/>
                <a:gd name="T25" fmla="*/ 101 h 278"/>
                <a:gd name="T26" fmla="*/ 208 w 246"/>
                <a:gd name="T27" fmla="*/ 146 h 278"/>
                <a:gd name="T28" fmla="*/ 229 w 246"/>
                <a:gd name="T29" fmla="*/ 151 h 278"/>
                <a:gd name="T30" fmla="*/ 229 w 246"/>
                <a:gd name="T31" fmla="*/ 172 h 278"/>
                <a:gd name="T32" fmla="*/ 229 w 246"/>
                <a:gd name="T33" fmla="*/ 172 h 278"/>
                <a:gd name="T34" fmla="*/ 246 w 246"/>
                <a:gd name="T35" fmla="*/ 189 h 278"/>
                <a:gd name="T36" fmla="*/ 229 w 246"/>
                <a:gd name="T37" fmla="*/ 189 h 278"/>
                <a:gd name="T38" fmla="*/ 218 w 246"/>
                <a:gd name="T39" fmla="*/ 184 h 278"/>
                <a:gd name="T40" fmla="*/ 208 w 246"/>
                <a:gd name="T41" fmla="*/ 189 h 278"/>
                <a:gd name="T42" fmla="*/ 201 w 246"/>
                <a:gd name="T43" fmla="*/ 184 h 278"/>
                <a:gd name="T44" fmla="*/ 185 w 246"/>
                <a:gd name="T45" fmla="*/ 189 h 278"/>
                <a:gd name="T46" fmla="*/ 175 w 246"/>
                <a:gd name="T47" fmla="*/ 172 h 278"/>
                <a:gd name="T48" fmla="*/ 168 w 246"/>
                <a:gd name="T49" fmla="*/ 184 h 278"/>
                <a:gd name="T50" fmla="*/ 163 w 246"/>
                <a:gd name="T51" fmla="*/ 200 h 278"/>
                <a:gd name="T52" fmla="*/ 168 w 246"/>
                <a:gd name="T53" fmla="*/ 208 h 278"/>
                <a:gd name="T54" fmla="*/ 163 w 246"/>
                <a:gd name="T55" fmla="*/ 224 h 278"/>
                <a:gd name="T56" fmla="*/ 147 w 246"/>
                <a:gd name="T57" fmla="*/ 229 h 278"/>
                <a:gd name="T58" fmla="*/ 147 w 246"/>
                <a:gd name="T59" fmla="*/ 241 h 278"/>
                <a:gd name="T60" fmla="*/ 130 w 246"/>
                <a:gd name="T61" fmla="*/ 257 h 278"/>
                <a:gd name="T62" fmla="*/ 130 w 246"/>
                <a:gd name="T63" fmla="*/ 269 h 278"/>
                <a:gd name="T64" fmla="*/ 114 w 246"/>
                <a:gd name="T65" fmla="*/ 269 h 278"/>
                <a:gd name="T66" fmla="*/ 109 w 246"/>
                <a:gd name="T67" fmla="*/ 278 h 278"/>
                <a:gd name="T68" fmla="*/ 97 w 246"/>
                <a:gd name="T69" fmla="*/ 262 h 278"/>
                <a:gd name="T70" fmla="*/ 109 w 246"/>
                <a:gd name="T71" fmla="*/ 257 h 278"/>
                <a:gd name="T72" fmla="*/ 97 w 246"/>
                <a:gd name="T73" fmla="*/ 212 h 278"/>
                <a:gd name="T74" fmla="*/ 114 w 246"/>
                <a:gd name="T75" fmla="*/ 184 h 278"/>
                <a:gd name="T76" fmla="*/ 97 w 246"/>
                <a:gd name="T77" fmla="*/ 134 h 278"/>
                <a:gd name="T78" fmla="*/ 83 w 246"/>
                <a:gd name="T79" fmla="*/ 118 h 278"/>
                <a:gd name="T80" fmla="*/ 43 w 246"/>
                <a:gd name="T81" fmla="*/ 73 h 278"/>
                <a:gd name="T82" fmla="*/ 22 w 246"/>
                <a:gd name="T83" fmla="*/ 33 h 278"/>
                <a:gd name="T84" fmla="*/ 0 w 246"/>
                <a:gd name="T85" fmla="*/ 16 h 278"/>
                <a:gd name="T86" fmla="*/ 0 w 246"/>
                <a:gd name="T87" fmla="*/ 16 h 278"/>
                <a:gd name="T88" fmla="*/ 0 w 246"/>
                <a:gd name="T89" fmla="*/ 1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6" h="278">
                  <a:moveTo>
                    <a:pt x="0" y="16"/>
                  </a:moveTo>
                  <a:lnTo>
                    <a:pt x="5" y="7"/>
                  </a:lnTo>
                  <a:lnTo>
                    <a:pt x="76" y="0"/>
                  </a:lnTo>
                  <a:lnTo>
                    <a:pt x="97" y="16"/>
                  </a:lnTo>
                  <a:lnTo>
                    <a:pt x="97" y="23"/>
                  </a:lnTo>
                  <a:lnTo>
                    <a:pt x="152" y="33"/>
                  </a:lnTo>
                  <a:lnTo>
                    <a:pt x="168" y="45"/>
                  </a:lnTo>
                  <a:lnTo>
                    <a:pt x="175" y="45"/>
                  </a:lnTo>
                  <a:lnTo>
                    <a:pt x="185" y="61"/>
                  </a:lnTo>
                  <a:lnTo>
                    <a:pt x="175" y="89"/>
                  </a:lnTo>
                  <a:lnTo>
                    <a:pt x="175" y="94"/>
                  </a:lnTo>
                  <a:lnTo>
                    <a:pt x="192" y="111"/>
                  </a:lnTo>
                  <a:lnTo>
                    <a:pt x="208" y="101"/>
                  </a:lnTo>
                  <a:lnTo>
                    <a:pt x="208" y="146"/>
                  </a:lnTo>
                  <a:lnTo>
                    <a:pt x="229" y="151"/>
                  </a:lnTo>
                  <a:lnTo>
                    <a:pt x="229" y="172"/>
                  </a:lnTo>
                  <a:lnTo>
                    <a:pt x="229" y="172"/>
                  </a:lnTo>
                  <a:lnTo>
                    <a:pt x="246" y="189"/>
                  </a:lnTo>
                  <a:lnTo>
                    <a:pt x="229" y="189"/>
                  </a:lnTo>
                  <a:lnTo>
                    <a:pt x="218" y="184"/>
                  </a:lnTo>
                  <a:lnTo>
                    <a:pt x="208" y="189"/>
                  </a:lnTo>
                  <a:lnTo>
                    <a:pt x="201" y="184"/>
                  </a:lnTo>
                  <a:lnTo>
                    <a:pt x="185" y="189"/>
                  </a:lnTo>
                  <a:lnTo>
                    <a:pt x="175" y="172"/>
                  </a:lnTo>
                  <a:lnTo>
                    <a:pt x="168" y="184"/>
                  </a:lnTo>
                  <a:lnTo>
                    <a:pt x="163" y="200"/>
                  </a:lnTo>
                  <a:lnTo>
                    <a:pt x="168" y="208"/>
                  </a:lnTo>
                  <a:lnTo>
                    <a:pt x="163" y="224"/>
                  </a:lnTo>
                  <a:lnTo>
                    <a:pt x="147" y="229"/>
                  </a:lnTo>
                  <a:lnTo>
                    <a:pt x="147" y="241"/>
                  </a:lnTo>
                  <a:lnTo>
                    <a:pt x="130" y="257"/>
                  </a:lnTo>
                  <a:lnTo>
                    <a:pt x="130" y="269"/>
                  </a:lnTo>
                  <a:lnTo>
                    <a:pt x="114" y="269"/>
                  </a:lnTo>
                  <a:lnTo>
                    <a:pt x="109" y="278"/>
                  </a:lnTo>
                  <a:lnTo>
                    <a:pt x="97" y="262"/>
                  </a:lnTo>
                  <a:lnTo>
                    <a:pt x="109" y="257"/>
                  </a:lnTo>
                  <a:lnTo>
                    <a:pt x="97" y="212"/>
                  </a:lnTo>
                  <a:lnTo>
                    <a:pt x="114" y="184"/>
                  </a:lnTo>
                  <a:lnTo>
                    <a:pt x="97" y="134"/>
                  </a:lnTo>
                  <a:lnTo>
                    <a:pt x="83" y="118"/>
                  </a:lnTo>
                  <a:lnTo>
                    <a:pt x="43" y="73"/>
                  </a:lnTo>
                  <a:lnTo>
                    <a:pt x="22" y="33"/>
                  </a:lnTo>
                  <a:lnTo>
                    <a:pt x="0" y="16"/>
                  </a:lnTo>
                  <a:lnTo>
                    <a:pt x="0" y="16"/>
                  </a:lnTo>
                  <a:lnTo>
                    <a:pt x="0" y="1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1" name="Freeform 502">
              <a:extLst>
                <a:ext uri="{FF2B5EF4-FFF2-40B4-BE49-F238E27FC236}">
                  <a16:creationId xmlns:a16="http://schemas.microsoft.com/office/drawing/2014/main" id="{575B2104-F2A9-400E-93C9-DAD9BAEC378A}"/>
                </a:ext>
              </a:extLst>
            </p:cNvPr>
            <p:cNvSpPr>
              <a:spLocks/>
            </p:cNvSpPr>
            <p:nvPr/>
          </p:nvSpPr>
          <p:spPr bwMode="gray">
            <a:xfrm>
              <a:off x="14780387" y="4413555"/>
              <a:ext cx="1636" cy="7201"/>
            </a:xfrm>
            <a:custGeom>
              <a:avLst/>
              <a:gdLst>
                <a:gd name="T0" fmla="*/ 0 w 5"/>
                <a:gd name="T1" fmla="*/ 22 h 22"/>
                <a:gd name="T2" fmla="*/ 0 w 5"/>
                <a:gd name="T3" fmla="*/ 22 h 22"/>
                <a:gd name="T4" fmla="*/ 0 w 5"/>
                <a:gd name="T5" fmla="*/ 0 h 22"/>
                <a:gd name="T6" fmla="*/ 5 w 5"/>
                <a:gd name="T7" fmla="*/ 5 h 22"/>
                <a:gd name="T8" fmla="*/ 0 w 5"/>
                <a:gd name="T9" fmla="*/ 22 h 22"/>
                <a:gd name="T10" fmla="*/ 0 w 5"/>
                <a:gd name="T11" fmla="*/ 22 h 22"/>
                <a:gd name="T12" fmla="*/ 0 w 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5" h="22">
                  <a:moveTo>
                    <a:pt x="0" y="22"/>
                  </a:moveTo>
                  <a:lnTo>
                    <a:pt x="0" y="22"/>
                  </a:lnTo>
                  <a:lnTo>
                    <a:pt x="0" y="0"/>
                  </a:lnTo>
                  <a:lnTo>
                    <a:pt x="5" y="5"/>
                  </a:lnTo>
                  <a:lnTo>
                    <a:pt x="0" y="22"/>
                  </a:lnTo>
                  <a:lnTo>
                    <a:pt x="0" y="22"/>
                  </a:lnTo>
                  <a:lnTo>
                    <a:pt x="0" y="2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2" name="Freeform 503">
              <a:extLst>
                <a:ext uri="{FF2B5EF4-FFF2-40B4-BE49-F238E27FC236}">
                  <a16:creationId xmlns:a16="http://schemas.microsoft.com/office/drawing/2014/main" id="{8BFC589A-D16D-4D3E-AB38-EBB435106269}"/>
                </a:ext>
              </a:extLst>
            </p:cNvPr>
            <p:cNvSpPr>
              <a:spLocks/>
            </p:cNvSpPr>
            <p:nvPr/>
          </p:nvSpPr>
          <p:spPr bwMode="gray">
            <a:xfrm>
              <a:off x="15759331" y="2759071"/>
              <a:ext cx="737399" cy="313223"/>
            </a:xfrm>
            <a:custGeom>
              <a:avLst/>
              <a:gdLst>
                <a:gd name="T0" fmla="*/ 1993 w 2253"/>
                <a:gd name="T1" fmla="*/ 603 h 957"/>
                <a:gd name="T2" fmla="*/ 1875 w 2253"/>
                <a:gd name="T3" fmla="*/ 643 h 957"/>
                <a:gd name="T4" fmla="*/ 1729 w 2253"/>
                <a:gd name="T5" fmla="*/ 659 h 957"/>
                <a:gd name="T6" fmla="*/ 1658 w 2253"/>
                <a:gd name="T7" fmla="*/ 719 h 957"/>
                <a:gd name="T8" fmla="*/ 1632 w 2253"/>
                <a:gd name="T9" fmla="*/ 808 h 957"/>
                <a:gd name="T10" fmla="*/ 1382 w 2253"/>
                <a:gd name="T11" fmla="*/ 886 h 957"/>
                <a:gd name="T12" fmla="*/ 1209 w 2253"/>
                <a:gd name="T13" fmla="*/ 957 h 957"/>
                <a:gd name="T14" fmla="*/ 1171 w 2253"/>
                <a:gd name="T15" fmla="*/ 936 h 957"/>
                <a:gd name="T16" fmla="*/ 1048 w 2253"/>
                <a:gd name="T17" fmla="*/ 907 h 957"/>
                <a:gd name="T18" fmla="*/ 919 w 2253"/>
                <a:gd name="T19" fmla="*/ 863 h 957"/>
                <a:gd name="T20" fmla="*/ 654 w 2253"/>
                <a:gd name="T21" fmla="*/ 853 h 957"/>
                <a:gd name="T22" fmla="*/ 571 w 2253"/>
                <a:gd name="T23" fmla="*/ 813 h 957"/>
                <a:gd name="T24" fmla="*/ 534 w 2253"/>
                <a:gd name="T25" fmla="*/ 726 h 957"/>
                <a:gd name="T26" fmla="*/ 411 w 2253"/>
                <a:gd name="T27" fmla="*/ 664 h 957"/>
                <a:gd name="T28" fmla="*/ 200 w 2253"/>
                <a:gd name="T29" fmla="*/ 615 h 957"/>
                <a:gd name="T30" fmla="*/ 222 w 2253"/>
                <a:gd name="T31" fmla="*/ 548 h 957"/>
                <a:gd name="T32" fmla="*/ 210 w 2253"/>
                <a:gd name="T33" fmla="*/ 475 h 957"/>
                <a:gd name="T34" fmla="*/ 163 w 2253"/>
                <a:gd name="T35" fmla="*/ 409 h 957"/>
                <a:gd name="T36" fmla="*/ 125 w 2253"/>
                <a:gd name="T37" fmla="*/ 388 h 957"/>
                <a:gd name="T38" fmla="*/ 54 w 2253"/>
                <a:gd name="T39" fmla="*/ 355 h 957"/>
                <a:gd name="T40" fmla="*/ 0 w 2253"/>
                <a:gd name="T41" fmla="*/ 310 h 957"/>
                <a:gd name="T42" fmla="*/ 21 w 2253"/>
                <a:gd name="T43" fmla="*/ 277 h 957"/>
                <a:gd name="T44" fmla="*/ 75 w 2253"/>
                <a:gd name="T45" fmla="*/ 260 h 957"/>
                <a:gd name="T46" fmla="*/ 101 w 2253"/>
                <a:gd name="T47" fmla="*/ 256 h 957"/>
                <a:gd name="T48" fmla="*/ 139 w 2253"/>
                <a:gd name="T49" fmla="*/ 227 h 957"/>
                <a:gd name="T50" fmla="*/ 163 w 2253"/>
                <a:gd name="T51" fmla="*/ 199 h 957"/>
                <a:gd name="T52" fmla="*/ 252 w 2253"/>
                <a:gd name="T53" fmla="*/ 161 h 957"/>
                <a:gd name="T54" fmla="*/ 319 w 2253"/>
                <a:gd name="T55" fmla="*/ 128 h 957"/>
                <a:gd name="T56" fmla="*/ 361 w 2253"/>
                <a:gd name="T57" fmla="*/ 128 h 957"/>
                <a:gd name="T58" fmla="*/ 453 w 2253"/>
                <a:gd name="T59" fmla="*/ 149 h 957"/>
                <a:gd name="T60" fmla="*/ 503 w 2253"/>
                <a:gd name="T61" fmla="*/ 199 h 957"/>
                <a:gd name="T62" fmla="*/ 562 w 2253"/>
                <a:gd name="T63" fmla="*/ 206 h 957"/>
                <a:gd name="T64" fmla="*/ 616 w 2253"/>
                <a:gd name="T65" fmla="*/ 222 h 957"/>
                <a:gd name="T66" fmla="*/ 697 w 2253"/>
                <a:gd name="T67" fmla="*/ 206 h 957"/>
                <a:gd name="T68" fmla="*/ 739 w 2253"/>
                <a:gd name="T69" fmla="*/ 161 h 957"/>
                <a:gd name="T70" fmla="*/ 718 w 2253"/>
                <a:gd name="T71" fmla="*/ 128 h 957"/>
                <a:gd name="T72" fmla="*/ 734 w 2253"/>
                <a:gd name="T73" fmla="*/ 62 h 957"/>
                <a:gd name="T74" fmla="*/ 777 w 2253"/>
                <a:gd name="T75" fmla="*/ 0 h 957"/>
                <a:gd name="T76" fmla="*/ 956 w 2253"/>
                <a:gd name="T77" fmla="*/ 71 h 957"/>
                <a:gd name="T78" fmla="*/ 1011 w 2253"/>
                <a:gd name="T79" fmla="*/ 95 h 957"/>
                <a:gd name="T80" fmla="*/ 1025 w 2253"/>
                <a:gd name="T81" fmla="*/ 133 h 957"/>
                <a:gd name="T82" fmla="*/ 1079 w 2253"/>
                <a:gd name="T83" fmla="*/ 173 h 957"/>
                <a:gd name="T84" fmla="*/ 1129 w 2253"/>
                <a:gd name="T85" fmla="*/ 189 h 957"/>
                <a:gd name="T86" fmla="*/ 1237 w 2253"/>
                <a:gd name="T87" fmla="*/ 161 h 957"/>
                <a:gd name="T88" fmla="*/ 1330 w 2253"/>
                <a:gd name="T89" fmla="*/ 173 h 957"/>
                <a:gd name="T90" fmla="*/ 1419 w 2253"/>
                <a:gd name="T91" fmla="*/ 215 h 957"/>
                <a:gd name="T92" fmla="*/ 1507 w 2253"/>
                <a:gd name="T93" fmla="*/ 260 h 957"/>
                <a:gd name="T94" fmla="*/ 1653 w 2253"/>
                <a:gd name="T95" fmla="*/ 272 h 957"/>
                <a:gd name="T96" fmla="*/ 1859 w 2253"/>
                <a:gd name="T97" fmla="*/ 173 h 957"/>
                <a:gd name="T98" fmla="*/ 1960 w 2253"/>
                <a:gd name="T99" fmla="*/ 215 h 957"/>
                <a:gd name="T100" fmla="*/ 2031 w 2253"/>
                <a:gd name="T101" fmla="*/ 222 h 957"/>
                <a:gd name="T102" fmla="*/ 1965 w 2253"/>
                <a:gd name="T103" fmla="*/ 367 h 957"/>
                <a:gd name="T104" fmla="*/ 1977 w 2253"/>
                <a:gd name="T105" fmla="*/ 421 h 957"/>
                <a:gd name="T106" fmla="*/ 2074 w 2253"/>
                <a:gd name="T107" fmla="*/ 421 h 957"/>
                <a:gd name="T108" fmla="*/ 2178 w 2253"/>
                <a:gd name="T109" fmla="*/ 409 h 957"/>
                <a:gd name="T110" fmla="*/ 2237 w 2253"/>
                <a:gd name="T111" fmla="*/ 466 h 957"/>
                <a:gd name="T112" fmla="*/ 2237 w 2253"/>
                <a:gd name="T113" fmla="*/ 520 h 957"/>
                <a:gd name="T114" fmla="*/ 2178 w 2253"/>
                <a:gd name="T115" fmla="*/ 515 h 957"/>
                <a:gd name="T116" fmla="*/ 2074 w 2253"/>
                <a:gd name="T117" fmla="*/ 520 h 957"/>
                <a:gd name="T118" fmla="*/ 2031 w 2253"/>
                <a:gd name="T119" fmla="*/ 548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3" h="957">
                  <a:moveTo>
                    <a:pt x="2031" y="548"/>
                  </a:moveTo>
                  <a:lnTo>
                    <a:pt x="2010" y="560"/>
                  </a:lnTo>
                  <a:lnTo>
                    <a:pt x="1993" y="603"/>
                  </a:lnTo>
                  <a:lnTo>
                    <a:pt x="1944" y="626"/>
                  </a:lnTo>
                  <a:lnTo>
                    <a:pt x="1875" y="626"/>
                  </a:lnTo>
                  <a:lnTo>
                    <a:pt x="1875" y="643"/>
                  </a:lnTo>
                  <a:lnTo>
                    <a:pt x="1814" y="681"/>
                  </a:lnTo>
                  <a:lnTo>
                    <a:pt x="1762" y="669"/>
                  </a:lnTo>
                  <a:lnTo>
                    <a:pt x="1729" y="659"/>
                  </a:lnTo>
                  <a:lnTo>
                    <a:pt x="1708" y="648"/>
                  </a:lnTo>
                  <a:lnTo>
                    <a:pt x="1686" y="664"/>
                  </a:lnTo>
                  <a:lnTo>
                    <a:pt x="1658" y="719"/>
                  </a:lnTo>
                  <a:lnTo>
                    <a:pt x="1691" y="754"/>
                  </a:lnTo>
                  <a:lnTo>
                    <a:pt x="1696" y="775"/>
                  </a:lnTo>
                  <a:lnTo>
                    <a:pt x="1632" y="808"/>
                  </a:lnTo>
                  <a:lnTo>
                    <a:pt x="1587" y="853"/>
                  </a:lnTo>
                  <a:lnTo>
                    <a:pt x="1511" y="886"/>
                  </a:lnTo>
                  <a:lnTo>
                    <a:pt x="1382" y="886"/>
                  </a:lnTo>
                  <a:lnTo>
                    <a:pt x="1263" y="924"/>
                  </a:lnTo>
                  <a:lnTo>
                    <a:pt x="1226" y="952"/>
                  </a:lnTo>
                  <a:lnTo>
                    <a:pt x="1209" y="957"/>
                  </a:lnTo>
                  <a:lnTo>
                    <a:pt x="1204" y="957"/>
                  </a:lnTo>
                  <a:lnTo>
                    <a:pt x="1171" y="952"/>
                  </a:lnTo>
                  <a:lnTo>
                    <a:pt x="1171" y="936"/>
                  </a:lnTo>
                  <a:lnTo>
                    <a:pt x="1129" y="941"/>
                  </a:lnTo>
                  <a:lnTo>
                    <a:pt x="1096" y="936"/>
                  </a:lnTo>
                  <a:lnTo>
                    <a:pt x="1048" y="907"/>
                  </a:lnTo>
                  <a:lnTo>
                    <a:pt x="1004" y="903"/>
                  </a:lnTo>
                  <a:lnTo>
                    <a:pt x="987" y="879"/>
                  </a:lnTo>
                  <a:lnTo>
                    <a:pt x="919" y="863"/>
                  </a:lnTo>
                  <a:lnTo>
                    <a:pt x="881" y="863"/>
                  </a:lnTo>
                  <a:lnTo>
                    <a:pt x="826" y="879"/>
                  </a:lnTo>
                  <a:lnTo>
                    <a:pt x="654" y="853"/>
                  </a:lnTo>
                  <a:lnTo>
                    <a:pt x="600" y="863"/>
                  </a:lnTo>
                  <a:lnTo>
                    <a:pt x="600" y="846"/>
                  </a:lnTo>
                  <a:lnTo>
                    <a:pt x="571" y="813"/>
                  </a:lnTo>
                  <a:lnTo>
                    <a:pt x="545" y="754"/>
                  </a:lnTo>
                  <a:lnTo>
                    <a:pt x="534" y="754"/>
                  </a:lnTo>
                  <a:lnTo>
                    <a:pt x="534" y="726"/>
                  </a:lnTo>
                  <a:lnTo>
                    <a:pt x="508" y="726"/>
                  </a:lnTo>
                  <a:lnTo>
                    <a:pt x="486" y="719"/>
                  </a:lnTo>
                  <a:lnTo>
                    <a:pt x="411" y="664"/>
                  </a:lnTo>
                  <a:lnTo>
                    <a:pt x="264" y="659"/>
                  </a:lnTo>
                  <a:lnTo>
                    <a:pt x="215" y="643"/>
                  </a:lnTo>
                  <a:lnTo>
                    <a:pt x="200" y="615"/>
                  </a:lnTo>
                  <a:lnTo>
                    <a:pt x="210" y="593"/>
                  </a:lnTo>
                  <a:lnTo>
                    <a:pt x="231" y="570"/>
                  </a:lnTo>
                  <a:lnTo>
                    <a:pt x="222" y="548"/>
                  </a:lnTo>
                  <a:lnTo>
                    <a:pt x="231" y="520"/>
                  </a:lnTo>
                  <a:lnTo>
                    <a:pt x="222" y="492"/>
                  </a:lnTo>
                  <a:lnTo>
                    <a:pt x="210" y="475"/>
                  </a:lnTo>
                  <a:lnTo>
                    <a:pt x="193" y="449"/>
                  </a:lnTo>
                  <a:lnTo>
                    <a:pt x="184" y="437"/>
                  </a:lnTo>
                  <a:lnTo>
                    <a:pt x="163" y="409"/>
                  </a:lnTo>
                  <a:lnTo>
                    <a:pt x="163" y="404"/>
                  </a:lnTo>
                  <a:lnTo>
                    <a:pt x="139" y="404"/>
                  </a:lnTo>
                  <a:lnTo>
                    <a:pt x="125" y="388"/>
                  </a:lnTo>
                  <a:lnTo>
                    <a:pt x="92" y="388"/>
                  </a:lnTo>
                  <a:lnTo>
                    <a:pt x="59" y="371"/>
                  </a:lnTo>
                  <a:lnTo>
                    <a:pt x="54" y="355"/>
                  </a:lnTo>
                  <a:lnTo>
                    <a:pt x="16" y="338"/>
                  </a:lnTo>
                  <a:lnTo>
                    <a:pt x="21" y="326"/>
                  </a:lnTo>
                  <a:lnTo>
                    <a:pt x="0" y="310"/>
                  </a:lnTo>
                  <a:lnTo>
                    <a:pt x="4" y="300"/>
                  </a:lnTo>
                  <a:lnTo>
                    <a:pt x="4" y="282"/>
                  </a:lnTo>
                  <a:lnTo>
                    <a:pt x="21" y="277"/>
                  </a:lnTo>
                  <a:lnTo>
                    <a:pt x="21" y="260"/>
                  </a:lnTo>
                  <a:lnTo>
                    <a:pt x="33" y="256"/>
                  </a:lnTo>
                  <a:lnTo>
                    <a:pt x="75" y="260"/>
                  </a:lnTo>
                  <a:lnTo>
                    <a:pt x="75" y="244"/>
                  </a:lnTo>
                  <a:lnTo>
                    <a:pt x="87" y="256"/>
                  </a:lnTo>
                  <a:lnTo>
                    <a:pt x="101" y="256"/>
                  </a:lnTo>
                  <a:lnTo>
                    <a:pt x="101" y="239"/>
                  </a:lnTo>
                  <a:lnTo>
                    <a:pt x="108" y="244"/>
                  </a:lnTo>
                  <a:lnTo>
                    <a:pt x="139" y="227"/>
                  </a:lnTo>
                  <a:lnTo>
                    <a:pt x="130" y="215"/>
                  </a:lnTo>
                  <a:lnTo>
                    <a:pt x="156" y="206"/>
                  </a:lnTo>
                  <a:lnTo>
                    <a:pt x="163" y="199"/>
                  </a:lnTo>
                  <a:lnTo>
                    <a:pt x="210" y="182"/>
                  </a:lnTo>
                  <a:lnTo>
                    <a:pt x="222" y="166"/>
                  </a:lnTo>
                  <a:lnTo>
                    <a:pt x="252" y="161"/>
                  </a:lnTo>
                  <a:lnTo>
                    <a:pt x="276" y="145"/>
                  </a:lnTo>
                  <a:lnTo>
                    <a:pt x="307" y="133"/>
                  </a:lnTo>
                  <a:lnTo>
                    <a:pt x="319" y="128"/>
                  </a:lnTo>
                  <a:lnTo>
                    <a:pt x="340" y="145"/>
                  </a:lnTo>
                  <a:lnTo>
                    <a:pt x="356" y="128"/>
                  </a:lnTo>
                  <a:lnTo>
                    <a:pt x="361" y="128"/>
                  </a:lnTo>
                  <a:lnTo>
                    <a:pt x="361" y="145"/>
                  </a:lnTo>
                  <a:lnTo>
                    <a:pt x="373" y="149"/>
                  </a:lnTo>
                  <a:lnTo>
                    <a:pt x="453" y="149"/>
                  </a:lnTo>
                  <a:lnTo>
                    <a:pt x="465" y="182"/>
                  </a:lnTo>
                  <a:lnTo>
                    <a:pt x="479" y="206"/>
                  </a:lnTo>
                  <a:lnTo>
                    <a:pt x="503" y="199"/>
                  </a:lnTo>
                  <a:lnTo>
                    <a:pt x="508" y="206"/>
                  </a:lnTo>
                  <a:lnTo>
                    <a:pt x="541" y="215"/>
                  </a:lnTo>
                  <a:lnTo>
                    <a:pt x="562" y="206"/>
                  </a:lnTo>
                  <a:lnTo>
                    <a:pt x="571" y="215"/>
                  </a:lnTo>
                  <a:lnTo>
                    <a:pt x="578" y="206"/>
                  </a:lnTo>
                  <a:lnTo>
                    <a:pt x="616" y="222"/>
                  </a:lnTo>
                  <a:lnTo>
                    <a:pt x="647" y="215"/>
                  </a:lnTo>
                  <a:lnTo>
                    <a:pt x="671" y="227"/>
                  </a:lnTo>
                  <a:lnTo>
                    <a:pt x="697" y="206"/>
                  </a:lnTo>
                  <a:lnTo>
                    <a:pt x="722" y="199"/>
                  </a:lnTo>
                  <a:lnTo>
                    <a:pt x="739" y="173"/>
                  </a:lnTo>
                  <a:lnTo>
                    <a:pt x="739" y="161"/>
                  </a:lnTo>
                  <a:lnTo>
                    <a:pt x="718" y="145"/>
                  </a:lnTo>
                  <a:lnTo>
                    <a:pt x="718" y="133"/>
                  </a:lnTo>
                  <a:lnTo>
                    <a:pt x="718" y="128"/>
                  </a:lnTo>
                  <a:lnTo>
                    <a:pt x="701" y="111"/>
                  </a:lnTo>
                  <a:lnTo>
                    <a:pt x="718" y="62"/>
                  </a:lnTo>
                  <a:lnTo>
                    <a:pt x="734" y="62"/>
                  </a:lnTo>
                  <a:lnTo>
                    <a:pt x="739" y="38"/>
                  </a:lnTo>
                  <a:lnTo>
                    <a:pt x="760" y="34"/>
                  </a:lnTo>
                  <a:lnTo>
                    <a:pt x="777" y="0"/>
                  </a:lnTo>
                  <a:lnTo>
                    <a:pt x="859" y="38"/>
                  </a:lnTo>
                  <a:lnTo>
                    <a:pt x="897" y="38"/>
                  </a:lnTo>
                  <a:lnTo>
                    <a:pt x="956" y="71"/>
                  </a:lnTo>
                  <a:lnTo>
                    <a:pt x="973" y="62"/>
                  </a:lnTo>
                  <a:lnTo>
                    <a:pt x="1011" y="78"/>
                  </a:lnTo>
                  <a:lnTo>
                    <a:pt x="1011" y="95"/>
                  </a:lnTo>
                  <a:lnTo>
                    <a:pt x="1020" y="111"/>
                  </a:lnTo>
                  <a:lnTo>
                    <a:pt x="1011" y="128"/>
                  </a:lnTo>
                  <a:lnTo>
                    <a:pt x="1025" y="133"/>
                  </a:lnTo>
                  <a:lnTo>
                    <a:pt x="1020" y="149"/>
                  </a:lnTo>
                  <a:lnTo>
                    <a:pt x="1063" y="173"/>
                  </a:lnTo>
                  <a:lnTo>
                    <a:pt x="1079" y="173"/>
                  </a:lnTo>
                  <a:lnTo>
                    <a:pt x="1086" y="189"/>
                  </a:lnTo>
                  <a:lnTo>
                    <a:pt x="1117" y="189"/>
                  </a:lnTo>
                  <a:lnTo>
                    <a:pt x="1129" y="189"/>
                  </a:lnTo>
                  <a:lnTo>
                    <a:pt x="1141" y="189"/>
                  </a:lnTo>
                  <a:lnTo>
                    <a:pt x="1167" y="173"/>
                  </a:lnTo>
                  <a:lnTo>
                    <a:pt x="1237" y="161"/>
                  </a:lnTo>
                  <a:lnTo>
                    <a:pt x="1280" y="166"/>
                  </a:lnTo>
                  <a:lnTo>
                    <a:pt x="1297" y="173"/>
                  </a:lnTo>
                  <a:lnTo>
                    <a:pt x="1330" y="173"/>
                  </a:lnTo>
                  <a:lnTo>
                    <a:pt x="1351" y="189"/>
                  </a:lnTo>
                  <a:lnTo>
                    <a:pt x="1356" y="206"/>
                  </a:lnTo>
                  <a:lnTo>
                    <a:pt x="1419" y="215"/>
                  </a:lnTo>
                  <a:lnTo>
                    <a:pt x="1415" y="239"/>
                  </a:lnTo>
                  <a:lnTo>
                    <a:pt x="1457" y="272"/>
                  </a:lnTo>
                  <a:lnTo>
                    <a:pt x="1507" y="260"/>
                  </a:lnTo>
                  <a:lnTo>
                    <a:pt x="1528" y="277"/>
                  </a:lnTo>
                  <a:lnTo>
                    <a:pt x="1615" y="282"/>
                  </a:lnTo>
                  <a:lnTo>
                    <a:pt x="1653" y="272"/>
                  </a:lnTo>
                  <a:lnTo>
                    <a:pt x="1776" y="244"/>
                  </a:lnTo>
                  <a:lnTo>
                    <a:pt x="1783" y="222"/>
                  </a:lnTo>
                  <a:lnTo>
                    <a:pt x="1859" y="173"/>
                  </a:lnTo>
                  <a:lnTo>
                    <a:pt x="1901" y="182"/>
                  </a:lnTo>
                  <a:lnTo>
                    <a:pt x="1939" y="215"/>
                  </a:lnTo>
                  <a:lnTo>
                    <a:pt x="1960" y="215"/>
                  </a:lnTo>
                  <a:lnTo>
                    <a:pt x="1998" y="206"/>
                  </a:lnTo>
                  <a:lnTo>
                    <a:pt x="2019" y="215"/>
                  </a:lnTo>
                  <a:lnTo>
                    <a:pt x="2031" y="222"/>
                  </a:lnTo>
                  <a:lnTo>
                    <a:pt x="1982" y="317"/>
                  </a:lnTo>
                  <a:lnTo>
                    <a:pt x="1965" y="338"/>
                  </a:lnTo>
                  <a:lnTo>
                    <a:pt x="1965" y="367"/>
                  </a:lnTo>
                  <a:lnTo>
                    <a:pt x="1944" y="383"/>
                  </a:lnTo>
                  <a:lnTo>
                    <a:pt x="1956" y="393"/>
                  </a:lnTo>
                  <a:lnTo>
                    <a:pt x="1977" y="421"/>
                  </a:lnTo>
                  <a:lnTo>
                    <a:pt x="1998" y="404"/>
                  </a:lnTo>
                  <a:lnTo>
                    <a:pt x="2048" y="404"/>
                  </a:lnTo>
                  <a:lnTo>
                    <a:pt x="2074" y="421"/>
                  </a:lnTo>
                  <a:lnTo>
                    <a:pt x="2107" y="388"/>
                  </a:lnTo>
                  <a:lnTo>
                    <a:pt x="2161" y="388"/>
                  </a:lnTo>
                  <a:lnTo>
                    <a:pt x="2178" y="409"/>
                  </a:lnTo>
                  <a:lnTo>
                    <a:pt x="2199" y="421"/>
                  </a:lnTo>
                  <a:lnTo>
                    <a:pt x="2199" y="437"/>
                  </a:lnTo>
                  <a:lnTo>
                    <a:pt x="2237" y="466"/>
                  </a:lnTo>
                  <a:lnTo>
                    <a:pt x="2253" y="492"/>
                  </a:lnTo>
                  <a:lnTo>
                    <a:pt x="2253" y="504"/>
                  </a:lnTo>
                  <a:lnTo>
                    <a:pt x="2237" y="520"/>
                  </a:lnTo>
                  <a:lnTo>
                    <a:pt x="2215" y="515"/>
                  </a:lnTo>
                  <a:lnTo>
                    <a:pt x="2182" y="504"/>
                  </a:lnTo>
                  <a:lnTo>
                    <a:pt x="2178" y="515"/>
                  </a:lnTo>
                  <a:lnTo>
                    <a:pt x="2145" y="504"/>
                  </a:lnTo>
                  <a:lnTo>
                    <a:pt x="2107" y="520"/>
                  </a:lnTo>
                  <a:lnTo>
                    <a:pt x="2074" y="520"/>
                  </a:lnTo>
                  <a:lnTo>
                    <a:pt x="2074" y="537"/>
                  </a:lnTo>
                  <a:lnTo>
                    <a:pt x="2036" y="537"/>
                  </a:lnTo>
                  <a:lnTo>
                    <a:pt x="2031" y="548"/>
                  </a:lnTo>
                  <a:lnTo>
                    <a:pt x="2031" y="548"/>
                  </a:lnTo>
                  <a:lnTo>
                    <a:pt x="2031" y="54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3" name="Freeform 504">
              <a:extLst>
                <a:ext uri="{FF2B5EF4-FFF2-40B4-BE49-F238E27FC236}">
                  <a16:creationId xmlns:a16="http://schemas.microsoft.com/office/drawing/2014/main" id="{74201F59-FCC5-42D3-A862-8CDB46127582}"/>
                </a:ext>
              </a:extLst>
            </p:cNvPr>
            <p:cNvSpPr>
              <a:spLocks/>
            </p:cNvSpPr>
            <p:nvPr/>
          </p:nvSpPr>
          <p:spPr bwMode="gray">
            <a:xfrm>
              <a:off x="12314861" y="3713140"/>
              <a:ext cx="1636" cy="5564"/>
            </a:xfrm>
            <a:custGeom>
              <a:avLst/>
              <a:gdLst>
                <a:gd name="T0" fmla="*/ 5 w 5"/>
                <a:gd name="T1" fmla="*/ 17 h 17"/>
                <a:gd name="T2" fmla="*/ 0 w 5"/>
                <a:gd name="T3" fmla="*/ 5 h 17"/>
                <a:gd name="T4" fmla="*/ 5 w 5"/>
                <a:gd name="T5" fmla="*/ 0 h 17"/>
                <a:gd name="T6" fmla="*/ 5 w 5"/>
                <a:gd name="T7" fmla="*/ 17 h 17"/>
                <a:gd name="T8" fmla="*/ 5 w 5"/>
                <a:gd name="T9" fmla="*/ 17 h 17"/>
                <a:gd name="T10" fmla="*/ 5 w 5"/>
                <a:gd name="T11" fmla="*/ 17 h 17"/>
              </a:gdLst>
              <a:ahLst/>
              <a:cxnLst>
                <a:cxn ang="0">
                  <a:pos x="T0" y="T1"/>
                </a:cxn>
                <a:cxn ang="0">
                  <a:pos x="T2" y="T3"/>
                </a:cxn>
                <a:cxn ang="0">
                  <a:pos x="T4" y="T5"/>
                </a:cxn>
                <a:cxn ang="0">
                  <a:pos x="T6" y="T7"/>
                </a:cxn>
                <a:cxn ang="0">
                  <a:pos x="T8" y="T9"/>
                </a:cxn>
                <a:cxn ang="0">
                  <a:pos x="T10" y="T11"/>
                </a:cxn>
              </a:cxnLst>
              <a:rect l="0" t="0" r="r" b="b"/>
              <a:pathLst>
                <a:path w="5" h="17">
                  <a:moveTo>
                    <a:pt x="5" y="17"/>
                  </a:moveTo>
                  <a:lnTo>
                    <a:pt x="0" y="5"/>
                  </a:lnTo>
                  <a:lnTo>
                    <a:pt x="5" y="0"/>
                  </a:lnTo>
                  <a:lnTo>
                    <a:pt x="5" y="17"/>
                  </a:lnTo>
                  <a:lnTo>
                    <a:pt x="5" y="17"/>
                  </a:lnTo>
                  <a:lnTo>
                    <a:pt x="5" y="1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4" name="Freeform 505">
              <a:extLst>
                <a:ext uri="{FF2B5EF4-FFF2-40B4-BE49-F238E27FC236}">
                  <a16:creationId xmlns:a16="http://schemas.microsoft.com/office/drawing/2014/main" id="{951C1804-D30A-4D43-8018-A55604EB2A06}"/>
                </a:ext>
              </a:extLst>
            </p:cNvPr>
            <p:cNvSpPr>
              <a:spLocks/>
            </p:cNvSpPr>
            <p:nvPr/>
          </p:nvSpPr>
          <p:spPr bwMode="gray">
            <a:xfrm>
              <a:off x="14493675" y="4334676"/>
              <a:ext cx="75605" cy="188850"/>
            </a:xfrm>
            <a:custGeom>
              <a:avLst/>
              <a:gdLst>
                <a:gd name="T0" fmla="*/ 33 w 231"/>
                <a:gd name="T1" fmla="*/ 336 h 577"/>
                <a:gd name="T2" fmla="*/ 21 w 231"/>
                <a:gd name="T3" fmla="*/ 336 h 577"/>
                <a:gd name="T4" fmla="*/ 16 w 231"/>
                <a:gd name="T5" fmla="*/ 298 h 577"/>
                <a:gd name="T6" fmla="*/ 21 w 231"/>
                <a:gd name="T7" fmla="*/ 246 h 577"/>
                <a:gd name="T8" fmla="*/ 49 w 231"/>
                <a:gd name="T9" fmla="*/ 230 h 577"/>
                <a:gd name="T10" fmla="*/ 49 w 231"/>
                <a:gd name="T11" fmla="*/ 220 h 577"/>
                <a:gd name="T12" fmla="*/ 49 w 231"/>
                <a:gd name="T13" fmla="*/ 175 h 577"/>
                <a:gd name="T14" fmla="*/ 54 w 231"/>
                <a:gd name="T15" fmla="*/ 130 h 577"/>
                <a:gd name="T16" fmla="*/ 64 w 231"/>
                <a:gd name="T17" fmla="*/ 107 h 577"/>
                <a:gd name="T18" fmla="*/ 64 w 231"/>
                <a:gd name="T19" fmla="*/ 74 h 577"/>
                <a:gd name="T20" fmla="*/ 49 w 231"/>
                <a:gd name="T21" fmla="*/ 52 h 577"/>
                <a:gd name="T22" fmla="*/ 38 w 231"/>
                <a:gd name="T23" fmla="*/ 17 h 577"/>
                <a:gd name="T24" fmla="*/ 16 w 231"/>
                <a:gd name="T25" fmla="*/ 0 h 577"/>
                <a:gd name="T26" fmla="*/ 54 w 231"/>
                <a:gd name="T27" fmla="*/ 17 h 577"/>
                <a:gd name="T28" fmla="*/ 87 w 231"/>
                <a:gd name="T29" fmla="*/ 24 h 577"/>
                <a:gd name="T30" fmla="*/ 118 w 231"/>
                <a:gd name="T31" fmla="*/ 24 h 577"/>
                <a:gd name="T32" fmla="*/ 139 w 231"/>
                <a:gd name="T33" fmla="*/ 107 h 577"/>
                <a:gd name="T34" fmla="*/ 163 w 231"/>
                <a:gd name="T35" fmla="*/ 163 h 577"/>
                <a:gd name="T36" fmla="*/ 139 w 231"/>
                <a:gd name="T37" fmla="*/ 175 h 577"/>
                <a:gd name="T38" fmla="*/ 130 w 231"/>
                <a:gd name="T39" fmla="*/ 246 h 577"/>
                <a:gd name="T40" fmla="*/ 139 w 231"/>
                <a:gd name="T41" fmla="*/ 303 h 577"/>
                <a:gd name="T42" fmla="*/ 172 w 231"/>
                <a:gd name="T43" fmla="*/ 319 h 577"/>
                <a:gd name="T44" fmla="*/ 231 w 231"/>
                <a:gd name="T45" fmla="*/ 409 h 577"/>
                <a:gd name="T46" fmla="*/ 227 w 231"/>
                <a:gd name="T47" fmla="*/ 447 h 577"/>
                <a:gd name="T48" fmla="*/ 201 w 231"/>
                <a:gd name="T49" fmla="*/ 504 h 577"/>
                <a:gd name="T50" fmla="*/ 172 w 231"/>
                <a:gd name="T51" fmla="*/ 527 h 577"/>
                <a:gd name="T52" fmla="*/ 184 w 231"/>
                <a:gd name="T53" fmla="*/ 577 h 577"/>
                <a:gd name="T54" fmla="*/ 177 w 231"/>
                <a:gd name="T55" fmla="*/ 553 h 577"/>
                <a:gd name="T56" fmla="*/ 130 w 231"/>
                <a:gd name="T57" fmla="*/ 508 h 577"/>
                <a:gd name="T58" fmla="*/ 125 w 231"/>
                <a:gd name="T59" fmla="*/ 499 h 577"/>
                <a:gd name="T60" fmla="*/ 130 w 231"/>
                <a:gd name="T61" fmla="*/ 442 h 577"/>
                <a:gd name="T62" fmla="*/ 118 w 231"/>
                <a:gd name="T63" fmla="*/ 369 h 577"/>
                <a:gd name="T64" fmla="*/ 38 w 231"/>
                <a:gd name="T65" fmla="*/ 343 h 577"/>
                <a:gd name="T66" fmla="*/ 38 w 231"/>
                <a:gd name="T67" fmla="*/ 343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 h="577">
                  <a:moveTo>
                    <a:pt x="38" y="343"/>
                  </a:moveTo>
                  <a:lnTo>
                    <a:pt x="33" y="336"/>
                  </a:lnTo>
                  <a:lnTo>
                    <a:pt x="33" y="343"/>
                  </a:lnTo>
                  <a:lnTo>
                    <a:pt x="21" y="336"/>
                  </a:lnTo>
                  <a:lnTo>
                    <a:pt x="0" y="315"/>
                  </a:lnTo>
                  <a:lnTo>
                    <a:pt x="16" y="298"/>
                  </a:lnTo>
                  <a:lnTo>
                    <a:pt x="21" y="263"/>
                  </a:lnTo>
                  <a:lnTo>
                    <a:pt x="21" y="246"/>
                  </a:lnTo>
                  <a:lnTo>
                    <a:pt x="21" y="241"/>
                  </a:lnTo>
                  <a:lnTo>
                    <a:pt x="49" y="230"/>
                  </a:lnTo>
                  <a:lnTo>
                    <a:pt x="64" y="225"/>
                  </a:lnTo>
                  <a:lnTo>
                    <a:pt x="49" y="220"/>
                  </a:lnTo>
                  <a:lnTo>
                    <a:pt x="38" y="208"/>
                  </a:lnTo>
                  <a:lnTo>
                    <a:pt x="49" y="175"/>
                  </a:lnTo>
                  <a:lnTo>
                    <a:pt x="38" y="152"/>
                  </a:lnTo>
                  <a:lnTo>
                    <a:pt x="54" y="130"/>
                  </a:lnTo>
                  <a:lnTo>
                    <a:pt x="38" y="114"/>
                  </a:lnTo>
                  <a:lnTo>
                    <a:pt x="64" y="107"/>
                  </a:lnTo>
                  <a:lnTo>
                    <a:pt x="71" y="90"/>
                  </a:lnTo>
                  <a:lnTo>
                    <a:pt x="64" y="74"/>
                  </a:lnTo>
                  <a:lnTo>
                    <a:pt x="64" y="62"/>
                  </a:lnTo>
                  <a:lnTo>
                    <a:pt x="49" y="52"/>
                  </a:lnTo>
                  <a:lnTo>
                    <a:pt x="49" y="41"/>
                  </a:lnTo>
                  <a:lnTo>
                    <a:pt x="38" y="17"/>
                  </a:lnTo>
                  <a:lnTo>
                    <a:pt x="21" y="17"/>
                  </a:lnTo>
                  <a:lnTo>
                    <a:pt x="16" y="0"/>
                  </a:lnTo>
                  <a:lnTo>
                    <a:pt x="49" y="8"/>
                  </a:lnTo>
                  <a:lnTo>
                    <a:pt x="54" y="17"/>
                  </a:lnTo>
                  <a:lnTo>
                    <a:pt x="75" y="17"/>
                  </a:lnTo>
                  <a:lnTo>
                    <a:pt x="87" y="24"/>
                  </a:lnTo>
                  <a:lnTo>
                    <a:pt x="92" y="8"/>
                  </a:lnTo>
                  <a:lnTo>
                    <a:pt x="118" y="24"/>
                  </a:lnTo>
                  <a:lnTo>
                    <a:pt x="130" y="52"/>
                  </a:lnTo>
                  <a:lnTo>
                    <a:pt x="139" y="107"/>
                  </a:lnTo>
                  <a:lnTo>
                    <a:pt x="139" y="130"/>
                  </a:lnTo>
                  <a:lnTo>
                    <a:pt x="163" y="163"/>
                  </a:lnTo>
                  <a:lnTo>
                    <a:pt x="139" y="163"/>
                  </a:lnTo>
                  <a:lnTo>
                    <a:pt x="139" y="175"/>
                  </a:lnTo>
                  <a:lnTo>
                    <a:pt x="125" y="208"/>
                  </a:lnTo>
                  <a:lnTo>
                    <a:pt x="130" y="246"/>
                  </a:lnTo>
                  <a:lnTo>
                    <a:pt x="130" y="298"/>
                  </a:lnTo>
                  <a:lnTo>
                    <a:pt x="139" y="303"/>
                  </a:lnTo>
                  <a:lnTo>
                    <a:pt x="156" y="303"/>
                  </a:lnTo>
                  <a:lnTo>
                    <a:pt x="172" y="319"/>
                  </a:lnTo>
                  <a:lnTo>
                    <a:pt x="227" y="393"/>
                  </a:lnTo>
                  <a:lnTo>
                    <a:pt x="231" y="409"/>
                  </a:lnTo>
                  <a:lnTo>
                    <a:pt x="215" y="430"/>
                  </a:lnTo>
                  <a:lnTo>
                    <a:pt x="227" y="447"/>
                  </a:lnTo>
                  <a:lnTo>
                    <a:pt x="227" y="487"/>
                  </a:lnTo>
                  <a:lnTo>
                    <a:pt x="201" y="504"/>
                  </a:lnTo>
                  <a:lnTo>
                    <a:pt x="193" y="499"/>
                  </a:lnTo>
                  <a:lnTo>
                    <a:pt x="172" y="527"/>
                  </a:lnTo>
                  <a:lnTo>
                    <a:pt x="184" y="544"/>
                  </a:lnTo>
                  <a:lnTo>
                    <a:pt x="184" y="577"/>
                  </a:lnTo>
                  <a:lnTo>
                    <a:pt x="172" y="577"/>
                  </a:lnTo>
                  <a:lnTo>
                    <a:pt x="177" y="553"/>
                  </a:lnTo>
                  <a:lnTo>
                    <a:pt x="163" y="553"/>
                  </a:lnTo>
                  <a:lnTo>
                    <a:pt x="130" y="508"/>
                  </a:lnTo>
                  <a:lnTo>
                    <a:pt x="125" y="508"/>
                  </a:lnTo>
                  <a:lnTo>
                    <a:pt x="125" y="499"/>
                  </a:lnTo>
                  <a:lnTo>
                    <a:pt x="108" y="482"/>
                  </a:lnTo>
                  <a:lnTo>
                    <a:pt x="130" y="442"/>
                  </a:lnTo>
                  <a:lnTo>
                    <a:pt x="130" y="386"/>
                  </a:lnTo>
                  <a:lnTo>
                    <a:pt x="118" y="369"/>
                  </a:lnTo>
                  <a:lnTo>
                    <a:pt x="71" y="386"/>
                  </a:lnTo>
                  <a:lnTo>
                    <a:pt x="38" y="343"/>
                  </a:lnTo>
                  <a:lnTo>
                    <a:pt x="38" y="343"/>
                  </a:lnTo>
                  <a:lnTo>
                    <a:pt x="38" y="34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5" name="Freeform 506">
              <a:extLst>
                <a:ext uri="{FF2B5EF4-FFF2-40B4-BE49-F238E27FC236}">
                  <a16:creationId xmlns:a16="http://schemas.microsoft.com/office/drawing/2014/main" id="{69248C3A-ABB1-47C9-B1DB-367ACDA6DF0E}"/>
                </a:ext>
              </a:extLst>
            </p:cNvPr>
            <p:cNvSpPr>
              <a:spLocks/>
            </p:cNvSpPr>
            <p:nvPr/>
          </p:nvSpPr>
          <p:spPr bwMode="gray">
            <a:xfrm>
              <a:off x="14214491" y="3051347"/>
              <a:ext cx="57277" cy="41239"/>
            </a:xfrm>
            <a:custGeom>
              <a:avLst/>
              <a:gdLst>
                <a:gd name="T0" fmla="*/ 21 w 175"/>
                <a:gd name="T1" fmla="*/ 126 h 126"/>
                <a:gd name="T2" fmla="*/ 9 w 175"/>
                <a:gd name="T3" fmla="*/ 126 h 126"/>
                <a:gd name="T4" fmla="*/ 0 w 175"/>
                <a:gd name="T5" fmla="*/ 88 h 126"/>
                <a:gd name="T6" fmla="*/ 5 w 175"/>
                <a:gd name="T7" fmla="*/ 81 h 126"/>
                <a:gd name="T8" fmla="*/ 0 w 175"/>
                <a:gd name="T9" fmla="*/ 71 h 126"/>
                <a:gd name="T10" fmla="*/ 5 w 175"/>
                <a:gd name="T11" fmla="*/ 43 h 126"/>
                <a:gd name="T12" fmla="*/ 9 w 175"/>
                <a:gd name="T13" fmla="*/ 43 h 126"/>
                <a:gd name="T14" fmla="*/ 21 w 175"/>
                <a:gd name="T15" fmla="*/ 26 h 126"/>
                <a:gd name="T16" fmla="*/ 43 w 175"/>
                <a:gd name="T17" fmla="*/ 17 h 126"/>
                <a:gd name="T18" fmla="*/ 59 w 175"/>
                <a:gd name="T19" fmla="*/ 17 h 126"/>
                <a:gd name="T20" fmla="*/ 66 w 175"/>
                <a:gd name="T21" fmla="*/ 10 h 126"/>
                <a:gd name="T22" fmla="*/ 80 w 175"/>
                <a:gd name="T23" fmla="*/ 10 h 126"/>
                <a:gd name="T24" fmla="*/ 97 w 175"/>
                <a:gd name="T25" fmla="*/ 0 h 126"/>
                <a:gd name="T26" fmla="*/ 130 w 175"/>
                <a:gd name="T27" fmla="*/ 0 h 126"/>
                <a:gd name="T28" fmla="*/ 147 w 175"/>
                <a:gd name="T29" fmla="*/ 17 h 126"/>
                <a:gd name="T30" fmla="*/ 170 w 175"/>
                <a:gd name="T31" fmla="*/ 33 h 126"/>
                <a:gd name="T32" fmla="*/ 175 w 175"/>
                <a:gd name="T33" fmla="*/ 50 h 126"/>
                <a:gd name="T34" fmla="*/ 175 w 175"/>
                <a:gd name="T35" fmla="*/ 88 h 126"/>
                <a:gd name="T36" fmla="*/ 163 w 175"/>
                <a:gd name="T37" fmla="*/ 88 h 126"/>
                <a:gd name="T38" fmla="*/ 163 w 175"/>
                <a:gd name="T39" fmla="*/ 102 h 126"/>
                <a:gd name="T40" fmla="*/ 109 w 175"/>
                <a:gd name="T41" fmla="*/ 102 h 126"/>
                <a:gd name="T42" fmla="*/ 92 w 175"/>
                <a:gd name="T43" fmla="*/ 118 h 126"/>
                <a:gd name="T44" fmla="*/ 76 w 175"/>
                <a:gd name="T45" fmla="*/ 126 h 126"/>
                <a:gd name="T46" fmla="*/ 38 w 175"/>
                <a:gd name="T47" fmla="*/ 126 h 126"/>
                <a:gd name="T48" fmla="*/ 21 w 175"/>
                <a:gd name="T49" fmla="*/ 126 h 126"/>
                <a:gd name="T50" fmla="*/ 21 w 175"/>
                <a:gd name="T51" fmla="*/ 126 h 126"/>
                <a:gd name="T52" fmla="*/ 21 w 175"/>
                <a:gd name="T53"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26">
                  <a:moveTo>
                    <a:pt x="21" y="126"/>
                  </a:moveTo>
                  <a:lnTo>
                    <a:pt x="9" y="126"/>
                  </a:lnTo>
                  <a:lnTo>
                    <a:pt x="0" y="88"/>
                  </a:lnTo>
                  <a:lnTo>
                    <a:pt x="5" y="81"/>
                  </a:lnTo>
                  <a:lnTo>
                    <a:pt x="0" y="71"/>
                  </a:lnTo>
                  <a:lnTo>
                    <a:pt x="5" y="43"/>
                  </a:lnTo>
                  <a:lnTo>
                    <a:pt x="9" y="43"/>
                  </a:lnTo>
                  <a:lnTo>
                    <a:pt x="21" y="26"/>
                  </a:lnTo>
                  <a:lnTo>
                    <a:pt x="43" y="17"/>
                  </a:lnTo>
                  <a:lnTo>
                    <a:pt x="59" y="17"/>
                  </a:lnTo>
                  <a:lnTo>
                    <a:pt x="66" y="10"/>
                  </a:lnTo>
                  <a:lnTo>
                    <a:pt x="80" y="10"/>
                  </a:lnTo>
                  <a:lnTo>
                    <a:pt x="97" y="0"/>
                  </a:lnTo>
                  <a:lnTo>
                    <a:pt x="130" y="0"/>
                  </a:lnTo>
                  <a:lnTo>
                    <a:pt x="147" y="17"/>
                  </a:lnTo>
                  <a:lnTo>
                    <a:pt x="170" y="33"/>
                  </a:lnTo>
                  <a:lnTo>
                    <a:pt x="175" y="50"/>
                  </a:lnTo>
                  <a:lnTo>
                    <a:pt x="175" y="88"/>
                  </a:lnTo>
                  <a:lnTo>
                    <a:pt x="163" y="88"/>
                  </a:lnTo>
                  <a:lnTo>
                    <a:pt x="163" y="102"/>
                  </a:lnTo>
                  <a:lnTo>
                    <a:pt x="109" y="102"/>
                  </a:lnTo>
                  <a:lnTo>
                    <a:pt x="92" y="118"/>
                  </a:lnTo>
                  <a:lnTo>
                    <a:pt x="76" y="126"/>
                  </a:lnTo>
                  <a:lnTo>
                    <a:pt x="38" y="126"/>
                  </a:lnTo>
                  <a:lnTo>
                    <a:pt x="21" y="126"/>
                  </a:lnTo>
                  <a:lnTo>
                    <a:pt x="21" y="126"/>
                  </a:lnTo>
                  <a:lnTo>
                    <a:pt x="21" y="12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6" name="Freeform 507">
              <a:extLst>
                <a:ext uri="{FF2B5EF4-FFF2-40B4-BE49-F238E27FC236}">
                  <a16:creationId xmlns:a16="http://schemas.microsoft.com/office/drawing/2014/main" id="{3D2E8F61-469A-4D7D-B116-6C5EA4CB9418}"/>
                </a:ext>
              </a:extLst>
            </p:cNvPr>
            <p:cNvSpPr>
              <a:spLocks/>
            </p:cNvSpPr>
            <p:nvPr/>
          </p:nvSpPr>
          <p:spPr bwMode="gray">
            <a:xfrm>
              <a:off x="13463672" y="3513817"/>
              <a:ext cx="378028" cy="360354"/>
            </a:xfrm>
            <a:custGeom>
              <a:avLst/>
              <a:gdLst>
                <a:gd name="T0" fmla="*/ 130 w 1155"/>
                <a:gd name="T1" fmla="*/ 947 h 1101"/>
                <a:gd name="T2" fmla="*/ 88 w 1155"/>
                <a:gd name="T3" fmla="*/ 947 h 1101"/>
                <a:gd name="T4" fmla="*/ 55 w 1155"/>
                <a:gd name="T5" fmla="*/ 947 h 1101"/>
                <a:gd name="T6" fmla="*/ 67 w 1155"/>
                <a:gd name="T7" fmla="*/ 890 h 1101"/>
                <a:gd name="T8" fmla="*/ 33 w 1155"/>
                <a:gd name="T9" fmla="*/ 864 h 1101"/>
                <a:gd name="T10" fmla="*/ 12 w 1155"/>
                <a:gd name="T11" fmla="*/ 848 h 1101"/>
                <a:gd name="T12" fmla="*/ 17 w 1155"/>
                <a:gd name="T13" fmla="*/ 808 h 1101"/>
                <a:gd name="T14" fmla="*/ 0 w 1155"/>
                <a:gd name="T15" fmla="*/ 758 h 1101"/>
                <a:gd name="T16" fmla="*/ 24 w 1155"/>
                <a:gd name="T17" fmla="*/ 758 h 1101"/>
                <a:gd name="T18" fmla="*/ 55 w 1155"/>
                <a:gd name="T19" fmla="*/ 697 h 1101"/>
                <a:gd name="T20" fmla="*/ 109 w 1155"/>
                <a:gd name="T21" fmla="*/ 713 h 1101"/>
                <a:gd name="T22" fmla="*/ 196 w 1155"/>
                <a:gd name="T23" fmla="*/ 713 h 1101"/>
                <a:gd name="T24" fmla="*/ 201 w 1155"/>
                <a:gd name="T25" fmla="*/ 697 h 1101"/>
                <a:gd name="T26" fmla="*/ 470 w 1155"/>
                <a:gd name="T27" fmla="*/ 713 h 1101"/>
                <a:gd name="T28" fmla="*/ 466 w 1155"/>
                <a:gd name="T29" fmla="*/ 631 h 1101"/>
                <a:gd name="T30" fmla="*/ 395 w 1155"/>
                <a:gd name="T31" fmla="*/ 0 h 1101"/>
                <a:gd name="T32" fmla="*/ 941 w 1155"/>
                <a:gd name="T33" fmla="*/ 293 h 1101"/>
                <a:gd name="T34" fmla="*/ 974 w 1155"/>
                <a:gd name="T35" fmla="*/ 331 h 1101"/>
                <a:gd name="T36" fmla="*/ 1004 w 1155"/>
                <a:gd name="T37" fmla="*/ 354 h 1101"/>
                <a:gd name="T38" fmla="*/ 1026 w 1155"/>
                <a:gd name="T39" fmla="*/ 371 h 1101"/>
                <a:gd name="T40" fmla="*/ 1092 w 1155"/>
                <a:gd name="T41" fmla="*/ 420 h 1101"/>
                <a:gd name="T42" fmla="*/ 1092 w 1155"/>
                <a:gd name="T43" fmla="*/ 449 h 1101"/>
                <a:gd name="T44" fmla="*/ 1151 w 1155"/>
                <a:gd name="T45" fmla="*/ 642 h 1101"/>
                <a:gd name="T46" fmla="*/ 1129 w 1155"/>
                <a:gd name="T47" fmla="*/ 697 h 1101"/>
                <a:gd name="T48" fmla="*/ 1101 w 1155"/>
                <a:gd name="T49" fmla="*/ 720 h 1101"/>
                <a:gd name="T50" fmla="*/ 1063 w 1155"/>
                <a:gd name="T51" fmla="*/ 720 h 1101"/>
                <a:gd name="T52" fmla="*/ 929 w 1155"/>
                <a:gd name="T53" fmla="*/ 742 h 1101"/>
                <a:gd name="T54" fmla="*/ 874 w 1155"/>
                <a:gd name="T55" fmla="*/ 753 h 1101"/>
                <a:gd name="T56" fmla="*/ 832 w 1155"/>
                <a:gd name="T57" fmla="*/ 742 h 1101"/>
                <a:gd name="T58" fmla="*/ 806 w 1155"/>
                <a:gd name="T59" fmla="*/ 742 h 1101"/>
                <a:gd name="T60" fmla="*/ 768 w 1155"/>
                <a:gd name="T61" fmla="*/ 770 h 1101"/>
                <a:gd name="T62" fmla="*/ 718 w 1155"/>
                <a:gd name="T63" fmla="*/ 779 h 1101"/>
                <a:gd name="T64" fmla="*/ 714 w 1155"/>
                <a:gd name="T65" fmla="*/ 808 h 1101"/>
                <a:gd name="T66" fmla="*/ 659 w 1155"/>
                <a:gd name="T67" fmla="*/ 812 h 1101"/>
                <a:gd name="T68" fmla="*/ 626 w 1155"/>
                <a:gd name="T69" fmla="*/ 836 h 1101"/>
                <a:gd name="T70" fmla="*/ 617 w 1155"/>
                <a:gd name="T71" fmla="*/ 869 h 1101"/>
                <a:gd name="T72" fmla="*/ 579 w 1155"/>
                <a:gd name="T73" fmla="*/ 853 h 1101"/>
                <a:gd name="T74" fmla="*/ 563 w 1155"/>
                <a:gd name="T75" fmla="*/ 902 h 1101"/>
                <a:gd name="T76" fmla="*/ 541 w 1155"/>
                <a:gd name="T77" fmla="*/ 907 h 1101"/>
                <a:gd name="T78" fmla="*/ 551 w 1155"/>
                <a:gd name="T79" fmla="*/ 940 h 1101"/>
                <a:gd name="T80" fmla="*/ 499 w 1155"/>
                <a:gd name="T81" fmla="*/ 964 h 1101"/>
                <a:gd name="T82" fmla="*/ 499 w 1155"/>
                <a:gd name="T83" fmla="*/ 1001 h 1101"/>
                <a:gd name="T84" fmla="*/ 470 w 1155"/>
                <a:gd name="T85" fmla="*/ 1035 h 1101"/>
                <a:gd name="T86" fmla="*/ 470 w 1155"/>
                <a:gd name="T87" fmla="*/ 1075 h 1101"/>
                <a:gd name="T88" fmla="*/ 433 w 1155"/>
                <a:gd name="T89" fmla="*/ 1101 h 1101"/>
                <a:gd name="T90" fmla="*/ 428 w 1155"/>
                <a:gd name="T91" fmla="*/ 1091 h 1101"/>
                <a:gd name="T92" fmla="*/ 411 w 1155"/>
                <a:gd name="T93" fmla="*/ 1058 h 1101"/>
                <a:gd name="T94" fmla="*/ 395 w 1155"/>
                <a:gd name="T95" fmla="*/ 1058 h 1101"/>
                <a:gd name="T96" fmla="*/ 374 w 1155"/>
                <a:gd name="T97" fmla="*/ 1084 h 1101"/>
                <a:gd name="T98" fmla="*/ 324 w 1155"/>
                <a:gd name="T99" fmla="*/ 1075 h 1101"/>
                <a:gd name="T100" fmla="*/ 293 w 1155"/>
                <a:gd name="T101" fmla="*/ 1101 h 1101"/>
                <a:gd name="T102" fmla="*/ 281 w 1155"/>
                <a:gd name="T103" fmla="*/ 1075 h 1101"/>
                <a:gd name="T104" fmla="*/ 265 w 1155"/>
                <a:gd name="T105" fmla="*/ 1035 h 1101"/>
                <a:gd name="T106" fmla="*/ 272 w 1155"/>
                <a:gd name="T107" fmla="*/ 1013 h 1101"/>
                <a:gd name="T108" fmla="*/ 251 w 1155"/>
                <a:gd name="T109" fmla="*/ 992 h 1101"/>
                <a:gd name="T110" fmla="*/ 239 w 1155"/>
                <a:gd name="T111" fmla="*/ 975 h 1101"/>
                <a:gd name="T112" fmla="*/ 227 w 1155"/>
                <a:gd name="T113" fmla="*/ 935 h 1101"/>
                <a:gd name="T114" fmla="*/ 201 w 1155"/>
                <a:gd name="T115" fmla="*/ 947 h 1101"/>
                <a:gd name="T116" fmla="*/ 180 w 1155"/>
                <a:gd name="T117" fmla="*/ 964 h 1101"/>
                <a:gd name="T118" fmla="*/ 163 w 1155"/>
                <a:gd name="T119" fmla="*/ 964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5" h="1101">
                  <a:moveTo>
                    <a:pt x="163" y="964"/>
                  </a:moveTo>
                  <a:lnTo>
                    <a:pt x="130" y="947"/>
                  </a:lnTo>
                  <a:lnTo>
                    <a:pt x="109" y="975"/>
                  </a:lnTo>
                  <a:lnTo>
                    <a:pt x="88" y="947"/>
                  </a:lnTo>
                  <a:lnTo>
                    <a:pt x="71" y="964"/>
                  </a:lnTo>
                  <a:lnTo>
                    <a:pt x="55" y="947"/>
                  </a:lnTo>
                  <a:lnTo>
                    <a:pt x="67" y="935"/>
                  </a:lnTo>
                  <a:lnTo>
                    <a:pt x="67" y="890"/>
                  </a:lnTo>
                  <a:lnTo>
                    <a:pt x="38" y="864"/>
                  </a:lnTo>
                  <a:lnTo>
                    <a:pt x="33" y="864"/>
                  </a:lnTo>
                  <a:lnTo>
                    <a:pt x="33" y="869"/>
                  </a:lnTo>
                  <a:lnTo>
                    <a:pt x="12" y="848"/>
                  </a:lnTo>
                  <a:lnTo>
                    <a:pt x="17" y="831"/>
                  </a:lnTo>
                  <a:lnTo>
                    <a:pt x="17" y="808"/>
                  </a:lnTo>
                  <a:lnTo>
                    <a:pt x="0" y="791"/>
                  </a:lnTo>
                  <a:lnTo>
                    <a:pt x="0" y="758"/>
                  </a:lnTo>
                  <a:lnTo>
                    <a:pt x="12" y="770"/>
                  </a:lnTo>
                  <a:lnTo>
                    <a:pt x="24" y="758"/>
                  </a:lnTo>
                  <a:lnTo>
                    <a:pt x="38" y="704"/>
                  </a:lnTo>
                  <a:lnTo>
                    <a:pt x="55" y="697"/>
                  </a:lnTo>
                  <a:lnTo>
                    <a:pt x="93" y="737"/>
                  </a:lnTo>
                  <a:lnTo>
                    <a:pt x="109" y="713"/>
                  </a:lnTo>
                  <a:lnTo>
                    <a:pt x="159" y="720"/>
                  </a:lnTo>
                  <a:lnTo>
                    <a:pt x="196" y="713"/>
                  </a:lnTo>
                  <a:lnTo>
                    <a:pt x="196" y="704"/>
                  </a:lnTo>
                  <a:lnTo>
                    <a:pt x="201" y="697"/>
                  </a:lnTo>
                  <a:lnTo>
                    <a:pt x="201" y="713"/>
                  </a:lnTo>
                  <a:lnTo>
                    <a:pt x="470" y="713"/>
                  </a:lnTo>
                  <a:lnTo>
                    <a:pt x="487" y="647"/>
                  </a:lnTo>
                  <a:lnTo>
                    <a:pt x="466" y="631"/>
                  </a:lnTo>
                  <a:lnTo>
                    <a:pt x="411" y="149"/>
                  </a:lnTo>
                  <a:lnTo>
                    <a:pt x="395" y="0"/>
                  </a:lnTo>
                  <a:lnTo>
                    <a:pt x="520" y="0"/>
                  </a:lnTo>
                  <a:lnTo>
                    <a:pt x="941" y="293"/>
                  </a:lnTo>
                  <a:lnTo>
                    <a:pt x="941" y="314"/>
                  </a:lnTo>
                  <a:lnTo>
                    <a:pt x="974" y="331"/>
                  </a:lnTo>
                  <a:lnTo>
                    <a:pt x="983" y="347"/>
                  </a:lnTo>
                  <a:lnTo>
                    <a:pt x="1004" y="354"/>
                  </a:lnTo>
                  <a:lnTo>
                    <a:pt x="1011" y="354"/>
                  </a:lnTo>
                  <a:lnTo>
                    <a:pt x="1026" y="371"/>
                  </a:lnTo>
                  <a:lnTo>
                    <a:pt x="1080" y="387"/>
                  </a:lnTo>
                  <a:lnTo>
                    <a:pt x="1092" y="420"/>
                  </a:lnTo>
                  <a:lnTo>
                    <a:pt x="1075" y="437"/>
                  </a:lnTo>
                  <a:lnTo>
                    <a:pt x="1092" y="449"/>
                  </a:lnTo>
                  <a:lnTo>
                    <a:pt x="1155" y="437"/>
                  </a:lnTo>
                  <a:lnTo>
                    <a:pt x="1151" y="642"/>
                  </a:lnTo>
                  <a:lnTo>
                    <a:pt x="1146" y="647"/>
                  </a:lnTo>
                  <a:lnTo>
                    <a:pt x="1129" y="697"/>
                  </a:lnTo>
                  <a:lnTo>
                    <a:pt x="1101" y="704"/>
                  </a:lnTo>
                  <a:lnTo>
                    <a:pt x="1101" y="720"/>
                  </a:lnTo>
                  <a:lnTo>
                    <a:pt x="1075" y="713"/>
                  </a:lnTo>
                  <a:lnTo>
                    <a:pt x="1063" y="720"/>
                  </a:lnTo>
                  <a:lnTo>
                    <a:pt x="950" y="725"/>
                  </a:lnTo>
                  <a:lnTo>
                    <a:pt x="929" y="742"/>
                  </a:lnTo>
                  <a:lnTo>
                    <a:pt x="874" y="742"/>
                  </a:lnTo>
                  <a:lnTo>
                    <a:pt x="874" y="753"/>
                  </a:lnTo>
                  <a:lnTo>
                    <a:pt x="844" y="742"/>
                  </a:lnTo>
                  <a:lnTo>
                    <a:pt x="832" y="742"/>
                  </a:lnTo>
                  <a:lnTo>
                    <a:pt x="827" y="742"/>
                  </a:lnTo>
                  <a:lnTo>
                    <a:pt x="806" y="742"/>
                  </a:lnTo>
                  <a:lnTo>
                    <a:pt x="778" y="758"/>
                  </a:lnTo>
                  <a:lnTo>
                    <a:pt x="768" y="770"/>
                  </a:lnTo>
                  <a:lnTo>
                    <a:pt x="740" y="779"/>
                  </a:lnTo>
                  <a:lnTo>
                    <a:pt x="718" y="779"/>
                  </a:lnTo>
                  <a:lnTo>
                    <a:pt x="718" y="808"/>
                  </a:lnTo>
                  <a:lnTo>
                    <a:pt x="714" y="808"/>
                  </a:lnTo>
                  <a:lnTo>
                    <a:pt x="685" y="796"/>
                  </a:lnTo>
                  <a:lnTo>
                    <a:pt x="659" y="812"/>
                  </a:lnTo>
                  <a:lnTo>
                    <a:pt x="659" y="848"/>
                  </a:lnTo>
                  <a:lnTo>
                    <a:pt x="626" y="836"/>
                  </a:lnTo>
                  <a:lnTo>
                    <a:pt x="633" y="869"/>
                  </a:lnTo>
                  <a:lnTo>
                    <a:pt x="617" y="869"/>
                  </a:lnTo>
                  <a:lnTo>
                    <a:pt x="617" y="881"/>
                  </a:lnTo>
                  <a:lnTo>
                    <a:pt x="579" y="853"/>
                  </a:lnTo>
                  <a:lnTo>
                    <a:pt x="558" y="886"/>
                  </a:lnTo>
                  <a:lnTo>
                    <a:pt x="563" y="902"/>
                  </a:lnTo>
                  <a:lnTo>
                    <a:pt x="558" y="907"/>
                  </a:lnTo>
                  <a:lnTo>
                    <a:pt x="541" y="907"/>
                  </a:lnTo>
                  <a:lnTo>
                    <a:pt x="551" y="923"/>
                  </a:lnTo>
                  <a:lnTo>
                    <a:pt x="551" y="940"/>
                  </a:lnTo>
                  <a:lnTo>
                    <a:pt x="537" y="957"/>
                  </a:lnTo>
                  <a:lnTo>
                    <a:pt x="499" y="964"/>
                  </a:lnTo>
                  <a:lnTo>
                    <a:pt x="487" y="975"/>
                  </a:lnTo>
                  <a:lnTo>
                    <a:pt x="499" y="1001"/>
                  </a:lnTo>
                  <a:lnTo>
                    <a:pt x="487" y="1030"/>
                  </a:lnTo>
                  <a:lnTo>
                    <a:pt x="470" y="1035"/>
                  </a:lnTo>
                  <a:lnTo>
                    <a:pt x="482" y="1051"/>
                  </a:lnTo>
                  <a:lnTo>
                    <a:pt x="470" y="1075"/>
                  </a:lnTo>
                  <a:lnTo>
                    <a:pt x="449" y="1084"/>
                  </a:lnTo>
                  <a:lnTo>
                    <a:pt x="433" y="1101"/>
                  </a:lnTo>
                  <a:lnTo>
                    <a:pt x="428" y="1101"/>
                  </a:lnTo>
                  <a:lnTo>
                    <a:pt x="428" y="1091"/>
                  </a:lnTo>
                  <a:lnTo>
                    <a:pt x="416" y="1058"/>
                  </a:lnTo>
                  <a:lnTo>
                    <a:pt x="411" y="1058"/>
                  </a:lnTo>
                  <a:lnTo>
                    <a:pt x="411" y="1068"/>
                  </a:lnTo>
                  <a:lnTo>
                    <a:pt x="395" y="1058"/>
                  </a:lnTo>
                  <a:lnTo>
                    <a:pt x="395" y="1084"/>
                  </a:lnTo>
                  <a:lnTo>
                    <a:pt x="374" y="1084"/>
                  </a:lnTo>
                  <a:lnTo>
                    <a:pt x="362" y="1101"/>
                  </a:lnTo>
                  <a:lnTo>
                    <a:pt x="324" y="1075"/>
                  </a:lnTo>
                  <a:lnTo>
                    <a:pt x="310" y="1101"/>
                  </a:lnTo>
                  <a:lnTo>
                    <a:pt x="293" y="1101"/>
                  </a:lnTo>
                  <a:lnTo>
                    <a:pt x="293" y="1084"/>
                  </a:lnTo>
                  <a:lnTo>
                    <a:pt x="281" y="1075"/>
                  </a:lnTo>
                  <a:lnTo>
                    <a:pt x="281" y="1035"/>
                  </a:lnTo>
                  <a:lnTo>
                    <a:pt x="265" y="1035"/>
                  </a:lnTo>
                  <a:lnTo>
                    <a:pt x="251" y="1046"/>
                  </a:lnTo>
                  <a:lnTo>
                    <a:pt x="272" y="1013"/>
                  </a:lnTo>
                  <a:lnTo>
                    <a:pt x="251" y="1001"/>
                  </a:lnTo>
                  <a:lnTo>
                    <a:pt x="251" y="992"/>
                  </a:lnTo>
                  <a:lnTo>
                    <a:pt x="239" y="992"/>
                  </a:lnTo>
                  <a:lnTo>
                    <a:pt x="239" y="975"/>
                  </a:lnTo>
                  <a:lnTo>
                    <a:pt x="227" y="947"/>
                  </a:lnTo>
                  <a:lnTo>
                    <a:pt x="227" y="935"/>
                  </a:lnTo>
                  <a:lnTo>
                    <a:pt x="201" y="935"/>
                  </a:lnTo>
                  <a:lnTo>
                    <a:pt x="201" y="947"/>
                  </a:lnTo>
                  <a:lnTo>
                    <a:pt x="180" y="957"/>
                  </a:lnTo>
                  <a:lnTo>
                    <a:pt x="180" y="964"/>
                  </a:lnTo>
                  <a:lnTo>
                    <a:pt x="163" y="964"/>
                  </a:lnTo>
                  <a:lnTo>
                    <a:pt x="163" y="964"/>
                  </a:lnTo>
                  <a:lnTo>
                    <a:pt x="163" y="96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7" name="Freeform 508">
              <a:extLst>
                <a:ext uri="{FF2B5EF4-FFF2-40B4-BE49-F238E27FC236}">
                  <a16:creationId xmlns:a16="http://schemas.microsoft.com/office/drawing/2014/main" id="{F58A502F-1971-4A7E-862E-0959743ED970}"/>
                </a:ext>
              </a:extLst>
            </p:cNvPr>
            <p:cNvSpPr>
              <a:spLocks/>
            </p:cNvSpPr>
            <p:nvPr/>
          </p:nvSpPr>
          <p:spPr bwMode="gray">
            <a:xfrm>
              <a:off x="13440762" y="3228414"/>
              <a:ext cx="280493" cy="217325"/>
            </a:xfrm>
            <a:custGeom>
              <a:avLst/>
              <a:gdLst>
                <a:gd name="T0" fmla="*/ 656 w 857"/>
                <a:gd name="T1" fmla="*/ 350 h 664"/>
                <a:gd name="T2" fmla="*/ 673 w 857"/>
                <a:gd name="T3" fmla="*/ 392 h 664"/>
                <a:gd name="T4" fmla="*/ 642 w 857"/>
                <a:gd name="T5" fmla="*/ 404 h 664"/>
                <a:gd name="T6" fmla="*/ 576 w 857"/>
                <a:gd name="T7" fmla="*/ 444 h 664"/>
                <a:gd name="T8" fmla="*/ 538 w 857"/>
                <a:gd name="T9" fmla="*/ 487 h 664"/>
                <a:gd name="T10" fmla="*/ 462 w 857"/>
                <a:gd name="T11" fmla="*/ 515 h 664"/>
                <a:gd name="T12" fmla="*/ 316 w 857"/>
                <a:gd name="T13" fmla="*/ 577 h 664"/>
                <a:gd name="T14" fmla="*/ 0 w 857"/>
                <a:gd name="T15" fmla="*/ 664 h 664"/>
                <a:gd name="T16" fmla="*/ 80 w 857"/>
                <a:gd name="T17" fmla="*/ 631 h 664"/>
                <a:gd name="T18" fmla="*/ 144 w 857"/>
                <a:gd name="T19" fmla="*/ 577 h 664"/>
                <a:gd name="T20" fmla="*/ 210 w 857"/>
                <a:gd name="T21" fmla="*/ 527 h 664"/>
                <a:gd name="T22" fmla="*/ 252 w 857"/>
                <a:gd name="T23" fmla="*/ 444 h 664"/>
                <a:gd name="T24" fmla="*/ 240 w 857"/>
                <a:gd name="T25" fmla="*/ 371 h 664"/>
                <a:gd name="T26" fmla="*/ 278 w 857"/>
                <a:gd name="T27" fmla="*/ 305 h 664"/>
                <a:gd name="T28" fmla="*/ 323 w 857"/>
                <a:gd name="T29" fmla="*/ 222 h 664"/>
                <a:gd name="T30" fmla="*/ 446 w 857"/>
                <a:gd name="T31" fmla="*/ 156 h 664"/>
                <a:gd name="T32" fmla="*/ 512 w 857"/>
                <a:gd name="T33" fmla="*/ 17 h 664"/>
                <a:gd name="T34" fmla="*/ 550 w 857"/>
                <a:gd name="T35" fmla="*/ 5 h 664"/>
                <a:gd name="T36" fmla="*/ 592 w 857"/>
                <a:gd name="T37" fmla="*/ 62 h 664"/>
                <a:gd name="T38" fmla="*/ 673 w 857"/>
                <a:gd name="T39" fmla="*/ 55 h 664"/>
                <a:gd name="T40" fmla="*/ 711 w 857"/>
                <a:gd name="T41" fmla="*/ 55 h 664"/>
                <a:gd name="T42" fmla="*/ 718 w 857"/>
                <a:gd name="T43" fmla="*/ 55 h 664"/>
                <a:gd name="T44" fmla="*/ 727 w 857"/>
                <a:gd name="T45" fmla="*/ 71 h 664"/>
                <a:gd name="T46" fmla="*/ 727 w 857"/>
                <a:gd name="T47" fmla="*/ 55 h 664"/>
                <a:gd name="T48" fmla="*/ 770 w 857"/>
                <a:gd name="T49" fmla="*/ 71 h 664"/>
                <a:gd name="T50" fmla="*/ 793 w 857"/>
                <a:gd name="T51" fmla="*/ 111 h 664"/>
                <a:gd name="T52" fmla="*/ 803 w 857"/>
                <a:gd name="T53" fmla="*/ 128 h 664"/>
                <a:gd name="T54" fmla="*/ 803 w 857"/>
                <a:gd name="T55" fmla="*/ 182 h 664"/>
                <a:gd name="T56" fmla="*/ 807 w 857"/>
                <a:gd name="T57" fmla="*/ 222 h 664"/>
                <a:gd name="T58" fmla="*/ 819 w 857"/>
                <a:gd name="T59" fmla="*/ 244 h 664"/>
                <a:gd name="T60" fmla="*/ 857 w 857"/>
                <a:gd name="T61" fmla="*/ 277 h 664"/>
                <a:gd name="T62" fmla="*/ 836 w 857"/>
                <a:gd name="T63" fmla="*/ 305 h 664"/>
                <a:gd name="T64" fmla="*/ 840 w 857"/>
                <a:gd name="T65" fmla="*/ 317 h 664"/>
                <a:gd name="T66" fmla="*/ 727 w 857"/>
                <a:gd name="T67" fmla="*/ 317 h 664"/>
                <a:gd name="T68" fmla="*/ 685 w 857"/>
                <a:gd name="T69" fmla="*/ 338 h 664"/>
                <a:gd name="T70" fmla="*/ 685 w 857"/>
                <a:gd name="T71" fmla="*/ 338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7" h="664">
                  <a:moveTo>
                    <a:pt x="685" y="338"/>
                  </a:moveTo>
                  <a:lnTo>
                    <a:pt x="656" y="350"/>
                  </a:lnTo>
                  <a:lnTo>
                    <a:pt x="656" y="388"/>
                  </a:lnTo>
                  <a:lnTo>
                    <a:pt x="673" y="392"/>
                  </a:lnTo>
                  <a:lnTo>
                    <a:pt x="673" y="404"/>
                  </a:lnTo>
                  <a:lnTo>
                    <a:pt x="642" y="404"/>
                  </a:lnTo>
                  <a:lnTo>
                    <a:pt x="618" y="428"/>
                  </a:lnTo>
                  <a:lnTo>
                    <a:pt x="576" y="444"/>
                  </a:lnTo>
                  <a:lnTo>
                    <a:pt x="555" y="470"/>
                  </a:lnTo>
                  <a:lnTo>
                    <a:pt x="538" y="487"/>
                  </a:lnTo>
                  <a:lnTo>
                    <a:pt x="479" y="499"/>
                  </a:lnTo>
                  <a:lnTo>
                    <a:pt x="462" y="515"/>
                  </a:lnTo>
                  <a:lnTo>
                    <a:pt x="425" y="503"/>
                  </a:lnTo>
                  <a:lnTo>
                    <a:pt x="316" y="577"/>
                  </a:lnTo>
                  <a:lnTo>
                    <a:pt x="316" y="664"/>
                  </a:lnTo>
                  <a:lnTo>
                    <a:pt x="0" y="664"/>
                  </a:lnTo>
                  <a:lnTo>
                    <a:pt x="25" y="638"/>
                  </a:lnTo>
                  <a:lnTo>
                    <a:pt x="80" y="631"/>
                  </a:lnTo>
                  <a:lnTo>
                    <a:pt x="118" y="610"/>
                  </a:lnTo>
                  <a:lnTo>
                    <a:pt x="144" y="577"/>
                  </a:lnTo>
                  <a:lnTo>
                    <a:pt x="188" y="560"/>
                  </a:lnTo>
                  <a:lnTo>
                    <a:pt x="210" y="527"/>
                  </a:lnTo>
                  <a:lnTo>
                    <a:pt x="248" y="466"/>
                  </a:lnTo>
                  <a:lnTo>
                    <a:pt x="252" y="444"/>
                  </a:lnTo>
                  <a:lnTo>
                    <a:pt x="240" y="428"/>
                  </a:lnTo>
                  <a:lnTo>
                    <a:pt x="240" y="371"/>
                  </a:lnTo>
                  <a:lnTo>
                    <a:pt x="248" y="338"/>
                  </a:lnTo>
                  <a:lnTo>
                    <a:pt x="278" y="305"/>
                  </a:lnTo>
                  <a:lnTo>
                    <a:pt x="278" y="277"/>
                  </a:lnTo>
                  <a:lnTo>
                    <a:pt x="323" y="222"/>
                  </a:lnTo>
                  <a:lnTo>
                    <a:pt x="403" y="189"/>
                  </a:lnTo>
                  <a:lnTo>
                    <a:pt x="446" y="156"/>
                  </a:lnTo>
                  <a:lnTo>
                    <a:pt x="484" y="95"/>
                  </a:lnTo>
                  <a:lnTo>
                    <a:pt x="512" y="17"/>
                  </a:lnTo>
                  <a:lnTo>
                    <a:pt x="550" y="0"/>
                  </a:lnTo>
                  <a:lnTo>
                    <a:pt x="550" y="5"/>
                  </a:lnTo>
                  <a:lnTo>
                    <a:pt x="555" y="29"/>
                  </a:lnTo>
                  <a:lnTo>
                    <a:pt x="592" y="62"/>
                  </a:lnTo>
                  <a:lnTo>
                    <a:pt x="618" y="62"/>
                  </a:lnTo>
                  <a:lnTo>
                    <a:pt x="673" y="55"/>
                  </a:lnTo>
                  <a:lnTo>
                    <a:pt x="694" y="62"/>
                  </a:lnTo>
                  <a:lnTo>
                    <a:pt x="711" y="55"/>
                  </a:lnTo>
                  <a:lnTo>
                    <a:pt x="718" y="45"/>
                  </a:lnTo>
                  <a:lnTo>
                    <a:pt x="718" y="55"/>
                  </a:lnTo>
                  <a:lnTo>
                    <a:pt x="718" y="55"/>
                  </a:lnTo>
                  <a:lnTo>
                    <a:pt x="727" y="71"/>
                  </a:lnTo>
                  <a:lnTo>
                    <a:pt x="732" y="71"/>
                  </a:lnTo>
                  <a:lnTo>
                    <a:pt x="727" y="55"/>
                  </a:lnTo>
                  <a:lnTo>
                    <a:pt x="739" y="71"/>
                  </a:lnTo>
                  <a:lnTo>
                    <a:pt x="770" y="71"/>
                  </a:lnTo>
                  <a:lnTo>
                    <a:pt x="803" y="99"/>
                  </a:lnTo>
                  <a:lnTo>
                    <a:pt x="793" y="111"/>
                  </a:lnTo>
                  <a:lnTo>
                    <a:pt x="807" y="116"/>
                  </a:lnTo>
                  <a:lnTo>
                    <a:pt x="803" y="128"/>
                  </a:lnTo>
                  <a:lnTo>
                    <a:pt x="807" y="149"/>
                  </a:lnTo>
                  <a:lnTo>
                    <a:pt x="803" y="182"/>
                  </a:lnTo>
                  <a:lnTo>
                    <a:pt x="807" y="189"/>
                  </a:lnTo>
                  <a:lnTo>
                    <a:pt x="807" y="222"/>
                  </a:lnTo>
                  <a:lnTo>
                    <a:pt x="824" y="239"/>
                  </a:lnTo>
                  <a:lnTo>
                    <a:pt x="819" y="244"/>
                  </a:lnTo>
                  <a:lnTo>
                    <a:pt x="824" y="260"/>
                  </a:lnTo>
                  <a:lnTo>
                    <a:pt x="857" y="277"/>
                  </a:lnTo>
                  <a:lnTo>
                    <a:pt x="840" y="293"/>
                  </a:lnTo>
                  <a:lnTo>
                    <a:pt x="836" y="305"/>
                  </a:lnTo>
                  <a:lnTo>
                    <a:pt x="840" y="305"/>
                  </a:lnTo>
                  <a:lnTo>
                    <a:pt x="840" y="317"/>
                  </a:lnTo>
                  <a:lnTo>
                    <a:pt x="765" y="305"/>
                  </a:lnTo>
                  <a:lnTo>
                    <a:pt x="727" y="317"/>
                  </a:lnTo>
                  <a:lnTo>
                    <a:pt x="718" y="333"/>
                  </a:lnTo>
                  <a:lnTo>
                    <a:pt x="685" y="338"/>
                  </a:lnTo>
                  <a:lnTo>
                    <a:pt x="685" y="338"/>
                  </a:lnTo>
                  <a:lnTo>
                    <a:pt x="685" y="33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8" name="Freeform 509">
              <a:extLst>
                <a:ext uri="{FF2B5EF4-FFF2-40B4-BE49-F238E27FC236}">
                  <a16:creationId xmlns:a16="http://schemas.microsoft.com/office/drawing/2014/main" id="{F62CC9C7-8E7C-4BA3-9CAD-4E00B6F46A2B}"/>
                </a:ext>
              </a:extLst>
            </p:cNvPr>
            <p:cNvSpPr>
              <a:spLocks/>
            </p:cNvSpPr>
            <p:nvPr/>
          </p:nvSpPr>
          <p:spPr bwMode="gray">
            <a:xfrm>
              <a:off x="15059571" y="4592259"/>
              <a:ext cx="10146" cy="14074"/>
            </a:xfrm>
            <a:custGeom>
              <a:avLst/>
              <a:gdLst>
                <a:gd name="T0" fmla="*/ 16 w 31"/>
                <a:gd name="T1" fmla="*/ 43 h 43"/>
                <a:gd name="T2" fmla="*/ 0 w 31"/>
                <a:gd name="T3" fmla="*/ 31 h 43"/>
                <a:gd name="T4" fmla="*/ 9 w 31"/>
                <a:gd name="T5" fmla="*/ 17 h 43"/>
                <a:gd name="T6" fmla="*/ 21 w 31"/>
                <a:gd name="T7" fmla="*/ 0 h 43"/>
                <a:gd name="T8" fmla="*/ 31 w 31"/>
                <a:gd name="T9" fmla="*/ 26 h 43"/>
                <a:gd name="T10" fmla="*/ 21 w 31"/>
                <a:gd name="T11" fmla="*/ 31 h 43"/>
                <a:gd name="T12" fmla="*/ 16 w 31"/>
                <a:gd name="T13" fmla="*/ 43 h 43"/>
                <a:gd name="T14" fmla="*/ 16 w 31"/>
                <a:gd name="T15" fmla="*/ 43 h 43"/>
                <a:gd name="T16" fmla="*/ 16 w 31"/>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43">
                  <a:moveTo>
                    <a:pt x="16" y="43"/>
                  </a:moveTo>
                  <a:lnTo>
                    <a:pt x="0" y="31"/>
                  </a:lnTo>
                  <a:lnTo>
                    <a:pt x="9" y="17"/>
                  </a:lnTo>
                  <a:lnTo>
                    <a:pt x="21" y="0"/>
                  </a:lnTo>
                  <a:lnTo>
                    <a:pt x="31" y="26"/>
                  </a:lnTo>
                  <a:lnTo>
                    <a:pt x="21" y="31"/>
                  </a:lnTo>
                  <a:lnTo>
                    <a:pt x="16" y="43"/>
                  </a:lnTo>
                  <a:lnTo>
                    <a:pt x="16" y="43"/>
                  </a:lnTo>
                  <a:lnTo>
                    <a:pt x="16" y="4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9" name="Freeform 510">
              <a:extLst>
                <a:ext uri="{FF2B5EF4-FFF2-40B4-BE49-F238E27FC236}">
                  <a16:creationId xmlns:a16="http://schemas.microsoft.com/office/drawing/2014/main" id="{C6EF40F7-685B-4663-B05D-3E0AF59A5BCF}"/>
                </a:ext>
              </a:extLst>
            </p:cNvPr>
            <p:cNvSpPr>
              <a:spLocks noEditPoints="1"/>
            </p:cNvSpPr>
            <p:nvPr/>
          </p:nvSpPr>
          <p:spPr bwMode="gray">
            <a:xfrm>
              <a:off x="13351737" y="3454249"/>
              <a:ext cx="280493" cy="312241"/>
            </a:xfrm>
            <a:custGeom>
              <a:avLst/>
              <a:gdLst>
                <a:gd name="T0" fmla="*/ 805 w 857"/>
                <a:gd name="T1" fmla="*/ 815 h 954"/>
                <a:gd name="T2" fmla="*/ 810 w 857"/>
                <a:gd name="T3" fmla="*/ 898 h 954"/>
                <a:gd name="T4" fmla="*/ 541 w 857"/>
                <a:gd name="T5" fmla="*/ 881 h 954"/>
                <a:gd name="T6" fmla="*/ 534 w 857"/>
                <a:gd name="T7" fmla="*/ 898 h 954"/>
                <a:gd name="T8" fmla="*/ 449 w 857"/>
                <a:gd name="T9" fmla="*/ 898 h 954"/>
                <a:gd name="T10" fmla="*/ 394 w 857"/>
                <a:gd name="T11" fmla="*/ 881 h 954"/>
                <a:gd name="T12" fmla="*/ 361 w 857"/>
                <a:gd name="T13" fmla="*/ 942 h 954"/>
                <a:gd name="T14" fmla="*/ 340 w 857"/>
                <a:gd name="T15" fmla="*/ 942 h 954"/>
                <a:gd name="T16" fmla="*/ 297 w 857"/>
                <a:gd name="T17" fmla="*/ 909 h 954"/>
                <a:gd name="T18" fmla="*/ 286 w 857"/>
                <a:gd name="T19" fmla="*/ 898 h 954"/>
                <a:gd name="T20" fmla="*/ 269 w 857"/>
                <a:gd name="T21" fmla="*/ 881 h 954"/>
                <a:gd name="T22" fmla="*/ 248 w 857"/>
                <a:gd name="T23" fmla="*/ 848 h 954"/>
                <a:gd name="T24" fmla="*/ 231 w 857"/>
                <a:gd name="T25" fmla="*/ 843 h 954"/>
                <a:gd name="T26" fmla="*/ 194 w 857"/>
                <a:gd name="T27" fmla="*/ 810 h 954"/>
                <a:gd name="T28" fmla="*/ 104 w 857"/>
                <a:gd name="T29" fmla="*/ 815 h 954"/>
                <a:gd name="T30" fmla="*/ 38 w 857"/>
                <a:gd name="T31" fmla="*/ 848 h 954"/>
                <a:gd name="T32" fmla="*/ 71 w 857"/>
                <a:gd name="T33" fmla="*/ 732 h 954"/>
                <a:gd name="T34" fmla="*/ 66 w 857"/>
                <a:gd name="T35" fmla="*/ 643 h 954"/>
                <a:gd name="T36" fmla="*/ 54 w 857"/>
                <a:gd name="T37" fmla="*/ 593 h 954"/>
                <a:gd name="T38" fmla="*/ 54 w 857"/>
                <a:gd name="T39" fmla="*/ 572 h 954"/>
                <a:gd name="T40" fmla="*/ 38 w 857"/>
                <a:gd name="T41" fmla="*/ 510 h 954"/>
                <a:gd name="T42" fmla="*/ 33 w 857"/>
                <a:gd name="T43" fmla="*/ 510 h 954"/>
                <a:gd name="T44" fmla="*/ 0 w 857"/>
                <a:gd name="T45" fmla="*/ 498 h 954"/>
                <a:gd name="T46" fmla="*/ 194 w 857"/>
                <a:gd name="T47" fmla="*/ 461 h 954"/>
                <a:gd name="T48" fmla="*/ 281 w 857"/>
                <a:gd name="T49" fmla="*/ 338 h 954"/>
                <a:gd name="T50" fmla="*/ 357 w 857"/>
                <a:gd name="T51" fmla="*/ 300 h 954"/>
                <a:gd name="T52" fmla="*/ 588 w 857"/>
                <a:gd name="T53" fmla="*/ 106 h 954"/>
                <a:gd name="T54" fmla="*/ 857 w 857"/>
                <a:gd name="T55" fmla="*/ 184 h 954"/>
                <a:gd name="T56" fmla="*/ 751 w 857"/>
                <a:gd name="T57" fmla="*/ 333 h 954"/>
                <a:gd name="T58" fmla="*/ 751 w 857"/>
                <a:gd name="T59" fmla="*/ 333 h 954"/>
                <a:gd name="T60" fmla="*/ 38 w 857"/>
                <a:gd name="T61" fmla="*/ 576 h 954"/>
                <a:gd name="T62" fmla="*/ 49 w 857"/>
                <a:gd name="T63" fmla="*/ 588 h 954"/>
                <a:gd name="T64" fmla="*/ 49 w 857"/>
                <a:gd name="T65" fmla="*/ 58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7" h="954">
                  <a:moveTo>
                    <a:pt x="751" y="333"/>
                  </a:moveTo>
                  <a:lnTo>
                    <a:pt x="805" y="815"/>
                  </a:lnTo>
                  <a:lnTo>
                    <a:pt x="827" y="831"/>
                  </a:lnTo>
                  <a:lnTo>
                    <a:pt x="810" y="898"/>
                  </a:lnTo>
                  <a:lnTo>
                    <a:pt x="541" y="898"/>
                  </a:lnTo>
                  <a:lnTo>
                    <a:pt x="541" y="881"/>
                  </a:lnTo>
                  <a:lnTo>
                    <a:pt x="534" y="886"/>
                  </a:lnTo>
                  <a:lnTo>
                    <a:pt x="534" y="898"/>
                  </a:lnTo>
                  <a:lnTo>
                    <a:pt x="496" y="902"/>
                  </a:lnTo>
                  <a:lnTo>
                    <a:pt x="449" y="898"/>
                  </a:lnTo>
                  <a:lnTo>
                    <a:pt x="432" y="921"/>
                  </a:lnTo>
                  <a:lnTo>
                    <a:pt x="394" y="881"/>
                  </a:lnTo>
                  <a:lnTo>
                    <a:pt x="378" y="886"/>
                  </a:lnTo>
                  <a:lnTo>
                    <a:pt x="361" y="942"/>
                  </a:lnTo>
                  <a:lnTo>
                    <a:pt x="352" y="954"/>
                  </a:lnTo>
                  <a:lnTo>
                    <a:pt x="340" y="942"/>
                  </a:lnTo>
                  <a:lnTo>
                    <a:pt x="319" y="926"/>
                  </a:lnTo>
                  <a:lnTo>
                    <a:pt x="297" y="909"/>
                  </a:lnTo>
                  <a:lnTo>
                    <a:pt x="297" y="902"/>
                  </a:lnTo>
                  <a:lnTo>
                    <a:pt x="286" y="898"/>
                  </a:lnTo>
                  <a:lnTo>
                    <a:pt x="281" y="898"/>
                  </a:lnTo>
                  <a:lnTo>
                    <a:pt x="269" y="881"/>
                  </a:lnTo>
                  <a:lnTo>
                    <a:pt x="255" y="848"/>
                  </a:lnTo>
                  <a:lnTo>
                    <a:pt x="248" y="848"/>
                  </a:lnTo>
                  <a:lnTo>
                    <a:pt x="243" y="848"/>
                  </a:lnTo>
                  <a:lnTo>
                    <a:pt x="231" y="843"/>
                  </a:lnTo>
                  <a:lnTo>
                    <a:pt x="227" y="848"/>
                  </a:lnTo>
                  <a:lnTo>
                    <a:pt x="194" y="810"/>
                  </a:lnTo>
                  <a:lnTo>
                    <a:pt x="146" y="798"/>
                  </a:lnTo>
                  <a:lnTo>
                    <a:pt x="104" y="815"/>
                  </a:lnTo>
                  <a:lnTo>
                    <a:pt x="54" y="815"/>
                  </a:lnTo>
                  <a:lnTo>
                    <a:pt x="38" y="848"/>
                  </a:lnTo>
                  <a:lnTo>
                    <a:pt x="38" y="810"/>
                  </a:lnTo>
                  <a:lnTo>
                    <a:pt x="71" y="732"/>
                  </a:lnTo>
                  <a:lnTo>
                    <a:pt x="71" y="676"/>
                  </a:lnTo>
                  <a:lnTo>
                    <a:pt x="66" y="643"/>
                  </a:lnTo>
                  <a:lnTo>
                    <a:pt x="38" y="605"/>
                  </a:lnTo>
                  <a:lnTo>
                    <a:pt x="54" y="593"/>
                  </a:lnTo>
                  <a:lnTo>
                    <a:pt x="38" y="605"/>
                  </a:lnTo>
                  <a:lnTo>
                    <a:pt x="54" y="572"/>
                  </a:lnTo>
                  <a:lnTo>
                    <a:pt x="66" y="539"/>
                  </a:lnTo>
                  <a:lnTo>
                    <a:pt x="38" y="510"/>
                  </a:lnTo>
                  <a:lnTo>
                    <a:pt x="38" y="515"/>
                  </a:lnTo>
                  <a:lnTo>
                    <a:pt x="33" y="510"/>
                  </a:lnTo>
                  <a:lnTo>
                    <a:pt x="12" y="465"/>
                  </a:lnTo>
                  <a:lnTo>
                    <a:pt x="0" y="498"/>
                  </a:lnTo>
                  <a:lnTo>
                    <a:pt x="12" y="461"/>
                  </a:lnTo>
                  <a:lnTo>
                    <a:pt x="194" y="461"/>
                  </a:lnTo>
                  <a:lnTo>
                    <a:pt x="286" y="461"/>
                  </a:lnTo>
                  <a:lnTo>
                    <a:pt x="281" y="338"/>
                  </a:lnTo>
                  <a:lnTo>
                    <a:pt x="319" y="312"/>
                  </a:lnTo>
                  <a:lnTo>
                    <a:pt x="357" y="300"/>
                  </a:lnTo>
                  <a:lnTo>
                    <a:pt x="357" y="106"/>
                  </a:lnTo>
                  <a:lnTo>
                    <a:pt x="588" y="106"/>
                  </a:lnTo>
                  <a:lnTo>
                    <a:pt x="588" y="0"/>
                  </a:lnTo>
                  <a:lnTo>
                    <a:pt x="857" y="184"/>
                  </a:lnTo>
                  <a:lnTo>
                    <a:pt x="734" y="184"/>
                  </a:lnTo>
                  <a:lnTo>
                    <a:pt x="751" y="333"/>
                  </a:lnTo>
                  <a:lnTo>
                    <a:pt x="751" y="333"/>
                  </a:lnTo>
                  <a:lnTo>
                    <a:pt x="751" y="333"/>
                  </a:lnTo>
                  <a:close/>
                  <a:moveTo>
                    <a:pt x="49" y="588"/>
                  </a:moveTo>
                  <a:lnTo>
                    <a:pt x="38" y="576"/>
                  </a:lnTo>
                  <a:lnTo>
                    <a:pt x="49" y="572"/>
                  </a:lnTo>
                  <a:lnTo>
                    <a:pt x="49" y="588"/>
                  </a:lnTo>
                  <a:lnTo>
                    <a:pt x="49" y="588"/>
                  </a:lnTo>
                  <a:lnTo>
                    <a:pt x="49" y="58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0" name="Freeform 511">
              <a:extLst>
                <a:ext uri="{FF2B5EF4-FFF2-40B4-BE49-F238E27FC236}">
                  <a16:creationId xmlns:a16="http://schemas.microsoft.com/office/drawing/2014/main" id="{FE7CC3D5-EBEF-4168-A95C-702C769621A6}"/>
                </a:ext>
              </a:extLst>
            </p:cNvPr>
            <p:cNvSpPr>
              <a:spLocks noEditPoints="1"/>
            </p:cNvSpPr>
            <p:nvPr/>
          </p:nvSpPr>
          <p:spPr bwMode="gray">
            <a:xfrm>
              <a:off x="14069171" y="3225468"/>
              <a:ext cx="7855" cy="8510"/>
            </a:xfrm>
            <a:custGeom>
              <a:avLst/>
              <a:gdLst>
                <a:gd name="T0" fmla="*/ 7 w 24"/>
                <a:gd name="T1" fmla="*/ 12 h 26"/>
                <a:gd name="T2" fmla="*/ 0 w 24"/>
                <a:gd name="T3" fmla="*/ 0 h 26"/>
                <a:gd name="T4" fmla="*/ 7 w 24"/>
                <a:gd name="T5" fmla="*/ 0 h 26"/>
                <a:gd name="T6" fmla="*/ 7 w 24"/>
                <a:gd name="T7" fmla="*/ 12 h 26"/>
                <a:gd name="T8" fmla="*/ 7 w 24"/>
                <a:gd name="T9" fmla="*/ 12 h 26"/>
                <a:gd name="T10" fmla="*/ 7 w 24"/>
                <a:gd name="T11" fmla="*/ 12 h 26"/>
                <a:gd name="T12" fmla="*/ 24 w 24"/>
                <a:gd name="T13" fmla="*/ 26 h 26"/>
                <a:gd name="T14" fmla="*/ 7 w 24"/>
                <a:gd name="T15" fmla="*/ 16 h 26"/>
                <a:gd name="T16" fmla="*/ 7 w 24"/>
                <a:gd name="T17" fmla="*/ 12 h 26"/>
                <a:gd name="T18" fmla="*/ 24 w 24"/>
                <a:gd name="T19" fmla="*/ 16 h 26"/>
                <a:gd name="T20" fmla="*/ 24 w 24"/>
                <a:gd name="T21" fmla="*/ 26 h 26"/>
                <a:gd name="T22" fmla="*/ 24 w 24"/>
                <a:gd name="T23" fmla="*/ 26 h 26"/>
                <a:gd name="T24" fmla="*/ 24 w 24"/>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6">
                  <a:moveTo>
                    <a:pt x="7" y="12"/>
                  </a:moveTo>
                  <a:lnTo>
                    <a:pt x="0" y="0"/>
                  </a:lnTo>
                  <a:lnTo>
                    <a:pt x="7" y="0"/>
                  </a:lnTo>
                  <a:lnTo>
                    <a:pt x="7" y="12"/>
                  </a:lnTo>
                  <a:lnTo>
                    <a:pt x="7" y="12"/>
                  </a:lnTo>
                  <a:lnTo>
                    <a:pt x="7" y="12"/>
                  </a:lnTo>
                  <a:close/>
                  <a:moveTo>
                    <a:pt x="24" y="26"/>
                  </a:moveTo>
                  <a:lnTo>
                    <a:pt x="7" y="16"/>
                  </a:lnTo>
                  <a:lnTo>
                    <a:pt x="7" y="12"/>
                  </a:lnTo>
                  <a:lnTo>
                    <a:pt x="24" y="16"/>
                  </a:lnTo>
                  <a:lnTo>
                    <a:pt x="24" y="26"/>
                  </a:lnTo>
                  <a:lnTo>
                    <a:pt x="24" y="26"/>
                  </a:lnTo>
                  <a:lnTo>
                    <a:pt x="24" y="2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1" name="Freeform 512">
              <a:extLst>
                <a:ext uri="{FF2B5EF4-FFF2-40B4-BE49-F238E27FC236}">
                  <a16:creationId xmlns:a16="http://schemas.microsoft.com/office/drawing/2014/main" id="{5C408360-0E4F-4384-904A-091C3279518A}"/>
                </a:ext>
              </a:extLst>
            </p:cNvPr>
            <p:cNvSpPr>
              <a:spLocks noEditPoints="1"/>
            </p:cNvSpPr>
            <p:nvPr/>
          </p:nvSpPr>
          <p:spPr bwMode="gray">
            <a:xfrm>
              <a:off x="14938798" y="3476832"/>
              <a:ext cx="178704" cy="241872"/>
            </a:xfrm>
            <a:custGeom>
              <a:avLst/>
              <a:gdLst>
                <a:gd name="T0" fmla="*/ 282 w 546"/>
                <a:gd name="T1" fmla="*/ 56 h 739"/>
                <a:gd name="T2" fmla="*/ 282 w 546"/>
                <a:gd name="T3" fmla="*/ 23 h 739"/>
                <a:gd name="T4" fmla="*/ 307 w 546"/>
                <a:gd name="T5" fmla="*/ 16 h 739"/>
                <a:gd name="T6" fmla="*/ 298 w 546"/>
                <a:gd name="T7" fmla="*/ 0 h 739"/>
                <a:gd name="T8" fmla="*/ 307 w 546"/>
                <a:gd name="T9" fmla="*/ 7 h 739"/>
                <a:gd name="T10" fmla="*/ 298 w 546"/>
                <a:gd name="T11" fmla="*/ 16 h 739"/>
                <a:gd name="T12" fmla="*/ 298 w 546"/>
                <a:gd name="T13" fmla="*/ 56 h 739"/>
                <a:gd name="T14" fmla="*/ 298 w 546"/>
                <a:gd name="T15" fmla="*/ 56 h 739"/>
                <a:gd name="T16" fmla="*/ 0 w 546"/>
                <a:gd name="T17" fmla="*/ 562 h 739"/>
                <a:gd name="T18" fmla="*/ 253 w 546"/>
                <a:gd name="T19" fmla="*/ 333 h 739"/>
                <a:gd name="T20" fmla="*/ 222 w 546"/>
                <a:gd name="T21" fmla="*/ 255 h 739"/>
                <a:gd name="T22" fmla="*/ 244 w 546"/>
                <a:gd name="T23" fmla="*/ 184 h 739"/>
                <a:gd name="T24" fmla="*/ 274 w 546"/>
                <a:gd name="T25" fmla="*/ 167 h 739"/>
                <a:gd name="T26" fmla="*/ 260 w 546"/>
                <a:gd name="T27" fmla="*/ 118 h 739"/>
                <a:gd name="T28" fmla="*/ 282 w 546"/>
                <a:gd name="T29" fmla="*/ 118 h 739"/>
                <a:gd name="T30" fmla="*/ 282 w 546"/>
                <a:gd name="T31" fmla="*/ 127 h 739"/>
                <a:gd name="T32" fmla="*/ 298 w 546"/>
                <a:gd name="T33" fmla="*/ 111 h 739"/>
                <a:gd name="T34" fmla="*/ 362 w 546"/>
                <a:gd name="T35" fmla="*/ 188 h 739"/>
                <a:gd name="T36" fmla="*/ 459 w 546"/>
                <a:gd name="T37" fmla="*/ 212 h 739"/>
                <a:gd name="T38" fmla="*/ 546 w 546"/>
                <a:gd name="T39" fmla="*/ 295 h 739"/>
                <a:gd name="T40" fmla="*/ 513 w 546"/>
                <a:gd name="T41" fmla="*/ 382 h 739"/>
                <a:gd name="T42" fmla="*/ 454 w 546"/>
                <a:gd name="T43" fmla="*/ 451 h 739"/>
                <a:gd name="T44" fmla="*/ 437 w 546"/>
                <a:gd name="T45" fmla="*/ 444 h 739"/>
                <a:gd name="T46" fmla="*/ 404 w 546"/>
                <a:gd name="T47" fmla="*/ 467 h 739"/>
                <a:gd name="T48" fmla="*/ 404 w 546"/>
                <a:gd name="T49" fmla="*/ 562 h 739"/>
                <a:gd name="T50" fmla="*/ 329 w 546"/>
                <a:gd name="T51" fmla="*/ 578 h 739"/>
                <a:gd name="T52" fmla="*/ 312 w 546"/>
                <a:gd name="T53" fmla="*/ 628 h 739"/>
                <a:gd name="T54" fmla="*/ 237 w 546"/>
                <a:gd name="T55" fmla="*/ 649 h 739"/>
                <a:gd name="T56" fmla="*/ 227 w 546"/>
                <a:gd name="T57" fmla="*/ 682 h 739"/>
                <a:gd name="T58" fmla="*/ 189 w 546"/>
                <a:gd name="T59" fmla="*/ 715 h 739"/>
                <a:gd name="T60" fmla="*/ 147 w 546"/>
                <a:gd name="T61" fmla="*/ 706 h 739"/>
                <a:gd name="T62" fmla="*/ 76 w 546"/>
                <a:gd name="T63" fmla="*/ 739 h 739"/>
                <a:gd name="T64" fmla="*/ 76 w 546"/>
                <a:gd name="T65" fmla="*/ 739 h 739"/>
                <a:gd name="T66" fmla="*/ 459 w 546"/>
                <a:gd name="T67" fmla="*/ 460 h 739"/>
                <a:gd name="T68" fmla="*/ 487 w 546"/>
                <a:gd name="T69" fmla="*/ 451 h 739"/>
                <a:gd name="T70" fmla="*/ 459 w 546"/>
                <a:gd name="T71" fmla="*/ 477 h 739"/>
                <a:gd name="T72" fmla="*/ 274 w 546"/>
                <a:gd name="T73" fmla="*/ 673 h 739"/>
                <a:gd name="T74" fmla="*/ 282 w 546"/>
                <a:gd name="T75" fmla="*/ 673 h 739"/>
                <a:gd name="T76" fmla="*/ 274 w 546"/>
                <a:gd name="T77" fmla="*/ 673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6" h="739">
                  <a:moveTo>
                    <a:pt x="298" y="56"/>
                  </a:moveTo>
                  <a:lnTo>
                    <a:pt x="282" y="56"/>
                  </a:lnTo>
                  <a:lnTo>
                    <a:pt x="291" y="33"/>
                  </a:lnTo>
                  <a:lnTo>
                    <a:pt x="282" y="23"/>
                  </a:lnTo>
                  <a:lnTo>
                    <a:pt x="291" y="7"/>
                  </a:lnTo>
                  <a:lnTo>
                    <a:pt x="307" y="16"/>
                  </a:lnTo>
                  <a:lnTo>
                    <a:pt x="298" y="16"/>
                  </a:lnTo>
                  <a:lnTo>
                    <a:pt x="298" y="0"/>
                  </a:lnTo>
                  <a:lnTo>
                    <a:pt x="312" y="0"/>
                  </a:lnTo>
                  <a:lnTo>
                    <a:pt x="307" y="7"/>
                  </a:lnTo>
                  <a:lnTo>
                    <a:pt x="307" y="16"/>
                  </a:lnTo>
                  <a:lnTo>
                    <a:pt x="298" y="16"/>
                  </a:lnTo>
                  <a:lnTo>
                    <a:pt x="307" y="23"/>
                  </a:lnTo>
                  <a:lnTo>
                    <a:pt x="298" y="56"/>
                  </a:lnTo>
                  <a:lnTo>
                    <a:pt x="298" y="56"/>
                  </a:lnTo>
                  <a:lnTo>
                    <a:pt x="298" y="56"/>
                  </a:lnTo>
                  <a:close/>
                  <a:moveTo>
                    <a:pt x="76" y="739"/>
                  </a:moveTo>
                  <a:lnTo>
                    <a:pt x="0" y="562"/>
                  </a:lnTo>
                  <a:lnTo>
                    <a:pt x="206" y="484"/>
                  </a:lnTo>
                  <a:lnTo>
                    <a:pt x="253" y="333"/>
                  </a:lnTo>
                  <a:lnTo>
                    <a:pt x="222" y="283"/>
                  </a:lnTo>
                  <a:lnTo>
                    <a:pt x="222" y="255"/>
                  </a:lnTo>
                  <a:lnTo>
                    <a:pt x="244" y="200"/>
                  </a:lnTo>
                  <a:lnTo>
                    <a:pt x="244" y="184"/>
                  </a:lnTo>
                  <a:lnTo>
                    <a:pt x="274" y="172"/>
                  </a:lnTo>
                  <a:lnTo>
                    <a:pt x="274" y="167"/>
                  </a:lnTo>
                  <a:lnTo>
                    <a:pt x="260" y="167"/>
                  </a:lnTo>
                  <a:lnTo>
                    <a:pt x="260" y="118"/>
                  </a:lnTo>
                  <a:lnTo>
                    <a:pt x="274" y="111"/>
                  </a:lnTo>
                  <a:lnTo>
                    <a:pt x="282" y="118"/>
                  </a:lnTo>
                  <a:lnTo>
                    <a:pt x="274" y="118"/>
                  </a:lnTo>
                  <a:lnTo>
                    <a:pt x="282" y="127"/>
                  </a:lnTo>
                  <a:lnTo>
                    <a:pt x="298" y="118"/>
                  </a:lnTo>
                  <a:lnTo>
                    <a:pt x="298" y="111"/>
                  </a:lnTo>
                  <a:lnTo>
                    <a:pt x="324" y="151"/>
                  </a:lnTo>
                  <a:lnTo>
                    <a:pt x="362" y="188"/>
                  </a:lnTo>
                  <a:lnTo>
                    <a:pt x="437" y="212"/>
                  </a:lnTo>
                  <a:lnTo>
                    <a:pt x="459" y="212"/>
                  </a:lnTo>
                  <a:lnTo>
                    <a:pt x="513" y="283"/>
                  </a:lnTo>
                  <a:lnTo>
                    <a:pt x="546" y="295"/>
                  </a:lnTo>
                  <a:lnTo>
                    <a:pt x="546" y="316"/>
                  </a:lnTo>
                  <a:lnTo>
                    <a:pt x="513" y="382"/>
                  </a:lnTo>
                  <a:lnTo>
                    <a:pt x="475" y="411"/>
                  </a:lnTo>
                  <a:lnTo>
                    <a:pt x="454" y="451"/>
                  </a:lnTo>
                  <a:lnTo>
                    <a:pt x="433" y="460"/>
                  </a:lnTo>
                  <a:lnTo>
                    <a:pt x="437" y="444"/>
                  </a:lnTo>
                  <a:lnTo>
                    <a:pt x="433" y="444"/>
                  </a:lnTo>
                  <a:lnTo>
                    <a:pt x="404" y="467"/>
                  </a:lnTo>
                  <a:lnTo>
                    <a:pt x="388" y="505"/>
                  </a:lnTo>
                  <a:lnTo>
                    <a:pt x="404" y="562"/>
                  </a:lnTo>
                  <a:lnTo>
                    <a:pt x="362" y="571"/>
                  </a:lnTo>
                  <a:lnTo>
                    <a:pt x="329" y="578"/>
                  </a:lnTo>
                  <a:lnTo>
                    <a:pt x="324" y="595"/>
                  </a:lnTo>
                  <a:lnTo>
                    <a:pt x="312" y="628"/>
                  </a:lnTo>
                  <a:lnTo>
                    <a:pt x="298" y="644"/>
                  </a:lnTo>
                  <a:lnTo>
                    <a:pt x="237" y="649"/>
                  </a:lnTo>
                  <a:lnTo>
                    <a:pt x="222" y="673"/>
                  </a:lnTo>
                  <a:lnTo>
                    <a:pt x="227" y="682"/>
                  </a:lnTo>
                  <a:lnTo>
                    <a:pt x="206" y="706"/>
                  </a:lnTo>
                  <a:lnTo>
                    <a:pt x="189" y="715"/>
                  </a:lnTo>
                  <a:lnTo>
                    <a:pt x="173" y="706"/>
                  </a:lnTo>
                  <a:lnTo>
                    <a:pt x="147" y="706"/>
                  </a:lnTo>
                  <a:lnTo>
                    <a:pt x="109" y="727"/>
                  </a:lnTo>
                  <a:lnTo>
                    <a:pt x="76" y="739"/>
                  </a:lnTo>
                  <a:lnTo>
                    <a:pt x="76" y="739"/>
                  </a:lnTo>
                  <a:lnTo>
                    <a:pt x="76" y="739"/>
                  </a:lnTo>
                  <a:close/>
                  <a:moveTo>
                    <a:pt x="459" y="477"/>
                  </a:moveTo>
                  <a:lnTo>
                    <a:pt x="459" y="460"/>
                  </a:lnTo>
                  <a:lnTo>
                    <a:pt x="487" y="439"/>
                  </a:lnTo>
                  <a:lnTo>
                    <a:pt x="487" y="451"/>
                  </a:lnTo>
                  <a:lnTo>
                    <a:pt x="459" y="477"/>
                  </a:lnTo>
                  <a:lnTo>
                    <a:pt x="459" y="477"/>
                  </a:lnTo>
                  <a:lnTo>
                    <a:pt x="459" y="477"/>
                  </a:lnTo>
                  <a:close/>
                  <a:moveTo>
                    <a:pt x="274" y="673"/>
                  </a:moveTo>
                  <a:lnTo>
                    <a:pt x="274" y="673"/>
                  </a:lnTo>
                  <a:lnTo>
                    <a:pt x="282" y="673"/>
                  </a:lnTo>
                  <a:lnTo>
                    <a:pt x="274" y="673"/>
                  </a:lnTo>
                  <a:lnTo>
                    <a:pt x="274" y="673"/>
                  </a:lnTo>
                  <a:lnTo>
                    <a:pt x="274" y="67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2" name="Freeform 513">
              <a:extLst>
                <a:ext uri="{FF2B5EF4-FFF2-40B4-BE49-F238E27FC236}">
                  <a16:creationId xmlns:a16="http://schemas.microsoft.com/office/drawing/2014/main" id="{3FEA7E3D-4199-4A3E-9D67-A82FB93519C8}"/>
                </a:ext>
              </a:extLst>
            </p:cNvPr>
            <p:cNvSpPr>
              <a:spLocks/>
            </p:cNvSpPr>
            <p:nvPr/>
          </p:nvSpPr>
          <p:spPr bwMode="gray">
            <a:xfrm>
              <a:off x="14168996" y="3017308"/>
              <a:ext cx="42549" cy="48113"/>
            </a:xfrm>
            <a:custGeom>
              <a:avLst/>
              <a:gdLst>
                <a:gd name="T0" fmla="*/ 0 w 130"/>
                <a:gd name="T1" fmla="*/ 90 h 147"/>
                <a:gd name="T2" fmla="*/ 7 w 130"/>
                <a:gd name="T3" fmla="*/ 81 h 147"/>
                <a:gd name="T4" fmla="*/ 0 w 130"/>
                <a:gd name="T5" fmla="*/ 62 h 147"/>
                <a:gd name="T6" fmla="*/ 0 w 130"/>
                <a:gd name="T7" fmla="*/ 45 h 147"/>
                <a:gd name="T8" fmla="*/ 16 w 130"/>
                <a:gd name="T9" fmla="*/ 41 h 147"/>
                <a:gd name="T10" fmla="*/ 16 w 130"/>
                <a:gd name="T11" fmla="*/ 24 h 147"/>
                <a:gd name="T12" fmla="*/ 28 w 130"/>
                <a:gd name="T13" fmla="*/ 17 h 147"/>
                <a:gd name="T14" fmla="*/ 37 w 130"/>
                <a:gd name="T15" fmla="*/ 24 h 147"/>
                <a:gd name="T16" fmla="*/ 45 w 130"/>
                <a:gd name="T17" fmla="*/ 17 h 147"/>
                <a:gd name="T18" fmla="*/ 28 w 130"/>
                <a:gd name="T19" fmla="*/ 0 h 147"/>
                <a:gd name="T20" fmla="*/ 54 w 130"/>
                <a:gd name="T21" fmla="*/ 0 h 147"/>
                <a:gd name="T22" fmla="*/ 87 w 130"/>
                <a:gd name="T23" fmla="*/ 36 h 147"/>
                <a:gd name="T24" fmla="*/ 130 w 130"/>
                <a:gd name="T25" fmla="*/ 57 h 147"/>
                <a:gd name="T26" fmla="*/ 130 w 130"/>
                <a:gd name="T27" fmla="*/ 62 h 147"/>
                <a:gd name="T28" fmla="*/ 125 w 130"/>
                <a:gd name="T29" fmla="*/ 62 h 147"/>
                <a:gd name="T30" fmla="*/ 108 w 130"/>
                <a:gd name="T31" fmla="*/ 74 h 147"/>
                <a:gd name="T32" fmla="*/ 113 w 130"/>
                <a:gd name="T33" fmla="*/ 81 h 147"/>
                <a:gd name="T34" fmla="*/ 108 w 130"/>
                <a:gd name="T35" fmla="*/ 90 h 147"/>
                <a:gd name="T36" fmla="*/ 92 w 130"/>
                <a:gd name="T37" fmla="*/ 97 h 147"/>
                <a:gd name="T38" fmla="*/ 92 w 130"/>
                <a:gd name="T39" fmla="*/ 81 h 147"/>
                <a:gd name="T40" fmla="*/ 87 w 130"/>
                <a:gd name="T41" fmla="*/ 81 h 147"/>
                <a:gd name="T42" fmla="*/ 54 w 130"/>
                <a:gd name="T43" fmla="*/ 118 h 147"/>
                <a:gd name="T44" fmla="*/ 59 w 130"/>
                <a:gd name="T45" fmla="*/ 130 h 147"/>
                <a:gd name="T46" fmla="*/ 59 w 130"/>
                <a:gd name="T47" fmla="*/ 147 h 147"/>
                <a:gd name="T48" fmla="*/ 45 w 130"/>
                <a:gd name="T49" fmla="*/ 135 h 147"/>
                <a:gd name="T50" fmla="*/ 28 w 130"/>
                <a:gd name="T51" fmla="*/ 114 h 147"/>
                <a:gd name="T52" fmla="*/ 7 w 130"/>
                <a:gd name="T53" fmla="*/ 97 h 147"/>
                <a:gd name="T54" fmla="*/ 16 w 130"/>
                <a:gd name="T55" fmla="*/ 102 h 147"/>
                <a:gd name="T56" fmla="*/ 16 w 130"/>
                <a:gd name="T57" fmla="*/ 97 h 147"/>
                <a:gd name="T58" fmla="*/ 0 w 130"/>
                <a:gd name="T59" fmla="*/ 97 h 147"/>
                <a:gd name="T60" fmla="*/ 0 w 130"/>
                <a:gd name="T61" fmla="*/ 90 h 147"/>
                <a:gd name="T62" fmla="*/ 0 w 130"/>
                <a:gd name="T63" fmla="*/ 90 h 147"/>
                <a:gd name="T64" fmla="*/ 0 w 130"/>
                <a:gd name="T65" fmla="*/ 9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 h="147">
                  <a:moveTo>
                    <a:pt x="0" y="90"/>
                  </a:moveTo>
                  <a:lnTo>
                    <a:pt x="7" y="81"/>
                  </a:lnTo>
                  <a:lnTo>
                    <a:pt x="0" y="62"/>
                  </a:lnTo>
                  <a:lnTo>
                    <a:pt x="0" y="45"/>
                  </a:lnTo>
                  <a:lnTo>
                    <a:pt x="16" y="41"/>
                  </a:lnTo>
                  <a:lnTo>
                    <a:pt x="16" y="24"/>
                  </a:lnTo>
                  <a:lnTo>
                    <a:pt x="28" y="17"/>
                  </a:lnTo>
                  <a:lnTo>
                    <a:pt x="37" y="24"/>
                  </a:lnTo>
                  <a:lnTo>
                    <a:pt x="45" y="17"/>
                  </a:lnTo>
                  <a:lnTo>
                    <a:pt x="28" y="0"/>
                  </a:lnTo>
                  <a:lnTo>
                    <a:pt x="54" y="0"/>
                  </a:lnTo>
                  <a:lnTo>
                    <a:pt x="87" y="36"/>
                  </a:lnTo>
                  <a:lnTo>
                    <a:pt x="130" y="57"/>
                  </a:lnTo>
                  <a:lnTo>
                    <a:pt x="130" y="62"/>
                  </a:lnTo>
                  <a:lnTo>
                    <a:pt x="125" y="62"/>
                  </a:lnTo>
                  <a:lnTo>
                    <a:pt x="108" y="74"/>
                  </a:lnTo>
                  <a:lnTo>
                    <a:pt x="113" y="81"/>
                  </a:lnTo>
                  <a:lnTo>
                    <a:pt x="108" y="90"/>
                  </a:lnTo>
                  <a:lnTo>
                    <a:pt x="92" y="97"/>
                  </a:lnTo>
                  <a:lnTo>
                    <a:pt x="92" y="81"/>
                  </a:lnTo>
                  <a:lnTo>
                    <a:pt x="87" y="81"/>
                  </a:lnTo>
                  <a:lnTo>
                    <a:pt x="54" y="118"/>
                  </a:lnTo>
                  <a:lnTo>
                    <a:pt x="59" y="130"/>
                  </a:lnTo>
                  <a:lnTo>
                    <a:pt x="59" y="147"/>
                  </a:lnTo>
                  <a:lnTo>
                    <a:pt x="45" y="135"/>
                  </a:lnTo>
                  <a:lnTo>
                    <a:pt x="28" y="114"/>
                  </a:lnTo>
                  <a:lnTo>
                    <a:pt x="7" y="97"/>
                  </a:lnTo>
                  <a:lnTo>
                    <a:pt x="16" y="102"/>
                  </a:lnTo>
                  <a:lnTo>
                    <a:pt x="16" y="97"/>
                  </a:lnTo>
                  <a:lnTo>
                    <a:pt x="0" y="97"/>
                  </a:lnTo>
                  <a:lnTo>
                    <a:pt x="0" y="90"/>
                  </a:lnTo>
                  <a:lnTo>
                    <a:pt x="0" y="90"/>
                  </a:lnTo>
                  <a:lnTo>
                    <a:pt x="0" y="9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3" name="Freeform 514">
              <a:extLst>
                <a:ext uri="{FF2B5EF4-FFF2-40B4-BE49-F238E27FC236}">
                  <a16:creationId xmlns:a16="http://schemas.microsoft.com/office/drawing/2014/main" id="{827559AD-1692-4437-8052-51E6A9DE0198}"/>
                </a:ext>
              </a:extLst>
            </p:cNvPr>
            <p:cNvSpPr>
              <a:spLocks noEditPoints="1"/>
            </p:cNvSpPr>
            <p:nvPr/>
          </p:nvSpPr>
          <p:spPr bwMode="gray">
            <a:xfrm>
              <a:off x="11027603" y="3314166"/>
              <a:ext cx="722998" cy="453306"/>
            </a:xfrm>
            <a:custGeom>
              <a:avLst/>
              <a:gdLst>
                <a:gd name="T0" fmla="*/ 1918 w 2209"/>
                <a:gd name="T1" fmla="*/ 1146 h 1385"/>
                <a:gd name="T2" fmla="*/ 1864 w 2209"/>
                <a:gd name="T3" fmla="*/ 1274 h 1385"/>
                <a:gd name="T4" fmla="*/ 1708 w 2209"/>
                <a:gd name="T5" fmla="*/ 1274 h 1385"/>
                <a:gd name="T6" fmla="*/ 1649 w 2209"/>
                <a:gd name="T7" fmla="*/ 1269 h 1385"/>
                <a:gd name="T8" fmla="*/ 1481 w 2209"/>
                <a:gd name="T9" fmla="*/ 1293 h 1385"/>
                <a:gd name="T10" fmla="*/ 1217 w 2209"/>
                <a:gd name="T11" fmla="*/ 1186 h 1385"/>
                <a:gd name="T12" fmla="*/ 900 w 2209"/>
                <a:gd name="T13" fmla="*/ 993 h 1385"/>
                <a:gd name="T14" fmla="*/ 900 w 2209"/>
                <a:gd name="T15" fmla="*/ 865 h 1385"/>
                <a:gd name="T16" fmla="*/ 754 w 2209"/>
                <a:gd name="T17" fmla="*/ 648 h 1385"/>
                <a:gd name="T18" fmla="*/ 728 w 2209"/>
                <a:gd name="T19" fmla="*/ 610 h 1385"/>
                <a:gd name="T20" fmla="*/ 695 w 2209"/>
                <a:gd name="T21" fmla="*/ 586 h 1385"/>
                <a:gd name="T22" fmla="*/ 673 w 2209"/>
                <a:gd name="T23" fmla="*/ 544 h 1385"/>
                <a:gd name="T24" fmla="*/ 624 w 2209"/>
                <a:gd name="T25" fmla="*/ 475 h 1385"/>
                <a:gd name="T26" fmla="*/ 548 w 2209"/>
                <a:gd name="T27" fmla="*/ 388 h 1385"/>
                <a:gd name="T28" fmla="*/ 430 w 2209"/>
                <a:gd name="T29" fmla="*/ 298 h 1385"/>
                <a:gd name="T30" fmla="*/ 371 w 2209"/>
                <a:gd name="T31" fmla="*/ 116 h 1385"/>
                <a:gd name="T32" fmla="*/ 253 w 2209"/>
                <a:gd name="T33" fmla="*/ 88 h 1385"/>
                <a:gd name="T34" fmla="*/ 345 w 2209"/>
                <a:gd name="T35" fmla="*/ 298 h 1385"/>
                <a:gd name="T36" fmla="*/ 392 w 2209"/>
                <a:gd name="T37" fmla="*/ 388 h 1385"/>
                <a:gd name="T38" fmla="*/ 458 w 2209"/>
                <a:gd name="T39" fmla="*/ 459 h 1385"/>
                <a:gd name="T40" fmla="*/ 522 w 2209"/>
                <a:gd name="T41" fmla="*/ 593 h 1385"/>
                <a:gd name="T42" fmla="*/ 569 w 2209"/>
                <a:gd name="T43" fmla="*/ 664 h 1385"/>
                <a:gd name="T44" fmla="*/ 593 w 2209"/>
                <a:gd name="T45" fmla="*/ 766 h 1385"/>
                <a:gd name="T46" fmla="*/ 442 w 2209"/>
                <a:gd name="T47" fmla="*/ 626 h 1385"/>
                <a:gd name="T48" fmla="*/ 397 w 2209"/>
                <a:gd name="T49" fmla="*/ 504 h 1385"/>
                <a:gd name="T50" fmla="*/ 307 w 2209"/>
                <a:gd name="T51" fmla="*/ 449 h 1385"/>
                <a:gd name="T52" fmla="*/ 300 w 2209"/>
                <a:gd name="T53" fmla="*/ 393 h 1385"/>
                <a:gd name="T54" fmla="*/ 182 w 2209"/>
                <a:gd name="T55" fmla="*/ 239 h 1385"/>
                <a:gd name="T56" fmla="*/ 140 w 2209"/>
                <a:gd name="T57" fmla="*/ 116 h 1385"/>
                <a:gd name="T58" fmla="*/ 510 w 2209"/>
                <a:gd name="T59" fmla="*/ 111 h 1385"/>
                <a:gd name="T60" fmla="*/ 952 w 2209"/>
                <a:gd name="T61" fmla="*/ 222 h 1385"/>
                <a:gd name="T62" fmla="*/ 1125 w 2209"/>
                <a:gd name="T63" fmla="*/ 227 h 1385"/>
                <a:gd name="T64" fmla="*/ 1292 w 2209"/>
                <a:gd name="T65" fmla="*/ 393 h 1385"/>
                <a:gd name="T66" fmla="*/ 1448 w 2209"/>
                <a:gd name="T67" fmla="*/ 532 h 1385"/>
                <a:gd name="T68" fmla="*/ 1472 w 2209"/>
                <a:gd name="T69" fmla="*/ 870 h 1385"/>
                <a:gd name="T70" fmla="*/ 1536 w 2209"/>
                <a:gd name="T71" fmla="*/ 997 h 1385"/>
                <a:gd name="T72" fmla="*/ 1649 w 2209"/>
                <a:gd name="T73" fmla="*/ 1092 h 1385"/>
                <a:gd name="T74" fmla="*/ 1762 w 2209"/>
                <a:gd name="T75" fmla="*/ 1108 h 1385"/>
                <a:gd name="T76" fmla="*/ 1864 w 2209"/>
                <a:gd name="T77" fmla="*/ 1104 h 1385"/>
                <a:gd name="T78" fmla="*/ 1935 w 2209"/>
                <a:gd name="T79" fmla="*/ 1037 h 1385"/>
                <a:gd name="T80" fmla="*/ 2095 w 2209"/>
                <a:gd name="T81" fmla="*/ 870 h 1385"/>
                <a:gd name="T82" fmla="*/ 2209 w 2209"/>
                <a:gd name="T83" fmla="*/ 893 h 1385"/>
                <a:gd name="T84" fmla="*/ 2150 w 2209"/>
                <a:gd name="T85" fmla="*/ 1021 h 1385"/>
                <a:gd name="T86" fmla="*/ 2133 w 2209"/>
                <a:gd name="T87" fmla="*/ 1104 h 1385"/>
                <a:gd name="T88" fmla="*/ 359 w 2209"/>
                <a:gd name="T89" fmla="*/ 293 h 1385"/>
                <a:gd name="T90" fmla="*/ 359 w 2209"/>
                <a:gd name="T91" fmla="*/ 293 h 1385"/>
                <a:gd name="T92" fmla="*/ 425 w 2209"/>
                <a:gd name="T93" fmla="*/ 315 h 1385"/>
                <a:gd name="T94" fmla="*/ 0 w 2209"/>
                <a:gd name="T95" fmla="*/ 298 h 1385"/>
                <a:gd name="T96" fmla="*/ 225 w 2209"/>
                <a:gd name="T97" fmla="*/ 371 h 1385"/>
                <a:gd name="T98" fmla="*/ 501 w 2209"/>
                <a:gd name="T99" fmla="*/ 544 h 1385"/>
                <a:gd name="T100" fmla="*/ 442 w 2209"/>
                <a:gd name="T101" fmla="*/ 586 h 1385"/>
                <a:gd name="T102" fmla="*/ 539 w 2209"/>
                <a:gd name="T103" fmla="*/ 598 h 1385"/>
                <a:gd name="T104" fmla="*/ 463 w 2209"/>
                <a:gd name="T105" fmla="*/ 655 h 1385"/>
                <a:gd name="T106" fmla="*/ 825 w 2209"/>
                <a:gd name="T107" fmla="*/ 870 h 1385"/>
                <a:gd name="T108" fmla="*/ 855 w 2209"/>
                <a:gd name="T109" fmla="*/ 886 h 1385"/>
                <a:gd name="T110" fmla="*/ 2204 w 2209"/>
                <a:gd name="T111" fmla="*/ 943 h 1385"/>
                <a:gd name="T112" fmla="*/ 517 w 2209"/>
                <a:gd name="T113" fmla="*/ 1071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9" h="1385">
                  <a:moveTo>
                    <a:pt x="2103" y="1104"/>
                  </a:moveTo>
                  <a:lnTo>
                    <a:pt x="2095" y="1104"/>
                  </a:lnTo>
                  <a:lnTo>
                    <a:pt x="2065" y="1141"/>
                  </a:lnTo>
                  <a:lnTo>
                    <a:pt x="2058" y="1130"/>
                  </a:lnTo>
                  <a:lnTo>
                    <a:pt x="2048" y="1141"/>
                  </a:lnTo>
                  <a:lnTo>
                    <a:pt x="2048" y="1146"/>
                  </a:lnTo>
                  <a:lnTo>
                    <a:pt x="1918" y="1146"/>
                  </a:lnTo>
                  <a:lnTo>
                    <a:pt x="1918" y="1186"/>
                  </a:lnTo>
                  <a:lnTo>
                    <a:pt x="1885" y="1186"/>
                  </a:lnTo>
                  <a:lnTo>
                    <a:pt x="1935" y="1224"/>
                  </a:lnTo>
                  <a:lnTo>
                    <a:pt x="1940" y="1252"/>
                  </a:lnTo>
                  <a:lnTo>
                    <a:pt x="1956" y="1252"/>
                  </a:lnTo>
                  <a:lnTo>
                    <a:pt x="1956" y="1274"/>
                  </a:lnTo>
                  <a:lnTo>
                    <a:pt x="1864" y="1274"/>
                  </a:lnTo>
                  <a:lnTo>
                    <a:pt x="1831" y="1335"/>
                  </a:lnTo>
                  <a:lnTo>
                    <a:pt x="1843" y="1352"/>
                  </a:lnTo>
                  <a:lnTo>
                    <a:pt x="1826" y="1385"/>
                  </a:lnTo>
                  <a:lnTo>
                    <a:pt x="1793" y="1352"/>
                  </a:lnTo>
                  <a:lnTo>
                    <a:pt x="1793" y="1347"/>
                  </a:lnTo>
                  <a:lnTo>
                    <a:pt x="1779" y="1335"/>
                  </a:lnTo>
                  <a:lnTo>
                    <a:pt x="1708" y="1274"/>
                  </a:lnTo>
                  <a:lnTo>
                    <a:pt x="1682" y="1257"/>
                  </a:lnTo>
                  <a:lnTo>
                    <a:pt x="1682" y="1269"/>
                  </a:lnTo>
                  <a:lnTo>
                    <a:pt x="1703" y="1281"/>
                  </a:lnTo>
                  <a:lnTo>
                    <a:pt x="1654" y="1269"/>
                  </a:lnTo>
                  <a:lnTo>
                    <a:pt x="1666" y="1257"/>
                  </a:lnTo>
                  <a:lnTo>
                    <a:pt x="1654" y="1257"/>
                  </a:lnTo>
                  <a:lnTo>
                    <a:pt x="1649" y="1269"/>
                  </a:lnTo>
                  <a:lnTo>
                    <a:pt x="1649" y="1252"/>
                  </a:lnTo>
                  <a:lnTo>
                    <a:pt x="1632" y="1257"/>
                  </a:lnTo>
                  <a:lnTo>
                    <a:pt x="1649" y="1269"/>
                  </a:lnTo>
                  <a:lnTo>
                    <a:pt x="1616" y="1269"/>
                  </a:lnTo>
                  <a:lnTo>
                    <a:pt x="1611" y="1281"/>
                  </a:lnTo>
                  <a:lnTo>
                    <a:pt x="1536" y="1309"/>
                  </a:lnTo>
                  <a:lnTo>
                    <a:pt x="1481" y="1293"/>
                  </a:lnTo>
                  <a:lnTo>
                    <a:pt x="1439" y="1281"/>
                  </a:lnTo>
                  <a:lnTo>
                    <a:pt x="1417" y="1269"/>
                  </a:lnTo>
                  <a:lnTo>
                    <a:pt x="1384" y="1257"/>
                  </a:lnTo>
                  <a:lnTo>
                    <a:pt x="1373" y="1241"/>
                  </a:lnTo>
                  <a:lnTo>
                    <a:pt x="1309" y="1224"/>
                  </a:lnTo>
                  <a:lnTo>
                    <a:pt x="1292" y="1219"/>
                  </a:lnTo>
                  <a:lnTo>
                    <a:pt x="1217" y="1186"/>
                  </a:lnTo>
                  <a:lnTo>
                    <a:pt x="1169" y="1158"/>
                  </a:lnTo>
                  <a:lnTo>
                    <a:pt x="1148" y="1130"/>
                  </a:lnTo>
                  <a:lnTo>
                    <a:pt x="1132" y="1141"/>
                  </a:lnTo>
                  <a:lnTo>
                    <a:pt x="1051" y="1108"/>
                  </a:lnTo>
                  <a:lnTo>
                    <a:pt x="1006" y="1071"/>
                  </a:lnTo>
                  <a:lnTo>
                    <a:pt x="943" y="1037"/>
                  </a:lnTo>
                  <a:lnTo>
                    <a:pt x="900" y="993"/>
                  </a:lnTo>
                  <a:lnTo>
                    <a:pt x="888" y="959"/>
                  </a:lnTo>
                  <a:lnTo>
                    <a:pt x="914" y="943"/>
                  </a:lnTo>
                  <a:lnTo>
                    <a:pt x="910" y="926"/>
                  </a:lnTo>
                  <a:lnTo>
                    <a:pt x="893" y="926"/>
                  </a:lnTo>
                  <a:lnTo>
                    <a:pt x="914" y="903"/>
                  </a:lnTo>
                  <a:lnTo>
                    <a:pt x="926" y="882"/>
                  </a:lnTo>
                  <a:lnTo>
                    <a:pt x="900" y="865"/>
                  </a:lnTo>
                  <a:lnTo>
                    <a:pt x="893" y="837"/>
                  </a:lnTo>
                  <a:lnTo>
                    <a:pt x="893" y="808"/>
                  </a:lnTo>
                  <a:lnTo>
                    <a:pt x="879" y="782"/>
                  </a:lnTo>
                  <a:lnTo>
                    <a:pt x="841" y="742"/>
                  </a:lnTo>
                  <a:lnTo>
                    <a:pt x="791" y="688"/>
                  </a:lnTo>
                  <a:lnTo>
                    <a:pt x="749" y="648"/>
                  </a:lnTo>
                  <a:lnTo>
                    <a:pt x="754" y="648"/>
                  </a:lnTo>
                  <a:lnTo>
                    <a:pt x="754" y="643"/>
                  </a:lnTo>
                  <a:lnTo>
                    <a:pt x="749" y="648"/>
                  </a:lnTo>
                  <a:lnTo>
                    <a:pt x="732" y="631"/>
                  </a:lnTo>
                  <a:lnTo>
                    <a:pt x="737" y="643"/>
                  </a:lnTo>
                  <a:lnTo>
                    <a:pt x="728" y="631"/>
                  </a:lnTo>
                  <a:lnTo>
                    <a:pt x="728" y="610"/>
                  </a:lnTo>
                  <a:lnTo>
                    <a:pt x="728" y="610"/>
                  </a:lnTo>
                  <a:lnTo>
                    <a:pt x="728" y="615"/>
                  </a:lnTo>
                  <a:lnTo>
                    <a:pt x="716" y="615"/>
                  </a:lnTo>
                  <a:lnTo>
                    <a:pt x="711" y="598"/>
                  </a:lnTo>
                  <a:lnTo>
                    <a:pt x="728" y="610"/>
                  </a:lnTo>
                  <a:lnTo>
                    <a:pt x="728" y="598"/>
                  </a:lnTo>
                  <a:lnTo>
                    <a:pt x="699" y="593"/>
                  </a:lnTo>
                  <a:lnTo>
                    <a:pt x="695" y="586"/>
                  </a:lnTo>
                  <a:lnTo>
                    <a:pt x="678" y="577"/>
                  </a:lnTo>
                  <a:lnTo>
                    <a:pt x="673" y="560"/>
                  </a:lnTo>
                  <a:lnTo>
                    <a:pt x="662" y="560"/>
                  </a:lnTo>
                  <a:lnTo>
                    <a:pt x="662" y="570"/>
                  </a:lnTo>
                  <a:lnTo>
                    <a:pt x="645" y="560"/>
                  </a:lnTo>
                  <a:lnTo>
                    <a:pt x="657" y="560"/>
                  </a:lnTo>
                  <a:lnTo>
                    <a:pt x="673" y="544"/>
                  </a:lnTo>
                  <a:lnTo>
                    <a:pt x="645" y="560"/>
                  </a:lnTo>
                  <a:lnTo>
                    <a:pt x="631" y="544"/>
                  </a:lnTo>
                  <a:lnTo>
                    <a:pt x="624" y="532"/>
                  </a:lnTo>
                  <a:lnTo>
                    <a:pt x="640" y="504"/>
                  </a:lnTo>
                  <a:lnTo>
                    <a:pt x="645" y="515"/>
                  </a:lnTo>
                  <a:lnTo>
                    <a:pt x="645" y="504"/>
                  </a:lnTo>
                  <a:lnTo>
                    <a:pt x="624" y="475"/>
                  </a:lnTo>
                  <a:lnTo>
                    <a:pt x="619" y="466"/>
                  </a:lnTo>
                  <a:lnTo>
                    <a:pt x="603" y="475"/>
                  </a:lnTo>
                  <a:lnTo>
                    <a:pt x="586" y="442"/>
                  </a:lnTo>
                  <a:lnTo>
                    <a:pt x="565" y="442"/>
                  </a:lnTo>
                  <a:lnTo>
                    <a:pt x="548" y="426"/>
                  </a:lnTo>
                  <a:lnTo>
                    <a:pt x="539" y="404"/>
                  </a:lnTo>
                  <a:lnTo>
                    <a:pt x="548" y="388"/>
                  </a:lnTo>
                  <a:lnTo>
                    <a:pt x="532" y="376"/>
                  </a:lnTo>
                  <a:lnTo>
                    <a:pt x="522" y="388"/>
                  </a:lnTo>
                  <a:lnTo>
                    <a:pt x="510" y="376"/>
                  </a:lnTo>
                  <a:lnTo>
                    <a:pt x="484" y="350"/>
                  </a:lnTo>
                  <a:lnTo>
                    <a:pt x="468" y="338"/>
                  </a:lnTo>
                  <a:lnTo>
                    <a:pt x="458" y="310"/>
                  </a:lnTo>
                  <a:lnTo>
                    <a:pt x="430" y="298"/>
                  </a:lnTo>
                  <a:lnTo>
                    <a:pt x="430" y="265"/>
                  </a:lnTo>
                  <a:lnTo>
                    <a:pt x="414" y="260"/>
                  </a:lnTo>
                  <a:lnTo>
                    <a:pt x="414" y="260"/>
                  </a:lnTo>
                  <a:lnTo>
                    <a:pt x="392" y="222"/>
                  </a:lnTo>
                  <a:lnTo>
                    <a:pt x="392" y="199"/>
                  </a:lnTo>
                  <a:lnTo>
                    <a:pt x="371" y="166"/>
                  </a:lnTo>
                  <a:lnTo>
                    <a:pt x="371" y="116"/>
                  </a:lnTo>
                  <a:lnTo>
                    <a:pt x="333" y="111"/>
                  </a:lnTo>
                  <a:lnTo>
                    <a:pt x="333" y="95"/>
                  </a:lnTo>
                  <a:lnTo>
                    <a:pt x="307" y="88"/>
                  </a:lnTo>
                  <a:lnTo>
                    <a:pt x="300" y="100"/>
                  </a:lnTo>
                  <a:lnTo>
                    <a:pt x="291" y="95"/>
                  </a:lnTo>
                  <a:lnTo>
                    <a:pt x="232" y="60"/>
                  </a:lnTo>
                  <a:lnTo>
                    <a:pt x="253" y="88"/>
                  </a:lnTo>
                  <a:lnTo>
                    <a:pt x="248" y="128"/>
                  </a:lnTo>
                  <a:lnTo>
                    <a:pt x="253" y="145"/>
                  </a:lnTo>
                  <a:lnTo>
                    <a:pt x="262" y="204"/>
                  </a:lnTo>
                  <a:lnTo>
                    <a:pt x="269" y="222"/>
                  </a:lnTo>
                  <a:lnTo>
                    <a:pt x="333" y="277"/>
                  </a:lnTo>
                  <a:lnTo>
                    <a:pt x="338" y="310"/>
                  </a:lnTo>
                  <a:lnTo>
                    <a:pt x="345" y="298"/>
                  </a:lnTo>
                  <a:lnTo>
                    <a:pt x="354" y="310"/>
                  </a:lnTo>
                  <a:lnTo>
                    <a:pt x="359" y="310"/>
                  </a:lnTo>
                  <a:lnTo>
                    <a:pt x="371" y="338"/>
                  </a:lnTo>
                  <a:lnTo>
                    <a:pt x="388" y="338"/>
                  </a:lnTo>
                  <a:lnTo>
                    <a:pt x="388" y="355"/>
                  </a:lnTo>
                  <a:lnTo>
                    <a:pt x="392" y="371"/>
                  </a:lnTo>
                  <a:lnTo>
                    <a:pt x="392" y="388"/>
                  </a:lnTo>
                  <a:lnTo>
                    <a:pt x="409" y="404"/>
                  </a:lnTo>
                  <a:lnTo>
                    <a:pt x="425" y="409"/>
                  </a:lnTo>
                  <a:lnTo>
                    <a:pt x="458" y="475"/>
                  </a:lnTo>
                  <a:lnTo>
                    <a:pt x="463" y="487"/>
                  </a:lnTo>
                  <a:lnTo>
                    <a:pt x="468" y="482"/>
                  </a:lnTo>
                  <a:lnTo>
                    <a:pt x="458" y="466"/>
                  </a:lnTo>
                  <a:lnTo>
                    <a:pt x="458" y="459"/>
                  </a:lnTo>
                  <a:lnTo>
                    <a:pt x="480" y="475"/>
                  </a:lnTo>
                  <a:lnTo>
                    <a:pt x="480" y="482"/>
                  </a:lnTo>
                  <a:lnTo>
                    <a:pt x="484" y="504"/>
                  </a:lnTo>
                  <a:lnTo>
                    <a:pt x="496" y="544"/>
                  </a:lnTo>
                  <a:lnTo>
                    <a:pt x="501" y="560"/>
                  </a:lnTo>
                  <a:lnTo>
                    <a:pt x="517" y="570"/>
                  </a:lnTo>
                  <a:lnTo>
                    <a:pt x="522" y="593"/>
                  </a:lnTo>
                  <a:lnTo>
                    <a:pt x="539" y="615"/>
                  </a:lnTo>
                  <a:lnTo>
                    <a:pt x="532" y="643"/>
                  </a:lnTo>
                  <a:lnTo>
                    <a:pt x="539" y="655"/>
                  </a:lnTo>
                  <a:lnTo>
                    <a:pt x="565" y="664"/>
                  </a:lnTo>
                  <a:lnTo>
                    <a:pt x="555" y="664"/>
                  </a:lnTo>
                  <a:lnTo>
                    <a:pt x="565" y="671"/>
                  </a:lnTo>
                  <a:lnTo>
                    <a:pt x="569" y="664"/>
                  </a:lnTo>
                  <a:lnTo>
                    <a:pt x="565" y="655"/>
                  </a:lnTo>
                  <a:lnTo>
                    <a:pt x="569" y="655"/>
                  </a:lnTo>
                  <a:lnTo>
                    <a:pt x="603" y="681"/>
                  </a:lnTo>
                  <a:lnTo>
                    <a:pt x="607" y="704"/>
                  </a:lnTo>
                  <a:lnTo>
                    <a:pt x="624" y="721"/>
                  </a:lnTo>
                  <a:lnTo>
                    <a:pt x="619" y="754"/>
                  </a:lnTo>
                  <a:lnTo>
                    <a:pt x="593" y="766"/>
                  </a:lnTo>
                  <a:lnTo>
                    <a:pt x="586" y="766"/>
                  </a:lnTo>
                  <a:lnTo>
                    <a:pt x="565" y="709"/>
                  </a:lnTo>
                  <a:lnTo>
                    <a:pt x="484" y="655"/>
                  </a:lnTo>
                  <a:lnTo>
                    <a:pt x="468" y="643"/>
                  </a:lnTo>
                  <a:lnTo>
                    <a:pt x="463" y="643"/>
                  </a:lnTo>
                  <a:lnTo>
                    <a:pt x="447" y="626"/>
                  </a:lnTo>
                  <a:lnTo>
                    <a:pt x="442" y="626"/>
                  </a:lnTo>
                  <a:lnTo>
                    <a:pt x="442" y="598"/>
                  </a:lnTo>
                  <a:lnTo>
                    <a:pt x="430" y="615"/>
                  </a:lnTo>
                  <a:lnTo>
                    <a:pt x="442" y="560"/>
                  </a:lnTo>
                  <a:lnTo>
                    <a:pt x="442" y="570"/>
                  </a:lnTo>
                  <a:lnTo>
                    <a:pt x="442" y="544"/>
                  </a:lnTo>
                  <a:lnTo>
                    <a:pt x="414" y="504"/>
                  </a:lnTo>
                  <a:lnTo>
                    <a:pt x="397" y="504"/>
                  </a:lnTo>
                  <a:lnTo>
                    <a:pt x="359" y="475"/>
                  </a:lnTo>
                  <a:lnTo>
                    <a:pt x="371" y="459"/>
                  </a:lnTo>
                  <a:lnTo>
                    <a:pt x="354" y="466"/>
                  </a:lnTo>
                  <a:lnTo>
                    <a:pt x="345" y="466"/>
                  </a:lnTo>
                  <a:lnTo>
                    <a:pt x="333" y="475"/>
                  </a:lnTo>
                  <a:lnTo>
                    <a:pt x="317" y="449"/>
                  </a:lnTo>
                  <a:lnTo>
                    <a:pt x="307" y="449"/>
                  </a:lnTo>
                  <a:lnTo>
                    <a:pt x="291" y="442"/>
                  </a:lnTo>
                  <a:lnTo>
                    <a:pt x="269" y="433"/>
                  </a:lnTo>
                  <a:lnTo>
                    <a:pt x="269" y="421"/>
                  </a:lnTo>
                  <a:lnTo>
                    <a:pt x="236" y="393"/>
                  </a:lnTo>
                  <a:lnTo>
                    <a:pt x="232" y="388"/>
                  </a:lnTo>
                  <a:lnTo>
                    <a:pt x="307" y="393"/>
                  </a:lnTo>
                  <a:lnTo>
                    <a:pt x="300" y="393"/>
                  </a:lnTo>
                  <a:lnTo>
                    <a:pt x="291" y="393"/>
                  </a:lnTo>
                  <a:lnTo>
                    <a:pt x="286" y="388"/>
                  </a:lnTo>
                  <a:lnTo>
                    <a:pt x="291" y="371"/>
                  </a:lnTo>
                  <a:lnTo>
                    <a:pt x="300" y="331"/>
                  </a:lnTo>
                  <a:lnTo>
                    <a:pt x="236" y="265"/>
                  </a:lnTo>
                  <a:lnTo>
                    <a:pt x="225" y="260"/>
                  </a:lnTo>
                  <a:lnTo>
                    <a:pt x="182" y="239"/>
                  </a:lnTo>
                  <a:lnTo>
                    <a:pt x="177" y="187"/>
                  </a:lnTo>
                  <a:lnTo>
                    <a:pt x="173" y="182"/>
                  </a:lnTo>
                  <a:lnTo>
                    <a:pt x="173" y="187"/>
                  </a:lnTo>
                  <a:lnTo>
                    <a:pt x="161" y="182"/>
                  </a:lnTo>
                  <a:lnTo>
                    <a:pt x="161" y="154"/>
                  </a:lnTo>
                  <a:lnTo>
                    <a:pt x="144" y="145"/>
                  </a:lnTo>
                  <a:lnTo>
                    <a:pt x="140" y="116"/>
                  </a:lnTo>
                  <a:lnTo>
                    <a:pt x="118" y="95"/>
                  </a:lnTo>
                  <a:lnTo>
                    <a:pt x="123" y="71"/>
                  </a:lnTo>
                  <a:lnTo>
                    <a:pt x="106" y="60"/>
                  </a:lnTo>
                  <a:lnTo>
                    <a:pt x="85" y="17"/>
                  </a:lnTo>
                  <a:lnTo>
                    <a:pt x="253" y="0"/>
                  </a:lnTo>
                  <a:lnTo>
                    <a:pt x="248" y="17"/>
                  </a:lnTo>
                  <a:lnTo>
                    <a:pt x="510" y="111"/>
                  </a:lnTo>
                  <a:lnTo>
                    <a:pt x="711" y="111"/>
                  </a:lnTo>
                  <a:lnTo>
                    <a:pt x="711" y="76"/>
                  </a:lnTo>
                  <a:lnTo>
                    <a:pt x="841" y="76"/>
                  </a:lnTo>
                  <a:lnTo>
                    <a:pt x="846" y="100"/>
                  </a:lnTo>
                  <a:lnTo>
                    <a:pt x="943" y="171"/>
                  </a:lnTo>
                  <a:lnTo>
                    <a:pt x="952" y="204"/>
                  </a:lnTo>
                  <a:lnTo>
                    <a:pt x="952" y="222"/>
                  </a:lnTo>
                  <a:lnTo>
                    <a:pt x="969" y="244"/>
                  </a:lnTo>
                  <a:lnTo>
                    <a:pt x="1002" y="265"/>
                  </a:lnTo>
                  <a:lnTo>
                    <a:pt x="1051" y="293"/>
                  </a:lnTo>
                  <a:lnTo>
                    <a:pt x="1061" y="298"/>
                  </a:lnTo>
                  <a:lnTo>
                    <a:pt x="1089" y="277"/>
                  </a:lnTo>
                  <a:lnTo>
                    <a:pt x="1103" y="239"/>
                  </a:lnTo>
                  <a:lnTo>
                    <a:pt x="1125" y="227"/>
                  </a:lnTo>
                  <a:lnTo>
                    <a:pt x="1141" y="239"/>
                  </a:lnTo>
                  <a:lnTo>
                    <a:pt x="1186" y="239"/>
                  </a:lnTo>
                  <a:lnTo>
                    <a:pt x="1195" y="244"/>
                  </a:lnTo>
                  <a:lnTo>
                    <a:pt x="1238" y="282"/>
                  </a:lnTo>
                  <a:lnTo>
                    <a:pt x="1266" y="355"/>
                  </a:lnTo>
                  <a:lnTo>
                    <a:pt x="1276" y="367"/>
                  </a:lnTo>
                  <a:lnTo>
                    <a:pt x="1292" y="393"/>
                  </a:lnTo>
                  <a:lnTo>
                    <a:pt x="1321" y="409"/>
                  </a:lnTo>
                  <a:lnTo>
                    <a:pt x="1325" y="449"/>
                  </a:lnTo>
                  <a:lnTo>
                    <a:pt x="1342" y="466"/>
                  </a:lnTo>
                  <a:lnTo>
                    <a:pt x="1347" y="499"/>
                  </a:lnTo>
                  <a:lnTo>
                    <a:pt x="1396" y="515"/>
                  </a:lnTo>
                  <a:lnTo>
                    <a:pt x="1410" y="520"/>
                  </a:lnTo>
                  <a:lnTo>
                    <a:pt x="1448" y="532"/>
                  </a:lnTo>
                  <a:lnTo>
                    <a:pt x="1465" y="537"/>
                  </a:lnTo>
                  <a:lnTo>
                    <a:pt x="1486" y="532"/>
                  </a:lnTo>
                  <a:lnTo>
                    <a:pt x="1448" y="643"/>
                  </a:lnTo>
                  <a:lnTo>
                    <a:pt x="1439" y="766"/>
                  </a:lnTo>
                  <a:lnTo>
                    <a:pt x="1434" y="792"/>
                  </a:lnTo>
                  <a:lnTo>
                    <a:pt x="1448" y="837"/>
                  </a:lnTo>
                  <a:lnTo>
                    <a:pt x="1472" y="870"/>
                  </a:lnTo>
                  <a:lnTo>
                    <a:pt x="1465" y="886"/>
                  </a:lnTo>
                  <a:lnTo>
                    <a:pt x="1465" y="882"/>
                  </a:lnTo>
                  <a:lnTo>
                    <a:pt x="1472" y="870"/>
                  </a:lnTo>
                  <a:lnTo>
                    <a:pt x="1439" y="832"/>
                  </a:lnTo>
                  <a:lnTo>
                    <a:pt x="1448" y="865"/>
                  </a:lnTo>
                  <a:lnTo>
                    <a:pt x="1486" y="936"/>
                  </a:lnTo>
                  <a:lnTo>
                    <a:pt x="1536" y="997"/>
                  </a:lnTo>
                  <a:lnTo>
                    <a:pt x="1545" y="1037"/>
                  </a:lnTo>
                  <a:lnTo>
                    <a:pt x="1573" y="1059"/>
                  </a:lnTo>
                  <a:lnTo>
                    <a:pt x="1573" y="1071"/>
                  </a:lnTo>
                  <a:lnTo>
                    <a:pt x="1578" y="1075"/>
                  </a:lnTo>
                  <a:lnTo>
                    <a:pt x="1628" y="1087"/>
                  </a:lnTo>
                  <a:lnTo>
                    <a:pt x="1632" y="1092"/>
                  </a:lnTo>
                  <a:lnTo>
                    <a:pt x="1649" y="1092"/>
                  </a:lnTo>
                  <a:lnTo>
                    <a:pt x="1670" y="1125"/>
                  </a:lnTo>
                  <a:lnTo>
                    <a:pt x="1720" y="1113"/>
                  </a:lnTo>
                  <a:lnTo>
                    <a:pt x="1734" y="1104"/>
                  </a:lnTo>
                  <a:lnTo>
                    <a:pt x="1720" y="1108"/>
                  </a:lnTo>
                  <a:lnTo>
                    <a:pt x="1734" y="1104"/>
                  </a:lnTo>
                  <a:lnTo>
                    <a:pt x="1762" y="1104"/>
                  </a:lnTo>
                  <a:lnTo>
                    <a:pt x="1762" y="1108"/>
                  </a:lnTo>
                  <a:lnTo>
                    <a:pt x="1805" y="1087"/>
                  </a:lnTo>
                  <a:lnTo>
                    <a:pt x="1847" y="1075"/>
                  </a:lnTo>
                  <a:lnTo>
                    <a:pt x="1859" y="1087"/>
                  </a:lnTo>
                  <a:lnTo>
                    <a:pt x="1843" y="1092"/>
                  </a:lnTo>
                  <a:lnTo>
                    <a:pt x="1859" y="1092"/>
                  </a:lnTo>
                  <a:lnTo>
                    <a:pt x="1859" y="1108"/>
                  </a:lnTo>
                  <a:lnTo>
                    <a:pt x="1864" y="1104"/>
                  </a:lnTo>
                  <a:lnTo>
                    <a:pt x="1880" y="1104"/>
                  </a:lnTo>
                  <a:lnTo>
                    <a:pt x="1885" y="1092"/>
                  </a:lnTo>
                  <a:lnTo>
                    <a:pt x="1902" y="1087"/>
                  </a:lnTo>
                  <a:lnTo>
                    <a:pt x="1885" y="1075"/>
                  </a:lnTo>
                  <a:lnTo>
                    <a:pt x="1897" y="1071"/>
                  </a:lnTo>
                  <a:lnTo>
                    <a:pt x="1885" y="1071"/>
                  </a:lnTo>
                  <a:lnTo>
                    <a:pt x="1935" y="1037"/>
                  </a:lnTo>
                  <a:lnTo>
                    <a:pt x="1940" y="1002"/>
                  </a:lnTo>
                  <a:lnTo>
                    <a:pt x="1956" y="993"/>
                  </a:lnTo>
                  <a:lnTo>
                    <a:pt x="1951" y="943"/>
                  </a:lnTo>
                  <a:lnTo>
                    <a:pt x="1965" y="910"/>
                  </a:lnTo>
                  <a:lnTo>
                    <a:pt x="1994" y="886"/>
                  </a:lnTo>
                  <a:lnTo>
                    <a:pt x="2065" y="882"/>
                  </a:lnTo>
                  <a:lnTo>
                    <a:pt x="2095" y="870"/>
                  </a:lnTo>
                  <a:lnTo>
                    <a:pt x="2128" y="865"/>
                  </a:lnTo>
                  <a:lnTo>
                    <a:pt x="2183" y="882"/>
                  </a:lnTo>
                  <a:lnTo>
                    <a:pt x="2188" y="870"/>
                  </a:lnTo>
                  <a:lnTo>
                    <a:pt x="2166" y="870"/>
                  </a:lnTo>
                  <a:lnTo>
                    <a:pt x="2192" y="865"/>
                  </a:lnTo>
                  <a:lnTo>
                    <a:pt x="2209" y="882"/>
                  </a:lnTo>
                  <a:lnTo>
                    <a:pt x="2209" y="893"/>
                  </a:lnTo>
                  <a:lnTo>
                    <a:pt x="2204" y="926"/>
                  </a:lnTo>
                  <a:lnTo>
                    <a:pt x="2166" y="964"/>
                  </a:lnTo>
                  <a:lnTo>
                    <a:pt x="2166" y="997"/>
                  </a:lnTo>
                  <a:lnTo>
                    <a:pt x="2166" y="993"/>
                  </a:lnTo>
                  <a:lnTo>
                    <a:pt x="2154" y="997"/>
                  </a:lnTo>
                  <a:lnTo>
                    <a:pt x="2138" y="1002"/>
                  </a:lnTo>
                  <a:lnTo>
                    <a:pt x="2150" y="1021"/>
                  </a:lnTo>
                  <a:lnTo>
                    <a:pt x="2166" y="1014"/>
                  </a:lnTo>
                  <a:lnTo>
                    <a:pt x="2166" y="1030"/>
                  </a:lnTo>
                  <a:lnTo>
                    <a:pt x="2150" y="1037"/>
                  </a:lnTo>
                  <a:lnTo>
                    <a:pt x="2150" y="1047"/>
                  </a:lnTo>
                  <a:lnTo>
                    <a:pt x="2166" y="1037"/>
                  </a:lnTo>
                  <a:lnTo>
                    <a:pt x="2133" y="1113"/>
                  </a:lnTo>
                  <a:lnTo>
                    <a:pt x="2133" y="1104"/>
                  </a:lnTo>
                  <a:lnTo>
                    <a:pt x="2117" y="1092"/>
                  </a:lnTo>
                  <a:lnTo>
                    <a:pt x="2128" y="1087"/>
                  </a:lnTo>
                  <a:lnTo>
                    <a:pt x="2128" y="1071"/>
                  </a:lnTo>
                  <a:lnTo>
                    <a:pt x="2103" y="1104"/>
                  </a:lnTo>
                  <a:lnTo>
                    <a:pt x="2103" y="1104"/>
                  </a:lnTo>
                  <a:lnTo>
                    <a:pt x="2103" y="1104"/>
                  </a:lnTo>
                  <a:close/>
                  <a:moveTo>
                    <a:pt x="359" y="293"/>
                  </a:moveTo>
                  <a:lnTo>
                    <a:pt x="333" y="260"/>
                  </a:lnTo>
                  <a:lnTo>
                    <a:pt x="333" y="256"/>
                  </a:lnTo>
                  <a:lnTo>
                    <a:pt x="345" y="260"/>
                  </a:lnTo>
                  <a:lnTo>
                    <a:pt x="345" y="265"/>
                  </a:lnTo>
                  <a:lnTo>
                    <a:pt x="359" y="277"/>
                  </a:lnTo>
                  <a:lnTo>
                    <a:pt x="359" y="293"/>
                  </a:lnTo>
                  <a:lnTo>
                    <a:pt x="359" y="293"/>
                  </a:lnTo>
                  <a:lnTo>
                    <a:pt x="359" y="293"/>
                  </a:lnTo>
                  <a:close/>
                  <a:moveTo>
                    <a:pt x="425" y="315"/>
                  </a:moveTo>
                  <a:lnTo>
                    <a:pt x="409" y="310"/>
                  </a:lnTo>
                  <a:lnTo>
                    <a:pt x="414" y="282"/>
                  </a:lnTo>
                  <a:lnTo>
                    <a:pt x="425" y="277"/>
                  </a:lnTo>
                  <a:lnTo>
                    <a:pt x="430" y="298"/>
                  </a:lnTo>
                  <a:lnTo>
                    <a:pt x="425" y="315"/>
                  </a:lnTo>
                  <a:lnTo>
                    <a:pt x="425" y="315"/>
                  </a:lnTo>
                  <a:lnTo>
                    <a:pt x="425" y="315"/>
                  </a:lnTo>
                  <a:close/>
                  <a:moveTo>
                    <a:pt x="0" y="298"/>
                  </a:moveTo>
                  <a:lnTo>
                    <a:pt x="0" y="282"/>
                  </a:lnTo>
                  <a:lnTo>
                    <a:pt x="0" y="282"/>
                  </a:lnTo>
                  <a:lnTo>
                    <a:pt x="10" y="293"/>
                  </a:lnTo>
                  <a:lnTo>
                    <a:pt x="0" y="298"/>
                  </a:lnTo>
                  <a:lnTo>
                    <a:pt x="0" y="298"/>
                  </a:lnTo>
                  <a:lnTo>
                    <a:pt x="0" y="298"/>
                  </a:lnTo>
                  <a:close/>
                  <a:moveTo>
                    <a:pt x="225" y="371"/>
                  </a:moveTo>
                  <a:lnTo>
                    <a:pt x="215" y="367"/>
                  </a:lnTo>
                  <a:lnTo>
                    <a:pt x="215" y="350"/>
                  </a:lnTo>
                  <a:lnTo>
                    <a:pt x="225" y="367"/>
                  </a:lnTo>
                  <a:lnTo>
                    <a:pt x="225" y="371"/>
                  </a:lnTo>
                  <a:lnTo>
                    <a:pt x="225" y="371"/>
                  </a:lnTo>
                  <a:lnTo>
                    <a:pt x="225" y="371"/>
                  </a:lnTo>
                  <a:close/>
                  <a:moveTo>
                    <a:pt x="501" y="544"/>
                  </a:moveTo>
                  <a:lnTo>
                    <a:pt x="501" y="532"/>
                  </a:lnTo>
                  <a:lnTo>
                    <a:pt x="510" y="520"/>
                  </a:lnTo>
                  <a:lnTo>
                    <a:pt x="501" y="544"/>
                  </a:lnTo>
                  <a:lnTo>
                    <a:pt x="501" y="544"/>
                  </a:lnTo>
                  <a:lnTo>
                    <a:pt x="501" y="544"/>
                  </a:lnTo>
                  <a:close/>
                  <a:moveTo>
                    <a:pt x="442" y="586"/>
                  </a:moveTo>
                  <a:lnTo>
                    <a:pt x="430" y="615"/>
                  </a:lnTo>
                  <a:lnTo>
                    <a:pt x="442" y="643"/>
                  </a:lnTo>
                  <a:lnTo>
                    <a:pt x="430" y="615"/>
                  </a:lnTo>
                  <a:lnTo>
                    <a:pt x="442" y="586"/>
                  </a:lnTo>
                  <a:lnTo>
                    <a:pt x="442" y="586"/>
                  </a:lnTo>
                  <a:lnTo>
                    <a:pt x="442" y="586"/>
                  </a:lnTo>
                  <a:close/>
                  <a:moveTo>
                    <a:pt x="539" y="598"/>
                  </a:moveTo>
                  <a:lnTo>
                    <a:pt x="548" y="598"/>
                  </a:lnTo>
                  <a:lnTo>
                    <a:pt x="548" y="615"/>
                  </a:lnTo>
                  <a:lnTo>
                    <a:pt x="539" y="610"/>
                  </a:lnTo>
                  <a:lnTo>
                    <a:pt x="539" y="598"/>
                  </a:lnTo>
                  <a:lnTo>
                    <a:pt x="539" y="598"/>
                  </a:lnTo>
                  <a:lnTo>
                    <a:pt x="539" y="598"/>
                  </a:lnTo>
                  <a:close/>
                  <a:moveTo>
                    <a:pt x="463" y="655"/>
                  </a:moveTo>
                  <a:lnTo>
                    <a:pt x="447" y="643"/>
                  </a:lnTo>
                  <a:lnTo>
                    <a:pt x="458" y="643"/>
                  </a:lnTo>
                  <a:lnTo>
                    <a:pt x="463" y="655"/>
                  </a:lnTo>
                  <a:lnTo>
                    <a:pt x="463" y="655"/>
                  </a:lnTo>
                  <a:lnTo>
                    <a:pt x="463" y="655"/>
                  </a:lnTo>
                  <a:close/>
                  <a:moveTo>
                    <a:pt x="825" y="870"/>
                  </a:moveTo>
                  <a:lnTo>
                    <a:pt x="817" y="853"/>
                  </a:lnTo>
                  <a:lnTo>
                    <a:pt x="834" y="853"/>
                  </a:lnTo>
                  <a:lnTo>
                    <a:pt x="834" y="870"/>
                  </a:lnTo>
                  <a:lnTo>
                    <a:pt x="825" y="870"/>
                  </a:lnTo>
                  <a:lnTo>
                    <a:pt x="825" y="870"/>
                  </a:lnTo>
                  <a:lnTo>
                    <a:pt x="825" y="870"/>
                  </a:lnTo>
                  <a:close/>
                  <a:moveTo>
                    <a:pt x="841" y="882"/>
                  </a:moveTo>
                  <a:lnTo>
                    <a:pt x="834" y="882"/>
                  </a:lnTo>
                  <a:lnTo>
                    <a:pt x="841" y="870"/>
                  </a:lnTo>
                  <a:lnTo>
                    <a:pt x="841" y="882"/>
                  </a:lnTo>
                  <a:lnTo>
                    <a:pt x="841" y="882"/>
                  </a:lnTo>
                  <a:lnTo>
                    <a:pt x="841" y="882"/>
                  </a:lnTo>
                  <a:close/>
                  <a:moveTo>
                    <a:pt x="855" y="886"/>
                  </a:moveTo>
                  <a:lnTo>
                    <a:pt x="846" y="886"/>
                  </a:lnTo>
                  <a:lnTo>
                    <a:pt x="855" y="886"/>
                  </a:lnTo>
                  <a:lnTo>
                    <a:pt x="855" y="886"/>
                  </a:lnTo>
                  <a:lnTo>
                    <a:pt x="855" y="886"/>
                  </a:lnTo>
                  <a:lnTo>
                    <a:pt x="855" y="886"/>
                  </a:lnTo>
                  <a:close/>
                  <a:moveTo>
                    <a:pt x="2192" y="964"/>
                  </a:moveTo>
                  <a:lnTo>
                    <a:pt x="2204" y="943"/>
                  </a:lnTo>
                  <a:lnTo>
                    <a:pt x="2209" y="943"/>
                  </a:lnTo>
                  <a:lnTo>
                    <a:pt x="2192" y="964"/>
                  </a:lnTo>
                  <a:lnTo>
                    <a:pt x="2192" y="964"/>
                  </a:lnTo>
                  <a:lnTo>
                    <a:pt x="2192" y="964"/>
                  </a:lnTo>
                  <a:close/>
                  <a:moveTo>
                    <a:pt x="517" y="1075"/>
                  </a:moveTo>
                  <a:lnTo>
                    <a:pt x="510" y="1075"/>
                  </a:lnTo>
                  <a:lnTo>
                    <a:pt x="517" y="1071"/>
                  </a:lnTo>
                  <a:lnTo>
                    <a:pt x="522" y="1075"/>
                  </a:lnTo>
                  <a:lnTo>
                    <a:pt x="517" y="1075"/>
                  </a:lnTo>
                  <a:lnTo>
                    <a:pt x="517" y="1075"/>
                  </a:lnTo>
                  <a:lnTo>
                    <a:pt x="517" y="107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4" name="Freeform 515">
              <a:extLst>
                <a:ext uri="{FF2B5EF4-FFF2-40B4-BE49-F238E27FC236}">
                  <a16:creationId xmlns:a16="http://schemas.microsoft.com/office/drawing/2014/main" id="{209D978F-837F-4FAD-9AC9-87DA933C6D07}"/>
                </a:ext>
              </a:extLst>
            </p:cNvPr>
            <p:cNvSpPr>
              <a:spLocks noEditPoints="1"/>
            </p:cNvSpPr>
            <p:nvPr/>
          </p:nvSpPr>
          <p:spPr bwMode="gray">
            <a:xfrm>
              <a:off x="16031314" y="3942248"/>
              <a:ext cx="450687" cy="152848"/>
            </a:xfrm>
            <a:custGeom>
              <a:avLst/>
              <a:gdLst>
                <a:gd name="T0" fmla="*/ 1205 w 1377"/>
                <a:gd name="T1" fmla="*/ 4 h 467"/>
                <a:gd name="T2" fmla="*/ 1238 w 1377"/>
                <a:gd name="T3" fmla="*/ 0 h 467"/>
                <a:gd name="T4" fmla="*/ 1233 w 1377"/>
                <a:gd name="T5" fmla="*/ 0 h 467"/>
                <a:gd name="T6" fmla="*/ 1184 w 1377"/>
                <a:gd name="T7" fmla="*/ 222 h 467"/>
                <a:gd name="T8" fmla="*/ 1125 w 1377"/>
                <a:gd name="T9" fmla="*/ 226 h 467"/>
                <a:gd name="T10" fmla="*/ 1099 w 1377"/>
                <a:gd name="T11" fmla="*/ 304 h 467"/>
                <a:gd name="T12" fmla="*/ 1070 w 1377"/>
                <a:gd name="T13" fmla="*/ 361 h 467"/>
                <a:gd name="T14" fmla="*/ 1037 w 1377"/>
                <a:gd name="T15" fmla="*/ 415 h 467"/>
                <a:gd name="T16" fmla="*/ 936 w 1377"/>
                <a:gd name="T17" fmla="*/ 411 h 467"/>
                <a:gd name="T18" fmla="*/ 865 w 1377"/>
                <a:gd name="T19" fmla="*/ 444 h 467"/>
                <a:gd name="T20" fmla="*/ 704 w 1377"/>
                <a:gd name="T21" fmla="*/ 411 h 467"/>
                <a:gd name="T22" fmla="*/ 718 w 1377"/>
                <a:gd name="T23" fmla="*/ 406 h 467"/>
                <a:gd name="T24" fmla="*/ 784 w 1377"/>
                <a:gd name="T25" fmla="*/ 415 h 467"/>
                <a:gd name="T26" fmla="*/ 827 w 1377"/>
                <a:gd name="T27" fmla="*/ 427 h 467"/>
                <a:gd name="T28" fmla="*/ 822 w 1377"/>
                <a:gd name="T29" fmla="*/ 373 h 467"/>
                <a:gd name="T30" fmla="*/ 827 w 1377"/>
                <a:gd name="T31" fmla="*/ 333 h 467"/>
                <a:gd name="T32" fmla="*/ 1006 w 1377"/>
                <a:gd name="T33" fmla="*/ 193 h 467"/>
                <a:gd name="T34" fmla="*/ 1070 w 1377"/>
                <a:gd name="T35" fmla="*/ 226 h 467"/>
                <a:gd name="T36" fmla="*/ 1082 w 1377"/>
                <a:gd name="T37" fmla="*/ 181 h 467"/>
                <a:gd name="T38" fmla="*/ 1091 w 1377"/>
                <a:gd name="T39" fmla="*/ 172 h 467"/>
                <a:gd name="T40" fmla="*/ 1108 w 1377"/>
                <a:gd name="T41" fmla="*/ 139 h 467"/>
                <a:gd name="T42" fmla="*/ 1151 w 1377"/>
                <a:gd name="T43" fmla="*/ 99 h 467"/>
                <a:gd name="T44" fmla="*/ 1205 w 1377"/>
                <a:gd name="T45" fmla="*/ 25 h 467"/>
                <a:gd name="T46" fmla="*/ 1238 w 1377"/>
                <a:gd name="T47" fmla="*/ 44 h 467"/>
                <a:gd name="T48" fmla="*/ 1259 w 1377"/>
                <a:gd name="T49" fmla="*/ 77 h 467"/>
                <a:gd name="T50" fmla="*/ 1292 w 1377"/>
                <a:gd name="T51" fmla="*/ 82 h 467"/>
                <a:gd name="T52" fmla="*/ 1314 w 1377"/>
                <a:gd name="T53" fmla="*/ 111 h 467"/>
                <a:gd name="T54" fmla="*/ 1377 w 1377"/>
                <a:gd name="T55" fmla="*/ 155 h 467"/>
                <a:gd name="T56" fmla="*/ 1297 w 1377"/>
                <a:gd name="T57" fmla="*/ 172 h 467"/>
                <a:gd name="T58" fmla="*/ 1330 w 1377"/>
                <a:gd name="T59" fmla="*/ 205 h 467"/>
                <a:gd name="T60" fmla="*/ 1271 w 1377"/>
                <a:gd name="T61" fmla="*/ 210 h 467"/>
                <a:gd name="T62" fmla="*/ 1243 w 1377"/>
                <a:gd name="T63" fmla="*/ 44 h 467"/>
                <a:gd name="T64" fmla="*/ 1243 w 1377"/>
                <a:gd name="T65" fmla="*/ 44 h 467"/>
                <a:gd name="T66" fmla="*/ 38 w 1377"/>
                <a:gd name="T67" fmla="*/ 44 h 467"/>
                <a:gd name="T68" fmla="*/ 83 w 1377"/>
                <a:gd name="T69" fmla="*/ 54 h 467"/>
                <a:gd name="T70" fmla="*/ 92 w 1377"/>
                <a:gd name="T71" fmla="*/ 111 h 467"/>
                <a:gd name="T72" fmla="*/ 158 w 1377"/>
                <a:gd name="T73" fmla="*/ 111 h 467"/>
                <a:gd name="T74" fmla="*/ 243 w 1377"/>
                <a:gd name="T75" fmla="*/ 132 h 467"/>
                <a:gd name="T76" fmla="*/ 272 w 1377"/>
                <a:gd name="T77" fmla="*/ 278 h 467"/>
                <a:gd name="T78" fmla="*/ 326 w 1377"/>
                <a:gd name="T79" fmla="*/ 406 h 467"/>
                <a:gd name="T80" fmla="*/ 303 w 1377"/>
                <a:gd name="T81" fmla="*/ 427 h 467"/>
                <a:gd name="T82" fmla="*/ 217 w 1377"/>
                <a:gd name="T83" fmla="*/ 394 h 467"/>
                <a:gd name="T84" fmla="*/ 121 w 1377"/>
                <a:gd name="T85" fmla="*/ 321 h 467"/>
                <a:gd name="T86" fmla="*/ 83 w 1377"/>
                <a:gd name="T87" fmla="*/ 250 h 467"/>
                <a:gd name="T88" fmla="*/ 88 w 1377"/>
                <a:gd name="T89" fmla="*/ 238 h 467"/>
                <a:gd name="T90" fmla="*/ 54 w 1377"/>
                <a:gd name="T91" fmla="*/ 148 h 467"/>
                <a:gd name="T92" fmla="*/ 33 w 1377"/>
                <a:gd name="T93" fmla="*/ 61 h 467"/>
                <a:gd name="T94" fmla="*/ 0 w 1377"/>
                <a:gd name="T95" fmla="*/ 61 h 467"/>
                <a:gd name="T96" fmla="*/ 50 w 1377"/>
                <a:gd name="T97" fmla="*/ 132 h 467"/>
                <a:gd name="T98" fmla="*/ 50 w 1377"/>
                <a:gd name="T99" fmla="*/ 132 h 467"/>
                <a:gd name="T100" fmla="*/ 1099 w 1377"/>
                <a:gd name="T101" fmla="*/ 139 h 467"/>
                <a:gd name="T102" fmla="*/ 1091 w 1377"/>
                <a:gd name="T103" fmla="*/ 148 h 467"/>
                <a:gd name="T104" fmla="*/ 1288 w 1377"/>
                <a:gd name="T105" fmla="*/ 226 h 467"/>
                <a:gd name="T106" fmla="*/ 822 w 1377"/>
                <a:gd name="T107" fmla="*/ 321 h 467"/>
                <a:gd name="T108" fmla="*/ 822 w 1377"/>
                <a:gd name="T109" fmla="*/ 349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77" h="467">
                  <a:moveTo>
                    <a:pt x="1205" y="4"/>
                  </a:moveTo>
                  <a:lnTo>
                    <a:pt x="1221" y="0"/>
                  </a:lnTo>
                  <a:lnTo>
                    <a:pt x="1221" y="0"/>
                  </a:lnTo>
                  <a:lnTo>
                    <a:pt x="1205" y="4"/>
                  </a:lnTo>
                  <a:lnTo>
                    <a:pt x="1205" y="4"/>
                  </a:lnTo>
                  <a:lnTo>
                    <a:pt x="1205" y="4"/>
                  </a:lnTo>
                  <a:close/>
                  <a:moveTo>
                    <a:pt x="1233" y="0"/>
                  </a:moveTo>
                  <a:lnTo>
                    <a:pt x="1238" y="0"/>
                  </a:lnTo>
                  <a:lnTo>
                    <a:pt x="1238" y="4"/>
                  </a:lnTo>
                  <a:lnTo>
                    <a:pt x="1221" y="16"/>
                  </a:lnTo>
                  <a:lnTo>
                    <a:pt x="1233" y="0"/>
                  </a:lnTo>
                  <a:lnTo>
                    <a:pt x="1233" y="0"/>
                  </a:lnTo>
                  <a:lnTo>
                    <a:pt x="1233" y="0"/>
                  </a:lnTo>
                  <a:close/>
                  <a:moveTo>
                    <a:pt x="1259" y="226"/>
                  </a:moveTo>
                  <a:lnTo>
                    <a:pt x="1238" y="210"/>
                  </a:lnTo>
                  <a:lnTo>
                    <a:pt x="1184" y="222"/>
                  </a:lnTo>
                  <a:lnTo>
                    <a:pt x="1162" y="210"/>
                  </a:lnTo>
                  <a:lnTo>
                    <a:pt x="1151" y="222"/>
                  </a:lnTo>
                  <a:lnTo>
                    <a:pt x="1136" y="210"/>
                  </a:lnTo>
                  <a:lnTo>
                    <a:pt x="1125" y="226"/>
                  </a:lnTo>
                  <a:lnTo>
                    <a:pt x="1125" y="259"/>
                  </a:lnTo>
                  <a:lnTo>
                    <a:pt x="1125" y="278"/>
                  </a:lnTo>
                  <a:lnTo>
                    <a:pt x="1113" y="304"/>
                  </a:lnTo>
                  <a:lnTo>
                    <a:pt x="1099" y="304"/>
                  </a:lnTo>
                  <a:lnTo>
                    <a:pt x="1091" y="316"/>
                  </a:lnTo>
                  <a:lnTo>
                    <a:pt x="1082" y="337"/>
                  </a:lnTo>
                  <a:lnTo>
                    <a:pt x="1099" y="349"/>
                  </a:lnTo>
                  <a:lnTo>
                    <a:pt x="1070" y="361"/>
                  </a:lnTo>
                  <a:lnTo>
                    <a:pt x="1070" y="389"/>
                  </a:lnTo>
                  <a:lnTo>
                    <a:pt x="1061" y="406"/>
                  </a:lnTo>
                  <a:lnTo>
                    <a:pt x="1054" y="427"/>
                  </a:lnTo>
                  <a:lnTo>
                    <a:pt x="1037" y="415"/>
                  </a:lnTo>
                  <a:lnTo>
                    <a:pt x="1006" y="415"/>
                  </a:lnTo>
                  <a:lnTo>
                    <a:pt x="985" y="434"/>
                  </a:lnTo>
                  <a:lnTo>
                    <a:pt x="947" y="427"/>
                  </a:lnTo>
                  <a:lnTo>
                    <a:pt x="936" y="411"/>
                  </a:lnTo>
                  <a:lnTo>
                    <a:pt x="898" y="411"/>
                  </a:lnTo>
                  <a:lnTo>
                    <a:pt x="881" y="415"/>
                  </a:lnTo>
                  <a:lnTo>
                    <a:pt x="877" y="444"/>
                  </a:lnTo>
                  <a:lnTo>
                    <a:pt x="865" y="444"/>
                  </a:lnTo>
                  <a:lnTo>
                    <a:pt x="860" y="460"/>
                  </a:lnTo>
                  <a:lnTo>
                    <a:pt x="810" y="451"/>
                  </a:lnTo>
                  <a:lnTo>
                    <a:pt x="768" y="467"/>
                  </a:lnTo>
                  <a:lnTo>
                    <a:pt x="704" y="411"/>
                  </a:lnTo>
                  <a:lnTo>
                    <a:pt x="697" y="389"/>
                  </a:lnTo>
                  <a:lnTo>
                    <a:pt x="704" y="377"/>
                  </a:lnTo>
                  <a:lnTo>
                    <a:pt x="704" y="389"/>
                  </a:lnTo>
                  <a:lnTo>
                    <a:pt x="718" y="406"/>
                  </a:lnTo>
                  <a:lnTo>
                    <a:pt x="747" y="406"/>
                  </a:lnTo>
                  <a:lnTo>
                    <a:pt x="751" y="394"/>
                  </a:lnTo>
                  <a:lnTo>
                    <a:pt x="758" y="411"/>
                  </a:lnTo>
                  <a:lnTo>
                    <a:pt x="784" y="415"/>
                  </a:lnTo>
                  <a:lnTo>
                    <a:pt x="773" y="415"/>
                  </a:lnTo>
                  <a:lnTo>
                    <a:pt x="784" y="411"/>
                  </a:lnTo>
                  <a:lnTo>
                    <a:pt x="810" y="427"/>
                  </a:lnTo>
                  <a:lnTo>
                    <a:pt x="827" y="427"/>
                  </a:lnTo>
                  <a:lnTo>
                    <a:pt x="806" y="415"/>
                  </a:lnTo>
                  <a:lnTo>
                    <a:pt x="801" y="411"/>
                  </a:lnTo>
                  <a:lnTo>
                    <a:pt x="810" y="377"/>
                  </a:lnTo>
                  <a:lnTo>
                    <a:pt x="822" y="373"/>
                  </a:lnTo>
                  <a:lnTo>
                    <a:pt x="810" y="373"/>
                  </a:lnTo>
                  <a:lnTo>
                    <a:pt x="810" y="356"/>
                  </a:lnTo>
                  <a:lnTo>
                    <a:pt x="827" y="356"/>
                  </a:lnTo>
                  <a:lnTo>
                    <a:pt x="827" y="333"/>
                  </a:lnTo>
                  <a:lnTo>
                    <a:pt x="843" y="321"/>
                  </a:lnTo>
                  <a:lnTo>
                    <a:pt x="936" y="300"/>
                  </a:lnTo>
                  <a:lnTo>
                    <a:pt x="1006" y="222"/>
                  </a:lnTo>
                  <a:lnTo>
                    <a:pt x="1006" y="193"/>
                  </a:lnTo>
                  <a:lnTo>
                    <a:pt x="1016" y="193"/>
                  </a:lnTo>
                  <a:lnTo>
                    <a:pt x="1028" y="193"/>
                  </a:lnTo>
                  <a:lnTo>
                    <a:pt x="1054" y="238"/>
                  </a:lnTo>
                  <a:lnTo>
                    <a:pt x="1070" y="226"/>
                  </a:lnTo>
                  <a:lnTo>
                    <a:pt x="1070" y="210"/>
                  </a:lnTo>
                  <a:lnTo>
                    <a:pt x="1070" y="188"/>
                  </a:lnTo>
                  <a:lnTo>
                    <a:pt x="1082" y="172"/>
                  </a:lnTo>
                  <a:lnTo>
                    <a:pt x="1082" y="181"/>
                  </a:lnTo>
                  <a:lnTo>
                    <a:pt x="1082" y="210"/>
                  </a:lnTo>
                  <a:lnTo>
                    <a:pt x="1108" y="210"/>
                  </a:lnTo>
                  <a:lnTo>
                    <a:pt x="1091" y="172"/>
                  </a:lnTo>
                  <a:lnTo>
                    <a:pt x="1091" y="172"/>
                  </a:lnTo>
                  <a:lnTo>
                    <a:pt x="1108" y="172"/>
                  </a:lnTo>
                  <a:lnTo>
                    <a:pt x="1113" y="165"/>
                  </a:lnTo>
                  <a:lnTo>
                    <a:pt x="1125" y="148"/>
                  </a:lnTo>
                  <a:lnTo>
                    <a:pt x="1108" y="139"/>
                  </a:lnTo>
                  <a:lnTo>
                    <a:pt x="1108" y="132"/>
                  </a:lnTo>
                  <a:lnTo>
                    <a:pt x="1113" y="127"/>
                  </a:lnTo>
                  <a:lnTo>
                    <a:pt x="1136" y="127"/>
                  </a:lnTo>
                  <a:lnTo>
                    <a:pt x="1151" y="99"/>
                  </a:lnTo>
                  <a:lnTo>
                    <a:pt x="1162" y="82"/>
                  </a:lnTo>
                  <a:lnTo>
                    <a:pt x="1184" y="61"/>
                  </a:lnTo>
                  <a:lnTo>
                    <a:pt x="1200" y="21"/>
                  </a:lnTo>
                  <a:lnTo>
                    <a:pt x="1205" y="25"/>
                  </a:lnTo>
                  <a:lnTo>
                    <a:pt x="1205" y="54"/>
                  </a:lnTo>
                  <a:lnTo>
                    <a:pt x="1233" y="21"/>
                  </a:lnTo>
                  <a:lnTo>
                    <a:pt x="1238" y="21"/>
                  </a:lnTo>
                  <a:lnTo>
                    <a:pt x="1238" y="44"/>
                  </a:lnTo>
                  <a:lnTo>
                    <a:pt x="1271" y="54"/>
                  </a:lnTo>
                  <a:lnTo>
                    <a:pt x="1271" y="61"/>
                  </a:lnTo>
                  <a:lnTo>
                    <a:pt x="1271" y="77"/>
                  </a:lnTo>
                  <a:lnTo>
                    <a:pt x="1259" y="77"/>
                  </a:lnTo>
                  <a:lnTo>
                    <a:pt x="1271" y="94"/>
                  </a:lnTo>
                  <a:lnTo>
                    <a:pt x="1254" y="99"/>
                  </a:lnTo>
                  <a:lnTo>
                    <a:pt x="1276" y="99"/>
                  </a:lnTo>
                  <a:lnTo>
                    <a:pt x="1292" y="82"/>
                  </a:lnTo>
                  <a:lnTo>
                    <a:pt x="1297" y="99"/>
                  </a:lnTo>
                  <a:lnTo>
                    <a:pt x="1288" y="111"/>
                  </a:lnTo>
                  <a:lnTo>
                    <a:pt x="1288" y="115"/>
                  </a:lnTo>
                  <a:lnTo>
                    <a:pt x="1314" y="111"/>
                  </a:lnTo>
                  <a:lnTo>
                    <a:pt x="1351" y="132"/>
                  </a:lnTo>
                  <a:lnTo>
                    <a:pt x="1377" y="132"/>
                  </a:lnTo>
                  <a:lnTo>
                    <a:pt x="1377" y="139"/>
                  </a:lnTo>
                  <a:lnTo>
                    <a:pt x="1377" y="155"/>
                  </a:lnTo>
                  <a:lnTo>
                    <a:pt x="1363" y="155"/>
                  </a:lnTo>
                  <a:lnTo>
                    <a:pt x="1340" y="172"/>
                  </a:lnTo>
                  <a:lnTo>
                    <a:pt x="1314" y="165"/>
                  </a:lnTo>
                  <a:lnTo>
                    <a:pt x="1297" y="172"/>
                  </a:lnTo>
                  <a:lnTo>
                    <a:pt x="1309" y="188"/>
                  </a:lnTo>
                  <a:lnTo>
                    <a:pt x="1325" y="193"/>
                  </a:lnTo>
                  <a:lnTo>
                    <a:pt x="1325" y="205"/>
                  </a:lnTo>
                  <a:lnTo>
                    <a:pt x="1330" y="205"/>
                  </a:lnTo>
                  <a:lnTo>
                    <a:pt x="1340" y="205"/>
                  </a:lnTo>
                  <a:lnTo>
                    <a:pt x="1330" y="210"/>
                  </a:lnTo>
                  <a:lnTo>
                    <a:pt x="1292" y="222"/>
                  </a:lnTo>
                  <a:lnTo>
                    <a:pt x="1271" y="210"/>
                  </a:lnTo>
                  <a:lnTo>
                    <a:pt x="1259" y="226"/>
                  </a:lnTo>
                  <a:lnTo>
                    <a:pt x="1259" y="226"/>
                  </a:lnTo>
                  <a:lnTo>
                    <a:pt x="1259" y="226"/>
                  </a:lnTo>
                  <a:close/>
                  <a:moveTo>
                    <a:pt x="1243" y="44"/>
                  </a:moveTo>
                  <a:lnTo>
                    <a:pt x="1254" y="37"/>
                  </a:lnTo>
                  <a:lnTo>
                    <a:pt x="1254" y="44"/>
                  </a:lnTo>
                  <a:lnTo>
                    <a:pt x="1254" y="44"/>
                  </a:lnTo>
                  <a:lnTo>
                    <a:pt x="1243" y="44"/>
                  </a:lnTo>
                  <a:lnTo>
                    <a:pt x="1243" y="44"/>
                  </a:lnTo>
                  <a:lnTo>
                    <a:pt x="1243" y="44"/>
                  </a:lnTo>
                  <a:close/>
                  <a:moveTo>
                    <a:pt x="33" y="61"/>
                  </a:moveTo>
                  <a:lnTo>
                    <a:pt x="38" y="44"/>
                  </a:lnTo>
                  <a:lnTo>
                    <a:pt x="50" y="44"/>
                  </a:lnTo>
                  <a:lnTo>
                    <a:pt x="54" y="54"/>
                  </a:lnTo>
                  <a:lnTo>
                    <a:pt x="71" y="61"/>
                  </a:lnTo>
                  <a:lnTo>
                    <a:pt x="83" y="54"/>
                  </a:lnTo>
                  <a:lnTo>
                    <a:pt x="88" y="77"/>
                  </a:lnTo>
                  <a:lnTo>
                    <a:pt x="104" y="77"/>
                  </a:lnTo>
                  <a:lnTo>
                    <a:pt x="104" y="94"/>
                  </a:lnTo>
                  <a:lnTo>
                    <a:pt x="92" y="111"/>
                  </a:lnTo>
                  <a:lnTo>
                    <a:pt x="104" y="115"/>
                  </a:lnTo>
                  <a:lnTo>
                    <a:pt x="137" y="99"/>
                  </a:lnTo>
                  <a:lnTo>
                    <a:pt x="142" y="111"/>
                  </a:lnTo>
                  <a:lnTo>
                    <a:pt x="158" y="111"/>
                  </a:lnTo>
                  <a:lnTo>
                    <a:pt x="175" y="77"/>
                  </a:lnTo>
                  <a:lnTo>
                    <a:pt x="189" y="77"/>
                  </a:lnTo>
                  <a:lnTo>
                    <a:pt x="201" y="99"/>
                  </a:lnTo>
                  <a:lnTo>
                    <a:pt x="243" y="132"/>
                  </a:lnTo>
                  <a:lnTo>
                    <a:pt x="265" y="172"/>
                  </a:lnTo>
                  <a:lnTo>
                    <a:pt x="272" y="210"/>
                  </a:lnTo>
                  <a:lnTo>
                    <a:pt x="255" y="259"/>
                  </a:lnTo>
                  <a:lnTo>
                    <a:pt x="272" y="278"/>
                  </a:lnTo>
                  <a:lnTo>
                    <a:pt x="265" y="316"/>
                  </a:lnTo>
                  <a:lnTo>
                    <a:pt x="281" y="333"/>
                  </a:lnTo>
                  <a:lnTo>
                    <a:pt x="298" y="337"/>
                  </a:lnTo>
                  <a:lnTo>
                    <a:pt x="326" y="406"/>
                  </a:lnTo>
                  <a:lnTo>
                    <a:pt x="326" y="427"/>
                  </a:lnTo>
                  <a:lnTo>
                    <a:pt x="310" y="427"/>
                  </a:lnTo>
                  <a:lnTo>
                    <a:pt x="303" y="411"/>
                  </a:lnTo>
                  <a:lnTo>
                    <a:pt x="303" y="427"/>
                  </a:lnTo>
                  <a:lnTo>
                    <a:pt x="288" y="415"/>
                  </a:lnTo>
                  <a:lnTo>
                    <a:pt x="272" y="434"/>
                  </a:lnTo>
                  <a:lnTo>
                    <a:pt x="265" y="415"/>
                  </a:lnTo>
                  <a:lnTo>
                    <a:pt x="217" y="394"/>
                  </a:lnTo>
                  <a:lnTo>
                    <a:pt x="201" y="377"/>
                  </a:lnTo>
                  <a:lnTo>
                    <a:pt x="180" y="361"/>
                  </a:lnTo>
                  <a:lnTo>
                    <a:pt x="147" y="337"/>
                  </a:lnTo>
                  <a:lnTo>
                    <a:pt x="121" y="321"/>
                  </a:lnTo>
                  <a:lnTo>
                    <a:pt x="125" y="304"/>
                  </a:lnTo>
                  <a:lnTo>
                    <a:pt x="121" y="295"/>
                  </a:lnTo>
                  <a:lnTo>
                    <a:pt x="92" y="266"/>
                  </a:lnTo>
                  <a:lnTo>
                    <a:pt x="83" y="250"/>
                  </a:lnTo>
                  <a:lnTo>
                    <a:pt x="88" y="250"/>
                  </a:lnTo>
                  <a:lnTo>
                    <a:pt x="71" y="243"/>
                  </a:lnTo>
                  <a:lnTo>
                    <a:pt x="83" y="238"/>
                  </a:lnTo>
                  <a:lnTo>
                    <a:pt x="88" y="238"/>
                  </a:lnTo>
                  <a:lnTo>
                    <a:pt x="71" y="226"/>
                  </a:lnTo>
                  <a:lnTo>
                    <a:pt x="71" y="181"/>
                  </a:lnTo>
                  <a:lnTo>
                    <a:pt x="50" y="155"/>
                  </a:lnTo>
                  <a:lnTo>
                    <a:pt x="54" y="148"/>
                  </a:lnTo>
                  <a:lnTo>
                    <a:pt x="50" y="94"/>
                  </a:lnTo>
                  <a:lnTo>
                    <a:pt x="33" y="61"/>
                  </a:lnTo>
                  <a:lnTo>
                    <a:pt x="33" y="61"/>
                  </a:lnTo>
                  <a:lnTo>
                    <a:pt x="33" y="61"/>
                  </a:lnTo>
                  <a:close/>
                  <a:moveTo>
                    <a:pt x="17" y="61"/>
                  </a:moveTo>
                  <a:lnTo>
                    <a:pt x="17" y="70"/>
                  </a:lnTo>
                  <a:lnTo>
                    <a:pt x="12" y="77"/>
                  </a:lnTo>
                  <a:lnTo>
                    <a:pt x="0" y="61"/>
                  </a:lnTo>
                  <a:lnTo>
                    <a:pt x="17" y="61"/>
                  </a:lnTo>
                  <a:lnTo>
                    <a:pt x="17" y="61"/>
                  </a:lnTo>
                  <a:lnTo>
                    <a:pt x="17" y="61"/>
                  </a:lnTo>
                  <a:close/>
                  <a:moveTo>
                    <a:pt x="50" y="132"/>
                  </a:moveTo>
                  <a:lnTo>
                    <a:pt x="50" y="148"/>
                  </a:lnTo>
                  <a:lnTo>
                    <a:pt x="38" y="148"/>
                  </a:lnTo>
                  <a:lnTo>
                    <a:pt x="38" y="132"/>
                  </a:lnTo>
                  <a:lnTo>
                    <a:pt x="50" y="132"/>
                  </a:lnTo>
                  <a:lnTo>
                    <a:pt x="50" y="132"/>
                  </a:lnTo>
                  <a:lnTo>
                    <a:pt x="50" y="132"/>
                  </a:lnTo>
                  <a:close/>
                  <a:moveTo>
                    <a:pt x="1091" y="148"/>
                  </a:moveTo>
                  <a:lnTo>
                    <a:pt x="1099" y="139"/>
                  </a:lnTo>
                  <a:lnTo>
                    <a:pt x="1099" y="139"/>
                  </a:lnTo>
                  <a:lnTo>
                    <a:pt x="1091" y="148"/>
                  </a:lnTo>
                  <a:lnTo>
                    <a:pt x="1091" y="148"/>
                  </a:lnTo>
                  <a:lnTo>
                    <a:pt x="1091" y="148"/>
                  </a:lnTo>
                  <a:close/>
                  <a:moveTo>
                    <a:pt x="1288" y="226"/>
                  </a:moveTo>
                  <a:lnTo>
                    <a:pt x="1271" y="226"/>
                  </a:lnTo>
                  <a:lnTo>
                    <a:pt x="1271" y="222"/>
                  </a:lnTo>
                  <a:lnTo>
                    <a:pt x="1288" y="226"/>
                  </a:lnTo>
                  <a:lnTo>
                    <a:pt x="1288" y="226"/>
                  </a:lnTo>
                  <a:lnTo>
                    <a:pt x="1288" y="226"/>
                  </a:lnTo>
                  <a:close/>
                  <a:moveTo>
                    <a:pt x="822" y="349"/>
                  </a:moveTo>
                  <a:lnTo>
                    <a:pt x="822" y="321"/>
                  </a:lnTo>
                  <a:lnTo>
                    <a:pt x="827" y="356"/>
                  </a:lnTo>
                  <a:lnTo>
                    <a:pt x="822" y="349"/>
                  </a:lnTo>
                  <a:lnTo>
                    <a:pt x="822" y="349"/>
                  </a:lnTo>
                  <a:lnTo>
                    <a:pt x="822" y="34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5" name="Freeform 516">
              <a:extLst>
                <a:ext uri="{FF2B5EF4-FFF2-40B4-BE49-F238E27FC236}">
                  <a16:creationId xmlns:a16="http://schemas.microsoft.com/office/drawing/2014/main" id="{E5FE30A0-4B6F-43BE-B4AA-0A1E77BB53C1}"/>
                </a:ext>
              </a:extLst>
            </p:cNvPr>
            <p:cNvSpPr>
              <a:spLocks noEditPoints="1"/>
            </p:cNvSpPr>
            <p:nvPr/>
          </p:nvSpPr>
          <p:spPr bwMode="gray">
            <a:xfrm>
              <a:off x="14438689" y="4361842"/>
              <a:ext cx="243509" cy="401266"/>
            </a:xfrm>
            <a:custGeom>
              <a:avLst/>
              <a:gdLst>
                <a:gd name="T0" fmla="*/ 206 w 744"/>
                <a:gd name="T1" fmla="*/ 260 h 1226"/>
                <a:gd name="T2" fmla="*/ 298 w 744"/>
                <a:gd name="T3" fmla="*/ 305 h 1226"/>
                <a:gd name="T4" fmla="*/ 293 w 744"/>
                <a:gd name="T5" fmla="*/ 414 h 1226"/>
                <a:gd name="T6" fmla="*/ 331 w 744"/>
                <a:gd name="T7" fmla="*/ 470 h 1226"/>
                <a:gd name="T8" fmla="*/ 352 w 744"/>
                <a:gd name="T9" fmla="*/ 491 h 1226"/>
                <a:gd name="T10" fmla="*/ 364 w 744"/>
                <a:gd name="T11" fmla="*/ 414 h 1226"/>
                <a:gd name="T12" fmla="*/ 397 w 744"/>
                <a:gd name="T13" fmla="*/ 364 h 1226"/>
                <a:gd name="T14" fmla="*/ 397 w 744"/>
                <a:gd name="T15" fmla="*/ 310 h 1226"/>
                <a:gd name="T16" fmla="*/ 310 w 744"/>
                <a:gd name="T17" fmla="*/ 220 h 1226"/>
                <a:gd name="T18" fmla="*/ 293 w 744"/>
                <a:gd name="T19" fmla="*/ 128 h 1226"/>
                <a:gd name="T20" fmla="*/ 331 w 744"/>
                <a:gd name="T21" fmla="*/ 83 h 1226"/>
                <a:gd name="T22" fmla="*/ 418 w 744"/>
                <a:gd name="T23" fmla="*/ 83 h 1226"/>
                <a:gd name="T24" fmla="*/ 461 w 744"/>
                <a:gd name="T25" fmla="*/ 83 h 1226"/>
                <a:gd name="T26" fmla="*/ 543 w 744"/>
                <a:gd name="T27" fmla="*/ 66 h 1226"/>
                <a:gd name="T28" fmla="*/ 612 w 744"/>
                <a:gd name="T29" fmla="*/ 54 h 1226"/>
                <a:gd name="T30" fmla="*/ 721 w 744"/>
                <a:gd name="T31" fmla="*/ 0 h 1226"/>
                <a:gd name="T32" fmla="*/ 728 w 744"/>
                <a:gd name="T33" fmla="*/ 33 h 1226"/>
                <a:gd name="T34" fmla="*/ 728 w 744"/>
                <a:gd name="T35" fmla="*/ 38 h 1226"/>
                <a:gd name="T36" fmla="*/ 721 w 744"/>
                <a:gd name="T37" fmla="*/ 88 h 1226"/>
                <a:gd name="T38" fmla="*/ 732 w 744"/>
                <a:gd name="T39" fmla="*/ 166 h 1226"/>
                <a:gd name="T40" fmla="*/ 728 w 744"/>
                <a:gd name="T41" fmla="*/ 182 h 1226"/>
                <a:gd name="T42" fmla="*/ 721 w 744"/>
                <a:gd name="T43" fmla="*/ 272 h 1226"/>
                <a:gd name="T44" fmla="*/ 728 w 744"/>
                <a:gd name="T45" fmla="*/ 293 h 1226"/>
                <a:gd name="T46" fmla="*/ 732 w 744"/>
                <a:gd name="T47" fmla="*/ 343 h 1226"/>
                <a:gd name="T48" fmla="*/ 728 w 744"/>
                <a:gd name="T49" fmla="*/ 364 h 1226"/>
                <a:gd name="T50" fmla="*/ 673 w 744"/>
                <a:gd name="T51" fmla="*/ 425 h 1226"/>
                <a:gd name="T52" fmla="*/ 624 w 744"/>
                <a:gd name="T53" fmla="*/ 470 h 1226"/>
                <a:gd name="T54" fmla="*/ 489 w 744"/>
                <a:gd name="T55" fmla="*/ 536 h 1226"/>
                <a:gd name="T56" fmla="*/ 473 w 744"/>
                <a:gd name="T57" fmla="*/ 565 h 1226"/>
                <a:gd name="T58" fmla="*/ 406 w 744"/>
                <a:gd name="T59" fmla="*/ 619 h 1226"/>
                <a:gd name="T60" fmla="*/ 314 w 744"/>
                <a:gd name="T61" fmla="*/ 690 h 1226"/>
                <a:gd name="T62" fmla="*/ 343 w 744"/>
                <a:gd name="T63" fmla="*/ 775 h 1226"/>
                <a:gd name="T64" fmla="*/ 352 w 744"/>
                <a:gd name="T65" fmla="*/ 884 h 1226"/>
                <a:gd name="T66" fmla="*/ 369 w 744"/>
                <a:gd name="T67" fmla="*/ 874 h 1226"/>
                <a:gd name="T68" fmla="*/ 380 w 744"/>
                <a:gd name="T69" fmla="*/ 928 h 1226"/>
                <a:gd name="T70" fmla="*/ 352 w 744"/>
                <a:gd name="T71" fmla="*/ 1006 h 1226"/>
                <a:gd name="T72" fmla="*/ 331 w 744"/>
                <a:gd name="T73" fmla="*/ 1051 h 1226"/>
                <a:gd name="T74" fmla="*/ 163 w 744"/>
                <a:gd name="T75" fmla="*/ 1155 h 1226"/>
                <a:gd name="T76" fmla="*/ 184 w 744"/>
                <a:gd name="T77" fmla="*/ 1226 h 1226"/>
                <a:gd name="T78" fmla="*/ 125 w 744"/>
                <a:gd name="T79" fmla="*/ 1155 h 1226"/>
                <a:gd name="T80" fmla="*/ 92 w 744"/>
                <a:gd name="T81" fmla="*/ 966 h 1226"/>
                <a:gd name="T82" fmla="*/ 151 w 744"/>
                <a:gd name="T83" fmla="*/ 801 h 1226"/>
                <a:gd name="T84" fmla="*/ 163 w 744"/>
                <a:gd name="T85" fmla="*/ 768 h 1226"/>
                <a:gd name="T86" fmla="*/ 184 w 744"/>
                <a:gd name="T87" fmla="*/ 730 h 1226"/>
                <a:gd name="T88" fmla="*/ 184 w 744"/>
                <a:gd name="T89" fmla="*/ 636 h 1226"/>
                <a:gd name="T90" fmla="*/ 184 w 744"/>
                <a:gd name="T91" fmla="*/ 607 h 1226"/>
                <a:gd name="T92" fmla="*/ 191 w 744"/>
                <a:gd name="T93" fmla="*/ 569 h 1226"/>
                <a:gd name="T94" fmla="*/ 191 w 744"/>
                <a:gd name="T95" fmla="*/ 515 h 1226"/>
                <a:gd name="T96" fmla="*/ 191 w 744"/>
                <a:gd name="T97" fmla="*/ 458 h 1226"/>
                <a:gd name="T98" fmla="*/ 147 w 744"/>
                <a:gd name="T99" fmla="*/ 442 h 1226"/>
                <a:gd name="T100" fmla="*/ 83 w 744"/>
                <a:gd name="T101" fmla="*/ 421 h 1226"/>
                <a:gd name="T102" fmla="*/ 17 w 744"/>
                <a:gd name="T103" fmla="*/ 380 h 1226"/>
                <a:gd name="T104" fmla="*/ 678 w 744"/>
                <a:gd name="T105" fmla="*/ 437 h 1226"/>
                <a:gd name="T106" fmla="*/ 678 w 744"/>
                <a:gd name="T107" fmla="*/ 437 h 1226"/>
                <a:gd name="T108" fmla="*/ 191 w 744"/>
                <a:gd name="T109" fmla="*/ 1160 h 1226"/>
                <a:gd name="T110" fmla="*/ 191 w 744"/>
                <a:gd name="T111" fmla="*/ 116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44" h="1226">
                  <a:moveTo>
                    <a:pt x="17" y="380"/>
                  </a:moveTo>
                  <a:lnTo>
                    <a:pt x="0" y="331"/>
                  </a:lnTo>
                  <a:lnTo>
                    <a:pt x="206" y="260"/>
                  </a:lnTo>
                  <a:lnTo>
                    <a:pt x="239" y="305"/>
                  </a:lnTo>
                  <a:lnTo>
                    <a:pt x="288" y="288"/>
                  </a:lnTo>
                  <a:lnTo>
                    <a:pt x="298" y="305"/>
                  </a:lnTo>
                  <a:lnTo>
                    <a:pt x="298" y="359"/>
                  </a:lnTo>
                  <a:lnTo>
                    <a:pt x="276" y="397"/>
                  </a:lnTo>
                  <a:lnTo>
                    <a:pt x="293" y="414"/>
                  </a:lnTo>
                  <a:lnTo>
                    <a:pt x="293" y="425"/>
                  </a:lnTo>
                  <a:lnTo>
                    <a:pt x="298" y="425"/>
                  </a:lnTo>
                  <a:lnTo>
                    <a:pt x="331" y="470"/>
                  </a:lnTo>
                  <a:lnTo>
                    <a:pt x="347" y="470"/>
                  </a:lnTo>
                  <a:lnTo>
                    <a:pt x="343" y="491"/>
                  </a:lnTo>
                  <a:lnTo>
                    <a:pt x="352" y="491"/>
                  </a:lnTo>
                  <a:lnTo>
                    <a:pt x="352" y="458"/>
                  </a:lnTo>
                  <a:lnTo>
                    <a:pt x="343" y="442"/>
                  </a:lnTo>
                  <a:lnTo>
                    <a:pt x="364" y="414"/>
                  </a:lnTo>
                  <a:lnTo>
                    <a:pt x="369" y="421"/>
                  </a:lnTo>
                  <a:lnTo>
                    <a:pt x="397" y="404"/>
                  </a:lnTo>
                  <a:lnTo>
                    <a:pt x="397" y="364"/>
                  </a:lnTo>
                  <a:lnTo>
                    <a:pt x="385" y="347"/>
                  </a:lnTo>
                  <a:lnTo>
                    <a:pt x="402" y="326"/>
                  </a:lnTo>
                  <a:lnTo>
                    <a:pt x="397" y="310"/>
                  </a:lnTo>
                  <a:lnTo>
                    <a:pt x="343" y="236"/>
                  </a:lnTo>
                  <a:lnTo>
                    <a:pt x="326" y="220"/>
                  </a:lnTo>
                  <a:lnTo>
                    <a:pt x="310" y="220"/>
                  </a:lnTo>
                  <a:lnTo>
                    <a:pt x="298" y="215"/>
                  </a:lnTo>
                  <a:lnTo>
                    <a:pt x="298" y="166"/>
                  </a:lnTo>
                  <a:lnTo>
                    <a:pt x="293" y="128"/>
                  </a:lnTo>
                  <a:lnTo>
                    <a:pt x="310" y="95"/>
                  </a:lnTo>
                  <a:lnTo>
                    <a:pt x="310" y="83"/>
                  </a:lnTo>
                  <a:lnTo>
                    <a:pt x="331" y="83"/>
                  </a:lnTo>
                  <a:lnTo>
                    <a:pt x="369" y="88"/>
                  </a:lnTo>
                  <a:lnTo>
                    <a:pt x="397" y="71"/>
                  </a:lnTo>
                  <a:lnTo>
                    <a:pt x="418" y="83"/>
                  </a:lnTo>
                  <a:lnTo>
                    <a:pt x="418" y="95"/>
                  </a:lnTo>
                  <a:lnTo>
                    <a:pt x="439" y="95"/>
                  </a:lnTo>
                  <a:lnTo>
                    <a:pt x="461" y="83"/>
                  </a:lnTo>
                  <a:lnTo>
                    <a:pt x="510" y="95"/>
                  </a:lnTo>
                  <a:lnTo>
                    <a:pt x="532" y="83"/>
                  </a:lnTo>
                  <a:lnTo>
                    <a:pt x="543" y="66"/>
                  </a:lnTo>
                  <a:lnTo>
                    <a:pt x="548" y="54"/>
                  </a:lnTo>
                  <a:lnTo>
                    <a:pt x="581" y="71"/>
                  </a:lnTo>
                  <a:lnTo>
                    <a:pt x="612" y="54"/>
                  </a:lnTo>
                  <a:lnTo>
                    <a:pt x="636" y="54"/>
                  </a:lnTo>
                  <a:lnTo>
                    <a:pt x="721" y="0"/>
                  </a:lnTo>
                  <a:lnTo>
                    <a:pt x="721" y="0"/>
                  </a:lnTo>
                  <a:lnTo>
                    <a:pt x="728" y="17"/>
                  </a:lnTo>
                  <a:lnTo>
                    <a:pt x="721" y="29"/>
                  </a:lnTo>
                  <a:lnTo>
                    <a:pt x="728" y="33"/>
                  </a:lnTo>
                  <a:lnTo>
                    <a:pt x="721" y="33"/>
                  </a:lnTo>
                  <a:lnTo>
                    <a:pt x="721" y="38"/>
                  </a:lnTo>
                  <a:lnTo>
                    <a:pt x="728" y="38"/>
                  </a:lnTo>
                  <a:lnTo>
                    <a:pt x="711" y="66"/>
                  </a:lnTo>
                  <a:lnTo>
                    <a:pt x="721" y="71"/>
                  </a:lnTo>
                  <a:lnTo>
                    <a:pt x="721" y="88"/>
                  </a:lnTo>
                  <a:lnTo>
                    <a:pt x="721" y="111"/>
                  </a:lnTo>
                  <a:lnTo>
                    <a:pt x="721" y="149"/>
                  </a:lnTo>
                  <a:lnTo>
                    <a:pt x="732" y="166"/>
                  </a:lnTo>
                  <a:lnTo>
                    <a:pt x="711" y="182"/>
                  </a:lnTo>
                  <a:lnTo>
                    <a:pt x="721" y="194"/>
                  </a:lnTo>
                  <a:lnTo>
                    <a:pt x="728" y="182"/>
                  </a:lnTo>
                  <a:lnTo>
                    <a:pt x="721" y="220"/>
                  </a:lnTo>
                  <a:lnTo>
                    <a:pt x="732" y="260"/>
                  </a:lnTo>
                  <a:lnTo>
                    <a:pt x="721" y="272"/>
                  </a:lnTo>
                  <a:lnTo>
                    <a:pt x="728" y="277"/>
                  </a:lnTo>
                  <a:lnTo>
                    <a:pt x="732" y="277"/>
                  </a:lnTo>
                  <a:lnTo>
                    <a:pt x="728" y="293"/>
                  </a:lnTo>
                  <a:lnTo>
                    <a:pt x="744" y="288"/>
                  </a:lnTo>
                  <a:lnTo>
                    <a:pt x="744" y="310"/>
                  </a:lnTo>
                  <a:lnTo>
                    <a:pt x="732" y="343"/>
                  </a:lnTo>
                  <a:lnTo>
                    <a:pt x="721" y="343"/>
                  </a:lnTo>
                  <a:lnTo>
                    <a:pt x="732" y="347"/>
                  </a:lnTo>
                  <a:lnTo>
                    <a:pt x="728" y="364"/>
                  </a:lnTo>
                  <a:lnTo>
                    <a:pt x="695" y="404"/>
                  </a:lnTo>
                  <a:lnTo>
                    <a:pt x="690" y="421"/>
                  </a:lnTo>
                  <a:lnTo>
                    <a:pt x="673" y="425"/>
                  </a:lnTo>
                  <a:lnTo>
                    <a:pt x="673" y="437"/>
                  </a:lnTo>
                  <a:lnTo>
                    <a:pt x="666" y="442"/>
                  </a:lnTo>
                  <a:lnTo>
                    <a:pt x="624" y="470"/>
                  </a:lnTo>
                  <a:lnTo>
                    <a:pt x="619" y="475"/>
                  </a:lnTo>
                  <a:lnTo>
                    <a:pt x="532" y="508"/>
                  </a:lnTo>
                  <a:lnTo>
                    <a:pt x="489" y="536"/>
                  </a:lnTo>
                  <a:lnTo>
                    <a:pt x="473" y="553"/>
                  </a:lnTo>
                  <a:lnTo>
                    <a:pt x="461" y="548"/>
                  </a:lnTo>
                  <a:lnTo>
                    <a:pt x="473" y="565"/>
                  </a:lnTo>
                  <a:lnTo>
                    <a:pt x="423" y="619"/>
                  </a:lnTo>
                  <a:lnTo>
                    <a:pt x="406" y="619"/>
                  </a:lnTo>
                  <a:lnTo>
                    <a:pt x="406" y="619"/>
                  </a:lnTo>
                  <a:lnTo>
                    <a:pt x="326" y="697"/>
                  </a:lnTo>
                  <a:lnTo>
                    <a:pt x="310" y="673"/>
                  </a:lnTo>
                  <a:lnTo>
                    <a:pt x="314" y="690"/>
                  </a:lnTo>
                  <a:lnTo>
                    <a:pt x="314" y="718"/>
                  </a:lnTo>
                  <a:lnTo>
                    <a:pt x="310" y="735"/>
                  </a:lnTo>
                  <a:lnTo>
                    <a:pt x="343" y="775"/>
                  </a:lnTo>
                  <a:lnTo>
                    <a:pt x="343" y="801"/>
                  </a:lnTo>
                  <a:lnTo>
                    <a:pt x="352" y="825"/>
                  </a:lnTo>
                  <a:lnTo>
                    <a:pt x="352" y="884"/>
                  </a:lnTo>
                  <a:lnTo>
                    <a:pt x="364" y="884"/>
                  </a:lnTo>
                  <a:lnTo>
                    <a:pt x="369" y="862"/>
                  </a:lnTo>
                  <a:lnTo>
                    <a:pt x="369" y="874"/>
                  </a:lnTo>
                  <a:lnTo>
                    <a:pt x="369" y="917"/>
                  </a:lnTo>
                  <a:lnTo>
                    <a:pt x="369" y="928"/>
                  </a:lnTo>
                  <a:lnTo>
                    <a:pt x="380" y="928"/>
                  </a:lnTo>
                  <a:lnTo>
                    <a:pt x="369" y="940"/>
                  </a:lnTo>
                  <a:lnTo>
                    <a:pt x="352" y="995"/>
                  </a:lnTo>
                  <a:lnTo>
                    <a:pt x="352" y="1006"/>
                  </a:lnTo>
                  <a:lnTo>
                    <a:pt x="369" y="990"/>
                  </a:lnTo>
                  <a:lnTo>
                    <a:pt x="369" y="1011"/>
                  </a:lnTo>
                  <a:lnTo>
                    <a:pt x="331" y="1051"/>
                  </a:lnTo>
                  <a:lnTo>
                    <a:pt x="239" y="1094"/>
                  </a:lnTo>
                  <a:lnTo>
                    <a:pt x="180" y="1134"/>
                  </a:lnTo>
                  <a:lnTo>
                    <a:pt x="163" y="1155"/>
                  </a:lnTo>
                  <a:lnTo>
                    <a:pt x="184" y="1177"/>
                  </a:lnTo>
                  <a:lnTo>
                    <a:pt x="191" y="1160"/>
                  </a:lnTo>
                  <a:lnTo>
                    <a:pt x="184" y="1226"/>
                  </a:lnTo>
                  <a:lnTo>
                    <a:pt x="130" y="1226"/>
                  </a:lnTo>
                  <a:lnTo>
                    <a:pt x="130" y="1172"/>
                  </a:lnTo>
                  <a:lnTo>
                    <a:pt x="125" y="1155"/>
                  </a:lnTo>
                  <a:lnTo>
                    <a:pt x="125" y="1040"/>
                  </a:lnTo>
                  <a:lnTo>
                    <a:pt x="113" y="1006"/>
                  </a:lnTo>
                  <a:lnTo>
                    <a:pt x="92" y="966"/>
                  </a:lnTo>
                  <a:lnTo>
                    <a:pt x="92" y="940"/>
                  </a:lnTo>
                  <a:lnTo>
                    <a:pt x="76" y="884"/>
                  </a:lnTo>
                  <a:lnTo>
                    <a:pt x="151" y="801"/>
                  </a:lnTo>
                  <a:lnTo>
                    <a:pt x="151" y="808"/>
                  </a:lnTo>
                  <a:lnTo>
                    <a:pt x="147" y="791"/>
                  </a:lnTo>
                  <a:lnTo>
                    <a:pt x="163" y="768"/>
                  </a:lnTo>
                  <a:lnTo>
                    <a:pt x="151" y="751"/>
                  </a:lnTo>
                  <a:lnTo>
                    <a:pt x="168" y="747"/>
                  </a:lnTo>
                  <a:lnTo>
                    <a:pt x="184" y="730"/>
                  </a:lnTo>
                  <a:lnTo>
                    <a:pt x="201" y="690"/>
                  </a:lnTo>
                  <a:lnTo>
                    <a:pt x="180" y="664"/>
                  </a:lnTo>
                  <a:lnTo>
                    <a:pt x="184" y="636"/>
                  </a:lnTo>
                  <a:lnTo>
                    <a:pt x="168" y="624"/>
                  </a:lnTo>
                  <a:lnTo>
                    <a:pt x="168" y="619"/>
                  </a:lnTo>
                  <a:lnTo>
                    <a:pt x="184" y="607"/>
                  </a:lnTo>
                  <a:lnTo>
                    <a:pt x="184" y="591"/>
                  </a:lnTo>
                  <a:lnTo>
                    <a:pt x="201" y="581"/>
                  </a:lnTo>
                  <a:lnTo>
                    <a:pt x="191" y="569"/>
                  </a:lnTo>
                  <a:lnTo>
                    <a:pt x="184" y="553"/>
                  </a:lnTo>
                  <a:lnTo>
                    <a:pt x="191" y="525"/>
                  </a:lnTo>
                  <a:lnTo>
                    <a:pt x="191" y="515"/>
                  </a:lnTo>
                  <a:lnTo>
                    <a:pt x="191" y="508"/>
                  </a:lnTo>
                  <a:lnTo>
                    <a:pt x="184" y="475"/>
                  </a:lnTo>
                  <a:lnTo>
                    <a:pt x="191" y="458"/>
                  </a:lnTo>
                  <a:lnTo>
                    <a:pt x="180" y="458"/>
                  </a:lnTo>
                  <a:lnTo>
                    <a:pt x="168" y="454"/>
                  </a:lnTo>
                  <a:lnTo>
                    <a:pt x="147" y="442"/>
                  </a:lnTo>
                  <a:lnTo>
                    <a:pt x="113" y="437"/>
                  </a:lnTo>
                  <a:lnTo>
                    <a:pt x="99" y="421"/>
                  </a:lnTo>
                  <a:lnTo>
                    <a:pt x="83" y="421"/>
                  </a:lnTo>
                  <a:lnTo>
                    <a:pt x="71" y="404"/>
                  </a:lnTo>
                  <a:lnTo>
                    <a:pt x="17" y="404"/>
                  </a:lnTo>
                  <a:lnTo>
                    <a:pt x="17" y="380"/>
                  </a:lnTo>
                  <a:lnTo>
                    <a:pt x="17" y="380"/>
                  </a:lnTo>
                  <a:lnTo>
                    <a:pt x="17" y="380"/>
                  </a:lnTo>
                  <a:close/>
                  <a:moveTo>
                    <a:pt x="678" y="437"/>
                  </a:moveTo>
                  <a:lnTo>
                    <a:pt x="673" y="425"/>
                  </a:lnTo>
                  <a:lnTo>
                    <a:pt x="678" y="425"/>
                  </a:lnTo>
                  <a:lnTo>
                    <a:pt x="678" y="437"/>
                  </a:lnTo>
                  <a:lnTo>
                    <a:pt x="678" y="437"/>
                  </a:lnTo>
                  <a:lnTo>
                    <a:pt x="678" y="437"/>
                  </a:lnTo>
                  <a:close/>
                  <a:moveTo>
                    <a:pt x="191" y="1160"/>
                  </a:moveTo>
                  <a:lnTo>
                    <a:pt x="184" y="1155"/>
                  </a:lnTo>
                  <a:lnTo>
                    <a:pt x="191" y="1155"/>
                  </a:lnTo>
                  <a:lnTo>
                    <a:pt x="191" y="1160"/>
                  </a:lnTo>
                  <a:lnTo>
                    <a:pt x="191" y="1160"/>
                  </a:lnTo>
                  <a:lnTo>
                    <a:pt x="191" y="116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6" name="Freeform 517">
              <a:extLst>
                <a:ext uri="{FF2B5EF4-FFF2-40B4-BE49-F238E27FC236}">
                  <a16:creationId xmlns:a16="http://schemas.microsoft.com/office/drawing/2014/main" id="{3D8433E8-A6CC-4F80-90E9-A96B1DDC7B20}"/>
                </a:ext>
              </a:extLst>
            </p:cNvPr>
            <p:cNvSpPr>
              <a:spLocks noEditPoints="1"/>
            </p:cNvSpPr>
            <p:nvPr/>
          </p:nvSpPr>
          <p:spPr bwMode="gray">
            <a:xfrm>
              <a:off x="17508731" y="4594550"/>
              <a:ext cx="92952" cy="61859"/>
            </a:xfrm>
            <a:custGeom>
              <a:avLst/>
              <a:gdLst>
                <a:gd name="T0" fmla="*/ 199 w 284"/>
                <a:gd name="T1" fmla="*/ 173 h 189"/>
                <a:gd name="T2" fmla="*/ 199 w 284"/>
                <a:gd name="T3" fmla="*/ 168 h 189"/>
                <a:gd name="T4" fmla="*/ 194 w 284"/>
                <a:gd name="T5" fmla="*/ 168 h 189"/>
                <a:gd name="T6" fmla="*/ 177 w 284"/>
                <a:gd name="T7" fmla="*/ 163 h 189"/>
                <a:gd name="T8" fmla="*/ 173 w 284"/>
                <a:gd name="T9" fmla="*/ 168 h 189"/>
                <a:gd name="T10" fmla="*/ 173 w 284"/>
                <a:gd name="T11" fmla="*/ 163 h 189"/>
                <a:gd name="T12" fmla="*/ 147 w 284"/>
                <a:gd name="T13" fmla="*/ 151 h 189"/>
                <a:gd name="T14" fmla="*/ 147 w 284"/>
                <a:gd name="T15" fmla="*/ 135 h 189"/>
                <a:gd name="T16" fmla="*/ 88 w 284"/>
                <a:gd name="T17" fmla="*/ 111 h 189"/>
                <a:gd name="T18" fmla="*/ 29 w 284"/>
                <a:gd name="T19" fmla="*/ 52 h 189"/>
                <a:gd name="T20" fmla="*/ 0 w 284"/>
                <a:gd name="T21" fmla="*/ 0 h 189"/>
                <a:gd name="T22" fmla="*/ 29 w 284"/>
                <a:gd name="T23" fmla="*/ 17 h 189"/>
                <a:gd name="T24" fmla="*/ 29 w 284"/>
                <a:gd name="T25" fmla="*/ 7 h 189"/>
                <a:gd name="T26" fmla="*/ 38 w 284"/>
                <a:gd name="T27" fmla="*/ 17 h 189"/>
                <a:gd name="T28" fmla="*/ 66 w 284"/>
                <a:gd name="T29" fmla="*/ 40 h 189"/>
                <a:gd name="T30" fmla="*/ 88 w 284"/>
                <a:gd name="T31" fmla="*/ 52 h 189"/>
                <a:gd name="T32" fmla="*/ 118 w 284"/>
                <a:gd name="T33" fmla="*/ 90 h 189"/>
                <a:gd name="T34" fmla="*/ 140 w 284"/>
                <a:gd name="T35" fmla="*/ 95 h 189"/>
                <a:gd name="T36" fmla="*/ 210 w 284"/>
                <a:gd name="T37" fmla="*/ 151 h 189"/>
                <a:gd name="T38" fmla="*/ 210 w 284"/>
                <a:gd name="T39" fmla="*/ 168 h 189"/>
                <a:gd name="T40" fmla="*/ 199 w 284"/>
                <a:gd name="T41" fmla="*/ 173 h 189"/>
                <a:gd name="T42" fmla="*/ 199 w 284"/>
                <a:gd name="T43" fmla="*/ 173 h 189"/>
                <a:gd name="T44" fmla="*/ 199 w 284"/>
                <a:gd name="T45" fmla="*/ 173 h 189"/>
                <a:gd name="T46" fmla="*/ 177 w 284"/>
                <a:gd name="T47" fmla="*/ 52 h 189"/>
                <a:gd name="T48" fmla="*/ 189 w 284"/>
                <a:gd name="T49" fmla="*/ 24 h 189"/>
                <a:gd name="T50" fmla="*/ 189 w 284"/>
                <a:gd name="T51" fmla="*/ 40 h 189"/>
                <a:gd name="T52" fmla="*/ 177 w 284"/>
                <a:gd name="T53" fmla="*/ 52 h 189"/>
                <a:gd name="T54" fmla="*/ 177 w 284"/>
                <a:gd name="T55" fmla="*/ 52 h 189"/>
                <a:gd name="T56" fmla="*/ 177 w 284"/>
                <a:gd name="T57" fmla="*/ 52 h 189"/>
                <a:gd name="T58" fmla="*/ 241 w 284"/>
                <a:gd name="T59" fmla="*/ 78 h 189"/>
                <a:gd name="T60" fmla="*/ 215 w 284"/>
                <a:gd name="T61" fmla="*/ 62 h 189"/>
                <a:gd name="T62" fmla="*/ 225 w 284"/>
                <a:gd name="T63" fmla="*/ 57 h 189"/>
                <a:gd name="T64" fmla="*/ 215 w 284"/>
                <a:gd name="T65" fmla="*/ 52 h 189"/>
                <a:gd name="T66" fmla="*/ 232 w 284"/>
                <a:gd name="T67" fmla="*/ 52 h 189"/>
                <a:gd name="T68" fmla="*/ 232 w 284"/>
                <a:gd name="T69" fmla="*/ 57 h 189"/>
                <a:gd name="T70" fmla="*/ 241 w 284"/>
                <a:gd name="T71" fmla="*/ 73 h 189"/>
                <a:gd name="T72" fmla="*/ 241 w 284"/>
                <a:gd name="T73" fmla="*/ 78 h 189"/>
                <a:gd name="T74" fmla="*/ 241 w 284"/>
                <a:gd name="T75" fmla="*/ 78 h 189"/>
                <a:gd name="T76" fmla="*/ 241 w 284"/>
                <a:gd name="T77" fmla="*/ 78 h 189"/>
                <a:gd name="T78" fmla="*/ 279 w 284"/>
                <a:gd name="T79" fmla="*/ 118 h 189"/>
                <a:gd name="T80" fmla="*/ 270 w 284"/>
                <a:gd name="T81" fmla="*/ 95 h 189"/>
                <a:gd name="T82" fmla="*/ 284 w 284"/>
                <a:gd name="T83" fmla="*/ 106 h 189"/>
                <a:gd name="T84" fmla="*/ 284 w 284"/>
                <a:gd name="T85" fmla="*/ 111 h 189"/>
                <a:gd name="T86" fmla="*/ 279 w 284"/>
                <a:gd name="T87" fmla="*/ 118 h 189"/>
                <a:gd name="T88" fmla="*/ 279 w 284"/>
                <a:gd name="T89" fmla="*/ 118 h 189"/>
                <a:gd name="T90" fmla="*/ 279 w 284"/>
                <a:gd name="T91" fmla="*/ 118 h 189"/>
                <a:gd name="T92" fmla="*/ 248 w 284"/>
                <a:gd name="T93" fmla="*/ 189 h 189"/>
                <a:gd name="T94" fmla="*/ 241 w 284"/>
                <a:gd name="T95" fmla="*/ 189 h 189"/>
                <a:gd name="T96" fmla="*/ 241 w 284"/>
                <a:gd name="T97" fmla="*/ 184 h 189"/>
                <a:gd name="T98" fmla="*/ 248 w 284"/>
                <a:gd name="T99" fmla="*/ 189 h 189"/>
                <a:gd name="T100" fmla="*/ 248 w 284"/>
                <a:gd name="T101" fmla="*/ 189 h 189"/>
                <a:gd name="T102" fmla="*/ 248 w 284"/>
                <a:gd name="T103" fmla="*/ 189 h 189"/>
                <a:gd name="T104" fmla="*/ 248 w 284"/>
                <a:gd name="T105"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4" h="189">
                  <a:moveTo>
                    <a:pt x="199" y="173"/>
                  </a:moveTo>
                  <a:lnTo>
                    <a:pt x="199" y="168"/>
                  </a:lnTo>
                  <a:lnTo>
                    <a:pt x="194" y="168"/>
                  </a:lnTo>
                  <a:lnTo>
                    <a:pt x="177" y="163"/>
                  </a:lnTo>
                  <a:lnTo>
                    <a:pt x="173" y="168"/>
                  </a:lnTo>
                  <a:lnTo>
                    <a:pt x="173" y="163"/>
                  </a:lnTo>
                  <a:lnTo>
                    <a:pt x="147" y="151"/>
                  </a:lnTo>
                  <a:lnTo>
                    <a:pt x="147" y="135"/>
                  </a:lnTo>
                  <a:lnTo>
                    <a:pt x="88" y="111"/>
                  </a:lnTo>
                  <a:lnTo>
                    <a:pt x="29" y="52"/>
                  </a:lnTo>
                  <a:lnTo>
                    <a:pt x="0" y="0"/>
                  </a:lnTo>
                  <a:lnTo>
                    <a:pt x="29" y="17"/>
                  </a:lnTo>
                  <a:lnTo>
                    <a:pt x="29" y="7"/>
                  </a:lnTo>
                  <a:lnTo>
                    <a:pt x="38" y="17"/>
                  </a:lnTo>
                  <a:lnTo>
                    <a:pt x="66" y="40"/>
                  </a:lnTo>
                  <a:lnTo>
                    <a:pt x="88" y="52"/>
                  </a:lnTo>
                  <a:lnTo>
                    <a:pt x="118" y="90"/>
                  </a:lnTo>
                  <a:lnTo>
                    <a:pt x="140" y="95"/>
                  </a:lnTo>
                  <a:lnTo>
                    <a:pt x="210" y="151"/>
                  </a:lnTo>
                  <a:lnTo>
                    <a:pt x="210" y="168"/>
                  </a:lnTo>
                  <a:lnTo>
                    <a:pt x="199" y="173"/>
                  </a:lnTo>
                  <a:lnTo>
                    <a:pt x="199" y="173"/>
                  </a:lnTo>
                  <a:lnTo>
                    <a:pt x="199" y="173"/>
                  </a:lnTo>
                  <a:close/>
                  <a:moveTo>
                    <a:pt x="177" y="52"/>
                  </a:moveTo>
                  <a:lnTo>
                    <a:pt x="189" y="24"/>
                  </a:lnTo>
                  <a:lnTo>
                    <a:pt x="189" y="40"/>
                  </a:lnTo>
                  <a:lnTo>
                    <a:pt x="177" y="52"/>
                  </a:lnTo>
                  <a:lnTo>
                    <a:pt x="177" y="52"/>
                  </a:lnTo>
                  <a:lnTo>
                    <a:pt x="177" y="52"/>
                  </a:lnTo>
                  <a:close/>
                  <a:moveTo>
                    <a:pt x="241" y="78"/>
                  </a:moveTo>
                  <a:lnTo>
                    <a:pt x="215" y="62"/>
                  </a:lnTo>
                  <a:lnTo>
                    <a:pt x="225" y="57"/>
                  </a:lnTo>
                  <a:lnTo>
                    <a:pt x="215" y="52"/>
                  </a:lnTo>
                  <a:lnTo>
                    <a:pt x="232" y="52"/>
                  </a:lnTo>
                  <a:lnTo>
                    <a:pt x="232" y="57"/>
                  </a:lnTo>
                  <a:lnTo>
                    <a:pt x="241" y="73"/>
                  </a:lnTo>
                  <a:lnTo>
                    <a:pt x="241" y="78"/>
                  </a:lnTo>
                  <a:lnTo>
                    <a:pt x="241" y="78"/>
                  </a:lnTo>
                  <a:lnTo>
                    <a:pt x="241" y="78"/>
                  </a:lnTo>
                  <a:close/>
                  <a:moveTo>
                    <a:pt x="279" y="118"/>
                  </a:moveTo>
                  <a:lnTo>
                    <a:pt x="270" y="95"/>
                  </a:lnTo>
                  <a:lnTo>
                    <a:pt x="284" y="106"/>
                  </a:lnTo>
                  <a:lnTo>
                    <a:pt x="284" y="111"/>
                  </a:lnTo>
                  <a:lnTo>
                    <a:pt x="279" y="118"/>
                  </a:lnTo>
                  <a:lnTo>
                    <a:pt x="279" y="118"/>
                  </a:lnTo>
                  <a:lnTo>
                    <a:pt x="279" y="118"/>
                  </a:lnTo>
                  <a:close/>
                  <a:moveTo>
                    <a:pt x="248" y="189"/>
                  </a:moveTo>
                  <a:lnTo>
                    <a:pt x="241" y="189"/>
                  </a:lnTo>
                  <a:lnTo>
                    <a:pt x="241" y="184"/>
                  </a:lnTo>
                  <a:lnTo>
                    <a:pt x="248" y="189"/>
                  </a:lnTo>
                  <a:lnTo>
                    <a:pt x="248" y="189"/>
                  </a:lnTo>
                  <a:lnTo>
                    <a:pt x="248" y="189"/>
                  </a:lnTo>
                  <a:lnTo>
                    <a:pt x="248" y="18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7" name="Freeform 518">
              <a:extLst>
                <a:ext uri="{FF2B5EF4-FFF2-40B4-BE49-F238E27FC236}">
                  <a16:creationId xmlns:a16="http://schemas.microsoft.com/office/drawing/2014/main" id="{6D2BE53A-260B-40B7-AD49-73D20E2F7498}"/>
                </a:ext>
              </a:extLst>
            </p:cNvPr>
            <p:cNvSpPr>
              <a:spLocks/>
            </p:cNvSpPr>
            <p:nvPr/>
          </p:nvSpPr>
          <p:spPr bwMode="gray">
            <a:xfrm>
              <a:off x="9843117" y="4566730"/>
              <a:ext cx="1636" cy="4582"/>
            </a:xfrm>
            <a:custGeom>
              <a:avLst/>
              <a:gdLst>
                <a:gd name="T0" fmla="*/ 0 w 5"/>
                <a:gd name="T1" fmla="*/ 14 h 14"/>
                <a:gd name="T2" fmla="*/ 0 w 5"/>
                <a:gd name="T3" fmla="*/ 10 h 14"/>
                <a:gd name="T4" fmla="*/ 5 w 5"/>
                <a:gd name="T5" fmla="*/ 0 h 14"/>
                <a:gd name="T6" fmla="*/ 5 w 5"/>
                <a:gd name="T7" fmla="*/ 10 h 14"/>
                <a:gd name="T8" fmla="*/ 0 w 5"/>
                <a:gd name="T9" fmla="*/ 14 h 14"/>
                <a:gd name="T10" fmla="*/ 0 w 5"/>
                <a:gd name="T11" fmla="*/ 14 h 14"/>
                <a:gd name="T12" fmla="*/ 0 w 5"/>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5" h="14">
                  <a:moveTo>
                    <a:pt x="0" y="14"/>
                  </a:moveTo>
                  <a:lnTo>
                    <a:pt x="0" y="10"/>
                  </a:lnTo>
                  <a:lnTo>
                    <a:pt x="5" y="0"/>
                  </a:lnTo>
                  <a:lnTo>
                    <a:pt x="5" y="10"/>
                  </a:lnTo>
                  <a:lnTo>
                    <a:pt x="0" y="14"/>
                  </a:lnTo>
                  <a:lnTo>
                    <a:pt x="0" y="14"/>
                  </a:lnTo>
                  <a:lnTo>
                    <a:pt x="0" y="1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8" name="Freeform 519">
              <a:extLst>
                <a:ext uri="{FF2B5EF4-FFF2-40B4-BE49-F238E27FC236}">
                  <a16:creationId xmlns:a16="http://schemas.microsoft.com/office/drawing/2014/main" id="{06CF9F2D-7595-450E-888A-4A43D48CCF49}"/>
                </a:ext>
              </a:extLst>
            </p:cNvPr>
            <p:cNvSpPr>
              <a:spLocks/>
            </p:cNvSpPr>
            <p:nvPr/>
          </p:nvSpPr>
          <p:spPr bwMode="gray">
            <a:xfrm>
              <a:off x="13746784" y="3550147"/>
              <a:ext cx="363299" cy="287694"/>
            </a:xfrm>
            <a:custGeom>
              <a:avLst/>
              <a:gdLst>
                <a:gd name="T0" fmla="*/ 194 w 1110"/>
                <a:gd name="T1" fmla="*/ 824 h 879"/>
                <a:gd name="T2" fmla="*/ 161 w 1110"/>
                <a:gd name="T3" fmla="*/ 862 h 879"/>
                <a:gd name="T4" fmla="*/ 144 w 1110"/>
                <a:gd name="T5" fmla="*/ 824 h 879"/>
                <a:gd name="T6" fmla="*/ 102 w 1110"/>
                <a:gd name="T7" fmla="*/ 808 h 879"/>
                <a:gd name="T8" fmla="*/ 64 w 1110"/>
                <a:gd name="T9" fmla="*/ 751 h 879"/>
                <a:gd name="T10" fmla="*/ 64 w 1110"/>
                <a:gd name="T11" fmla="*/ 742 h 879"/>
                <a:gd name="T12" fmla="*/ 31 w 1110"/>
                <a:gd name="T13" fmla="*/ 725 h 879"/>
                <a:gd name="T14" fmla="*/ 21 w 1110"/>
                <a:gd name="T15" fmla="*/ 685 h 879"/>
                <a:gd name="T16" fmla="*/ 9 w 1110"/>
                <a:gd name="T17" fmla="*/ 642 h 879"/>
                <a:gd name="T18" fmla="*/ 64 w 1110"/>
                <a:gd name="T19" fmla="*/ 631 h 879"/>
                <a:gd name="T20" fmla="*/ 198 w 1110"/>
                <a:gd name="T21" fmla="*/ 607 h 879"/>
                <a:gd name="T22" fmla="*/ 236 w 1110"/>
                <a:gd name="T23" fmla="*/ 607 h 879"/>
                <a:gd name="T24" fmla="*/ 264 w 1110"/>
                <a:gd name="T25" fmla="*/ 586 h 879"/>
                <a:gd name="T26" fmla="*/ 286 w 1110"/>
                <a:gd name="T27" fmla="*/ 531 h 879"/>
                <a:gd name="T28" fmla="*/ 399 w 1110"/>
                <a:gd name="T29" fmla="*/ 309 h 879"/>
                <a:gd name="T30" fmla="*/ 829 w 1110"/>
                <a:gd name="T31" fmla="*/ 0 h 879"/>
                <a:gd name="T32" fmla="*/ 987 w 1110"/>
                <a:gd name="T33" fmla="*/ 71 h 879"/>
                <a:gd name="T34" fmla="*/ 1056 w 1110"/>
                <a:gd name="T35" fmla="*/ 111 h 879"/>
                <a:gd name="T36" fmla="*/ 1089 w 1110"/>
                <a:gd name="T37" fmla="*/ 187 h 879"/>
                <a:gd name="T38" fmla="*/ 1110 w 1110"/>
                <a:gd name="T39" fmla="*/ 238 h 879"/>
                <a:gd name="T40" fmla="*/ 1077 w 1110"/>
                <a:gd name="T41" fmla="*/ 491 h 879"/>
                <a:gd name="T42" fmla="*/ 964 w 1110"/>
                <a:gd name="T43" fmla="*/ 631 h 879"/>
                <a:gd name="T44" fmla="*/ 933 w 1110"/>
                <a:gd name="T45" fmla="*/ 668 h 879"/>
                <a:gd name="T46" fmla="*/ 926 w 1110"/>
                <a:gd name="T47" fmla="*/ 725 h 879"/>
                <a:gd name="T48" fmla="*/ 895 w 1110"/>
                <a:gd name="T49" fmla="*/ 742 h 879"/>
                <a:gd name="T50" fmla="*/ 791 w 1110"/>
                <a:gd name="T51" fmla="*/ 751 h 879"/>
                <a:gd name="T52" fmla="*/ 701 w 1110"/>
                <a:gd name="T53" fmla="*/ 758 h 879"/>
                <a:gd name="T54" fmla="*/ 602 w 1110"/>
                <a:gd name="T55" fmla="*/ 779 h 879"/>
                <a:gd name="T56" fmla="*/ 539 w 1110"/>
                <a:gd name="T57" fmla="*/ 751 h 879"/>
                <a:gd name="T58" fmla="*/ 501 w 1110"/>
                <a:gd name="T59" fmla="*/ 775 h 879"/>
                <a:gd name="T60" fmla="*/ 479 w 1110"/>
                <a:gd name="T61" fmla="*/ 779 h 879"/>
                <a:gd name="T62" fmla="*/ 425 w 1110"/>
                <a:gd name="T63" fmla="*/ 735 h 879"/>
                <a:gd name="T64" fmla="*/ 361 w 1110"/>
                <a:gd name="T65" fmla="*/ 725 h 879"/>
                <a:gd name="T66" fmla="*/ 307 w 1110"/>
                <a:gd name="T67" fmla="*/ 725 h 879"/>
                <a:gd name="T68" fmla="*/ 279 w 1110"/>
                <a:gd name="T69" fmla="*/ 779 h 879"/>
                <a:gd name="T70" fmla="*/ 248 w 1110"/>
                <a:gd name="T71" fmla="*/ 812 h 879"/>
                <a:gd name="T72" fmla="*/ 253 w 1110"/>
                <a:gd name="T73" fmla="*/ 869 h 879"/>
                <a:gd name="T74" fmla="*/ 248 w 1110"/>
                <a:gd name="T75"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0" h="879">
                  <a:moveTo>
                    <a:pt x="248" y="879"/>
                  </a:moveTo>
                  <a:lnTo>
                    <a:pt x="194" y="824"/>
                  </a:lnTo>
                  <a:lnTo>
                    <a:pt x="161" y="836"/>
                  </a:lnTo>
                  <a:lnTo>
                    <a:pt x="161" y="862"/>
                  </a:lnTo>
                  <a:lnTo>
                    <a:pt x="139" y="829"/>
                  </a:lnTo>
                  <a:lnTo>
                    <a:pt x="144" y="824"/>
                  </a:lnTo>
                  <a:lnTo>
                    <a:pt x="139" y="808"/>
                  </a:lnTo>
                  <a:lnTo>
                    <a:pt x="102" y="808"/>
                  </a:lnTo>
                  <a:lnTo>
                    <a:pt x="64" y="775"/>
                  </a:lnTo>
                  <a:lnTo>
                    <a:pt x="64" y="751"/>
                  </a:lnTo>
                  <a:lnTo>
                    <a:pt x="85" y="758"/>
                  </a:lnTo>
                  <a:lnTo>
                    <a:pt x="64" y="742"/>
                  </a:lnTo>
                  <a:lnTo>
                    <a:pt x="64" y="742"/>
                  </a:lnTo>
                  <a:lnTo>
                    <a:pt x="31" y="725"/>
                  </a:lnTo>
                  <a:lnTo>
                    <a:pt x="14" y="697"/>
                  </a:lnTo>
                  <a:lnTo>
                    <a:pt x="21" y="685"/>
                  </a:lnTo>
                  <a:lnTo>
                    <a:pt x="0" y="668"/>
                  </a:lnTo>
                  <a:lnTo>
                    <a:pt x="9" y="642"/>
                  </a:lnTo>
                  <a:lnTo>
                    <a:pt x="9" y="631"/>
                  </a:lnTo>
                  <a:lnTo>
                    <a:pt x="64" y="631"/>
                  </a:lnTo>
                  <a:lnTo>
                    <a:pt x="85" y="614"/>
                  </a:lnTo>
                  <a:lnTo>
                    <a:pt x="198" y="607"/>
                  </a:lnTo>
                  <a:lnTo>
                    <a:pt x="210" y="602"/>
                  </a:lnTo>
                  <a:lnTo>
                    <a:pt x="236" y="607"/>
                  </a:lnTo>
                  <a:lnTo>
                    <a:pt x="236" y="590"/>
                  </a:lnTo>
                  <a:lnTo>
                    <a:pt x="264" y="586"/>
                  </a:lnTo>
                  <a:lnTo>
                    <a:pt x="279" y="536"/>
                  </a:lnTo>
                  <a:lnTo>
                    <a:pt x="286" y="531"/>
                  </a:lnTo>
                  <a:lnTo>
                    <a:pt x="290" y="326"/>
                  </a:lnTo>
                  <a:lnTo>
                    <a:pt x="399" y="309"/>
                  </a:lnTo>
                  <a:lnTo>
                    <a:pt x="517" y="198"/>
                  </a:lnTo>
                  <a:lnTo>
                    <a:pt x="829" y="0"/>
                  </a:lnTo>
                  <a:lnTo>
                    <a:pt x="938" y="21"/>
                  </a:lnTo>
                  <a:lnTo>
                    <a:pt x="987" y="71"/>
                  </a:lnTo>
                  <a:lnTo>
                    <a:pt x="1039" y="38"/>
                  </a:lnTo>
                  <a:lnTo>
                    <a:pt x="1056" y="111"/>
                  </a:lnTo>
                  <a:lnTo>
                    <a:pt x="1056" y="149"/>
                  </a:lnTo>
                  <a:lnTo>
                    <a:pt x="1089" y="187"/>
                  </a:lnTo>
                  <a:lnTo>
                    <a:pt x="1089" y="203"/>
                  </a:lnTo>
                  <a:lnTo>
                    <a:pt x="1110" y="238"/>
                  </a:lnTo>
                  <a:lnTo>
                    <a:pt x="1094" y="272"/>
                  </a:lnTo>
                  <a:lnTo>
                    <a:pt x="1077" y="491"/>
                  </a:lnTo>
                  <a:lnTo>
                    <a:pt x="1001" y="574"/>
                  </a:lnTo>
                  <a:lnTo>
                    <a:pt x="964" y="631"/>
                  </a:lnTo>
                  <a:lnTo>
                    <a:pt x="950" y="664"/>
                  </a:lnTo>
                  <a:lnTo>
                    <a:pt x="933" y="668"/>
                  </a:lnTo>
                  <a:lnTo>
                    <a:pt x="950" y="725"/>
                  </a:lnTo>
                  <a:lnTo>
                    <a:pt x="926" y="725"/>
                  </a:lnTo>
                  <a:lnTo>
                    <a:pt x="916" y="742"/>
                  </a:lnTo>
                  <a:lnTo>
                    <a:pt x="895" y="742"/>
                  </a:lnTo>
                  <a:lnTo>
                    <a:pt x="862" y="775"/>
                  </a:lnTo>
                  <a:lnTo>
                    <a:pt x="791" y="751"/>
                  </a:lnTo>
                  <a:lnTo>
                    <a:pt x="739" y="751"/>
                  </a:lnTo>
                  <a:lnTo>
                    <a:pt x="701" y="758"/>
                  </a:lnTo>
                  <a:lnTo>
                    <a:pt x="668" y="796"/>
                  </a:lnTo>
                  <a:lnTo>
                    <a:pt x="602" y="779"/>
                  </a:lnTo>
                  <a:lnTo>
                    <a:pt x="560" y="758"/>
                  </a:lnTo>
                  <a:lnTo>
                    <a:pt x="539" y="751"/>
                  </a:lnTo>
                  <a:lnTo>
                    <a:pt x="505" y="775"/>
                  </a:lnTo>
                  <a:lnTo>
                    <a:pt x="501" y="775"/>
                  </a:lnTo>
                  <a:lnTo>
                    <a:pt x="484" y="779"/>
                  </a:lnTo>
                  <a:lnTo>
                    <a:pt x="479" y="779"/>
                  </a:lnTo>
                  <a:lnTo>
                    <a:pt x="430" y="725"/>
                  </a:lnTo>
                  <a:lnTo>
                    <a:pt x="425" y="735"/>
                  </a:lnTo>
                  <a:lnTo>
                    <a:pt x="378" y="718"/>
                  </a:lnTo>
                  <a:lnTo>
                    <a:pt x="361" y="725"/>
                  </a:lnTo>
                  <a:lnTo>
                    <a:pt x="333" y="725"/>
                  </a:lnTo>
                  <a:lnTo>
                    <a:pt x="307" y="725"/>
                  </a:lnTo>
                  <a:lnTo>
                    <a:pt x="286" y="742"/>
                  </a:lnTo>
                  <a:lnTo>
                    <a:pt x="279" y="779"/>
                  </a:lnTo>
                  <a:lnTo>
                    <a:pt x="269" y="796"/>
                  </a:lnTo>
                  <a:lnTo>
                    <a:pt x="248" y="812"/>
                  </a:lnTo>
                  <a:lnTo>
                    <a:pt x="248" y="862"/>
                  </a:lnTo>
                  <a:lnTo>
                    <a:pt x="253" y="869"/>
                  </a:lnTo>
                  <a:lnTo>
                    <a:pt x="248" y="879"/>
                  </a:lnTo>
                  <a:lnTo>
                    <a:pt x="248" y="879"/>
                  </a:lnTo>
                  <a:lnTo>
                    <a:pt x="248" y="87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9" name="Freeform 520">
              <a:extLst>
                <a:ext uri="{FF2B5EF4-FFF2-40B4-BE49-F238E27FC236}">
                  <a16:creationId xmlns:a16="http://schemas.microsoft.com/office/drawing/2014/main" id="{9071D2C4-7B81-4CDA-8781-504082B20C58}"/>
                </a:ext>
              </a:extLst>
            </p:cNvPr>
            <p:cNvSpPr>
              <a:spLocks noEditPoints="1"/>
            </p:cNvSpPr>
            <p:nvPr/>
          </p:nvSpPr>
          <p:spPr bwMode="gray">
            <a:xfrm>
              <a:off x="17566663" y="4439084"/>
              <a:ext cx="78878" cy="158739"/>
            </a:xfrm>
            <a:custGeom>
              <a:avLst/>
              <a:gdLst>
                <a:gd name="T0" fmla="*/ 67 w 241"/>
                <a:gd name="T1" fmla="*/ 10 h 485"/>
                <a:gd name="T2" fmla="*/ 71 w 241"/>
                <a:gd name="T3" fmla="*/ 10 h 485"/>
                <a:gd name="T4" fmla="*/ 67 w 241"/>
                <a:gd name="T5" fmla="*/ 17 h 485"/>
                <a:gd name="T6" fmla="*/ 71 w 241"/>
                <a:gd name="T7" fmla="*/ 50 h 485"/>
                <a:gd name="T8" fmla="*/ 67 w 241"/>
                <a:gd name="T9" fmla="*/ 33 h 485"/>
                <a:gd name="T10" fmla="*/ 71 w 241"/>
                <a:gd name="T11" fmla="*/ 50 h 485"/>
                <a:gd name="T12" fmla="*/ 71 w 241"/>
                <a:gd name="T13" fmla="*/ 50 h 485"/>
                <a:gd name="T14" fmla="*/ 50 w 241"/>
                <a:gd name="T15" fmla="*/ 133 h 485"/>
                <a:gd name="T16" fmla="*/ 12 w 241"/>
                <a:gd name="T17" fmla="*/ 128 h 485"/>
                <a:gd name="T18" fmla="*/ 17 w 241"/>
                <a:gd name="T19" fmla="*/ 78 h 485"/>
                <a:gd name="T20" fmla="*/ 33 w 241"/>
                <a:gd name="T21" fmla="*/ 107 h 485"/>
                <a:gd name="T22" fmla="*/ 38 w 241"/>
                <a:gd name="T23" fmla="*/ 107 h 485"/>
                <a:gd name="T24" fmla="*/ 38 w 241"/>
                <a:gd name="T25" fmla="*/ 107 h 485"/>
                <a:gd name="T26" fmla="*/ 109 w 241"/>
                <a:gd name="T27" fmla="*/ 90 h 485"/>
                <a:gd name="T28" fmla="*/ 121 w 241"/>
                <a:gd name="T29" fmla="*/ 128 h 485"/>
                <a:gd name="T30" fmla="*/ 121 w 241"/>
                <a:gd name="T31" fmla="*/ 128 h 485"/>
                <a:gd name="T32" fmla="*/ 76 w 241"/>
                <a:gd name="T33" fmla="*/ 128 h 485"/>
                <a:gd name="T34" fmla="*/ 104 w 241"/>
                <a:gd name="T35" fmla="*/ 123 h 485"/>
                <a:gd name="T36" fmla="*/ 93 w 241"/>
                <a:gd name="T37" fmla="*/ 133 h 485"/>
                <a:gd name="T38" fmla="*/ 121 w 241"/>
                <a:gd name="T39" fmla="*/ 168 h 485"/>
                <a:gd name="T40" fmla="*/ 121 w 241"/>
                <a:gd name="T41" fmla="*/ 133 h 485"/>
                <a:gd name="T42" fmla="*/ 121 w 241"/>
                <a:gd name="T43" fmla="*/ 168 h 485"/>
                <a:gd name="T44" fmla="*/ 121 w 241"/>
                <a:gd name="T45" fmla="*/ 168 h 485"/>
                <a:gd name="T46" fmla="*/ 38 w 241"/>
                <a:gd name="T47" fmla="*/ 133 h 485"/>
                <a:gd name="T48" fmla="*/ 50 w 241"/>
                <a:gd name="T49" fmla="*/ 144 h 485"/>
                <a:gd name="T50" fmla="*/ 50 w 241"/>
                <a:gd name="T51" fmla="*/ 144 h 485"/>
                <a:gd name="T52" fmla="*/ 38 w 241"/>
                <a:gd name="T53" fmla="*/ 144 h 485"/>
                <a:gd name="T54" fmla="*/ 50 w 241"/>
                <a:gd name="T55" fmla="*/ 149 h 485"/>
                <a:gd name="T56" fmla="*/ 50 w 241"/>
                <a:gd name="T57" fmla="*/ 149 h 485"/>
                <a:gd name="T58" fmla="*/ 67 w 241"/>
                <a:gd name="T59" fmla="*/ 206 h 485"/>
                <a:gd name="T60" fmla="*/ 50 w 241"/>
                <a:gd name="T61" fmla="*/ 178 h 485"/>
                <a:gd name="T62" fmla="*/ 93 w 241"/>
                <a:gd name="T63" fmla="*/ 206 h 485"/>
                <a:gd name="T64" fmla="*/ 71 w 241"/>
                <a:gd name="T65" fmla="*/ 218 h 485"/>
                <a:gd name="T66" fmla="*/ 121 w 241"/>
                <a:gd name="T67" fmla="*/ 201 h 485"/>
                <a:gd name="T68" fmla="*/ 121 w 241"/>
                <a:gd name="T69" fmla="*/ 178 h 485"/>
                <a:gd name="T70" fmla="*/ 121 w 241"/>
                <a:gd name="T71" fmla="*/ 201 h 485"/>
                <a:gd name="T72" fmla="*/ 121 w 241"/>
                <a:gd name="T73" fmla="*/ 201 h 485"/>
                <a:gd name="T74" fmla="*/ 121 w 241"/>
                <a:gd name="T75" fmla="*/ 234 h 485"/>
                <a:gd name="T76" fmla="*/ 142 w 241"/>
                <a:gd name="T77" fmla="*/ 234 h 485"/>
                <a:gd name="T78" fmla="*/ 142 w 241"/>
                <a:gd name="T79" fmla="*/ 234 h 485"/>
                <a:gd name="T80" fmla="*/ 126 w 241"/>
                <a:gd name="T81" fmla="*/ 296 h 485"/>
                <a:gd name="T82" fmla="*/ 126 w 241"/>
                <a:gd name="T83" fmla="*/ 289 h 485"/>
                <a:gd name="T84" fmla="*/ 147 w 241"/>
                <a:gd name="T85" fmla="*/ 296 h 485"/>
                <a:gd name="T86" fmla="*/ 130 w 241"/>
                <a:gd name="T87" fmla="*/ 300 h 485"/>
                <a:gd name="T88" fmla="*/ 130 w 241"/>
                <a:gd name="T89" fmla="*/ 300 h 485"/>
                <a:gd name="T90" fmla="*/ 175 w 241"/>
                <a:gd name="T91" fmla="*/ 385 h 485"/>
                <a:gd name="T92" fmla="*/ 187 w 241"/>
                <a:gd name="T93" fmla="*/ 369 h 485"/>
                <a:gd name="T94" fmla="*/ 196 w 241"/>
                <a:gd name="T95" fmla="*/ 390 h 485"/>
                <a:gd name="T96" fmla="*/ 196 w 241"/>
                <a:gd name="T97" fmla="*/ 390 h 485"/>
                <a:gd name="T98" fmla="*/ 196 w 241"/>
                <a:gd name="T99" fmla="*/ 428 h 485"/>
                <a:gd name="T100" fmla="*/ 204 w 241"/>
                <a:gd name="T101" fmla="*/ 423 h 485"/>
                <a:gd name="T102" fmla="*/ 204 w 241"/>
                <a:gd name="T103" fmla="*/ 447 h 485"/>
                <a:gd name="T104" fmla="*/ 204 w 241"/>
                <a:gd name="T105" fmla="*/ 447 h 485"/>
                <a:gd name="T106" fmla="*/ 230 w 241"/>
                <a:gd name="T107" fmla="*/ 480 h 485"/>
                <a:gd name="T108" fmla="*/ 234 w 241"/>
                <a:gd name="T109" fmla="*/ 485 h 485"/>
                <a:gd name="T110" fmla="*/ 234 w 241"/>
                <a:gd name="T111" fmla="*/ 485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1" h="485">
                  <a:moveTo>
                    <a:pt x="67" y="17"/>
                  </a:moveTo>
                  <a:lnTo>
                    <a:pt x="67" y="10"/>
                  </a:lnTo>
                  <a:lnTo>
                    <a:pt x="71" y="0"/>
                  </a:lnTo>
                  <a:lnTo>
                    <a:pt x="71" y="10"/>
                  </a:lnTo>
                  <a:lnTo>
                    <a:pt x="67" y="17"/>
                  </a:lnTo>
                  <a:lnTo>
                    <a:pt x="67" y="17"/>
                  </a:lnTo>
                  <a:lnTo>
                    <a:pt x="67" y="17"/>
                  </a:lnTo>
                  <a:close/>
                  <a:moveTo>
                    <a:pt x="71" y="50"/>
                  </a:moveTo>
                  <a:lnTo>
                    <a:pt x="67" y="50"/>
                  </a:lnTo>
                  <a:lnTo>
                    <a:pt x="67" y="33"/>
                  </a:lnTo>
                  <a:lnTo>
                    <a:pt x="76" y="38"/>
                  </a:lnTo>
                  <a:lnTo>
                    <a:pt x="71" y="50"/>
                  </a:lnTo>
                  <a:lnTo>
                    <a:pt x="71" y="50"/>
                  </a:lnTo>
                  <a:lnTo>
                    <a:pt x="71" y="50"/>
                  </a:lnTo>
                  <a:close/>
                  <a:moveTo>
                    <a:pt x="38" y="107"/>
                  </a:moveTo>
                  <a:lnTo>
                    <a:pt x="50" y="133"/>
                  </a:lnTo>
                  <a:lnTo>
                    <a:pt x="17" y="144"/>
                  </a:lnTo>
                  <a:lnTo>
                    <a:pt x="12" y="128"/>
                  </a:lnTo>
                  <a:lnTo>
                    <a:pt x="0" y="71"/>
                  </a:lnTo>
                  <a:lnTo>
                    <a:pt x="17" y="78"/>
                  </a:lnTo>
                  <a:lnTo>
                    <a:pt x="17" y="107"/>
                  </a:lnTo>
                  <a:lnTo>
                    <a:pt x="33" y="107"/>
                  </a:lnTo>
                  <a:lnTo>
                    <a:pt x="33" y="90"/>
                  </a:lnTo>
                  <a:lnTo>
                    <a:pt x="38" y="107"/>
                  </a:lnTo>
                  <a:lnTo>
                    <a:pt x="38" y="107"/>
                  </a:lnTo>
                  <a:lnTo>
                    <a:pt x="38" y="107"/>
                  </a:lnTo>
                  <a:close/>
                  <a:moveTo>
                    <a:pt x="121" y="128"/>
                  </a:moveTo>
                  <a:lnTo>
                    <a:pt x="109" y="90"/>
                  </a:lnTo>
                  <a:lnTo>
                    <a:pt x="121" y="111"/>
                  </a:lnTo>
                  <a:lnTo>
                    <a:pt x="121" y="128"/>
                  </a:lnTo>
                  <a:lnTo>
                    <a:pt x="121" y="128"/>
                  </a:lnTo>
                  <a:lnTo>
                    <a:pt x="121" y="128"/>
                  </a:lnTo>
                  <a:close/>
                  <a:moveTo>
                    <a:pt x="93" y="133"/>
                  </a:moveTo>
                  <a:lnTo>
                    <a:pt x="76" y="128"/>
                  </a:lnTo>
                  <a:lnTo>
                    <a:pt x="93" y="123"/>
                  </a:lnTo>
                  <a:lnTo>
                    <a:pt x="104" y="123"/>
                  </a:lnTo>
                  <a:lnTo>
                    <a:pt x="93" y="133"/>
                  </a:lnTo>
                  <a:lnTo>
                    <a:pt x="93" y="133"/>
                  </a:lnTo>
                  <a:lnTo>
                    <a:pt x="93" y="133"/>
                  </a:lnTo>
                  <a:close/>
                  <a:moveTo>
                    <a:pt x="121" y="168"/>
                  </a:moveTo>
                  <a:lnTo>
                    <a:pt x="109" y="144"/>
                  </a:lnTo>
                  <a:lnTo>
                    <a:pt x="121" y="133"/>
                  </a:lnTo>
                  <a:lnTo>
                    <a:pt x="126" y="161"/>
                  </a:lnTo>
                  <a:lnTo>
                    <a:pt x="121" y="168"/>
                  </a:lnTo>
                  <a:lnTo>
                    <a:pt x="121" y="168"/>
                  </a:lnTo>
                  <a:lnTo>
                    <a:pt x="121" y="168"/>
                  </a:lnTo>
                  <a:close/>
                  <a:moveTo>
                    <a:pt x="50" y="144"/>
                  </a:moveTo>
                  <a:lnTo>
                    <a:pt x="38" y="133"/>
                  </a:lnTo>
                  <a:lnTo>
                    <a:pt x="50" y="133"/>
                  </a:lnTo>
                  <a:lnTo>
                    <a:pt x="50" y="144"/>
                  </a:lnTo>
                  <a:lnTo>
                    <a:pt x="50" y="144"/>
                  </a:lnTo>
                  <a:lnTo>
                    <a:pt x="50" y="144"/>
                  </a:lnTo>
                  <a:close/>
                  <a:moveTo>
                    <a:pt x="50" y="149"/>
                  </a:moveTo>
                  <a:lnTo>
                    <a:pt x="38" y="144"/>
                  </a:lnTo>
                  <a:lnTo>
                    <a:pt x="50" y="144"/>
                  </a:lnTo>
                  <a:lnTo>
                    <a:pt x="50" y="149"/>
                  </a:lnTo>
                  <a:lnTo>
                    <a:pt x="50" y="149"/>
                  </a:lnTo>
                  <a:lnTo>
                    <a:pt x="50" y="149"/>
                  </a:lnTo>
                  <a:close/>
                  <a:moveTo>
                    <a:pt x="71" y="218"/>
                  </a:moveTo>
                  <a:lnTo>
                    <a:pt x="67" y="206"/>
                  </a:lnTo>
                  <a:lnTo>
                    <a:pt x="67" y="185"/>
                  </a:lnTo>
                  <a:lnTo>
                    <a:pt x="50" y="178"/>
                  </a:lnTo>
                  <a:lnTo>
                    <a:pt x="50" y="161"/>
                  </a:lnTo>
                  <a:lnTo>
                    <a:pt x="93" y="206"/>
                  </a:lnTo>
                  <a:lnTo>
                    <a:pt x="71" y="218"/>
                  </a:lnTo>
                  <a:lnTo>
                    <a:pt x="71" y="218"/>
                  </a:lnTo>
                  <a:lnTo>
                    <a:pt x="71" y="218"/>
                  </a:lnTo>
                  <a:close/>
                  <a:moveTo>
                    <a:pt x="121" y="201"/>
                  </a:moveTo>
                  <a:lnTo>
                    <a:pt x="104" y="185"/>
                  </a:lnTo>
                  <a:lnTo>
                    <a:pt x="121" y="178"/>
                  </a:lnTo>
                  <a:lnTo>
                    <a:pt x="126" y="189"/>
                  </a:lnTo>
                  <a:lnTo>
                    <a:pt x="121" y="201"/>
                  </a:lnTo>
                  <a:lnTo>
                    <a:pt x="121" y="201"/>
                  </a:lnTo>
                  <a:lnTo>
                    <a:pt x="121" y="201"/>
                  </a:lnTo>
                  <a:close/>
                  <a:moveTo>
                    <a:pt x="142" y="234"/>
                  </a:moveTo>
                  <a:lnTo>
                    <a:pt x="121" y="234"/>
                  </a:lnTo>
                  <a:lnTo>
                    <a:pt x="121" y="218"/>
                  </a:lnTo>
                  <a:lnTo>
                    <a:pt x="142" y="234"/>
                  </a:lnTo>
                  <a:lnTo>
                    <a:pt x="142" y="234"/>
                  </a:lnTo>
                  <a:lnTo>
                    <a:pt x="142" y="234"/>
                  </a:lnTo>
                  <a:close/>
                  <a:moveTo>
                    <a:pt x="130" y="300"/>
                  </a:moveTo>
                  <a:lnTo>
                    <a:pt x="126" y="296"/>
                  </a:lnTo>
                  <a:lnTo>
                    <a:pt x="121" y="296"/>
                  </a:lnTo>
                  <a:lnTo>
                    <a:pt x="126" y="289"/>
                  </a:lnTo>
                  <a:lnTo>
                    <a:pt x="130" y="289"/>
                  </a:lnTo>
                  <a:lnTo>
                    <a:pt x="147" y="296"/>
                  </a:lnTo>
                  <a:lnTo>
                    <a:pt x="142" y="300"/>
                  </a:lnTo>
                  <a:lnTo>
                    <a:pt x="130" y="300"/>
                  </a:lnTo>
                  <a:lnTo>
                    <a:pt x="130" y="300"/>
                  </a:lnTo>
                  <a:lnTo>
                    <a:pt x="130" y="300"/>
                  </a:lnTo>
                  <a:close/>
                  <a:moveTo>
                    <a:pt x="196" y="390"/>
                  </a:moveTo>
                  <a:lnTo>
                    <a:pt x="175" y="385"/>
                  </a:lnTo>
                  <a:lnTo>
                    <a:pt x="180" y="369"/>
                  </a:lnTo>
                  <a:lnTo>
                    <a:pt x="187" y="369"/>
                  </a:lnTo>
                  <a:lnTo>
                    <a:pt x="196" y="385"/>
                  </a:lnTo>
                  <a:lnTo>
                    <a:pt x="196" y="390"/>
                  </a:lnTo>
                  <a:lnTo>
                    <a:pt x="196" y="390"/>
                  </a:lnTo>
                  <a:lnTo>
                    <a:pt x="196" y="390"/>
                  </a:lnTo>
                  <a:close/>
                  <a:moveTo>
                    <a:pt x="204" y="447"/>
                  </a:moveTo>
                  <a:lnTo>
                    <a:pt x="196" y="428"/>
                  </a:lnTo>
                  <a:lnTo>
                    <a:pt x="196" y="423"/>
                  </a:lnTo>
                  <a:lnTo>
                    <a:pt x="204" y="423"/>
                  </a:lnTo>
                  <a:lnTo>
                    <a:pt x="213" y="428"/>
                  </a:lnTo>
                  <a:lnTo>
                    <a:pt x="204" y="447"/>
                  </a:lnTo>
                  <a:lnTo>
                    <a:pt x="204" y="447"/>
                  </a:lnTo>
                  <a:lnTo>
                    <a:pt x="204" y="447"/>
                  </a:lnTo>
                  <a:close/>
                  <a:moveTo>
                    <a:pt x="234" y="485"/>
                  </a:moveTo>
                  <a:lnTo>
                    <a:pt x="230" y="480"/>
                  </a:lnTo>
                  <a:lnTo>
                    <a:pt x="241" y="485"/>
                  </a:lnTo>
                  <a:lnTo>
                    <a:pt x="234" y="485"/>
                  </a:lnTo>
                  <a:lnTo>
                    <a:pt x="234" y="485"/>
                  </a:lnTo>
                  <a:lnTo>
                    <a:pt x="234" y="48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0" name="Freeform 521">
              <a:extLst>
                <a:ext uri="{FF2B5EF4-FFF2-40B4-BE49-F238E27FC236}">
                  <a16:creationId xmlns:a16="http://schemas.microsoft.com/office/drawing/2014/main" id="{D813C355-12D6-4C85-BC78-22040E5C36EB}"/>
                </a:ext>
              </a:extLst>
            </p:cNvPr>
            <p:cNvSpPr>
              <a:spLocks noEditPoints="1"/>
            </p:cNvSpPr>
            <p:nvPr/>
          </p:nvSpPr>
          <p:spPr bwMode="gray">
            <a:xfrm>
              <a:off x="13805370" y="3785800"/>
              <a:ext cx="275256" cy="229108"/>
            </a:xfrm>
            <a:custGeom>
              <a:avLst/>
              <a:gdLst>
                <a:gd name="T0" fmla="*/ 648 w 841"/>
                <a:gd name="T1" fmla="*/ 494 h 700"/>
                <a:gd name="T2" fmla="*/ 610 w 841"/>
                <a:gd name="T3" fmla="*/ 539 h 700"/>
                <a:gd name="T4" fmla="*/ 556 w 841"/>
                <a:gd name="T5" fmla="*/ 494 h 700"/>
                <a:gd name="T6" fmla="*/ 522 w 841"/>
                <a:gd name="T7" fmla="*/ 501 h 700"/>
                <a:gd name="T8" fmla="*/ 492 w 841"/>
                <a:gd name="T9" fmla="*/ 534 h 700"/>
                <a:gd name="T10" fmla="*/ 437 w 841"/>
                <a:gd name="T11" fmla="*/ 605 h 700"/>
                <a:gd name="T12" fmla="*/ 409 w 841"/>
                <a:gd name="T13" fmla="*/ 666 h 700"/>
                <a:gd name="T14" fmla="*/ 395 w 841"/>
                <a:gd name="T15" fmla="*/ 671 h 700"/>
                <a:gd name="T16" fmla="*/ 345 w 841"/>
                <a:gd name="T17" fmla="*/ 666 h 700"/>
                <a:gd name="T18" fmla="*/ 308 w 841"/>
                <a:gd name="T19" fmla="*/ 662 h 700"/>
                <a:gd name="T20" fmla="*/ 303 w 841"/>
                <a:gd name="T21" fmla="*/ 666 h 700"/>
                <a:gd name="T22" fmla="*/ 291 w 841"/>
                <a:gd name="T23" fmla="*/ 688 h 700"/>
                <a:gd name="T24" fmla="*/ 286 w 841"/>
                <a:gd name="T25" fmla="*/ 688 h 700"/>
                <a:gd name="T26" fmla="*/ 286 w 841"/>
                <a:gd name="T27" fmla="*/ 688 h 700"/>
                <a:gd name="T28" fmla="*/ 253 w 841"/>
                <a:gd name="T29" fmla="*/ 683 h 700"/>
                <a:gd name="T30" fmla="*/ 215 w 841"/>
                <a:gd name="T31" fmla="*/ 683 h 700"/>
                <a:gd name="T32" fmla="*/ 199 w 841"/>
                <a:gd name="T33" fmla="*/ 633 h 700"/>
                <a:gd name="T34" fmla="*/ 211 w 841"/>
                <a:gd name="T35" fmla="*/ 605 h 700"/>
                <a:gd name="T36" fmla="*/ 178 w 841"/>
                <a:gd name="T37" fmla="*/ 605 h 700"/>
                <a:gd name="T38" fmla="*/ 156 w 841"/>
                <a:gd name="T39" fmla="*/ 572 h 700"/>
                <a:gd name="T40" fmla="*/ 85 w 841"/>
                <a:gd name="T41" fmla="*/ 522 h 700"/>
                <a:gd name="T42" fmla="*/ 48 w 841"/>
                <a:gd name="T43" fmla="*/ 551 h 700"/>
                <a:gd name="T44" fmla="*/ 0 w 841"/>
                <a:gd name="T45" fmla="*/ 440 h 700"/>
                <a:gd name="T46" fmla="*/ 38 w 841"/>
                <a:gd name="T47" fmla="*/ 329 h 700"/>
                <a:gd name="T48" fmla="*/ 71 w 841"/>
                <a:gd name="T49" fmla="*/ 284 h 700"/>
                <a:gd name="T50" fmla="*/ 76 w 841"/>
                <a:gd name="T51" fmla="*/ 244 h 700"/>
                <a:gd name="T52" fmla="*/ 76 w 841"/>
                <a:gd name="T53" fmla="*/ 222 h 700"/>
                <a:gd name="T54" fmla="*/ 71 w 841"/>
                <a:gd name="T55" fmla="*/ 161 h 700"/>
                <a:gd name="T56" fmla="*/ 71 w 841"/>
                <a:gd name="T57" fmla="*/ 95 h 700"/>
                <a:gd name="T58" fmla="*/ 109 w 841"/>
                <a:gd name="T59" fmla="*/ 22 h 700"/>
                <a:gd name="T60" fmla="*/ 185 w 841"/>
                <a:gd name="T61" fmla="*/ 5 h 700"/>
                <a:gd name="T62" fmla="*/ 253 w 841"/>
                <a:gd name="T63" fmla="*/ 5 h 700"/>
                <a:gd name="T64" fmla="*/ 324 w 841"/>
                <a:gd name="T65" fmla="*/ 57 h 700"/>
                <a:gd name="T66" fmla="*/ 383 w 841"/>
                <a:gd name="T67" fmla="*/ 38 h 700"/>
                <a:gd name="T68" fmla="*/ 522 w 841"/>
                <a:gd name="T69" fmla="*/ 38 h 700"/>
                <a:gd name="T70" fmla="*/ 685 w 841"/>
                <a:gd name="T71" fmla="*/ 57 h 700"/>
                <a:gd name="T72" fmla="*/ 749 w 841"/>
                <a:gd name="T73" fmla="*/ 5 h 700"/>
                <a:gd name="T74" fmla="*/ 808 w 841"/>
                <a:gd name="T75" fmla="*/ 107 h 700"/>
                <a:gd name="T76" fmla="*/ 841 w 841"/>
                <a:gd name="T77" fmla="*/ 149 h 700"/>
                <a:gd name="T78" fmla="*/ 792 w 841"/>
                <a:gd name="T79" fmla="*/ 189 h 700"/>
                <a:gd name="T80" fmla="*/ 754 w 841"/>
                <a:gd name="T81" fmla="*/ 272 h 700"/>
                <a:gd name="T82" fmla="*/ 719 w 841"/>
                <a:gd name="T83" fmla="*/ 329 h 700"/>
                <a:gd name="T84" fmla="*/ 685 w 841"/>
                <a:gd name="T85" fmla="*/ 383 h 700"/>
                <a:gd name="T86" fmla="*/ 669 w 841"/>
                <a:gd name="T87" fmla="*/ 428 h 700"/>
                <a:gd name="T88" fmla="*/ 643 w 841"/>
                <a:gd name="T89" fmla="*/ 478 h 700"/>
                <a:gd name="T90" fmla="*/ 319 w 841"/>
                <a:gd name="T91" fmla="*/ 688 h 700"/>
                <a:gd name="T92" fmla="*/ 319 w 841"/>
                <a:gd name="T93" fmla="*/ 688 h 700"/>
                <a:gd name="T94" fmla="*/ 341 w 841"/>
                <a:gd name="T95" fmla="*/ 683 h 700"/>
                <a:gd name="T96" fmla="*/ 341 w 841"/>
                <a:gd name="T97" fmla="*/ 683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1" h="700">
                  <a:moveTo>
                    <a:pt x="643" y="478"/>
                  </a:moveTo>
                  <a:lnTo>
                    <a:pt x="643" y="478"/>
                  </a:lnTo>
                  <a:lnTo>
                    <a:pt x="648" y="494"/>
                  </a:lnTo>
                  <a:lnTo>
                    <a:pt x="626" y="506"/>
                  </a:lnTo>
                  <a:lnTo>
                    <a:pt x="626" y="522"/>
                  </a:lnTo>
                  <a:lnTo>
                    <a:pt x="610" y="539"/>
                  </a:lnTo>
                  <a:lnTo>
                    <a:pt x="593" y="539"/>
                  </a:lnTo>
                  <a:lnTo>
                    <a:pt x="593" y="518"/>
                  </a:lnTo>
                  <a:lnTo>
                    <a:pt x="556" y="494"/>
                  </a:lnTo>
                  <a:lnTo>
                    <a:pt x="556" y="506"/>
                  </a:lnTo>
                  <a:lnTo>
                    <a:pt x="534" y="506"/>
                  </a:lnTo>
                  <a:lnTo>
                    <a:pt x="522" y="501"/>
                  </a:lnTo>
                  <a:lnTo>
                    <a:pt x="506" y="518"/>
                  </a:lnTo>
                  <a:lnTo>
                    <a:pt x="501" y="518"/>
                  </a:lnTo>
                  <a:lnTo>
                    <a:pt x="492" y="534"/>
                  </a:lnTo>
                  <a:lnTo>
                    <a:pt x="471" y="551"/>
                  </a:lnTo>
                  <a:lnTo>
                    <a:pt x="437" y="577"/>
                  </a:lnTo>
                  <a:lnTo>
                    <a:pt x="437" y="605"/>
                  </a:lnTo>
                  <a:lnTo>
                    <a:pt x="433" y="629"/>
                  </a:lnTo>
                  <a:lnTo>
                    <a:pt x="416" y="662"/>
                  </a:lnTo>
                  <a:lnTo>
                    <a:pt x="409" y="666"/>
                  </a:lnTo>
                  <a:lnTo>
                    <a:pt x="395" y="650"/>
                  </a:lnTo>
                  <a:lnTo>
                    <a:pt x="400" y="666"/>
                  </a:lnTo>
                  <a:lnTo>
                    <a:pt x="395" y="671"/>
                  </a:lnTo>
                  <a:lnTo>
                    <a:pt x="357" y="683"/>
                  </a:lnTo>
                  <a:lnTo>
                    <a:pt x="345" y="671"/>
                  </a:lnTo>
                  <a:lnTo>
                    <a:pt x="345" y="666"/>
                  </a:lnTo>
                  <a:lnTo>
                    <a:pt x="341" y="671"/>
                  </a:lnTo>
                  <a:lnTo>
                    <a:pt x="324" y="671"/>
                  </a:lnTo>
                  <a:lnTo>
                    <a:pt x="308" y="662"/>
                  </a:lnTo>
                  <a:lnTo>
                    <a:pt x="319" y="683"/>
                  </a:lnTo>
                  <a:lnTo>
                    <a:pt x="308" y="683"/>
                  </a:lnTo>
                  <a:lnTo>
                    <a:pt x="303" y="666"/>
                  </a:lnTo>
                  <a:lnTo>
                    <a:pt x="303" y="666"/>
                  </a:lnTo>
                  <a:lnTo>
                    <a:pt x="308" y="688"/>
                  </a:lnTo>
                  <a:lnTo>
                    <a:pt x="291" y="688"/>
                  </a:lnTo>
                  <a:lnTo>
                    <a:pt x="291" y="662"/>
                  </a:lnTo>
                  <a:lnTo>
                    <a:pt x="291" y="688"/>
                  </a:lnTo>
                  <a:lnTo>
                    <a:pt x="286" y="688"/>
                  </a:lnTo>
                  <a:lnTo>
                    <a:pt x="286" y="671"/>
                  </a:lnTo>
                  <a:lnTo>
                    <a:pt x="286" y="683"/>
                  </a:lnTo>
                  <a:lnTo>
                    <a:pt x="286" y="688"/>
                  </a:lnTo>
                  <a:lnTo>
                    <a:pt x="253" y="700"/>
                  </a:lnTo>
                  <a:lnTo>
                    <a:pt x="265" y="683"/>
                  </a:lnTo>
                  <a:lnTo>
                    <a:pt x="253" y="683"/>
                  </a:lnTo>
                  <a:lnTo>
                    <a:pt x="248" y="688"/>
                  </a:lnTo>
                  <a:lnTo>
                    <a:pt x="237" y="700"/>
                  </a:lnTo>
                  <a:lnTo>
                    <a:pt x="215" y="683"/>
                  </a:lnTo>
                  <a:lnTo>
                    <a:pt x="199" y="650"/>
                  </a:lnTo>
                  <a:lnTo>
                    <a:pt x="194" y="633"/>
                  </a:lnTo>
                  <a:lnTo>
                    <a:pt x="199" y="633"/>
                  </a:lnTo>
                  <a:lnTo>
                    <a:pt x="194" y="633"/>
                  </a:lnTo>
                  <a:lnTo>
                    <a:pt x="194" y="617"/>
                  </a:lnTo>
                  <a:lnTo>
                    <a:pt x="211" y="605"/>
                  </a:lnTo>
                  <a:lnTo>
                    <a:pt x="199" y="612"/>
                  </a:lnTo>
                  <a:lnTo>
                    <a:pt x="185" y="612"/>
                  </a:lnTo>
                  <a:lnTo>
                    <a:pt x="178" y="605"/>
                  </a:lnTo>
                  <a:lnTo>
                    <a:pt x="199" y="593"/>
                  </a:lnTo>
                  <a:lnTo>
                    <a:pt x="178" y="605"/>
                  </a:lnTo>
                  <a:lnTo>
                    <a:pt x="156" y="572"/>
                  </a:lnTo>
                  <a:lnTo>
                    <a:pt x="130" y="551"/>
                  </a:lnTo>
                  <a:lnTo>
                    <a:pt x="55" y="539"/>
                  </a:lnTo>
                  <a:lnTo>
                    <a:pt x="85" y="522"/>
                  </a:lnTo>
                  <a:lnTo>
                    <a:pt x="60" y="534"/>
                  </a:lnTo>
                  <a:lnTo>
                    <a:pt x="60" y="534"/>
                  </a:lnTo>
                  <a:lnTo>
                    <a:pt x="48" y="551"/>
                  </a:lnTo>
                  <a:lnTo>
                    <a:pt x="5" y="551"/>
                  </a:lnTo>
                  <a:lnTo>
                    <a:pt x="5" y="494"/>
                  </a:lnTo>
                  <a:lnTo>
                    <a:pt x="0" y="440"/>
                  </a:lnTo>
                  <a:lnTo>
                    <a:pt x="5" y="350"/>
                  </a:lnTo>
                  <a:lnTo>
                    <a:pt x="34" y="350"/>
                  </a:lnTo>
                  <a:lnTo>
                    <a:pt x="38" y="329"/>
                  </a:lnTo>
                  <a:lnTo>
                    <a:pt x="55" y="300"/>
                  </a:lnTo>
                  <a:lnTo>
                    <a:pt x="48" y="296"/>
                  </a:lnTo>
                  <a:lnTo>
                    <a:pt x="71" y="284"/>
                  </a:lnTo>
                  <a:lnTo>
                    <a:pt x="76" y="272"/>
                  </a:lnTo>
                  <a:lnTo>
                    <a:pt x="71" y="260"/>
                  </a:lnTo>
                  <a:lnTo>
                    <a:pt x="76" y="244"/>
                  </a:lnTo>
                  <a:lnTo>
                    <a:pt x="85" y="255"/>
                  </a:lnTo>
                  <a:lnTo>
                    <a:pt x="85" y="239"/>
                  </a:lnTo>
                  <a:lnTo>
                    <a:pt x="76" y="222"/>
                  </a:lnTo>
                  <a:lnTo>
                    <a:pt x="76" y="201"/>
                  </a:lnTo>
                  <a:lnTo>
                    <a:pt x="60" y="173"/>
                  </a:lnTo>
                  <a:lnTo>
                    <a:pt x="71" y="161"/>
                  </a:lnTo>
                  <a:lnTo>
                    <a:pt x="76" y="149"/>
                  </a:lnTo>
                  <a:lnTo>
                    <a:pt x="71" y="144"/>
                  </a:lnTo>
                  <a:lnTo>
                    <a:pt x="71" y="95"/>
                  </a:lnTo>
                  <a:lnTo>
                    <a:pt x="93" y="78"/>
                  </a:lnTo>
                  <a:lnTo>
                    <a:pt x="102" y="62"/>
                  </a:lnTo>
                  <a:lnTo>
                    <a:pt x="109" y="22"/>
                  </a:lnTo>
                  <a:lnTo>
                    <a:pt x="130" y="5"/>
                  </a:lnTo>
                  <a:lnTo>
                    <a:pt x="156" y="5"/>
                  </a:lnTo>
                  <a:lnTo>
                    <a:pt x="185" y="5"/>
                  </a:lnTo>
                  <a:lnTo>
                    <a:pt x="199" y="0"/>
                  </a:lnTo>
                  <a:lnTo>
                    <a:pt x="248" y="17"/>
                  </a:lnTo>
                  <a:lnTo>
                    <a:pt x="253" y="5"/>
                  </a:lnTo>
                  <a:lnTo>
                    <a:pt x="303" y="62"/>
                  </a:lnTo>
                  <a:lnTo>
                    <a:pt x="308" y="62"/>
                  </a:lnTo>
                  <a:lnTo>
                    <a:pt x="324" y="57"/>
                  </a:lnTo>
                  <a:lnTo>
                    <a:pt x="329" y="57"/>
                  </a:lnTo>
                  <a:lnTo>
                    <a:pt x="362" y="33"/>
                  </a:lnTo>
                  <a:lnTo>
                    <a:pt x="383" y="38"/>
                  </a:lnTo>
                  <a:lnTo>
                    <a:pt x="426" y="62"/>
                  </a:lnTo>
                  <a:lnTo>
                    <a:pt x="492" y="78"/>
                  </a:lnTo>
                  <a:lnTo>
                    <a:pt x="522" y="38"/>
                  </a:lnTo>
                  <a:lnTo>
                    <a:pt x="560" y="33"/>
                  </a:lnTo>
                  <a:lnTo>
                    <a:pt x="615" y="33"/>
                  </a:lnTo>
                  <a:lnTo>
                    <a:pt x="685" y="57"/>
                  </a:lnTo>
                  <a:lnTo>
                    <a:pt x="719" y="22"/>
                  </a:lnTo>
                  <a:lnTo>
                    <a:pt x="740" y="22"/>
                  </a:lnTo>
                  <a:lnTo>
                    <a:pt x="749" y="5"/>
                  </a:lnTo>
                  <a:lnTo>
                    <a:pt x="771" y="5"/>
                  </a:lnTo>
                  <a:lnTo>
                    <a:pt x="804" y="57"/>
                  </a:lnTo>
                  <a:lnTo>
                    <a:pt x="808" y="107"/>
                  </a:lnTo>
                  <a:lnTo>
                    <a:pt x="830" y="111"/>
                  </a:lnTo>
                  <a:lnTo>
                    <a:pt x="841" y="116"/>
                  </a:lnTo>
                  <a:lnTo>
                    <a:pt x="841" y="149"/>
                  </a:lnTo>
                  <a:lnTo>
                    <a:pt x="841" y="168"/>
                  </a:lnTo>
                  <a:lnTo>
                    <a:pt x="808" y="189"/>
                  </a:lnTo>
                  <a:lnTo>
                    <a:pt x="792" y="189"/>
                  </a:lnTo>
                  <a:lnTo>
                    <a:pt x="778" y="206"/>
                  </a:lnTo>
                  <a:lnTo>
                    <a:pt x="761" y="239"/>
                  </a:lnTo>
                  <a:lnTo>
                    <a:pt x="754" y="272"/>
                  </a:lnTo>
                  <a:lnTo>
                    <a:pt x="749" y="279"/>
                  </a:lnTo>
                  <a:lnTo>
                    <a:pt x="740" y="312"/>
                  </a:lnTo>
                  <a:lnTo>
                    <a:pt x="719" y="329"/>
                  </a:lnTo>
                  <a:lnTo>
                    <a:pt x="707" y="371"/>
                  </a:lnTo>
                  <a:lnTo>
                    <a:pt x="702" y="383"/>
                  </a:lnTo>
                  <a:lnTo>
                    <a:pt x="685" y="383"/>
                  </a:lnTo>
                  <a:lnTo>
                    <a:pt x="685" y="390"/>
                  </a:lnTo>
                  <a:lnTo>
                    <a:pt x="669" y="395"/>
                  </a:lnTo>
                  <a:lnTo>
                    <a:pt x="669" y="428"/>
                  </a:lnTo>
                  <a:lnTo>
                    <a:pt x="652" y="444"/>
                  </a:lnTo>
                  <a:lnTo>
                    <a:pt x="652" y="461"/>
                  </a:lnTo>
                  <a:lnTo>
                    <a:pt x="643" y="478"/>
                  </a:lnTo>
                  <a:lnTo>
                    <a:pt x="643" y="478"/>
                  </a:lnTo>
                  <a:lnTo>
                    <a:pt x="643" y="478"/>
                  </a:lnTo>
                  <a:close/>
                  <a:moveTo>
                    <a:pt x="319" y="688"/>
                  </a:moveTo>
                  <a:lnTo>
                    <a:pt x="324" y="671"/>
                  </a:lnTo>
                  <a:lnTo>
                    <a:pt x="329" y="683"/>
                  </a:lnTo>
                  <a:lnTo>
                    <a:pt x="319" y="688"/>
                  </a:lnTo>
                  <a:lnTo>
                    <a:pt x="319" y="688"/>
                  </a:lnTo>
                  <a:lnTo>
                    <a:pt x="319" y="688"/>
                  </a:lnTo>
                  <a:close/>
                  <a:moveTo>
                    <a:pt x="341" y="683"/>
                  </a:moveTo>
                  <a:lnTo>
                    <a:pt x="329" y="683"/>
                  </a:lnTo>
                  <a:lnTo>
                    <a:pt x="341" y="683"/>
                  </a:lnTo>
                  <a:lnTo>
                    <a:pt x="341" y="683"/>
                  </a:lnTo>
                  <a:lnTo>
                    <a:pt x="341" y="683"/>
                  </a:lnTo>
                  <a:lnTo>
                    <a:pt x="341" y="68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1" name="Freeform 522">
              <a:extLst>
                <a:ext uri="{FF2B5EF4-FFF2-40B4-BE49-F238E27FC236}">
                  <a16:creationId xmlns:a16="http://schemas.microsoft.com/office/drawing/2014/main" id="{CB4580D9-728D-4074-B52A-A97F0B0CF408}"/>
                </a:ext>
              </a:extLst>
            </p:cNvPr>
            <p:cNvSpPr>
              <a:spLocks noEditPoints="1"/>
            </p:cNvSpPr>
            <p:nvPr/>
          </p:nvSpPr>
          <p:spPr bwMode="gray">
            <a:xfrm>
              <a:off x="13822389" y="2717504"/>
              <a:ext cx="88370" cy="85097"/>
            </a:xfrm>
            <a:custGeom>
              <a:avLst/>
              <a:gdLst>
                <a:gd name="T0" fmla="*/ 156 w 270"/>
                <a:gd name="T1" fmla="*/ 0 h 260"/>
                <a:gd name="T2" fmla="*/ 161 w 270"/>
                <a:gd name="T3" fmla="*/ 0 h 260"/>
                <a:gd name="T4" fmla="*/ 161 w 270"/>
                <a:gd name="T5" fmla="*/ 0 h 260"/>
                <a:gd name="T6" fmla="*/ 270 w 270"/>
                <a:gd name="T7" fmla="*/ 49 h 260"/>
                <a:gd name="T8" fmla="*/ 237 w 270"/>
                <a:gd name="T9" fmla="*/ 78 h 260"/>
                <a:gd name="T10" fmla="*/ 253 w 270"/>
                <a:gd name="T11" fmla="*/ 104 h 260"/>
                <a:gd name="T12" fmla="*/ 232 w 270"/>
                <a:gd name="T13" fmla="*/ 132 h 260"/>
                <a:gd name="T14" fmla="*/ 178 w 270"/>
                <a:gd name="T15" fmla="*/ 161 h 260"/>
                <a:gd name="T16" fmla="*/ 199 w 270"/>
                <a:gd name="T17" fmla="*/ 205 h 260"/>
                <a:gd name="T18" fmla="*/ 185 w 270"/>
                <a:gd name="T19" fmla="*/ 222 h 260"/>
                <a:gd name="T20" fmla="*/ 185 w 270"/>
                <a:gd name="T21" fmla="*/ 243 h 260"/>
                <a:gd name="T22" fmla="*/ 161 w 270"/>
                <a:gd name="T23" fmla="*/ 260 h 260"/>
                <a:gd name="T24" fmla="*/ 168 w 270"/>
                <a:gd name="T25" fmla="*/ 222 h 260"/>
                <a:gd name="T26" fmla="*/ 130 w 270"/>
                <a:gd name="T27" fmla="*/ 217 h 260"/>
                <a:gd name="T28" fmla="*/ 109 w 270"/>
                <a:gd name="T29" fmla="*/ 198 h 260"/>
                <a:gd name="T30" fmla="*/ 85 w 270"/>
                <a:gd name="T31" fmla="*/ 198 h 260"/>
                <a:gd name="T32" fmla="*/ 69 w 270"/>
                <a:gd name="T33" fmla="*/ 198 h 260"/>
                <a:gd name="T34" fmla="*/ 59 w 270"/>
                <a:gd name="T35" fmla="*/ 198 h 260"/>
                <a:gd name="T36" fmla="*/ 0 w 270"/>
                <a:gd name="T37" fmla="*/ 189 h 260"/>
                <a:gd name="T38" fmla="*/ 31 w 270"/>
                <a:gd name="T39" fmla="*/ 182 h 260"/>
                <a:gd name="T40" fmla="*/ 55 w 270"/>
                <a:gd name="T41" fmla="*/ 198 h 260"/>
                <a:gd name="T42" fmla="*/ 38 w 270"/>
                <a:gd name="T43" fmla="*/ 182 h 260"/>
                <a:gd name="T44" fmla="*/ 22 w 270"/>
                <a:gd name="T45" fmla="*/ 165 h 260"/>
                <a:gd name="T46" fmla="*/ 31 w 270"/>
                <a:gd name="T47" fmla="*/ 161 h 260"/>
                <a:gd name="T48" fmla="*/ 38 w 270"/>
                <a:gd name="T49" fmla="*/ 144 h 260"/>
                <a:gd name="T50" fmla="*/ 85 w 270"/>
                <a:gd name="T51" fmla="*/ 94 h 260"/>
                <a:gd name="T52" fmla="*/ 168 w 270"/>
                <a:gd name="T53" fmla="*/ 94 h 260"/>
                <a:gd name="T54" fmla="*/ 156 w 270"/>
                <a:gd name="T55" fmla="*/ 78 h 260"/>
                <a:gd name="T56" fmla="*/ 161 w 270"/>
                <a:gd name="T57" fmla="*/ 66 h 260"/>
                <a:gd name="T58" fmla="*/ 140 w 270"/>
                <a:gd name="T59" fmla="*/ 38 h 260"/>
                <a:gd name="T60" fmla="*/ 123 w 270"/>
                <a:gd name="T61" fmla="*/ 66 h 260"/>
                <a:gd name="T62" fmla="*/ 114 w 270"/>
                <a:gd name="T63" fmla="*/ 78 h 260"/>
                <a:gd name="T64" fmla="*/ 114 w 270"/>
                <a:gd name="T65" fmla="*/ 104 h 260"/>
                <a:gd name="T66" fmla="*/ 93 w 270"/>
                <a:gd name="T67" fmla="*/ 49 h 260"/>
                <a:gd name="T68" fmla="*/ 114 w 270"/>
                <a:gd name="T69" fmla="*/ 49 h 260"/>
                <a:gd name="T70" fmla="*/ 178 w 270"/>
                <a:gd name="T71" fmla="*/ 9 h 260"/>
                <a:gd name="T72" fmla="*/ 270 w 270"/>
                <a:gd name="T73" fmla="*/ 21 h 260"/>
                <a:gd name="T74" fmla="*/ 270 w 270"/>
                <a:gd name="T75" fmla="*/ 21 h 260"/>
                <a:gd name="T76" fmla="*/ 93 w 270"/>
                <a:gd name="T77" fmla="*/ 38 h 260"/>
                <a:gd name="T78" fmla="*/ 109 w 270"/>
                <a:gd name="T79" fmla="*/ 38 h 260"/>
                <a:gd name="T80" fmla="*/ 93 w 270"/>
                <a:gd name="T81" fmla="*/ 49 h 260"/>
                <a:gd name="T82" fmla="*/ 114 w 270"/>
                <a:gd name="T83" fmla="*/ 104 h 260"/>
                <a:gd name="T84" fmla="*/ 130 w 270"/>
                <a:gd name="T85" fmla="*/ 71 h 260"/>
                <a:gd name="T86" fmla="*/ 123 w 270"/>
                <a:gd name="T87" fmla="*/ 104 h 260"/>
                <a:gd name="T88" fmla="*/ 114 w 270"/>
                <a:gd name="T89" fmla="*/ 104 h 260"/>
                <a:gd name="T90" fmla="*/ 114 w 270"/>
                <a:gd name="T91" fmla="*/ 104 h 260"/>
                <a:gd name="T92" fmla="*/ 140 w 270"/>
                <a:gd name="T93" fmla="*/ 120 h 260"/>
                <a:gd name="T94" fmla="*/ 156 w 270"/>
                <a:gd name="T95" fmla="*/ 87 h 260"/>
                <a:gd name="T96" fmla="*/ 168 w 270"/>
                <a:gd name="T97" fmla="*/ 104 h 260"/>
                <a:gd name="T98" fmla="*/ 156 w 270"/>
                <a:gd name="T99" fmla="*/ 104 h 260"/>
                <a:gd name="T100" fmla="*/ 59 w 270"/>
                <a:gd name="T101" fmla="*/ 205 h 260"/>
                <a:gd name="T102" fmla="*/ 17 w 270"/>
                <a:gd name="T103" fmla="*/ 205 h 260"/>
                <a:gd name="T104" fmla="*/ 0 w 270"/>
                <a:gd name="T105" fmla="*/ 198 h 260"/>
                <a:gd name="T106" fmla="*/ 59 w 270"/>
                <a:gd name="T107" fmla="*/ 20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0" h="260">
                  <a:moveTo>
                    <a:pt x="161" y="0"/>
                  </a:moveTo>
                  <a:lnTo>
                    <a:pt x="156" y="0"/>
                  </a:lnTo>
                  <a:lnTo>
                    <a:pt x="178" y="0"/>
                  </a:lnTo>
                  <a:lnTo>
                    <a:pt x="161" y="0"/>
                  </a:lnTo>
                  <a:lnTo>
                    <a:pt x="161" y="0"/>
                  </a:lnTo>
                  <a:lnTo>
                    <a:pt x="161" y="0"/>
                  </a:lnTo>
                  <a:close/>
                  <a:moveTo>
                    <a:pt x="270" y="21"/>
                  </a:moveTo>
                  <a:lnTo>
                    <a:pt x="270" y="49"/>
                  </a:lnTo>
                  <a:lnTo>
                    <a:pt x="253" y="78"/>
                  </a:lnTo>
                  <a:lnTo>
                    <a:pt x="237" y="78"/>
                  </a:lnTo>
                  <a:lnTo>
                    <a:pt x="232" y="87"/>
                  </a:lnTo>
                  <a:lnTo>
                    <a:pt x="253" y="104"/>
                  </a:lnTo>
                  <a:lnTo>
                    <a:pt x="253" y="120"/>
                  </a:lnTo>
                  <a:lnTo>
                    <a:pt x="232" y="132"/>
                  </a:lnTo>
                  <a:lnTo>
                    <a:pt x="237" y="144"/>
                  </a:lnTo>
                  <a:lnTo>
                    <a:pt x="178" y="161"/>
                  </a:lnTo>
                  <a:lnTo>
                    <a:pt x="199" y="189"/>
                  </a:lnTo>
                  <a:lnTo>
                    <a:pt x="199" y="205"/>
                  </a:lnTo>
                  <a:lnTo>
                    <a:pt x="185" y="217"/>
                  </a:lnTo>
                  <a:lnTo>
                    <a:pt x="185" y="222"/>
                  </a:lnTo>
                  <a:lnTo>
                    <a:pt x="168" y="234"/>
                  </a:lnTo>
                  <a:lnTo>
                    <a:pt x="185" y="243"/>
                  </a:lnTo>
                  <a:lnTo>
                    <a:pt x="185" y="260"/>
                  </a:lnTo>
                  <a:lnTo>
                    <a:pt x="161" y="260"/>
                  </a:lnTo>
                  <a:lnTo>
                    <a:pt x="156" y="255"/>
                  </a:lnTo>
                  <a:lnTo>
                    <a:pt x="168" y="222"/>
                  </a:lnTo>
                  <a:lnTo>
                    <a:pt x="147" y="205"/>
                  </a:lnTo>
                  <a:lnTo>
                    <a:pt x="130" y="217"/>
                  </a:lnTo>
                  <a:lnTo>
                    <a:pt x="114" y="189"/>
                  </a:lnTo>
                  <a:lnTo>
                    <a:pt x="109" y="198"/>
                  </a:lnTo>
                  <a:lnTo>
                    <a:pt x="102" y="189"/>
                  </a:lnTo>
                  <a:lnTo>
                    <a:pt x="85" y="198"/>
                  </a:lnTo>
                  <a:lnTo>
                    <a:pt x="76" y="189"/>
                  </a:lnTo>
                  <a:lnTo>
                    <a:pt x="69" y="198"/>
                  </a:lnTo>
                  <a:lnTo>
                    <a:pt x="69" y="205"/>
                  </a:lnTo>
                  <a:lnTo>
                    <a:pt x="59" y="198"/>
                  </a:lnTo>
                  <a:lnTo>
                    <a:pt x="31" y="198"/>
                  </a:lnTo>
                  <a:lnTo>
                    <a:pt x="0" y="189"/>
                  </a:lnTo>
                  <a:lnTo>
                    <a:pt x="31" y="182"/>
                  </a:lnTo>
                  <a:lnTo>
                    <a:pt x="31" y="182"/>
                  </a:lnTo>
                  <a:lnTo>
                    <a:pt x="31" y="182"/>
                  </a:lnTo>
                  <a:lnTo>
                    <a:pt x="55" y="198"/>
                  </a:lnTo>
                  <a:lnTo>
                    <a:pt x="59" y="198"/>
                  </a:lnTo>
                  <a:lnTo>
                    <a:pt x="38" y="182"/>
                  </a:lnTo>
                  <a:lnTo>
                    <a:pt x="55" y="182"/>
                  </a:lnTo>
                  <a:lnTo>
                    <a:pt x="22" y="165"/>
                  </a:lnTo>
                  <a:lnTo>
                    <a:pt x="55" y="177"/>
                  </a:lnTo>
                  <a:lnTo>
                    <a:pt x="31" y="161"/>
                  </a:lnTo>
                  <a:lnTo>
                    <a:pt x="48" y="161"/>
                  </a:lnTo>
                  <a:lnTo>
                    <a:pt x="38" y="144"/>
                  </a:lnTo>
                  <a:lnTo>
                    <a:pt x="69" y="127"/>
                  </a:lnTo>
                  <a:lnTo>
                    <a:pt x="85" y="94"/>
                  </a:lnTo>
                  <a:lnTo>
                    <a:pt x="140" y="120"/>
                  </a:lnTo>
                  <a:lnTo>
                    <a:pt x="168" y="94"/>
                  </a:lnTo>
                  <a:lnTo>
                    <a:pt x="168" y="78"/>
                  </a:lnTo>
                  <a:lnTo>
                    <a:pt x="156" y="78"/>
                  </a:lnTo>
                  <a:lnTo>
                    <a:pt x="156" y="71"/>
                  </a:lnTo>
                  <a:lnTo>
                    <a:pt x="161" y="66"/>
                  </a:lnTo>
                  <a:lnTo>
                    <a:pt x="140" y="54"/>
                  </a:lnTo>
                  <a:lnTo>
                    <a:pt x="140" y="38"/>
                  </a:lnTo>
                  <a:lnTo>
                    <a:pt x="114" y="49"/>
                  </a:lnTo>
                  <a:lnTo>
                    <a:pt x="123" y="66"/>
                  </a:lnTo>
                  <a:lnTo>
                    <a:pt x="130" y="71"/>
                  </a:lnTo>
                  <a:lnTo>
                    <a:pt x="114" y="78"/>
                  </a:lnTo>
                  <a:lnTo>
                    <a:pt x="114" y="94"/>
                  </a:lnTo>
                  <a:lnTo>
                    <a:pt x="114" y="104"/>
                  </a:lnTo>
                  <a:lnTo>
                    <a:pt x="85" y="94"/>
                  </a:lnTo>
                  <a:lnTo>
                    <a:pt x="93" y="49"/>
                  </a:lnTo>
                  <a:lnTo>
                    <a:pt x="102" y="54"/>
                  </a:lnTo>
                  <a:lnTo>
                    <a:pt x="114" y="49"/>
                  </a:lnTo>
                  <a:lnTo>
                    <a:pt x="156" y="16"/>
                  </a:lnTo>
                  <a:lnTo>
                    <a:pt x="178" y="9"/>
                  </a:lnTo>
                  <a:lnTo>
                    <a:pt x="232" y="0"/>
                  </a:lnTo>
                  <a:lnTo>
                    <a:pt x="270" y="21"/>
                  </a:lnTo>
                  <a:lnTo>
                    <a:pt x="270" y="21"/>
                  </a:lnTo>
                  <a:lnTo>
                    <a:pt x="270" y="21"/>
                  </a:lnTo>
                  <a:close/>
                  <a:moveTo>
                    <a:pt x="93" y="49"/>
                  </a:moveTo>
                  <a:lnTo>
                    <a:pt x="93" y="38"/>
                  </a:lnTo>
                  <a:lnTo>
                    <a:pt x="102" y="21"/>
                  </a:lnTo>
                  <a:lnTo>
                    <a:pt x="109" y="38"/>
                  </a:lnTo>
                  <a:lnTo>
                    <a:pt x="93" y="49"/>
                  </a:lnTo>
                  <a:lnTo>
                    <a:pt x="93" y="49"/>
                  </a:lnTo>
                  <a:lnTo>
                    <a:pt x="93" y="49"/>
                  </a:lnTo>
                  <a:close/>
                  <a:moveTo>
                    <a:pt x="114" y="104"/>
                  </a:moveTo>
                  <a:lnTo>
                    <a:pt x="114" y="78"/>
                  </a:lnTo>
                  <a:lnTo>
                    <a:pt x="130" y="71"/>
                  </a:lnTo>
                  <a:lnTo>
                    <a:pt x="147" y="87"/>
                  </a:lnTo>
                  <a:lnTo>
                    <a:pt x="123" y="104"/>
                  </a:lnTo>
                  <a:lnTo>
                    <a:pt x="114" y="104"/>
                  </a:lnTo>
                  <a:lnTo>
                    <a:pt x="114" y="104"/>
                  </a:lnTo>
                  <a:lnTo>
                    <a:pt x="114" y="104"/>
                  </a:lnTo>
                  <a:lnTo>
                    <a:pt x="114" y="104"/>
                  </a:lnTo>
                  <a:close/>
                  <a:moveTo>
                    <a:pt x="156" y="104"/>
                  </a:moveTo>
                  <a:lnTo>
                    <a:pt x="140" y="120"/>
                  </a:lnTo>
                  <a:lnTo>
                    <a:pt x="123" y="104"/>
                  </a:lnTo>
                  <a:lnTo>
                    <a:pt x="156" y="87"/>
                  </a:lnTo>
                  <a:lnTo>
                    <a:pt x="168" y="87"/>
                  </a:lnTo>
                  <a:lnTo>
                    <a:pt x="168" y="104"/>
                  </a:lnTo>
                  <a:lnTo>
                    <a:pt x="156" y="104"/>
                  </a:lnTo>
                  <a:lnTo>
                    <a:pt x="156" y="104"/>
                  </a:lnTo>
                  <a:lnTo>
                    <a:pt x="156" y="104"/>
                  </a:lnTo>
                  <a:close/>
                  <a:moveTo>
                    <a:pt x="59" y="205"/>
                  </a:moveTo>
                  <a:lnTo>
                    <a:pt x="31" y="217"/>
                  </a:lnTo>
                  <a:lnTo>
                    <a:pt x="17" y="205"/>
                  </a:lnTo>
                  <a:lnTo>
                    <a:pt x="0" y="217"/>
                  </a:lnTo>
                  <a:lnTo>
                    <a:pt x="0" y="198"/>
                  </a:lnTo>
                  <a:lnTo>
                    <a:pt x="59" y="205"/>
                  </a:lnTo>
                  <a:lnTo>
                    <a:pt x="59" y="205"/>
                  </a:lnTo>
                  <a:lnTo>
                    <a:pt x="59" y="20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2" name="Freeform 523">
              <a:extLst>
                <a:ext uri="{FF2B5EF4-FFF2-40B4-BE49-F238E27FC236}">
                  <a16:creationId xmlns:a16="http://schemas.microsoft.com/office/drawing/2014/main" id="{07A41961-1DE5-4114-86E3-441FAA3637F8}"/>
                </a:ext>
              </a:extLst>
            </p:cNvPr>
            <p:cNvSpPr>
              <a:spLocks noEditPoints="1"/>
            </p:cNvSpPr>
            <p:nvPr/>
          </p:nvSpPr>
          <p:spPr bwMode="gray">
            <a:xfrm>
              <a:off x="13855774" y="2064220"/>
              <a:ext cx="602880" cy="502400"/>
            </a:xfrm>
            <a:custGeom>
              <a:avLst/>
              <a:gdLst>
                <a:gd name="T0" fmla="*/ 1713 w 1842"/>
                <a:gd name="T1" fmla="*/ 238 h 1535"/>
                <a:gd name="T2" fmla="*/ 1285 w 1842"/>
                <a:gd name="T3" fmla="*/ 326 h 1535"/>
                <a:gd name="T4" fmla="*/ 919 w 1842"/>
                <a:gd name="T5" fmla="*/ 411 h 1535"/>
                <a:gd name="T6" fmla="*/ 546 w 1842"/>
                <a:gd name="T7" fmla="*/ 886 h 1535"/>
                <a:gd name="T8" fmla="*/ 470 w 1842"/>
                <a:gd name="T9" fmla="*/ 1441 h 1535"/>
                <a:gd name="T10" fmla="*/ 399 w 1842"/>
                <a:gd name="T11" fmla="*/ 1403 h 1535"/>
                <a:gd name="T12" fmla="*/ 92 w 1842"/>
                <a:gd name="T13" fmla="*/ 1453 h 1535"/>
                <a:gd name="T14" fmla="*/ 54 w 1842"/>
                <a:gd name="T15" fmla="*/ 1386 h 1535"/>
                <a:gd name="T16" fmla="*/ 163 w 1842"/>
                <a:gd name="T17" fmla="*/ 1268 h 1535"/>
                <a:gd name="T18" fmla="*/ 54 w 1842"/>
                <a:gd name="T19" fmla="*/ 1242 h 1535"/>
                <a:gd name="T20" fmla="*/ 189 w 1842"/>
                <a:gd name="T21" fmla="*/ 1164 h 1535"/>
                <a:gd name="T22" fmla="*/ 21 w 1842"/>
                <a:gd name="T23" fmla="*/ 1148 h 1535"/>
                <a:gd name="T24" fmla="*/ 97 w 1842"/>
                <a:gd name="T25" fmla="*/ 1058 h 1535"/>
                <a:gd name="T26" fmla="*/ 206 w 1842"/>
                <a:gd name="T27" fmla="*/ 1049 h 1535"/>
                <a:gd name="T28" fmla="*/ 227 w 1842"/>
                <a:gd name="T29" fmla="*/ 980 h 1535"/>
                <a:gd name="T30" fmla="*/ 361 w 1842"/>
                <a:gd name="T31" fmla="*/ 947 h 1535"/>
                <a:gd name="T32" fmla="*/ 352 w 1842"/>
                <a:gd name="T33" fmla="*/ 938 h 1535"/>
                <a:gd name="T34" fmla="*/ 470 w 1842"/>
                <a:gd name="T35" fmla="*/ 815 h 1535"/>
                <a:gd name="T36" fmla="*/ 541 w 1842"/>
                <a:gd name="T37" fmla="*/ 720 h 1535"/>
                <a:gd name="T38" fmla="*/ 567 w 1842"/>
                <a:gd name="T39" fmla="*/ 626 h 1535"/>
                <a:gd name="T40" fmla="*/ 659 w 1842"/>
                <a:gd name="T41" fmla="*/ 503 h 1535"/>
                <a:gd name="T42" fmla="*/ 692 w 1842"/>
                <a:gd name="T43" fmla="*/ 465 h 1535"/>
                <a:gd name="T44" fmla="*/ 702 w 1842"/>
                <a:gd name="T45" fmla="*/ 420 h 1535"/>
                <a:gd name="T46" fmla="*/ 801 w 1842"/>
                <a:gd name="T47" fmla="*/ 387 h 1535"/>
                <a:gd name="T48" fmla="*/ 848 w 1842"/>
                <a:gd name="T49" fmla="*/ 338 h 1535"/>
                <a:gd name="T50" fmla="*/ 994 w 1842"/>
                <a:gd name="T51" fmla="*/ 243 h 1535"/>
                <a:gd name="T52" fmla="*/ 1049 w 1842"/>
                <a:gd name="T53" fmla="*/ 189 h 1535"/>
                <a:gd name="T54" fmla="*/ 1172 w 1842"/>
                <a:gd name="T55" fmla="*/ 111 h 1535"/>
                <a:gd name="T56" fmla="*/ 1318 w 1842"/>
                <a:gd name="T57" fmla="*/ 94 h 1535"/>
                <a:gd name="T58" fmla="*/ 1431 w 1842"/>
                <a:gd name="T59" fmla="*/ 104 h 1535"/>
                <a:gd name="T60" fmla="*/ 1557 w 1842"/>
                <a:gd name="T61" fmla="*/ 71 h 1535"/>
                <a:gd name="T62" fmla="*/ 1625 w 1842"/>
                <a:gd name="T63" fmla="*/ 94 h 1535"/>
                <a:gd name="T64" fmla="*/ 1826 w 1842"/>
                <a:gd name="T65" fmla="*/ 94 h 1535"/>
                <a:gd name="T66" fmla="*/ 1798 w 1842"/>
                <a:gd name="T67" fmla="*/ 189 h 1535"/>
                <a:gd name="T68" fmla="*/ 1205 w 1842"/>
                <a:gd name="T69" fmla="*/ 61 h 1535"/>
                <a:gd name="T70" fmla="*/ 1351 w 1842"/>
                <a:gd name="T71" fmla="*/ 71 h 1535"/>
                <a:gd name="T72" fmla="*/ 1188 w 1842"/>
                <a:gd name="T73" fmla="*/ 116 h 1535"/>
                <a:gd name="T74" fmla="*/ 999 w 1842"/>
                <a:gd name="T75" fmla="*/ 132 h 1535"/>
                <a:gd name="T76" fmla="*/ 1124 w 1842"/>
                <a:gd name="T77" fmla="*/ 132 h 1535"/>
                <a:gd name="T78" fmla="*/ 1124 w 1842"/>
                <a:gd name="T79" fmla="*/ 160 h 1535"/>
                <a:gd name="T80" fmla="*/ 1750 w 1842"/>
                <a:gd name="T81" fmla="*/ 182 h 1535"/>
                <a:gd name="T82" fmla="*/ 940 w 1842"/>
                <a:gd name="T83" fmla="*/ 198 h 1535"/>
                <a:gd name="T84" fmla="*/ 919 w 1842"/>
                <a:gd name="T85" fmla="*/ 238 h 1535"/>
                <a:gd name="T86" fmla="*/ 876 w 1842"/>
                <a:gd name="T87" fmla="*/ 276 h 1535"/>
                <a:gd name="T88" fmla="*/ 676 w 1842"/>
                <a:gd name="T89" fmla="*/ 326 h 1535"/>
                <a:gd name="T90" fmla="*/ 768 w 1842"/>
                <a:gd name="T91" fmla="*/ 349 h 1535"/>
                <a:gd name="T92" fmla="*/ 709 w 1842"/>
                <a:gd name="T93" fmla="*/ 293 h 1535"/>
                <a:gd name="T94" fmla="*/ 794 w 1842"/>
                <a:gd name="T95" fmla="*/ 354 h 1535"/>
                <a:gd name="T96" fmla="*/ 654 w 1842"/>
                <a:gd name="T97" fmla="*/ 371 h 1535"/>
                <a:gd name="T98" fmla="*/ 583 w 1842"/>
                <a:gd name="T99" fmla="*/ 404 h 1535"/>
                <a:gd name="T100" fmla="*/ 725 w 1842"/>
                <a:gd name="T101" fmla="*/ 411 h 1535"/>
                <a:gd name="T102" fmla="*/ 529 w 1842"/>
                <a:gd name="T103" fmla="*/ 666 h 1535"/>
                <a:gd name="T104" fmla="*/ 498 w 1842"/>
                <a:gd name="T105" fmla="*/ 753 h 1535"/>
                <a:gd name="T106" fmla="*/ 454 w 1842"/>
                <a:gd name="T107" fmla="*/ 810 h 1535"/>
                <a:gd name="T108" fmla="*/ 255 w 1842"/>
                <a:gd name="T109" fmla="*/ 942 h 1535"/>
                <a:gd name="T110" fmla="*/ 260 w 1842"/>
                <a:gd name="T111" fmla="*/ 959 h 1535"/>
                <a:gd name="T112" fmla="*/ 239 w 1842"/>
                <a:gd name="T113" fmla="*/ 975 h 1535"/>
                <a:gd name="T114" fmla="*/ 135 w 1842"/>
                <a:gd name="T115" fmla="*/ 1020 h 1535"/>
                <a:gd name="T116" fmla="*/ 66 w 1842"/>
                <a:gd name="T117" fmla="*/ 1075 h 1535"/>
                <a:gd name="T118" fmla="*/ 7 w 1842"/>
                <a:gd name="T119" fmla="*/ 1131 h 1535"/>
                <a:gd name="T120" fmla="*/ 21 w 1842"/>
                <a:gd name="T121" fmla="*/ 1280 h 1535"/>
                <a:gd name="T122" fmla="*/ 28 w 1842"/>
                <a:gd name="T123" fmla="*/ 1325 h 1535"/>
                <a:gd name="T124" fmla="*/ 38 w 1842"/>
                <a:gd name="T125" fmla="*/ 1353 h 1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2" h="1535">
                  <a:moveTo>
                    <a:pt x="1457" y="33"/>
                  </a:moveTo>
                  <a:lnTo>
                    <a:pt x="1443" y="21"/>
                  </a:lnTo>
                  <a:lnTo>
                    <a:pt x="1448" y="16"/>
                  </a:lnTo>
                  <a:lnTo>
                    <a:pt x="1431" y="16"/>
                  </a:lnTo>
                  <a:lnTo>
                    <a:pt x="1465" y="0"/>
                  </a:lnTo>
                  <a:lnTo>
                    <a:pt x="1486" y="5"/>
                  </a:lnTo>
                  <a:lnTo>
                    <a:pt x="1481" y="21"/>
                  </a:lnTo>
                  <a:lnTo>
                    <a:pt x="1495" y="16"/>
                  </a:lnTo>
                  <a:lnTo>
                    <a:pt x="1457" y="33"/>
                  </a:lnTo>
                  <a:lnTo>
                    <a:pt x="1457" y="33"/>
                  </a:lnTo>
                  <a:lnTo>
                    <a:pt x="1457" y="33"/>
                  </a:lnTo>
                  <a:close/>
                  <a:moveTo>
                    <a:pt x="1826" y="172"/>
                  </a:moveTo>
                  <a:lnTo>
                    <a:pt x="1826" y="189"/>
                  </a:lnTo>
                  <a:lnTo>
                    <a:pt x="1826" y="205"/>
                  </a:lnTo>
                  <a:lnTo>
                    <a:pt x="1805" y="205"/>
                  </a:lnTo>
                  <a:lnTo>
                    <a:pt x="1772" y="198"/>
                  </a:lnTo>
                  <a:lnTo>
                    <a:pt x="1772" y="205"/>
                  </a:lnTo>
                  <a:lnTo>
                    <a:pt x="1772" y="215"/>
                  </a:lnTo>
                  <a:lnTo>
                    <a:pt x="1713" y="238"/>
                  </a:lnTo>
                  <a:lnTo>
                    <a:pt x="1713" y="260"/>
                  </a:lnTo>
                  <a:lnTo>
                    <a:pt x="1691" y="272"/>
                  </a:lnTo>
                  <a:lnTo>
                    <a:pt x="1680" y="260"/>
                  </a:lnTo>
                  <a:lnTo>
                    <a:pt x="1680" y="243"/>
                  </a:lnTo>
                  <a:lnTo>
                    <a:pt x="1713" y="215"/>
                  </a:lnTo>
                  <a:lnTo>
                    <a:pt x="1701" y="189"/>
                  </a:lnTo>
                  <a:lnTo>
                    <a:pt x="1646" y="172"/>
                  </a:lnTo>
                  <a:lnTo>
                    <a:pt x="1620" y="144"/>
                  </a:lnTo>
                  <a:lnTo>
                    <a:pt x="1557" y="165"/>
                  </a:lnTo>
                  <a:lnTo>
                    <a:pt x="1519" y="160"/>
                  </a:lnTo>
                  <a:lnTo>
                    <a:pt x="1481" y="189"/>
                  </a:lnTo>
                  <a:lnTo>
                    <a:pt x="1465" y="243"/>
                  </a:lnTo>
                  <a:lnTo>
                    <a:pt x="1465" y="276"/>
                  </a:lnTo>
                  <a:lnTo>
                    <a:pt x="1457" y="293"/>
                  </a:lnTo>
                  <a:lnTo>
                    <a:pt x="1427" y="300"/>
                  </a:lnTo>
                  <a:lnTo>
                    <a:pt x="1420" y="326"/>
                  </a:lnTo>
                  <a:lnTo>
                    <a:pt x="1410" y="333"/>
                  </a:lnTo>
                  <a:lnTo>
                    <a:pt x="1339" y="300"/>
                  </a:lnTo>
                  <a:lnTo>
                    <a:pt x="1285" y="326"/>
                  </a:lnTo>
                  <a:lnTo>
                    <a:pt x="1231" y="316"/>
                  </a:lnTo>
                  <a:lnTo>
                    <a:pt x="1226" y="300"/>
                  </a:lnTo>
                  <a:lnTo>
                    <a:pt x="1179" y="243"/>
                  </a:lnTo>
                  <a:lnTo>
                    <a:pt x="1155" y="238"/>
                  </a:lnTo>
                  <a:lnTo>
                    <a:pt x="1134" y="255"/>
                  </a:lnTo>
                  <a:lnTo>
                    <a:pt x="1141" y="260"/>
                  </a:lnTo>
                  <a:lnTo>
                    <a:pt x="1134" y="276"/>
                  </a:lnTo>
                  <a:lnTo>
                    <a:pt x="1103" y="272"/>
                  </a:lnTo>
                  <a:lnTo>
                    <a:pt x="1070" y="272"/>
                  </a:lnTo>
                  <a:lnTo>
                    <a:pt x="1087" y="283"/>
                  </a:lnTo>
                  <a:lnTo>
                    <a:pt x="1087" y="300"/>
                  </a:lnTo>
                  <a:lnTo>
                    <a:pt x="1054" y="333"/>
                  </a:lnTo>
                  <a:lnTo>
                    <a:pt x="1080" y="338"/>
                  </a:lnTo>
                  <a:lnTo>
                    <a:pt x="1054" y="366"/>
                  </a:lnTo>
                  <a:lnTo>
                    <a:pt x="983" y="338"/>
                  </a:lnTo>
                  <a:lnTo>
                    <a:pt x="924" y="338"/>
                  </a:lnTo>
                  <a:lnTo>
                    <a:pt x="924" y="349"/>
                  </a:lnTo>
                  <a:lnTo>
                    <a:pt x="928" y="383"/>
                  </a:lnTo>
                  <a:lnTo>
                    <a:pt x="919" y="411"/>
                  </a:lnTo>
                  <a:lnTo>
                    <a:pt x="869" y="387"/>
                  </a:lnTo>
                  <a:lnTo>
                    <a:pt x="831" y="411"/>
                  </a:lnTo>
                  <a:lnTo>
                    <a:pt x="815" y="449"/>
                  </a:lnTo>
                  <a:lnTo>
                    <a:pt x="784" y="477"/>
                  </a:lnTo>
                  <a:lnTo>
                    <a:pt x="810" y="498"/>
                  </a:lnTo>
                  <a:lnTo>
                    <a:pt x="810" y="522"/>
                  </a:lnTo>
                  <a:lnTo>
                    <a:pt x="739" y="588"/>
                  </a:lnTo>
                  <a:lnTo>
                    <a:pt x="746" y="609"/>
                  </a:lnTo>
                  <a:lnTo>
                    <a:pt x="713" y="626"/>
                  </a:lnTo>
                  <a:lnTo>
                    <a:pt x="676" y="631"/>
                  </a:lnTo>
                  <a:lnTo>
                    <a:pt x="687" y="666"/>
                  </a:lnTo>
                  <a:lnTo>
                    <a:pt x="676" y="699"/>
                  </a:lnTo>
                  <a:lnTo>
                    <a:pt x="676" y="725"/>
                  </a:lnTo>
                  <a:lnTo>
                    <a:pt x="617" y="815"/>
                  </a:lnTo>
                  <a:lnTo>
                    <a:pt x="650" y="827"/>
                  </a:lnTo>
                  <a:lnTo>
                    <a:pt x="654" y="853"/>
                  </a:lnTo>
                  <a:lnTo>
                    <a:pt x="638" y="881"/>
                  </a:lnTo>
                  <a:lnTo>
                    <a:pt x="567" y="869"/>
                  </a:lnTo>
                  <a:lnTo>
                    <a:pt x="546" y="886"/>
                  </a:lnTo>
                  <a:lnTo>
                    <a:pt x="508" y="926"/>
                  </a:lnTo>
                  <a:lnTo>
                    <a:pt x="513" y="938"/>
                  </a:lnTo>
                  <a:lnTo>
                    <a:pt x="498" y="964"/>
                  </a:lnTo>
                  <a:lnTo>
                    <a:pt x="513" y="992"/>
                  </a:lnTo>
                  <a:lnTo>
                    <a:pt x="498" y="1004"/>
                  </a:lnTo>
                  <a:lnTo>
                    <a:pt x="508" y="1037"/>
                  </a:lnTo>
                  <a:lnTo>
                    <a:pt x="524" y="1075"/>
                  </a:lnTo>
                  <a:lnTo>
                    <a:pt x="508" y="1131"/>
                  </a:lnTo>
                  <a:lnTo>
                    <a:pt x="562" y="1181"/>
                  </a:lnTo>
                  <a:lnTo>
                    <a:pt x="546" y="1214"/>
                  </a:lnTo>
                  <a:lnTo>
                    <a:pt x="513" y="1214"/>
                  </a:lnTo>
                  <a:lnTo>
                    <a:pt x="546" y="1275"/>
                  </a:lnTo>
                  <a:lnTo>
                    <a:pt x="529" y="1313"/>
                  </a:lnTo>
                  <a:lnTo>
                    <a:pt x="508" y="1337"/>
                  </a:lnTo>
                  <a:lnTo>
                    <a:pt x="487" y="1337"/>
                  </a:lnTo>
                  <a:lnTo>
                    <a:pt x="491" y="1353"/>
                  </a:lnTo>
                  <a:lnTo>
                    <a:pt x="475" y="1370"/>
                  </a:lnTo>
                  <a:lnTo>
                    <a:pt x="487" y="1403"/>
                  </a:lnTo>
                  <a:lnTo>
                    <a:pt x="470" y="1441"/>
                  </a:lnTo>
                  <a:lnTo>
                    <a:pt x="461" y="1441"/>
                  </a:lnTo>
                  <a:lnTo>
                    <a:pt x="461" y="1436"/>
                  </a:lnTo>
                  <a:lnTo>
                    <a:pt x="454" y="1420"/>
                  </a:lnTo>
                  <a:lnTo>
                    <a:pt x="416" y="1408"/>
                  </a:lnTo>
                  <a:lnTo>
                    <a:pt x="399" y="1353"/>
                  </a:lnTo>
                  <a:lnTo>
                    <a:pt x="406" y="1337"/>
                  </a:lnTo>
                  <a:lnTo>
                    <a:pt x="416" y="1346"/>
                  </a:lnTo>
                  <a:lnTo>
                    <a:pt x="406" y="1330"/>
                  </a:lnTo>
                  <a:lnTo>
                    <a:pt x="390" y="1337"/>
                  </a:lnTo>
                  <a:lnTo>
                    <a:pt x="399" y="1370"/>
                  </a:lnTo>
                  <a:lnTo>
                    <a:pt x="399" y="1379"/>
                  </a:lnTo>
                  <a:lnTo>
                    <a:pt x="390" y="1379"/>
                  </a:lnTo>
                  <a:lnTo>
                    <a:pt x="385" y="1353"/>
                  </a:lnTo>
                  <a:lnTo>
                    <a:pt x="378" y="1353"/>
                  </a:lnTo>
                  <a:lnTo>
                    <a:pt x="390" y="1370"/>
                  </a:lnTo>
                  <a:lnTo>
                    <a:pt x="385" y="1379"/>
                  </a:lnTo>
                  <a:lnTo>
                    <a:pt x="378" y="1370"/>
                  </a:lnTo>
                  <a:lnTo>
                    <a:pt x="390" y="1386"/>
                  </a:lnTo>
                  <a:lnTo>
                    <a:pt x="399" y="1403"/>
                  </a:lnTo>
                  <a:lnTo>
                    <a:pt x="385" y="1403"/>
                  </a:lnTo>
                  <a:lnTo>
                    <a:pt x="378" y="1424"/>
                  </a:lnTo>
                  <a:lnTo>
                    <a:pt x="352" y="1436"/>
                  </a:lnTo>
                  <a:lnTo>
                    <a:pt x="331" y="1420"/>
                  </a:lnTo>
                  <a:lnTo>
                    <a:pt x="335" y="1436"/>
                  </a:lnTo>
                  <a:lnTo>
                    <a:pt x="255" y="1507"/>
                  </a:lnTo>
                  <a:lnTo>
                    <a:pt x="239" y="1514"/>
                  </a:lnTo>
                  <a:lnTo>
                    <a:pt x="239" y="1519"/>
                  </a:lnTo>
                  <a:lnTo>
                    <a:pt x="151" y="1535"/>
                  </a:lnTo>
                  <a:lnTo>
                    <a:pt x="135" y="1531"/>
                  </a:lnTo>
                  <a:lnTo>
                    <a:pt x="120" y="1531"/>
                  </a:lnTo>
                  <a:lnTo>
                    <a:pt x="130" y="1514"/>
                  </a:lnTo>
                  <a:lnTo>
                    <a:pt x="109" y="1507"/>
                  </a:lnTo>
                  <a:lnTo>
                    <a:pt x="83" y="1497"/>
                  </a:lnTo>
                  <a:lnTo>
                    <a:pt x="76" y="1490"/>
                  </a:lnTo>
                  <a:lnTo>
                    <a:pt x="59" y="1490"/>
                  </a:lnTo>
                  <a:lnTo>
                    <a:pt x="45" y="1457"/>
                  </a:lnTo>
                  <a:lnTo>
                    <a:pt x="45" y="1424"/>
                  </a:lnTo>
                  <a:lnTo>
                    <a:pt x="92" y="1453"/>
                  </a:lnTo>
                  <a:lnTo>
                    <a:pt x="97" y="1453"/>
                  </a:lnTo>
                  <a:lnTo>
                    <a:pt x="83" y="1441"/>
                  </a:lnTo>
                  <a:lnTo>
                    <a:pt x="92" y="1436"/>
                  </a:lnTo>
                  <a:lnTo>
                    <a:pt x="120" y="1424"/>
                  </a:lnTo>
                  <a:lnTo>
                    <a:pt x="92" y="1436"/>
                  </a:lnTo>
                  <a:lnTo>
                    <a:pt x="83" y="1441"/>
                  </a:lnTo>
                  <a:lnTo>
                    <a:pt x="66" y="1424"/>
                  </a:lnTo>
                  <a:lnTo>
                    <a:pt x="92" y="1403"/>
                  </a:lnTo>
                  <a:lnTo>
                    <a:pt x="113" y="1391"/>
                  </a:lnTo>
                  <a:lnTo>
                    <a:pt x="92" y="1403"/>
                  </a:lnTo>
                  <a:lnTo>
                    <a:pt x="76" y="1391"/>
                  </a:lnTo>
                  <a:lnTo>
                    <a:pt x="97" y="1379"/>
                  </a:lnTo>
                  <a:lnTo>
                    <a:pt x="113" y="1370"/>
                  </a:lnTo>
                  <a:lnTo>
                    <a:pt x="97" y="1370"/>
                  </a:lnTo>
                  <a:lnTo>
                    <a:pt x="76" y="1391"/>
                  </a:lnTo>
                  <a:lnTo>
                    <a:pt x="76" y="1386"/>
                  </a:lnTo>
                  <a:lnTo>
                    <a:pt x="92" y="1379"/>
                  </a:lnTo>
                  <a:lnTo>
                    <a:pt x="66" y="1379"/>
                  </a:lnTo>
                  <a:lnTo>
                    <a:pt x="54" y="1386"/>
                  </a:lnTo>
                  <a:lnTo>
                    <a:pt x="66" y="1386"/>
                  </a:lnTo>
                  <a:lnTo>
                    <a:pt x="66" y="1391"/>
                  </a:lnTo>
                  <a:lnTo>
                    <a:pt x="59" y="1403"/>
                  </a:lnTo>
                  <a:lnTo>
                    <a:pt x="54" y="1391"/>
                  </a:lnTo>
                  <a:lnTo>
                    <a:pt x="45" y="1403"/>
                  </a:lnTo>
                  <a:lnTo>
                    <a:pt x="28" y="1391"/>
                  </a:lnTo>
                  <a:lnTo>
                    <a:pt x="21" y="1379"/>
                  </a:lnTo>
                  <a:lnTo>
                    <a:pt x="45" y="1353"/>
                  </a:lnTo>
                  <a:lnTo>
                    <a:pt x="45" y="1379"/>
                  </a:lnTo>
                  <a:lnTo>
                    <a:pt x="54" y="1363"/>
                  </a:lnTo>
                  <a:lnTo>
                    <a:pt x="97" y="1337"/>
                  </a:lnTo>
                  <a:lnTo>
                    <a:pt x="76" y="1353"/>
                  </a:lnTo>
                  <a:lnTo>
                    <a:pt x="59" y="1337"/>
                  </a:lnTo>
                  <a:lnTo>
                    <a:pt x="76" y="1330"/>
                  </a:lnTo>
                  <a:lnTo>
                    <a:pt x="92" y="1292"/>
                  </a:lnTo>
                  <a:lnTo>
                    <a:pt x="120" y="1280"/>
                  </a:lnTo>
                  <a:lnTo>
                    <a:pt x="113" y="1313"/>
                  </a:lnTo>
                  <a:lnTo>
                    <a:pt x="120" y="1280"/>
                  </a:lnTo>
                  <a:lnTo>
                    <a:pt x="163" y="1268"/>
                  </a:lnTo>
                  <a:lnTo>
                    <a:pt x="146" y="1268"/>
                  </a:lnTo>
                  <a:lnTo>
                    <a:pt x="151" y="1259"/>
                  </a:lnTo>
                  <a:lnTo>
                    <a:pt x="130" y="1275"/>
                  </a:lnTo>
                  <a:lnTo>
                    <a:pt x="97" y="1280"/>
                  </a:lnTo>
                  <a:lnTo>
                    <a:pt x="92" y="1297"/>
                  </a:lnTo>
                  <a:lnTo>
                    <a:pt x="76" y="1297"/>
                  </a:lnTo>
                  <a:lnTo>
                    <a:pt x="66" y="1325"/>
                  </a:lnTo>
                  <a:lnTo>
                    <a:pt x="59" y="1325"/>
                  </a:lnTo>
                  <a:lnTo>
                    <a:pt x="54" y="1308"/>
                  </a:lnTo>
                  <a:lnTo>
                    <a:pt x="45" y="1308"/>
                  </a:lnTo>
                  <a:lnTo>
                    <a:pt x="59" y="1280"/>
                  </a:lnTo>
                  <a:lnTo>
                    <a:pt x="38" y="1308"/>
                  </a:lnTo>
                  <a:lnTo>
                    <a:pt x="21" y="1297"/>
                  </a:lnTo>
                  <a:lnTo>
                    <a:pt x="28" y="1297"/>
                  </a:lnTo>
                  <a:lnTo>
                    <a:pt x="21" y="1292"/>
                  </a:lnTo>
                  <a:lnTo>
                    <a:pt x="28" y="1268"/>
                  </a:lnTo>
                  <a:lnTo>
                    <a:pt x="54" y="1280"/>
                  </a:lnTo>
                  <a:lnTo>
                    <a:pt x="59" y="1252"/>
                  </a:lnTo>
                  <a:lnTo>
                    <a:pt x="54" y="1242"/>
                  </a:lnTo>
                  <a:lnTo>
                    <a:pt x="28" y="1268"/>
                  </a:lnTo>
                  <a:lnTo>
                    <a:pt x="12" y="1252"/>
                  </a:lnTo>
                  <a:lnTo>
                    <a:pt x="28" y="1259"/>
                  </a:lnTo>
                  <a:lnTo>
                    <a:pt x="21" y="1242"/>
                  </a:lnTo>
                  <a:lnTo>
                    <a:pt x="7" y="1235"/>
                  </a:lnTo>
                  <a:lnTo>
                    <a:pt x="38" y="1259"/>
                  </a:lnTo>
                  <a:lnTo>
                    <a:pt x="28" y="1242"/>
                  </a:lnTo>
                  <a:lnTo>
                    <a:pt x="45" y="1226"/>
                  </a:lnTo>
                  <a:lnTo>
                    <a:pt x="12" y="1235"/>
                  </a:lnTo>
                  <a:lnTo>
                    <a:pt x="12" y="1214"/>
                  </a:lnTo>
                  <a:lnTo>
                    <a:pt x="76" y="1202"/>
                  </a:lnTo>
                  <a:lnTo>
                    <a:pt x="109" y="1214"/>
                  </a:lnTo>
                  <a:lnTo>
                    <a:pt x="135" y="1202"/>
                  </a:lnTo>
                  <a:lnTo>
                    <a:pt x="163" y="1226"/>
                  </a:lnTo>
                  <a:lnTo>
                    <a:pt x="163" y="1219"/>
                  </a:lnTo>
                  <a:lnTo>
                    <a:pt x="151" y="1202"/>
                  </a:lnTo>
                  <a:lnTo>
                    <a:pt x="184" y="1197"/>
                  </a:lnTo>
                  <a:lnTo>
                    <a:pt x="168" y="1181"/>
                  </a:lnTo>
                  <a:lnTo>
                    <a:pt x="189" y="1164"/>
                  </a:lnTo>
                  <a:lnTo>
                    <a:pt x="168" y="1181"/>
                  </a:lnTo>
                  <a:lnTo>
                    <a:pt x="172" y="1197"/>
                  </a:lnTo>
                  <a:lnTo>
                    <a:pt x="146" y="1202"/>
                  </a:lnTo>
                  <a:lnTo>
                    <a:pt x="120" y="1186"/>
                  </a:lnTo>
                  <a:lnTo>
                    <a:pt x="130" y="1169"/>
                  </a:lnTo>
                  <a:lnTo>
                    <a:pt x="109" y="1202"/>
                  </a:lnTo>
                  <a:lnTo>
                    <a:pt x="59" y="1197"/>
                  </a:lnTo>
                  <a:lnTo>
                    <a:pt x="38" y="1214"/>
                  </a:lnTo>
                  <a:lnTo>
                    <a:pt x="12" y="1197"/>
                  </a:lnTo>
                  <a:lnTo>
                    <a:pt x="28" y="1197"/>
                  </a:lnTo>
                  <a:lnTo>
                    <a:pt x="7" y="1186"/>
                  </a:lnTo>
                  <a:lnTo>
                    <a:pt x="54" y="1181"/>
                  </a:lnTo>
                  <a:lnTo>
                    <a:pt x="12" y="1181"/>
                  </a:lnTo>
                  <a:lnTo>
                    <a:pt x="7" y="1169"/>
                  </a:lnTo>
                  <a:lnTo>
                    <a:pt x="66" y="1164"/>
                  </a:lnTo>
                  <a:lnTo>
                    <a:pt x="21" y="1164"/>
                  </a:lnTo>
                  <a:lnTo>
                    <a:pt x="21" y="1160"/>
                  </a:lnTo>
                  <a:lnTo>
                    <a:pt x="28" y="1160"/>
                  </a:lnTo>
                  <a:lnTo>
                    <a:pt x="21" y="1148"/>
                  </a:lnTo>
                  <a:lnTo>
                    <a:pt x="38" y="1148"/>
                  </a:lnTo>
                  <a:lnTo>
                    <a:pt x="7" y="1141"/>
                  </a:lnTo>
                  <a:lnTo>
                    <a:pt x="38" y="1115"/>
                  </a:lnTo>
                  <a:lnTo>
                    <a:pt x="113" y="1124"/>
                  </a:lnTo>
                  <a:lnTo>
                    <a:pt x="130" y="1115"/>
                  </a:lnTo>
                  <a:lnTo>
                    <a:pt x="21" y="1115"/>
                  </a:lnTo>
                  <a:lnTo>
                    <a:pt x="21" y="1108"/>
                  </a:lnTo>
                  <a:lnTo>
                    <a:pt x="38" y="1103"/>
                  </a:lnTo>
                  <a:lnTo>
                    <a:pt x="12" y="1086"/>
                  </a:lnTo>
                  <a:lnTo>
                    <a:pt x="21" y="1086"/>
                  </a:lnTo>
                  <a:lnTo>
                    <a:pt x="45" y="1108"/>
                  </a:lnTo>
                  <a:lnTo>
                    <a:pt x="45" y="1091"/>
                  </a:lnTo>
                  <a:lnTo>
                    <a:pt x="38" y="1091"/>
                  </a:lnTo>
                  <a:lnTo>
                    <a:pt x="38" y="1086"/>
                  </a:lnTo>
                  <a:lnTo>
                    <a:pt x="66" y="1086"/>
                  </a:lnTo>
                  <a:lnTo>
                    <a:pt x="76" y="1091"/>
                  </a:lnTo>
                  <a:lnTo>
                    <a:pt x="109" y="1103"/>
                  </a:lnTo>
                  <a:lnTo>
                    <a:pt x="76" y="1086"/>
                  </a:lnTo>
                  <a:lnTo>
                    <a:pt x="97" y="1058"/>
                  </a:lnTo>
                  <a:lnTo>
                    <a:pt x="113" y="1091"/>
                  </a:lnTo>
                  <a:lnTo>
                    <a:pt x="120" y="1091"/>
                  </a:lnTo>
                  <a:lnTo>
                    <a:pt x="109" y="1058"/>
                  </a:lnTo>
                  <a:lnTo>
                    <a:pt x="130" y="1053"/>
                  </a:lnTo>
                  <a:lnTo>
                    <a:pt x="146" y="1058"/>
                  </a:lnTo>
                  <a:lnTo>
                    <a:pt x="151" y="1075"/>
                  </a:lnTo>
                  <a:lnTo>
                    <a:pt x="146" y="1091"/>
                  </a:lnTo>
                  <a:lnTo>
                    <a:pt x="151" y="1091"/>
                  </a:lnTo>
                  <a:lnTo>
                    <a:pt x="146" y="1091"/>
                  </a:lnTo>
                  <a:lnTo>
                    <a:pt x="151" y="1075"/>
                  </a:lnTo>
                  <a:lnTo>
                    <a:pt x="172" y="1075"/>
                  </a:lnTo>
                  <a:lnTo>
                    <a:pt x="146" y="1070"/>
                  </a:lnTo>
                  <a:lnTo>
                    <a:pt x="135" y="1053"/>
                  </a:lnTo>
                  <a:lnTo>
                    <a:pt x="97" y="1053"/>
                  </a:lnTo>
                  <a:lnTo>
                    <a:pt x="120" y="1053"/>
                  </a:lnTo>
                  <a:lnTo>
                    <a:pt x="97" y="1037"/>
                  </a:lnTo>
                  <a:lnTo>
                    <a:pt x="151" y="1032"/>
                  </a:lnTo>
                  <a:lnTo>
                    <a:pt x="189" y="1053"/>
                  </a:lnTo>
                  <a:lnTo>
                    <a:pt x="206" y="1049"/>
                  </a:lnTo>
                  <a:lnTo>
                    <a:pt x="172" y="1037"/>
                  </a:lnTo>
                  <a:lnTo>
                    <a:pt x="206" y="1020"/>
                  </a:lnTo>
                  <a:lnTo>
                    <a:pt x="227" y="1032"/>
                  </a:lnTo>
                  <a:lnTo>
                    <a:pt x="222" y="1020"/>
                  </a:lnTo>
                  <a:lnTo>
                    <a:pt x="172" y="1020"/>
                  </a:lnTo>
                  <a:lnTo>
                    <a:pt x="201" y="1013"/>
                  </a:lnTo>
                  <a:lnTo>
                    <a:pt x="189" y="1013"/>
                  </a:lnTo>
                  <a:lnTo>
                    <a:pt x="146" y="1020"/>
                  </a:lnTo>
                  <a:lnTo>
                    <a:pt x="146" y="997"/>
                  </a:lnTo>
                  <a:lnTo>
                    <a:pt x="168" y="992"/>
                  </a:lnTo>
                  <a:lnTo>
                    <a:pt x="184" y="1004"/>
                  </a:lnTo>
                  <a:lnTo>
                    <a:pt x="222" y="997"/>
                  </a:lnTo>
                  <a:lnTo>
                    <a:pt x="227" y="1013"/>
                  </a:lnTo>
                  <a:lnTo>
                    <a:pt x="260" y="1032"/>
                  </a:lnTo>
                  <a:lnTo>
                    <a:pt x="260" y="1020"/>
                  </a:lnTo>
                  <a:lnTo>
                    <a:pt x="227" y="1013"/>
                  </a:lnTo>
                  <a:lnTo>
                    <a:pt x="227" y="997"/>
                  </a:lnTo>
                  <a:lnTo>
                    <a:pt x="217" y="992"/>
                  </a:lnTo>
                  <a:lnTo>
                    <a:pt x="227" y="980"/>
                  </a:lnTo>
                  <a:lnTo>
                    <a:pt x="243" y="1004"/>
                  </a:lnTo>
                  <a:lnTo>
                    <a:pt x="260" y="1013"/>
                  </a:lnTo>
                  <a:lnTo>
                    <a:pt x="255" y="997"/>
                  </a:lnTo>
                  <a:lnTo>
                    <a:pt x="272" y="997"/>
                  </a:lnTo>
                  <a:lnTo>
                    <a:pt x="243" y="997"/>
                  </a:lnTo>
                  <a:lnTo>
                    <a:pt x="227" y="980"/>
                  </a:lnTo>
                  <a:lnTo>
                    <a:pt x="281" y="975"/>
                  </a:lnTo>
                  <a:lnTo>
                    <a:pt x="260" y="975"/>
                  </a:lnTo>
                  <a:lnTo>
                    <a:pt x="255" y="959"/>
                  </a:lnTo>
                  <a:lnTo>
                    <a:pt x="276" y="959"/>
                  </a:lnTo>
                  <a:lnTo>
                    <a:pt x="272" y="947"/>
                  </a:lnTo>
                  <a:lnTo>
                    <a:pt x="293" y="942"/>
                  </a:lnTo>
                  <a:lnTo>
                    <a:pt x="309" y="947"/>
                  </a:lnTo>
                  <a:lnTo>
                    <a:pt x="324" y="947"/>
                  </a:lnTo>
                  <a:lnTo>
                    <a:pt x="309" y="947"/>
                  </a:lnTo>
                  <a:lnTo>
                    <a:pt x="298" y="942"/>
                  </a:lnTo>
                  <a:lnTo>
                    <a:pt x="331" y="926"/>
                  </a:lnTo>
                  <a:lnTo>
                    <a:pt x="335" y="921"/>
                  </a:lnTo>
                  <a:lnTo>
                    <a:pt x="361" y="947"/>
                  </a:lnTo>
                  <a:lnTo>
                    <a:pt x="378" y="964"/>
                  </a:lnTo>
                  <a:lnTo>
                    <a:pt x="378" y="959"/>
                  </a:lnTo>
                  <a:lnTo>
                    <a:pt x="361" y="947"/>
                  </a:lnTo>
                  <a:lnTo>
                    <a:pt x="423" y="942"/>
                  </a:lnTo>
                  <a:lnTo>
                    <a:pt x="416" y="938"/>
                  </a:lnTo>
                  <a:lnTo>
                    <a:pt x="423" y="926"/>
                  </a:lnTo>
                  <a:lnTo>
                    <a:pt x="406" y="938"/>
                  </a:lnTo>
                  <a:lnTo>
                    <a:pt x="432" y="909"/>
                  </a:lnTo>
                  <a:lnTo>
                    <a:pt x="461" y="905"/>
                  </a:lnTo>
                  <a:lnTo>
                    <a:pt x="437" y="893"/>
                  </a:lnTo>
                  <a:lnTo>
                    <a:pt x="461" y="881"/>
                  </a:lnTo>
                  <a:lnTo>
                    <a:pt x="454" y="881"/>
                  </a:lnTo>
                  <a:lnTo>
                    <a:pt x="454" y="864"/>
                  </a:lnTo>
                  <a:lnTo>
                    <a:pt x="399" y="905"/>
                  </a:lnTo>
                  <a:lnTo>
                    <a:pt x="423" y="893"/>
                  </a:lnTo>
                  <a:lnTo>
                    <a:pt x="437" y="893"/>
                  </a:lnTo>
                  <a:lnTo>
                    <a:pt x="423" y="909"/>
                  </a:lnTo>
                  <a:lnTo>
                    <a:pt x="361" y="938"/>
                  </a:lnTo>
                  <a:lnTo>
                    <a:pt x="352" y="938"/>
                  </a:lnTo>
                  <a:lnTo>
                    <a:pt x="347" y="921"/>
                  </a:lnTo>
                  <a:lnTo>
                    <a:pt x="368" y="909"/>
                  </a:lnTo>
                  <a:lnTo>
                    <a:pt x="331" y="921"/>
                  </a:lnTo>
                  <a:lnTo>
                    <a:pt x="331" y="909"/>
                  </a:lnTo>
                  <a:lnTo>
                    <a:pt x="378" y="886"/>
                  </a:lnTo>
                  <a:lnTo>
                    <a:pt x="361" y="881"/>
                  </a:lnTo>
                  <a:lnTo>
                    <a:pt x="368" y="853"/>
                  </a:lnTo>
                  <a:lnTo>
                    <a:pt x="390" y="836"/>
                  </a:lnTo>
                  <a:lnTo>
                    <a:pt x="406" y="836"/>
                  </a:lnTo>
                  <a:lnTo>
                    <a:pt x="390" y="831"/>
                  </a:lnTo>
                  <a:lnTo>
                    <a:pt x="423" y="836"/>
                  </a:lnTo>
                  <a:lnTo>
                    <a:pt x="406" y="831"/>
                  </a:lnTo>
                  <a:lnTo>
                    <a:pt x="423" y="827"/>
                  </a:lnTo>
                  <a:lnTo>
                    <a:pt x="432" y="810"/>
                  </a:lnTo>
                  <a:lnTo>
                    <a:pt x="444" y="827"/>
                  </a:lnTo>
                  <a:lnTo>
                    <a:pt x="444" y="836"/>
                  </a:lnTo>
                  <a:lnTo>
                    <a:pt x="470" y="815"/>
                  </a:lnTo>
                  <a:lnTo>
                    <a:pt x="487" y="815"/>
                  </a:lnTo>
                  <a:lnTo>
                    <a:pt x="470" y="815"/>
                  </a:lnTo>
                  <a:lnTo>
                    <a:pt x="461" y="798"/>
                  </a:lnTo>
                  <a:lnTo>
                    <a:pt x="491" y="782"/>
                  </a:lnTo>
                  <a:lnTo>
                    <a:pt x="475" y="782"/>
                  </a:lnTo>
                  <a:lnTo>
                    <a:pt x="487" y="777"/>
                  </a:lnTo>
                  <a:lnTo>
                    <a:pt x="513" y="770"/>
                  </a:lnTo>
                  <a:lnTo>
                    <a:pt x="498" y="770"/>
                  </a:lnTo>
                  <a:lnTo>
                    <a:pt x="444" y="794"/>
                  </a:lnTo>
                  <a:lnTo>
                    <a:pt x="454" y="782"/>
                  </a:lnTo>
                  <a:lnTo>
                    <a:pt x="444" y="782"/>
                  </a:lnTo>
                  <a:lnTo>
                    <a:pt x="475" y="777"/>
                  </a:lnTo>
                  <a:lnTo>
                    <a:pt x="444" y="782"/>
                  </a:lnTo>
                  <a:lnTo>
                    <a:pt x="454" y="777"/>
                  </a:lnTo>
                  <a:lnTo>
                    <a:pt x="546" y="742"/>
                  </a:lnTo>
                  <a:lnTo>
                    <a:pt x="567" y="725"/>
                  </a:lnTo>
                  <a:lnTo>
                    <a:pt x="529" y="742"/>
                  </a:lnTo>
                  <a:lnTo>
                    <a:pt x="524" y="742"/>
                  </a:lnTo>
                  <a:lnTo>
                    <a:pt x="546" y="737"/>
                  </a:lnTo>
                  <a:lnTo>
                    <a:pt x="513" y="737"/>
                  </a:lnTo>
                  <a:lnTo>
                    <a:pt x="541" y="720"/>
                  </a:lnTo>
                  <a:lnTo>
                    <a:pt x="529" y="716"/>
                  </a:lnTo>
                  <a:lnTo>
                    <a:pt x="546" y="716"/>
                  </a:lnTo>
                  <a:lnTo>
                    <a:pt x="529" y="699"/>
                  </a:lnTo>
                  <a:lnTo>
                    <a:pt x="524" y="687"/>
                  </a:lnTo>
                  <a:lnTo>
                    <a:pt x="541" y="683"/>
                  </a:lnTo>
                  <a:lnTo>
                    <a:pt x="550" y="687"/>
                  </a:lnTo>
                  <a:lnTo>
                    <a:pt x="541" y="671"/>
                  </a:lnTo>
                  <a:lnTo>
                    <a:pt x="546" y="659"/>
                  </a:lnTo>
                  <a:lnTo>
                    <a:pt x="562" y="649"/>
                  </a:lnTo>
                  <a:lnTo>
                    <a:pt x="583" y="666"/>
                  </a:lnTo>
                  <a:lnTo>
                    <a:pt x="579" y="649"/>
                  </a:lnTo>
                  <a:lnTo>
                    <a:pt x="567" y="649"/>
                  </a:lnTo>
                  <a:lnTo>
                    <a:pt x="567" y="642"/>
                  </a:lnTo>
                  <a:lnTo>
                    <a:pt x="546" y="642"/>
                  </a:lnTo>
                  <a:lnTo>
                    <a:pt x="605" y="614"/>
                  </a:lnTo>
                  <a:lnTo>
                    <a:pt x="605" y="631"/>
                  </a:lnTo>
                  <a:lnTo>
                    <a:pt x="617" y="614"/>
                  </a:lnTo>
                  <a:lnTo>
                    <a:pt x="654" y="609"/>
                  </a:lnTo>
                  <a:lnTo>
                    <a:pt x="567" y="626"/>
                  </a:lnTo>
                  <a:lnTo>
                    <a:pt x="605" y="609"/>
                  </a:lnTo>
                  <a:lnTo>
                    <a:pt x="567" y="609"/>
                  </a:lnTo>
                  <a:lnTo>
                    <a:pt x="583" y="593"/>
                  </a:lnTo>
                  <a:lnTo>
                    <a:pt x="567" y="588"/>
                  </a:lnTo>
                  <a:lnTo>
                    <a:pt x="621" y="572"/>
                  </a:lnTo>
                  <a:lnTo>
                    <a:pt x="583" y="576"/>
                  </a:lnTo>
                  <a:lnTo>
                    <a:pt x="583" y="572"/>
                  </a:lnTo>
                  <a:lnTo>
                    <a:pt x="605" y="572"/>
                  </a:lnTo>
                  <a:lnTo>
                    <a:pt x="583" y="560"/>
                  </a:lnTo>
                  <a:lnTo>
                    <a:pt x="621" y="560"/>
                  </a:lnTo>
                  <a:lnTo>
                    <a:pt x="633" y="560"/>
                  </a:lnTo>
                  <a:lnTo>
                    <a:pt x="605" y="560"/>
                  </a:lnTo>
                  <a:lnTo>
                    <a:pt x="621" y="555"/>
                  </a:lnTo>
                  <a:lnTo>
                    <a:pt x="605" y="555"/>
                  </a:lnTo>
                  <a:lnTo>
                    <a:pt x="638" y="555"/>
                  </a:lnTo>
                  <a:lnTo>
                    <a:pt x="605" y="531"/>
                  </a:lnTo>
                  <a:lnTo>
                    <a:pt x="687" y="522"/>
                  </a:lnTo>
                  <a:lnTo>
                    <a:pt x="659" y="515"/>
                  </a:lnTo>
                  <a:lnTo>
                    <a:pt x="659" y="503"/>
                  </a:lnTo>
                  <a:lnTo>
                    <a:pt x="692" y="503"/>
                  </a:lnTo>
                  <a:lnTo>
                    <a:pt x="676" y="503"/>
                  </a:lnTo>
                  <a:lnTo>
                    <a:pt x="676" y="498"/>
                  </a:lnTo>
                  <a:lnTo>
                    <a:pt x="709" y="498"/>
                  </a:lnTo>
                  <a:lnTo>
                    <a:pt x="702" y="503"/>
                  </a:lnTo>
                  <a:lnTo>
                    <a:pt x="709" y="515"/>
                  </a:lnTo>
                  <a:lnTo>
                    <a:pt x="709" y="503"/>
                  </a:lnTo>
                  <a:lnTo>
                    <a:pt x="709" y="498"/>
                  </a:lnTo>
                  <a:lnTo>
                    <a:pt x="730" y="503"/>
                  </a:lnTo>
                  <a:lnTo>
                    <a:pt x="746" y="515"/>
                  </a:lnTo>
                  <a:lnTo>
                    <a:pt x="739" y="498"/>
                  </a:lnTo>
                  <a:lnTo>
                    <a:pt x="763" y="503"/>
                  </a:lnTo>
                  <a:lnTo>
                    <a:pt x="713" y="498"/>
                  </a:lnTo>
                  <a:lnTo>
                    <a:pt x="725" y="494"/>
                  </a:lnTo>
                  <a:lnTo>
                    <a:pt x="687" y="498"/>
                  </a:lnTo>
                  <a:lnTo>
                    <a:pt x="671" y="498"/>
                  </a:lnTo>
                  <a:lnTo>
                    <a:pt x="687" y="477"/>
                  </a:lnTo>
                  <a:lnTo>
                    <a:pt x="709" y="477"/>
                  </a:lnTo>
                  <a:lnTo>
                    <a:pt x="692" y="465"/>
                  </a:lnTo>
                  <a:lnTo>
                    <a:pt x="713" y="460"/>
                  </a:lnTo>
                  <a:lnTo>
                    <a:pt x="725" y="460"/>
                  </a:lnTo>
                  <a:lnTo>
                    <a:pt x="709" y="465"/>
                  </a:lnTo>
                  <a:lnTo>
                    <a:pt x="739" y="465"/>
                  </a:lnTo>
                  <a:lnTo>
                    <a:pt x="756" y="494"/>
                  </a:lnTo>
                  <a:lnTo>
                    <a:pt x="763" y="494"/>
                  </a:lnTo>
                  <a:lnTo>
                    <a:pt x="746" y="465"/>
                  </a:lnTo>
                  <a:lnTo>
                    <a:pt x="777" y="460"/>
                  </a:lnTo>
                  <a:lnTo>
                    <a:pt x="730" y="460"/>
                  </a:lnTo>
                  <a:lnTo>
                    <a:pt x="725" y="449"/>
                  </a:lnTo>
                  <a:lnTo>
                    <a:pt x="730" y="437"/>
                  </a:lnTo>
                  <a:lnTo>
                    <a:pt x="768" y="444"/>
                  </a:lnTo>
                  <a:lnTo>
                    <a:pt x="739" y="427"/>
                  </a:lnTo>
                  <a:lnTo>
                    <a:pt x="692" y="444"/>
                  </a:lnTo>
                  <a:lnTo>
                    <a:pt x="692" y="437"/>
                  </a:lnTo>
                  <a:lnTo>
                    <a:pt x="713" y="437"/>
                  </a:lnTo>
                  <a:lnTo>
                    <a:pt x="692" y="427"/>
                  </a:lnTo>
                  <a:lnTo>
                    <a:pt x="713" y="420"/>
                  </a:lnTo>
                  <a:lnTo>
                    <a:pt x="702" y="420"/>
                  </a:lnTo>
                  <a:lnTo>
                    <a:pt x="709" y="420"/>
                  </a:lnTo>
                  <a:lnTo>
                    <a:pt x="768" y="411"/>
                  </a:lnTo>
                  <a:lnTo>
                    <a:pt x="777" y="404"/>
                  </a:lnTo>
                  <a:lnTo>
                    <a:pt x="730" y="394"/>
                  </a:lnTo>
                  <a:lnTo>
                    <a:pt x="746" y="387"/>
                  </a:lnTo>
                  <a:lnTo>
                    <a:pt x="763" y="387"/>
                  </a:lnTo>
                  <a:lnTo>
                    <a:pt x="756" y="394"/>
                  </a:lnTo>
                  <a:lnTo>
                    <a:pt x="768" y="387"/>
                  </a:lnTo>
                  <a:lnTo>
                    <a:pt x="777" y="371"/>
                  </a:lnTo>
                  <a:lnTo>
                    <a:pt x="784" y="383"/>
                  </a:lnTo>
                  <a:lnTo>
                    <a:pt x="794" y="420"/>
                  </a:lnTo>
                  <a:lnTo>
                    <a:pt x="815" y="427"/>
                  </a:lnTo>
                  <a:lnTo>
                    <a:pt x="801" y="420"/>
                  </a:lnTo>
                  <a:lnTo>
                    <a:pt x="794" y="404"/>
                  </a:lnTo>
                  <a:lnTo>
                    <a:pt x="815" y="411"/>
                  </a:lnTo>
                  <a:lnTo>
                    <a:pt x="810" y="394"/>
                  </a:lnTo>
                  <a:lnTo>
                    <a:pt x="831" y="394"/>
                  </a:lnTo>
                  <a:lnTo>
                    <a:pt x="810" y="394"/>
                  </a:lnTo>
                  <a:lnTo>
                    <a:pt x="801" y="387"/>
                  </a:lnTo>
                  <a:lnTo>
                    <a:pt x="815" y="383"/>
                  </a:lnTo>
                  <a:lnTo>
                    <a:pt x="794" y="383"/>
                  </a:lnTo>
                  <a:lnTo>
                    <a:pt x="801" y="371"/>
                  </a:lnTo>
                  <a:lnTo>
                    <a:pt x="784" y="371"/>
                  </a:lnTo>
                  <a:lnTo>
                    <a:pt x="815" y="371"/>
                  </a:lnTo>
                  <a:lnTo>
                    <a:pt x="839" y="387"/>
                  </a:lnTo>
                  <a:lnTo>
                    <a:pt x="794" y="366"/>
                  </a:lnTo>
                  <a:lnTo>
                    <a:pt x="801" y="354"/>
                  </a:lnTo>
                  <a:lnTo>
                    <a:pt x="865" y="354"/>
                  </a:lnTo>
                  <a:lnTo>
                    <a:pt x="876" y="383"/>
                  </a:lnTo>
                  <a:lnTo>
                    <a:pt x="876" y="371"/>
                  </a:lnTo>
                  <a:lnTo>
                    <a:pt x="865" y="354"/>
                  </a:lnTo>
                  <a:lnTo>
                    <a:pt x="891" y="354"/>
                  </a:lnTo>
                  <a:lnTo>
                    <a:pt x="876" y="349"/>
                  </a:lnTo>
                  <a:lnTo>
                    <a:pt x="891" y="349"/>
                  </a:lnTo>
                  <a:lnTo>
                    <a:pt x="891" y="338"/>
                  </a:lnTo>
                  <a:lnTo>
                    <a:pt x="853" y="349"/>
                  </a:lnTo>
                  <a:lnTo>
                    <a:pt x="853" y="338"/>
                  </a:lnTo>
                  <a:lnTo>
                    <a:pt x="848" y="338"/>
                  </a:lnTo>
                  <a:lnTo>
                    <a:pt x="815" y="349"/>
                  </a:lnTo>
                  <a:lnTo>
                    <a:pt x="815" y="338"/>
                  </a:lnTo>
                  <a:lnTo>
                    <a:pt x="822" y="333"/>
                  </a:lnTo>
                  <a:lnTo>
                    <a:pt x="822" y="326"/>
                  </a:lnTo>
                  <a:lnTo>
                    <a:pt x="848" y="316"/>
                  </a:lnTo>
                  <a:lnTo>
                    <a:pt x="902" y="326"/>
                  </a:lnTo>
                  <a:lnTo>
                    <a:pt x="869" y="309"/>
                  </a:lnTo>
                  <a:lnTo>
                    <a:pt x="886" y="300"/>
                  </a:lnTo>
                  <a:lnTo>
                    <a:pt x="907" y="309"/>
                  </a:lnTo>
                  <a:lnTo>
                    <a:pt x="886" y="300"/>
                  </a:lnTo>
                  <a:lnTo>
                    <a:pt x="907" y="293"/>
                  </a:lnTo>
                  <a:lnTo>
                    <a:pt x="876" y="293"/>
                  </a:lnTo>
                  <a:lnTo>
                    <a:pt x="891" y="260"/>
                  </a:lnTo>
                  <a:lnTo>
                    <a:pt x="928" y="260"/>
                  </a:lnTo>
                  <a:lnTo>
                    <a:pt x="924" y="243"/>
                  </a:lnTo>
                  <a:lnTo>
                    <a:pt x="940" y="215"/>
                  </a:lnTo>
                  <a:lnTo>
                    <a:pt x="973" y="243"/>
                  </a:lnTo>
                  <a:lnTo>
                    <a:pt x="978" y="238"/>
                  </a:lnTo>
                  <a:lnTo>
                    <a:pt x="994" y="243"/>
                  </a:lnTo>
                  <a:lnTo>
                    <a:pt x="957" y="222"/>
                  </a:lnTo>
                  <a:lnTo>
                    <a:pt x="957" y="215"/>
                  </a:lnTo>
                  <a:lnTo>
                    <a:pt x="978" y="205"/>
                  </a:lnTo>
                  <a:lnTo>
                    <a:pt x="994" y="227"/>
                  </a:lnTo>
                  <a:lnTo>
                    <a:pt x="1016" y="238"/>
                  </a:lnTo>
                  <a:lnTo>
                    <a:pt x="999" y="243"/>
                  </a:lnTo>
                  <a:lnTo>
                    <a:pt x="1028" y="243"/>
                  </a:lnTo>
                  <a:lnTo>
                    <a:pt x="1028" y="238"/>
                  </a:lnTo>
                  <a:lnTo>
                    <a:pt x="994" y="222"/>
                  </a:lnTo>
                  <a:lnTo>
                    <a:pt x="1011" y="215"/>
                  </a:lnTo>
                  <a:lnTo>
                    <a:pt x="1011" y="205"/>
                  </a:lnTo>
                  <a:lnTo>
                    <a:pt x="994" y="215"/>
                  </a:lnTo>
                  <a:lnTo>
                    <a:pt x="983" y="198"/>
                  </a:lnTo>
                  <a:lnTo>
                    <a:pt x="1011" y="182"/>
                  </a:lnTo>
                  <a:lnTo>
                    <a:pt x="1049" y="172"/>
                  </a:lnTo>
                  <a:lnTo>
                    <a:pt x="1042" y="198"/>
                  </a:lnTo>
                  <a:lnTo>
                    <a:pt x="1032" y="227"/>
                  </a:lnTo>
                  <a:lnTo>
                    <a:pt x="1042" y="222"/>
                  </a:lnTo>
                  <a:lnTo>
                    <a:pt x="1049" y="189"/>
                  </a:lnTo>
                  <a:lnTo>
                    <a:pt x="1087" y="160"/>
                  </a:lnTo>
                  <a:lnTo>
                    <a:pt x="1096" y="165"/>
                  </a:lnTo>
                  <a:lnTo>
                    <a:pt x="1080" y="222"/>
                  </a:lnTo>
                  <a:lnTo>
                    <a:pt x="1054" y="243"/>
                  </a:lnTo>
                  <a:lnTo>
                    <a:pt x="1096" y="205"/>
                  </a:lnTo>
                  <a:lnTo>
                    <a:pt x="1124" y="215"/>
                  </a:lnTo>
                  <a:lnTo>
                    <a:pt x="1096" y="198"/>
                  </a:lnTo>
                  <a:lnTo>
                    <a:pt x="1103" y="182"/>
                  </a:lnTo>
                  <a:lnTo>
                    <a:pt x="1141" y="160"/>
                  </a:lnTo>
                  <a:lnTo>
                    <a:pt x="1124" y="165"/>
                  </a:lnTo>
                  <a:lnTo>
                    <a:pt x="1134" y="172"/>
                  </a:lnTo>
                  <a:lnTo>
                    <a:pt x="1155" y="149"/>
                  </a:lnTo>
                  <a:lnTo>
                    <a:pt x="1209" y="182"/>
                  </a:lnTo>
                  <a:lnTo>
                    <a:pt x="1188" y="144"/>
                  </a:lnTo>
                  <a:lnTo>
                    <a:pt x="1209" y="132"/>
                  </a:lnTo>
                  <a:lnTo>
                    <a:pt x="1162" y="132"/>
                  </a:lnTo>
                  <a:lnTo>
                    <a:pt x="1150" y="127"/>
                  </a:lnTo>
                  <a:lnTo>
                    <a:pt x="1155" y="116"/>
                  </a:lnTo>
                  <a:lnTo>
                    <a:pt x="1172" y="111"/>
                  </a:lnTo>
                  <a:lnTo>
                    <a:pt x="1188" y="116"/>
                  </a:lnTo>
                  <a:lnTo>
                    <a:pt x="1205" y="111"/>
                  </a:lnTo>
                  <a:lnTo>
                    <a:pt x="1226" y="111"/>
                  </a:lnTo>
                  <a:lnTo>
                    <a:pt x="1226" y="127"/>
                  </a:lnTo>
                  <a:lnTo>
                    <a:pt x="1243" y="132"/>
                  </a:lnTo>
                  <a:lnTo>
                    <a:pt x="1226" y="127"/>
                  </a:lnTo>
                  <a:lnTo>
                    <a:pt x="1231" y="116"/>
                  </a:lnTo>
                  <a:lnTo>
                    <a:pt x="1268" y="127"/>
                  </a:lnTo>
                  <a:lnTo>
                    <a:pt x="1259" y="132"/>
                  </a:lnTo>
                  <a:lnTo>
                    <a:pt x="1226" y="144"/>
                  </a:lnTo>
                  <a:lnTo>
                    <a:pt x="1264" y="132"/>
                  </a:lnTo>
                  <a:lnTo>
                    <a:pt x="1297" y="160"/>
                  </a:lnTo>
                  <a:lnTo>
                    <a:pt x="1313" y="149"/>
                  </a:lnTo>
                  <a:lnTo>
                    <a:pt x="1285" y="144"/>
                  </a:lnTo>
                  <a:lnTo>
                    <a:pt x="1297" y="132"/>
                  </a:lnTo>
                  <a:lnTo>
                    <a:pt x="1297" y="116"/>
                  </a:lnTo>
                  <a:lnTo>
                    <a:pt x="1313" y="116"/>
                  </a:lnTo>
                  <a:lnTo>
                    <a:pt x="1302" y="116"/>
                  </a:lnTo>
                  <a:lnTo>
                    <a:pt x="1318" y="94"/>
                  </a:lnTo>
                  <a:lnTo>
                    <a:pt x="1339" y="87"/>
                  </a:lnTo>
                  <a:lnTo>
                    <a:pt x="1368" y="94"/>
                  </a:lnTo>
                  <a:lnTo>
                    <a:pt x="1356" y="78"/>
                  </a:lnTo>
                  <a:lnTo>
                    <a:pt x="1368" y="61"/>
                  </a:lnTo>
                  <a:lnTo>
                    <a:pt x="1394" y="71"/>
                  </a:lnTo>
                  <a:lnTo>
                    <a:pt x="1377" y="54"/>
                  </a:lnTo>
                  <a:lnTo>
                    <a:pt x="1356" y="49"/>
                  </a:lnTo>
                  <a:lnTo>
                    <a:pt x="1372" y="38"/>
                  </a:lnTo>
                  <a:lnTo>
                    <a:pt x="1389" y="49"/>
                  </a:lnTo>
                  <a:lnTo>
                    <a:pt x="1389" y="21"/>
                  </a:lnTo>
                  <a:lnTo>
                    <a:pt x="1405" y="33"/>
                  </a:lnTo>
                  <a:lnTo>
                    <a:pt x="1410" y="21"/>
                  </a:lnTo>
                  <a:lnTo>
                    <a:pt x="1431" y="49"/>
                  </a:lnTo>
                  <a:lnTo>
                    <a:pt x="1443" y="38"/>
                  </a:lnTo>
                  <a:lnTo>
                    <a:pt x="1443" y="21"/>
                  </a:lnTo>
                  <a:lnTo>
                    <a:pt x="1481" y="33"/>
                  </a:lnTo>
                  <a:lnTo>
                    <a:pt x="1420" y="87"/>
                  </a:lnTo>
                  <a:lnTo>
                    <a:pt x="1431" y="87"/>
                  </a:lnTo>
                  <a:lnTo>
                    <a:pt x="1431" y="104"/>
                  </a:lnTo>
                  <a:lnTo>
                    <a:pt x="1420" y="104"/>
                  </a:lnTo>
                  <a:lnTo>
                    <a:pt x="1420" y="116"/>
                  </a:lnTo>
                  <a:lnTo>
                    <a:pt x="1410" y="116"/>
                  </a:lnTo>
                  <a:lnTo>
                    <a:pt x="1410" y="144"/>
                  </a:lnTo>
                  <a:lnTo>
                    <a:pt x="1420" y="144"/>
                  </a:lnTo>
                  <a:lnTo>
                    <a:pt x="1420" y="132"/>
                  </a:lnTo>
                  <a:lnTo>
                    <a:pt x="1420" y="144"/>
                  </a:lnTo>
                  <a:lnTo>
                    <a:pt x="1427" y="144"/>
                  </a:lnTo>
                  <a:lnTo>
                    <a:pt x="1448" y="116"/>
                  </a:lnTo>
                  <a:lnTo>
                    <a:pt x="1443" y="104"/>
                  </a:lnTo>
                  <a:lnTo>
                    <a:pt x="1528" y="33"/>
                  </a:lnTo>
                  <a:lnTo>
                    <a:pt x="1533" y="33"/>
                  </a:lnTo>
                  <a:lnTo>
                    <a:pt x="1533" y="54"/>
                  </a:lnTo>
                  <a:lnTo>
                    <a:pt x="1502" y="71"/>
                  </a:lnTo>
                  <a:lnTo>
                    <a:pt x="1528" y="71"/>
                  </a:lnTo>
                  <a:lnTo>
                    <a:pt x="1519" y="104"/>
                  </a:lnTo>
                  <a:lnTo>
                    <a:pt x="1557" y="87"/>
                  </a:lnTo>
                  <a:lnTo>
                    <a:pt x="1550" y="78"/>
                  </a:lnTo>
                  <a:lnTo>
                    <a:pt x="1557" y="71"/>
                  </a:lnTo>
                  <a:lnTo>
                    <a:pt x="1571" y="78"/>
                  </a:lnTo>
                  <a:lnTo>
                    <a:pt x="1566" y="71"/>
                  </a:lnTo>
                  <a:lnTo>
                    <a:pt x="1566" y="54"/>
                  </a:lnTo>
                  <a:lnTo>
                    <a:pt x="1571" y="38"/>
                  </a:lnTo>
                  <a:lnTo>
                    <a:pt x="1594" y="49"/>
                  </a:lnTo>
                  <a:lnTo>
                    <a:pt x="1566" y="21"/>
                  </a:lnTo>
                  <a:lnTo>
                    <a:pt x="1594" y="5"/>
                  </a:lnTo>
                  <a:lnTo>
                    <a:pt x="1609" y="16"/>
                  </a:lnTo>
                  <a:lnTo>
                    <a:pt x="1637" y="5"/>
                  </a:lnTo>
                  <a:lnTo>
                    <a:pt x="1663" y="21"/>
                  </a:lnTo>
                  <a:lnTo>
                    <a:pt x="1642" y="49"/>
                  </a:lnTo>
                  <a:lnTo>
                    <a:pt x="1604" y="49"/>
                  </a:lnTo>
                  <a:lnTo>
                    <a:pt x="1637" y="54"/>
                  </a:lnTo>
                  <a:lnTo>
                    <a:pt x="1594" y="71"/>
                  </a:lnTo>
                  <a:lnTo>
                    <a:pt x="1642" y="54"/>
                  </a:lnTo>
                  <a:lnTo>
                    <a:pt x="1642" y="71"/>
                  </a:lnTo>
                  <a:lnTo>
                    <a:pt x="1609" y="87"/>
                  </a:lnTo>
                  <a:lnTo>
                    <a:pt x="1637" y="87"/>
                  </a:lnTo>
                  <a:lnTo>
                    <a:pt x="1625" y="94"/>
                  </a:lnTo>
                  <a:lnTo>
                    <a:pt x="1637" y="94"/>
                  </a:lnTo>
                  <a:lnTo>
                    <a:pt x="1646" y="87"/>
                  </a:lnTo>
                  <a:lnTo>
                    <a:pt x="1637" y="104"/>
                  </a:lnTo>
                  <a:lnTo>
                    <a:pt x="1637" y="127"/>
                  </a:lnTo>
                  <a:lnTo>
                    <a:pt x="1625" y="144"/>
                  </a:lnTo>
                  <a:lnTo>
                    <a:pt x="1642" y="127"/>
                  </a:lnTo>
                  <a:lnTo>
                    <a:pt x="1642" y="104"/>
                  </a:lnTo>
                  <a:lnTo>
                    <a:pt x="1658" y="54"/>
                  </a:lnTo>
                  <a:lnTo>
                    <a:pt x="1675" y="38"/>
                  </a:lnTo>
                  <a:lnTo>
                    <a:pt x="1696" y="38"/>
                  </a:lnTo>
                  <a:lnTo>
                    <a:pt x="1713" y="38"/>
                  </a:lnTo>
                  <a:lnTo>
                    <a:pt x="1717" y="61"/>
                  </a:lnTo>
                  <a:lnTo>
                    <a:pt x="1750" y="54"/>
                  </a:lnTo>
                  <a:lnTo>
                    <a:pt x="1746" y="71"/>
                  </a:lnTo>
                  <a:lnTo>
                    <a:pt x="1772" y="54"/>
                  </a:lnTo>
                  <a:lnTo>
                    <a:pt x="1788" y="71"/>
                  </a:lnTo>
                  <a:lnTo>
                    <a:pt x="1767" y="78"/>
                  </a:lnTo>
                  <a:lnTo>
                    <a:pt x="1805" y="78"/>
                  </a:lnTo>
                  <a:lnTo>
                    <a:pt x="1826" y="94"/>
                  </a:lnTo>
                  <a:lnTo>
                    <a:pt x="1842" y="111"/>
                  </a:lnTo>
                  <a:lnTo>
                    <a:pt x="1798" y="116"/>
                  </a:lnTo>
                  <a:lnTo>
                    <a:pt x="1772" y="144"/>
                  </a:lnTo>
                  <a:lnTo>
                    <a:pt x="1675" y="127"/>
                  </a:lnTo>
                  <a:lnTo>
                    <a:pt x="1663" y="127"/>
                  </a:lnTo>
                  <a:lnTo>
                    <a:pt x="1675" y="127"/>
                  </a:lnTo>
                  <a:lnTo>
                    <a:pt x="1663" y="132"/>
                  </a:lnTo>
                  <a:lnTo>
                    <a:pt x="1746" y="160"/>
                  </a:lnTo>
                  <a:lnTo>
                    <a:pt x="1717" y="165"/>
                  </a:lnTo>
                  <a:lnTo>
                    <a:pt x="1746" y="165"/>
                  </a:lnTo>
                  <a:lnTo>
                    <a:pt x="1750" y="172"/>
                  </a:lnTo>
                  <a:lnTo>
                    <a:pt x="1729" y="198"/>
                  </a:lnTo>
                  <a:lnTo>
                    <a:pt x="1755" y="182"/>
                  </a:lnTo>
                  <a:lnTo>
                    <a:pt x="1772" y="189"/>
                  </a:lnTo>
                  <a:lnTo>
                    <a:pt x="1772" y="182"/>
                  </a:lnTo>
                  <a:lnTo>
                    <a:pt x="1772" y="165"/>
                  </a:lnTo>
                  <a:lnTo>
                    <a:pt x="1788" y="172"/>
                  </a:lnTo>
                  <a:lnTo>
                    <a:pt x="1788" y="189"/>
                  </a:lnTo>
                  <a:lnTo>
                    <a:pt x="1798" y="189"/>
                  </a:lnTo>
                  <a:lnTo>
                    <a:pt x="1798" y="172"/>
                  </a:lnTo>
                  <a:lnTo>
                    <a:pt x="1826" y="172"/>
                  </a:lnTo>
                  <a:lnTo>
                    <a:pt x="1826" y="172"/>
                  </a:lnTo>
                  <a:lnTo>
                    <a:pt x="1826" y="172"/>
                  </a:lnTo>
                  <a:close/>
                  <a:moveTo>
                    <a:pt x="1394" y="16"/>
                  </a:moveTo>
                  <a:lnTo>
                    <a:pt x="1389" y="5"/>
                  </a:lnTo>
                  <a:lnTo>
                    <a:pt x="1405" y="5"/>
                  </a:lnTo>
                  <a:lnTo>
                    <a:pt x="1394" y="16"/>
                  </a:lnTo>
                  <a:lnTo>
                    <a:pt x="1394" y="16"/>
                  </a:lnTo>
                  <a:lnTo>
                    <a:pt x="1394" y="16"/>
                  </a:lnTo>
                  <a:close/>
                  <a:moveTo>
                    <a:pt x="1351" y="33"/>
                  </a:moveTo>
                  <a:lnTo>
                    <a:pt x="1335" y="21"/>
                  </a:lnTo>
                  <a:lnTo>
                    <a:pt x="1356" y="21"/>
                  </a:lnTo>
                  <a:lnTo>
                    <a:pt x="1351" y="33"/>
                  </a:lnTo>
                  <a:lnTo>
                    <a:pt x="1351" y="33"/>
                  </a:lnTo>
                  <a:lnTo>
                    <a:pt x="1351" y="33"/>
                  </a:lnTo>
                  <a:close/>
                  <a:moveTo>
                    <a:pt x="1217" y="87"/>
                  </a:moveTo>
                  <a:lnTo>
                    <a:pt x="1217" y="71"/>
                  </a:lnTo>
                  <a:lnTo>
                    <a:pt x="1205" y="61"/>
                  </a:lnTo>
                  <a:lnTo>
                    <a:pt x="1243" y="54"/>
                  </a:lnTo>
                  <a:lnTo>
                    <a:pt x="1247" y="61"/>
                  </a:lnTo>
                  <a:lnTo>
                    <a:pt x="1247" y="71"/>
                  </a:lnTo>
                  <a:lnTo>
                    <a:pt x="1259" y="71"/>
                  </a:lnTo>
                  <a:lnTo>
                    <a:pt x="1259" y="54"/>
                  </a:lnTo>
                  <a:lnTo>
                    <a:pt x="1268" y="61"/>
                  </a:lnTo>
                  <a:lnTo>
                    <a:pt x="1285" y="49"/>
                  </a:lnTo>
                  <a:lnTo>
                    <a:pt x="1297" y="49"/>
                  </a:lnTo>
                  <a:lnTo>
                    <a:pt x="1297" y="38"/>
                  </a:lnTo>
                  <a:lnTo>
                    <a:pt x="1302" y="49"/>
                  </a:lnTo>
                  <a:lnTo>
                    <a:pt x="1280" y="78"/>
                  </a:lnTo>
                  <a:lnTo>
                    <a:pt x="1217" y="87"/>
                  </a:lnTo>
                  <a:lnTo>
                    <a:pt x="1217" y="87"/>
                  </a:lnTo>
                  <a:lnTo>
                    <a:pt x="1217" y="87"/>
                  </a:lnTo>
                  <a:close/>
                  <a:moveTo>
                    <a:pt x="1335" y="87"/>
                  </a:moveTo>
                  <a:lnTo>
                    <a:pt x="1323" y="78"/>
                  </a:lnTo>
                  <a:lnTo>
                    <a:pt x="1318" y="61"/>
                  </a:lnTo>
                  <a:lnTo>
                    <a:pt x="1335" y="54"/>
                  </a:lnTo>
                  <a:lnTo>
                    <a:pt x="1351" y="71"/>
                  </a:lnTo>
                  <a:lnTo>
                    <a:pt x="1335" y="87"/>
                  </a:lnTo>
                  <a:lnTo>
                    <a:pt x="1335" y="87"/>
                  </a:lnTo>
                  <a:lnTo>
                    <a:pt x="1335" y="87"/>
                  </a:lnTo>
                  <a:close/>
                  <a:moveTo>
                    <a:pt x="1280" y="116"/>
                  </a:moveTo>
                  <a:lnTo>
                    <a:pt x="1264" y="94"/>
                  </a:lnTo>
                  <a:lnTo>
                    <a:pt x="1302" y="78"/>
                  </a:lnTo>
                  <a:lnTo>
                    <a:pt x="1302" y="71"/>
                  </a:lnTo>
                  <a:lnTo>
                    <a:pt x="1318" y="87"/>
                  </a:lnTo>
                  <a:lnTo>
                    <a:pt x="1313" y="104"/>
                  </a:lnTo>
                  <a:lnTo>
                    <a:pt x="1280" y="116"/>
                  </a:lnTo>
                  <a:lnTo>
                    <a:pt x="1280" y="116"/>
                  </a:lnTo>
                  <a:lnTo>
                    <a:pt x="1280" y="116"/>
                  </a:lnTo>
                  <a:close/>
                  <a:moveTo>
                    <a:pt x="1268" y="116"/>
                  </a:moveTo>
                  <a:lnTo>
                    <a:pt x="1226" y="111"/>
                  </a:lnTo>
                  <a:lnTo>
                    <a:pt x="1247" y="104"/>
                  </a:lnTo>
                  <a:lnTo>
                    <a:pt x="1268" y="116"/>
                  </a:lnTo>
                  <a:lnTo>
                    <a:pt x="1268" y="116"/>
                  </a:lnTo>
                  <a:lnTo>
                    <a:pt x="1268" y="116"/>
                  </a:lnTo>
                  <a:close/>
                  <a:moveTo>
                    <a:pt x="1188" y="116"/>
                  </a:moveTo>
                  <a:lnTo>
                    <a:pt x="1179" y="104"/>
                  </a:lnTo>
                  <a:lnTo>
                    <a:pt x="1193" y="104"/>
                  </a:lnTo>
                  <a:lnTo>
                    <a:pt x="1188" y="116"/>
                  </a:lnTo>
                  <a:lnTo>
                    <a:pt x="1188" y="116"/>
                  </a:lnTo>
                  <a:lnTo>
                    <a:pt x="1188" y="116"/>
                  </a:lnTo>
                  <a:close/>
                  <a:moveTo>
                    <a:pt x="1054" y="144"/>
                  </a:moveTo>
                  <a:lnTo>
                    <a:pt x="1049" y="144"/>
                  </a:lnTo>
                  <a:lnTo>
                    <a:pt x="1032" y="116"/>
                  </a:lnTo>
                  <a:lnTo>
                    <a:pt x="1042" y="111"/>
                  </a:lnTo>
                  <a:lnTo>
                    <a:pt x="1070" y="132"/>
                  </a:lnTo>
                  <a:lnTo>
                    <a:pt x="1054" y="144"/>
                  </a:lnTo>
                  <a:lnTo>
                    <a:pt x="1054" y="144"/>
                  </a:lnTo>
                  <a:lnTo>
                    <a:pt x="1054" y="144"/>
                  </a:lnTo>
                  <a:close/>
                  <a:moveTo>
                    <a:pt x="999" y="132"/>
                  </a:moveTo>
                  <a:lnTo>
                    <a:pt x="994" y="127"/>
                  </a:lnTo>
                  <a:lnTo>
                    <a:pt x="1011" y="116"/>
                  </a:lnTo>
                  <a:lnTo>
                    <a:pt x="1011" y="132"/>
                  </a:lnTo>
                  <a:lnTo>
                    <a:pt x="999" y="132"/>
                  </a:lnTo>
                  <a:lnTo>
                    <a:pt x="999" y="132"/>
                  </a:lnTo>
                  <a:lnTo>
                    <a:pt x="999" y="132"/>
                  </a:lnTo>
                  <a:close/>
                  <a:moveTo>
                    <a:pt x="1103" y="144"/>
                  </a:moveTo>
                  <a:lnTo>
                    <a:pt x="1087" y="144"/>
                  </a:lnTo>
                  <a:lnTo>
                    <a:pt x="1096" y="127"/>
                  </a:lnTo>
                  <a:lnTo>
                    <a:pt x="1103" y="116"/>
                  </a:lnTo>
                  <a:lnTo>
                    <a:pt x="1117" y="127"/>
                  </a:lnTo>
                  <a:lnTo>
                    <a:pt x="1117" y="144"/>
                  </a:lnTo>
                  <a:lnTo>
                    <a:pt x="1103" y="144"/>
                  </a:lnTo>
                  <a:lnTo>
                    <a:pt x="1103" y="144"/>
                  </a:lnTo>
                  <a:lnTo>
                    <a:pt x="1103" y="144"/>
                  </a:lnTo>
                  <a:close/>
                  <a:moveTo>
                    <a:pt x="1032" y="132"/>
                  </a:moveTo>
                  <a:lnTo>
                    <a:pt x="1016" y="132"/>
                  </a:lnTo>
                  <a:lnTo>
                    <a:pt x="1028" y="127"/>
                  </a:lnTo>
                  <a:lnTo>
                    <a:pt x="1032" y="132"/>
                  </a:lnTo>
                  <a:lnTo>
                    <a:pt x="1032" y="132"/>
                  </a:lnTo>
                  <a:lnTo>
                    <a:pt x="1032" y="132"/>
                  </a:lnTo>
                  <a:close/>
                  <a:moveTo>
                    <a:pt x="1124" y="144"/>
                  </a:moveTo>
                  <a:lnTo>
                    <a:pt x="1117" y="132"/>
                  </a:lnTo>
                  <a:lnTo>
                    <a:pt x="1124" y="132"/>
                  </a:lnTo>
                  <a:lnTo>
                    <a:pt x="1124" y="144"/>
                  </a:lnTo>
                  <a:lnTo>
                    <a:pt x="1124" y="144"/>
                  </a:lnTo>
                  <a:lnTo>
                    <a:pt x="1124" y="144"/>
                  </a:lnTo>
                  <a:close/>
                  <a:moveTo>
                    <a:pt x="973" y="149"/>
                  </a:moveTo>
                  <a:lnTo>
                    <a:pt x="973" y="132"/>
                  </a:lnTo>
                  <a:lnTo>
                    <a:pt x="994" y="144"/>
                  </a:lnTo>
                  <a:lnTo>
                    <a:pt x="973" y="149"/>
                  </a:lnTo>
                  <a:lnTo>
                    <a:pt x="973" y="149"/>
                  </a:lnTo>
                  <a:lnTo>
                    <a:pt x="973" y="149"/>
                  </a:lnTo>
                  <a:close/>
                  <a:moveTo>
                    <a:pt x="999" y="172"/>
                  </a:moveTo>
                  <a:lnTo>
                    <a:pt x="973" y="160"/>
                  </a:lnTo>
                  <a:lnTo>
                    <a:pt x="1011" y="132"/>
                  </a:lnTo>
                  <a:lnTo>
                    <a:pt x="1016" y="149"/>
                  </a:lnTo>
                  <a:lnTo>
                    <a:pt x="1032" y="144"/>
                  </a:lnTo>
                  <a:lnTo>
                    <a:pt x="1042" y="149"/>
                  </a:lnTo>
                  <a:lnTo>
                    <a:pt x="999" y="172"/>
                  </a:lnTo>
                  <a:lnTo>
                    <a:pt x="999" y="172"/>
                  </a:lnTo>
                  <a:lnTo>
                    <a:pt x="999" y="172"/>
                  </a:lnTo>
                  <a:close/>
                  <a:moveTo>
                    <a:pt x="1124" y="160"/>
                  </a:moveTo>
                  <a:lnTo>
                    <a:pt x="1117" y="149"/>
                  </a:lnTo>
                  <a:lnTo>
                    <a:pt x="1141" y="149"/>
                  </a:lnTo>
                  <a:lnTo>
                    <a:pt x="1124" y="160"/>
                  </a:lnTo>
                  <a:lnTo>
                    <a:pt x="1124" y="160"/>
                  </a:lnTo>
                  <a:lnTo>
                    <a:pt x="1124" y="160"/>
                  </a:lnTo>
                  <a:close/>
                  <a:moveTo>
                    <a:pt x="1028" y="172"/>
                  </a:moveTo>
                  <a:lnTo>
                    <a:pt x="1049" y="149"/>
                  </a:lnTo>
                  <a:lnTo>
                    <a:pt x="1054" y="160"/>
                  </a:lnTo>
                  <a:lnTo>
                    <a:pt x="1049" y="165"/>
                  </a:lnTo>
                  <a:lnTo>
                    <a:pt x="1028" y="172"/>
                  </a:lnTo>
                  <a:lnTo>
                    <a:pt x="1028" y="172"/>
                  </a:lnTo>
                  <a:lnTo>
                    <a:pt x="1028" y="172"/>
                  </a:lnTo>
                  <a:close/>
                  <a:moveTo>
                    <a:pt x="1750" y="182"/>
                  </a:moveTo>
                  <a:lnTo>
                    <a:pt x="1746" y="182"/>
                  </a:lnTo>
                  <a:lnTo>
                    <a:pt x="1750" y="165"/>
                  </a:lnTo>
                  <a:lnTo>
                    <a:pt x="1767" y="172"/>
                  </a:lnTo>
                  <a:lnTo>
                    <a:pt x="1750" y="182"/>
                  </a:lnTo>
                  <a:lnTo>
                    <a:pt x="1750" y="182"/>
                  </a:lnTo>
                  <a:lnTo>
                    <a:pt x="1750" y="182"/>
                  </a:lnTo>
                  <a:close/>
                  <a:moveTo>
                    <a:pt x="1103" y="172"/>
                  </a:moveTo>
                  <a:lnTo>
                    <a:pt x="1103" y="165"/>
                  </a:lnTo>
                  <a:lnTo>
                    <a:pt x="1117" y="165"/>
                  </a:lnTo>
                  <a:lnTo>
                    <a:pt x="1117" y="172"/>
                  </a:lnTo>
                  <a:lnTo>
                    <a:pt x="1103" y="172"/>
                  </a:lnTo>
                  <a:lnTo>
                    <a:pt x="1103" y="172"/>
                  </a:lnTo>
                  <a:lnTo>
                    <a:pt x="1103" y="172"/>
                  </a:lnTo>
                  <a:close/>
                  <a:moveTo>
                    <a:pt x="945" y="189"/>
                  </a:moveTo>
                  <a:lnTo>
                    <a:pt x="961" y="189"/>
                  </a:lnTo>
                  <a:lnTo>
                    <a:pt x="945" y="189"/>
                  </a:lnTo>
                  <a:lnTo>
                    <a:pt x="945" y="172"/>
                  </a:lnTo>
                  <a:lnTo>
                    <a:pt x="978" y="189"/>
                  </a:lnTo>
                  <a:lnTo>
                    <a:pt x="973" y="165"/>
                  </a:lnTo>
                  <a:lnTo>
                    <a:pt x="994" y="182"/>
                  </a:lnTo>
                  <a:lnTo>
                    <a:pt x="978" y="189"/>
                  </a:lnTo>
                  <a:lnTo>
                    <a:pt x="978" y="205"/>
                  </a:lnTo>
                  <a:lnTo>
                    <a:pt x="973" y="205"/>
                  </a:lnTo>
                  <a:lnTo>
                    <a:pt x="924" y="205"/>
                  </a:lnTo>
                  <a:lnTo>
                    <a:pt x="940" y="198"/>
                  </a:lnTo>
                  <a:lnTo>
                    <a:pt x="928" y="189"/>
                  </a:lnTo>
                  <a:lnTo>
                    <a:pt x="945" y="189"/>
                  </a:lnTo>
                  <a:lnTo>
                    <a:pt x="945" y="189"/>
                  </a:lnTo>
                  <a:lnTo>
                    <a:pt x="945" y="189"/>
                  </a:lnTo>
                  <a:close/>
                  <a:moveTo>
                    <a:pt x="839" y="255"/>
                  </a:moveTo>
                  <a:lnTo>
                    <a:pt x="865" y="243"/>
                  </a:lnTo>
                  <a:lnTo>
                    <a:pt x="848" y="238"/>
                  </a:lnTo>
                  <a:lnTo>
                    <a:pt x="853" y="238"/>
                  </a:lnTo>
                  <a:lnTo>
                    <a:pt x="839" y="227"/>
                  </a:lnTo>
                  <a:lnTo>
                    <a:pt x="848" y="227"/>
                  </a:lnTo>
                  <a:lnTo>
                    <a:pt x="886" y="222"/>
                  </a:lnTo>
                  <a:lnTo>
                    <a:pt x="865" y="215"/>
                  </a:lnTo>
                  <a:lnTo>
                    <a:pt x="891" y="222"/>
                  </a:lnTo>
                  <a:lnTo>
                    <a:pt x="886" y="205"/>
                  </a:lnTo>
                  <a:lnTo>
                    <a:pt x="902" y="215"/>
                  </a:lnTo>
                  <a:lnTo>
                    <a:pt x="891" y="205"/>
                  </a:lnTo>
                  <a:lnTo>
                    <a:pt x="907" y="205"/>
                  </a:lnTo>
                  <a:lnTo>
                    <a:pt x="928" y="227"/>
                  </a:lnTo>
                  <a:lnTo>
                    <a:pt x="919" y="238"/>
                  </a:lnTo>
                  <a:lnTo>
                    <a:pt x="919" y="243"/>
                  </a:lnTo>
                  <a:lnTo>
                    <a:pt x="924" y="255"/>
                  </a:lnTo>
                  <a:lnTo>
                    <a:pt x="886" y="255"/>
                  </a:lnTo>
                  <a:lnTo>
                    <a:pt x="853" y="276"/>
                  </a:lnTo>
                  <a:lnTo>
                    <a:pt x="865" y="272"/>
                  </a:lnTo>
                  <a:lnTo>
                    <a:pt x="831" y="272"/>
                  </a:lnTo>
                  <a:lnTo>
                    <a:pt x="865" y="255"/>
                  </a:lnTo>
                  <a:lnTo>
                    <a:pt x="839" y="255"/>
                  </a:lnTo>
                  <a:lnTo>
                    <a:pt x="839" y="255"/>
                  </a:lnTo>
                  <a:lnTo>
                    <a:pt x="839" y="255"/>
                  </a:lnTo>
                  <a:close/>
                  <a:moveTo>
                    <a:pt x="746" y="293"/>
                  </a:moveTo>
                  <a:lnTo>
                    <a:pt x="739" y="276"/>
                  </a:lnTo>
                  <a:lnTo>
                    <a:pt x="746" y="272"/>
                  </a:lnTo>
                  <a:lnTo>
                    <a:pt x="794" y="243"/>
                  </a:lnTo>
                  <a:lnTo>
                    <a:pt x="784" y="260"/>
                  </a:lnTo>
                  <a:lnTo>
                    <a:pt x="746" y="293"/>
                  </a:lnTo>
                  <a:lnTo>
                    <a:pt x="746" y="293"/>
                  </a:lnTo>
                  <a:lnTo>
                    <a:pt x="746" y="293"/>
                  </a:lnTo>
                  <a:close/>
                  <a:moveTo>
                    <a:pt x="876" y="276"/>
                  </a:moveTo>
                  <a:lnTo>
                    <a:pt x="876" y="272"/>
                  </a:lnTo>
                  <a:lnTo>
                    <a:pt x="891" y="272"/>
                  </a:lnTo>
                  <a:lnTo>
                    <a:pt x="876" y="276"/>
                  </a:lnTo>
                  <a:lnTo>
                    <a:pt x="876" y="276"/>
                  </a:lnTo>
                  <a:lnTo>
                    <a:pt x="876" y="276"/>
                  </a:lnTo>
                  <a:close/>
                  <a:moveTo>
                    <a:pt x="676" y="326"/>
                  </a:moveTo>
                  <a:lnTo>
                    <a:pt x="671" y="316"/>
                  </a:lnTo>
                  <a:lnTo>
                    <a:pt x="676" y="300"/>
                  </a:lnTo>
                  <a:lnTo>
                    <a:pt x="702" y="309"/>
                  </a:lnTo>
                  <a:lnTo>
                    <a:pt x="709" y="293"/>
                  </a:lnTo>
                  <a:lnTo>
                    <a:pt x="725" y="300"/>
                  </a:lnTo>
                  <a:lnTo>
                    <a:pt x="709" y="283"/>
                  </a:lnTo>
                  <a:lnTo>
                    <a:pt x="713" y="276"/>
                  </a:lnTo>
                  <a:lnTo>
                    <a:pt x="739" y="300"/>
                  </a:lnTo>
                  <a:lnTo>
                    <a:pt x="739" y="316"/>
                  </a:lnTo>
                  <a:lnTo>
                    <a:pt x="713" y="333"/>
                  </a:lnTo>
                  <a:lnTo>
                    <a:pt x="702" y="326"/>
                  </a:lnTo>
                  <a:lnTo>
                    <a:pt x="725" y="309"/>
                  </a:lnTo>
                  <a:lnTo>
                    <a:pt x="676" y="326"/>
                  </a:lnTo>
                  <a:lnTo>
                    <a:pt x="676" y="326"/>
                  </a:lnTo>
                  <a:lnTo>
                    <a:pt x="676" y="326"/>
                  </a:lnTo>
                  <a:close/>
                  <a:moveTo>
                    <a:pt x="815" y="293"/>
                  </a:moveTo>
                  <a:lnTo>
                    <a:pt x="801" y="283"/>
                  </a:lnTo>
                  <a:lnTo>
                    <a:pt x="822" y="283"/>
                  </a:lnTo>
                  <a:lnTo>
                    <a:pt x="815" y="293"/>
                  </a:lnTo>
                  <a:lnTo>
                    <a:pt x="815" y="293"/>
                  </a:lnTo>
                  <a:lnTo>
                    <a:pt x="815" y="293"/>
                  </a:lnTo>
                  <a:close/>
                  <a:moveTo>
                    <a:pt x="777" y="283"/>
                  </a:moveTo>
                  <a:lnTo>
                    <a:pt x="768" y="300"/>
                  </a:lnTo>
                  <a:lnTo>
                    <a:pt x="777" y="309"/>
                  </a:lnTo>
                  <a:lnTo>
                    <a:pt x="763" y="338"/>
                  </a:lnTo>
                  <a:lnTo>
                    <a:pt x="794" y="293"/>
                  </a:lnTo>
                  <a:lnTo>
                    <a:pt x="815" y="300"/>
                  </a:lnTo>
                  <a:lnTo>
                    <a:pt x="822" y="326"/>
                  </a:lnTo>
                  <a:lnTo>
                    <a:pt x="815" y="333"/>
                  </a:lnTo>
                  <a:lnTo>
                    <a:pt x="794" y="333"/>
                  </a:lnTo>
                  <a:lnTo>
                    <a:pt x="777" y="354"/>
                  </a:lnTo>
                  <a:lnTo>
                    <a:pt x="768" y="349"/>
                  </a:lnTo>
                  <a:lnTo>
                    <a:pt x="756" y="366"/>
                  </a:lnTo>
                  <a:lnTo>
                    <a:pt x="730" y="366"/>
                  </a:lnTo>
                  <a:lnTo>
                    <a:pt x="756" y="338"/>
                  </a:lnTo>
                  <a:lnTo>
                    <a:pt x="746" y="338"/>
                  </a:lnTo>
                  <a:lnTo>
                    <a:pt x="709" y="371"/>
                  </a:lnTo>
                  <a:lnTo>
                    <a:pt x="730" y="338"/>
                  </a:lnTo>
                  <a:lnTo>
                    <a:pt x="725" y="338"/>
                  </a:lnTo>
                  <a:lnTo>
                    <a:pt x="746" y="326"/>
                  </a:lnTo>
                  <a:lnTo>
                    <a:pt x="739" y="309"/>
                  </a:lnTo>
                  <a:lnTo>
                    <a:pt x="763" y="316"/>
                  </a:lnTo>
                  <a:lnTo>
                    <a:pt x="739" y="309"/>
                  </a:lnTo>
                  <a:lnTo>
                    <a:pt x="756" y="283"/>
                  </a:lnTo>
                  <a:lnTo>
                    <a:pt x="777" y="283"/>
                  </a:lnTo>
                  <a:lnTo>
                    <a:pt x="777" y="283"/>
                  </a:lnTo>
                  <a:lnTo>
                    <a:pt x="777" y="283"/>
                  </a:lnTo>
                  <a:close/>
                  <a:moveTo>
                    <a:pt x="709" y="293"/>
                  </a:moveTo>
                  <a:lnTo>
                    <a:pt x="702" y="283"/>
                  </a:lnTo>
                  <a:lnTo>
                    <a:pt x="709" y="283"/>
                  </a:lnTo>
                  <a:lnTo>
                    <a:pt x="709" y="293"/>
                  </a:lnTo>
                  <a:lnTo>
                    <a:pt x="709" y="293"/>
                  </a:lnTo>
                  <a:lnTo>
                    <a:pt x="709" y="293"/>
                  </a:lnTo>
                  <a:close/>
                  <a:moveTo>
                    <a:pt x="869" y="300"/>
                  </a:moveTo>
                  <a:lnTo>
                    <a:pt x="853" y="293"/>
                  </a:lnTo>
                  <a:lnTo>
                    <a:pt x="886" y="293"/>
                  </a:lnTo>
                  <a:lnTo>
                    <a:pt x="869" y="300"/>
                  </a:lnTo>
                  <a:lnTo>
                    <a:pt x="869" y="300"/>
                  </a:lnTo>
                  <a:lnTo>
                    <a:pt x="869" y="300"/>
                  </a:lnTo>
                  <a:close/>
                  <a:moveTo>
                    <a:pt x="839" y="316"/>
                  </a:moveTo>
                  <a:lnTo>
                    <a:pt x="848" y="293"/>
                  </a:lnTo>
                  <a:lnTo>
                    <a:pt x="865" y="309"/>
                  </a:lnTo>
                  <a:lnTo>
                    <a:pt x="839" y="316"/>
                  </a:lnTo>
                  <a:lnTo>
                    <a:pt x="839" y="316"/>
                  </a:lnTo>
                  <a:lnTo>
                    <a:pt x="839" y="316"/>
                  </a:lnTo>
                  <a:close/>
                  <a:moveTo>
                    <a:pt x="794" y="354"/>
                  </a:moveTo>
                  <a:lnTo>
                    <a:pt x="801" y="338"/>
                  </a:lnTo>
                  <a:lnTo>
                    <a:pt x="815" y="349"/>
                  </a:lnTo>
                  <a:lnTo>
                    <a:pt x="794" y="354"/>
                  </a:lnTo>
                  <a:lnTo>
                    <a:pt x="794" y="354"/>
                  </a:lnTo>
                  <a:lnTo>
                    <a:pt x="794" y="354"/>
                  </a:lnTo>
                  <a:close/>
                  <a:moveTo>
                    <a:pt x="654" y="387"/>
                  </a:moveTo>
                  <a:lnTo>
                    <a:pt x="659" y="366"/>
                  </a:lnTo>
                  <a:lnTo>
                    <a:pt x="676" y="366"/>
                  </a:lnTo>
                  <a:lnTo>
                    <a:pt x="671" y="354"/>
                  </a:lnTo>
                  <a:lnTo>
                    <a:pt x="676" y="354"/>
                  </a:lnTo>
                  <a:lnTo>
                    <a:pt x="702" y="349"/>
                  </a:lnTo>
                  <a:lnTo>
                    <a:pt x="692" y="366"/>
                  </a:lnTo>
                  <a:lnTo>
                    <a:pt x="725" y="349"/>
                  </a:lnTo>
                  <a:lnTo>
                    <a:pt x="702" y="371"/>
                  </a:lnTo>
                  <a:lnTo>
                    <a:pt x="654" y="387"/>
                  </a:lnTo>
                  <a:lnTo>
                    <a:pt x="654" y="387"/>
                  </a:lnTo>
                  <a:lnTo>
                    <a:pt x="654" y="387"/>
                  </a:lnTo>
                  <a:close/>
                  <a:moveTo>
                    <a:pt x="654" y="371"/>
                  </a:moveTo>
                  <a:lnTo>
                    <a:pt x="650" y="366"/>
                  </a:lnTo>
                  <a:lnTo>
                    <a:pt x="654" y="366"/>
                  </a:lnTo>
                  <a:lnTo>
                    <a:pt x="654" y="371"/>
                  </a:lnTo>
                  <a:lnTo>
                    <a:pt x="654" y="371"/>
                  </a:lnTo>
                  <a:lnTo>
                    <a:pt x="654" y="371"/>
                  </a:lnTo>
                  <a:close/>
                  <a:moveTo>
                    <a:pt x="638" y="371"/>
                  </a:moveTo>
                  <a:lnTo>
                    <a:pt x="633" y="366"/>
                  </a:lnTo>
                  <a:lnTo>
                    <a:pt x="638" y="366"/>
                  </a:lnTo>
                  <a:lnTo>
                    <a:pt x="638" y="371"/>
                  </a:lnTo>
                  <a:lnTo>
                    <a:pt x="638" y="371"/>
                  </a:lnTo>
                  <a:lnTo>
                    <a:pt x="638" y="371"/>
                  </a:lnTo>
                  <a:close/>
                  <a:moveTo>
                    <a:pt x="605" y="394"/>
                  </a:moveTo>
                  <a:lnTo>
                    <a:pt x="600" y="394"/>
                  </a:lnTo>
                  <a:lnTo>
                    <a:pt x="605" y="371"/>
                  </a:lnTo>
                  <a:lnTo>
                    <a:pt x="650" y="371"/>
                  </a:lnTo>
                  <a:lnTo>
                    <a:pt x="605" y="394"/>
                  </a:lnTo>
                  <a:lnTo>
                    <a:pt x="605" y="394"/>
                  </a:lnTo>
                  <a:lnTo>
                    <a:pt x="605" y="394"/>
                  </a:lnTo>
                  <a:close/>
                  <a:moveTo>
                    <a:pt x="583" y="404"/>
                  </a:moveTo>
                  <a:lnTo>
                    <a:pt x="583" y="394"/>
                  </a:lnTo>
                  <a:lnTo>
                    <a:pt x="595" y="387"/>
                  </a:lnTo>
                  <a:lnTo>
                    <a:pt x="600" y="387"/>
                  </a:lnTo>
                  <a:lnTo>
                    <a:pt x="583" y="404"/>
                  </a:lnTo>
                  <a:lnTo>
                    <a:pt x="583" y="404"/>
                  </a:lnTo>
                  <a:lnTo>
                    <a:pt x="583" y="404"/>
                  </a:lnTo>
                  <a:close/>
                  <a:moveTo>
                    <a:pt x="550" y="427"/>
                  </a:moveTo>
                  <a:lnTo>
                    <a:pt x="579" y="387"/>
                  </a:lnTo>
                  <a:lnTo>
                    <a:pt x="583" y="394"/>
                  </a:lnTo>
                  <a:lnTo>
                    <a:pt x="579" y="411"/>
                  </a:lnTo>
                  <a:lnTo>
                    <a:pt x="550" y="427"/>
                  </a:lnTo>
                  <a:lnTo>
                    <a:pt x="550" y="427"/>
                  </a:lnTo>
                  <a:lnTo>
                    <a:pt x="550" y="427"/>
                  </a:lnTo>
                  <a:close/>
                  <a:moveTo>
                    <a:pt x="756" y="404"/>
                  </a:moveTo>
                  <a:lnTo>
                    <a:pt x="746" y="404"/>
                  </a:lnTo>
                  <a:lnTo>
                    <a:pt x="777" y="404"/>
                  </a:lnTo>
                  <a:lnTo>
                    <a:pt x="756" y="404"/>
                  </a:lnTo>
                  <a:lnTo>
                    <a:pt x="756" y="404"/>
                  </a:lnTo>
                  <a:lnTo>
                    <a:pt x="756" y="404"/>
                  </a:lnTo>
                  <a:close/>
                  <a:moveTo>
                    <a:pt x="725" y="411"/>
                  </a:moveTo>
                  <a:lnTo>
                    <a:pt x="709" y="411"/>
                  </a:lnTo>
                  <a:lnTo>
                    <a:pt x="730" y="411"/>
                  </a:lnTo>
                  <a:lnTo>
                    <a:pt x="725" y="411"/>
                  </a:lnTo>
                  <a:lnTo>
                    <a:pt x="725" y="411"/>
                  </a:lnTo>
                  <a:lnTo>
                    <a:pt x="725" y="411"/>
                  </a:lnTo>
                  <a:close/>
                  <a:moveTo>
                    <a:pt x="654" y="522"/>
                  </a:moveTo>
                  <a:lnTo>
                    <a:pt x="638" y="515"/>
                  </a:lnTo>
                  <a:lnTo>
                    <a:pt x="659" y="503"/>
                  </a:lnTo>
                  <a:lnTo>
                    <a:pt x="654" y="522"/>
                  </a:lnTo>
                  <a:lnTo>
                    <a:pt x="654" y="522"/>
                  </a:lnTo>
                  <a:lnTo>
                    <a:pt x="654" y="522"/>
                  </a:lnTo>
                  <a:close/>
                  <a:moveTo>
                    <a:pt x="550" y="614"/>
                  </a:moveTo>
                  <a:lnTo>
                    <a:pt x="562" y="609"/>
                  </a:lnTo>
                  <a:lnTo>
                    <a:pt x="550" y="614"/>
                  </a:lnTo>
                  <a:lnTo>
                    <a:pt x="550" y="614"/>
                  </a:lnTo>
                  <a:lnTo>
                    <a:pt x="550" y="614"/>
                  </a:lnTo>
                  <a:close/>
                  <a:moveTo>
                    <a:pt x="524" y="642"/>
                  </a:moveTo>
                  <a:lnTo>
                    <a:pt x="541" y="614"/>
                  </a:lnTo>
                  <a:lnTo>
                    <a:pt x="546" y="631"/>
                  </a:lnTo>
                  <a:lnTo>
                    <a:pt x="524" y="642"/>
                  </a:lnTo>
                  <a:lnTo>
                    <a:pt x="524" y="642"/>
                  </a:lnTo>
                  <a:lnTo>
                    <a:pt x="524" y="642"/>
                  </a:lnTo>
                  <a:close/>
                  <a:moveTo>
                    <a:pt x="529" y="666"/>
                  </a:moveTo>
                  <a:lnTo>
                    <a:pt x="541" y="649"/>
                  </a:lnTo>
                  <a:lnTo>
                    <a:pt x="562" y="642"/>
                  </a:lnTo>
                  <a:lnTo>
                    <a:pt x="529" y="666"/>
                  </a:lnTo>
                  <a:lnTo>
                    <a:pt x="529" y="666"/>
                  </a:lnTo>
                  <a:lnTo>
                    <a:pt x="529" y="666"/>
                  </a:lnTo>
                  <a:close/>
                  <a:moveTo>
                    <a:pt x="491" y="699"/>
                  </a:moveTo>
                  <a:lnTo>
                    <a:pt x="487" y="687"/>
                  </a:lnTo>
                  <a:lnTo>
                    <a:pt x="498" y="683"/>
                  </a:lnTo>
                  <a:lnTo>
                    <a:pt x="491" y="699"/>
                  </a:lnTo>
                  <a:lnTo>
                    <a:pt x="491" y="699"/>
                  </a:lnTo>
                  <a:lnTo>
                    <a:pt x="491" y="699"/>
                  </a:lnTo>
                  <a:close/>
                  <a:moveTo>
                    <a:pt x="508" y="737"/>
                  </a:moveTo>
                  <a:lnTo>
                    <a:pt x="513" y="699"/>
                  </a:lnTo>
                  <a:lnTo>
                    <a:pt x="541" y="720"/>
                  </a:lnTo>
                  <a:lnTo>
                    <a:pt x="508" y="737"/>
                  </a:lnTo>
                  <a:lnTo>
                    <a:pt x="508" y="737"/>
                  </a:lnTo>
                  <a:lnTo>
                    <a:pt x="508" y="737"/>
                  </a:lnTo>
                  <a:close/>
                  <a:moveTo>
                    <a:pt x="508" y="758"/>
                  </a:moveTo>
                  <a:lnTo>
                    <a:pt x="498" y="753"/>
                  </a:lnTo>
                  <a:lnTo>
                    <a:pt x="513" y="737"/>
                  </a:lnTo>
                  <a:lnTo>
                    <a:pt x="524" y="753"/>
                  </a:lnTo>
                  <a:lnTo>
                    <a:pt x="508" y="758"/>
                  </a:lnTo>
                  <a:lnTo>
                    <a:pt x="508" y="758"/>
                  </a:lnTo>
                  <a:lnTo>
                    <a:pt x="508" y="758"/>
                  </a:lnTo>
                  <a:close/>
                  <a:moveTo>
                    <a:pt x="470" y="758"/>
                  </a:moveTo>
                  <a:lnTo>
                    <a:pt x="470" y="753"/>
                  </a:lnTo>
                  <a:lnTo>
                    <a:pt x="487" y="753"/>
                  </a:lnTo>
                  <a:lnTo>
                    <a:pt x="470" y="758"/>
                  </a:lnTo>
                  <a:lnTo>
                    <a:pt x="470" y="758"/>
                  </a:lnTo>
                  <a:lnTo>
                    <a:pt x="470" y="758"/>
                  </a:lnTo>
                  <a:close/>
                  <a:moveTo>
                    <a:pt x="437" y="782"/>
                  </a:moveTo>
                  <a:lnTo>
                    <a:pt x="416" y="782"/>
                  </a:lnTo>
                  <a:lnTo>
                    <a:pt x="437" y="770"/>
                  </a:lnTo>
                  <a:lnTo>
                    <a:pt x="444" y="777"/>
                  </a:lnTo>
                  <a:lnTo>
                    <a:pt x="437" y="782"/>
                  </a:lnTo>
                  <a:lnTo>
                    <a:pt x="437" y="782"/>
                  </a:lnTo>
                  <a:lnTo>
                    <a:pt x="437" y="782"/>
                  </a:lnTo>
                  <a:close/>
                  <a:moveTo>
                    <a:pt x="454" y="810"/>
                  </a:moveTo>
                  <a:lnTo>
                    <a:pt x="444" y="810"/>
                  </a:lnTo>
                  <a:lnTo>
                    <a:pt x="454" y="798"/>
                  </a:lnTo>
                  <a:lnTo>
                    <a:pt x="454" y="810"/>
                  </a:lnTo>
                  <a:lnTo>
                    <a:pt x="454" y="810"/>
                  </a:lnTo>
                  <a:lnTo>
                    <a:pt x="454" y="810"/>
                  </a:lnTo>
                  <a:close/>
                  <a:moveTo>
                    <a:pt x="461" y="827"/>
                  </a:moveTo>
                  <a:lnTo>
                    <a:pt x="444" y="827"/>
                  </a:lnTo>
                  <a:lnTo>
                    <a:pt x="432" y="810"/>
                  </a:lnTo>
                  <a:lnTo>
                    <a:pt x="461" y="815"/>
                  </a:lnTo>
                  <a:lnTo>
                    <a:pt x="461" y="827"/>
                  </a:lnTo>
                  <a:lnTo>
                    <a:pt x="461" y="827"/>
                  </a:lnTo>
                  <a:lnTo>
                    <a:pt x="461" y="827"/>
                  </a:lnTo>
                  <a:close/>
                  <a:moveTo>
                    <a:pt x="243" y="921"/>
                  </a:moveTo>
                  <a:lnTo>
                    <a:pt x="276" y="905"/>
                  </a:lnTo>
                  <a:lnTo>
                    <a:pt x="276" y="909"/>
                  </a:lnTo>
                  <a:lnTo>
                    <a:pt x="243" y="921"/>
                  </a:lnTo>
                  <a:lnTo>
                    <a:pt x="243" y="921"/>
                  </a:lnTo>
                  <a:lnTo>
                    <a:pt x="243" y="921"/>
                  </a:lnTo>
                  <a:close/>
                  <a:moveTo>
                    <a:pt x="255" y="942"/>
                  </a:moveTo>
                  <a:lnTo>
                    <a:pt x="239" y="942"/>
                  </a:lnTo>
                  <a:lnTo>
                    <a:pt x="281" y="921"/>
                  </a:lnTo>
                  <a:lnTo>
                    <a:pt x="298" y="926"/>
                  </a:lnTo>
                  <a:lnTo>
                    <a:pt x="255" y="942"/>
                  </a:lnTo>
                  <a:lnTo>
                    <a:pt x="255" y="942"/>
                  </a:lnTo>
                  <a:lnTo>
                    <a:pt x="255" y="942"/>
                  </a:lnTo>
                  <a:close/>
                  <a:moveTo>
                    <a:pt x="222" y="959"/>
                  </a:moveTo>
                  <a:lnTo>
                    <a:pt x="206" y="947"/>
                  </a:lnTo>
                  <a:lnTo>
                    <a:pt x="222" y="942"/>
                  </a:lnTo>
                  <a:lnTo>
                    <a:pt x="227" y="947"/>
                  </a:lnTo>
                  <a:lnTo>
                    <a:pt x="222" y="959"/>
                  </a:lnTo>
                  <a:lnTo>
                    <a:pt x="222" y="959"/>
                  </a:lnTo>
                  <a:lnTo>
                    <a:pt x="222" y="959"/>
                  </a:lnTo>
                  <a:close/>
                  <a:moveTo>
                    <a:pt x="260" y="959"/>
                  </a:moveTo>
                  <a:lnTo>
                    <a:pt x="255" y="959"/>
                  </a:lnTo>
                  <a:lnTo>
                    <a:pt x="272" y="959"/>
                  </a:lnTo>
                  <a:lnTo>
                    <a:pt x="260" y="959"/>
                  </a:lnTo>
                  <a:lnTo>
                    <a:pt x="260" y="959"/>
                  </a:lnTo>
                  <a:lnTo>
                    <a:pt x="260" y="959"/>
                  </a:lnTo>
                  <a:close/>
                  <a:moveTo>
                    <a:pt x="243" y="975"/>
                  </a:moveTo>
                  <a:lnTo>
                    <a:pt x="239" y="964"/>
                  </a:lnTo>
                  <a:lnTo>
                    <a:pt x="255" y="959"/>
                  </a:lnTo>
                  <a:lnTo>
                    <a:pt x="260" y="975"/>
                  </a:lnTo>
                  <a:lnTo>
                    <a:pt x="243" y="975"/>
                  </a:lnTo>
                  <a:lnTo>
                    <a:pt x="243" y="975"/>
                  </a:lnTo>
                  <a:lnTo>
                    <a:pt x="243" y="975"/>
                  </a:lnTo>
                  <a:close/>
                  <a:moveTo>
                    <a:pt x="222" y="975"/>
                  </a:moveTo>
                  <a:lnTo>
                    <a:pt x="217" y="975"/>
                  </a:lnTo>
                  <a:lnTo>
                    <a:pt x="222" y="964"/>
                  </a:lnTo>
                  <a:lnTo>
                    <a:pt x="227" y="975"/>
                  </a:lnTo>
                  <a:lnTo>
                    <a:pt x="222" y="975"/>
                  </a:lnTo>
                  <a:lnTo>
                    <a:pt x="222" y="975"/>
                  </a:lnTo>
                  <a:lnTo>
                    <a:pt x="222" y="975"/>
                  </a:lnTo>
                  <a:close/>
                  <a:moveTo>
                    <a:pt x="239" y="975"/>
                  </a:moveTo>
                  <a:lnTo>
                    <a:pt x="227" y="964"/>
                  </a:lnTo>
                  <a:lnTo>
                    <a:pt x="243" y="975"/>
                  </a:lnTo>
                  <a:lnTo>
                    <a:pt x="239" y="975"/>
                  </a:lnTo>
                  <a:lnTo>
                    <a:pt x="239" y="975"/>
                  </a:lnTo>
                  <a:lnTo>
                    <a:pt x="239" y="975"/>
                  </a:lnTo>
                  <a:close/>
                  <a:moveTo>
                    <a:pt x="206" y="992"/>
                  </a:moveTo>
                  <a:lnTo>
                    <a:pt x="201" y="992"/>
                  </a:lnTo>
                  <a:lnTo>
                    <a:pt x="217" y="980"/>
                  </a:lnTo>
                  <a:lnTo>
                    <a:pt x="206" y="992"/>
                  </a:lnTo>
                  <a:lnTo>
                    <a:pt x="206" y="992"/>
                  </a:lnTo>
                  <a:lnTo>
                    <a:pt x="206" y="992"/>
                  </a:lnTo>
                  <a:close/>
                  <a:moveTo>
                    <a:pt x="184" y="997"/>
                  </a:moveTo>
                  <a:lnTo>
                    <a:pt x="172" y="997"/>
                  </a:lnTo>
                  <a:lnTo>
                    <a:pt x="172" y="992"/>
                  </a:lnTo>
                  <a:lnTo>
                    <a:pt x="189" y="980"/>
                  </a:lnTo>
                  <a:lnTo>
                    <a:pt x="201" y="992"/>
                  </a:lnTo>
                  <a:lnTo>
                    <a:pt x="184" y="997"/>
                  </a:lnTo>
                  <a:lnTo>
                    <a:pt x="184" y="997"/>
                  </a:lnTo>
                  <a:lnTo>
                    <a:pt x="184" y="997"/>
                  </a:lnTo>
                  <a:close/>
                  <a:moveTo>
                    <a:pt x="135" y="1020"/>
                  </a:moveTo>
                  <a:lnTo>
                    <a:pt x="135" y="1013"/>
                  </a:lnTo>
                  <a:lnTo>
                    <a:pt x="146" y="1013"/>
                  </a:lnTo>
                  <a:lnTo>
                    <a:pt x="135" y="1020"/>
                  </a:lnTo>
                  <a:lnTo>
                    <a:pt x="135" y="1020"/>
                  </a:lnTo>
                  <a:lnTo>
                    <a:pt x="135" y="1020"/>
                  </a:lnTo>
                  <a:close/>
                  <a:moveTo>
                    <a:pt x="130" y="1032"/>
                  </a:moveTo>
                  <a:lnTo>
                    <a:pt x="130" y="1020"/>
                  </a:lnTo>
                  <a:lnTo>
                    <a:pt x="146" y="1032"/>
                  </a:lnTo>
                  <a:lnTo>
                    <a:pt x="130" y="1032"/>
                  </a:lnTo>
                  <a:lnTo>
                    <a:pt x="130" y="1032"/>
                  </a:lnTo>
                  <a:lnTo>
                    <a:pt x="130" y="1032"/>
                  </a:lnTo>
                  <a:close/>
                  <a:moveTo>
                    <a:pt x="97" y="1058"/>
                  </a:moveTo>
                  <a:lnTo>
                    <a:pt x="83" y="1053"/>
                  </a:lnTo>
                  <a:lnTo>
                    <a:pt x="109" y="1058"/>
                  </a:lnTo>
                  <a:lnTo>
                    <a:pt x="97" y="1058"/>
                  </a:lnTo>
                  <a:lnTo>
                    <a:pt x="97" y="1058"/>
                  </a:lnTo>
                  <a:lnTo>
                    <a:pt x="97" y="1058"/>
                  </a:lnTo>
                  <a:close/>
                  <a:moveTo>
                    <a:pt x="66" y="1075"/>
                  </a:moveTo>
                  <a:lnTo>
                    <a:pt x="66" y="1058"/>
                  </a:lnTo>
                  <a:lnTo>
                    <a:pt x="83" y="1070"/>
                  </a:lnTo>
                  <a:lnTo>
                    <a:pt x="66" y="1075"/>
                  </a:lnTo>
                  <a:lnTo>
                    <a:pt x="66" y="1075"/>
                  </a:lnTo>
                  <a:lnTo>
                    <a:pt x="66" y="1075"/>
                  </a:lnTo>
                  <a:close/>
                  <a:moveTo>
                    <a:pt x="54" y="1086"/>
                  </a:moveTo>
                  <a:lnTo>
                    <a:pt x="45" y="1086"/>
                  </a:lnTo>
                  <a:lnTo>
                    <a:pt x="45" y="1075"/>
                  </a:lnTo>
                  <a:lnTo>
                    <a:pt x="66" y="1075"/>
                  </a:lnTo>
                  <a:lnTo>
                    <a:pt x="54" y="1086"/>
                  </a:lnTo>
                  <a:lnTo>
                    <a:pt x="54" y="1086"/>
                  </a:lnTo>
                  <a:lnTo>
                    <a:pt x="54" y="1086"/>
                  </a:lnTo>
                  <a:close/>
                  <a:moveTo>
                    <a:pt x="12" y="1115"/>
                  </a:moveTo>
                  <a:lnTo>
                    <a:pt x="12" y="1103"/>
                  </a:lnTo>
                  <a:lnTo>
                    <a:pt x="12" y="1115"/>
                  </a:lnTo>
                  <a:lnTo>
                    <a:pt x="12" y="1115"/>
                  </a:lnTo>
                  <a:lnTo>
                    <a:pt x="12" y="1115"/>
                  </a:lnTo>
                  <a:close/>
                  <a:moveTo>
                    <a:pt x="7" y="1131"/>
                  </a:moveTo>
                  <a:lnTo>
                    <a:pt x="0" y="1124"/>
                  </a:lnTo>
                  <a:lnTo>
                    <a:pt x="7" y="1115"/>
                  </a:lnTo>
                  <a:lnTo>
                    <a:pt x="21" y="1124"/>
                  </a:lnTo>
                  <a:lnTo>
                    <a:pt x="7" y="1131"/>
                  </a:lnTo>
                  <a:lnTo>
                    <a:pt x="7" y="1131"/>
                  </a:lnTo>
                  <a:lnTo>
                    <a:pt x="7" y="1131"/>
                  </a:lnTo>
                  <a:close/>
                  <a:moveTo>
                    <a:pt x="0" y="1214"/>
                  </a:moveTo>
                  <a:lnTo>
                    <a:pt x="0" y="1197"/>
                  </a:lnTo>
                  <a:lnTo>
                    <a:pt x="7" y="1197"/>
                  </a:lnTo>
                  <a:lnTo>
                    <a:pt x="7" y="1202"/>
                  </a:lnTo>
                  <a:lnTo>
                    <a:pt x="0" y="1214"/>
                  </a:lnTo>
                  <a:lnTo>
                    <a:pt x="0" y="1214"/>
                  </a:lnTo>
                  <a:lnTo>
                    <a:pt x="0" y="1214"/>
                  </a:lnTo>
                  <a:close/>
                  <a:moveTo>
                    <a:pt x="45" y="1275"/>
                  </a:moveTo>
                  <a:lnTo>
                    <a:pt x="38" y="1268"/>
                  </a:lnTo>
                  <a:lnTo>
                    <a:pt x="59" y="1252"/>
                  </a:lnTo>
                  <a:lnTo>
                    <a:pt x="59" y="1275"/>
                  </a:lnTo>
                  <a:lnTo>
                    <a:pt x="45" y="1275"/>
                  </a:lnTo>
                  <a:lnTo>
                    <a:pt x="45" y="1275"/>
                  </a:lnTo>
                  <a:lnTo>
                    <a:pt x="45" y="1275"/>
                  </a:lnTo>
                  <a:close/>
                  <a:moveTo>
                    <a:pt x="21" y="1280"/>
                  </a:moveTo>
                  <a:lnTo>
                    <a:pt x="7" y="1268"/>
                  </a:lnTo>
                  <a:lnTo>
                    <a:pt x="21" y="1275"/>
                  </a:lnTo>
                  <a:lnTo>
                    <a:pt x="21" y="1280"/>
                  </a:lnTo>
                  <a:lnTo>
                    <a:pt x="21" y="1280"/>
                  </a:lnTo>
                  <a:lnTo>
                    <a:pt x="21" y="1280"/>
                  </a:lnTo>
                  <a:close/>
                  <a:moveTo>
                    <a:pt x="12" y="1308"/>
                  </a:moveTo>
                  <a:lnTo>
                    <a:pt x="7" y="1297"/>
                  </a:lnTo>
                  <a:lnTo>
                    <a:pt x="7" y="1275"/>
                  </a:lnTo>
                  <a:lnTo>
                    <a:pt x="12" y="1292"/>
                  </a:lnTo>
                  <a:lnTo>
                    <a:pt x="12" y="1308"/>
                  </a:lnTo>
                  <a:lnTo>
                    <a:pt x="12" y="1308"/>
                  </a:lnTo>
                  <a:lnTo>
                    <a:pt x="12" y="1308"/>
                  </a:lnTo>
                  <a:close/>
                  <a:moveTo>
                    <a:pt x="76" y="1313"/>
                  </a:moveTo>
                  <a:lnTo>
                    <a:pt x="76" y="1308"/>
                  </a:lnTo>
                  <a:lnTo>
                    <a:pt x="83" y="1308"/>
                  </a:lnTo>
                  <a:lnTo>
                    <a:pt x="76" y="1313"/>
                  </a:lnTo>
                  <a:lnTo>
                    <a:pt x="76" y="1313"/>
                  </a:lnTo>
                  <a:lnTo>
                    <a:pt x="76" y="1313"/>
                  </a:lnTo>
                  <a:close/>
                  <a:moveTo>
                    <a:pt x="28" y="1325"/>
                  </a:moveTo>
                  <a:lnTo>
                    <a:pt x="21" y="1325"/>
                  </a:lnTo>
                  <a:lnTo>
                    <a:pt x="21" y="1313"/>
                  </a:lnTo>
                  <a:lnTo>
                    <a:pt x="28" y="1325"/>
                  </a:lnTo>
                  <a:lnTo>
                    <a:pt x="28" y="1325"/>
                  </a:lnTo>
                  <a:lnTo>
                    <a:pt x="28" y="1325"/>
                  </a:lnTo>
                  <a:close/>
                  <a:moveTo>
                    <a:pt x="45" y="1337"/>
                  </a:moveTo>
                  <a:lnTo>
                    <a:pt x="38" y="1325"/>
                  </a:lnTo>
                  <a:lnTo>
                    <a:pt x="54" y="1313"/>
                  </a:lnTo>
                  <a:lnTo>
                    <a:pt x="45" y="1337"/>
                  </a:lnTo>
                  <a:lnTo>
                    <a:pt x="45" y="1337"/>
                  </a:lnTo>
                  <a:lnTo>
                    <a:pt x="45" y="1337"/>
                  </a:lnTo>
                  <a:close/>
                  <a:moveTo>
                    <a:pt x="38" y="1353"/>
                  </a:moveTo>
                  <a:lnTo>
                    <a:pt x="28" y="1346"/>
                  </a:lnTo>
                  <a:lnTo>
                    <a:pt x="28" y="1330"/>
                  </a:lnTo>
                  <a:lnTo>
                    <a:pt x="45" y="1337"/>
                  </a:lnTo>
                  <a:lnTo>
                    <a:pt x="38" y="1353"/>
                  </a:lnTo>
                  <a:lnTo>
                    <a:pt x="38" y="1353"/>
                  </a:lnTo>
                  <a:lnTo>
                    <a:pt x="38" y="1353"/>
                  </a:lnTo>
                  <a:close/>
                  <a:moveTo>
                    <a:pt x="21" y="1370"/>
                  </a:moveTo>
                  <a:lnTo>
                    <a:pt x="12" y="1346"/>
                  </a:lnTo>
                  <a:lnTo>
                    <a:pt x="21" y="1337"/>
                  </a:lnTo>
                  <a:lnTo>
                    <a:pt x="38" y="1353"/>
                  </a:lnTo>
                  <a:lnTo>
                    <a:pt x="21" y="1353"/>
                  </a:lnTo>
                  <a:lnTo>
                    <a:pt x="21" y="1370"/>
                  </a:lnTo>
                  <a:lnTo>
                    <a:pt x="21" y="1370"/>
                  </a:lnTo>
                  <a:lnTo>
                    <a:pt x="21" y="1370"/>
                  </a:lnTo>
                  <a:close/>
                  <a:moveTo>
                    <a:pt x="21" y="1420"/>
                  </a:moveTo>
                  <a:lnTo>
                    <a:pt x="21" y="1386"/>
                  </a:lnTo>
                  <a:lnTo>
                    <a:pt x="28" y="1408"/>
                  </a:lnTo>
                  <a:lnTo>
                    <a:pt x="21" y="1420"/>
                  </a:lnTo>
                  <a:lnTo>
                    <a:pt x="21" y="1420"/>
                  </a:lnTo>
                  <a:lnTo>
                    <a:pt x="21" y="142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3" name="Freeform 524">
              <a:extLst>
                <a:ext uri="{FF2B5EF4-FFF2-40B4-BE49-F238E27FC236}">
                  <a16:creationId xmlns:a16="http://schemas.microsoft.com/office/drawing/2014/main" id="{3D605068-BB3A-4EC2-BB26-699B1BF10015}"/>
                </a:ext>
              </a:extLst>
            </p:cNvPr>
            <p:cNvSpPr>
              <a:spLocks/>
            </p:cNvSpPr>
            <p:nvPr/>
          </p:nvSpPr>
          <p:spPr bwMode="gray">
            <a:xfrm>
              <a:off x="15582263" y="3376025"/>
              <a:ext cx="187868" cy="100807"/>
            </a:xfrm>
            <a:custGeom>
              <a:avLst/>
              <a:gdLst>
                <a:gd name="T0" fmla="*/ 163 w 574"/>
                <a:gd name="T1" fmla="*/ 215 h 308"/>
                <a:gd name="T2" fmla="*/ 125 w 574"/>
                <a:gd name="T3" fmla="*/ 199 h 308"/>
                <a:gd name="T4" fmla="*/ 75 w 574"/>
                <a:gd name="T5" fmla="*/ 159 h 308"/>
                <a:gd name="T6" fmla="*/ 33 w 574"/>
                <a:gd name="T7" fmla="*/ 142 h 308"/>
                <a:gd name="T8" fmla="*/ 16 w 574"/>
                <a:gd name="T9" fmla="*/ 88 h 308"/>
                <a:gd name="T10" fmla="*/ 21 w 574"/>
                <a:gd name="T11" fmla="*/ 67 h 308"/>
                <a:gd name="T12" fmla="*/ 71 w 574"/>
                <a:gd name="T13" fmla="*/ 17 h 308"/>
                <a:gd name="T14" fmla="*/ 75 w 574"/>
                <a:gd name="T15" fmla="*/ 22 h 308"/>
                <a:gd name="T16" fmla="*/ 92 w 574"/>
                <a:gd name="T17" fmla="*/ 0 h 308"/>
                <a:gd name="T18" fmla="*/ 146 w 574"/>
                <a:gd name="T19" fmla="*/ 22 h 308"/>
                <a:gd name="T20" fmla="*/ 196 w 574"/>
                <a:gd name="T21" fmla="*/ 55 h 308"/>
                <a:gd name="T22" fmla="*/ 250 w 574"/>
                <a:gd name="T23" fmla="*/ 93 h 308"/>
                <a:gd name="T24" fmla="*/ 271 w 574"/>
                <a:gd name="T25" fmla="*/ 88 h 308"/>
                <a:gd name="T26" fmla="*/ 293 w 574"/>
                <a:gd name="T27" fmla="*/ 109 h 308"/>
                <a:gd name="T28" fmla="*/ 330 w 574"/>
                <a:gd name="T29" fmla="*/ 142 h 308"/>
                <a:gd name="T30" fmla="*/ 359 w 574"/>
                <a:gd name="T31" fmla="*/ 133 h 308"/>
                <a:gd name="T32" fmla="*/ 397 w 574"/>
                <a:gd name="T33" fmla="*/ 166 h 308"/>
                <a:gd name="T34" fmla="*/ 418 w 574"/>
                <a:gd name="T35" fmla="*/ 187 h 308"/>
                <a:gd name="T36" fmla="*/ 427 w 574"/>
                <a:gd name="T37" fmla="*/ 175 h 308"/>
                <a:gd name="T38" fmla="*/ 434 w 574"/>
                <a:gd name="T39" fmla="*/ 182 h 308"/>
                <a:gd name="T40" fmla="*/ 456 w 574"/>
                <a:gd name="T41" fmla="*/ 175 h 308"/>
                <a:gd name="T42" fmla="*/ 505 w 574"/>
                <a:gd name="T43" fmla="*/ 199 h 308"/>
                <a:gd name="T44" fmla="*/ 548 w 574"/>
                <a:gd name="T45" fmla="*/ 187 h 308"/>
                <a:gd name="T46" fmla="*/ 574 w 574"/>
                <a:gd name="T47" fmla="*/ 199 h 308"/>
                <a:gd name="T48" fmla="*/ 560 w 574"/>
                <a:gd name="T49" fmla="*/ 253 h 308"/>
                <a:gd name="T50" fmla="*/ 560 w 574"/>
                <a:gd name="T51" fmla="*/ 308 h 308"/>
                <a:gd name="T52" fmla="*/ 505 w 574"/>
                <a:gd name="T53" fmla="*/ 308 h 308"/>
                <a:gd name="T54" fmla="*/ 472 w 574"/>
                <a:gd name="T55" fmla="*/ 308 h 308"/>
                <a:gd name="T56" fmla="*/ 413 w 574"/>
                <a:gd name="T57" fmla="*/ 291 h 308"/>
                <a:gd name="T58" fmla="*/ 373 w 574"/>
                <a:gd name="T59" fmla="*/ 286 h 308"/>
                <a:gd name="T60" fmla="*/ 321 w 574"/>
                <a:gd name="T61" fmla="*/ 237 h 308"/>
                <a:gd name="T62" fmla="*/ 288 w 574"/>
                <a:gd name="T63" fmla="*/ 220 h 308"/>
                <a:gd name="T64" fmla="*/ 267 w 574"/>
                <a:gd name="T65" fmla="*/ 237 h 308"/>
                <a:gd name="T66" fmla="*/ 222 w 574"/>
                <a:gd name="T67" fmla="*/ 237 h 308"/>
                <a:gd name="T68" fmla="*/ 184 w 574"/>
                <a:gd name="T69" fmla="*/ 220 h 308"/>
                <a:gd name="T70" fmla="*/ 184 w 574"/>
                <a:gd name="T71" fmla="*/ 2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4" h="308">
                  <a:moveTo>
                    <a:pt x="184" y="204"/>
                  </a:moveTo>
                  <a:lnTo>
                    <a:pt x="163" y="215"/>
                  </a:lnTo>
                  <a:lnTo>
                    <a:pt x="141" y="187"/>
                  </a:lnTo>
                  <a:lnTo>
                    <a:pt x="125" y="199"/>
                  </a:lnTo>
                  <a:lnTo>
                    <a:pt x="87" y="175"/>
                  </a:lnTo>
                  <a:lnTo>
                    <a:pt x="75" y="159"/>
                  </a:lnTo>
                  <a:lnTo>
                    <a:pt x="33" y="133"/>
                  </a:lnTo>
                  <a:lnTo>
                    <a:pt x="33" y="142"/>
                  </a:lnTo>
                  <a:lnTo>
                    <a:pt x="0" y="121"/>
                  </a:lnTo>
                  <a:lnTo>
                    <a:pt x="16" y="88"/>
                  </a:lnTo>
                  <a:lnTo>
                    <a:pt x="4" y="71"/>
                  </a:lnTo>
                  <a:lnTo>
                    <a:pt x="21" y="67"/>
                  </a:lnTo>
                  <a:lnTo>
                    <a:pt x="21" y="50"/>
                  </a:lnTo>
                  <a:lnTo>
                    <a:pt x="71" y="17"/>
                  </a:lnTo>
                  <a:lnTo>
                    <a:pt x="71" y="22"/>
                  </a:lnTo>
                  <a:lnTo>
                    <a:pt x="75" y="22"/>
                  </a:lnTo>
                  <a:lnTo>
                    <a:pt x="92" y="17"/>
                  </a:lnTo>
                  <a:lnTo>
                    <a:pt x="92" y="0"/>
                  </a:lnTo>
                  <a:lnTo>
                    <a:pt x="141" y="0"/>
                  </a:lnTo>
                  <a:lnTo>
                    <a:pt x="146" y="22"/>
                  </a:lnTo>
                  <a:lnTo>
                    <a:pt x="163" y="22"/>
                  </a:lnTo>
                  <a:lnTo>
                    <a:pt x="196" y="55"/>
                  </a:lnTo>
                  <a:lnTo>
                    <a:pt x="217" y="55"/>
                  </a:lnTo>
                  <a:lnTo>
                    <a:pt x="250" y="93"/>
                  </a:lnTo>
                  <a:lnTo>
                    <a:pt x="255" y="93"/>
                  </a:lnTo>
                  <a:lnTo>
                    <a:pt x="271" y="88"/>
                  </a:lnTo>
                  <a:lnTo>
                    <a:pt x="288" y="88"/>
                  </a:lnTo>
                  <a:lnTo>
                    <a:pt x="293" y="109"/>
                  </a:lnTo>
                  <a:lnTo>
                    <a:pt x="309" y="126"/>
                  </a:lnTo>
                  <a:lnTo>
                    <a:pt x="330" y="142"/>
                  </a:lnTo>
                  <a:lnTo>
                    <a:pt x="347" y="133"/>
                  </a:lnTo>
                  <a:lnTo>
                    <a:pt x="359" y="133"/>
                  </a:lnTo>
                  <a:lnTo>
                    <a:pt x="359" y="159"/>
                  </a:lnTo>
                  <a:lnTo>
                    <a:pt x="397" y="166"/>
                  </a:lnTo>
                  <a:lnTo>
                    <a:pt x="413" y="175"/>
                  </a:lnTo>
                  <a:lnTo>
                    <a:pt x="418" y="187"/>
                  </a:lnTo>
                  <a:lnTo>
                    <a:pt x="427" y="187"/>
                  </a:lnTo>
                  <a:lnTo>
                    <a:pt x="427" y="175"/>
                  </a:lnTo>
                  <a:lnTo>
                    <a:pt x="434" y="175"/>
                  </a:lnTo>
                  <a:lnTo>
                    <a:pt x="434" y="182"/>
                  </a:lnTo>
                  <a:lnTo>
                    <a:pt x="451" y="187"/>
                  </a:lnTo>
                  <a:lnTo>
                    <a:pt x="456" y="175"/>
                  </a:lnTo>
                  <a:lnTo>
                    <a:pt x="467" y="175"/>
                  </a:lnTo>
                  <a:lnTo>
                    <a:pt x="505" y="199"/>
                  </a:lnTo>
                  <a:lnTo>
                    <a:pt x="536" y="199"/>
                  </a:lnTo>
                  <a:lnTo>
                    <a:pt x="548" y="187"/>
                  </a:lnTo>
                  <a:lnTo>
                    <a:pt x="564" y="199"/>
                  </a:lnTo>
                  <a:lnTo>
                    <a:pt x="574" y="199"/>
                  </a:lnTo>
                  <a:lnTo>
                    <a:pt x="564" y="220"/>
                  </a:lnTo>
                  <a:lnTo>
                    <a:pt x="560" y="253"/>
                  </a:lnTo>
                  <a:lnTo>
                    <a:pt x="574" y="286"/>
                  </a:lnTo>
                  <a:lnTo>
                    <a:pt x="560" y="308"/>
                  </a:lnTo>
                  <a:lnTo>
                    <a:pt x="548" y="298"/>
                  </a:lnTo>
                  <a:lnTo>
                    <a:pt x="505" y="308"/>
                  </a:lnTo>
                  <a:lnTo>
                    <a:pt x="489" y="298"/>
                  </a:lnTo>
                  <a:lnTo>
                    <a:pt x="472" y="308"/>
                  </a:lnTo>
                  <a:lnTo>
                    <a:pt x="418" y="286"/>
                  </a:lnTo>
                  <a:lnTo>
                    <a:pt x="413" y="291"/>
                  </a:lnTo>
                  <a:lnTo>
                    <a:pt x="385" y="270"/>
                  </a:lnTo>
                  <a:lnTo>
                    <a:pt x="373" y="286"/>
                  </a:lnTo>
                  <a:lnTo>
                    <a:pt x="326" y="258"/>
                  </a:lnTo>
                  <a:lnTo>
                    <a:pt x="321" y="237"/>
                  </a:lnTo>
                  <a:lnTo>
                    <a:pt x="293" y="232"/>
                  </a:lnTo>
                  <a:lnTo>
                    <a:pt x="288" y="220"/>
                  </a:lnTo>
                  <a:lnTo>
                    <a:pt x="267" y="232"/>
                  </a:lnTo>
                  <a:lnTo>
                    <a:pt x="267" y="237"/>
                  </a:lnTo>
                  <a:lnTo>
                    <a:pt x="234" y="232"/>
                  </a:lnTo>
                  <a:lnTo>
                    <a:pt x="222" y="237"/>
                  </a:lnTo>
                  <a:lnTo>
                    <a:pt x="217" y="232"/>
                  </a:lnTo>
                  <a:lnTo>
                    <a:pt x="184" y="220"/>
                  </a:lnTo>
                  <a:lnTo>
                    <a:pt x="184" y="204"/>
                  </a:lnTo>
                  <a:lnTo>
                    <a:pt x="184" y="204"/>
                  </a:lnTo>
                  <a:lnTo>
                    <a:pt x="184" y="20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4" name="Freeform 525">
              <a:extLst>
                <a:ext uri="{FF2B5EF4-FFF2-40B4-BE49-F238E27FC236}">
                  <a16:creationId xmlns:a16="http://schemas.microsoft.com/office/drawing/2014/main" id="{8A765309-F0E4-4321-A5D7-C450467F3176}"/>
                </a:ext>
              </a:extLst>
            </p:cNvPr>
            <p:cNvSpPr>
              <a:spLocks/>
            </p:cNvSpPr>
            <p:nvPr/>
          </p:nvSpPr>
          <p:spPr bwMode="gray">
            <a:xfrm>
              <a:off x="12410759" y="3973014"/>
              <a:ext cx="92952" cy="98189"/>
            </a:xfrm>
            <a:custGeom>
              <a:avLst/>
              <a:gdLst>
                <a:gd name="T0" fmla="*/ 279 w 284"/>
                <a:gd name="T1" fmla="*/ 198 h 300"/>
                <a:gd name="T2" fmla="*/ 267 w 284"/>
                <a:gd name="T3" fmla="*/ 206 h 300"/>
                <a:gd name="T4" fmla="*/ 267 w 284"/>
                <a:gd name="T5" fmla="*/ 227 h 300"/>
                <a:gd name="T6" fmla="*/ 262 w 284"/>
                <a:gd name="T7" fmla="*/ 255 h 300"/>
                <a:gd name="T8" fmla="*/ 246 w 284"/>
                <a:gd name="T9" fmla="*/ 260 h 300"/>
                <a:gd name="T10" fmla="*/ 241 w 284"/>
                <a:gd name="T11" fmla="*/ 260 h 300"/>
                <a:gd name="T12" fmla="*/ 241 w 284"/>
                <a:gd name="T13" fmla="*/ 255 h 300"/>
                <a:gd name="T14" fmla="*/ 225 w 284"/>
                <a:gd name="T15" fmla="*/ 255 h 300"/>
                <a:gd name="T16" fmla="*/ 213 w 284"/>
                <a:gd name="T17" fmla="*/ 243 h 300"/>
                <a:gd name="T18" fmla="*/ 170 w 284"/>
                <a:gd name="T19" fmla="*/ 260 h 300"/>
                <a:gd name="T20" fmla="*/ 144 w 284"/>
                <a:gd name="T21" fmla="*/ 255 h 300"/>
                <a:gd name="T22" fmla="*/ 139 w 284"/>
                <a:gd name="T23" fmla="*/ 267 h 300"/>
                <a:gd name="T24" fmla="*/ 156 w 284"/>
                <a:gd name="T25" fmla="*/ 283 h 300"/>
                <a:gd name="T26" fmla="*/ 156 w 284"/>
                <a:gd name="T27" fmla="*/ 293 h 300"/>
                <a:gd name="T28" fmla="*/ 144 w 284"/>
                <a:gd name="T29" fmla="*/ 300 h 300"/>
                <a:gd name="T30" fmla="*/ 118 w 284"/>
                <a:gd name="T31" fmla="*/ 293 h 300"/>
                <a:gd name="T32" fmla="*/ 102 w 284"/>
                <a:gd name="T33" fmla="*/ 283 h 300"/>
                <a:gd name="T34" fmla="*/ 64 w 284"/>
                <a:gd name="T35" fmla="*/ 227 h 300"/>
                <a:gd name="T36" fmla="*/ 54 w 284"/>
                <a:gd name="T37" fmla="*/ 189 h 300"/>
                <a:gd name="T38" fmla="*/ 33 w 284"/>
                <a:gd name="T39" fmla="*/ 189 h 300"/>
                <a:gd name="T40" fmla="*/ 33 w 284"/>
                <a:gd name="T41" fmla="*/ 182 h 300"/>
                <a:gd name="T42" fmla="*/ 0 w 284"/>
                <a:gd name="T43" fmla="*/ 144 h 300"/>
                <a:gd name="T44" fmla="*/ 0 w 284"/>
                <a:gd name="T45" fmla="*/ 132 h 300"/>
                <a:gd name="T46" fmla="*/ 17 w 284"/>
                <a:gd name="T47" fmla="*/ 94 h 300"/>
                <a:gd name="T48" fmla="*/ 12 w 284"/>
                <a:gd name="T49" fmla="*/ 87 h 300"/>
                <a:gd name="T50" fmla="*/ 33 w 284"/>
                <a:gd name="T51" fmla="*/ 71 h 300"/>
                <a:gd name="T52" fmla="*/ 54 w 284"/>
                <a:gd name="T53" fmla="*/ 71 h 300"/>
                <a:gd name="T54" fmla="*/ 54 w 284"/>
                <a:gd name="T55" fmla="*/ 61 h 300"/>
                <a:gd name="T56" fmla="*/ 64 w 284"/>
                <a:gd name="T57" fmla="*/ 61 h 300"/>
                <a:gd name="T58" fmla="*/ 54 w 284"/>
                <a:gd name="T59" fmla="*/ 43 h 300"/>
                <a:gd name="T60" fmla="*/ 64 w 284"/>
                <a:gd name="T61" fmla="*/ 38 h 300"/>
                <a:gd name="T62" fmla="*/ 64 w 284"/>
                <a:gd name="T63" fmla="*/ 33 h 300"/>
                <a:gd name="T64" fmla="*/ 69 w 284"/>
                <a:gd name="T65" fmla="*/ 5 h 300"/>
                <a:gd name="T66" fmla="*/ 80 w 284"/>
                <a:gd name="T67" fmla="*/ 0 h 300"/>
                <a:gd name="T68" fmla="*/ 144 w 284"/>
                <a:gd name="T69" fmla="*/ 17 h 300"/>
                <a:gd name="T70" fmla="*/ 156 w 284"/>
                <a:gd name="T71" fmla="*/ 17 h 300"/>
                <a:gd name="T72" fmla="*/ 156 w 284"/>
                <a:gd name="T73" fmla="*/ 21 h 300"/>
                <a:gd name="T74" fmla="*/ 156 w 284"/>
                <a:gd name="T75" fmla="*/ 5 h 300"/>
                <a:gd name="T76" fmla="*/ 156 w 284"/>
                <a:gd name="T77" fmla="*/ 0 h 300"/>
                <a:gd name="T78" fmla="*/ 191 w 284"/>
                <a:gd name="T79" fmla="*/ 0 h 300"/>
                <a:gd name="T80" fmla="*/ 208 w 284"/>
                <a:gd name="T81" fmla="*/ 5 h 300"/>
                <a:gd name="T82" fmla="*/ 208 w 284"/>
                <a:gd name="T83" fmla="*/ 17 h 300"/>
                <a:gd name="T84" fmla="*/ 225 w 284"/>
                <a:gd name="T85" fmla="*/ 5 h 300"/>
                <a:gd name="T86" fmla="*/ 208 w 284"/>
                <a:gd name="T87" fmla="*/ 0 h 300"/>
                <a:gd name="T88" fmla="*/ 213 w 284"/>
                <a:gd name="T89" fmla="*/ 0 h 300"/>
                <a:gd name="T90" fmla="*/ 284 w 284"/>
                <a:gd name="T91" fmla="*/ 17 h 300"/>
                <a:gd name="T92" fmla="*/ 284 w 284"/>
                <a:gd name="T93" fmla="*/ 33 h 300"/>
                <a:gd name="T94" fmla="*/ 279 w 284"/>
                <a:gd name="T95" fmla="*/ 43 h 300"/>
                <a:gd name="T96" fmla="*/ 250 w 284"/>
                <a:gd name="T97" fmla="*/ 71 h 300"/>
                <a:gd name="T98" fmla="*/ 250 w 284"/>
                <a:gd name="T99" fmla="*/ 87 h 300"/>
                <a:gd name="T100" fmla="*/ 262 w 284"/>
                <a:gd name="T101" fmla="*/ 144 h 300"/>
                <a:gd name="T102" fmla="*/ 284 w 284"/>
                <a:gd name="T103" fmla="*/ 172 h 300"/>
                <a:gd name="T104" fmla="*/ 279 w 284"/>
                <a:gd name="T105" fmla="*/ 198 h 300"/>
                <a:gd name="T106" fmla="*/ 279 w 284"/>
                <a:gd name="T107" fmla="*/ 198 h 300"/>
                <a:gd name="T108" fmla="*/ 279 w 284"/>
                <a:gd name="T109" fmla="*/ 19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4" h="300">
                  <a:moveTo>
                    <a:pt x="279" y="198"/>
                  </a:moveTo>
                  <a:lnTo>
                    <a:pt x="267" y="206"/>
                  </a:lnTo>
                  <a:lnTo>
                    <a:pt x="267" y="227"/>
                  </a:lnTo>
                  <a:lnTo>
                    <a:pt x="262" y="255"/>
                  </a:lnTo>
                  <a:lnTo>
                    <a:pt x="246" y="260"/>
                  </a:lnTo>
                  <a:lnTo>
                    <a:pt x="241" y="260"/>
                  </a:lnTo>
                  <a:lnTo>
                    <a:pt x="241" y="255"/>
                  </a:lnTo>
                  <a:lnTo>
                    <a:pt x="225" y="255"/>
                  </a:lnTo>
                  <a:lnTo>
                    <a:pt x="213" y="243"/>
                  </a:lnTo>
                  <a:lnTo>
                    <a:pt x="170" y="260"/>
                  </a:lnTo>
                  <a:lnTo>
                    <a:pt x="144" y="255"/>
                  </a:lnTo>
                  <a:lnTo>
                    <a:pt x="139" y="267"/>
                  </a:lnTo>
                  <a:lnTo>
                    <a:pt x="156" y="283"/>
                  </a:lnTo>
                  <a:lnTo>
                    <a:pt x="156" y="293"/>
                  </a:lnTo>
                  <a:lnTo>
                    <a:pt x="144" y="300"/>
                  </a:lnTo>
                  <a:lnTo>
                    <a:pt x="118" y="293"/>
                  </a:lnTo>
                  <a:lnTo>
                    <a:pt x="102" y="283"/>
                  </a:lnTo>
                  <a:lnTo>
                    <a:pt x="64" y="227"/>
                  </a:lnTo>
                  <a:lnTo>
                    <a:pt x="54" y="189"/>
                  </a:lnTo>
                  <a:lnTo>
                    <a:pt x="33" y="189"/>
                  </a:lnTo>
                  <a:lnTo>
                    <a:pt x="33" y="182"/>
                  </a:lnTo>
                  <a:lnTo>
                    <a:pt x="0" y="144"/>
                  </a:lnTo>
                  <a:lnTo>
                    <a:pt x="0" y="132"/>
                  </a:lnTo>
                  <a:lnTo>
                    <a:pt x="17" y="94"/>
                  </a:lnTo>
                  <a:lnTo>
                    <a:pt x="12" y="87"/>
                  </a:lnTo>
                  <a:lnTo>
                    <a:pt x="33" y="71"/>
                  </a:lnTo>
                  <a:lnTo>
                    <a:pt x="54" y="71"/>
                  </a:lnTo>
                  <a:lnTo>
                    <a:pt x="54" y="61"/>
                  </a:lnTo>
                  <a:lnTo>
                    <a:pt x="64" y="61"/>
                  </a:lnTo>
                  <a:lnTo>
                    <a:pt x="54" y="43"/>
                  </a:lnTo>
                  <a:lnTo>
                    <a:pt x="64" y="38"/>
                  </a:lnTo>
                  <a:lnTo>
                    <a:pt x="64" y="33"/>
                  </a:lnTo>
                  <a:lnTo>
                    <a:pt x="69" y="5"/>
                  </a:lnTo>
                  <a:lnTo>
                    <a:pt x="80" y="0"/>
                  </a:lnTo>
                  <a:lnTo>
                    <a:pt x="144" y="17"/>
                  </a:lnTo>
                  <a:lnTo>
                    <a:pt x="156" y="17"/>
                  </a:lnTo>
                  <a:lnTo>
                    <a:pt x="156" y="21"/>
                  </a:lnTo>
                  <a:lnTo>
                    <a:pt x="156" y="5"/>
                  </a:lnTo>
                  <a:lnTo>
                    <a:pt x="156" y="0"/>
                  </a:lnTo>
                  <a:lnTo>
                    <a:pt x="191" y="0"/>
                  </a:lnTo>
                  <a:lnTo>
                    <a:pt x="208" y="5"/>
                  </a:lnTo>
                  <a:lnTo>
                    <a:pt x="208" y="17"/>
                  </a:lnTo>
                  <a:lnTo>
                    <a:pt x="225" y="5"/>
                  </a:lnTo>
                  <a:lnTo>
                    <a:pt x="208" y="0"/>
                  </a:lnTo>
                  <a:lnTo>
                    <a:pt x="213" y="0"/>
                  </a:lnTo>
                  <a:lnTo>
                    <a:pt x="284" y="17"/>
                  </a:lnTo>
                  <a:lnTo>
                    <a:pt x="284" y="33"/>
                  </a:lnTo>
                  <a:lnTo>
                    <a:pt x="279" y="43"/>
                  </a:lnTo>
                  <a:lnTo>
                    <a:pt x="250" y="71"/>
                  </a:lnTo>
                  <a:lnTo>
                    <a:pt x="250" y="87"/>
                  </a:lnTo>
                  <a:lnTo>
                    <a:pt x="262" y="144"/>
                  </a:lnTo>
                  <a:lnTo>
                    <a:pt x="284" y="172"/>
                  </a:lnTo>
                  <a:lnTo>
                    <a:pt x="279" y="198"/>
                  </a:lnTo>
                  <a:lnTo>
                    <a:pt x="279" y="198"/>
                  </a:lnTo>
                  <a:lnTo>
                    <a:pt x="279" y="19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5" name="Freeform 526">
              <a:extLst>
                <a:ext uri="{FF2B5EF4-FFF2-40B4-BE49-F238E27FC236}">
                  <a16:creationId xmlns:a16="http://schemas.microsoft.com/office/drawing/2014/main" id="{45EEF3F4-E658-43A2-8C36-EE9EC44BB93C}"/>
                </a:ext>
              </a:extLst>
            </p:cNvPr>
            <p:cNvSpPr>
              <a:spLocks noEditPoints="1"/>
            </p:cNvSpPr>
            <p:nvPr/>
          </p:nvSpPr>
          <p:spPr bwMode="gray">
            <a:xfrm>
              <a:off x="12156449" y="3822130"/>
              <a:ext cx="22256" cy="7201"/>
            </a:xfrm>
            <a:custGeom>
              <a:avLst/>
              <a:gdLst>
                <a:gd name="T0" fmla="*/ 33 w 68"/>
                <a:gd name="T1" fmla="*/ 22 h 22"/>
                <a:gd name="T2" fmla="*/ 5 w 68"/>
                <a:gd name="T3" fmla="*/ 7 h 22"/>
                <a:gd name="T4" fmla="*/ 0 w 68"/>
                <a:gd name="T5" fmla="*/ 0 h 22"/>
                <a:gd name="T6" fmla="*/ 33 w 68"/>
                <a:gd name="T7" fmla="*/ 22 h 22"/>
                <a:gd name="T8" fmla="*/ 33 w 68"/>
                <a:gd name="T9" fmla="*/ 22 h 22"/>
                <a:gd name="T10" fmla="*/ 33 w 68"/>
                <a:gd name="T11" fmla="*/ 22 h 22"/>
                <a:gd name="T12" fmla="*/ 68 w 68"/>
                <a:gd name="T13" fmla="*/ 22 h 22"/>
                <a:gd name="T14" fmla="*/ 54 w 68"/>
                <a:gd name="T15" fmla="*/ 0 h 22"/>
                <a:gd name="T16" fmla="*/ 68 w 68"/>
                <a:gd name="T17" fmla="*/ 7 h 22"/>
                <a:gd name="T18" fmla="*/ 68 w 68"/>
                <a:gd name="T19" fmla="*/ 22 h 22"/>
                <a:gd name="T20" fmla="*/ 68 w 68"/>
                <a:gd name="T21" fmla="*/ 22 h 22"/>
                <a:gd name="T22" fmla="*/ 68 w 68"/>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22">
                  <a:moveTo>
                    <a:pt x="33" y="22"/>
                  </a:moveTo>
                  <a:lnTo>
                    <a:pt x="5" y="7"/>
                  </a:lnTo>
                  <a:lnTo>
                    <a:pt x="0" y="0"/>
                  </a:lnTo>
                  <a:lnTo>
                    <a:pt x="33" y="22"/>
                  </a:lnTo>
                  <a:lnTo>
                    <a:pt x="33" y="22"/>
                  </a:lnTo>
                  <a:lnTo>
                    <a:pt x="33" y="22"/>
                  </a:lnTo>
                  <a:close/>
                  <a:moveTo>
                    <a:pt x="68" y="22"/>
                  </a:moveTo>
                  <a:lnTo>
                    <a:pt x="54" y="0"/>
                  </a:lnTo>
                  <a:lnTo>
                    <a:pt x="68" y="7"/>
                  </a:lnTo>
                  <a:lnTo>
                    <a:pt x="68" y="22"/>
                  </a:lnTo>
                  <a:lnTo>
                    <a:pt x="68" y="22"/>
                  </a:lnTo>
                  <a:lnTo>
                    <a:pt x="68" y="2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6" name="Freeform 527">
              <a:extLst>
                <a:ext uri="{FF2B5EF4-FFF2-40B4-BE49-F238E27FC236}">
                  <a16:creationId xmlns:a16="http://schemas.microsoft.com/office/drawing/2014/main" id="{5D4A7EB9-7EF4-47F0-B55A-CD285EC138A9}"/>
                </a:ext>
              </a:extLst>
            </p:cNvPr>
            <p:cNvSpPr>
              <a:spLocks/>
            </p:cNvSpPr>
            <p:nvPr/>
          </p:nvSpPr>
          <p:spPr bwMode="gray">
            <a:xfrm>
              <a:off x="11732600" y="3756671"/>
              <a:ext cx="102117" cy="103426"/>
            </a:xfrm>
            <a:custGeom>
              <a:avLst/>
              <a:gdLst>
                <a:gd name="T0" fmla="*/ 22 w 312"/>
                <a:gd name="T1" fmla="*/ 151 h 316"/>
                <a:gd name="T2" fmla="*/ 43 w 312"/>
                <a:gd name="T3" fmla="*/ 151 h 316"/>
                <a:gd name="T4" fmla="*/ 52 w 312"/>
                <a:gd name="T5" fmla="*/ 139 h 316"/>
                <a:gd name="T6" fmla="*/ 69 w 312"/>
                <a:gd name="T7" fmla="*/ 127 h 316"/>
                <a:gd name="T8" fmla="*/ 60 w 312"/>
                <a:gd name="T9" fmla="*/ 94 h 316"/>
                <a:gd name="T10" fmla="*/ 90 w 312"/>
                <a:gd name="T11" fmla="*/ 94 h 316"/>
                <a:gd name="T12" fmla="*/ 114 w 312"/>
                <a:gd name="T13" fmla="*/ 73 h 316"/>
                <a:gd name="T14" fmla="*/ 140 w 312"/>
                <a:gd name="T15" fmla="*/ 89 h 316"/>
                <a:gd name="T16" fmla="*/ 140 w 312"/>
                <a:gd name="T17" fmla="*/ 82 h 316"/>
                <a:gd name="T18" fmla="*/ 178 w 312"/>
                <a:gd name="T19" fmla="*/ 49 h 316"/>
                <a:gd name="T20" fmla="*/ 178 w 312"/>
                <a:gd name="T21" fmla="*/ 49 h 316"/>
                <a:gd name="T22" fmla="*/ 194 w 312"/>
                <a:gd name="T23" fmla="*/ 16 h 316"/>
                <a:gd name="T24" fmla="*/ 220 w 312"/>
                <a:gd name="T25" fmla="*/ 33 h 316"/>
                <a:gd name="T26" fmla="*/ 270 w 312"/>
                <a:gd name="T27" fmla="*/ 16 h 316"/>
                <a:gd name="T28" fmla="*/ 291 w 312"/>
                <a:gd name="T29" fmla="*/ 0 h 316"/>
                <a:gd name="T30" fmla="*/ 312 w 312"/>
                <a:gd name="T31" fmla="*/ 0 h 316"/>
                <a:gd name="T32" fmla="*/ 303 w 312"/>
                <a:gd name="T33" fmla="*/ 16 h 316"/>
                <a:gd name="T34" fmla="*/ 308 w 312"/>
                <a:gd name="T35" fmla="*/ 28 h 316"/>
                <a:gd name="T36" fmla="*/ 312 w 312"/>
                <a:gd name="T37" fmla="*/ 54 h 316"/>
                <a:gd name="T38" fmla="*/ 303 w 312"/>
                <a:gd name="T39" fmla="*/ 82 h 316"/>
                <a:gd name="T40" fmla="*/ 286 w 312"/>
                <a:gd name="T41" fmla="*/ 122 h 316"/>
                <a:gd name="T42" fmla="*/ 291 w 312"/>
                <a:gd name="T43" fmla="*/ 193 h 316"/>
                <a:gd name="T44" fmla="*/ 286 w 312"/>
                <a:gd name="T45" fmla="*/ 193 h 316"/>
                <a:gd name="T46" fmla="*/ 291 w 312"/>
                <a:gd name="T47" fmla="*/ 167 h 316"/>
                <a:gd name="T48" fmla="*/ 286 w 312"/>
                <a:gd name="T49" fmla="*/ 160 h 316"/>
                <a:gd name="T50" fmla="*/ 286 w 312"/>
                <a:gd name="T51" fmla="*/ 177 h 316"/>
                <a:gd name="T52" fmla="*/ 274 w 312"/>
                <a:gd name="T53" fmla="*/ 193 h 316"/>
                <a:gd name="T54" fmla="*/ 274 w 312"/>
                <a:gd name="T55" fmla="*/ 222 h 316"/>
                <a:gd name="T56" fmla="*/ 270 w 312"/>
                <a:gd name="T57" fmla="*/ 233 h 316"/>
                <a:gd name="T58" fmla="*/ 270 w 312"/>
                <a:gd name="T59" fmla="*/ 238 h 316"/>
                <a:gd name="T60" fmla="*/ 274 w 312"/>
                <a:gd name="T61" fmla="*/ 233 h 316"/>
                <a:gd name="T62" fmla="*/ 286 w 312"/>
                <a:gd name="T63" fmla="*/ 255 h 316"/>
                <a:gd name="T64" fmla="*/ 270 w 312"/>
                <a:gd name="T65" fmla="*/ 271 h 316"/>
                <a:gd name="T66" fmla="*/ 270 w 312"/>
                <a:gd name="T67" fmla="*/ 290 h 316"/>
                <a:gd name="T68" fmla="*/ 286 w 312"/>
                <a:gd name="T69" fmla="*/ 307 h 316"/>
                <a:gd name="T70" fmla="*/ 274 w 312"/>
                <a:gd name="T71" fmla="*/ 311 h 316"/>
                <a:gd name="T72" fmla="*/ 258 w 312"/>
                <a:gd name="T73" fmla="*/ 316 h 316"/>
                <a:gd name="T74" fmla="*/ 204 w 312"/>
                <a:gd name="T75" fmla="*/ 295 h 316"/>
                <a:gd name="T76" fmla="*/ 194 w 312"/>
                <a:gd name="T77" fmla="*/ 307 h 316"/>
                <a:gd name="T78" fmla="*/ 145 w 312"/>
                <a:gd name="T79" fmla="*/ 278 h 316"/>
                <a:gd name="T80" fmla="*/ 140 w 312"/>
                <a:gd name="T81" fmla="*/ 295 h 316"/>
                <a:gd name="T82" fmla="*/ 86 w 312"/>
                <a:gd name="T83" fmla="*/ 238 h 316"/>
                <a:gd name="T84" fmla="*/ 60 w 312"/>
                <a:gd name="T85" fmla="*/ 205 h 316"/>
                <a:gd name="T86" fmla="*/ 0 w 312"/>
                <a:gd name="T87" fmla="*/ 160 h 316"/>
                <a:gd name="T88" fmla="*/ 5 w 312"/>
                <a:gd name="T89" fmla="*/ 144 h 316"/>
                <a:gd name="T90" fmla="*/ 22 w 312"/>
                <a:gd name="T91" fmla="*/ 160 h 316"/>
                <a:gd name="T92" fmla="*/ 22 w 312"/>
                <a:gd name="T93" fmla="*/ 160 h 316"/>
                <a:gd name="T94" fmla="*/ 22 w 312"/>
                <a:gd name="T95" fmla="*/ 151 h 316"/>
                <a:gd name="T96" fmla="*/ 22 w 312"/>
                <a:gd name="T97" fmla="*/ 151 h 316"/>
                <a:gd name="T98" fmla="*/ 22 w 312"/>
                <a:gd name="T99" fmla="*/ 15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2" h="316">
                  <a:moveTo>
                    <a:pt x="22" y="151"/>
                  </a:moveTo>
                  <a:lnTo>
                    <a:pt x="43" y="151"/>
                  </a:lnTo>
                  <a:lnTo>
                    <a:pt x="52" y="139"/>
                  </a:lnTo>
                  <a:lnTo>
                    <a:pt x="69" y="127"/>
                  </a:lnTo>
                  <a:lnTo>
                    <a:pt x="60" y="94"/>
                  </a:lnTo>
                  <a:lnTo>
                    <a:pt x="90" y="94"/>
                  </a:lnTo>
                  <a:lnTo>
                    <a:pt x="114" y="73"/>
                  </a:lnTo>
                  <a:lnTo>
                    <a:pt x="140" y="89"/>
                  </a:lnTo>
                  <a:lnTo>
                    <a:pt x="140" y="82"/>
                  </a:lnTo>
                  <a:lnTo>
                    <a:pt x="178" y="49"/>
                  </a:lnTo>
                  <a:lnTo>
                    <a:pt x="178" y="49"/>
                  </a:lnTo>
                  <a:lnTo>
                    <a:pt x="194" y="16"/>
                  </a:lnTo>
                  <a:lnTo>
                    <a:pt x="220" y="33"/>
                  </a:lnTo>
                  <a:lnTo>
                    <a:pt x="270" y="16"/>
                  </a:lnTo>
                  <a:lnTo>
                    <a:pt x="291" y="0"/>
                  </a:lnTo>
                  <a:lnTo>
                    <a:pt x="312" y="0"/>
                  </a:lnTo>
                  <a:lnTo>
                    <a:pt x="303" y="16"/>
                  </a:lnTo>
                  <a:lnTo>
                    <a:pt x="308" y="28"/>
                  </a:lnTo>
                  <a:lnTo>
                    <a:pt x="312" y="54"/>
                  </a:lnTo>
                  <a:lnTo>
                    <a:pt x="303" y="82"/>
                  </a:lnTo>
                  <a:lnTo>
                    <a:pt x="286" y="122"/>
                  </a:lnTo>
                  <a:lnTo>
                    <a:pt x="291" y="193"/>
                  </a:lnTo>
                  <a:lnTo>
                    <a:pt x="286" y="193"/>
                  </a:lnTo>
                  <a:lnTo>
                    <a:pt x="291" y="167"/>
                  </a:lnTo>
                  <a:lnTo>
                    <a:pt x="286" y="160"/>
                  </a:lnTo>
                  <a:lnTo>
                    <a:pt x="286" y="177"/>
                  </a:lnTo>
                  <a:lnTo>
                    <a:pt x="274" y="193"/>
                  </a:lnTo>
                  <a:lnTo>
                    <a:pt x="274" y="222"/>
                  </a:lnTo>
                  <a:lnTo>
                    <a:pt x="270" y="233"/>
                  </a:lnTo>
                  <a:lnTo>
                    <a:pt x="270" y="238"/>
                  </a:lnTo>
                  <a:lnTo>
                    <a:pt x="274" y="233"/>
                  </a:lnTo>
                  <a:lnTo>
                    <a:pt x="286" y="255"/>
                  </a:lnTo>
                  <a:lnTo>
                    <a:pt x="270" y="271"/>
                  </a:lnTo>
                  <a:lnTo>
                    <a:pt x="270" y="290"/>
                  </a:lnTo>
                  <a:lnTo>
                    <a:pt x="286" y="307"/>
                  </a:lnTo>
                  <a:lnTo>
                    <a:pt x="274" y="311"/>
                  </a:lnTo>
                  <a:lnTo>
                    <a:pt x="258" y="316"/>
                  </a:lnTo>
                  <a:lnTo>
                    <a:pt x="204" y="295"/>
                  </a:lnTo>
                  <a:lnTo>
                    <a:pt x="194" y="307"/>
                  </a:lnTo>
                  <a:lnTo>
                    <a:pt x="145" y="278"/>
                  </a:lnTo>
                  <a:lnTo>
                    <a:pt x="140" y="295"/>
                  </a:lnTo>
                  <a:lnTo>
                    <a:pt x="86" y="238"/>
                  </a:lnTo>
                  <a:lnTo>
                    <a:pt x="60" y="205"/>
                  </a:lnTo>
                  <a:lnTo>
                    <a:pt x="0" y="160"/>
                  </a:lnTo>
                  <a:lnTo>
                    <a:pt x="5" y="144"/>
                  </a:lnTo>
                  <a:lnTo>
                    <a:pt x="22" y="160"/>
                  </a:lnTo>
                  <a:lnTo>
                    <a:pt x="22" y="160"/>
                  </a:lnTo>
                  <a:lnTo>
                    <a:pt x="22" y="151"/>
                  </a:lnTo>
                  <a:lnTo>
                    <a:pt x="22" y="151"/>
                  </a:lnTo>
                  <a:lnTo>
                    <a:pt x="22" y="15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7" name="Freeform 528">
              <a:extLst>
                <a:ext uri="{FF2B5EF4-FFF2-40B4-BE49-F238E27FC236}">
                  <a16:creationId xmlns:a16="http://schemas.microsoft.com/office/drawing/2014/main" id="{DE606A56-DBE0-432C-A322-A26C897BA70A}"/>
                </a:ext>
              </a:extLst>
            </p:cNvPr>
            <p:cNvSpPr>
              <a:spLocks noEditPoints="1"/>
            </p:cNvSpPr>
            <p:nvPr/>
          </p:nvSpPr>
          <p:spPr bwMode="gray">
            <a:xfrm>
              <a:off x="9659176" y="4824312"/>
              <a:ext cx="8191253" cy="658521"/>
            </a:xfrm>
            <a:custGeom>
              <a:avLst/>
              <a:gdLst>
                <a:gd name="T0" fmla="*/ 5 w 25027"/>
                <a:gd name="T1" fmla="*/ 4 h 2012"/>
                <a:gd name="T2" fmla="*/ 24914 w 25027"/>
                <a:gd name="T3" fmla="*/ 708 h 2012"/>
                <a:gd name="T4" fmla="*/ 24990 w 25027"/>
                <a:gd name="T5" fmla="*/ 708 h 2012"/>
                <a:gd name="T6" fmla="*/ 24956 w 25027"/>
                <a:gd name="T7" fmla="*/ 815 h 2012"/>
                <a:gd name="T8" fmla="*/ 24897 w 25027"/>
                <a:gd name="T9" fmla="*/ 848 h 2012"/>
                <a:gd name="T10" fmla="*/ 24772 w 25027"/>
                <a:gd name="T11" fmla="*/ 997 h 2012"/>
                <a:gd name="T12" fmla="*/ 24772 w 25027"/>
                <a:gd name="T13" fmla="*/ 902 h 2012"/>
                <a:gd name="T14" fmla="*/ 24671 w 25027"/>
                <a:gd name="T15" fmla="*/ 815 h 2012"/>
                <a:gd name="T16" fmla="*/ 24751 w 25027"/>
                <a:gd name="T17" fmla="*/ 704 h 2012"/>
                <a:gd name="T18" fmla="*/ 24742 w 25027"/>
                <a:gd name="T19" fmla="*/ 647 h 2012"/>
                <a:gd name="T20" fmla="*/ 24742 w 25027"/>
                <a:gd name="T21" fmla="*/ 614 h 2012"/>
                <a:gd name="T22" fmla="*/ 24704 w 25027"/>
                <a:gd name="T23" fmla="*/ 569 h 2012"/>
                <a:gd name="T24" fmla="*/ 24704 w 25027"/>
                <a:gd name="T25" fmla="*/ 552 h 2012"/>
                <a:gd name="T26" fmla="*/ 24704 w 25027"/>
                <a:gd name="T27" fmla="*/ 569 h 2012"/>
                <a:gd name="T28" fmla="*/ 24659 w 25027"/>
                <a:gd name="T29" fmla="*/ 486 h 2012"/>
                <a:gd name="T30" fmla="*/ 24595 w 25027"/>
                <a:gd name="T31" fmla="*/ 408 h 2012"/>
                <a:gd name="T32" fmla="*/ 24633 w 25027"/>
                <a:gd name="T33" fmla="*/ 458 h 2012"/>
                <a:gd name="T34" fmla="*/ 24697 w 25027"/>
                <a:gd name="T35" fmla="*/ 470 h 2012"/>
                <a:gd name="T36" fmla="*/ 24725 w 25027"/>
                <a:gd name="T37" fmla="*/ 526 h 2012"/>
                <a:gd name="T38" fmla="*/ 24734 w 25027"/>
                <a:gd name="T39" fmla="*/ 581 h 2012"/>
                <a:gd name="T40" fmla="*/ 24789 w 25027"/>
                <a:gd name="T41" fmla="*/ 614 h 2012"/>
                <a:gd name="T42" fmla="*/ 24805 w 25027"/>
                <a:gd name="T43" fmla="*/ 609 h 2012"/>
                <a:gd name="T44" fmla="*/ 24779 w 25027"/>
                <a:gd name="T45" fmla="*/ 560 h 2012"/>
                <a:gd name="T46" fmla="*/ 24768 w 25027"/>
                <a:gd name="T47" fmla="*/ 609 h 2012"/>
                <a:gd name="T48" fmla="*/ 24486 w 25027"/>
                <a:gd name="T49" fmla="*/ 1306 h 2012"/>
                <a:gd name="T50" fmla="*/ 24432 w 25027"/>
                <a:gd name="T51" fmla="*/ 1400 h 2012"/>
                <a:gd name="T52" fmla="*/ 24326 w 25027"/>
                <a:gd name="T53" fmla="*/ 1462 h 2012"/>
                <a:gd name="T54" fmla="*/ 24293 w 25027"/>
                <a:gd name="T55" fmla="*/ 1457 h 2012"/>
                <a:gd name="T56" fmla="*/ 24250 w 25027"/>
                <a:gd name="T57" fmla="*/ 1417 h 2012"/>
                <a:gd name="T58" fmla="*/ 24175 w 25027"/>
                <a:gd name="T59" fmla="*/ 1408 h 2012"/>
                <a:gd name="T60" fmla="*/ 24201 w 25027"/>
                <a:gd name="T61" fmla="*/ 1351 h 2012"/>
                <a:gd name="T62" fmla="*/ 24217 w 25027"/>
                <a:gd name="T63" fmla="*/ 1334 h 2012"/>
                <a:gd name="T64" fmla="*/ 24281 w 25027"/>
                <a:gd name="T65" fmla="*/ 1252 h 2012"/>
                <a:gd name="T66" fmla="*/ 24465 w 25027"/>
                <a:gd name="T67" fmla="*/ 1124 h 2012"/>
                <a:gd name="T68" fmla="*/ 24590 w 25027"/>
                <a:gd name="T69" fmla="*/ 926 h 2012"/>
                <a:gd name="T70" fmla="*/ 24616 w 25027"/>
                <a:gd name="T71" fmla="*/ 942 h 2012"/>
                <a:gd name="T72" fmla="*/ 24682 w 25027"/>
                <a:gd name="T73" fmla="*/ 963 h 2012"/>
                <a:gd name="T74" fmla="*/ 24704 w 25027"/>
                <a:gd name="T75" fmla="*/ 980 h 2012"/>
                <a:gd name="T76" fmla="*/ 24659 w 25027"/>
                <a:gd name="T77" fmla="*/ 1091 h 2012"/>
                <a:gd name="T78" fmla="*/ 24616 w 25027"/>
                <a:gd name="T79" fmla="*/ 1207 h 2012"/>
                <a:gd name="T80" fmla="*/ 24508 w 25027"/>
                <a:gd name="T81" fmla="*/ 1235 h 2012"/>
                <a:gd name="T82" fmla="*/ 24671 w 25027"/>
                <a:gd name="T83" fmla="*/ 942 h 2012"/>
                <a:gd name="T84" fmla="*/ 24704 w 25027"/>
                <a:gd name="T85" fmla="*/ 980 h 2012"/>
                <a:gd name="T86" fmla="*/ 92 w 25027"/>
                <a:gd name="T87" fmla="*/ 1223 h 2012"/>
                <a:gd name="T88" fmla="*/ 97 w 25027"/>
                <a:gd name="T89" fmla="*/ 1202 h 2012"/>
                <a:gd name="T90" fmla="*/ 125 w 25027"/>
                <a:gd name="T91" fmla="*/ 1252 h 2012"/>
                <a:gd name="T92" fmla="*/ 24196 w 25027"/>
                <a:gd name="T93" fmla="*/ 1318 h 2012"/>
                <a:gd name="T94" fmla="*/ 24179 w 25027"/>
                <a:gd name="T95" fmla="*/ 1367 h 2012"/>
                <a:gd name="T96" fmla="*/ 24179 w 25027"/>
                <a:gd name="T97" fmla="*/ 1367 h 2012"/>
                <a:gd name="T98" fmla="*/ 24255 w 25027"/>
                <a:gd name="T99" fmla="*/ 1511 h 2012"/>
                <a:gd name="T100" fmla="*/ 24250 w 25027"/>
                <a:gd name="T101" fmla="*/ 1462 h 2012"/>
                <a:gd name="T102" fmla="*/ 25027 w 25027"/>
                <a:gd name="T103" fmla="*/ 1734 h 2012"/>
                <a:gd name="T104" fmla="*/ 24142 w 25027"/>
                <a:gd name="T105" fmla="*/ 1849 h 2012"/>
                <a:gd name="T106" fmla="*/ 24146 w 25027"/>
                <a:gd name="T107" fmla="*/ 1816 h 2012"/>
                <a:gd name="T108" fmla="*/ 24142 w 25027"/>
                <a:gd name="T109" fmla="*/ 1849 h 2012"/>
                <a:gd name="T110" fmla="*/ 24347 w 25027"/>
                <a:gd name="T111" fmla="*/ 2000 h 2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027" h="2012">
                  <a:moveTo>
                    <a:pt x="5" y="4"/>
                  </a:moveTo>
                  <a:lnTo>
                    <a:pt x="0" y="0"/>
                  </a:lnTo>
                  <a:lnTo>
                    <a:pt x="5" y="4"/>
                  </a:lnTo>
                  <a:lnTo>
                    <a:pt x="5" y="4"/>
                  </a:lnTo>
                  <a:lnTo>
                    <a:pt x="5" y="4"/>
                  </a:lnTo>
                  <a:lnTo>
                    <a:pt x="5" y="4"/>
                  </a:lnTo>
                  <a:close/>
                  <a:moveTo>
                    <a:pt x="24822" y="647"/>
                  </a:moveTo>
                  <a:lnTo>
                    <a:pt x="24827" y="663"/>
                  </a:lnTo>
                  <a:lnTo>
                    <a:pt x="24843" y="680"/>
                  </a:lnTo>
                  <a:lnTo>
                    <a:pt x="24827" y="671"/>
                  </a:lnTo>
                  <a:lnTo>
                    <a:pt x="24827" y="680"/>
                  </a:lnTo>
                  <a:lnTo>
                    <a:pt x="24914" y="708"/>
                  </a:lnTo>
                  <a:lnTo>
                    <a:pt x="24930" y="704"/>
                  </a:lnTo>
                  <a:lnTo>
                    <a:pt x="24952" y="680"/>
                  </a:lnTo>
                  <a:lnTo>
                    <a:pt x="24968" y="671"/>
                  </a:lnTo>
                  <a:lnTo>
                    <a:pt x="24990" y="671"/>
                  </a:lnTo>
                  <a:lnTo>
                    <a:pt x="25006" y="680"/>
                  </a:lnTo>
                  <a:lnTo>
                    <a:pt x="24990" y="708"/>
                  </a:lnTo>
                  <a:lnTo>
                    <a:pt x="24990" y="746"/>
                  </a:lnTo>
                  <a:lnTo>
                    <a:pt x="24973" y="763"/>
                  </a:lnTo>
                  <a:lnTo>
                    <a:pt x="24968" y="763"/>
                  </a:lnTo>
                  <a:lnTo>
                    <a:pt x="24956" y="798"/>
                  </a:lnTo>
                  <a:lnTo>
                    <a:pt x="24968" y="798"/>
                  </a:lnTo>
                  <a:lnTo>
                    <a:pt x="24956" y="815"/>
                  </a:lnTo>
                  <a:lnTo>
                    <a:pt x="24956" y="815"/>
                  </a:lnTo>
                  <a:lnTo>
                    <a:pt x="24956" y="798"/>
                  </a:lnTo>
                  <a:lnTo>
                    <a:pt x="24940" y="798"/>
                  </a:lnTo>
                  <a:lnTo>
                    <a:pt x="24902" y="803"/>
                  </a:lnTo>
                  <a:lnTo>
                    <a:pt x="24886" y="831"/>
                  </a:lnTo>
                  <a:lnTo>
                    <a:pt x="24897" y="848"/>
                  </a:lnTo>
                  <a:lnTo>
                    <a:pt x="24902" y="848"/>
                  </a:lnTo>
                  <a:lnTo>
                    <a:pt x="24881" y="890"/>
                  </a:lnTo>
                  <a:lnTo>
                    <a:pt x="24848" y="930"/>
                  </a:lnTo>
                  <a:lnTo>
                    <a:pt x="24827" y="980"/>
                  </a:lnTo>
                  <a:lnTo>
                    <a:pt x="24772" y="1013"/>
                  </a:lnTo>
                  <a:lnTo>
                    <a:pt x="24772" y="997"/>
                  </a:lnTo>
                  <a:lnTo>
                    <a:pt x="24751" y="997"/>
                  </a:lnTo>
                  <a:lnTo>
                    <a:pt x="24751" y="980"/>
                  </a:lnTo>
                  <a:lnTo>
                    <a:pt x="24742" y="985"/>
                  </a:lnTo>
                  <a:lnTo>
                    <a:pt x="24725" y="985"/>
                  </a:lnTo>
                  <a:lnTo>
                    <a:pt x="24768" y="930"/>
                  </a:lnTo>
                  <a:lnTo>
                    <a:pt x="24772" y="902"/>
                  </a:lnTo>
                  <a:lnTo>
                    <a:pt x="24768" y="886"/>
                  </a:lnTo>
                  <a:lnTo>
                    <a:pt x="24751" y="869"/>
                  </a:lnTo>
                  <a:lnTo>
                    <a:pt x="24725" y="857"/>
                  </a:lnTo>
                  <a:lnTo>
                    <a:pt x="24713" y="848"/>
                  </a:lnTo>
                  <a:lnTo>
                    <a:pt x="24687" y="836"/>
                  </a:lnTo>
                  <a:lnTo>
                    <a:pt x="24671" y="815"/>
                  </a:lnTo>
                  <a:lnTo>
                    <a:pt x="24671" y="803"/>
                  </a:lnTo>
                  <a:lnTo>
                    <a:pt x="24713" y="791"/>
                  </a:lnTo>
                  <a:lnTo>
                    <a:pt x="24725" y="775"/>
                  </a:lnTo>
                  <a:lnTo>
                    <a:pt x="24734" y="720"/>
                  </a:lnTo>
                  <a:lnTo>
                    <a:pt x="24751" y="720"/>
                  </a:lnTo>
                  <a:lnTo>
                    <a:pt x="24751" y="704"/>
                  </a:lnTo>
                  <a:lnTo>
                    <a:pt x="24742" y="704"/>
                  </a:lnTo>
                  <a:lnTo>
                    <a:pt x="24742" y="692"/>
                  </a:lnTo>
                  <a:lnTo>
                    <a:pt x="24758" y="687"/>
                  </a:lnTo>
                  <a:lnTo>
                    <a:pt x="24751" y="687"/>
                  </a:lnTo>
                  <a:lnTo>
                    <a:pt x="24734" y="654"/>
                  </a:lnTo>
                  <a:lnTo>
                    <a:pt x="24742" y="647"/>
                  </a:lnTo>
                  <a:lnTo>
                    <a:pt x="24734" y="654"/>
                  </a:lnTo>
                  <a:lnTo>
                    <a:pt x="24725" y="630"/>
                  </a:lnTo>
                  <a:lnTo>
                    <a:pt x="24734" y="630"/>
                  </a:lnTo>
                  <a:lnTo>
                    <a:pt x="24734" y="635"/>
                  </a:lnTo>
                  <a:lnTo>
                    <a:pt x="24751" y="630"/>
                  </a:lnTo>
                  <a:lnTo>
                    <a:pt x="24742" y="614"/>
                  </a:lnTo>
                  <a:lnTo>
                    <a:pt x="24720" y="626"/>
                  </a:lnTo>
                  <a:lnTo>
                    <a:pt x="24697" y="576"/>
                  </a:lnTo>
                  <a:lnTo>
                    <a:pt x="24704" y="576"/>
                  </a:lnTo>
                  <a:lnTo>
                    <a:pt x="24720" y="597"/>
                  </a:lnTo>
                  <a:lnTo>
                    <a:pt x="24720" y="569"/>
                  </a:lnTo>
                  <a:lnTo>
                    <a:pt x="24704" y="569"/>
                  </a:lnTo>
                  <a:lnTo>
                    <a:pt x="24725" y="560"/>
                  </a:lnTo>
                  <a:lnTo>
                    <a:pt x="24713" y="569"/>
                  </a:lnTo>
                  <a:lnTo>
                    <a:pt x="24720" y="552"/>
                  </a:lnTo>
                  <a:lnTo>
                    <a:pt x="24713" y="560"/>
                  </a:lnTo>
                  <a:lnTo>
                    <a:pt x="24704" y="552"/>
                  </a:lnTo>
                  <a:lnTo>
                    <a:pt x="24704" y="552"/>
                  </a:lnTo>
                  <a:lnTo>
                    <a:pt x="24713" y="560"/>
                  </a:lnTo>
                  <a:lnTo>
                    <a:pt x="24704" y="560"/>
                  </a:lnTo>
                  <a:lnTo>
                    <a:pt x="24687" y="552"/>
                  </a:lnTo>
                  <a:lnTo>
                    <a:pt x="24682" y="526"/>
                  </a:lnTo>
                  <a:lnTo>
                    <a:pt x="24687" y="552"/>
                  </a:lnTo>
                  <a:lnTo>
                    <a:pt x="24704" y="569"/>
                  </a:lnTo>
                  <a:lnTo>
                    <a:pt x="24687" y="576"/>
                  </a:lnTo>
                  <a:lnTo>
                    <a:pt x="24645" y="503"/>
                  </a:lnTo>
                  <a:lnTo>
                    <a:pt x="24649" y="498"/>
                  </a:lnTo>
                  <a:lnTo>
                    <a:pt x="24666" y="486"/>
                  </a:lnTo>
                  <a:lnTo>
                    <a:pt x="24659" y="482"/>
                  </a:lnTo>
                  <a:lnTo>
                    <a:pt x="24659" y="486"/>
                  </a:lnTo>
                  <a:lnTo>
                    <a:pt x="24649" y="486"/>
                  </a:lnTo>
                  <a:lnTo>
                    <a:pt x="24645" y="503"/>
                  </a:lnTo>
                  <a:lnTo>
                    <a:pt x="24628" y="470"/>
                  </a:lnTo>
                  <a:lnTo>
                    <a:pt x="24633" y="470"/>
                  </a:lnTo>
                  <a:lnTo>
                    <a:pt x="24628" y="458"/>
                  </a:lnTo>
                  <a:lnTo>
                    <a:pt x="24595" y="408"/>
                  </a:lnTo>
                  <a:lnTo>
                    <a:pt x="24616" y="408"/>
                  </a:lnTo>
                  <a:lnTo>
                    <a:pt x="24616" y="415"/>
                  </a:lnTo>
                  <a:lnTo>
                    <a:pt x="24612" y="415"/>
                  </a:lnTo>
                  <a:lnTo>
                    <a:pt x="24612" y="425"/>
                  </a:lnTo>
                  <a:lnTo>
                    <a:pt x="24633" y="449"/>
                  </a:lnTo>
                  <a:lnTo>
                    <a:pt x="24633" y="458"/>
                  </a:lnTo>
                  <a:lnTo>
                    <a:pt x="24649" y="441"/>
                  </a:lnTo>
                  <a:lnTo>
                    <a:pt x="24649" y="449"/>
                  </a:lnTo>
                  <a:lnTo>
                    <a:pt x="24645" y="449"/>
                  </a:lnTo>
                  <a:lnTo>
                    <a:pt x="24649" y="458"/>
                  </a:lnTo>
                  <a:lnTo>
                    <a:pt x="24659" y="458"/>
                  </a:lnTo>
                  <a:lnTo>
                    <a:pt x="24697" y="470"/>
                  </a:lnTo>
                  <a:lnTo>
                    <a:pt x="24687" y="482"/>
                  </a:lnTo>
                  <a:lnTo>
                    <a:pt x="24697" y="486"/>
                  </a:lnTo>
                  <a:lnTo>
                    <a:pt x="24713" y="482"/>
                  </a:lnTo>
                  <a:lnTo>
                    <a:pt x="24725" y="503"/>
                  </a:lnTo>
                  <a:lnTo>
                    <a:pt x="24720" y="515"/>
                  </a:lnTo>
                  <a:lnTo>
                    <a:pt x="24725" y="526"/>
                  </a:lnTo>
                  <a:lnTo>
                    <a:pt x="24713" y="519"/>
                  </a:lnTo>
                  <a:lnTo>
                    <a:pt x="24713" y="526"/>
                  </a:lnTo>
                  <a:lnTo>
                    <a:pt x="24725" y="526"/>
                  </a:lnTo>
                  <a:lnTo>
                    <a:pt x="24720" y="543"/>
                  </a:lnTo>
                  <a:lnTo>
                    <a:pt x="24742" y="560"/>
                  </a:lnTo>
                  <a:lnTo>
                    <a:pt x="24734" y="581"/>
                  </a:lnTo>
                  <a:lnTo>
                    <a:pt x="24742" y="609"/>
                  </a:lnTo>
                  <a:lnTo>
                    <a:pt x="24772" y="626"/>
                  </a:lnTo>
                  <a:lnTo>
                    <a:pt x="24779" y="635"/>
                  </a:lnTo>
                  <a:lnTo>
                    <a:pt x="24796" y="647"/>
                  </a:lnTo>
                  <a:lnTo>
                    <a:pt x="24796" y="626"/>
                  </a:lnTo>
                  <a:lnTo>
                    <a:pt x="24789" y="614"/>
                  </a:lnTo>
                  <a:lnTo>
                    <a:pt x="24789" y="597"/>
                  </a:lnTo>
                  <a:lnTo>
                    <a:pt x="24779" y="581"/>
                  </a:lnTo>
                  <a:lnTo>
                    <a:pt x="24796" y="581"/>
                  </a:lnTo>
                  <a:lnTo>
                    <a:pt x="24805" y="597"/>
                  </a:lnTo>
                  <a:lnTo>
                    <a:pt x="24822" y="597"/>
                  </a:lnTo>
                  <a:lnTo>
                    <a:pt x="24805" y="609"/>
                  </a:lnTo>
                  <a:lnTo>
                    <a:pt x="24822" y="609"/>
                  </a:lnTo>
                  <a:lnTo>
                    <a:pt x="24822" y="647"/>
                  </a:lnTo>
                  <a:lnTo>
                    <a:pt x="24822" y="647"/>
                  </a:lnTo>
                  <a:lnTo>
                    <a:pt x="24822" y="647"/>
                  </a:lnTo>
                  <a:close/>
                  <a:moveTo>
                    <a:pt x="24796" y="569"/>
                  </a:moveTo>
                  <a:lnTo>
                    <a:pt x="24779" y="560"/>
                  </a:lnTo>
                  <a:lnTo>
                    <a:pt x="24779" y="543"/>
                  </a:lnTo>
                  <a:lnTo>
                    <a:pt x="24796" y="552"/>
                  </a:lnTo>
                  <a:lnTo>
                    <a:pt x="24796" y="569"/>
                  </a:lnTo>
                  <a:lnTo>
                    <a:pt x="24796" y="569"/>
                  </a:lnTo>
                  <a:lnTo>
                    <a:pt x="24796" y="569"/>
                  </a:lnTo>
                  <a:close/>
                  <a:moveTo>
                    <a:pt x="24768" y="609"/>
                  </a:moveTo>
                  <a:lnTo>
                    <a:pt x="24758" y="609"/>
                  </a:lnTo>
                  <a:lnTo>
                    <a:pt x="24772" y="597"/>
                  </a:lnTo>
                  <a:lnTo>
                    <a:pt x="24768" y="609"/>
                  </a:lnTo>
                  <a:lnTo>
                    <a:pt x="24768" y="609"/>
                  </a:lnTo>
                  <a:lnTo>
                    <a:pt x="24768" y="609"/>
                  </a:lnTo>
                  <a:close/>
                  <a:moveTo>
                    <a:pt x="24486" y="1306"/>
                  </a:moveTo>
                  <a:lnTo>
                    <a:pt x="24470" y="1330"/>
                  </a:lnTo>
                  <a:lnTo>
                    <a:pt x="24465" y="1351"/>
                  </a:lnTo>
                  <a:lnTo>
                    <a:pt x="24449" y="1391"/>
                  </a:lnTo>
                  <a:lnTo>
                    <a:pt x="24456" y="1374"/>
                  </a:lnTo>
                  <a:lnTo>
                    <a:pt x="24465" y="1391"/>
                  </a:lnTo>
                  <a:lnTo>
                    <a:pt x="24432" y="1400"/>
                  </a:lnTo>
                  <a:lnTo>
                    <a:pt x="24427" y="1417"/>
                  </a:lnTo>
                  <a:lnTo>
                    <a:pt x="24394" y="1429"/>
                  </a:lnTo>
                  <a:lnTo>
                    <a:pt x="24394" y="1441"/>
                  </a:lnTo>
                  <a:lnTo>
                    <a:pt x="24373" y="1457"/>
                  </a:lnTo>
                  <a:lnTo>
                    <a:pt x="24335" y="1462"/>
                  </a:lnTo>
                  <a:lnTo>
                    <a:pt x="24326" y="1462"/>
                  </a:lnTo>
                  <a:lnTo>
                    <a:pt x="24326" y="1445"/>
                  </a:lnTo>
                  <a:lnTo>
                    <a:pt x="24305" y="1457"/>
                  </a:lnTo>
                  <a:lnTo>
                    <a:pt x="24293" y="1457"/>
                  </a:lnTo>
                  <a:lnTo>
                    <a:pt x="24305" y="1457"/>
                  </a:lnTo>
                  <a:lnTo>
                    <a:pt x="24293" y="1445"/>
                  </a:lnTo>
                  <a:lnTo>
                    <a:pt x="24293" y="1457"/>
                  </a:lnTo>
                  <a:lnTo>
                    <a:pt x="24288" y="1445"/>
                  </a:lnTo>
                  <a:lnTo>
                    <a:pt x="24293" y="1445"/>
                  </a:lnTo>
                  <a:lnTo>
                    <a:pt x="24293" y="1441"/>
                  </a:lnTo>
                  <a:lnTo>
                    <a:pt x="24281" y="1429"/>
                  </a:lnTo>
                  <a:lnTo>
                    <a:pt x="24255" y="1441"/>
                  </a:lnTo>
                  <a:lnTo>
                    <a:pt x="24250" y="1417"/>
                  </a:lnTo>
                  <a:lnTo>
                    <a:pt x="24234" y="1417"/>
                  </a:lnTo>
                  <a:lnTo>
                    <a:pt x="24217" y="1424"/>
                  </a:lnTo>
                  <a:lnTo>
                    <a:pt x="24179" y="1417"/>
                  </a:lnTo>
                  <a:lnTo>
                    <a:pt x="24175" y="1417"/>
                  </a:lnTo>
                  <a:lnTo>
                    <a:pt x="24196" y="1391"/>
                  </a:lnTo>
                  <a:lnTo>
                    <a:pt x="24175" y="1408"/>
                  </a:lnTo>
                  <a:lnTo>
                    <a:pt x="24175" y="1400"/>
                  </a:lnTo>
                  <a:lnTo>
                    <a:pt x="24158" y="1400"/>
                  </a:lnTo>
                  <a:lnTo>
                    <a:pt x="24158" y="1384"/>
                  </a:lnTo>
                  <a:lnTo>
                    <a:pt x="24196" y="1374"/>
                  </a:lnTo>
                  <a:lnTo>
                    <a:pt x="24179" y="1367"/>
                  </a:lnTo>
                  <a:lnTo>
                    <a:pt x="24201" y="1351"/>
                  </a:lnTo>
                  <a:lnTo>
                    <a:pt x="24179" y="1363"/>
                  </a:lnTo>
                  <a:lnTo>
                    <a:pt x="24184" y="1334"/>
                  </a:lnTo>
                  <a:lnTo>
                    <a:pt x="24184" y="1334"/>
                  </a:lnTo>
                  <a:lnTo>
                    <a:pt x="24212" y="1351"/>
                  </a:lnTo>
                  <a:lnTo>
                    <a:pt x="24201" y="1334"/>
                  </a:lnTo>
                  <a:lnTo>
                    <a:pt x="24217" y="1334"/>
                  </a:lnTo>
                  <a:lnTo>
                    <a:pt x="24201" y="1334"/>
                  </a:lnTo>
                  <a:lnTo>
                    <a:pt x="24196" y="1318"/>
                  </a:lnTo>
                  <a:lnTo>
                    <a:pt x="24217" y="1297"/>
                  </a:lnTo>
                  <a:lnTo>
                    <a:pt x="24234" y="1313"/>
                  </a:lnTo>
                  <a:lnTo>
                    <a:pt x="24229" y="1289"/>
                  </a:lnTo>
                  <a:lnTo>
                    <a:pt x="24281" y="1252"/>
                  </a:lnTo>
                  <a:lnTo>
                    <a:pt x="24293" y="1223"/>
                  </a:lnTo>
                  <a:lnTo>
                    <a:pt x="24326" y="1219"/>
                  </a:lnTo>
                  <a:lnTo>
                    <a:pt x="24347" y="1202"/>
                  </a:lnTo>
                  <a:lnTo>
                    <a:pt x="24390" y="1186"/>
                  </a:lnTo>
                  <a:lnTo>
                    <a:pt x="24427" y="1145"/>
                  </a:lnTo>
                  <a:lnTo>
                    <a:pt x="24465" y="1124"/>
                  </a:lnTo>
                  <a:lnTo>
                    <a:pt x="24486" y="1096"/>
                  </a:lnTo>
                  <a:lnTo>
                    <a:pt x="24508" y="1030"/>
                  </a:lnTo>
                  <a:lnTo>
                    <a:pt x="24536" y="1018"/>
                  </a:lnTo>
                  <a:lnTo>
                    <a:pt x="24553" y="997"/>
                  </a:lnTo>
                  <a:lnTo>
                    <a:pt x="24557" y="947"/>
                  </a:lnTo>
                  <a:lnTo>
                    <a:pt x="24590" y="926"/>
                  </a:lnTo>
                  <a:lnTo>
                    <a:pt x="24590" y="919"/>
                  </a:lnTo>
                  <a:lnTo>
                    <a:pt x="24616" y="919"/>
                  </a:lnTo>
                  <a:lnTo>
                    <a:pt x="24595" y="919"/>
                  </a:lnTo>
                  <a:lnTo>
                    <a:pt x="24595" y="930"/>
                  </a:lnTo>
                  <a:lnTo>
                    <a:pt x="24607" y="947"/>
                  </a:lnTo>
                  <a:lnTo>
                    <a:pt x="24616" y="942"/>
                  </a:lnTo>
                  <a:lnTo>
                    <a:pt x="24628" y="985"/>
                  </a:lnTo>
                  <a:lnTo>
                    <a:pt x="24687" y="947"/>
                  </a:lnTo>
                  <a:lnTo>
                    <a:pt x="24687" y="959"/>
                  </a:lnTo>
                  <a:lnTo>
                    <a:pt x="24671" y="963"/>
                  </a:lnTo>
                  <a:lnTo>
                    <a:pt x="24671" y="975"/>
                  </a:lnTo>
                  <a:lnTo>
                    <a:pt x="24682" y="963"/>
                  </a:lnTo>
                  <a:lnTo>
                    <a:pt x="24671" y="985"/>
                  </a:lnTo>
                  <a:lnTo>
                    <a:pt x="24697" y="980"/>
                  </a:lnTo>
                  <a:lnTo>
                    <a:pt x="24682" y="980"/>
                  </a:lnTo>
                  <a:lnTo>
                    <a:pt x="24687" y="963"/>
                  </a:lnTo>
                  <a:lnTo>
                    <a:pt x="24713" y="963"/>
                  </a:lnTo>
                  <a:lnTo>
                    <a:pt x="24704" y="980"/>
                  </a:lnTo>
                  <a:lnTo>
                    <a:pt x="24687" y="980"/>
                  </a:lnTo>
                  <a:lnTo>
                    <a:pt x="24713" y="980"/>
                  </a:lnTo>
                  <a:lnTo>
                    <a:pt x="24687" y="997"/>
                  </a:lnTo>
                  <a:lnTo>
                    <a:pt x="24713" y="1030"/>
                  </a:lnTo>
                  <a:lnTo>
                    <a:pt x="24704" y="1034"/>
                  </a:lnTo>
                  <a:lnTo>
                    <a:pt x="24659" y="1091"/>
                  </a:lnTo>
                  <a:lnTo>
                    <a:pt x="24633" y="1129"/>
                  </a:lnTo>
                  <a:lnTo>
                    <a:pt x="24607" y="1152"/>
                  </a:lnTo>
                  <a:lnTo>
                    <a:pt x="24607" y="1186"/>
                  </a:lnTo>
                  <a:lnTo>
                    <a:pt x="24616" y="1197"/>
                  </a:lnTo>
                  <a:lnTo>
                    <a:pt x="24628" y="1207"/>
                  </a:lnTo>
                  <a:lnTo>
                    <a:pt x="24616" y="1207"/>
                  </a:lnTo>
                  <a:lnTo>
                    <a:pt x="24612" y="1202"/>
                  </a:lnTo>
                  <a:lnTo>
                    <a:pt x="24612" y="1207"/>
                  </a:lnTo>
                  <a:lnTo>
                    <a:pt x="24612" y="1207"/>
                  </a:lnTo>
                  <a:lnTo>
                    <a:pt x="24579" y="1197"/>
                  </a:lnTo>
                  <a:lnTo>
                    <a:pt x="24574" y="1207"/>
                  </a:lnTo>
                  <a:lnTo>
                    <a:pt x="24508" y="1235"/>
                  </a:lnTo>
                  <a:lnTo>
                    <a:pt x="24498" y="1256"/>
                  </a:lnTo>
                  <a:lnTo>
                    <a:pt x="24486" y="1306"/>
                  </a:lnTo>
                  <a:lnTo>
                    <a:pt x="24486" y="1306"/>
                  </a:lnTo>
                  <a:lnTo>
                    <a:pt x="24486" y="1306"/>
                  </a:lnTo>
                  <a:close/>
                  <a:moveTo>
                    <a:pt x="24671" y="959"/>
                  </a:moveTo>
                  <a:lnTo>
                    <a:pt x="24671" y="942"/>
                  </a:lnTo>
                  <a:lnTo>
                    <a:pt x="24687" y="930"/>
                  </a:lnTo>
                  <a:lnTo>
                    <a:pt x="24682" y="947"/>
                  </a:lnTo>
                  <a:lnTo>
                    <a:pt x="24671" y="959"/>
                  </a:lnTo>
                  <a:lnTo>
                    <a:pt x="24671" y="959"/>
                  </a:lnTo>
                  <a:lnTo>
                    <a:pt x="24671" y="959"/>
                  </a:lnTo>
                  <a:close/>
                  <a:moveTo>
                    <a:pt x="24704" y="980"/>
                  </a:moveTo>
                  <a:lnTo>
                    <a:pt x="24713" y="975"/>
                  </a:lnTo>
                  <a:lnTo>
                    <a:pt x="24713" y="980"/>
                  </a:lnTo>
                  <a:lnTo>
                    <a:pt x="24704" y="980"/>
                  </a:lnTo>
                  <a:lnTo>
                    <a:pt x="24704" y="980"/>
                  </a:lnTo>
                  <a:lnTo>
                    <a:pt x="24704" y="980"/>
                  </a:lnTo>
                  <a:close/>
                  <a:moveTo>
                    <a:pt x="92" y="1223"/>
                  </a:moveTo>
                  <a:lnTo>
                    <a:pt x="97" y="1219"/>
                  </a:lnTo>
                  <a:lnTo>
                    <a:pt x="97" y="1207"/>
                  </a:lnTo>
                  <a:lnTo>
                    <a:pt x="76" y="1202"/>
                  </a:lnTo>
                  <a:lnTo>
                    <a:pt x="97" y="1197"/>
                  </a:lnTo>
                  <a:lnTo>
                    <a:pt x="125" y="1202"/>
                  </a:lnTo>
                  <a:lnTo>
                    <a:pt x="97" y="1202"/>
                  </a:lnTo>
                  <a:lnTo>
                    <a:pt x="114" y="1223"/>
                  </a:lnTo>
                  <a:lnTo>
                    <a:pt x="97" y="1235"/>
                  </a:lnTo>
                  <a:lnTo>
                    <a:pt x="92" y="1223"/>
                  </a:lnTo>
                  <a:lnTo>
                    <a:pt x="92" y="1223"/>
                  </a:lnTo>
                  <a:lnTo>
                    <a:pt x="92" y="1223"/>
                  </a:lnTo>
                  <a:close/>
                  <a:moveTo>
                    <a:pt x="125" y="1252"/>
                  </a:moveTo>
                  <a:lnTo>
                    <a:pt x="125" y="1240"/>
                  </a:lnTo>
                  <a:lnTo>
                    <a:pt x="130" y="1240"/>
                  </a:lnTo>
                  <a:lnTo>
                    <a:pt x="125" y="1252"/>
                  </a:lnTo>
                  <a:lnTo>
                    <a:pt x="125" y="1252"/>
                  </a:lnTo>
                  <a:lnTo>
                    <a:pt x="125" y="1252"/>
                  </a:lnTo>
                  <a:close/>
                  <a:moveTo>
                    <a:pt x="24196" y="1318"/>
                  </a:moveTo>
                  <a:lnTo>
                    <a:pt x="24196" y="1334"/>
                  </a:lnTo>
                  <a:lnTo>
                    <a:pt x="24184" y="1330"/>
                  </a:lnTo>
                  <a:lnTo>
                    <a:pt x="24196" y="1318"/>
                  </a:lnTo>
                  <a:lnTo>
                    <a:pt x="24196" y="1318"/>
                  </a:lnTo>
                  <a:lnTo>
                    <a:pt x="24196" y="1318"/>
                  </a:lnTo>
                  <a:close/>
                  <a:moveTo>
                    <a:pt x="24179" y="1367"/>
                  </a:moveTo>
                  <a:lnTo>
                    <a:pt x="24179" y="1374"/>
                  </a:lnTo>
                  <a:lnTo>
                    <a:pt x="24163" y="1374"/>
                  </a:lnTo>
                  <a:lnTo>
                    <a:pt x="24163" y="1367"/>
                  </a:lnTo>
                  <a:lnTo>
                    <a:pt x="24179" y="1367"/>
                  </a:lnTo>
                  <a:lnTo>
                    <a:pt x="24179" y="1367"/>
                  </a:lnTo>
                  <a:lnTo>
                    <a:pt x="24179" y="1367"/>
                  </a:lnTo>
                  <a:close/>
                  <a:moveTo>
                    <a:pt x="24267" y="1462"/>
                  </a:moveTo>
                  <a:lnTo>
                    <a:pt x="24281" y="1478"/>
                  </a:lnTo>
                  <a:lnTo>
                    <a:pt x="24271" y="1486"/>
                  </a:lnTo>
                  <a:lnTo>
                    <a:pt x="24281" y="1486"/>
                  </a:lnTo>
                  <a:lnTo>
                    <a:pt x="24281" y="1495"/>
                  </a:lnTo>
                  <a:lnTo>
                    <a:pt x="24255" y="1511"/>
                  </a:lnTo>
                  <a:lnTo>
                    <a:pt x="24250" y="1502"/>
                  </a:lnTo>
                  <a:lnTo>
                    <a:pt x="24238" y="1511"/>
                  </a:lnTo>
                  <a:lnTo>
                    <a:pt x="24250" y="1511"/>
                  </a:lnTo>
                  <a:lnTo>
                    <a:pt x="24234" y="1519"/>
                  </a:lnTo>
                  <a:lnTo>
                    <a:pt x="24255" y="1478"/>
                  </a:lnTo>
                  <a:lnTo>
                    <a:pt x="24250" y="1462"/>
                  </a:lnTo>
                  <a:lnTo>
                    <a:pt x="24267" y="1462"/>
                  </a:lnTo>
                  <a:lnTo>
                    <a:pt x="24267" y="1462"/>
                  </a:lnTo>
                  <a:lnTo>
                    <a:pt x="24267" y="1462"/>
                  </a:lnTo>
                  <a:close/>
                  <a:moveTo>
                    <a:pt x="25027" y="1734"/>
                  </a:moveTo>
                  <a:lnTo>
                    <a:pt x="25023" y="1741"/>
                  </a:lnTo>
                  <a:lnTo>
                    <a:pt x="25027" y="1734"/>
                  </a:lnTo>
                  <a:lnTo>
                    <a:pt x="25027" y="1734"/>
                  </a:lnTo>
                  <a:lnTo>
                    <a:pt x="25027" y="1734"/>
                  </a:lnTo>
                  <a:lnTo>
                    <a:pt x="25027" y="1734"/>
                  </a:lnTo>
                  <a:close/>
                  <a:moveTo>
                    <a:pt x="24146" y="1816"/>
                  </a:moveTo>
                  <a:lnTo>
                    <a:pt x="24130" y="1833"/>
                  </a:lnTo>
                  <a:lnTo>
                    <a:pt x="24142" y="1849"/>
                  </a:lnTo>
                  <a:lnTo>
                    <a:pt x="24120" y="1845"/>
                  </a:lnTo>
                  <a:lnTo>
                    <a:pt x="24130" y="1828"/>
                  </a:lnTo>
                  <a:lnTo>
                    <a:pt x="24130" y="1816"/>
                  </a:lnTo>
                  <a:lnTo>
                    <a:pt x="24146" y="1816"/>
                  </a:lnTo>
                  <a:lnTo>
                    <a:pt x="24146" y="1816"/>
                  </a:lnTo>
                  <a:lnTo>
                    <a:pt x="24146" y="1816"/>
                  </a:lnTo>
                  <a:close/>
                  <a:moveTo>
                    <a:pt x="24142" y="1849"/>
                  </a:moveTo>
                  <a:lnTo>
                    <a:pt x="24120" y="1849"/>
                  </a:lnTo>
                  <a:lnTo>
                    <a:pt x="24142" y="1849"/>
                  </a:lnTo>
                  <a:lnTo>
                    <a:pt x="24142" y="1849"/>
                  </a:lnTo>
                  <a:lnTo>
                    <a:pt x="24142" y="1849"/>
                  </a:lnTo>
                  <a:lnTo>
                    <a:pt x="24142" y="1849"/>
                  </a:lnTo>
                  <a:close/>
                  <a:moveTo>
                    <a:pt x="24347" y="2000"/>
                  </a:moveTo>
                  <a:lnTo>
                    <a:pt x="24347" y="2012"/>
                  </a:lnTo>
                  <a:lnTo>
                    <a:pt x="24335" y="2012"/>
                  </a:lnTo>
                  <a:lnTo>
                    <a:pt x="24347" y="2000"/>
                  </a:lnTo>
                  <a:lnTo>
                    <a:pt x="24347" y="2000"/>
                  </a:lnTo>
                  <a:lnTo>
                    <a:pt x="24347" y="200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8" name="Freeform 529">
              <a:extLst>
                <a:ext uri="{FF2B5EF4-FFF2-40B4-BE49-F238E27FC236}">
                  <a16:creationId xmlns:a16="http://schemas.microsoft.com/office/drawing/2014/main" id="{80A63C03-A127-41E2-97FA-B7BC6416132D}"/>
                </a:ext>
              </a:extLst>
            </p:cNvPr>
            <p:cNvSpPr>
              <a:spLocks/>
            </p:cNvSpPr>
            <p:nvPr/>
          </p:nvSpPr>
          <p:spPr bwMode="gray">
            <a:xfrm>
              <a:off x="12304060" y="4573603"/>
              <a:ext cx="194741" cy="208161"/>
            </a:xfrm>
            <a:custGeom>
              <a:avLst/>
              <a:gdLst>
                <a:gd name="T0" fmla="*/ 343 w 595"/>
                <a:gd name="T1" fmla="*/ 449 h 636"/>
                <a:gd name="T2" fmla="*/ 189 w 595"/>
                <a:gd name="T3" fmla="*/ 359 h 636"/>
                <a:gd name="T4" fmla="*/ 118 w 595"/>
                <a:gd name="T5" fmla="*/ 343 h 636"/>
                <a:gd name="T6" fmla="*/ 50 w 595"/>
                <a:gd name="T7" fmla="*/ 289 h 636"/>
                <a:gd name="T8" fmla="*/ 0 w 595"/>
                <a:gd name="T9" fmla="*/ 227 h 636"/>
                <a:gd name="T10" fmla="*/ 33 w 595"/>
                <a:gd name="T11" fmla="*/ 100 h 636"/>
                <a:gd name="T12" fmla="*/ 71 w 595"/>
                <a:gd name="T13" fmla="*/ 29 h 636"/>
                <a:gd name="T14" fmla="*/ 255 w 595"/>
                <a:gd name="T15" fmla="*/ 12 h 636"/>
                <a:gd name="T16" fmla="*/ 319 w 595"/>
                <a:gd name="T17" fmla="*/ 67 h 636"/>
                <a:gd name="T18" fmla="*/ 343 w 595"/>
                <a:gd name="T19" fmla="*/ 161 h 636"/>
                <a:gd name="T20" fmla="*/ 336 w 595"/>
                <a:gd name="T21" fmla="*/ 215 h 636"/>
                <a:gd name="T22" fmla="*/ 428 w 595"/>
                <a:gd name="T23" fmla="*/ 227 h 636"/>
                <a:gd name="T24" fmla="*/ 461 w 595"/>
                <a:gd name="T25" fmla="*/ 227 h 636"/>
                <a:gd name="T26" fmla="*/ 499 w 595"/>
                <a:gd name="T27" fmla="*/ 255 h 636"/>
                <a:gd name="T28" fmla="*/ 515 w 595"/>
                <a:gd name="T29" fmla="*/ 359 h 636"/>
                <a:gd name="T30" fmla="*/ 569 w 595"/>
                <a:gd name="T31" fmla="*/ 343 h 636"/>
                <a:gd name="T32" fmla="*/ 591 w 595"/>
                <a:gd name="T33" fmla="*/ 364 h 636"/>
                <a:gd name="T34" fmla="*/ 581 w 595"/>
                <a:gd name="T35" fmla="*/ 437 h 636"/>
                <a:gd name="T36" fmla="*/ 569 w 595"/>
                <a:gd name="T37" fmla="*/ 470 h 636"/>
                <a:gd name="T38" fmla="*/ 569 w 595"/>
                <a:gd name="T39" fmla="*/ 548 h 636"/>
                <a:gd name="T40" fmla="*/ 515 w 595"/>
                <a:gd name="T41" fmla="*/ 586 h 636"/>
                <a:gd name="T42" fmla="*/ 503 w 595"/>
                <a:gd name="T43" fmla="*/ 615 h 636"/>
                <a:gd name="T44" fmla="*/ 482 w 595"/>
                <a:gd name="T45" fmla="*/ 615 h 636"/>
                <a:gd name="T46" fmla="*/ 444 w 595"/>
                <a:gd name="T47" fmla="*/ 636 h 636"/>
                <a:gd name="T48" fmla="*/ 418 w 595"/>
                <a:gd name="T49" fmla="*/ 624 h 636"/>
                <a:gd name="T50" fmla="*/ 397 w 595"/>
                <a:gd name="T51" fmla="*/ 624 h 636"/>
                <a:gd name="T52" fmla="*/ 288 w 595"/>
                <a:gd name="T53" fmla="*/ 615 h 636"/>
                <a:gd name="T54" fmla="*/ 319 w 595"/>
                <a:gd name="T55" fmla="*/ 565 h 636"/>
                <a:gd name="T56" fmla="*/ 343 w 595"/>
                <a:gd name="T57" fmla="*/ 508 h 636"/>
                <a:gd name="T58" fmla="*/ 343 w 595"/>
                <a:gd name="T59" fmla="*/ 492 h 636"/>
                <a:gd name="T60" fmla="*/ 364 w 595"/>
                <a:gd name="T61" fmla="*/ 470 h 636"/>
                <a:gd name="T62" fmla="*/ 357 w 595"/>
                <a:gd name="T63" fmla="*/ 45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5" h="636">
                  <a:moveTo>
                    <a:pt x="357" y="459"/>
                  </a:moveTo>
                  <a:lnTo>
                    <a:pt x="343" y="449"/>
                  </a:lnTo>
                  <a:lnTo>
                    <a:pt x="272" y="421"/>
                  </a:lnTo>
                  <a:lnTo>
                    <a:pt x="189" y="359"/>
                  </a:lnTo>
                  <a:lnTo>
                    <a:pt x="173" y="359"/>
                  </a:lnTo>
                  <a:lnTo>
                    <a:pt x="118" y="343"/>
                  </a:lnTo>
                  <a:lnTo>
                    <a:pt x="109" y="326"/>
                  </a:lnTo>
                  <a:lnTo>
                    <a:pt x="50" y="289"/>
                  </a:lnTo>
                  <a:lnTo>
                    <a:pt x="33" y="248"/>
                  </a:lnTo>
                  <a:lnTo>
                    <a:pt x="0" y="227"/>
                  </a:lnTo>
                  <a:lnTo>
                    <a:pt x="33" y="140"/>
                  </a:lnTo>
                  <a:lnTo>
                    <a:pt x="33" y="100"/>
                  </a:lnTo>
                  <a:lnTo>
                    <a:pt x="54" y="67"/>
                  </a:lnTo>
                  <a:lnTo>
                    <a:pt x="71" y="29"/>
                  </a:lnTo>
                  <a:lnTo>
                    <a:pt x="189" y="0"/>
                  </a:lnTo>
                  <a:lnTo>
                    <a:pt x="255" y="12"/>
                  </a:lnTo>
                  <a:lnTo>
                    <a:pt x="319" y="45"/>
                  </a:lnTo>
                  <a:lnTo>
                    <a:pt x="319" y="67"/>
                  </a:lnTo>
                  <a:lnTo>
                    <a:pt x="343" y="128"/>
                  </a:lnTo>
                  <a:lnTo>
                    <a:pt x="343" y="161"/>
                  </a:lnTo>
                  <a:lnTo>
                    <a:pt x="336" y="173"/>
                  </a:lnTo>
                  <a:lnTo>
                    <a:pt x="336" y="215"/>
                  </a:lnTo>
                  <a:lnTo>
                    <a:pt x="411" y="227"/>
                  </a:lnTo>
                  <a:lnTo>
                    <a:pt x="428" y="227"/>
                  </a:lnTo>
                  <a:lnTo>
                    <a:pt x="444" y="211"/>
                  </a:lnTo>
                  <a:lnTo>
                    <a:pt x="461" y="227"/>
                  </a:lnTo>
                  <a:lnTo>
                    <a:pt x="482" y="232"/>
                  </a:lnTo>
                  <a:lnTo>
                    <a:pt x="499" y="255"/>
                  </a:lnTo>
                  <a:lnTo>
                    <a:pt x="499" y="272"/>
                  </a:lnTo>
                  <a:lnTo>
                    <a:pt x="515" y="359"/>
                  </a:lnTo>
                  <a:lnTo>
                    <a:pt x="541" y="359"/>
                  </a:lnTo>
                  <a:lnTo>
                    <a:pt x="569" y="343"/>
                  </a:lnTo>
                  <a:lnTo>
                    <a:pt x="595" y="364"/>
                  </a:lnTo>
                  <a:lnTo>
                    <a:pt x="591" y="364"/>
                  </a:lnTo>
                  <a:lnTo>
                    <a:pt x="595" y="381"/>
                  </a:lnTo>
                  <a:lnTo>
                    <a:pt x="581" y="437"/>
                  </a:lnTo>
                  <a:lnTo>
                    <a:pt x="581" y="449"/>
                  </a:lnTo>
                  <a:lnTo>
                    <a:pt x="569" y="470"/>
                  </a:lnTo>
                  <a:lnTo>
                    <a:pt x="574" y="475"/>
                  </a:lnTo>
                  <a:lnTo>
                    <a:pt x="569" y="548"/>
                  </a:lnTo>
                  <a:lnTo>
                    <a:pt x="541" y="570"/>
                  </a:lnTo>
                  <a:lnTo>
                    <a:pt x="515" y="586"/>
                  </a:lnTo>
                  <a:lnTo>
                    <a:pt x="503" y="598"/>
                  </a:lnTo>
                  <a:lnTo>
                    <a:pt x="503" y="615"/>
                  </a:lnTo>
                  <a:lnTo>
                    <a:pt x="489" y="619"/>
                  </a:lnTo>
                  <a:lnTo>
                    <a:pt x="482" y="615"/>
                  </a:lnTo>
                  <a:lnTo>
                    <a:pt x="465" y="615"/>
                  </a:lnTo>
                  <a:lnTo>
                    <a:pt x="444" y="636"/>
                  </a:lnTo>
                  <a:lnTo>
                    <a:pt x="435" y="624"/>
                  </a:lnTo>
                  <a:lnTo>
                    <a:pt x="418" y="624"/>
                  </a:lnTo>
                  <a:lnTo>
                    <a:pt x="411" y="619"/>
                  </a:lnTo>
                  <a:lnTo>
                    <a:pt x="397" y="624"/>
                  </a:lnTo>
                  <a:lnTo>
                    <a:pt x="352" y="615"/>
                  </a:lnTo>
                  <a:lnTo>
                    <a:pt x="288" y="615"/>
                  </a:lnTo>
                  <a:lnTo>
                    <a:pt x="288" y="603"/>
                  </a:lnTo>
                  <a:lnTo>
                    <a:pt x="319" y="565"/>
                  </a:lnTo>
                  <a:lnTo>
                    <a:pt x="319" y="525"/>
                  </a:lnTo>
                  <a:lnTo>
                    <a:pt x="343" y="508"/>
                  </a:lnTo>
                  <a:lnTo>
                    <a:pt x="343" y="508"/>
                  </a:lnTo>
                  <a:lnTo>
                    <a:pt x="343" y="492"/>
                  </a:lnTo>
                  <a:lnTo>
                    <a:pt x="364" y="475"/>
                  </a:lnTo>
                  <a:lnTo>
                    <a:pt x="364" y="470"/>
                  </a:lnTo>
                  <a:lnTo>
                    <a:pt x="357" y="459"/>
                  </a:lnTo>
                  <a:lnTo>
                    <a:pt x="357" y="459"/>
                  </a:lnTo>
                  <a:lnTo>
                    <a:pt x="357" y="45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9" name="Freeform 530">
              <a:extLst>
                <a:ext uri="{FF2B5EF4-FFF2-40B4-BE49-F238E27FC236}">
                  <a16:creationId xmlns:a16="http://schemas.microsoft.com/office/drawing/2014/main" id="{9CA5617E-E28A-46DC-9489-988309DD368E}"/>
                </a:ext>
              </a:extLst>
            </p:cNvPr>
            <p:cNvSpPr>
              <a:spLocks/>
            </p:cNvSpPr>
            <p:nvPr/>
          </p:nvSpPr>
          <p:spPr bwMode="gray">
            <a:xfrm>
              <a:off x="11875629" y="4116042"/>
              <a:ext cx="292276" cy="435305"/>
            </a:xfrm>
            <a:custGeom>
              <a:avLst/>
              <a:gdLst>
                <a:gd name="T0" fmla="*/ 872 w 893"/>
                <a:gd name="T1" fmla="*/ 926 h 1330"/>
                <a:gd name="T2" fmla="*/ 877 w 893"/>
                <a:gd name="T3" fmla="*/ 1025 h 1330"/>
                <a:gd name="T4" fmla="*/ 839 w 893"/>
                <a:gd name="T5" fmla="*/ 1063 h 1330"/>
                <a:gd name="T6" fmla="*/ 844 w 893"/>
                <a:gd name="T7" fmla="*/ 1108 h 1330"/>
                <a:gd name="T8" fmla="*/ 872 w 893"/>
                <a:gd name="T9" fmla="*/ 1169 h 1330"/>
                <a:gd name="T10" fmla="*/ 872 w 893"/>
                <a:gd name="T11" fmla="*/ 1202 h 1330"/>
                <a:gd name="T12" fmla="*/ 834 w 893"/>
                <a:gd name="T13" fmla="*/ 1259 h 1330"/>
                <a:gd name="T14" fmla="*/ 806 w 893"/>
                <a:gd name="T15" fmla="*/ 1280 h 1330"/>
                <a:gd name="T16" fmla="*/ 768 w 893"/>
                <a:gd name="T17" fmla="*/ 1330 h 1330"/>
                <a:gd name="T18" fmla="*/ 671 w 893"/>
                <a:gd name="T19" fmla="*/ 1242 h 1330"/>
                <a:gd name="T20" fmla="*/ 515 w 893"/>
                <a:gd name="T21" fmla="*/ 1153 h 1330"/>
                <a:gd name="T22" fmla="*/ 388 w 893"/>
                <a:gd name="T23" fmla="*/ 1058 h 1330"/>
                <a:gd name="T24" fmla="*/ 350 w 893"/>
                <a:gd name="T25" fmla="*/ 1004 h 1330"/>
                <a:gd name="T26" fmla="*/ 360 w 893"/>
                <a:gd name="T27" fmla="*/ 964 h 1330"/>
                <a:gd name="T28" fmla="*/ 300 w 893"/>
                <a:gd name="T29" fmla="*/ 869 h 1330"/>
                <a:gd name="T30" fmla="*/ 263 w 893"/>
                <a:gd name="T31" fmla="*/ 782 h 1330"/>
                <a:gd name="T32" fmla="*/ 194 w 893"/>
                <a:gd name="T33" fmla="*/ 647 h 1330"/>
                <a:gd name="T34" fmla="*/ 145 w 893"/>
                <a:gd name="T35" fmla="*/ 565 h 1330"/>
                <a:gd name="T36" fmla="*/ 17 w 893"/>
                <a:gd name="T37" fmla="*/ 432 h 1330"/>
                <a:gd name="T38" fmla="*/ 38 w 893"/>
                <a:gd name="T39" fmla="*/ 399 h 1330"/>
                <a:gd name="T40" fmla="*/ 26 w 893"/>
                <a:gd name="T41" fmla="*/ 354 h 1330"/>
                <a:gd name="T42" fmla="*/ 38 w 893"/>
                <a:gd name="T43" fmla="*/ 267 h 1330"/>
                <a:gd name="T44" fmla="*/ 86 w 893"/>
                <a:gd name="T45" fmla="*/ 276 h 1330"/>
                <a:gd name="T46" fmla="*/ 64 w 893"/>
                <a:gd name="T47" fmla="*/ 300 h 1330"/>
                <a:gd name="T48" fmla="*/ 69 w 893"/>
                <a:gd name="T49" fmla="*/ 317 h 1330"/>
                <a:gd name="T50" fmla="*/ 123 w 893"/>
                <a:gd name="T51" fmla="*/ 317 h 1330"/>
                <a:gd name="T52" fmla="*/ 178 w 893"/>
                <a:gd name="T53" fmla="*/ 333 h 1330"/>
                <a:gd name="T54" fmla="*/ 211 w 893"/>
                <a:gd name="T55" fmla="*/ 267 h 1330"/>
                <a:gd name="T56" fmla="*/ 225 w 893"/>
                <a:gd name="T57" fmla="*/ 234 h 1330"/>
                <a:gd name="T58" fmla="*/ 371 w 893"/>
                <a:gd name="T59" fmla="*/ 149 h 1330"/>
                <a:gd name="T60" fmla="*/ 430 w 893"/>
                <a:gd name="T61" fmla="*/ 61 h 1330"/>
                <a:gd name="T62" fmla="*/ 404 w 893"/>
                <a:gd name="T63" fmla="*/ 5 h 1330"/>
                <a:gd name="T64" fmla="*/ 456 w 893"/>
                <a:gd name="T65" fmla="*/ 12 h 1330"/>
                <a:gd name="T66" fmla="*/ 494 w 893"/>
                <a:gd name="T67" fmla="*/ 38 h 1330"/>
                <a:gd name="T68" fmla="*/ 553 w 893"/>
                <a:gd name="T69" fmla="*/ 111 h 1330"/>
                <a:gd name="T70" fmla="*/ 574 w 893"/>
                <a:gd name="T71" fmla="*/ 123 h 1330"/>
                <a:gd name="T72" fmla="*/ 574 w 893"/>
                <a:gd name="T73" fmla="*/ 165 h 1330"/>
                <a:gd name="T74" fmla="*/ 619 w 893"/>
                <a:gd name="T75" fmla="*/ 165 h 1330"/>
                <a:gd name="T76" fmla="*/ 678 w 893"/>
                <a:gd name="T77" fmla="*/ 149 h 1330"/>
                <a:gd name="T78" fmla="*/ 737 w 893"/>
                <a:gd name="T79" fmla="*/ 156 h 1330"/>
                <a:gd name="T80" fmla="*/ 789 w 893"/>
                <a:gd name="T81" fmla="*/ 194 h 1330"/>
                <a:gd name="T82" fmla="*/ 780 w 893"/>
                <a:gd name="T83" fmla="*/ 267 h 1330"/>
                <a:gd name="T84" fmla="*/ 785 w 893"/>
                <a:gd name="T85" fmla="*/ 305 h 1330"/>
                <a:gd name="T86" fmla="*/ 730 w 893"/>
                <a:gd name="T87" fmla="*/ 305 h 1330"/>
                <a:gd name="T88" fmla="*/ 603 w 893"/>
                <a:gd name="T89" fmla="*/ 359 h 1330"/>
                <a:gd name="T90" fmla="*/ 574 w 893"/>
                <a:gd name="T91" fmla="*/ 454 h 1330"/>
                <a:gd name="T92" fmla="*/ 537 w 893"/>
                <a:gd name="T93" fmla="*/ 522 h 1330"/>
                <a:gd name="T94" fmla="*/ 537 w 893"/>
                <a:gd name="T95" fmla="*/ 555 h 1330"/>
                <a:gd name="T96" fmla="*/ 553 w 893"/>
                <a:gd name="T97" fmla="*/ 598 h 1330"/>
                <a:gd name="T98" fmla="*/ 570 w 893"/>
                <a:gd name="T99" fmla="*/ 671 h 1330"/>
                <a:gd name="T100" fmla="*/ 709 w 893"/>
                <a:gd name="T101" fmla="*/ 720 h 1330"/>
                <a:gd name="T102" fmla="*/ 754 w 893"/>
                <a:gd name="T103" fmla="*/ 787 h 1330"/>
                <a:gd name="T104" fmla="*/ 801 w 893"/>
                <a:gd name="T105" fmla="*/ 782 h 1330"/>
                <a:gd name="T106" fmla="*/ 834 w 893"/>
                <a:gd name="T107" fmla="*/ 787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3" h="1330">
                  <a:moveTo>
                    <a:pt x="834" y="787"/>
                  </a:moveTo>
                  <a:lnTo>
                    <a:pt x="893" y="898"/>
                  </a:lnTo>
                  <a:lnTo>
                    <a:pt x="872" y="926"/>
                  </a:lnTo>
                  <a:lnTo>
                    <a:pt x="872" y="971"/>
                  </a:lnTo>
                  <a:lnTo>
                    <a:pt x="860" y="987"/>
                  </a:lnTo>
                  <a:lnTo>
                    <a:pt x="877" y="1025"/>
                  </a:lnTo>
                  <a:lnTo>
                    <a:pt x="872" y="1025"/>
                  </a:lnTo>
                  <a:lnTo>
                    <a:pt x="872" y="1037"/>
                  </a:lnTo>
                  <a:lnTo>
                    <a:pt x="839" y="1063"/>
                  </a:lnTo>
                  <a:lnTo>
                    <a:pt x="839" y="1082"/>
                  </a:lnTo>
                  <a:lnTo>
                    <a:pt x="856" y="1098"/>
                  </a:lnTo>
                  <a:lnTo>
                    <a:pt x="844" y="1108"/>
                  </a:lnTo>
                  <a:lnTo>
                    <a:pt x="839" y="1131"/>
                  </a:lnTo>
                  <a:lnTo>
                    <a:pt x="856" y="1169"/>
                  </a:lnTo>
                  <a:lnTo>
                    <a:pt x="872" y="1169"/>
                  </a:lnTo>
                  <a:lnTo>
                    <a:pt x="877" y="1174"/>
                  </a:lnTo>
                  <a:lnTo>
                    <a:pt x="860" y="1191"/>
                  </a:lnTo>
                  <a:lnTo>
                    <a:pt x="872" y="1202"/>
                  </a:lnTo>
                  <a:lnTo>
                    <a:pt x="823" y="1247"/>
                  </a:lnTo>
                  <a:lnTo>
                    <a:pt x="823" y="1247"/>
                  </a:lnTo>
                  <a:lnTo>
                    <a:pt x="834" y="1259"/>
                  </a:lnTo>
                  <a:lnTo>
                    <a:pt x="834" y="1264"/>
                  </a:lnTo>
                  <a:lnTo>
                    <a:pt x="823" y="1280"/>
                  </a:lnTo>
                  <a:lnTo>
                    <a:pt x="806" y="1280"/>
                  </a:lnTo>
                  <a:lnTo>
                    <a:pt x="818" y="1302"/>
                  </a:lnTo>
                  <a:lnTo>
                    <a:pt x="801" y="1318"/>
                  </a:lnTo>
                  <a:lnTo>
                    <a:pt x="768" y="1330"/>
                  </a:lnTo>
                  <a:lnTo>
                    <a:pt x="709" y="1280"/>
                  </a:lnTo>
                  <a:lnTo>
                    <a:pt x="693" y="1247"/>
                  </a:lnTo>
                  <a:lnTo>
                    <a:pt x="671" y="1242"/>
                  </a:lnTo>
                  <a:lnTo>
                    <a:pt x="624" y="1207"/>
                  </a:lnTo>
                  <a:lnTo>
                    <a:pt x="532" y="1169"/>
                  </a:lnTo>
                  <a:lnTo>
                    <a:pt x="515" y="1153"/>
                  </a:lnTo>
                  <a:lnTo>
                    <a:pt x="447" y="1115"/>
                  </a:lnTo>
                  <a:lnTo>
                    <a:pt x="409" y="1075"/>
                  </a:lnTo>
                  <a:lnTo>
                    <a:pt x="388" y="1058"/>
                  </a:lnTo>
                  <a:lnTo>
                    <a:pt x="360" y="1020"/>
                  </a:lnTo>
                  <a:lnTo>
                    <a:pt x="355" y="1004"/>
                  </a:lnTo>
                  <a:lnTo>
                    <a:pt x="350" y="1004"/>
                  </a:lnTo>
                  <a:lnTo>
                    <a:pt x="355" y="997"/>
                  </a:lnTo>
                  <a:lnTo>
                    <a:pt x="360" y="997"/>
                  </a:lnTo>
                  <a:lnTo>
                    <a:pt x="360" y="964"/>
                  </a:lnTo>
                  <a:lnTo>
                    <a:pt x="350" y="942"/>
                  </a:lnTo>
                  <a:lnTo>
                    <a:pt x="322" y="893"/>
                  </a:lnTo>
                  <a:lnTo>
                    <a:pt x="300" y="869"/>
                  </a:lnTo>
                  <a:lnTo>
                    <a:pt x="296" y="836"/>
                  </a:lnTo>
                  <a:lnTo>
                    <a:pt x="263" y="815"/>
                  </a:lnTo>
                  <a:lnTo>
                    <a:pt x="263" y="782"/>
                  </a:lnTo>
                  <a:lnTo>
                    <a:pt x="232" y="742"/>
                  </a:lnTo>
                  <a:lnTo>
                    <a:pt x="199" y="654"/>
                  </a:lnTo>
                  <a:lnTo>
                    <a:pt x="194" y="647"/>
                  </a:lnTo>
                  <a:lnTo>
                    <a:pt x="189" y="614"/>
                  </a:lnTo>
                  <a:lnTo>
                    <a:pt x="173" y="593"/>
                  </a:lnTo>
                  <a:lnTo>
                    <a:pt x="145" y="565"/>
                  </a:lnTo>
                  <a:lnTo>
                    <a:pt x="119" y="503"/>
                  </a:lnTo>
                  <a:lnTo>
                    <a:pt x="102" y="482"/>
                  </a:lnTo>
                  <a:lnTo>
                    <a:pt x="17" y="432"/>
                  </a:lnTo>
                  <a:lnTo>
                    <a:pt x="17" y="416"/>
                  </a:lnTo>
                  <a:lnTo>
                    <a:pt x="31" y="416"/>
                  </a:lnTo>
                  <a:lnTo>
                    <a:pt x="38" y="399"/>
                  </a:lnTo>
                  <a:lnTo>
                    <a:pt x="31" y="387"/>
                  </a:lnTo>
                  <a:lnTo>
                    <a:pt x="17" y="371"/>
                  </a:lnTo>
                  <a:lnTo>
                    <a:pt x="26" y="354"/>
                  </a:lnTo>
                  <a:lnTo>
                    <a:pt x="0" y="333"/>
                  </a:lnTo>
                  <a:lnTo>
                    <a:pt x="10" y="305"/>
                  </a:lnTo>
                  <a:lnTo>
                    <a:pt x="38" y="267"/>
                  </a:lnTo>
                  <a:lnTo>
                    <a:pt x="81" y="234"/>
                  </a:lnTo>
                  <a:lnTo>
                    <a:pt x="81" y="243"/>
                  </a:lnTo>
                  <a:lnTo>
                    <a:pt x="86" y="276"/>
                  </a:lnTo>
                  <a:lnTo>
                    <a:pt x="81" y="283"/>
                  </a:lnTo>
                  <a:lnTo>
                    <a:pt x="64" y="283"/>
                  </a:lnTo>
                  <a:lnTo>
                    <a:pt x="64" y="300"/>
                  </a:lnTo>
                  <a:lnTo>
                    <a:pt x="81" y="300"/>
                  </a:lnTo>
                  <a:lnTo>
                    <a:pt x="64" y="317"/>
                  </a:lnTo>
                  <a:lnTo>
                    <a:pt x="69" y="317"/>
                  </a:lnTo>
                  <a:lnTo>
                    <a:pt x="86" y="305"/>
                  </a:lnTo>
                  <a:lnTo>
                    <a:pt x="107" y="317"/>
                  </a:lnTo>
                  <a:lnTo>
                    <a:pt x="123" y="317"/>
                  </a:lnTo>
                  <a:lnTo>
                    <a:pt x="145" y="354"/>
                  </a:lnTo>
                  <a:lnTo>
                    <a:pt x="161" y="354"/>
                  </a:lnTo>
                  <a:lnTo>
                    <a:pt x="178" y="333"/>
                  </a:lnTo>
                  <a:lnTo>
                    <a:pt x="194" y="321"/>
                  </a:lnTo>
                  <a:lnTo>
                    <a:pt x="194" y="305"/>
                  </a:lnTo>
                  <a:lnTo>
                    <a:pt x="211" y="267"/>
                  </a:lnTo>
                  <a:lnTo>
                    <a:pt x="215" y="243"/>
                  </a:lnTo>
                  <a:lnTo>
                    <a:pt x="225" y="250"/>
                  </a:lnTo>
                  <a:lnTo>
                    <a:pt x="225" y="234"/>
                  </a:lnTo>
                  <a:lnTo>
                    <a:pt x="249" y="210"/>
                  </a:lnTo>
                  <a:lnTo>
                    <a:pt x="334" y="177"/>
                  </a:lnTo>
                  <a:lnTo>
                    <a:pt x="371" y="149"/>
                  </a:lnTo>
                  <a:lnTo>
                    <a:pt x="409" y="111"/>
                  </a:lnTo>
                  <a:lnTo>
                    <a:pt x="426" y="61"/>
                  </a:lnTo>
                  <a:lnTo>
                    <a:pt x="430" y="61"/>
                  </a:lnTo>
                  <a:lnTo>
                    <a:pt x="430" y="45"/>
                  </a:lnTo>
                  <a:lnTo>
                    <a:pt x="430" y="38"/>
                  </a:lnTo>
                  <a:lnTo>
                    <a:pt x="404" y="5"/>
                  </a:lnTo>
                  <a:lnTo>
                    <a:pt x="430" y="5"/>
                  </a:lnTo>
                  <a:lnTo>
                    <a:pt x="430" y="0"/>
                  </a:lnTo>
                  <a:lnTo>
                    <a:pt x="456" y="12"/>
                  </a:lnTo>
                  <a:lnTo>
                    <a:pt x="463" y="5"/>
                  </a:lnTo>
                  <a:lnTo>
                    <a:pt x="468" y="21"/>
                  </a:lnTo>
                  <a:lnTo>
                    <a:pt x="494" y="38"/>
                  </a:lnTo>
                  <a:lnTo>
                    <a:pt x="501" y="66"/>
                  </a:lnTo>
                  <a:lnTo>
                    <a:pt x="548" y="94"/>
                  </a:lnTo>
                  <a:lnTo>
                    <a:pt x="553" y="111"/>
                  </a:lnTo>
                  <a:lnTo>
                    <a:pt x="553" y="116"/>
                  </a:lnTo>
                  <a:lnTo>
                    <a:pt x="570" y="132"/>
                  </a:lnTo>
                  <a:lnTo>
                    <a:pt x="574" y="123"/>
                  </a:lnTo>
                  <a:lnTo>
                    <a:pt x="574" y="123"/>
                  </a:lnTo>
                  <a:lnTo>
                    <a:pt x="586" y="149"/>
                  </a:lnTo>
                  <a:lnTo>
                    <a:pt x="574" y="165"/>
                  </a:lnTo>
                  <a:lnTo>
                    <a:pt x="591" y="165"/>
                  </a:lnTo>
                  <a:lnTo>
                    <a:pt x="591" y="172"/>
                  </a:lnTo>
                  <a:lnTo>
                    <a:pt x="619" y="165"/>
                  </a:lnTo>
                  <a:lnTo>
                    <a:pt x="641" y="172"/>
                  </a:lnTo>
                  <a:lnTo>
                    <a:pt x="662" y="165"/>
                  </a:lnTo>
                  <a:lnTo>
                    <a:pt x="678" y="149"/>
                  </a:lnTo>
                  <a:lnTo>
                    <a:pt x="678" y="156"/>
                  </a:lnTo>
                  <a:lnTo>
                    <a:pt x="700" y="165"/>
                  </a:lnTo>
                  <a:lnTo>
                    <a:pt x="737" y="156"/>
                  </a:lnTo>
                  <a:lnTo>
                    <a:pt x="754" y="172"/>
                  </a:lnTo>
                  <a:lnTo>
                    <a:pt x="780" y="172"/>
                  </a:lnTo>
                  <a:lnTo>
                    <a:pt x="789" y="194"/>
                  </a:lnTo>
                  <a:lnTo>
                    <a:pt x="747" y="267"/>
                  </a:lnTo>
                  <a:lnTo>
                    <a:pt x="763" y="276"/>
                  </a:lnTo>
                  <a:lnTo>
                    <a:pt x="780" y="267"/>
                  </a:lnTo>
                  <a:lnTo>
                    <a:pt x="801" y="300"/>
                  </a:lnTo>
                  <a:lnTo>
                    <a:pt x="789" y="305"/>
                  </a:lnTo>
                  <a:lnTo>
                    <a:pt x="785" y="305"/>
                  </a:lnTo>
                  <a:lnTo>
                    <a:pt x="780" y="288"/>
                  </a:lnTo>
                  <a:lnTo>
                    <a:pt x="747" y="288"/>
                  </a:lnTo>
                  <a:lnTo>
                    <a:pt x="730" y="305"/>
                  </a:lnTo>
                  <a:lnTo>
                    <a:pt x="716" y="305"/>
                  </a:lnTo>
                  <a:lnTo>
                    <a:pt x="662" y="321"/>
                  </a:lnTo>
                  <a:lnTo>
                    <a:pt x="603" y="359"/>
                  </a:lnTo>
                  <a:lnTo>
                    <a:pt x="591" y="399"/>
                  </a:lnTo>
                  <a:lnTo>
                    <a:pt x="570" y="432"/>
                  </a:lnTo>
                  <a:lnTo>
                    <a:pt x="574" y="454"/>
                  </a:lnTo>
                  <a:lnTo>
                    <a:pt x="537" y="487"/>
                  </a:lnTo>
                  <a:lnTo>
                    <a:pt x="532" y="503"/>
                  </a:lnTo>
                  <a:lnTo>
                    <a:pt x="537" y="522"/>
                  </a:lnTo>
                  <a:lnTo>
                    <a:pt x="523" y="527"/>
                  </a:lnTo>
                  <a:lnTo>
                    <a:pt x="515" y="539"/>
                  </a:lnTo>
                  <a:lnTo>
                    <a:pt x="537" y="555"/>
                  </a:lnTo>
                  <a:lnTo>
                    <a:pt x="532" y="565"/>
                  </a:lnTo>
                  <a:lnTo>
                    <a:pt x="548" y="576"/>
                  </a:lnTo>
                  <a:lnTo>
                    <a:pt x="553" y="598"/>
                  </a:lnTo>
                  <a:lnTo>
                    <a:pt x="591" y="638"/>
                  </a:lnTo>
                  <a:lnTo>
                    <a:pt x="591" y="654"/>
                  </a:lnTo>
                  <a:lnTo>
                    <a:pt x="570" y="671"/>
                  </a:lnTo>
                  <a:lnTo>
                    <a:pt x="629" y="676"/>
                  </a:lnTo>
                  <a:lnTo>
                    <a:pt x="645" y="720"/>
                  </a:lnTo>
                  <a:lnTo>
                    <a:pt x="709" y="720"/>
                  </a:lnTo>
                  <a:lnTo>
                    <a:pt x="763" y="676"/>
                  </a:lnTo>
                  <a:lnTo>
                    <a:pt x="754" y="704"/>
                  </a:lnTo>
                  <a:lnTo>
                    <a:pt x="754" y="787"/>
                  </a:lnTo>
                  <a:lnTo>
                    <a:pt x="763" y="782"/>
                  </a:lnTo>
                  <a:lnTo>
                    <a:pt x="780" y="798"/>
                  </a:lnTo>
                  <a:lnTo>
                    <a:pt x="801" y="782"/>
                  </a:lnTo>
                  <a:lnTo>
                    <a:pt x="834" y="787"/>
                  </a:lnTo>
                  <a:lnTo>
                    <a:pt x="834" y="787"/>
                  </a:lnTo>
                  <a:lnTo>
                    <a:pt x="834" y="78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0" name="Freeform 531">
              <a:extLst>
                <a:ext uri="{FF2B5EF4-FFF2-40B4-BE49-F238E27FC236}">
                  <a16:creationId xmlns:a16="http://schemas.microsoft.com/office/drawing/2014/main" id="{A99E94AD-DCAA-483D-96B3-E9604E1A962D}"/>
                </a:ext>
              </a:extLst>
            </p:cNvPr>
            <p:cNvSpPr>
              <a:spLocks noEditPoints="1"/>
            </p:cNvSpPr>
            <p:nvPr/>
          </p:nvSpPr>
          <p:spPr bwMode="gray">
            <a:xfrm>
              <a:off x="15141395" y="3199939"/>
              <a:ext cx="390465" cy="344643"/>
            </a:xfrm>
            <a:custGeom>
              <a:avLst/>
              <a:gdLst>
                <a:gd name="T0" fmla="*/ 248 w 1193"/>
                <a:gd name="T1" fmla="*/ 605 h 1053"/>
                <a:gd name="T2" fmla="*/ 378 w 1193"/>
                <a:gd name="T3" fmla="*/ 560 h 1053"/>
                <a:gd name="T4" fmla="*/ 399 w 1193"/>
                <a:gd name="T5" fmla="*/ 494 h 1053"/>
                <a:gd name="T6" fmla="*/ 485 w 1193"/>
                <a:gd name="T7" fmla="*/ 460 h 1053"/>
                <a:gd name="T8" fmla="*/ 539 w 1193"/>
                <a:gd name="T9" fmla="*/ 427 h 1053"/>
                <a:gd name="T10" fmla="*/ 577 w 1193"/>
                <a:gd name="T11" fmla="*/ 439 h 1053"/>
                <a:gd name="T12" fmla="*/ 598 w 1193"/>
                <a:gd name="T13" fmla="*/ 349 h 1053"/>
                <a:gd name="T14" fmla="*/ 664 w 1193"/>
                <a:gd name="T15" fmla="*/ 300 h 1053"/>
                <a:gd name="T16" fmla="*/ 643 w 1193"/>
                <a:gd name="T17" fmla="*/ 262 h 1053"/>
                <a:gd name="T18" fmla="*/ 723 w 1193"/>
                <a:gd name="T19" fmla="*/ 222 h 1053"/>
                <a:gd name="T20" fmla="*/ 749 w 1193"/>
                <a:gd name="T21" fmla="*/ 168 h 1053"/>
                <a:gd name="T22" fmla="*/ 749 w 1193"/>
                <a:gd name="T23" fmla="*/ 94 h 1053"/>
                <a:gd name="T24" fmla="*/ 756 w 1193"/>
                <a:gd name="T25" fmla="*/ 52 h 1053"/>
                <a:gd name="T26" fmla="*/ 900 w 1193"/>
                <a:gd name="T27" fmla="*/ 7 h 1053"/>
                <a:gd name="T28" fmla="*/ 966 w 1193"/>
                <a:gd name="T29" fmla="*/ 0 h 1053"/>
                <a:gd name="T30" fmla="*/ 1042 w 1193"/>
                <a:gd name="T31" fmla="*/ 23 h 1053"/>
                <a:gd name="T32" fmla="*/ 1073 w 1193"/>
                <a:gd name="T33" fmla="*/ 90 h 1053"/>
                <a:gd name="T34" fmla="*/ 1127 w 1193"/>
                <a:gd name="T35" fmla="*/ 118 h 1053"/>
                <a:gd name="T36" fmla="*/ 1127 w 1193"/>
                <a:gd name="T37" fmla="*/ 189 h 1053"/>
                <a:gd name="T38" fmla="*/ 1042 w 1193"/>
                <a:gd name="T39" fmla="*/ 205 h 1053"/>
                <a:gd name="T40" fmla="*/ 922 w 1193"/>
                <a:gd name="T41" fmla="*/ 229 h 1053"/>
                <a:gd name="T42" fmla="*/ 933 w 1193"/>
                <a:gd name="T43" fmla="*/ 283 h 1053"/>
                <a:gd name="T44" fmla="*/ 971 w 1193"/>
                <a:gd name="T45" fmla="*/ 349 h 1053"/>
                <a:gd name="T46" fmla="*/ 1018 w 1193"/>
                <a:gd name="T47" fmla="*/ 387 h 1053"/>
                <a:gd name="T48" fmla="*/ 955 w 1193"/>
                <a:gd name="T49" fmla="*/ 427 h 1053"/>
                <a:gd name="T50" fmla="*/ 966 w 1193"/>
                <a:gd name="T51" fmla="*/ 477 h 1053"/>
                <a:gd name="T52" fmla="*/ 917 w 1193"/>
                <a:gd name="T53" fmla="*/ 555 h 1053"/>
                <a:gd name="T54" fmla="*/ 794 w 1193"/>
                <a:gd name="T55" fmla="*/ 687 h 1053"/>
                <a:gd name="T56" fmla="*/ 695 w 1193"/>
                <a:gd name="T57" fmla="*/ 742 h 1053"/>
                <a:gd name="T58" fmla="*/ 610 w 1193"/>
                <a:gd name="T59" fmla="*/ 827 h 1053"/>
                <a:gd name="T60" fmla="*/ 664 w 1193"/>
                <a:gd name="T61" fmla="*/ 902 h 1053"/>
                <a:gd name="T62" fmla="*/ 718 w 1193"/>
                <a:gd name="T63" fmla="*/ 980 h 1053"/>
                <a:gd name="T64" fmla="*/ 695 w 1193"/>
                <a:gd name="T65" fmla="*/ 1013 h 1053"/>
                <a:gd name="T66" fmla="*/ 643 w 1193"/>
                <a:gd name="T67" fmla="*/ 1020 h 1053"/>
                <a:gd name="T68" fmla="*/ 555 w 1193"/>
                <a:gd name="T69" fmla="*/ 1001 h 1053"/>
                <a:gd name="T70" fmla="*/ 518 w 1193"/>
                <a:gd name="T71" fmla="*/ 1037 h 1053"/>
                <a:gd name="T72" fmla="*/ 501 w 1193"/>
                <a:gd name="T73" fmla="*/ 1046 h 1053"/>
                <a:gd name="T74" fmla="*/ 468 w 1193"/>
                <a:gd name="T75" fmla="*/ 1037 h 1053"/>
                <a:gd name="T76" fmla="*/ 437 w 1193"/>
                <a:gd name="T77" fmla="*/ 980 h 1053"/>
                <a:gd name="T78" fmla="*/ 399 w 1193"/>
                <a:gd name="T79" fmla="*/ 926 h 1053"/>
                <a:gd name="T80" fmla="*/ 383 w 1193"/>
                <a:gd name="T81" fmla="*/ 909 h 1053"/>
                <a:gd name="T82" fmla="*/ 265 w 1193"/>
                <a:gd name="T83" fmla="*/ 935 h 1053"/>
                <a:gd name="T84" fmla="*/ 220 w 1193"/>
                <a:gd name="T85" fmla="*/ 926 h 1053"/>
                <a:gd name="T86" fmla="*/ 69 w 1193"/>
                <a:gd name="T87" fmla="*/ 947 h 1053"/>
                <a:gd name="T88" fmla="*/ 59 w 1193"/>
                <a:gd name="T89" fmla="*/ 893 h 1053"/>
                <a:gd name="T90" fmla="*/ 97 w 1193"/>
                <a:gd name="T91" fmla="*/ 848 h 1053"/>
                <a:gd name="T92" fmla="*/ 161 w 1193"/>
                <a:gd name="T93" fmla="*/ 831 h 1053"/>
                <a:gd name="T94" fmla="*/ 140 w 1193"/>
                <a:gd name="T95" fmla="*/ 782 h 1053"/>
                <a:gd name="T96" fmla="*/ 107 w 1193"/>
                <a:gd name="T97" fmla="*/ 687 h 1053"/>
                <a:gd name="T98" fmla="*/ 0 w 1193"/>
                <a:gd name="T99" fmla="*/ 576 h 1053"/>
                <a:gd name="T100" fmla="*/ 166 w 1193"/>
                <a:gd name="T101" fmla="*/ 609 h 1053"/>
                <a:gd name="T102" fmla="*/ 463 w 1193"/>
                <a:gd name="T103" fmla="*/ 1030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93" h="1053">
                  <a:moveTo>
                    <a:pt x="166" y="609"/>
                  </a:moveTo>
                  <a:lnTo>
                    <a:pt x="194" y="605"/>
                  </a:lnTo>
                  <a:lnTo>
                    <a:pt x="220" y="609"/>
                  </a:lnTo>
                  <a:lnTo>
                    <a:pt x="248" y="605"/>
                  </a:lnTo>
                  <a:lnTo>
                    <a:pt x="291" y="605"/>
                  </a:lnTo>
                  <a:lnTo>
                    <a:pt x="378" y="576"/>
                  </a:lnTo>
                  <a:lnTo>
                    <a:pt x="383" y="571"/>
                  </a:lnTo>
                  <a:lnTo>
                    <a:pt x="378" y="560"/>
                  </a:lnTo>
                  <a:lnTo>
                    <a:pt x="383" y="548"/>
                  </a:lnTo>
                  <a:lnTo>
                    <a:pt x="383" y="522"/>
                  </a:lnTo>
                  <a:lnTo>
                    <a:pt x="392" y="494"/>
                  </a:lnTo>
                  <a:lnTo>
                    <a:pt x="399" y="494"/>
                  </a:lnTo>
                  <a:lnTo>
                    <a:pt x="416" y="465"/>
                  </a:lnTo>
                  <a:lnTo>
                    <a:pt x="430" y="460"/>
                  </a:lnTo>
                  <a:lnTo>
                    <a:pt x="454" y="465"/>
                  </a:lnTo>
                  <a:lnTo>
                    <a:pt x="485" y="460"/>
                  </a:lnTo>
                  <a:lnTo>
                    <a:pt x="468" y="444"/>
                  </a:lnTo>
                  <a:lnTo>
                    <a:pt x="501" y="439"/>
                  </a:lnTo>
                  <a:lnTo>
                    <a:pt x="518" y="423"/>
                  </a:lnTo>
                  <a:lnTo>
                    <a:pt x="539" y="427"/>
                  </a:lnTo>
                  <a:lnTo>
                    <a:pt x="534" y="427"/>
                  </a:lnTo>
                  <a:lnTo>
                    <a:pt x="539" y="423"/>
                  </a:lnTo>
                  <a:lnTo>
                    <a:pt x="560" y="444"/>
                  </a:lnTo>
                  <a:lnTo>
                    <a:pt x="577" y="439"/>
                  </a:lnTo>
                  <a:lnTo>
                    <a:pt x="593" y="411"/>
                  </a:lnTo>
                  <a:lnTo>
                    <a:pt x="593" y="371"/>
                  </a:lnTo>
                  <a:lnTo>
                    <a:pt x="598" y="354"/>
                  </a:lnTo>
                  <a:lnTo>
                    <a:pt x="598" y="349"/>
                  </a:lnTo>
                  <a:lnTo>
                    <a:pt x="610" y="338"/>
                  </a:lnTo>
                  <a:lnTo>
                    <a:pt x="610" y="328"/>
                  </a:lnTo>
                  <a:lnTo>
                    <a:pt x="648" y="316"/>
                  </a:lnTo>
                  <a:lnTo>
                    <a:pt x="664" y="300"/>
                  </a:lnTo>
                  <a:lnTo>
                    <a:pt x="652" y="283"/>
                  </a:lnTo>
                  <a:lnTo>
                    <a:pt x="652" y="272"/>
                  </a:lnTo>
                  <a:lnTo>
                    <a:pt x="643" y="272"/>
                  </a:lnTo>
                  <a:lnTo>
                    <a:pt x="643" y="262"/>
                  </a:lnTo>
                  <a:lnTo>
                    <a:pt x="631" y="246"/>
                  </a:lnTo>
                  <a:lnTo>
                    <a:pt x="681" y="255"/>
                  </a:lnTo>
                  <a:lnTo>
                    <a:pt x="718" y="246"/>
                  </a:lnTo>
                  <a:lnTo>
                    <a:pt x="723" y="222"/>
                  </a:lnTo>
                  <a:lnTo>
                    <a:pt x="707" y="205"/>
                  </a:lnTo>
                  <a:lnTo>
                    <a:pt x="718" y="201"/>
                  </a:lnTo>
                  <a:lnTo>
                    <a:pt x="718" y="189"/>
                  </a:lnTo>
                  <a:lnTo>
                    <a:pt x="749" y="168"/>
                  </a:lnTo>
                  <a:lnTo>
                    <a:pt x="756" y="151"/>
                  </a:lnTo>
                  <a:lnTo>
                    <a:pt x="749" y="144"/>
                  </a:lnTo>
                  <a:lnTo>
                    <a:pt x="756" y="134"/>
                  </a:lnTo>
                  <a:lnTo>
                    <a:pt x="749" y="94"/>
                  </a:lnTo>
                  <a:lnTo>
                    <a:pt x="723" y="78"/>
                  </a:lnTo>
                  <a:lnTo>
                    <a:pt x="733" y="73"/>
                  </a:lnTo>
                  <a:lnTo>
                    <a:pt x="756" y="57"/>
                  </a:lnTo>
                  <a:lnTo>
                    <a:pt x="756" y="52"/>
                  </a:lnTo>
                  <a:lnTo>
                    <a:pt x="761" y="52"/>
                  </a:lnTo>
                  <a:lnTo>
                    <a:pt x="794" y="23"/>
                  </a:lnTo>
                  <a:lnTo>
                    <a:pt x="825" y="19"/>
                  </a:lnTo>
                  <a:lnTo>
                    <a:pt x="900" y="7"/>
                  </a:lnTo>
                  <a:lnTo>
                    <a:pt x="922" y="19"/>
                  </a:lnTo>
                  <a:lnTo>
                    <a:pt x="955" y="0"/>
                  </a:lnTo>
                  <a:lnTo>
                    <a:pt x="966" y="7"/>
                  </a:lnTo>
                  <a:lnTo>
                    <a:pt x="966" y="0"/>
                  </a:lnTo>
                  <a:lnTo>
                    <a:pt x="1004" y="0"/>
                  </a:lnTo>
                  <a:lnTo>
                    <a:pt x="1018" y="7"/>
                  </a:lnTo>
                  <a:lnTo>
                    <a:pt x="1025" y="23"/>
                  </a:lnTo>
                  <a:lnTo>
                    <a:pt x="1042" y="23"/>
                  </a:lnTo>
                  <a:lnTo>
                    <a:pt x="1056" y="35"/>
                  </a:lnTo>
                  <a:lnTo>
                    <a:pt x="1063" y="61"/>
                  </a:lnTo>
                  <a:lnTo>
                    <a:pt x="1056" y="78"/>
                  </a:lnTo>
                  <a:lnTo>
                    <a:pt x="1073" y="90"/>
                  </a:lnTo>
                  <a:lnTo>
                    <a:pt x="1080" y="106"/>
                  </a:lnTo>
                  <a:lnTo>
                    <a:pt x="1101" y="94"/>
                  </a:lnTo>
                  <a:lnTo>
                    <a:pt x="1101" y="106"/>
                  </a:lnTo>
                  <a:lnTo>
                    <a:pt x="1127" y="118"/>
                  </a:lnTo>
                  <a:lnTo>
                    <a:pt x="1165" y="127"/>
                  </a:lnTo>
                  <a:lnTo>
                    <a:pt x="1193" y="127"/>
                  </a:lnTo>
                  <a:lnTo>
                    <a:pt x="1132" y="160"/>
                  </a:lnTo>
                  <a:lnTo>
                    <a:pt x="1127" y="189"/>
                  </a:lnTo>
                  <a:lnTo>
                    <a:pt x="1094" y="184"/>
                  </a:lnTo>
                  <a:lnTo>
                    <a:pt x="1073" y="201"/>
                  </a:lnTo>
                  <a:lnTo>
                    <a:pt x="1063" y="201"/>
                  </a:lnTo>
                  <a:lnTo>
                    <a:pt x="1042" y="205"/>
                  </a:lnTo>
                  <a:lnTo>
                    <a:pt x="950" y="184"/>
                  </a:lnTo>
                  <a:lnTo>
                    <a:pt x="917" y="201"/>
                  </a:lnTo>
                  <a:lnTo>
                    <a:pt x="912" y="217"/>
                  </a:lnTo>
                  <a:lnTo>
                    <a:pt x="922" y="229"/>
                  </a:lnTo>
                  <a:lnTo>
                    <a:pt x="917" y="238"/>
                  </a:lnTo>
                  <a:lnTo>
                    <a:pt x="938" y="246"/>
                  </a:lnTo>
                  <a:lnTo>
                    <a:pt x="922" y="272"/>
                  </a:lnTo>
                  <a:lnTo>
                    <a:pt x="933" y="283"/>
                  </a:lnTo>
                  <a:lnTo>
                    <a:pt x="922" y="316"/>
                  </a:lnTo>
                  <a:lnTo>
                    <a:pt x="950" y="328"/>
                  </a:lnTo>
                  <a:lnTo>
                    <a:pt x="950" y="349"/>
                  </a:lnTo>
                  <a:lnTo>
                    <a:pt x="971" y="349"/>
                  </a:lnTo>
                  <a:lnTo>
                    <a:pt x="971" y="371"/>
                  </a:lnTo>
                  <a:lnTo>
                    <a:pt x="992" y="371"/>
                  </a:lnTo>
                  <a:lnTo>
                    <a:pt x="1018" y="383"/>
                  </a:lnTo>
                  <a:lnTo>
                    <a:pt x="1018" y="387"/>
                  </a:lnTo>
                  <a:lnTo>
                    <a:pt x="1009" y="404"/>
                  </a:lnTo>
                  <a:lnTo>
                    <a:pt x="988" y="404"/>
                  </a:lnTo>
                  <a:lnTo>
                    <a:pt x="966" y="423"/>
                  </a:lnTo>
                  <a:lnTo>
                    <a:pt x="955" y="427"/>
                  </a:lnTo>
                  <a:lnTo>
                    <a:pt x="966" y="449"/>
                  </a:lnTo>
                  <a:lnTo>
                    <a:pt x="955" y="477"/>
                  </a:lnTo>
                  <a:lnTo>
                    <a:pt x="966" y="482"/>
                  </a:lnTo>
                  <a:lnTo>
                    <a:pt x="966" y="477"/>
                  </a:lnTo>
                  <a:lnTo>
                    <a:pt x="971" y="482"/>
                  </a:lnTo>
                  <a:lnTo>
                    <a:pt x="950" y="498"/>
                  </a:lnTo>
                  <a:lnTo>
                    <a:pt x="917" y="538"/>
                  </a:lnTo>
                  <a:lnTo>
                    <a:pt x="917" y="555"/>
                  </a:lnTo>
                  <a:lnTo>
                    <a:pt x="879" y="571"/>
                  </a:lnTo>
                  <a:lnTo>
                    <a:pt x="846" y="642"/>
                  </a:lnTo>
                  <a:lnTo>
                    <a:pt x="808" y="666"/>
                  </a:lnTo>
                  <a:lnTo>
                    <a:pt x="794" y="687"/>
                  </a:lnTo>
                  <a:lnTo>
                    <a:pt x="777" y="716"/>
                  </a:lnTo>
                  <a:lnTo>
                    <a:pt x="777" y="725"/>
                  </a:lnTo>
                  <a:lnTo>
                    <a:pt x="702" y="742"/>
                  </a:lnTo>
                  <a:lnTo>
                    <a:pt x="695" y="742"/>
                  </a:lnTo>
                  <a:lnTo>
                    <a:pt x="685" y="720"/>
                  </a:lnTo>
                  <a:lnTo>
                    <a:pt x="669" y="720"/>
                  </a:lnTo>
                  <a:lnTo>
                    <a:pt x="614" y="782"/>
                  </a:lnTo>
                  <a:lnTo>
                    <a:pt x="610" y="827"/>
                  </a:lnTo>
                  <a:lnTo>
                    <a:pt x="631" y="831"/>
                  </a:lnTo>
                  <a:lnTo>
                    <a:pt x="652" y="836"/>
                  </a:lnTo>
                  <a:lnTo>
                    <a:pt x="648" y="881"/>
                  </a:lnTo>
                  <a:lnTo>
                    <a:pt x="664" y="902"/>
                  </a:lnTo>
                  <a:lnTo>
                    <a:pt x="685" y="902"/>
                  </a:lnTo>
                  <a:lnTo>
                    <a:pt x="695" y="926"/>
                  </a:lnTo>
                  <a:lnTo>
                    <a:pt x="702" y="942"/>
                  </a:lnTo>
                  <a:lnTo>
                    <a:pt x="718" y="980"/>
                  </a:lnTo>
                  <a:lnTo>
                    <a:pt x="707" y="980"/>
                  </a:lnTo>
                  <a:lnTo>
                    <a:pt x="707" y="997"/>
                  </a:lnTo>
                  <a:lnTo>
                    <a:pt x="718" y="997"/>
                  </a:lnTo>
                  <a:lnTo>
                    <a:pt x="695" y="1013"/>
                  </a:lnTo>
                  <a:lnTo>
                    <a:pt x="685" y="1013"/>
                  </a:lnTo>
                  <a:lnTo>
                    <a:pt x="681" y="997"/>
                  </a:lnTo>
                  <a:lnTo>
                    <a:pt x="648" y="1001"/>
                  </a:lnTo>
                  <a:lnTo>
                    <a:pt x="643" y="1020"/>
                  </a:lnTo>
                  <a:lnTo>
                    <a:pt x="626" y="1020"/>
                  </a:lnTo>
                  <a:lnTo>
                    <a:pt x="614" y="1013"/>
                  </a:lnTo>
                  <a:lnTo>
                    <a:pt x="572" y="1013"/>
                  </a:lnTo>
                  <a:lnTo>
                    <a:pt x="555" y="1001"/>
                  </a:lnTo>
                  <a:lnTo>
                    <a:pt x="555" y="1037"/>
                  </a:lnTo>
                  <a:lnTo>
                    <a:pt x="522" y="1037"/>
                  </a:lnTo>
                  <a:lnTo>
                    <a:pt x="518" y="1046"/>
                  </a:lnTo>
                  <a:lnTo>
                    <a:pt x="518" y="1037"/>
                  </a:lnTo>
                  <a:lnTo>
                    <a:pt x="518" y="1053"/>
                  </a:lnTo>
                  <a:lnTo>
                    <a:pt x="506" y="1053"/>
                  </a:lnTo>
                  <a:lnTo>
                    <a:pt x="501" y="1037"/>
                  </a:lnTo>
                  <a:lnTo>
                    <a:pt x="501" y="1046"/>
                  </a:lnTo>
                  <a:lnTo>
                    <a:pt x="492" y="1037"/>
                  </a:lnTo>
                  <a:lnTo>
                    <a:pt x="492" y="1046"/>
                  </a:lnTo>
                  <a:lnTo>
                    <a:pt x="485" y="1046"/>
                  </a:lnTo>
                  <a:lnTo>
                    <a:pt x="468" y="1037"/>
                  </a:lnTo>
                  <a:lnTo>
                    <a:pt x="468" y="1037"/>
                  </a:lnTo>
                  <a:lnTo>
                    <a:pt x="463" y="1030"/>
                  </a:lnTo>
                  <a:lnTo>
                    <a:pt x="454" y="1020"/>
                  </a:lnTo>
                  <a:lnTo>
                    <a:pt x="437" y="980"/>
                  </a:lnTo>
                  <a:lnTo>
                    <a:pt x="447" y="975"/>
                  </a:lnTo>
                  <a:lnTo>
                    <a:pt x="409" y="964"/>
                  </a:lnTo>
                  <a:lnTo>
                    <a:pt x="416" y="942"/>
                  </a:lnTo>
                  <a:lnTo>
                    <a:pt x="399" y="926"/>
                  </a:lnTo>
                  <a:lnTo>
                    <a:pt x="399" y="919"/>
                  </a:lnTo>
                  <a:lnTo>
                    <a:pt x="383" y="909"/>
                  </a:lnTo>
                  <a:lnTo>
                    <a:pt x="371" y="919"/>
                  </a:lnTo>
                  <a:lnTo>
                    <a:pt x="383" y="909"/>
                  </a:lnTo>
                  <a:lnTo>
                    <a:pt x="399" y="926"/>
                  </a:lnTo>
                  <a:lnTo>
                    <a:pt x="274" y="926"/>
                  </a:lnTo>
                  <a:lnTo>
                    <a:pt x="270" y="942"/>
                  </a:lnTo>
                  <a:lnTo>
                    <a:pt x="265" y="935"/>
                  </a:lnTo>
                  <a:lnTo>
                    <a:pt x="232" y="926"/>
                  </a:lnTo>
                  <a:lnTo>
                    <a:pt x="232" y="919"/>
                  </a:lnTo>
                  <a:lnTo>
                    <a:pt x="220" y="926"/>
                  </a:lnTo>
                  <a:lnTo>
                    <a:pt x="220" y="926"/>
                  </a:lnTo>
                  <a:lnTo>
                    <a:pt x="199" y="926"/>
                  </a:lnTo>
                  <a:lnTo>
                    <a:pt x="182" y="935"/>
                  </a:lnTo>
                  <a:lnTo>
                    <a:pt x="90" y="942"/>
                  </a:lnTo>
                  <a:lnTo>
                    <a:pt x="69" y="947"/>
                  </a:lnTo>
                  <a:lnTo>
                    <a:pt x="59" y="947"/>
                  </a:lnTo>
                  <a:lnTo>
                    <a:pt x="69" y="942"/>
                  </a:lnTo>
                  <a:lnTo>
                    <a:pt x="52" y="942"/>
                  </a:lnTo>
                  <a:lnTo>
                    <a:pt x="59" y="893"/>
                  </a:lnTo>
                  <a:lnTo>
                    <a:pt x="69" y="893"/>
                  </a:lnTo>
                  <a:lnTo>
                    <a:pt x="69" y="864"/>
                  </a:lnTo>
                  <a:lnTo>
                    <a:pt x="90" y="848"/>
                  </a:lnTo>
                  <a:lnTo>
                    <a:pt x="97" y="848"/>
                  </a:lnTo>
                  <a:lnTo>
                    <a:pt x="97" y="836"/>
                  </a:lnTo>
                  <a:lnTo>
                    <a:pt x="114" y="831"/>
                  </a:lnTo>
                  <a:lnTo>
                    <a:pt x="140" y="831"/>
                  </a:lnTo>
                  <a:lnTo>
                    <a:pt x="161" y="831"/>
                  </a:lnTo>
                  <a:lnTo>
                    <a:pt x="166" y="791"/>
                  </a:lnTo>
                  <a:lnTo>
                    <a:pt x="177" y="791"/>
                  </a:lnTo>
                  <a:lnTo>
                    <a:pt x="166" y="775"/>
                  </a:lnTo>
                  <a:lnTo>
                    <a:pt x="140" y="782"/>
                  </a:lnTo>
                  <a:lnTo>
                    <a:pt x="140" y="770"/>
                  </a:lnTo>
                  <a:lnTo>
                    <a:pt x="140" y="704"/>
                  </a:lnTo>
                  <a:lnTo>
                    <a:pt x="123" y="704"/>
                  </a:lnTo>
                  <a:lnTo>
                    <a:pt x="107" y="687"/>
                  </a:lnTo>
                  <a:lnTo>
                    <a:pt x="76" y="683"/>
                  </a:lnTo>
                  <a:lnTo>
                    <a:pt x="52" y="666"/>
                  </a:lnTo>
                  <a:lnTo>
                    <a:pt x="31" y="616"/>
                  </a:lnTo>
                  <a:lnTo>
                    <a:pt x="0" y="576"/>
                  </a:lnTo>
                  <a:lnTo>
                    <a:pt x="114" y="609"/>
                  </a:lnTo>
                  <a:lnTo>
                    <a:pt x="166" y="609"/>
                  </a:lnTo>
                  <a:lnTo>
                    <a:pt x="166" y="609"/>
                  </a:lnTo>
                  <a:lnTo>
                    <a:pt x="166" y="609"/>
                  </a:lnTo>
                  <a:close/>
                  <a:moveTo>
                    <a:pt x="463" y="1030"/>
                  </a:moveTo>
                  <a:lnTo>
                    <a:pt x="463" y="1030"/>
                  </a:lnTo>
                  <a:lnTo>
                    <a:pt x="463" y="1030"/>
                  </a:lnTo>
                  <a:lnTo>
                    <a:pt x="463" y="1030"/>
                  </a:lnTo>
                  <a:lnTo>
                    <a:pt x="463" y="1030"/>
                  </a:lnTo>
                  <a:lnTo>
                    <a:pt x="463" y="103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1" name="Freeform 532">
              <a:extLst>
                <a:ext uri="{FF2B5EF4-FFF2-40B4-BE49-F238E27FC236}">
                  <a16:creationId xmlns:a16="http://schemas.microsoft.com/office/drawing/2014/main" id="{DB3D112D-9AD9-4FEA-896C-E5BF4F32E30F}"/>
                </a:ext>
              </a:extLst>
            </p:cNvPr>
            <p:cNvSpPr>
              <a:spLocks/>
            </p:cNvSpPr>
            <p:nvPr/>
          </p:nvSpPr>
          <p:spPr bwMode="gray">
            <a:xfrm>
              <a:off x="14069171" y="2673319"/>
              <a:ext cx="229762" cy="182632"/>
            </a:xfrm>
            <a:custGeom>
              <a:avLst/>
              <a:gdLst>
                <a:gd name="T0" fmla="*/ 87 w 702"/>
                <a:gd name="T1" fmla="*/ 392 h 558"/>
                <a:gd name="T2" fmla="*/ 54 w 702"/>
                <a:gd name="T3" fmla="*/ 371 h 558"/>
                <a:gd name="T4" fmla="*/ 50 w 702"/>
                <a:gd name="T5" fmla="*/ 388 h 558"/>
                <a:gd name="T6" fmla="*/ 54 w 702"/>
                <a:gd name="T7" fmla="*/ 321 h 558"/>
                <a:gd name="T8" fmla="*/ 40 w 702"/>
                <a:gd name="T9" fmla="*/ 310 h 558"/>
                <a:gd name="T10" fmla="*/ 40 w 702"/>
                <a:gd name="T11" fmla="*/ 265 h 558"/>
                <a:gd name="T12" fmla="*/ 24 w 702"/>
                <a:gd name="T13" fmla="*/ 239 h 558"/>
                <a:gd name="T14" fmla="*/ 0 w 702"/>
                <a:gd name="T15" fmla="*/ 189 h 558"/>
                <a:gd name="T16" fmla="*/ 16 w 702"/>
                <a:gd name="T17" fmla="*/ 166 h 558"/>
                <a:gd name="T18" fmla="*/ 7 w 702"/>
                <a:gd name="T19" fmla="*/ 111 h 558"/>
                <a:gd name="T20" fmla="*/ 33 w 702"/>
                <a:gd name="T21" fmla="*/ 99 h 558"/>
                <a:gd name="T22" fmla="*/ 0 w 702"/>
                <a:gd name="T23" fmla="*/ 90 h 558"/>
                <a:gd name="T24" fmla="*/ 163 w 702"/>
                <a:gd name="T25" fmla="*/ 24 h 558"/>
                <a:gd name="T26" fmla="*/ 293 w 702"/>
                <a:gd name="T27" fmla="*/ 0 h 558"/>
                <a:gd name="T28" fmla="*/ 326 w 702"/>
                <a:gd name="T29" fmla="*/ 24 h 558"/>
                <a:gd name="T30" fmla="*/ 309 w 702"/>
                <a:gd name="T31" fmla="*/ 40 h 558"/>
                <a:gd name="T32" fmla="*/ 380 w 702"/>
                <a:gd name="T33" fmla="*/ 33 h 558"/>
                <a:gd name="T34" fmla="*/ 359 w 702"/>
                <a:gd name="T35" fmla="*/ 45 h 558"/>
                <a:gd name="T36" fmla="*/ 397 w 702"/>
                <a:gd name="T37" fmla="*/ 40 h 558"/>
                <a:gd name="T38" fmla="*/ 609 w 702"/>
                <a:gd name="T39" fmla="*/ 45 h 558"/>
                <a:gd name="T40" fmla="*/ 647 w 702"/>
                <a:gd name="T41" fmla="*/ 57 h 558"/>
                <a:gd name="T42" fmla="*/ 664 w 702"/>
                <a:gd name="T43" fmla="*/ 90 h 558"/>
                <a:gd name="T44" fmla="*/ 690 w 702"/>
                <a:gd name="T45" fmla="*/ 206 h 558"/>
                <a:gd name="T46" fmla="*/ 635 w 702"/>
                <a:gd name="T47" fmla="*/ 244 h 558"/>
                <a:gd name="T48" fmla="*/ 664 w 702"/>
                <a:gd name="T49" fmla="*/ 310 h 558"/>
                <a:gd name="T50" fmla="*/ 673 w 702"/>
                <a:gd name="T51" fmla="*/ 350 h 558"/>
                <a:gd name="T52" fmla="*/ 690 w 702"/>
                <a:gd name="T53" fmla="*/ 388 h 558"/>
                <a:gd name="T54" fmla="*/ 690 w 702"/>
                <a:gd name="T55" fmla="*/ 425 h 558"/>
                <a:gd name="T56" fmla="*/ 647 w 702"/>
                <a:gd name="T57" fmla="*/ 458 h 558"/>
                <a:gd name="T58" fmla="*/ 609 w 702"/>
                <a:gd name="T59" fmla="*/ 532 h 558"/>
                <a:gd name="T60" fmla="*/ 614 w 702"/>
                <a:gd name="T61" fmla="*/ 553 h 558"/>
                <a:gd name="T62" fmla="*/ 593 w 702"/>
                <a:gd name="T63" fmla="*/ 553 h 558"/>
                <a:gd name="T64" fmla="*/ 555 w 702"/>
                <a:gd name="T65" fmla="*/ 532 h 558"/>
                <a:gd name="T66" fmla="*/ 489 w 702"/>
                <a:gd name="T67" fmla="*/ 520 h 558"/>
                <a:gd name="T68" fmla="*/ 468 w 702"/>
                <a:gd name="T69" fmla="*/ 520 h 558"/>
                <a:gd name="T70" fmla="*/ 418 w 702"/>
                <a:gd name="T71" fmla="*/ 532 h 558"/>
                <a:gd name="T72" fmla="*/ 397 w 702"/>
                <a:gd name="T73" fmla="*/ 536 h 558"/>
                <a:gd name="T74" fmla="*/ 392 w 702"/>
                <a:gd name="T75" fmla="*/ 520 h 558"/>
                <a:gd name="T76" fmla="*/ 347 w 702"/>
                <a:gd name="T77" fmla="*/ 520 h 558"/>
                <a:gd name="T78" fmla="*/ 331 w 702"/>
                <a:gd name="T79" fmla="*/ 515 h 558"/>
                <a:gd name="T80" fmla="*/ 326 w 702"/>
                <a:gd name="T81" fmla="*/ 499 h 558"/>
                <a:gd name="T82" fmla="*/ 309 w 702"/>
                <a:gd name="T83" fmla="*/ 475 h 558"/>
                <a:gd name="T84" fmla="*/ 267 w 702"/>
                <a:gd name="T85" fmla="*/ 466 h 558"/>
                <a:gd name="T86" fmla="*/ 239 w 702"/>
                <a:gd name="T87" fmla="*/ 449 h 558"/>
                <a:gd name="T88" fmla="*/ 250 w 702"/>
                <a:gd name="T89" fmla="*/ 433 h 558"/>
                <a:gd name="T90" fmla="*/ 196 w 702"/>
                <a:gd name="T91" fmla="*/ 425 h 558"/>
                <a:gd name="T92" fmla="*/ 170 w 702"/>
                <a:gd name="T93" fmla="*/ 458 h 558"/>
                <a:gd name="T94" fmla="*/ 158 w 702"/>
                <a:gd name="T95" fmla="*/ 409 h 558"/>
                <a:gd name="T96" fmla="*/ 142 w 702"/>
                <a:gd name="T97" fmla="*/ 40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2" h="558">
                  <a:moveTo>
                    <a:pt x="142" y="404"/>
                  </a:moveTo>
                  <a:lnTo>
                    <a:pt x="87" y="392"/>
                  </a:lnTo>
                  <a:lnTo>
                    <a:pt x="71" y="371"/>
                  </a:lnTo>
                  <a:lnTo>
                    <a:pt x="54" y="371"/>
                  </a:lnTo>
                  <a:lnTo>
                    <a:pt x="54" y="388"/>
                  </a:lnTo>
                  <a:lnTo>
                    <a:pt x="50" y="388"/>
                  </a:lnTo>
                  <a:lnTo>
                    <a:pt x="61" y="350"/>
                  </a:lnTo>
                  <a:lnTo>
                    <a:pt x="54" y="321"/>
                  </a:lnTo>
                  <a:lnTo>
                    <a:pt x="40" y="321"/>
                  </a:lnTo>
                  <a:lnTo>
                    <a:pt x="40" y="310"/>
                  </a:lnTo>
                  <a:lnTo>
                    <a:pt x="33" y="293"/>
                  </a:lnTo>
                  <a:lnTo>
                    <a:pt x="40" y="265"/>
                  </a:lnTo>
                  <a:lnTo>
                    <a:pt x="40" y="255"/>
                  </a:lnTo>
                  <a:lnTo>
                    <a:pt x="24" y="239"/>
                  </a:lnTo>
                  <a:lnTo>
                    <a:pt x="33" y="222"/>
                  </a:lnTo>
                  <a:lnTo>
                    <a:pt x="0" y="189"/>
                  </a:lnTo>
                  <a:lnTo>
                    <a:pt x="0" y="182"/>
                  </a:lnTo>
                  <a:lnTo>
                    <a:pt x="16" y="166"/>
                  </a:lnTo>
                  <a:lnTo>
                    <a:pt x="16" y="144"/>
                  </a:lnTo>
                  <a:lnTo>
                    <a:pt x="7" y="111"/>
                  </a:lnTo>
                  <a:lnTo>
                    <a:pt x="24" y="111"/>
                  </a:lnTo>
                  <a:lnTo>
                    <a:pt x="33" y="99"/>
                  </a:lnTo>
                  <a:lnTo>
                    <a:pt x="0" y="95"/>
                  </a:lnTo>
                  <a:lnTo>
                    <a:pt x="0" y="90"/>
                  </a:lnTo>
                  <a:lnTo>
                    <a:pt x="142" y="57"/>
                  </a:lnTo>
                  <a:lnTo>
                    <a:pt x="163" y="24"/>
                  </a:lnTo>
                  <a:lnTo>
                    <a:pt x="267" y="0"/>
                  </a:lnTo>
                  <a:lnTo>
                    <a:pt x="293" y="0"/>
                  </a:lnTo>
                  <a:lnTo>
                    <a:pt x="321" y="17"/>
                  </a:lnTo>
                  <a:lnTo>
                    <a:pt x="326" y="24"/>
                  </a:lnTo>
                  <a:lnTo>
                    <a:pt x="293" y="7"/>
                  </a:lnTo>
                  <a:lnTo>
                    <a:pt x="309" y="40"/>
                  </a:lnTo>
                  <a:lnTo>
                    <a:pt x="326" y="45"/>
                  </a:lnTo>
                  <a:lnTo>
                    <a:pt x="380" y="33"/>
                  </a:lnTo>
                  <a:lnTo>
                    <a:pt x="392" y="40"/>
                  </a:lnTo>
                  <a:lnTo>
                    <a:pt x="359" y="45"/>
                  </a:lnTo>
                  <a:lnTo>
                    <a:pt x="364" y="57"/>
                  </a:lnTo>
                  <a:lnTo>
                    <a:pt x="397" y="40"/>
                  </a:lnTo>
                  <a:lnTo>
                    <a:pt x="510" y="45"/>
                  </a:lnTo>
                  <a:lnTo>
                    <a:pt x="609" y="45"/>
                  </a:lnTo>
                  <a:lnTo>
                    <a:pt x="619" y="40"/>
                  </a:lnTo>
                  <a:lnTo>
                    <a:pt x="647" y="57"/>
                  </a:lnTo>
                  <a:lnTo>
                    <a:pt x="652" y="73"/>
                  </a:lnTo>
                  <a:lnTo>
                    <a:pt x="664" y="90"/>
                  </a:lnTo>
                  <a:lnTo>
                    <a:pt x="690" y="173"/>
                  </a:lnTo>
                  <a:lnTo>
                    <a:pt x="690" y="206"/>
                  </a:lnTo>
                  <a:lnTo>
                    <a:pt x="652" y="227"/>
                  </a:lnTo>
                  <a:lnTo>
                    <a:pt x="635" y="244"/>
                  </a:lnTo>
                  <a:lnTo>
                    <a:pt x="668" y="265"/>
                  </a:lnTo>
                  <a:lnTo>
                    <a:pt x="664" y="310"/>
                  </a:lnTo>
                  <a:lnTo>
                    <a:pt x="668" y="321"/>
                  </a:lnTo>
                  <a:lnTo>
                    <a:pt x="673" y="350"/>
                  </a:lnTo>
                  <a:lnTo>
                    <a:pt x="702" y="388"/>
                  </a:lnTo>
                  <a:lnTo>
                    <a:pt x="690" y="388"/>
                  </a:lnTo>
                  <a:lnTo>
                    <a:pt x="702" y="409"/>
                  </a:lnTo>
                  <a:lnTo>
                    <a:pt x="690" y="425"/>
                  </a:lnTo>
                  <a:lnTo>
                    <a:pt x="673" y="425"/>
                  </a:lnTo>
                  <a:lnTo>
                    <a:pt x="647" y="458"/>
                  </a:lnTo>
                  <a:lnTo>
                    <a:pt x="598" y="503"/>
                  </a:lnTo>
                  <a:lnTo>
                    <a:pt x="609" y="532"/>
                  </a:lnTo>
                  <a:lnTo>
                    <a:pt x="598" y="541"/>
                  </a:lnTo>
                  <a:lnTo>
                    <a:pt x="614" y="553"/>
                  </a:lnTo>
                  <a:lnTo>
                    <a:pt x="614" y="558"/>
                  </a:lnTo>
                  <a:lnTo>
                    <a:pt x="593" y="553"/>
                  </a:lnTo>
                  <a:lnTo>
                    <a:pt x="555" y="536"/>
                  </a:lnTo>
                  <a:lnTo>
                    <a:pt x="555" y="532"/>
                  </a:lnTo>
                  <a:lnTo>
                    <a:pt x="527" y="520"/>
                  </a:lnTo>
                  <a:lnTo>
                    <a:pt x="489" y="520"/>
                  </a:lnTo>
                  <a:lnTo>
                    <a:pt x="472" y="532"/>
                  </a:lnTo>
                  <a:lnTo>
                    <a:pt x="468" y="520"/>
                  </a:lnTo>
                  <a:lnTo>
                    <a:pt x="435" y="520"/>
                  </a:lnTo>
                  <a:lnTo>
                    <a:pt x="418" y="532"/>
                  </a:lnTo>
                  <a:lnTo>
                    <a:pt x="413" y="541"/>
                  </a:lnTo>
                  <a:lnTo>
                    <a:pt x="397" y="536"/>
                  </a:lnTo>
                  <a:lnTo>
                    <a:pt x="397" y="520"/>
                  </a:lnTo>
                  <a:lnTo>
                    <a:pt x="392" y="520"/>
                  </a:lnTo>
                  <a:lnTo>
                    <a:pt x="376" y="503"/>
                  </a:lnTo>
                  <a:lnTo>
                    <a:pt x="347" y="520"/>
                  </a:lnTo>
                  <a:lnTo>
                    <a:pt x="342" y="520"/>
                  </a:lnTo>
                  <a:lnTo>
                    <a:pt x="331" y="515"/>
                  </a:lnTo>
                  <a:lnTo>
                    <a:pt x="326" y="515"/>
                  </a:lnTo>
                  <a:lnTo>
                    <a:pt x="326" y="499"/>
                  </a:lnTo>
                  <a:lnTo>
                    <a:pt x="309" y="487"/>
                  </a:lnTo>
                  <a:lnTo>
                    <a:pt x="309" y="475"/>
                  </a:lnTo>
                  <a:lnTo>
                    <a:pt x="272" y="458"/>
                  </a:lnTo>
                  <a:lnTo>
                    <a:pt x="267" y="466"/>
                  </a:lnTo>
                  <a:lnTo>
                    <a:pt x="250" y="458"/>
                  </a:lnTo>
                  <a:lnTo>
                    <a:pt x="239" y="449"/>
                  </a:lnTo>
                  <a:lnTo>
                    <a:pt x="250" y="442"/>
                  </a:lnTo>
                  <a:lnTo>
                    <a:pt x="250" y="433"/>
                  </a:lnTo>
                  <a:lnTo>
                    <a:pt x="224" y="442"/>
                  </a:lnTo>
                  <a:lnTo>
                    <a:pt x="196" y="425"/>
                  </a:lnTo>
                  <a:lnTo>
                    <a:pt x="201" y="442"/>
                  </a:lnTo>
                  <a:lnTo>
                    <a:pt x="170" y="458"/>
                  </a:lnTo>
                  <a:lnTo>
                    <a:pt x="142" y="425"/>
                  </a:lnTo>
                  <a:lnTo>
                    <a:pt x="158" y="409"/>
                  </a:lnTo>
                  <a:lnTo>
                    <a:pt x="142" y="404"/>
                  </a:lnTo>
                  <a:lnTo>
                    <a:pt x="142" y="404"/>
                  </a:lnTo>
                  <a:lnTo>
                    <a:pt x="142" y="40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2" name="Freeform 533">
              <a:extLst>
                <a:ext uri="{FF2B5EF4-FFF2-40B4-BE49-F238E27FC236}">
                  <a16:creationId xmlns:a16="http://schemas.microsoft.com/office/drawing/2014/main" id="{E66736F1-4AA5-4F53-A157-BF489312DE55}"/>
                </a:ext>
              </a:extLst>
            </p:cNvPr>
            <p:cNvSpPr>
              <a:spLocks noEditPoints="1"/>
            </p:cNvSpPr>
            <p:nvPr/>
          </p:nvSpPr>
          <p:spPr bwMode="gray">
            <a:xfrm>
              <a:off x="11837990" y="3887262"/>
              <a:ext cx="134519" cy="55640"/>
            </a:xfrm>
            <a:custGeom>
              <a:avLst/>
              <a:gdLst>
                <a:gd name="T0" fmla="*/ 4 w 411"/>
                <a:gd name="T1" fmla="*/ 94 h 170"/>
                <a:gd name="T2" fmla="*/ 16 w 411"/>
                <a:gd name="T3" fmla="*/ 78 h 170"/>
                <a:gd name="T4" fmla="*/ 21 w 411"/>
                <a:gd name="T5" fmla="*/ 45 h 170"/>
                <a:gd name="T6" fmla="*/ 4 w 411"/>
                <a:gd name="T7" fmla="*/ 5 h 170"/>
                <a:gd name="T8" fmla="*/ 33 w 411"/>
                <a:gd name="T9" fmla="*/ 5 h 170"/>
                <a:gd name="T10" fmla="*/ 42 w 411"/>
                <a:gd name="T11" fmla="*/ 16 h 170"/>
                <a:gd name="T12" fmla="*/ 87 w 411"/>
                <a:gd name="T13" fmla="*/ 45 h 170"/>
                <a:gd name="T14" fmla="*/ 108 w 411"/>
                <a:gd name="T15" fmla="*/ 54 h 170"/>
                <a:gd name="T16" fmla="*/ 205 w 411"/>
                <a:gd name="T17" fmla="*/ 28 h 170"/>
                <a:gd name="T18" fmla="*/ 286 w 411"/>
                <a:gd name="T19" fmla="*/ 5 h 170"/>
                <a:gd name="T20" fmla="*/ 314 w 411"/>
                <a:gd name="T21" fmla="*/ 16 h 170"/>
                <a:gd name="T22" fmla="*/ 385 w 411"/>
                <a:gd name="T23" fmla="*/ 61 h 170"/>
                <a:gd name="T24" fmla="*/ 394 w 411"/>
                <a:gd name="T25" fmla="*/ 78 h 170"/>
                <a:gd name="T26" fmla="*/ 411 w 411"/>
                <a:gd name="T27" fmla="*/ 116 h 170"/>
                <a:gd name="T28" fmla="*/ 401 w 411"/>
                <a:gd name="T29" fmla="*/ 137 h 170"/>
                <a:gd name="T30" fmla="*/ 368 w 411"/>
                <a:gd name="T31" fmla="*/ 132 h 170"/>
                <a:gd name="T32" fmla="*/ 368 w 411"/>
                <a:gd name="T33" fmla="*/ 153 h 170"/>
                <a:gd name="T34" fmla="*/ 340 w 411"/>
                <a:gd name="T35" fmla="*/ 149 h 170"/>
                <a:gd name="T36" fmla="*/ 340 w 411"/>
                <a:gd name="T37" fmla="*/ 111 h 170"/>
                <a:gd name="T38" fmla="*/ 347 w 411"/>
                <a:gd name="T39" fmla="*/ 82 h 170"/>
                <a:gd name="T40" fmla="*/ 368 w 411"/>
                <a:gd name="T41" fmla="*/ 99 h 170"/>
                <a:gd name="T42" fmla="*/ 347 w 411"/>
                <a:gd name="T43" fmla="*/ 82 h 170"/>
                <a:gd name="T44" fmla="*/ 314 w 411"/>
                <a:gd name="T45" fmla="*/ 71 h 170"/>
                <a:gd name="T46" fmla="*/ 286 w 411"/>
                <a:gd name="T47" fmla="*/ 28 h 170"/>
                <a:gd name="T48" fmla="*/ 248 w 411"/>
                <a:gd name="T49" fmla="*/ 45 h 170"/>
                <a:gd name="T50" fmla="*/ 231 w 411"/>
                <a:gd name="T51" fmla="*/ 54 h 170"/>
                <a:gd name="T52" fmla="*/ 217 w 411"/>
                <a:gd name="T53" fmla="*/ 82 h 170"/>
                <a:gd name="T54" fmla="*/ 184 w 411"/>
                <a:gd name="T55" fmla="*/ 111 h 170"/>
                <a:gd name="T56" fmla="*/ 193 w 411"/>
                <a:gd name="T57" fmla="*/ 153 h 170"/>
                <a:gd name="T58" fmla="*/ 146 w 411"/>
                <a:gd name="T59" fmla="*/ 170 h 170"/>
                <a:gd name="T60" fmla="*/ 139 w 411"/>
                <a:gd name="T61" fmla="*/ 127 h 170"/>
                <a:gd name="T62" fmla="*/ 130 w 411"/>
                <a:gd name="T63" fmla="*/ 137 h 170"/>
                <a:gd name="T64" fmla="*/ 92 w 411"/>
                <a:gd name="T65" fmla="*/ 99 h 170"/>
                <a:gd name="T66" fmla="*/ 54 w 411"/>
                <a:gd name="T67" fmla="*/ 94 h 170"/>
                <a:gd name="T68" fmla="*/ 16 w 411"/>
                <a:gd name="T69" fmla="*/ 94 h 170"/>
                <a:gd name="T70" fmla="*/ 4 w 411"/>
                <a:gd name="T71" fmla="*/ 111 h 170"/>
                <a:gd name="T72" fmla="*/ 54 w 411"/>
                <a:gd name="T73" fmla="*/ 16 h 170"/>
                <a:gd name="T74" fmla="*/ 54 w 411"/>
                <a:gd name="T75" fmla="*/ 16 h 170"/>
                <a:gd name="T76" fmla="*/ 54 w 411"/>
                <a:gd name="T77" fmla="*/ 16 h 170"/>
                <a:gd name="T78" fmla="*/ 293 w 411"/>
                <a:gd name="T79" fmla="*/ 82 h 170"/>
                <a:gd name="T80" fmla="*/ 293 w 411"/>
                <a:gd name="T81" fmla="*/ 94 h 170"/>
                <a:gd name="T82" fmla="*/ 293 w 411"/>
                <a:gd name="T83" fmla="*/ 82 h 170"/>
                <a:gd name="T84" fmla="*/ 293 w 411"/>
                <a:gd name="T85" fmla="*/ 82 h 170"/>
                <a:gd name="T86" fmla="*/ 92 w 411"/>
                <a:gd name="T87" fmla="*/ 153 h 170"/>
                <a:gd name="T88" fmla="*/ 87 w 411"/>
                <a:gd name="T89" fmla="*/ 153 h 170"/>
                <a:gd name="T90" fmla="*/ 92 w 411"/>
                <a:gd name="T91" fmla="*/ 137 h 170"/>
                <a:gd name="T92" fmla="*/ 92 w 411"/>
                <a:gd name="T9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1" h="170">
                  <a:moveTo>
                    <a:pt x="4" y="111"/>
                  </a:moveTo>
                  <a:lnTo>
                    <a:pt x="4" y="94"/>
                  </a:lnTo>
                  <a:lnTo>
                    <a:pt x="0" y="94"/>
                  </a:lnTo>
                  <a:lnTo>
                    <a:pt x="16" y="78"/>
                  </a:lnTo>
                  <a:lnTo>
                    <a:pt x="4" y="61"/>
                  </a:lnTo>
                  <a:lnTo>
                    <a:pt x="21" y="45"/>
                  </a:lnTo>
                  <a:lnTo>
                    <a:pt x="4" y="38"/>
                  </a:lnTo>
                  <a:lnTo>
                    <a:pt x="4" y="5"/>
                  </a:lnTo>
                  <a:lnTo>
                    <a:pt x="16" y="0"/>
                  </a:lnTo>
                  <a:lnTo>
                    <a:pt x="33" y="5"/>
                  </a:lnTo>
                  <a:lnTo>
                    <a:pt x="33" y="0"/>
                  </a:lnTo>
                  <a:lnTo>
                    <a:pt x="42" y="16"/>
                  </a:lnTo>
                  <a:lnTo>
                    <a:pt x="54" y="45"/>
                  </a:lnTo>
                  <a:lnTo>
                    <a:pt x="87" y="45"/>
                  </a:lnTo>
                  <a:lnTo>
                    <a:pt x="87" y="28"/>
                  </a:lnTo>
                  <a:lnTo>
                    <a:pt x="108" y="54"/>
                  </a:lnTo>
                  <a:lnTo>
                    <a:pt x="130" y="61"/>
                  </a:lnTo>
                  <a:lnTo>
                    <a:pt x="205" y="28"/>
                  </a:lnTo>
                  <a:lnTo>
                    <a:pt x="238" y="0"/>
                  </a:lnTo>
                  <a:lnTo>
                    <a:pt x="286" y="5"/>
                  </a:lnTo>
                  <a:lnTo>
                    <a:pt x="276" y="16"/>
                  </a:lnTo>
                  <a:lnTo>
                    <a:pt x="314" y="16"/>
                  </a:lnTo>
                  <a:lnTo>
                    <a:pt x="356" y="21"/>
                  </a:lnTo>
                  <a:lnTo>
                    <a:pt x="385" y="61"/>
                  </a:lnTo>
                  <a:lnTo>
                    <a:pt x="401" y="71"/>
                  </a:lnTo>
                  <a:lnTo>
                    <a:pt x="394" y="78"/>
                  </a:lnTo>
                  <a:lnTo>
                    <a:pt x="411" y="111"/>
                  </a:lnTo>
                  <a:lnTo>
                    <a:pt x="411" y="116"/>
                  </a:lnTo>
                  <a:lnTo>
                    <a:pt x="401" y="132"/>
                  </a:lnTo>
                  <a:lnTo>
                    <a:pt x="401" y="137"/>
                  </a:lnTo>
                  <a:lnTo>
                    <a:pt x="385" y="149"/>
                  </a:lnTo>
                  <a:lnTo>
                    <a:pt x="368" y="132"/>
                  </a:lnTo>
                  <a:lnTo>
                    <a:pt x="368" y="149"/>
                  </a:lnTo>
                  <a:lnTo>
                    <a:pt x="368" y="153"/>
                  </a:lnTo>
                  <a:lnTo>
                    <a:pt x="364" y="170"/>
                  </a:lnTo>
                  <a:lnTo>
                    <a:pt x="340" y="149"/>
                  </a:lnTo>
                  <a:lnTo>
                    <a:pt x="323" y="111"/>
                  </a:lnTo>
                  <a:lnTo>
                    <a:pt x="340" y="111"/>
                  </a:lnTo>
                  <a:lnTo>
                    <a:pt x="330" y="94"/>
                  </a:lnTo>
                  <a:lnTo>
                    <a:pt x="347" y="82"/>
                  </a:lnTo>
                  <a:lnTo>
                    <a:pt x="356" y="94"/>
                  </a:lnTo>
                  <a:lnTo>
                    <a:pt x="368" y="99"/>
                  </a:lnTo>
                  <a:lnTo>
                    <a:pt x="356" y="94"/>
                  </a:lnTo>
                  <a:lnTo>
                    <a:pt x="347" y="82"/>
                  </a:lnTo>
                  <a:lnTo>
                    <a:pt x="323" y="94"/>
                  </a:lnTo>
                  <a:lnTo>
                    <a:pt x="314" y="71"/>
                  </a:lnTo>
                  <a:lnTo>
                    <a:pt x="276" y="45"/>
                  </a:lnTo>
                  <a:lnTo>
                    <a:pt x="286" y="28"/>
                  </a:lnTo>
                  <a:lnTo>
                    <a:pt x="276" y="38"/>
                  </a:lnTo>
                  <a:lnTo>
                    <a:pt x="248" y="45"/>
                  </a:lnTo>
                  <a:lnTo>
                    <a:pt x="248" y="45"/>
                  </a:lnTo>
                  <a:lnTo>
                    <a:pt x="231" y="54"/>
                  </a:lnTo>
                  <a:lnTo>
                    <a:pt x="231" y="71"/>
                  </a:lnTo>
                  <a:lnTo>
                    <a:pt x="217" y="82"/>
                  </a:lnTo>
                  <a:lnTo>
                    <a:pt x="179" y="99"/>
                  </a:lnTo>
                  <a:lnTo>
                    <a:pt x="184" y="111"/>
                  </a:lnTo>
                  <a:lnTo>
                    <a:pt x="217" y="149"/>
                  </a:lnTo>
                  <a:lnTo>
                    <a:pt x="193" y="153"/>
                  </a:lnTo>
                  <a:lnTo>
                    <a:pt x="184" y="170"/>
                  </a:lnTo>
                  <a:lnTo>
                    <a:pt x="146" y="170"/>
                  </a:lnTo>
                  <a:lnTo>
                    <a:pt x="151" y="165"/>
                  </a:lnTo>
                  <a:lnTo>
                    <a:pt x="139" y="127"/>
                  </a:lnTo>
                  <a:lnTo>
                    <a:pt x="130" y="127"/>
                  </a:lnTo>
                  <a:lnTo>
                    <a:pt x="130" y="137"/>
                  </a:lnTo>
                  <a:lnTo>
                    <a:pt x="108" y="137"/>
                  </a:lnTo>
                  <a:lnTo>
                    <a:pt x="92" y="99"/>
                  </a:lnTo>
                  <a:lnTo>
                    <a:pt x="59" y="99"/>
                  </a:lnTo>
                  <a:lnTo>
                    <a:pt x="54" y="94"/>
                  </a:lnTo>
                  <a:lnTo>
                    <a:pt x="21" y="94"/>
                  </a:lnTo>
                  <a:lnTo>
                    <a:pt x="16" y="94"/>
                  </a:lnTo>
                  <a:lnTo>
                    <a:pt x="4" y="111"/>
                  </a:lnTo>
                  <a:lnTo>
                    <a:pt x="4" y="111"/>
                  </a:lnTo>
                  <a:lnTo>
                    <a:pt x="4" y="111"/>
                  </a:lnTo>
                  <a:close/>
                  <a:moveTo>
                    <a:pt x="54" y="16"/>
                  </a:moveTo>
                  <a:lnTo>
                    <a:pt x="54" y="21"/>
                  </a:lnTo>
                  <a:lnTo>
                    <a:pt x="54" y="16"/>
                  </a:lnTo>
                  <a:lnTo>
                    <a:pt x="54" y="16"/>
                  </a:lnTo>
                  <a:lnTo>
                    <a:pt x="54" y="16"/>
                  </a:lnTo>
                  <a:lnTo>
                    <a:pt x="54" y="16"/>
                  </a:lnTo>
                  <a:close/>
                  <a:moveTo>
                    <a:pt x="293" y="82"/>
                  </a:moveTo>
                  <a:lnTo>
                    <a:pt x="293" y="94"/>
                  </a:lnTo>
                  <a:lnTo>
                    <a:pt x="293" y="94"/>
                  </a:lnTo>
                  <a:lnTo>
                    <a:pt x="286" y="82"/>
                  </a:lnTo>
                  <a:lnTo>
                    <a:pt x="293" y="82"/>
                  </a:lnTo>
                  <a:lnTo>
                    <a:pt x="293" y="82"/>
                  </a:lnTo>
                  <a:lnTo>
                    <a:pt x="293" y="82"/>
                  </a:lnTo>
                  <a:close/>
                  <a:moveTo>
                    <a:pt x="92" y="137"/>
                  </a:moveTo>
                  <a:lnTo>
                    <a:pt x="92" y="153"/>
                  </a:lnTo>
                  <a:lnTo>
                    <a:pt x="97" y="165"/>
                  </a:lnTo>
                  <a:lnTo>
                    <a:pt x="87" y="153"/>
                  </a:lnTo>
                  <a:lnTo>
                    <a:pt x="87" y="149"/>
                  </a:lnTo>
                  <a:lnTo>
                    <a:pt x="92" y="137"/>
                  </a:lnTo>
                  <a:lnTo>
                    <a:pt x="92" y="137"/>
                  </a:lnTo>
                  <a:lnTo>
                    <a:pt x="92" y="13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3" name="Freeform 534">
              <a:extLst>
                <a:ext uri="{FF2B5EF4-FFF2-40B4-BE49-F238E27FC236}">
                  <a16:creationId xmlns:a16="http://schemas.microsoft.com/office/drawing/2014/main" id="{00CF3EF1-1BE8-4319-9431-37E8128B1BAF}"/>
                </a:ext>
              </a:extLst>
            </p:cNvPr>
            <p:cNvSpPr>
              <a:spLocks noEditPoints="1"/>
            </p:cNvSpPr>
            <p:nvPr/>
          </p:nvSpPr>
          <p:spPr bwMode="gray">
            <a:xfrm>
              <a:off x="13027713" y="3056910"/>
              <a:ext cx="575387" cy="258237"/>
            </a:xfrm>
            <a:custGeom>
              <a:avLst/>
              <a:gdLst>
                <a:gd name="T0" fmla="*/ 1613 w 1758"/>
                <a:gd name="T1" fmla="*/ 0 h 789"/>
                <a:gd name="T2" fmla="*/ 1613 w 1758"/>
                <a:gd name="T3" fmla="*/ 28 h 789"/>
                <a:gd name="T4" fmla="*/ 1651 w 1758"/>
                <a:gd name="T5" fmla="*/ 28 h 789"/>
                <a:gd name="T6" fmla="*/ 1689 w 1758"/>
                <a:gd name="T7" fmla="*/ 28 h 789"/>
                <a:gd name="T8" fmla="*/ 1727 w 1758"/>
                <a:gd name="T9" fmla="*/ 16 h 789"/>
                <a:gd name="T10" fmla="*/ 1758 w 1758"/>
                <a:gd name="T11" fmla="*/ 49 h 789"/>
                <a:gd name="T12" fmla="*/ 1703 w 1758"/>
                <a:gd name="T13" fmla="*/ 99 h 789"/>
                <a:gd name="T14" fmla="*/ 1710 w 1758"/>
                <a:gd name="T15" fmla="*/ 144 h 789"/>
                <a:gd name="T16" fmla="*/ 1703 w 1758"/>
                <a:gd name="T17" fmla="*/ 165 h 789"/>
                <a:gd name="T18" fmla="*/ 1710 w 1758"/>
                <a:gd name="T19" fmla="*/ 182 h 789"/>
                <a:gd name="T20" fmla="*/ 1665 w 1758"/>
                <a:gd name="T21" fmla="*/ 215 h 789"/>
                <a:gd name="T22" fmla="*/ 1703 w 1758"/>
                <a:gd name="T23" fmla="*/ 272 h 789"/>
                <a:gd name="T24" fmla="*/ 1673 w 1758"/>
                <a:gd name="T25" fmla="*/ 321 h 789"/>
                <a:gd name="T26" fmla="*/ 1703 w 1758"/>
                <a:gd name="T27" fmla="*/ 342 h 789"/>
                <a:gd name="T28" fmla="*/ 1677 w 1758"/>
                <a:gd name="T29" fmla="*/ 359 h 789"/>
                <a:gd name="T30" fmla="*/ 1665 w 1758"/>
                <a:gd name="T31" fmla="*/ 387 h 789"/>
                <a:gd name="T32" fmla="*/ 1673 w 1758"/>
                <a:gd name="T33" fmla="*/ 420 h 789"/>
                <a:gd name="T34" fmla="*/ 1580 w 1758"/>
                <a:gd name="T35" fmla="*/ 432 h 789"/>
                <a:gd name="T36" fmla="*/ 1569 w 1758"/>
                <a:gd name="T37" fmla="*/ 404 h 789"/>
                <a:gd name="T38" fmla="*/ 1580 w 1758"/>
                <a:gd name="T39" fmla="*/ 321 h 789"/>
                <a:gd name="T40" fmla="*/ 1547 w 1758"/>
                <a:gd name="T41" fmla="*/ 321 h 789"/>
                <a:gd name="T42" fmla="*/ 1547 w 1758"/>
                <a:gd name="T43" fmla="*/ 305 h 789"/>
                <a:gd name="T44" fmla="*/ 1559 w 1758"/>
                <a:gd name="T45" fmla="*/ 276 h 789"/>
                <a:gd name="T46" fmla="*/ 1526 w 1758"/>
                <a:gd name="T47" fmla="*/ 293 h 789"/>
                <a:gd name="T48" fmla="*/ 1547 w 1758"/>
                <a:gd name="T49" fmla="*/ 222 h 789"/>
                <a:gd name="T50" fmla="*/ 1580 w 1758"/>
                <a:gd name="T51" fmla="*/ 127 h 789"/>
                <a:gd name="T52" fmla="*/ 1580 w 1758"/>
                <a:gd name="T53" fmla="*/ 127 h 789"/>
                <a:gd name="T54" fmla="*/ 1564 w 1758"/>
                <a:gd name="T55" fmla="*/ 33 h 789"/>
                <a:gd name="T56" fmla="*/ 1569 w 1758"/>
                <a:gd name="T57" fmla="*/ 16 h 789"/>
                <a:gd name="T58" fmla="*/ 0 w 1758"/>
                <a:gd name="T59" fmla="*/ 238 h 789"/>
                <a:gd name="T60" fmla="*/ 0 w 1758"/>
                <a:gd name="T61" fmla="*/ 231 h 789"/>
                <a:gd name="T62" fmla="*/ 0 w 1758"/>
                <a:gd name="T63" fmla="*/ 238 h 789"/>
                <a:gd name="T64" fmla="*/ 0 w 1758"/>
                <a:gd name="T65" fmla="*/ 238 h 789"/>
                <a:gd name="T66" fmla="*/ 269 w 1758"/>
                <a:gd name="T67" fmla="*/ 305 h 789"/>
                <a:gd name="T68" fmla="*/ 291 w 1758"/>
                <a:gd name="T69" fmla="*/ 293 h 789"/>
                <a:gd name="T70" fmla="*/ 286 w 1758"/>
                <a:gd name="T71" fmla="*/ 305 h 789"/>
                <a:gd name="T72" fmla="*/ 286 w 1758"/>
                <a:gd name="T73" fmla="*/ 305 h 789"/>
                <a:gd name="T74" fmla="*/ 194 w 1758"/>
                <a:gd name="T75" fmla="*/ 321 h 789"/>
                <a:gd name="T76" fmla="*/ 199 w 1758"/>
                <a:gd name="T77" fmla="*/ 309 h 789"/>
                <a:gd name="T78" fmla="*/ 203 w 1758"/>
                <a:gd name="T79" fmla="*/ 326 h 789"/>
                <a:gd name="T80" fmla="*/ 203 w 1758"/>
                <a:gd name="T81" fmla="*/ 326 h 789"/>
                <a:gd name="T82" fmla="*/ 383 w 1758"/>
                <a:gd name="T83" fmla="*/ 375 h 789"/>
                <a:gd name="T84" fmla="*/ 421 w 1758"/>
                <a:gd name="T85" fmla="*/ 364 h 789"/>
                <a:gd name="T86" fmla="*/ 409 w 1758"/>
                <a:gd name="T87" fmla="*/ 380 h 789"/>
                <a:gd name="T88" fmla="*/ 409 w 1758"/>
                <a:gd name="T89" fmla="*/ 380 h 789"/>
                <a:gd name="T90" fmla="*/ 421 w 1758"/>
                <a:gd name="T91" fmla="*/ 437 h 789"/>
                <a:gd name="T92" fmla="*/ 437 w 1758"/>
                <a:gd name="T93" fmla="*/ 442 h 789"/>
                <a:gd name="T94" fmla="*/ 437 w 1758"/>
                <a:gd name="T95" fmla="*/ 442 h 789"/>
                <a:gd name="T96" fmla="*/ 976 w 1758"/>
                <a:gd name="T97" fmla="*/ 772 h 789"/>
                <a:gd name="T98" fmla="*/ 1018 w 1758"/>
                <a:gd name="T99" fmla="*/ 784 h 789"/>
                <a:gd name="T100" fmla="*/ 1002 w 1758"/>
                <a:gd name="T101" fmla="*/ 789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58" h="789">
                  <a:moveTo>
                    <a:pt x="1569" y="16"/>
                  </a:moveTo>
                  <a:lnTo>
                    <a:pt x="1613" y="0"/>
                  </a:lnTo>
                  <a:lnTo>
                    <a:pt x="1623" y="12"/>
                  </a:lnTo>
                  <a:lnTo>
                    <a:pt x="1613" y="28"/>
                  </a:lnTo>
                  <a:lnTo>
                    <a:pt x="1618" y="33"/>
                  </a:lnTo>
                  <a:lnTo>
                    <a:pt x="1651" y="28"/>
                  </a:lnTo>
                  <a:lnTo>
                    <a:pt x="1673" y="33"/>
                  </a:lnTo>
                  <a:lnTo>
                    <a:pt x="1689" y="28"/>
                  </a:lnTo>
                  <a:lnTo>
                    <a:pt x="1689" y="16"/>
                  </a:lnTo>
                  <a:lnTo>
                    <a:pt x="1727" y="16"/>
                  </a:lnTo>
                  <a:lnTo>
                    <a:pt x="1732" y="45"/>
                  </a:lnTo>
                  <a:lnTo>
                    <a:pt x="1758" y="49"/>
                  </a:lnTo>
                  <a:lnTo>
                    <a:pt x="1741" y="73"/>
                  </a:lnTo>
                  <a:lnTo>
                    <a:pt x="1703" y="99"/>
                  </a:lnTo>
                  <a:lnTo>
                    <a:pt x="1710" y="111"/>
                  </a:lnTo>
                  <a:lnTo>
                    <a:pt x="1710" y="144"/>
                  </a:lnTo>
                  <a:lnTo>
                    <a:pt x="1710" y="160"/>
                  </a:lnTo>
                  <a:lnTo>
                    <a:pt x="1703" y="165"/>
                  </a:lnTo>
                  <a:lnTo>
                    <a:pt x="1694" y="177"/>
                  </a:lnTo>
                  <a:lnTo>
                    <a:pt x="1710" y="182"/>
                  </a:lnTo>
                  <a:lnTo>
                    <a:pt x="1694" y="215"/>
                  </a:lnTo>
                  <a:lnTo>
                    <a:pt x="1665" y="215"/>
                  </a:lnTo>
                  <a:lnTo>
                    <a:pt x="1677" y="255"/>
                  </a:lnTo>
                  <a:lnTo>
                    <a:pt x="1703" y="272"/>
                  </a:lnTo>
                  <a:lnTo>
                    <a:pt x="1677" y="293"/>
                  </a:lnTo>
                  <a:lnTo>
                    <a:pt x="1673" y="321"/>
                  </a:lnTo>
                  <a:lnTo>
                    <a:pt x="1694" y="342"/>
                  </a:lnTo>
                  <a:lnTo>
                    <a:pt x="1703" y="342"/>
                  </a:lnTo>
                  <a:lnTo>
                    <a:pt x="1694" y="347"/>
                  </a:lnTo>
                  <a:lnTo>
                    <a:pt x="1677" y="359"/>
                  </a:lnTo>
                  <a:lnTo>
                    <a:pt x="1665" y="380"/>
                  </a:lnTo>
                  <a:lnTo>
                    <a:pt x="1665" y="387"/>
                  </a:lnTo>
                  <a:lnTo>
                    <a:pt x="1665" y="420"/>
                  </a:lnTo>
                  <a:lnTo>
                    <a:pt x="1673" y="420"/>
                  </a:lnTo>
                  <a:lnTo>
                    <a:pt x="1635" y="437"/>
                  </a:lnTo>
                  <a:lnTo>
                    <a:pt x="1580" y="432"/>
                  </a:lnTo>
                  <a:lnTo>
                    <a:pt x="1559" y="437"/>
                  </a:lnTo>
                  <a:lnTo>
                    <a:pt x="1569" y="404"/>
                  </a:lnTo>
                  <a:lnTo>
                    <a:pt x="1569" y="326"/>
                  </a:lnTo>
                  <a:lnTo>
                    <a:pt x="1580" y="321"/>
                  </a:lnTo>
                  <a:lnTo>
                    <a:pt x="1569" y="309"/>
                  </a:lnTo>
                  <a:lnTo>
                    <a:pt x="1547" y="321"/>
                  </a:lnTo>
                  <a:lnTo>
                    <a:pt x="1543" y="305"/>
                  </a:lnTo>
                  <a:lnTo>
                    <a:pt x="1547" y="305"/>
                  </a:lnTo>
                  <a:lnTo>
                    <a:pt x="1564" y="293"/>
                  </a:lnTo>
                  <a:lnTo>
                    <a:pt x="1559" y="276"/>
                  </a:lnTo>
                  <a:lnTo>
                    <a:pt x="1547" y="293"/>
                  </a:lnTo>
                  <a:lnTo>
                    <a:pt x="1526" y="293"/>
                  </a:lnTo>
                  <a:lnTo>
                    <a:pt x="1531" y="238"/>
                  </a:lnTo>
                  <a:lnTo>
                    <a:pt x="1547" y="222"/>
                  </a:lnTo>
                  <a:lnTo>
                    <a:pt x="1569" y="139"/>
                  </a:lnTo>
                  <a:lnTo>
                    <a:pt x="1580" y="127"/>
                  </a:lnTo>
                  <a:lnTo>
                    <a:pt x="1580" y="123"/>
                  </a:lnTo>
                  <a:lnTo>
                    <a:pt x="1580" y="127"/>
                  </a:lnTo>
                  <a:lnTo>
                    <a:pt x="1580" y="99"/>
                  </a:lnTo>
                  <a:lnTo>
                    <a:pt x="1564" y="33"/>
                  </a:lnTo>
                  <a:lnTo>
                    <a:pt x="1569" y="16"/>
                  </a:lnTo>
                  <a:lnTo>
                    <a:pt x="1569" y="16"/>
                  </a:lnTo>
                  <a:lnTo>
                    <a:pt x="1569" y="16"/>
                  </a:lnTo>
                  <a:close/>
                  <a:moveTo>
                    <a:pt x="0" y="238"/>
                  </a:moveTo>
                  <a:lnTo>
                    <a:pt x="0" y="238"/>
                  </a:lnTo>
                  <a:lnTo>
                    <a:pt x="0" y="231"/>
                  </a:lnTo>
                  <a:lnTo>
                    <a:pt x="5" y="231"/>
                  </a:lnTo>
                  <a:lnTo>
                    <a:pt x="0" y="238"/>
                  </a:lnTo>
                  <a:lnTo>
                    <a:pt x="0" y="238"/>
                  </a:lnTo>
                  <a:lnTo>
                    <a:pt x="0" y="238"/>
                  </a:lnTo>
                  <a:close/>
                  <a:moveTo>
                    <a:pt x="286" y="305"/>
                  </a:moveTo>
                  <a:lnTo>
                    <a:pt x="269" y="305"/>
                  </a:lnTo>
                  <a:lnTo>
                    <a:pt x="269" y="293"/>
                  </a:lnTo>
                  <a:lnTo>
                    <a:pt x="291" y="293"/>
                  </a:lnTo>
                  <a:lnTo>
                    <a:pt x="291" y="293"/>
                  </a:lnTo>
                  <a:lnTo>
                    <a:pt x="286" y="305"/>
                  </a:lnTo>
                  <a:lnTo>
                    <a:pt x="286" y="305"/>
                  </a:lnTo>
                  <a:lnTo>
                    <a:pt x="286" y="305"/>
                  </a:lnTo>
                  <a:close/>
                  <a:moveTo>
                    <a:pt x="203" y="326"/>
                  </a:moveTo>
                  <a:lnTo>
                    <a:pt x="194" y="321"/>
                  </a:lnTo>
                  <a:lnTo>
                    <a:pt x="182" y="309"/>
                  </a:lnTo>
                  <a:lnTo>
                    <a:pt x="199" y="309"/>
                  </a:lnTo>
                  <a:lnTo>
                    <a:pt x="220" y="321"/>
                  </a:lnTo>
                  <a:lnTo>
                    <a:pt x="203" y="326"/>
                  </a:lnTo>
                  <a:lnTo>
                    <a:pt x="203" y="326"/>
                  </a:lnTo>
                  <a:lnTo>
                    <a:pt x="203" y="326"/>
                  </a:lnTo>
                  <a:close/>
                  <a:moveTo>
                    <a:pt x="409" y="380"/>
                  </a:moveTo>
                  <a:lnTo>
                    <a:pt x="383" y="375"/>
                  </a:lnTo>
                  <a:lnTo>
                    <a:pt x="376" y="364"/>
                  </a:lnTo>
                  <a:lnTo>
                    <a:pt x="421" y="364"/>
                  </a:lnTo>
                  <a:lnTo>
                    <a:pt x="421" y="375"/>
                  </a:lnTo>
                  <a:lnTo>
                    <a:pt x="409" y="380"/>
                  </a:lnTo>
                  <a:lnTo>
                    <a:pt x="409" y="380"/>
                  </a:lnTo>
                  <a:lnTo>
                    <a:pt x="409" y="380"/>
                  </a:lnTo>
                  <a:close/>
                  <a:moveTo>
                    <a:pt x="437" y="442"/>
                  </a:moveTo>
                  <a:lnTo>
                    <a:pt x="421" y="437"/>
                  </a:lnTo>
                  <a:lnTo>
                    <a:pt x="430" y="437"/>
                  </a:lnTo>
                  <a:lnTo>
                    <a:pt x="437" y="442"/>
                  </a:lnTo>
                  <a:lnTo>
                    <a:pt x="437" y="442"/>
                  </a:lnTo>
                  <a:lnTo>
                    <a:pt x="437" y="442"/>
                  </a:lnTo>
                  <a:close/>
                  <a:moveTo>
                    <a:pt x="1002" y="789"/>
                  </a:moveTo>
                  <a:lnTo>
                    <a:pt x="976" y="772"/>
                  </a:lnTo>
                  <a:lnTo>
                    <a:pt x="987" y="772"/>
                  </a:lnTo>
                  <a:lnTo>
                    <a:pt x="1018" y="784"/>
                  </a:lnTo>
                  <a:lnTo>
                    <a:pt x="1002" y="789"/>
                  </a:lnTo>
                  <a:lnTo>
                    <a:pt x="1002" y="789"/>
                  </a:lnTo>
                  <a:lnTo>
                    <a:pt x="1002" y="78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4" name="Freeform 535">
              <a:extLst>
                <a:ext uri="{FF2B5EF4-FFF2-40B4-BE49-F238E27FC236}">
                  <a16:creationId xmlns:a16="http://schemas.microsoft.com/office/drawing/2014/main" id="{5E712EEC-0743-4686-A1C9-BA0E66F9EF3B}"/>
                </a:ext>
              </a:extLst>
            </p:cNvPr>
            <p:cNvSpPr>
              <a:spLocks noEditPoints="1"/>
            </p:cNvSpPr>
            <p:nvPr/>
          </p:nvSpPr>
          <p:spPr bwMode="gray">
            <a:xfrm>
              <a:off x="16978511" y="4146808"/>
              <a:ext cx="345625" cy="242854"/>
            </a:xfrm>
            <a:custGeom>
              <a:avLst/>
              <a:gdLst>
                <a:gd name="T0" fmla="*/ 616 w 1056"/>
                <a:gd name="T1" fmla="*/ 17 h 742"/>
                <a:gd name="T2" fmla="*/ 394 w 1056"/>
                <a:gd name="T3" fmla="*/ 62 h 742"/>
                <a:gd name="T4" fmla="*/ 482 w 1056"/>
                <a:gd name="T5" fmla="*/ 71 h 742"/>
                <a:gd name="T6" fmla="*/ 666 w 1056"/>
                <a:gd name="T7" fmla="*/ 95 h 742"/>
                <a:gd name="T8" fmla="*/ 666 w 1056"/>
                <a:gd name="T9" fmla="*/ 95 h 742"/>
                <a:gd name="T10" fmla="*/ 860 w 1056"/>
                <a:gd name="T11" fmla="*/ 227 h 742"/>
                <a:gd name="T12" fmla="*/ 789 w 1056"/>
                <a:gd name="T13" fmla="*/ 149 h 742"/>
                <a:gd name="T14" fmla="*/ 768 w 1056"/>
                <a:gd name="T15" fmla="*/ 133 h 742"/>
                <a:gd name="T16" fmla="*/ 9 w 1056"/>
                <a:gd name="T17" fmla="*/ 393 h 742"/>
                <a:gd name="T18" fmla="*/ 118 w 1056"/>
                <a:gd name="T19" fmla="*/ 133 h 742"/>
                <a:gd name="T20" fmla="*/ 253 w 1056"/>
                <a:gd name="T21" fmla="*/ 189 h 742"/>
                <a:gd name="T22" fmla="*/ 340 w 1056"/>
                <a:gd name="T23" fmla="*/ 300 h 742"/>
                <a:gd name="T24" fmla="*/ 470 w 1056"/>
                <a:gd name="T25" fmla="*/ 388 h 742"/>
                <a:gd name="T26" fmla="*/ 482 w 1056"/>
                <a:gd name="T27" fmla="*/ 471 h 742"/>
                <a:gd name="T28" fmla="*/ 595 w 1056"/>
                <a:gd name="T29" fmla="*/ 560 h 742"/>
                <a:gd name="T30" fmla="*/ 616 w 1056"/>
                <a:gd name="T31" fmla="*/ 610 h 742"/>
                <a:gd name="T32" fmla="*/ 666 w 1056"/>
                <a:gd name="T33" fmla="*/ 648 h 742"/>
                <a:gd name="T34" fmla="*/ 616 w 1056"/>
                <a:gd name="T35" fmla="*/ 648 h 742"/>
                <a:gd name="T36" fmla="*/ 470 w 1056"/>
                <a:gd name="T37" fmla="*/ 626 h 742"/>
                <a:gd name="T38" fmla="*/ 399 w 1056"/>
                <a:gd name="T39" fmla="*/ 553 h 742"/>
                <a:gd name="T40" fmla="*/ 253 w 1056"/>
                <a:gd name="T41" fmla="*/ 449 h 742"/>
                <a:gd name="T42" fmla="*/ 238 w 1056"/>
                <a:gd name="T43" fmla="*/ 449 h 742"/>
                <a:gd name="T44" fmla="*/ 172 w 1056"/>
                <a:gd name="T45" fmla="*/ 471 h 742"/>
                <a:gd name="T46" fmla="*/ 101 w 1056"/>
                <a:gd name="T47" fmla="*/ 487 h 742"/>
                <a:gd name="T48" fmla="*/ 177 w 1056"/>
                <a:gd name="T49" fmla="*/ 537 h 742"/>
                <a:gd name="T50" fmla="*/ 47 w 1056"/>
                <a:gd name="T51" fmla="*/ 570 h 742"/>
                <a:gd name="T52" fmla="*/ 775 w 1056"/>
                <a:gd name="T53" fmla="*/ 100 h 742"/>
                <a:gd name="T54" fmla="*/ 697 w 1056"/>
                <a:gd name="T55" fmla="*/ 116 h 742"/>
                <a:gd name="T56" fmla="*/ 827 w 1056"/>
                <a:gd name="T57" fmla="*/ 133 h 742"/>
                <a:gd name="T58" fmla="*/ 897 w 1056"/>
                <a:gd name="T59" fmla="*/ 194 h 742"/>
                <a:gd name="T60" fmla="*/ 687 w 1056"/>
                <a:gd name="T61" fmla="*/ 338 h 742"/>
                <a:gd name="T62" fmla="*/ 553 w 1056"/>
                <a:gd name="T63" fmla="*/ 322 h 742"/>
                <a:gd name="T64" fmla="*/ 633 w 1056"/>
                <a:gd name="T65" fmla="*/ 300 h 742"/>
                <a:gd name="T66" fmla="*/ 642 w 1056"/>
                <a:gd name="T67" fmla="*/ 284 h 742"/>
                <a:gd name="T68" fmla="*/ 730 w 1056"/>
                <a:gd name="T69" fmla="*/ 260 h 742"/>
                <a:gd name="T70" fmla="*/ 789 w 1056"/>
                <a:gd name="T71" fmla="*/ 211 h 742"/>
                <a:gd name="T72" fmla="*/ 789 w 1056"/>
                <a:gd name="T73" fmla="*/ 284 h 742"/>
                <a:gd name="T74" fmla="*/ 687 w 1056"/>
                <a:gd name="T75" fmla="*/ 338 h 742"/>
                <a:gd name="T76" fmla="*/ 357 w 1056"/>
                <a:gd name="T77" fmla="*/ 244 h 742"/>
                <a:gd name="T78" fmla="*/ 612 w 1056"/>
                <a:gd name="T79" fmla="*/ 244 h 742"/>
                <a:gd name="T80" fmla="*/ 973 w 1056"/>
                <a:gd name="T81" fmla="*/ 277 h 742"/>
                <a:gd name="T82" fmla="*/ 432 w 1056"/>
                <a:gd name="T83" fmla="*/ 277 h 742"/>
                <a:gd name="T84" fmla="*/ 1023 w 1056"/>
                <a:gd name="T85" fmla="*/ 350 h 742"/>
                <a:gd name="T86" fmla="*/ 1006 w 1056"/>
                <a:gd name="T87" fmla="*/ 371 h 742"/>
                <a:gd name="T88" fmla="*/ 1006 w 1056"/>
                <a:gd name="T89" fmla="*/ 322 h 742"/>
                <a:gd name="T90" fmla="*/ 482 w 1056"/>
                <a:gd name="T91" fmla="*/ 300 h 742"/>
                <a:gd name="T92" fmla="*/ 194 w 1056"/>
                <a:gd name="T93" fmla="*/ 482 h 742"/>
                <a:gd name="T94" fmla="*/ 194 w 1056"/>
                <a:gd name="T95" fmla="*/ 487 h 742"/>
                <a:gd name="T96" fmla="*/ 172 w 1056"/>
                <a:gd name="T97" fmla="*/ 504 h 742"/>
                <a:gd name="T98" fmla="*/ 163 w 1056"/>
                <a:gd name="T99" fmla="*/ 504 h 742"/>
                <a:gd name="T100" fmla="*/ 713 w 1056"/>
                <a:gd name="T101" fmla="*/ 515 h 742"/>
                <a:gd name="T102" fmla="*/ 812 w 1056"/>
                <a:gd name="T103" fmla="*/ 553 h 742"/>
                <a:gd name="T104" fmla="*/ 666 w 1056"/>
                <a:gd name="T105" fmla="*/ 582 h 742"/>
                <a:gd name="T106" fmla="*/ 666 w 1056"/>
                <a:gd name="T107" fmla="*/ 582 h 742"/>
                <a:gd name="T108" fmla="*/ 697 w 1056"/>
                <a:gd name="T109" fmla="*/ 598 h 742"/>
                <a:gd name="T110" fmla="*/ 720 w 1056"/>
                <a:gd name="T111" fmla="*/ 626 h 742"/>
                <a:gd name="T112" fmla="*/ 697 w 1056"/>
                <a:gd name="T113" fmla="*/ 671 h 742"/>
                <a:gd name="T114" fmla="*/ 704 w 1056"/>
                <a:gd name="T115" fmla="*/ 671 h 742"/>
                <a:gd name="T116" fmla="*/ 704 w 1056"/>
                <a:gd name="T117" fmla="*/ 671 h 742"/>
                <a:gd name="T118" fmla="*/ 838 w 1056"/>
                <a:gd name="T119" fmla="*/ 671 h 742"/>
                <a:gd name="T120" fmla="*/ 864 w 1056"/>
                <a:gd name="T121" fmla="*/ 721 h 742"/>
                <a:gd name="T122" fmla="*/ 931 w 1056"/>
                <a:gd name="T123" fmla="*/ 726 h 742"/>
                <a:gd name="T124" fmla="*/ 893 w 1056"/>
                <a:gd name="T125" fmla="*/ 74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6" h="742">
                  <a:moveTo>
                    <a:pt x="616" y="17"/>
                  </a:moveTo>
                  <a:lnTo>
                    <a:pt x="605" y="5"/>
                  </a:lnTo>
                  <a:lnTo>
                    <a:pt x="612" y="0"/>
                  </a:lnTo>
                  <a:lnTo>
                    <a:pt x="616" y="5"/>
                  </a:lnTo>
                  <a:lnTo>
                    <a:pt x="628" y="17"/>
                  </a:lnTo>
                  <a:lnTo>
                    <a:pt x="616" y="17"/>
                  </a:lnTo>
                  <a:lnTo>
                    <a:pt x="616" y="17"/>
                  </a:lnTo>
                  <a:lnTo>
                    <a:pt x="616" y="17"/>
                  </a:lnTo>
                  <a:close/>
                  <a:moveTo>
                    <a:pt x="453" y="38"/>
                  </a:moveTo>
                  <a:lnTo>
                    <a:pt x="453" y="45"/>
                  </a:lnTo>
                  <a:lnTo>
                    <a:pt x="444" y="62"/>
                  </a:lnTo>
                  <a:lnTo>
                    <a:pt x="394" y="62"/>
                  </a:lnTo>
                  <a:lnTo>
                    <a:pt x="399" y="45"/>
                  </a:lnTo>
                  <a:lnTo>
                    <a:pt x="453" y="45"/>
                  </a:lnTo>
                  <a:lnTo>
                    <a:pt x="453" y="38"/>
                  </a:lnTo>
                  <a:lnTo>
                    <a:pt x="453" y="38"/>
                  </a:lnTo>
                  <a:lnTo>
                    <a:pt x="453" y="38"/>
                  </a:lnTo>
                  <a:close/>
                  <a:moveTo>
                    <a:pt x="482" y="71"/>
                  </a:moveTo>
                  <a:lnTo>
                    <a:pt x="486" y="62"/>
                  </a:lnTo>
                  <a:lnTo>
                    <a:pt x="486" y="62"/>
                  </a:lnTo>
                  <a:lnTo>
                    <a:pt x="482" y="71"/>
                  </a:lnTo>
                  <a:lnTo>
                    <a:pt x="482" y="71"/>
                  </a:lnTo>
                  <a:lnTo>
                    <a:pt x="482" y="71"/>
                  </a:lnTo>
                  <a:close/>
                  <a:moveTo>
                    <a:pt x="666" y="95"/>
                  </a:moveTo>
                  <a:lnTo>
                    <a:pt x="649" y="95"/>
                  </a:lnTo>
                  <a:lnTo>
                    <a:pt x="633" y="78"/>
                  </a:lnTo>
                  <a:lnTo>
                    <a:pt x="659" y="71"/>
                  </a:lnTo>
                  <a:lnTo>
                    <a:pt x="666" y="78"/>
                  </a:lnTo>
                  <a:lnTo>
                    <a:pt x="671" y="95"/>
                  </a:lnTo>
                  <a:lnTo>
                    <a:pt x="666" y="95"/>
                  </a:lnTo>
                  <a:lnTo>
                    <a:pt x="666" y="95"/>
                  </a:lnTo>
                  <a:lnTo>
                    <a:pt x="666" y="95"/>
                  </a:lnTo>
                  <a:close/>
                  <a:moveTo>
                    <a:pt x="827" y="182"/>
                  </a:moveTo>
                  <a:lnTo>
                    <a:pt x="860" y="206"/>
                  </a:lnTo>
                  <a:lnTo>
                    <a:pt x="850" y="223"/>
                  </a:lnTo>
                  <a:lnTo>
                    <a:pt x="860" y="227"/>
                  </a:lnTo>
                  <a:lnTo>
                    <a:pt x="843" y="244"/>
                  </a:lnTo>
                  <a:lnTo>
                    <a:pt x="838" y="239"/>
                  </a:lnTo>
                  <a:lnTo>
                    <a:pt x="827" y="223"/>
                  </a:lnTo>
                  <a:lnTo>
                    <a:pt x="827" y="206"/>
                  </a:lnTo>
                  <a:lnTo>
                    <a:pt x="805" y="166"/>
                  </a:lnTo>
                  <a:lnTo>
                    <a:pt x="789" y="149"/>
                  </a:lnTo>
                  <a:lnTo>
                    <a:pt x="775" y="149"/>
                  </a:lnTo>
                  <a:lnTo>
                    <a:pt x="720" y="100"/>
                  </a:lnTo>
                  <a:lnTo>
                    <a:pt x="687" y="100"/>
                  </a:lnTo>
                  <a:lnTo>
                    <a:pt x="704" y="95"/>
                  </a:lnTo>
                  <a:lnTo>
                    <a:pt x="697" y="83"/>
                  </a:lnTo>
                  <a:lnTo>
                    <a:pt x="768" y="133"/>
                  </a:lnTo>
                  <a:lnTo>
                    <a:pt x="784" y="133"/>
                  </a:lnTo>
                  <a:lnTo>
                    <a:pt x="827" y="182"/>
                  </a:lnTo>
                  <a:lnTo>
                    <a:pt x="827" y="182"/>
                  </a:lnTo>
                  <a:lnTo>
                    <a:pt x="827" y="182"/>
                  </a:lnTo>
                  <a:close/>
                  <a:moveTo>
                    <a:pt x="9" y="560"/>
                  </a:moveTo>
                  <a:lnTo>
                    <a:pt x="9" y="393"/>
                  </a:lnTo>
                  <a:lnTo>
                    <a:pt x="0" y="393"/>
                  </a:lnTo>
                  <a:lnTo>
                    <a:pt x="0" y="376"/>
                  </a:lnTo>
                  <a:lnTo>
                    <a:pt x="9" y="355"/>
                  </a:lnTo>
                  <a:lnTo>
                    <a:pt x="9" y="83"/>
                  </a:lnTo>
                  <a:lnTo>
                    <a:pt x="21" y="83"/>
                  </a:lnTo>
                  <a:lnTo>
                    <a:pt x="118" y="133"/>
                  </a:lnTo>
                  <a:lnTo>
                    <a:pt x="184" y="149"/>
                  </a:lnTo>
                  <a:lnTo>
                    <a:pt x="215" y="173"/>
                  </a:lnTo>
                  <a:lnTo>
                    <a:pt x="231" y="182"/>
                  </a:lnTo>
                  <a:lnTo>
                    <a:pt x="238" y="173"/>
                  </a:lnTo>
                  <a:lnTo>
                    <a:pt x="253" y="173"/>
                  </a:lnTo>
                  <a:lnTo>
                    <a:pt x="253" y="189"/>
                  </a:lnTo>
                  <a:lnTo>
                    <a:pt x="281" y="194"/>
                  </a:lnTo>
                  <a:lnTo>
                    <a:pt x="293" y="211"/>
                  </a:lnTo>
                  <a:lnTo>
                    <a:pt x="307" y="223"/>
                  </a:lnTo>
                  <a:lnTo>
                    <a:pt x="340" y="244"/>
                  </a:lnTo>
                  <a:lnTo>
                    <a:pt x="345" y="265"/>
                  </a:lnTo>
                  <a:lnTo>
                    <a:pt x="340" y="300"/>
                  </a:lnTo>
                  <a:lnTo>
                    <a:pt x="394" y="305"/>
                  </a:lnTo>
                  <a:lnTo>
                    <a:pt x="432" y="334"/>
                  </a:lnTo>
                  <a:lnTo>
                    <a:pt x="465" y="334"/>
                  </a:lnTo>
                  <a:lnTo>
                    <a:pt x="486" y="355"/>
                  </a:lnTo>
                  <a:lnTo>
                    <a:pt x="486" y="376"/>
                  </a:lnTo>
                  <a:lnTo>
                    <a:pt x="470" y="388"/>
                  </a:lnTo>
                  <a:lnTo>
                    <a:pt x="427" y="388"/>
                  </a:lnTo>
                  <a:lnTo>
                    <a:pt x="427" y="404"/>
                  </a:lnTo>
                  <a:lnTo>
                    <a:pt x="444" y="416"/>
                  </a:lnTo>
                  <a:lnTo>
                    <a:pt x="444" y="445"/>
                  </a:lnTo>
                  <a:lnTo>
                    <a:pt x="465" y="449"/>
                  </a:lnTo>
                  <a:lnTo>
                    <a:pt x="482" y="471"/>
                  </a:lnTo>
                  <a:lnTo>
                    <a:pt x="508" y="482"/>
                  </a:lnTo>
                  <a:lnTo>
                    <a:pt x="519" y="520"/>
                  </a:lnTo>
                  <a:lnTo>
                    <a:pt x="524" y="527"/>
                  </a:lnTo>
                  <a:lnTo>
                    <a:pt x="541" y="553"/>
                  </a:lnTo>
                  <a:lnTo>
                    <a:pt x="590" y="553"/>
                  </a:lnTo>
                  <a:lnTo>
                    <a:pt x="595" y="560"/>
                  </a:lnTo>
                  <a:lnTo>
                    <a:pt x="579" y="577"/>
                  </a:lnTo>
                  <a:lnTo>
                    <a:pt x="590" y="582"/>
                  </a:lnTo>
                  <a:lnTo>
                    <a:pt x="605" y="593"/>
                  </a:lnTo>
                  <a:lnTo>
                    <a:pt x="642" y="593"/>
                  </a:lnTo>
                  <a:lnTo>
                    <a:pt x="642" y="598"/>
                  </a:lnTo>
                  <a:lnTo>
                    <a:pt x="616" y="610"/>
                  </a:lnTo>
                  <a:lnTo>
                    <a:pt x="633" y="626"/>
                  </a:lnTo>
                  <a:lnTo>
                    <a:pt x="682" y="638"/>
                  </a:lnTo>
                  <a:lnTo>
                    <a:pt x="704" y="638"/>
                  </a:lnTo>
                  <a:lnTo>
                    <a:pt x="682" y="648"/>
                  </a:lnTo>
                  <a:lnTo>
                    <a:pt x="666" y="648"/>
                  </a:lnTo>
                  <a:lnTo>
                    <a:pt x="666" y="648"/>
                  </a:lnTo>
                  <a:lnTo>
                    <a:pt x="687" y="655"/>
                  </a:lnTo>
                  <a:lnTo>
                    <a:pt x="687" y="664"/>
                  </a:lnTo>
                  <a:lnTo>
                    <a:pt x="659" y="671"/>
                  </a:lnTo>
                  <a:lnTo>
                    <a:pt x="628" y="664"/>
                  </a:lnTo>
                  <a:lnTo>
                    <a:pt x="642" y="655"/>
                  </a:lnTo>
                  <a:lnTo>
                    <a:pt x="616" y="648"/>
                  </a:lnTo>
                  <a:lnTo>
                    <a:pt x="562" y="638"/>
                  </a:lnTo>
                  <a:lnTo>
                    <a:pt x="553" y="631"/>
                  </a:lnTo>
                  <a:lnTo>
                    <a:pt x="524" y="638"/>
                  </a:lnTo>
                  <a:lnTo>
                    <a:pt x="508" y="631"/>
                  </a:lnTo>
                  <a:lnTo>
                    <a:pt x="498" y="631"/>
                  </a:lnTo>
                  <a:lnTo>
                    <a:pt x="470" y="626"/>
                  </a:lnTo>
                  <a:lnTo>
                    <a:pt x="449" y="593"/>
                  </a:lnTo>
                  <a:lnTo>
                    <a:pt x="432" y="582"/>
                  </a:lnTo>
                  <a:lnTo>
                    <a:pt x="416" y="570"/>
                  </a:lnTo>
                  <a:lnTo>
                    <a:pt x="427" y="553"/>
                  </a:lnTo>
                  <a:lnTo>
                    <a:pt x="427" y="560"/>
                  </a:lnTo>
                  <a:lnTo>
                    <a:pt x="399" y="553"/>
                  </a:lnTo>
                  <a:lnTo>
                    <a:pt x="394" y="537"/>
                  </a:lnTo>
                  <a:lnTo>
                    <a:pt x="361" y="482"/>
                  </a:lnTo>
                  <a:lnTo>
                    <a:pt x="281" y="466"/>
                  </a:lnTo>
                  <a:lnTo>
                    <a:pt x="281" y="449"/>
                  </a:lnTo>
                  <a:lnTo>
                    <a:pt x="281" y="461"/>
                  </a:lnTo>
                  <a:lnTo>
                    <a:pt x="253" y="449"/>
                  </a:lnTo>
                  <a:lnTo>
                    <a:pt x="253" y="445"/>
                  </a:lnTo>
                  <a:lnTo>
                    <a:pt x="253" y="449"/>
                  </a:lnTo>
                  <a:lnTo>
                    <a:pt x="248" y="445"/>
                  </a:lnTo>
                  <a:lnTo>
                    <a:pt x="248" y="461"/>
                  </a:lnTo>
                  <a:lnTo>
                    <a:pt x="238" y="461"/>
                  </a:lnTo>
                  <a:lnTo>
                    <a:pt x="238" y="449"/>
                  </a:lnTo>
                  <a:lnTo>
                    <a:pt x="231" y="466"/>
                  </a:lnTo>
                  <a:lnTo>
                    <a:pt x="210" y="461"/>
                  </a:lnTo>
                  <a:lnTo>
                    <a:pt x="194" y="445"/>
                  </a:lnTo>
                  <a:lnTo>
                    <a:pt x="215" y="471"/>
                  </a:lnTo>
                  <a:lnTo>
                    <a:pt x="201" y="482"/>
                  </a:lnTo>
                  <a:lnTo>
                    <a:pt x="172" y="471"/>
                  </a:lnTo>
                  <a:lnTo>
                    <a:pt x="184" y="482"/>
                  </a:lnTo>
                  <a:lnTo>
                    <a:pt x="194" y="499"/>
                  </a:lnTo>
                  <a:lnTo>
                    <a:pt x="146" y="504"/>
                  </a:lnTo>
                  <a:lnTo>
                    <a:pt x="123" y="499"/>
                  </a:lnTo>
                  <a:lnTo>
                    <a:pt x="108" y="504"/>
                  </a:lnTo>
                  <a:lnTo>
                    <a:pt x="101" y="487"/>
                  </a:lnTo>
                  <a:lnTo>
                    <a:pt x="85" y="499"/>
                  </a:lnTo>
                  <a:lnTo>
                    <a:pt x="101" y="487"/>
                  </a:lnTo>
                  <a:lnTo>
                    <a:pt x="108" y="504"/>
                  </a:lnTo>
                  <a:lnTo>
                    <a:pt x="130" y="499"/>
                  </a:lnTo>
                  <a:lnTo>
                    <a:pt x="156" y="515"/>
                  </a:lnTo>
                  <a:lnTo>
                    <a:pt x="177" y="537"/>
                  </a:lnTo>
                  <a:lnTo>
                    <a:pt x="177" y="544"/>
                  </a:lnTo>
                  <a:lnTo>
                    <a:pt x="172" y="553"/>
                  </a:lnTo>
                  <a:lnTo>
                    <a:pt x="146" y="553"/>
                  </a:lnTo>
                  <a:lnTo>
                    <a:pt x="123" y="577"/>
                  </a:lnTo>
                  <a:lnTo>
                    <a:pt x="92" y="560"/>
                  </a:lnTo>
                  <a:lnTo>
                    <a:pt x="47" y="570"/>
                  </a:lnTo>
                  <a:lnTo>
                    <a:pt x="33" y="560"/>
                  </a:lnTo>
                  <a:lnTo>
                    <a:pt x="16" y="570"/>
                  </a:lnTo>
                  <a:lnTo>
                    <a:pt x="9" y="560"/>
                  </a:lnTo>
                  <a:lnTo>
                    <a:pt x="9" y="560"/>
                  </a:lnTo>
                  <a:lnTo>
                    <a:pt x="9" y="560"/>
                  </a:lnTo>
                  <a:close/>
                  <a:moveTo>
                    <a:pt x="775" y="100"/>
                  </a:moveTo>
                  <a:lnTo>
                    <a:pt x="775" y="95"/>
                  </a:lnTo>
                  <a:lnTo>
                    <a:pt x="784" y="100"/>
                  </a:lnTo>
                  <a:lnTo>
                    <a:pt x="775" y="100"/>
                  </a:lnTo>
                  <a:lnTo>
                    <a:pt x="775" y="100"/>
                  </a:lnTo>
                  <a:lnTo>
                    <a:pt x="775" y="100"/>
                  </a:lnTo>
                  <a:close/>
                  <a:moveTo>
                    <a:pt x="697" y="116"/>
                  </a:moveTo>
                  <a:lnTo>
                    <a:pt x="704" y="112"/>
                  </a:lnTo>
                  <a:lnTo>
                    <a:pt x="713" y="116"/>
                  </a:lnTo>
                  <a:lnTo>
                    <a:pt x="697" y="116"/>
                  </a:lnTo>
                  <a:lnTo>
                    <a:pt x="697" y="116"/>
                  </a:lnTo>
                  <a:lnTo>
                    <a:pt x="697" y="116"/>
                  </a:lnTo>
                  <a:close/>
                  <a:moveTo>
                    <a:pt x="827" y="133"/>
                  </a:moveTo>
                  <a:lnTo>
                    <a:pt x="822" y="128"/>
                  </a:lnTo>
                  <a:lnTo>
                    <a:pt x="827" y="116"/>
                  </a:lnTo>
                  <a:lnTo>
                    <a:pt x="827" y="133"/>
                  </a:lnTo>
                  <a:lnTo>
                    <a:pt x="827" y="133"/>
                  </a:lnTo>
                  <a:lnTo>
                    <a:pt x="827" y="133"/>
                  </a:lnTo>
                  <a:close/>
                  <a:moveTo>
                    <a:pt x="897" y="194"/>
                  </a:moveTo>
                  <a:lnTo>
                    <a:pt x="893" y="194"/>
                  </a:lnTo>
                  <a:lnTo>
                    <a:pt x="897" y="189"/>
                  </a:lnTo>
                  <a:lnTo>
                    <a:pt x="897" y="194"/>
                  </a:lnTo>
                  <a:lnTo>
                    <a:pt x="897" y="194"/>
                  </a:lnTo>
                  <a:lnTo>
                    <a:pt x="897" y="194"/>
                  </a:lnTo>
                  <a:close/>
                  <a:moveTo>
                    <a:pt x="687" y="338"/>
                  </a:moveTo>
                  <a:lnTo>
                    <a:pt x="666" y="355"/>
                  </a:lnTo>
                  <a:lnTo>
                    <a:pt x="612" y="355"/>
                  </a:lnTo>
                  <a:lnTo>
                    <a:pt x="595" y="338"/>
                  </a:lnTo>
                  <a:lnTo>
                    <a:pt x="574" y="350"/>
                  </a:lnTo>
                  <a:lnTo>
                    <a:pt x="574" y="338"/>
                  </a:lnTo>
                  <a:lnTo>
                    <a:pt x="553" y="322"/>
                  </a:lnTo>
                  <a:lnTo>
                    <a:pt x="524" y="317"/>
                  </a:lnTo>
                  <a:lnTo>
                    <a:pt x="519" y="305"/>
                  </a:lnTo>
                  <a:lnTo>
                    <a:pt x="524" y="293"/>
                  </a:lnTo>
                  <a:lnTo>
                    <a:pt x="562" y="293"/>
                  </a:lnTo>
                  <a:lnTo>
                    <a:pt x="590" y="305"/>
                  </a:lnTo>
                  <a:lnTo>
                    <a:pt x="633" y="300"/>
                  </a:lnTo>
                  <a:lnTo>
                    <a:pt x="633" y="293"/>
                  </a:lnTo>
                  <a:lnTo>
                    <a:pt x="633" y="284"/>
                  </a:lnTo>
                  <a:lnTo>
                    <a:pt x="642" y="260"/>
                  </a:lnTo>
                  <a:lnTo>
                    <a:pt x="659" y="265"/>
                  </a:lnTo>
                  <a:lnTo>
                    <a:pt x="642" y="265"/>
                  </a:lnTo>
                  <a:lnTo>
                    <a:pt x="642" y="284"/>
                  </a:lnTo>
                  <a:lnTo>
                    <a:pt x="649" y="300"/>
                  </a:lnTo>
                  <a:lnTo>
                    <a:pt x="659" y="300"/>
                  </a:lnTo>
                  <a:lnTo>
                    <a:pt x="671" y="293"/>
                  </a:lnTo>
                  <a:lnTo>
                    <a:pt x="682" y="300"/>
                  </a:lnTo>
                  <a:lnTo>
                    <a:pt x="704" y="300"/>
                  </a:lnTo>
                  <a:lnTo>
                    <a:pt x="730" y="260"/>
                  </a:lnTo>
                  <a:lnTo>
                    <a:pt x="758" y="249"/>
                  </a:lnTo>
                  <a:lnTo>
                    <a:pt x="742" y="206"/>
                  </a:lnTo>
                  <a:lnTo>
                    <a:pt x="768" y="206"/>
                  </a:lnTo>
                  <a:lnTo>
                    <a:pt x="784" y="211"/>
                  </a:lnTo>
                  <a:lnTo>
                    <a:pt x="796" y="206"/>
                  </a:lnTo>
                  <a:lnTo>
                    <a:pt x="789" y="211"/>
                  </a:lnTo>
                  <a:lnTo>
                    <a:pt x="805" y="211"/>
                  </a:lnTo>
                  <a:lnTo>
                    <a:pt x="812" y="239"/>
                  </a:lnTo>
                  <a:lnTo>
                    <a:pt x="796" y="260"/>
                  </a:lnTo>
                  <a:lnTo>
                    <a:pt x="784" y="260"/>
                  </a:lnTo>
                  <a:lnTo>
                    <a:pt x="784" y="277"/>
                  </a:lnTo>
                  <a:lnTo>
                    <a:pt x="789" y="284"/>
                  </a:lnTo>
                  <a:lnTo>
                    <a:pt x="789" y="293"/>
                  </a:lnTo>
                  <a:lnTo>
                    <a:pt x="768" y="305"/>
                  </a:lnTo>
                  <a:lnTo>
                    <a:pt x="742" y="300"/>
                  </a:lnTo>
                  <a:lnTo>
                    <a:pt x="734" y="317"/>
                  </a:lnTo>
                  <a:lnTo>
                    <a:pt x="687" y="338"/>
                  </a:lnTo>
                  <a:lnTo>
                    <a:pt x="687" y="338"/>
                  </a:lnTo>
                  <a:lnTo>
                    <a:pt x="687" y="338"/>
                  </a:lnTo>
                  <a:close/>
                  <a:moveTo>
                    <a:pt x="357" y="244"/>
                  </a:moveTo>
                  <a:lnTo>
                    <a:pt x="345" y="239"/>
                  </a:lnTo>
                  <a:lnTo>
                    <a:pt x="357" y="227"/>
                  </a:lnTo>
                  <a:lnTo>
                    <a:pt x="361" y="239"/>
                  </a:lnTo>
                  <a:lnTo>
                    <a:pt x="357" y="244"/>
                  </a:lnTo>
                  <a:lnTo>
                    <a:pt x="357" y="244"/>
                  </a:lnTo>
                  <a:lnTo>
                    <a:pt x="357" y="244"/>
                  </a:lnTo>
                  <a:close/>
                  <a:moveTo>
                    <a:pt x="612" y="244"/>
                  </a:moveTo>
                  <a:lnTo>
                    <a:pt x="605" y="239"/>
                  </a:lnTo>
                  <a:lnTo>
                    <a:pt x="605" y="239"/>
                  </a:lnTo>
                  <a:lnTo>
                    <a:pt x="612" y="244"/>
                  </a:lnTo>
                  <a:lnTo>
                    <a:pt x="612" y="244"/>
                  </a:lnTo>
                  <a:lnTo>
                    <a:pt x="612" y="244"/>
                  </a:lnTo>
                  <a:close/>
                  <a:moveTo>
                    <a:pt x="968" y="293"/>
                  </a:moveTo>
                  <a:lnTo>
                    <a:pt x="956" y="265"/>
                  </a:lnTo>
                  <a:lnTo>
                    <a:pt x="968" y="260"/>
                  </a:lnTo>
                  <a:lnTo>
                    <a:pt x="973" y="277"/>
                  </a:lnTo>
                  <a:lnTo>
                    <a:pt x="968" y="293"/>
                  </a:lnTo>
                  <a:lnTo>
                    <a:pt x="968" y="293"/>
                  </a:lnTo>
                  <a:lnTo>
                    <a:pt x="968" y="293"/>
                  </a:lnTo>
                  <a:close/>
                  <a:moveTo>
                    <a:pt x="444" y="293"/>
                  </a:moveTo>
                  <a:lnTo>
                    <a:pt x="427" y="284"/>
                  </a:lnTo>
                  <a:lnTo>
                    <a:pt x="432" y="277"/>
                  </a:lnTo>
                  <a:lnTo>
                    <a:pt x="444" y="284"/>
                  </a:lnTo>
                  <a:lnTo>
                    <a:pt x="444" y="293"/>
                  </a:lnTo>
                  <a:lnTo>
                    <a:pt x="444" y="293"/>
                  </a:lnTo>
                  <a:lnTo>
                    <a:pt x="444" y="293"/>
                  </a:lnTo>
                  <a:close/>
                  <a:moveTo>
                    <a:pt x="1023" y="334"/>
                  </a:moveTo>
                  <a:lnTo>
                    <a:pt x="1023" y="350"/>
                  </a:lnTo>
                  <a:lnTo>
                    <a:pt x="1056" y="371"/>
                  </a:lnTo>
                  <a:lnTo>
                    <a:pt x="1056" y="393"/>
                  </a:lnTo>
                  <a:lnTo>
                    <a:pt x="1056" y="388"/>
                  </a:lnTo>
                  <a:lnTo>
                    <a:pt x="1039" y="393"/>
                  </a:lnTo>
                  <a:lnTo>
                    <a:pt x="1011" y="388"/>
                  </a:lnTo>
                  <a:lnTo>
                    <a:pt x="1006" y="371"/>
                  </a:lnTo>
                  <a:lnTo>
                    <a:pt x="1006" y="355"/>
                  </a:lnTo>
                  <a:lnTo>
                    <a:pt x="990" y="350"/>
                  </a:lnTo>
                  <a:lnTo>
                    <a:pt x="973" y="334"/>
                  </a:lnTo>
                  <a:lnTo>
                    <a:pt x="973" y="300"/>
                  </a:lnTo>
                  <a:lnTo>
                    <a:pt x="1001" y="300"/>
                  </a:lnTo>
                  <a:lnTo>
                    <a:pt x="1006" y="322"/>
                  </a:lnTo>
                  <a:lnTo>
                    <a:pt x="1023" y="334"/>
                  </a:lnTo>
                  <a:lnTo>
                    <a:pt x="1023" y="334"/>
                  </a:lnTo>
                  <a:lnTo>
                    <a:pt x="1023" y="334"/>
                  </a:lnTo>
                  <a:close/>
                  <a:moveTo>
                    <a:pt x="498" y="322"/>
                  </a:moveTo>
                  <a:lnTo>
                    <a:pt x="482" y="305"/>
                  </a:lnTo>
                  <a:lnTo>
                    <a:pt x="482" y="300"/>
                  </a:lnTo>
                  <a:lnTo>
                    <a:pt x="503" y="305"/>
                  </a:lnTo>
                  <a:lnTo>
                    <a:pt x="498" y="322"/>
                  </a:lnTo>
                  <a:lnTo>
                    <a:pt x="498" y="322"/>
                  </a:lnTo>
                  <a:lnTo>
                    <a:pt x="498" y="322"/>
                  </a:lnTo>
                  <a:close/>
                  <a:moveTo>
                    <a:pt x="194" y="487"/>
                  </a:moveTo>
                  <a:lnTo>
                    <a:pt x="194" y="482"/>
                  </a:lnTo>
                  <a:lnTo>
                    <a:pt x="194" y="487"/>
                  </a:lnTo>
                  <a:lnTo>
                    <a:pt x="194" y="487"/>
                  </a:lnTo>
                  <a:lnTo>
                    <a:pt x="194" y="487"/>
                  </a:lnTo>
                  <a:lnTo>
                    <a:pt x="194" y="487"/>
                  </a:lnTo>
                  <a:close/>
                  <a:moveTo>
                    <a:pt x="194" y="499"/>
                  </a:moveTo>
                  <a:lnTo>
                    <a:pt x="194" y="487"/>
                  </a:lnTo>
                  <a:lnTo>
                    <a:pt x="201" y="487"/>
                  </a:lnTo>
                  <a:lnTo>
                    <a:pt x="194" y="499"/>
                  </a:lnTo>
                  <a:lnTo>
                    <a:pt x="194" y="499"/>
                  </a:lnTo>
                  <a:lnTo>
                    <a:pt x="194" y="499"/>
                  </a:lnTo>
                  <a:close/>
                  <a:moveTo>
                    <a:pt x="184" y="515"/>
                  </a:moveTo>
                  <a:lnTo>
                    <a:pt x="172" y="504"/>
                  </a:lnTo>
                  <a:lnTo>
                    <a:pt x="184" y="504"/>
                  </a:lnTo>
                  <a:lnTo>
                    <a:pt x="184" y="515"/>
                  </a:lnTo>
                  <a:lnTo>
                    <a:pt x="184" y="515"/>
                  </a:lnTo>
                  <a:lnTo>
                    <a:pt x="184" y="515"/>
                  </a:lnTo>
                  <a:close/>
                  <a:moveTo>
                    <a:pt x="194" y="527"/>
                  </a:moveTo>
                  <a:lnTo>
                    <a:pt x="163" y="504"/>
                  </a:lnTo>
                  <a:lnTo>
                    <a:pt x="177" y="515"/>
                  </a:lnTo>
                  <a:lnTo>
                    <a:pt x="194" y="527"/>
                  </a:lnTo>
                  <a:lnTo>
                    <a:pt x="194" y="527"/>
                  </a:lnTo>
                  <a:lnTo>
                    <a:pt x="194" y="527"/>
                  </a:lnTo>
                  <a:close/>
                  <a:moveTo>
                    <a:pt x="720" y="537"/>
                  </a:moveTo>
                  <a:lnTo>
                    <a:pt x="713" y="515"/>
                  </a:lnTo>
                  <a:lnTo>
                    <a:pt x="720" y="504"/>
                  </a:lnTo>
                  <a:lnTo>
                    <a:pt x="720" y="537"/>
                  </a:lnTo>
                  <a:lnTo>
                    <a:pt x="720" y="537"/>
                  </a:lnTo>
                  <a:lnTo>
                    <a:pt x="720" y="537"/>
                  </a:lnTo>
                  <a:close/>
                  <a:moveTo>
                    <a:pt x="838" y="570"/>
                  </a:moveTo>
                  <a:lnTo>
                    <a:pt x="812" y="553"/>
                  </a:lnTo>
                  <a:lnTo>
                    <a:pt x="838" y="544"/>
                  </a:lnTo>
                  <a:lnTo>
                    <a:pt x="850" y="560"/>
                  </a:lnTo>
                  <a:lnTo>
                    <a:pt x="838" y="570"/>
                  </a:lnTo>
                  <a:lnTo>
                    <a:pt x="838" y="570"/>
                  </a:lnTo>
                  <a:lnTo>
                    <a:pt x="838" y="570"/>
                  </a:lnTo>
                  <a:close/>
                  <a:moveTo>
                    <a:pt x="666" y="582"/>
                  </a:moveTo>
                  <a:lnTo>
                    <a:pt x="649" y="577"/>
                  </a:lnTo>
                  <a:lnTo>
                    <a:pt x="649" y="570"/>
                  </a:lnTo>
                  <a:lnTo>
                    <a:pt x="666" y="570"/>
                  </a:lnTo>
                  <a:lnTo>
                    <a:pt x="666" y="582"/>
                  </a:lnTo>
                  <a:lnTo>
                    <a:pt x="666" y="582"/>
                  </a:lnTo>
                  <a:lnTo>
                    <a:pt x="666" y="582"/>
                  </a:lnTo>
                  <a:close/>
                  <a:moveTo>
                    <a:pt x="697" y="598"/>
                  </a:moveTo>
                  <a:lnTo>
                    <a:pt x="671" y="593"/>
                  </a:lnTo>
                  <a:lnTo>
                    <a:pt x="671" y="577"/>
                  </a:lnTo>
                  <a:lnTo>
                    <a:pt x="697" y="582"/>
                  </a:lnTo>
                  <a:lnTo>
                    <a:pt x="704" y="598"/>
                  </a:lnTo>
                  <a:lnTo>
                    <a:pt x="697" y="598"/>
                  </a:lnTo>
                  <a:lnTo>
                    <a:pt x="697" y="598"/>
                  </a:lnTo>
                  <a:lnTo>
                    <a:pt x="697" y="598"/>
                  </a:lnTo>
                  <a:close/>
                  <a:moveTo>
                    <a:pt x="730" y="638"/>
                  </a:moveTo>
                  <a:lnTo>
                    <a:pt x="704" y="631"/>
                  </a:lnTo>
                  <a:lnTo>
                    <a:pt x="697" y="598"/>
                  </a:lnTo>
                  <a:lnTo>
                    <a:pt x="720" y="626"/>
                  </a:lnTo>
                  <a:lnTo>
                    <a:pt x="730" y="615"/>
                  </a:lnTo>
                  <a:lnTo>
                    <a:pt x="730" y="638"/>
                  </a:lnTo>
                  <a:lnTo>
                    <a:pt x="730" y="638"/>
                  </a:lnTo>
                  <a:lnTo>
                    <a:pt x="730" y="638"/>
                  </a:lnTo>
                  <a:close/>
                  <a:moveTo>
                    <a:pt x="704" y="671"/>
                  </a:moveTo>
                  <a:lnTo>
                    <a:pt x="697" y="671"/>
                  </a:lnTo>
                  <a:lnTo>
                    <a:pt x="697" y="664"/>
                  </a:lnTo>
                  <a:lnTo>
                    <a:pt x="704" y="664"/>
                  </a:lnTo>
                  <a:lnTo>
                    <a:pt x="704" y="671"/>
                  </a:lnTo>
                  <a:lnTo>
                    <a:pt x="704" y="671"/>
                  </a:lnTo>
                  <a:lnTo>
                    <a:pt x="704" y="671"/>
                  </a:lnTo>
                  <a:close/>
                  <a:moveTo>
                    <a:pt x="704" y="671"/>
                  </a:moveTo>
                  <a:lnTo>
                    <a:pt x="704" y="664"/>
                  </a:lnTo>
                  <a:lnTo>
                    <a:pt x="713" y="664"/>
                  </a:lnTo>
                  <a:lnTo>
                    <a:pt x="713" y="671"/>
                  </a:lnTo>
                  <a:lnTo>
                    <a:pt x="704" y="671"/>
                  </a:lnTo>
                  <a:lnTo>
                    <a:pt x="704" y="671"/>
                  </a:lnTo>
                  <a:lnTo>
                    <a:pt x="704" y="671"/>
                  </a:lnTo>
                  <a:close/>
                  <a:moveTo>
                    <a:pt x="838" y="671"/>
                  </a:moveTo>
                  <a:lnTo>
                    <a:pt x="822" y="671"/>
                  </a:lnTo>
                  <a:lnTo>
                    <a:pt x="843" y="671"/>
                  </a:lnTo>
                  <a:lnTo>
                    <a:pt x="838" y="671"/>
                  </a:lnTo>
                  <a:lnTo>
                    <a:pt x="838" y="671"/>
                  </a:lnTo>
                  <a:lnTo>
                    <a:pt x="838" y="671"/>
                  </a:lnTo>
                  <a:close/>
                  <a:moveTo>
                    <a:pt x="864" y="721"/>
                  </a:moveTo>
                  <a:lnTo>
                    <a:pt x="860" y="709"/>
                  </a:lnTo>
                  <a:lnTo>
                    <a:pt x="864" y="709"/>
                  </a:lnTo>
                  <a:lnTo>
                    <a:pt x="864" y="721"/>
                  </a:lnTo>
                  <a:lnTo>
                    <a:pt x="864" y="721"/>
                  </a:lnTo>
                  <a:lnTo>
                    <a:pt x="864" y="721"/>
                  </a:lnTo>
                  <a:close/>
                  <a:moveTo>
                    <a:pt x="931" y="726"/>
                  </a:moveTo>
                  <a:lnTo>
                    <a:pt x="919" y="721"/>
                  </a:lnTo>
                  <a:lnTo>
                    <a:pt x="935" y="721"/>
                  </a:lnTo>
                  <a:lnTo>
                    <a:pt x="947" y="726"/>
                  </a:lnTo>
                  <a:lnTo>
                    <a:pt x="931" y="726"/>
                  </a:lnTo>
                  <a:lnTo>
                    <a:pt x="931" y="726"/>
                  </a:lnTo>
                  <a:lnTo>
                    <a:pt x="931" y="726"/>
                  </a:lnTo>
                  <a:close/>
                  <a:moveTo>
                    <a:pt x="893" y="742"/>
                  </a:moveTo>
                  <a:lnTo>
                    <a:pt x="876" y="737"/>
                  </a:lnTo>
                  <a:lnTo>
                    <a:pt x="864" y="721"/>
                  </a:lnTo>
                  <a:lnTo>
                    <a:pt x="905" y="742"/>
                  </a:lnTo>
                  <a:lnTo>
                    <a:pt x="893" y="742"/>
                  </a:lnTo>
                  <a:lnTo>
                    <a:pt x="893" y="742"/>
                  </a:lnTo>
                  <a:lnTo>
                    <a:pt x="893" y="74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5" name="Freeform 536">
              <a:extLst>
                <a:ext uri="{FF2B5EF4-FFF2-40B4-BE49-F238E27FC236}">
                  <a16:creationId xmlns:a16="http://schemas.microsoft.com/office/drawing/2014/main" id="{2F66823F-BA3E-4C8B-9E0D-6957DF0DB7B8}"/>
                </a:ext>
              </a:extLst>
            </p:cNvPr>
            <p:cNvSpPr>
              <a:spLocks noEditPoints="1"/>
            </p:cNvSpPr>
            <p:nvPr/>
          </p:nvSpPr>
          <p:spPr bwMode="gray">
            <a:xfrm>
              <a:off x="16826973" y="3930465"/>
              <a:ext cx="7528" cy="13092"/>
            </a:xfrm>
            <a:custGeom>
              <a:avLst/>
              <a:gdLst>
                <a:gd name="T0" fmla="*/ 14 w 23"/>
                <a:gd name="T1" fmla="*/ 33 h 40"/>
                <a:gd name="T2" fmla="*/ 14 w 23"/>
                <a:gd name="T3" fmla="*/ 21 h 40"/>
                <a:gd name="T4" fmla="*/ 23 w 23"/>
                <a:gd name="T5" fmla="*/ 0 h 40"/>
                <a:gd name="T6" fmla="*/ 23 w 23"/>
                <a:gd name="T7" fmla="*/ 17 h 40"/>
                <a:gd name="T8" fmla="*/ 14 w 23"/>
                <a:gd name="T9" fmla="*/ 33 h 40"/>
                <a:gd name="T10" fmla="*/ 14 w 23"/>
                <a:gd name="T11" fmla="*/ 33 h 40"/>
                <a:gd name="T12" fmla="*/ 14 w 23"/>
                <a:gd name="T13" fmla="*/ 33 h 40"/>
                <a:gd name="T14" fmla="*/ 9 w 23"/>
                <a:gd name="T15" fmla="*/ 40 h 40"/>
                <a:gd name="T16" fmla="*/ 0 w 23"/>
                <a:gd name="T17" fmla="*/ 33 h 40"/>
                <a:gd name="T18" fmla="*/ 9 w 23"/>
                <a:gd name="T19" fmla="*/ 33 h 40"/>
                <a:gd name="T20" fmla="*/ 9 w 23"/>
                <a:gd name="T21" fmla="*/ 40 h 40"/>
                <a:gd name="T22" fmla="*/ 9 w 23"/>
                <a:gd name="T23" fmla="*/ 40 h 40"/>
                <a:gd name="T24" fmla="*/ 9 w 23"/>
                <a:gd name="T2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40">
                  <a:moveTo>
                    <a:pt x="14" y="33"/>
                  </a:moveTo>
                  <a:lnTo>
                    <a:pt x="14" y="21"/>
                  </a:lnTo>
                  <a:lnTo>
                    <a:pt x="23" y="0"/>
                  </a:lnTo>
                  <a:lnTo>
                    <a:pt x="23" y="17"/>
                  </a:lnTo>
                  <a:lnTo>
                    <a:pt x="14" y="33"/>
                  </a:lnTo>
                  <a:lnTo>
                    <a:pt x="14" y="33"/>
                  </a:lnTo>
                  <a:lnTo>
                    <a:pt x="14" y="33"/>
                  </a:lnTo>
                  <a:close/>
                  <a:moveTo>
                    <a:pt x="9" y="40"/>
                  </a:moveTo>
                  <a:lnTo>
                    <a:pt x="0" y="33"/>
                  </a:lnTo>
                  <a:lnTo>
                    <a:pt x="9" y="33"/>
                  </a:lnTo>
                  <a:lnTo>
                    <a:pt x="9" y="40"/>
                  </a:lnTo>
                  <a:lnTo>
                    <a:pt x="9" y="40"/>
                  </a:lnTo>
                  <a:lnTo>
                    <a:pt x="9" y="4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6" name="Freeform 537">
              <a:extLst>
                <a:ext uri="{FF2B5EF4-FFF2-40B4-BE49-F238E27FC236}">
                  <a16:creationId xmlns:a16="http://schemas.microsoft.com/office/drawing/2014/main" id="{AD2B1D35-CFB3-4AF2-AFD0-C6A7652BC301}"/>
                </a:ext>
              </a:extLst>
            </p:cNvPr>
            <p:cNvSpPr>
              <a:spLocks noEditPoints="1"/>
            </p:cNvSpPr>
            <p:nvPr/>
          </p:nvSpPr>
          <p:spPr bwMode="gray">
            <a:xfrm>
              <a:off x="13361883" y="3815257"/>
              <a:ext cx="70369" cy="40912"/>
            </a:xfrm>
            <a:custGeom>
              <a:avLst/>
              <a:gdLst>
                <a:gd name="T0" fmla="*/ 37 w 215"/>
                <a:gd name="T1" fmla="*/ 17 h 125"/>
                <a:gd name="T2" fmla="*/ 106 w 215"/>
                <a:gd name="T3" fmla="*/ 0 h 125"/>
                <a:gd name="T4" fmla="*/ 203 w 215"/>
                <a:gd name="T5" fmla="*/ 0 h 125"/>
                <a:gd name="T6" fmla="*/ 186 w 215"/>
                <a:gd name="T7" fmla="*/ 38 h 125"/>
                <a:gd name="T8" fmla="*/ 203 w 215"/>
                <a:gd name="T9" fmla="*/ 71 h 125"/>
                <a:gd name="T10" fmla="*/ 165 w 215"/>
                <a:gd name="T11" fmla="*/ 71 h 125"/>
                <a:gd name="T12" fmla="*/ 134 w 215"/>
                <a:gd name="T13" fmla="*/ 83 h 125"/>
                <a:gd name="T14" fmla="*/ 113 w 215"/>
                <a:gd name="T15" fmla="*/ 114 h 125"/>
                <a:gd name="T16" fmla="*/ 106 w 215"/>
                <a:gd name="T17" fmla="*/ 114 h 125"/>
                <a:gd name="T18" fmla="*/ 96 w 215"/>
                <a:gd name="T19" fmla="*/ 109 h 125"/>
                <a:gd name="T20" fmla="*/ 89 w 215"/>
                <a:gd name="T21" fmla="*/ 92 h 125"/>
                <a:gd name="T22" fmla="*/ 80 w 215"/>
                <a:gd name="T23" fmla="*/ 92 h 125"/>
                <a:gd name="T24" fmla="*/ 113 w 215"/>
                <a:gd name="T25" fmla="*/ 76 h 125"/>
                <a:gd name="T26" fmla="*/ 89 w 215"/>
                <a:gd name="T27" fmla="*/ 76 h 125"/>
                <a:gd name="T28" fmla="*/ 80 w 215"/>
                <a:gd name="T29" fmla="*/ 71 h 125"/>
                <a:gd name="T30" fmla="*/ 106 w 215"/>
                <a:gd name="T31" fmla="*/ 54 h 125"/>
                <a:gd name="T32" fmla="*/ 113 w 215"/>
                <a:gd name="T33" fmla="*/ 54 h 125"/>
                <a:gd name="T34" fmla="*/ 106 w 215"/>
                <a:gd name="T35" fmla="*/ 54 h 125"/>
                <a:gd name="T36" fmla="*/ 75 w 215"/>
                <a:gd name="T37" fmla="*/ 59 h 125"/>
                <a:gd name="T38" fmla="*/ 59 w 215"/>
                <a:gd name="T39" fmla="*/ 45 h 125"/>
                <a:gd name="T40" fmla="*/ 37 w 215"/>
                <a:gd name="T41" fmla="*/ 54 h 125"/>
                <a:gd name="T42" fmla="*/ 21 w 215"/>
                <a:gd name="T43" fmla="*/ 38 h 125"/>
                <a:gd name="T44" fmla="*/ 9 w 215"/>
                <a:gd name="T45" fmla="*/ 28 h 125"/>
                <a:gd name="T46" fmla="*/ 0 w 215"/>
                <a:gd name="T47" fmla="*/ 21 h 125"/>
                <a:gd name="T48" fmla="*/ 26 w 215"/>
                <a:gd name="T49" fmla="*/ 59 h 125"/>
                <a:gd name="T50" fmla="*/ 37 w 215"/>
                <a:gd name="T51" fmla="*/ 54 h 125"/>
                <a:gd name="T52" fmla="*/ 26 w 215"/>
                <a:gd name="T53" fmla="*/ 59 h 125"/>
                <a:gd name="T54" fmla="*/ 42 w 215"/>
                <a:gd name="T55" fmla="*/ 59 h 125"/>
                <a:gd name="T56" fmla="*/ 54 w 215"/>
                <a:gd name="T57" fmla="*/ 54 h 125"/>
                <a:gd name="T58" fmla="*/ 42 w 215"/>
                <a:gd name="T59" fmla="*/ 59 h 125"/>
                <a:gd name="T60" fmla="*/ 42 w 215"/>
                <a:gd name="T61" fmla="*/ 83 h 125"/>
                <a:gd name="T62" fmla="*/ 54 w 215"/>
                <a:gd name="T63" fmla="*/ 76 h 125"/>
                <a:gd name="T64" fmla="*/ 42 w 215"/>
                <a:gd name="T65" fmla="*/ 83 h 125"/>
                <a:gd name="T66" fmla="*/ 42 w 215"/>
                <a:gd name="T67" fmla="*/ 83 h 125"/>
                <a:gd name="T68" fmla="*/ 21 w 215"/>
                <a:gd name="T69" fmla="*/ 76 h 125"/>
                <a:gd name="T70" fmla="*/ 26 w 215"/>
                <a:gd name="T71" fmla="*/ 83 h 125"/>
                <a:gd name="T72" fmla="*/ 26 w 215"/>
                <a:gd name="T73" fmla="*/ 83 h 125"/>
                <a:gd name="T74" fmla="*/ 26 w 215"/>
                <a:gd name="T75" fmla="*/ 83 h 125"/>
                <a:gd name="T76" fmla="*/ 26 w 215"/>
                <a:gd name="T77" fmla="*/ 83 h 125"/>
                <a:gd name="T78" fmla="*/ 26 w 215"/>
                <a:gd name="T79" fmla="*/ 83 h 125"/>
                <a:gd name="T80" fmla="*/ 26 w 215"/>
                <a:gd name="T81" fmla="*/ 97 h 125"/>
                <a:gd name="T82" fmla="*/ 26 w 215"/>
                <a:gd name="T83" fmla="*/ 97 h 125"/>
                <a:gd name="T84" fmla="*/ 26 w 215"/>
                <a:gd name="T85" fmla="*/ 97 h 125"/>
                <a:gd name="T86" fmla="*/ 26 w 215"/>
                <a:gd name="T87" fmla="*/ 109 h 125"/>
                <a:gd name="T88" fmla="*/ 42 w 215"/>
                <a:gd name="T89" fmla="*/ 114 h 125"/>
                <a:gd name="T90" fmla="*/ 37 w 215"/>
                <a:gd name="T91" fmla="*/ 114 h 125"/>
                <a:gd name="T92" fmla="*/ 42 w 215"/>
                <a:gd name="T93" fmla="*/ 114 h 125"/>
                <a:gd name="T94" fmla="*/ 54 w 215"/>
                <a:gd name="T95" fmla="*/ 97 h 125"/>
                <a:gd name="T96" fmla="*/ 42 w 215"/>
                <a:gd name="T97" fmla="*/ 11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 h="125">
                  <a:moveTo>
                    <a:pt x="0" y="21"/>
                  </a:moveTo>
                  <a:lnTo>
                    <a:pt x="37" y="17"/>
                  </a:lnTo>
                  <a:lnTo>
                    <a:pt x="63" y="17"/>
                  </a:lnTo>
                  <a:lnTo>
                    <a:pt x="106" y="0"/>
                  </a:lnTo>
                  <a:lnTo>
                    <a:pt x="165" y="0"/>
                  </a:lnTo>
                  <a:lnTo>
                    <a:pt x="203" y="0"/>
                  </a:lnTo>
                  <a:lnTo>
                    <a:pt x="215" y="21"/>
                  </a:lnTo>
                  <a:lnTo>
                    <a:pt x="186" y="38"/>
                  </a:lnTo>
                  <a:lnTo>
                    <a:pt x="203" y="45"/>
                  </a:lnTo>
                  <a:lnTo>
                    <a:pt x="203" y="71"/>
                  </a:lnTo>
                  <a:lnTo>
                    <a:pt x="186" y="71"/>
                  </a:lnTo>
                  <a:lnTo>
                    <a:pt x="165" y="71"/>
                  </a:lnTo>
                  <a:lnTo>
                    <a:pt x="148" y="76"/>
                  </a:lnTo>
                  <a:lnTo>
                    <a:pt x="134" y="83"/>
                  </a:lnTo>
                  <a:lnTo>
                    <a:pt x="113" y="125"/>
                  </a:lnTo>
                  <a:lnTo>
                    <a:pt x="113" y="114"/>
                  </a:lnTo>
                  <a:lnTo>
                    <a:pt x="113" y="97"/>
                  </a:lnTo>
                  <a:lnTo>
                    <a:pt x="106" y="114"/>
                  </a:lnTo>
                  <a:lnTo>
                    <a:pt x="106" y="97"/>
                  </a:lnTo>
                  <a:lnTo>
                    <a:pt x="96" y="109"/>
                  </a:lnTo>
                  <a:lnTo>
                    <a:pt x="89" y="109"/>
                  </a:lnTo>
                  <a:lnTo>
                    <a:pt x="89" y="92"/>
                  </a:lnTo>
                  <a:lnTo>
                    <a:pt x="96" y="83"/>
                  </a:lnTo>
                  <a:lnTo>
                    <a:pt x="80" y="92"/>
                  </a:lnTo>
                  <a:lnTo>
                    <a:pt x="96" y="76"/>
                  </a:lnTo>
                  <a:lnTo>
                    <a:pt x="113" y="76"/>
                  </a:lnTo>
                  <a:lnTo>
                    <a:pt x="96" y="71"/>
                  </a:lnTo>
                  <a:lnTo>
                    <a:pt x="89" y="76"/>
                  </a:lnTo>
                  <a:lnTo>
                    <a:pt x="89" y="71"/>
                  </a:lnTo>
                  <a:lnTo>
                    <a:pt x="80" y="71"/>
                  </a:lnTo>
                  <a:lnTo>
                    <a:pt x="89" y="54"/>
                  </a:lnTo>
                  <a:lnTo>
                    <a:pt x="106" y="54"/>
                  </a:lnTo>
                  <a:lnTo>
                    <a:pt x="118" y="59"/>
                  </a:lnTo>
                  <a:lnTo>
                    <a:pt x="113" y="54"/>
                  </a:lnTo>
                  <a:lnTo>
                    <a:pt x="118" y="45"/>
                  </a:lnTo>
                  <a:lnTo>
                    <a:pt x="106" y="54"/>
                  </a:lnTo>
                  <a:lnTo>
                    <a:pt x="89" y="45"/>
                  </a:lnTo>
                  <a:lnTo>
                    <a:pt x="75" y="59"/>
                  </a:lnTo>
                  <a:lnTo>
                    <a:pt x="54" y="59"/>
                  </a:lnTo>
                  <a:lnTo>
                    <a:pt x="59" y="45"/>
                  </a:lnTo>
                  <a:lnTo>
                    <a:pt x="63" y="45"/>
                  </a:lnTo>
                  <a:lnTo>
                    <a:pt x="37" y="54"/>
                  </a:lnTo>
                  <a:lnTo>
                    <a:pt x="26" y="54"/>
                  </a:lnTo>
                  <a:lnTo>
                    <a:pt x="21" y="38"/>
                  </a:lnTo>
                  <a:lnTo>
                    <a:pt x="42" y="21"/>
                  </a:lnTo>
                  <a:lnTo>
                    <a:pt x="9" y="28"/>
                  </a:lnTo>
                  <a:lnTo>
                    <a:pt x="0" y="21"/>
                  </a:lnTo>
                  <a:lnTo>
                    <a:pt x="0" y="21"/>
                  </a:lnTo>
                  <a:lnTo>
                    <a:pt x="0" y="21"/>
                  </a:lnTo>
                  <a:close/>
                  <a:moveTo>
                    <a:pt x="26" y="59"/>
                  </a:moveTo>
                  <a:lnTo>
                    <a:pt x="26" y="45"/>
                  </a:lnTo>
                  <a:lnTo>
                    <a:pt x="37" y="54"/>
                  </a:lnTo>
                  <a:lnTo>
                    <a:pt x="26" y="59"/>
                  </a:lnTo>
                  <a:lnTo>
                    <a:pt x="26" y="59"/>
                  </a:lnTo>
                  <a:lnTo>
                    <a:pt x="26" y="59"/>
                  </a:lnTo>
                  <a:close/>
                  <a:moveTo>
                    <a:pt x="42" y="59"/>
                  </a:moveTo>
                  <a:lnTo>
                    <a:pt x="37" y="54"/>
                  </a:lnTo>
                  <a:lnTo>
                    <a:pt x="54" y="54"/>
                  </a:lnTo>
                  <a:lnTo>
                    <a:pt x="42" y="59"/>
                  </a:lnTo>
                  <a:lnTo>
                    <a:pt x="42" y="59"/>
                  </a:lnTo>
                  <a:lnTo>
                    <a:pt x="42" y="59"/>
                  </a:lnTo>
                  <a:close/>
                  <a:moveTo>
                    <a:pt x="42" y="83"/>
                  </a:moveTo>
                  <a:lnTo>
                    <a:pt x="42" y="76"/>
                  </a:lnTo>
                  <a:lnTo>
                    <a:pt x="54" y="76"/>
                  </a:lnTo>
                  <a:lnTo>
                    <a:pt x="54" y="83"/>
                  </a:lnTo>
                  <a:lnTo>
                    <a:pt x="42" y="83"/>
                  </a:lnTo>
                  <a:lnTo>
                    <a:pt x="42" y="83"/>
                  </a:lnTo>
                  <a:lnTo>
                    <a:pt x="42" y="83"/>
                  </a:lnTo>
                  <a:close/>
                  <a:moveTo>
                    <a:pt x="26" y="83"/>
                  </a:moveTo>
                  <a:lnTo>
                    <a:pt x="21" y="76"/>
                  </a:lnTo>
                  <a:lnTo>
                    <a:pt x="26" y="76"/>
                  </a:lnTo>
                  <a:lnTo>
                    <a:pt x="26" y="83"/>
                  </a:lnTo>
                  <a:lnTo>
                    <a:pt x="26" y="83"/>
                  </a:lnTo>
                  <a:lnTo>
                    <a:pt x="26" y="83"/>
                  </a:lnTo>
                  <a:close/>
                  <a:moveTo>
                    <a:pt x="26" y="83"/>
                  </a:moveTo>
                  <a:lnTo>
                    <a:pt x="26" y="83"/>
                  </a:lnTo>
                  <a:lnTo>
                    <a:pt x="37" y="76"/>
                  </a:lnTo>
                  <a:lnTo>
                    <a:pt x="26" y="83"/>
                  </a:lnTo>
                  <a:lnTo>
                    <a:pt x="26" y="83"/>
                  </a:lnTo>
                  <a:lnTo>
                    <a:pt x="26" y="83"/>
                  </a:lnTo>
                  <a:close/>
                  <a:moveTo>
                    <a:pt x="26" y="97"/>
                  </a:moveTo>
                  <a:lnTo>
                    <a:pt x="26" y="97"/>
                  </a:lnTo>
                  <a:lnTo>
                    <a:pt x="37" y="97"/>
                  </a:lnTo>
                  <a:lnTo>
                    <a:pt x="26" y="97"/>
                  </a:lnTo>
                  <a:lnTo>
                    <a:pt x="26" y="97"/>
                  </a:lnTo>
                  <a:lnTo>
                    <a:pt x="26" y="97"/>
                  </a:lnTo>
                  <a:close/>
                  <a:moveTo>
                    <a:pt x="37" y="114"/>
                  </a:moveTo>
                  <a:lnTo>
                    <a:pt x="26" y="109"/>
                  </a:lnTo>
                  <a:lnTo>
                    <a:pt x="42" y="97"/>
                  </a:lnTo>
                  <a:lnTo>
                    <a:pt x="42" y="114"/>
                  </a:lnTo>
                  <a:lnTo>
                    <a:pt x="37" y="114"/>
                  </a:lnTo>
                  <a:lnTo>
                    <a:pt x="37" y="114"/>
                  </a:lnTo>
                  <a:lnTo>
                    <a:pt x="37" y="114"/>
                  </a:lnTo>
                  <a:close/>
                  <a:moveTo>
                    <a:pt x="42" y="114"/>
                  </a:moveTo>
                  <a:lnTo>
                    <a:pt x="42" y="109"/>
                  </a:lnTo>
                  <a:lnTo>
                    <a:pt x="54" y="97"/>
                  </a:lnTo>
                  <a:lnTo>
                    <a:pt x="42" y="114"/>
                  </a:lnTo>
                  <a:lnTo>
                    <a:pt x="42" y="114"/>
                  </a:lnTo>
                  <a:lnTo>
                    <a:pt x="42" y="11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7" name="Freeform 538">
              <a:extLst>
                <a:ext uri="{FF2B5EF4-FFF2-40B4-BE49-F238E27FC236}">
                  <a16:creationId xmlns:a16="http://schemas.microsoft.com/office/drawing/2014/main" id="{8E35AB34-23D3-4260-8961-E42A7BDF368C}"/>
                </a:ext>
              </a:extLst>
            </p:cNvPr>
            <p:cNvSpPr>
              <a:spLocks/>
            </p:cNvSpPr>
            <p:nvPr/>
          </p:nvSpPr>
          <p:spPr bwMode="gray">
            <a:xfrm>
              <a:off x="14908032" y="3482723"/>
              <a:ext cx="20947" cy="41894"/>
            </a:xfrm>
            <a:custGeom>
              <a:avLst/>
              <a:gdLst>
                <a:gd name="T0" fmla="*/ 42 w 64"/>
                <a:gd name="T1" fmla="*/ 116 h 128"/>
                <a:gd name="T2" fmla="*/ 16 w 64"/>
                <a:gd name="T3" fmla="*/ 128 h 128"/>
                <a:gd name="T4" fmla="*/ 12 w 64"/>
                <a:gd name="T5" fmla="*/ 111 h 128"/>
                <a:gd name="T6" fmla="*/ 0 w 64"/>
                <a:gd name="T7" fmla="*/ 55 h 128"/>
                <a:gd name="T8" fmla="*/ 12 w 64"/>
                <a:gd name="T9" fmla="*/ 55 h 128"/>
                <a:gd name="T10" fmla="*/ 12 w 64"/>
                <a:gd name="T11" fmla="*/ 45 h 128"/>
                <a:gd name="T12" fmla="*/ 16 w 64"/>
                <a:gd name="T13" fmla="*/ 38 h 128"/>
                <a:gd name="T14" fmla="*/ 16 w 64"/>
                <a:gd name="T15" fmla="*/ 38 h 128"/>
                <a:gd name="T16" fmla="*/ 26 w 64"/>
                <a:gd name="T17" fmla="*/ 5 h 128"/>
                <a:gd name="T18" fmla="*/ 42 w 64"/>
                <a:gd name="T19" fmla="*/ 0 h 128"/>
                <a:gd name="T20" fmla="*/ 47 w 64"/>
                <a:gd name="T21" fmla="*/ 17 h 128"/>
                <a:gd name="T22" fmla="*/ 64 w 64"/>
                <a:gd name="T23" fmla="*/ 22 h 128"/>
                <a:gd name="T24" fmla="*/ 64 w 64"/>
                <a:gd name="T25" fmla="*/ 38 h 128"/>
                <a:gd name="T26" fmla="*/ 54 w 64"/>
                <a:gd name="T27" fmla="*/ 55 h 128"/>
                <a:gd name="T28" fmla="*/ 54 w 64"/>
                <a:gd name="T29" fmla="*/ 71 h 128"/>
                <a:gd name="T30" fmla="*/ 64 w 64"/>
                <a:gd name="T31" fmla="*/ 71 h 128"/>
                <a:gd name="T32" fmla="*/ 64 w 64"/>
                <a:gd name="T33" fmla="*/ 83 h 128"/>
                <a:gd name="T34" fmla="*/ 47 w 64"/>
                <a:gd name="T35" fmla="*/ 128 h 128"/>
                <a:gd name="T36" fmla="*/ 42 w 64"/>
                <a:gd name="T37" fmla="*/ 116 h 128"/>
                <a:gd name="T38" fmla="*/ 42 w 64"/>
                <a:gd name="T39" fmla="*/ 116 h 128"/>
                <a:gd name="T40" fmla="*/ 42 w 64"/>
                <a:gd name="T41" fmla="*/ 1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128">
                  <a:moveTo>
                    <a:pt x="42" y="116"/>
                  </a:moveTo>
                  <a:lnTo>
                    <a:pt x="16" y="128"/>
                  </a:lnTo>
                  <a:lnTo>
                    <a:pt x="12" y="111"/>
                  </a:lnTo>
                  <a:lnTo>
                    <a:pt x="0" y="55"/>
                  </a:lnTo>
                  <a:lnTo>
                    <a:pt x="12" y="55"/>
                  </a:lnTo>
                  <a:lnTo>
                    <a:pt x="12" y="45"/>
                  </a:lnTo>
                  <a:lnTo>
                    <a:pt x="16" y="38"/>
                  </a:lnTo>
                  <a:lnTo>
                    <a:pt x="16" y="38"/>
                  </a:lnTo>
                  <a:lnTo>
                    <a:pt x="26" y="5"/>
                  </a:lnTo>
                  <a:lnTo>
                    <a:pt x="42" y="0"/>
                  </a:lnTo>
                  <a:lnTo>
                    <a:pt x="47" y="17"/>
                  </a:lnTo>
                  <a:lnTo>
                    <a:pt x="64" y="22"/>
                  </a:lnTo>
                  <a:lnTo>
                    <a:pt x="64" y="38"/>
                  </a:lnTo>
                  <a:lnTo>
                    <a:pt x="54" y="55"/>
                  </a:lnTo>
                  <a:lnTo>
                    <a:pt x="54" y="71"/>
                  </a:lnTo>
                  <a:lnTo>
                    <a:pt x="64" y="71"/>
                  </a:lnTo>
                  <a:lnTo>
                    <a:pt x="64" y="83"/>
                  </a:lnTo>
                  <a:lnTo>
                    <a:pt x="47" y="128"/>
                  </a:lnTo>
                  <a:lnTo>
                    <a:pt x="42" y="116"/>
                  </a:lnTo>
                  <a:lnTo>
                    <a:pt x="42" y="116"/>
                  </a:lnTo>
                  <a:lnTo>
                    <a:pt x="42" y="11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8" name="Freeform 539">
              <a:extLst>
                <a:ext uri="{FF2B5EF4-FFF2-40B4-BE49-F238E27FC236}">
                  <a16:creationId xmlns:a16="http://schemas.microsoft.com/office/drawing/2014/main" id="{CE5C07A1-752E-426E-8F50-F79818C619C9}"/>
                </a:ext>
              </a:extLst>
            </p:cNvPr>
            <p:cNvSpPr>
              <a:spLocks/>
            </p:cNvSpPr>
            <p:nvPr/>
          </p:nvSpPr>
          <p:spPr bwMode="gray">
            <a:xfrm>
              <a:off x="15011458" y="4613206"/>
              <a:ext cx="15710" cy="12437"/>
            </a:xfrm>
            <a:custGeom>
              <a:avLst/>
              <a:gdLst>
                <a:gd name="T0" fmla="*/ 34 w 48"/>
                <a:gd name="T1" fmla="*/ 5 h 38"/>
                <a:gd name="T2" fmla="*/ 48 w 48"/>
                <a:gd name="T3" fmla="*/ 21 h 38"/>
                <a:gd name="T4" fmla="*/ 38 w 48"/>
                <a:gd name="T5" fmla="*/ 33 h 38"/>
                <a:gd name="T6" fmla="*/ 34 w 48"/>
                <a:gd name="T7" fmla="*/ 38 h 38"/>
                <a:gd name="T8" fmla="*/ 8 w 48"/>
                <a:gd name="T9" fmla="*/ 33 h 38"/>
                <a:gd name="T10" fmla="*/ 0 w 48"/>
                <a:gd name="T11" fmla="*/ 16 h 38"/>
                <a:gd name="T12" fmla="*/ 17 w 48"/>
                <a:gd name="T13" fmla="*/ 0 h 38"/>
                <a:gd name="T14" fmla="*/ 34 w 48"/>
                <a:gd name="T15" fmla="*/ 0 h 38"/>
                <a:gd name="T16" fmla="*/ 34 w 48"/>
                <a:gd name="T17" fmla="*/ 5 h 38"/>
                <a:gd name="T18" fmla="*/ 34 w 48"/>
                <a:gd name="T19" fmla="*/ 5 h 38"/>
                <a:gd name="T20" fmla="*/ 34 w 48"/>
                <a:gd name="T21"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38">
                  <a:moveTo>
                    <a:pt x="34" y="5"/>
                  </a:moveTo>
                  <a:lnTo>
                    <a:pt x="48" y="21"/>
                  </a:lnTo>
                  <a:lnTo>
                    <a:pt x="38" y="33"/>
                  </a:lnTo>
                  <a:lnTo>
                    <a:pt x="34" y="38"/>
                  </a:lnTo>
                  <a:lnTo>
                    <a:pt x="8" y="33"/>
                  </a:lnTo>
                  <a:lnTo>
                    <a:pt x="0" y="16"/>
                  </a:lnTo>
                  <a:lnTo>
                    <a:pt x="17" y="0"/>
                  </a:lnTo>
                  <a:lnTo>
                    <a:pt x="34" y="0"/>
                  </a:lnTo>
                  <a:lnTo>
                    <a:pt x="34" y="5"/>
                  </a:lnTo>
                  <a:lnTo>
                    <a:pt x="34" y="5"/>
                  </a:lnTo>
                  <a:lnTo>
                    <a:pt x="34"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9" name="Freeform 540">
              <a:extLst>
                <a:ext uri="{FF2B5EF4-FFF2-40B4-BE49-F238E27FC236}">
                  <a16:creationId xmlns:a16="http://schemas.microsoft.com/office/drawing/2014/main" id="{97CCF1A6-01AC-4CBC-8B15-07CF47C7E092}"/>
                </a:ext>
              </a:extLst>
            </p:cNvPr>
            <p:cNvSpPr>
              <a:spLocks/>
            </p:cNvSpPr>
            <p:nvPr/>
          </p:nvSpPr>
          <p:spPr bwMode="gray">
            <a:xfrm>
              <a:off x="14209909" y="2878206"/>
              <a:ext cx="216343" cy="136810"/>
            </a:xfrm>
            <a:custGeom>
              <a:avLst/>
              <a:gdLst>
                <a:gd name="T0" fmla="*/ 151 w 661"/>
                <a:gd name="T1" fmla="*/ 340 h 418"/>
                <a:gd name="T2" fmla="*/ 151 w 661"/>
                <a:gd name="T3" fmla="*/ 324 h 418"/>
                <a:gd name="T4" fmla="*/ 130 w 661"/>
                <a:gd name="T5" fmla="*/ 340 h 418"/>
                <a:gd name="T6" fmla="*/ 97 w 661"/>
                <a:gd name="T7" fmla="*/ 324 h 418"/>
                <a:gd name="T8" fmla="*/ 80 w 661"/>
                <a:gd name="T9" fmla="*/ 317 h 418"/>
                <a:gd name="T10" fmla="*/ 92 w 661"/>
                <a:gd name="T11" fmla="*/ 307 h 418"/>
                <a:gd name="T12" fmla="*/ 92 w 661"/>
                <a:gd name="T13" fmla="*/ 284 h 418"/>
                <a:gd name="T14" fmla="*/ 38 w 661"/>
                <a:gd name="T15" fmla="*/ 229 h 418"/>
                <a:gd name="T16" fmla="*/ 0 w 661"/>
                <a:gd name="T17" fmla="*/ 196 h 418"/>
                <a:gd name="T18" fmla="*/ 28 w 661"/>
                <a:gd name="T19" fmla="*/ 196 h 418"/>
                <a:gd name="T20" fmla="*/ 71 w 661"/>
                <a:gd name="T21" fmla="*/ 184 h 418"/>
                <a:gd name="T22" fmla="*/ 92 w 661"/>
                <a:gd name="T23" fmla="*/ 140 h 418"/>
                <a:gd name="T24" fmla="*/ 123 w 661"/>
                <a:gd name="T25" fmla="*/ 85 h 418"/>
                <a:gd name="T26" fmla="*/ 146 w 661"/>
                <a:gd name="T27" fmla="*/ 57 h 418"/>
                <a:gd name="T28" fmla="*/ 182 w 661"/>
                <a:gd name="T29" fmla="*/ 29 h 418"/>
                <a:gd name="T30" fmla="*/ 220 w 661"/>
                <a:gd name="T31" fmla="*/ 29 h 418"/>
                <a:gd name="T32" fmla="*/ 295 w 661"/>
                <a:gd name="T33" fmla="*/ 29 h 418"/>
                <a:gd name="T34" fmla="*/ 349 w 661"/>
                <a:gd name="T35" fmla="*/ 29 h 418"/>
                <a:gd name="T36" fmla="*/ 420 w 661"/>
                <a:gd name="T37" fmla="*/ 7 h 418"/>
                <a:gd name="T38" fmla="*/ 468 w 661"/>
                <a:gd name="T39" fmla="*/ 19 h 418"/>
                <a:gd name="T40" fmla="*/ 527 w 661"/>
                <a:gd name="T41" fmla="*/ 102 h 418"/>
                <a:gd name="T42" fmla="*/ 560 w 661"/>
                <a:gd name="T43" fmla="*/ 168 h 418"/>
                <a:gd name="T44" fmla="*/ 553 w 661"/>
                <a:gd name="T45" fmla="*/ 239 h 418"/>
                <a:gd name="T46" fmla="*/ 553 w 661"/>
                <a:gd name="T47" fmla="*/ 262 h 418"/>
                <a:gd name="T48" fmla="*/ 590 w 661"/>
                <a:gd name="T49" fmla="*/ 279 h 418"/>
                <a:gd name="T50" fmla="*/ 649 w 661"/>
                <a:gd name="T51" fmla="*/ 267 h 418"/>
                <a:gd name="T52" fmla="*/ 649 w 661"/>
                <a:gd name="T53" fmla="*/ 317 h 418"/>
                <a:gd name="T54" fmla="*/ 612 w 661"/>
                <a:gd name="T55" fmla="*/ 307 h 418"/>
                <a:gd name="T56" fmla="*/ 612 w 661"/>
                <a:gd name="T57" fmla="*/ 300 h 418"/>
                <a:gd name="T58" fmla="*/ 607 w 661"/>
                <a:gd name="T59" fmla="*/ 317 h 418"/>
                <a:gd name="T60" fmla="*/ 612 w 661"/>
                <a:gd name="T61" fmla="*/ 324 h 418"/>
                <a:gd name="T62" fmla="*/ 590 w 661"/>
                <a:gd name="T63" fmla="*/ 340 h 418"/>
                <a:gd name="T64" fmla="*/ 581 w 661"/>
                <a:gd name="T65" fmla="*/ 357 h 418"/>
                <a:gd name="T66" fmla="*/ 581 w 661"/>
                <a:gd name="T67" fmla="*/ 411 h 418"/>
                <a:gd name="T68" fmla="*/ 538 w 661"/>
                <a:gd name="T69" fmla="*/ 390 h 418"/>
                <a:gd name="T70" fmla="*/ 510 w 661"/>
                <a:gd name="T71" fmla="*/ 378 h 418"/>
                <a:gd name="T72" fmla="*/ 489 w 661"/>
                <a:gd name="T73" fmla="*/ 373 h 418"/>
                <a:gd name="T74" fmla="*/ 413 w 661"/>
                <a:gd name="T75" fmla="*/ 390 h 418"/>
                <a:gd name="T76" fmla="*/ 361 w 661"/>
                <a:gd name="T77" fmla="*/ 418 h 418"/>
                <a:gd name="T78" fmla="*/ 274 w 661"/>
                <a:gd name="T79" fmla="*/ 411 h 418"/>
                <a:gd name="T80" fmla="*/ 182 w 661"/>
                <a:gd name="T81" fmla="*/ 406 h 418"/>
                <a:gd name="T82" fmla="*/ 189 w 661"/>
                <a:gd name="T83" fmla="*/ 378 h 418"/>
                <a:gd name="T84" fmla="*/ 168 w 661"/>
                <a:gd name="T85" fmla="*/ 36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1" h="418">
                  <a:moveTo>
                    <a:pt x="168" y="362"/>
                  </a:moveTo>
                  <a:lnTo>
                    <a:pt x="151" y="340"/>
                  </a:lnTo>
                  <a:lnTo>
                    <a:pt x="177" y="340"/>
                  </a:lnTo>
                  <a:lnTo>
                    <a:pt x="151" y="324"/>
                  </a:lnTo>
                  <a:lnTo>
                    <a:pt x="146" y="324"/>
                  </a:lnTo>
                  <a:lnTo>
                    <a:pt x="130" y="340"/>
                  </a:lnTo>
                  <a:lnTo>
                    <a:pt x="123" y="333"/>
                  </a:lnTo>
                  <a:lnTo>
                    <a:pt x="97" y="324"/>
                  </a:lnTo>
                  <a:lnTo>
                    <a:pt x="92" y="317"/>
                  </a:lnTo>
                  <a:lnTo>
                    <a:pt x="80" y="317"/>
                  </a:lnTo>
                  <a:lnTo>
                    <a:pt x="75" y="307"/>
                  </a:lnTo>
                  <a:lnTo>
                    <a:pt x="92" y="307"/>
                  </a:lnTo>
                  <a:lnTo>
                    <a:pt x="75" y="300"/>
                  </a:lnTo>
                  <a:lnTo>
                    <a:pt x="92" y="284"/>
                  </a:lnTo>
                  <a:lnTo>
                    <a:pt x="38" y="251"/>
                  </a:lnTo>
                  <a:lnTo>
                    <a:pt x="38" y="229"/>
                  </a:lnTo>
                  <a:lnTo>
                    <a:pt x="28" y="229"/>
                  </a:lnTo>
                  <a:lnTo>
                    <a:pt x="0" y="196"/>
                  </a:lnTo>
                  <a:lnTo>
                    <a:pt x="16" y="189"/>
                  </a:lnTo>
                  <a:lnTo>
                    <a:pt x="28" y="196"/>
                  </a:lnTo>
                  <a:lnTo>
                    <a:pt x="38" y="184"/>
                  </a:lnTo>
                  <a:lnTo>
                    <a:pt x="71" y="184"/>
                  </a:lnTo>
                  <a:lnTo>
                    <a:pt x="75" y="151"/>
                  </a:lnTo>
                  <a:lnTo>
                    <a:pt x="92" y="140"/>
                  </a:lnTo>
                  <a:lnTo>
                    <a:pt x="97" y="118"/>
                  </a:lnTo>
                  <a:lnTo>
                    <a:pt x="123" y="85"/>
                  </a:lnTo>
                  <a:lnTo>
                    <a:pt x="123" y="73"/>
                  </a:lnTo>
                  <a:lnTo>
                    <a:pt x="146" y="57"/>
                  </a:lnTo>
                  <a:lnTo>
                    <a:pt x="168" y="45"/>
                  </a:lnTo>
                  <a:lnTo>
                    <a:pt x="182" y="29"/>
                  </a:lnTo>
                  <a:lnTo>
                    <a:pt x="205" y="19"/>
                  </a:lnTo>
                  <a:lnTo>
                    <a:pt x="220" y="29"/>
                  </a:lnTo>
                  <a:lnTo>
                    <a:pt x="274" y="29"/>
                  </a:lnTo>
                  <a:lnTo>
                    <a:pt x="295" y="29"/>
                  </a:lnTo>
                  <a:lnTo>
                    <a:pt x="328" y="57"/>
                  </a:lnTo>
                  <a:lnTo>
                    <a:pt x="349" y="29"/>
                  </a:lnTo>
                  <a:lnTo>
                    <a:pt x="413" y="29"/>
                  </a:lnTo>
                  <a:lnTo>
                    <a:pt x="420" y="7"/>
                  </a:lnTo>
                  <a:lnTo>
                    <a:pt x="446" y="0"/>
                  </a:lnTo>
                  <a:lnTo>
                    <a:pt x="468" y="19"/>
                  </a:lnTo>
                  <a:lnTo>
                    <a:pt x="489" y="57"/>
                  </a:lnTo>
                  <a:lnTo>
                    <a:pt x="527" y="102"/>
                  </a:lnTo>
                  <a:lnTo>
                    <a:pt x="543" y="118"/>
                  </a:lnTo>
                  <a:lnTo>
                    <a:pt x="560" y="168"/>
                  </a:lnTo>
                  <a:lnTo>
                    <a:pt x="543" y="196"/>
                  </a:lnTo>
                  <a:lnTo>
                    <a:pt x="553" y="239"/>
                  </a:lnTo>
                  <a:lnTo>
                    <a:pt x="543" y="246"/>
                  </a:lnTo>
                  <a:lnTo>
                    <a:pt x="553" y="262"/>
                  </a:lnTo>
                  <a:lnTo>
                    <a:pt x="564" y="267"/>
                  </a:lnTo>
                  <a:lnTo>
                    <a:pt x="590" y="279"/>
                  </a:lnTo>
                  <a:lnTo>
                    <a:pt x="635" y="262"/>
                  </a:lnTo>
                  <a:lnTo>
                    <a:pt x="649" y="267"/>
                  </a:lnTo>
                  <a:lnTo>
                    <a:pt x="661" y="279"/>
                  </a:lnTo>
                  <a:lnTo>
                    <a:pt x="649" y="317"/>
                  </a:lnTo>
                  <a:lnTo>
                    <a:pt x="612" y="317"/>
                  </a:lnTo>
                  <a:lnTo>
                    <a:pt x="612" y="307"/>
                  </a:lnTo>
                  <a:lnTo>
                    <a:pt x="619" y="300"/>
                  </a:lnTo>
                  <a:lnTo>
                    <a:pt x="612" y="300"/>
                  </a:lnTo>
                  <a:lnTo>
                    <a:pt x="598" y="300"/>
                  </a:lnTo>
                  <a:lnTo>
                    <a:pt x="607" y="317"/>
                  </a:lnTo>
                  <a:lnTo>
                    <a:pt x="598" y="333"/>
                  </a:lnTo>
                  <a:lnTo>
                    <a:pt x="612" y="324"/>
                  </a:lnTo>
                  <a:lnTo>
                    <a:pt x="590" y="333"/>
                  </a:lnTo>
                  <a:lnTo>
                    <a:pt x="590" y="340"/>
                  </a:lnTo>
                  <a:lnTo>
                    <a:pt x="607" y="333"/>
                  </a:lnTo>
                  <a:lnTo>
                    <a:pt x="581" y="357"/>
                  </a:lnTo>
                  <a:lnTo>
                    <a:pt x="590" y="390"/>
                  </a:lnTo>
                  <a:lnTo>
                    <a:pt x="581" y="411"/>
                  </a:lnTo>
                  <a:lnTo>
                    <a:pt x="543" y="406"/>
                  </a:lnTo>
                  <a:lnTo>
                    <a:pt x="538" y="390"/>
                  </a:lnTo>
                  <a:lnTo>
                    <a:pt x="522" y="390"/>
                  </a:lnTo>
                  <a:lnTo>
                    <a:pt x="510" y="378"/>
                  </a:lnTo>
                  <a:lnTo>
                    <a:pt x="501" y="390"/>
                  </a:lnTo>
                  <a:lnTo>
                    <a:pt x="489" y="373"/>
                  </a:lnTo>
                  <a:lnTo>
                    <a:pt x="472" y="373"/>
                  </a:lnTo>
                  <a:lnTo>
                    <a:pt x="413" y="390"/>
                  </a:lnTo>
                  <a:lnTo>
                    <a:pt x="383" y="411"/>
                  </a:lnTo>
                  <a:lnTo>
                    <a:pt x="361" y="418"/>
                  </a:lnTo>
                  <a:lnTo>
                    <a:pt x="295" y="406"/>
                  </a:lnTo>
                  <a:lnTo>
                    <a:pt x="274" y="411"/>
                  </a:lnTo>
                  <a:lnTo>
                    <a:pt x="220" y="395"/>
                  </a:lnTo>
                  <a:lnTo>
                    <a:pt x="182" y="406"/>
                  </a:lnTo>
                  <a:lnTo>
                    <a:pt x="182" y="390"/>
                  </a:lnTo>
                  <a:lnTo>
                    <a:pt x="189" y="378"/>
                  </a:lnTo>
                  <a:lnTo>
                    <a:pt x="168" y="362"/>
                  </a:lnTo>
                  <a:lnTo>
                    <a:pt x="168" y="362"/>
                  </a:lnTo>
                  <a:lnTo>
                    <a:pt x="168" y="36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0" name="Freeform 541">
              <a:extLst>
                <a:ext uri="{FF2B5EF4-FFF2-40B4-BE49-F238E27FC236}">
                  <a16:creationId xmlns:a16="http://schemas.microsoft.com/office/drawing/2014/main" id="{4B4AD4F8-12DC-4D09-B456-3C38EAC11668}"/>
                </a:ext>
              </a:extLst>
            </p:cNvPr>
            <p:cNvSpPr>
              <a:spLocks noEditPoints="1"/>
            </p:cNvSpPr>
            <p:nvPr/>
          </p:nvSpPr>
          <p:spPr bwMode="gray">
            <a:xfrm>
              <a:off x="16428652" y="3648336"/>
              <a:ext cx="221253" cy="348571"/>
            </a:xfrm>
            <a:custGeom>
              <a:avLst/>
              <a:gdLst>
                <a:gd name="T0" fmla="*/ 324 w 676"/>
                <a:gd name="T1" fmla="*/ 16 h 1065"/>
                <a:gd name="T2" fmla="*/ 310 w 676"/>
                <a:gd name="T3" fmla="*/ 50 h 1065"/>
                <a:gd name="T4" fmla="*/ 459 w 676"/>
                <a:gd name="T5" fmla="*/ 437 h 1065"/>
                <a:gd name="T6" fmla="*/ 487 w 676"/>
                <a:gd name="T7" fmla="*/ 494 h 1065"/>
                <a:gd name="T8" fmla="*/ 395 w 676"/>
                <a:gd name="T9" fmla="*/ 416 h 1065"/>
                <a:gd name="T10" fmla="*/ 260 w 676"/>
                <a:gd name="T11" fmla="*/ 416 h 1065"/>
                <a:gd name="T12" fmla="*/ 239 w 676"/>
                <a:gd name="T13" fmla="*/ 349 h 1065"/>
                <a:gd name="T14" fmla="*/ 244 w 676"/>
                <a:gd name="T15" fmla="*/ 250 h 1065"/>
                <a:gd name="T16" fmla="*/ 378 w 676"/>
                <a:gd name="T17" fmla="*/ 90 h 1065"/>
                <a:gd name="T18" fmla="*/ 369 w 676"/>
                <a:gd name="T19" fmla="*/ 250 h 1065"/>
                <a:gd name="T20" fmla="*/ 369 w 676"/>
                <a:gd name="T21" fmla="*/ 416 h 1065"/>
                <a:gd name="T22" fmla="*/ 433 w 676"/>
                <a:gd name="T23" fmla="*/ 437 h 1065"/>
                <a:gd name="T24" fmla="*/ 362 w 676"/>
                <a:gd name="T25" fmla="*/ 342 h 1065"/>
                <a:gd name="T26" fmla="*/ 369 w 676"/>
                <a:gd name="T27" fmla="*/ 361 h 1065"/>
                <a:gd name="T28" fmla="*/ 508 w 676"/>
                <a:gd name="T29" fmla="*/ 444 h 1065"/>
                <a:gd name="T30" fmla="*/ 345 w 676"/>
                <a:gd name="T31" fmla="*/ 461 h 1065"/>
                <a:gd name="T32" fmla="*/ 239 w 676"/>
                <a:gd name="T33" fmla="*/ 444 h 1065"/>
                <a:gd name="T34" fmla="*/ 487 w 676"/>
                <a:gd name="T35" fmla="*/ 453 h 1065"/>
                <a:gd name="T36" fmla="*/ 492 w 676"/>
                <a:gd name="T37" fmla="*/ 470 h 1065"/>
                <a:gd name="T38" fmla="*/ 362 w 676"/>
                <a:gd name="T39" fmla="*/ 510 h 1065"/>
                <a:gd name="T40" fmla="*/ 503 w 676"/>
                <a:gd name="T41" fmla="*/ 581 h 1065"/>
                <a:gd name="T42" fmla="*/ 617 w 676"/>
                <a:gd name="T43" fmla="*/ 626 h 1065"/>
                <a:gd name="T44" fmla="*/ 584 w 676"/>
                <a:gd name="T45" fmla="*/ 527 h 1065"/>
                <a:gd name="T46" fmla="*/ 617 w 676"/>
                <a:gd name="T47" fmla="*/ 626 h 1065"/>
                <a:gd name="T48" fmla="*/ 218 w 676"/>
                <a:gd name="T49" fmla="*/ 555 h 1065"/>
                <a:gd name="T50" fmla="*/ 293 w 676"/>
                <a:gd name="T51" fmla="*/ 538 h 1065"/>
                <a:gd name="T52" fmla="*/ 433 w 676"/>
                <a:gd name="T53" fmla="*/ 621 h 1065"/>
                <a:gd name="T54" fmla="*/ 369 w 676"/>
                <a:gd name="T55" fmla="*/ 572 h 1065"/>
                <a:gd name="T56" fmla="*/ 529 w 676"/>
                <a:gd name="T57" fmla="*/ 581 h 1065"/>
                <a:gd name="T58" fmla="*/ 525 w 676"/>
                <a:gd name="T59" fmla="*/ 638 h 1065"/>
                <a:gd name="T60" fmla="*/ 546 w 676"/>
                <a:gd name="T61" fmla="*/ 692 h 1065"/>
                <a:gd name="T62" fmla="*/ 189 w 676"/>
                <a:gd name="T63" fmla="*/ 666 h 1065"/>
                <a:gd name="T64" fmla="*/ 24 w 676"/>
                <a:gd name="T65" fmla="*/ 803 h 1065"/>
                <a:gd name="T66" fmla="*/ 168 w 676"/>
                <a:gd name="T67" fmla="*/ 659 h 1065"/>
                <a:gd name="T68" fmla="*/ 185 w 676"/>
                <a:gd name="T69" fmla="*/ 642 h 1065"/>
                <a:gd name="T70" fmla="*/ 475 w 676"/>
                <a:gd name="T71" fmla="*/ 666 h 1065"/>
                <a:gd name="T72" fmla="*/ 449 w 676"/>
                <a:gd name="T73" fmla="*/ 675 h 1065"/>
                <a:gd name="T74" fmla="*/ 416 w 676"/>
                <a:gd name="T75" fmla="*/ 699 h 1065"/>
                <a:gd name="T76" fmla="*/ 617 w 676"/>
                <a:gd name="T77" fmla="*/ 649 h 1065"/>
                <a:gd name="T78" fmla="*/ 407 w 676"/>
                <a:gd name="T79" fmla="*/ 659 h 1065"/>
                <a:gd name="T80" fmla="*/ 513 w 676"/>
                <a:gd name="T81" fmla="*/ 659 h 1065"/>
                <a:gd name="T82" fmla="*/ 201 w 676"/>
                <a:gd name="T83" fmla="*/ 666 h 1065"/>
                <a:gd name="T84" fmla="*/ 529 w 676"/>
                <a:gd name="T85" fmla="*/ 699 h 1065"/>
                <a:gd name="T86" fmla="*/ 529 w 676"/>
                <a:gd name="T87" fmla="*/ 699 h 1065"/>
                <a:gd name="T88" fmla="*/ 638 w 676"/>
                <a:gd name="T89" fmla="*/ 720 h 1065"/>
                <a:gd name="T90" fmla="*/ 407 w 676"/>
                <a:gd name="T91" fmla="*/ 886 h 1065"/>
                <a:gd name="T92" fmla="*/ 421 w 676"/>
                <a:gd name="T93" fmla="*/ 831 h 1065"/>
                <a:gd name="T94" fmla="*/ 513 w 676"/>
                <a:gd name="T95" fmla="*/ 815 h 1065"/>
                <a:gd name="T96" fmla="*/ 631 w 676"/>
                <a:gd name="T97" fmla="*/ 737 h 1065"/>
                <a:gd name="T98" fmla="*/ 664 w 676"/>
                <a:gd name="T99" fmla="*/ 860 h 1065"/>
                <a:gd name="T100" fmla="*/ 622 w 676"/>
                <a:gd name="T101" fmla="*/ 914 h 1065"/>
                <a:gd name="T102" fmla="*/ 584 w 676"/>
                <a:gd name="T103" fmla="*/ 1025 h 1065"/>
                <a:gd name="T104" fmla="*/ 492 w 676"/>
                <a:gd name="T105" fmla="*/ 869 h 1065"/>
                <a:gd name="T106" fmla="*/ 454 w 676"/>
                <a:gd name="T107" fmla="*/ 758 h 1065"/>
                <a:gd name="T108" fmla="*/ 546 w 676"/>
                <a:gd name="T109" fmla="*/ 770 h 1065"/>
                <a:gd name="T110" fmla="*/ 416 w 676"/>
                <a:gd name="T111" fmla="*/ 898 h 1065"/>
                <a:gd name="T112" fmla="*/ 622 w 676"/>
                <a:gd name="T113" fmla="*/ 914 h 1065"/>
                <a:gd name="T114" fmla="*/ 352 w 676"/>
                <a:gd name="T115" fmla="*/ 959 h 1065"/>
                <a:gd name="T116" fmla="*/ 255 w 676"/>
                <a:gd name="T117" fmla="*/ 959 h 1065"/>
                <a:gd name="T118" fmla="*/ 310 w 676"/>
                <a:gd name="T119" fmla="*/ 997 h 1065"/>
                <a:gd name="T120" fmla="*/ 277 w 676"/>
                <a:gd name="T121" fmla="*/ 1025 h 1065"/>
                <a:gd name="T122" fmla="*/ 206 w 676"/>
                <a:gd name="T123" fmla="*/ 1065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6" h="1065">
                  <a:moveTo>
                    <a:pt x="352" y="0"/>
                  </a:moveTo>
                  <a:lnTo>
                    <a:pt x="345" y="0"/>
                  </a:lnTo>
                  <a:lnTo>
                    <a:pt x="352" y="0"/>
                  </a:lnTo>
                  <a:lnTo>
                    <a:pt x="352" y="0"/>
                  </a:lnTo>
                  <a:lnTo>
                    <a:pt x="352" y="0"/>
                  </a:lnTo>
                  <a:close/>
                  <a:moveTo>
                    <a:pt x="324" y="16"/>
                  </a:moveTo>
                  <a:lnTo>
                    <a:pt x="314" y="12"/>
                  </a:lnTo>
                  <a:lnTo>
                    <a:pt x="324" y="12"/>
                  </a:lnTo>
                  <a:lnTo>
                    <a:pt x="324" y="16"/>
                  </a:lnTo>
                  <a:lnTo>
                    <a:pt x="324" y="16"/>
                  </a:lnTo>
                  <a:lnTo>
                    <a:pt x="324" y="16"/>
                  </a:lnTo>
                  <a:close/>
                  <a:moveTo>
                    <a:pt x="345" y="54"/>
                  </a:moveTo>
                  <a:lnTo>
                    <a:pt x="345" y="38"/>
                  </a:lnTo>
                  <a:lnTo>
                    <a:pt x="352" y="38"/>
                  </a:lnTo>
                  <a:lnTo>
                    <a:pt x="345" y="54"/>
                  </a:lnTo>
                  <a:lnTo>
                    <a:pt x="345" y="54"/>
                  </a:lnTo>
                  <a:lnTo>
                    <a:pt x="345" y="54"/>
                  </a:lnTo>
                  <a:close/>
                  <a:moveTo>
                    <a:pt x="310" y="50"/>
                  </a:moveTo>
                  <a:lnTo>
                    <a:pt x="314" y="50"/>
                  </a:lnTo>
                  <a:lnTo>
                    <a:pt x="310" y="50"/>
                  </a:lnTo>
                  <a:lnTo>
                    <a:pt x="310" y="50"/>
                  </a:lnTo>
                  <a:lnTo>
                    <a:pt x="310" y="50"/>
                  </a:lnTo>
                  <a:close/>
                  <a:moveTo>
                    <a:pt x="433" y="437"/>
                  </a:moveTo>
                  <a:lnTo>
                    <a:pt x="449" y="420"/>
                  </a:lnTo>
                  <a:lnTo>
                    <a:pt x="437" y="404"/>
                  </a:lnTo>
                  <a:lnTo>
                    <a:pt x="449" y="404"/>
                  </a:lnTo>
                  <a:lnTo>
                    <a:pt x="454" y="416"/>
                  </a:lnTo>
                  <a:lnTo>
                    <a:pt x="492" y="427"/>
                  </a:lnTo>
                  <a:lnTo>
                    <a:pt x="459" y="427"/>
                  </a:lnTo>
                  <a:lnTo>
                    <a:pt x="459" y="437"/>
                  </a:lnTo>
                  <a:lnTo>
                    <a:pt x="487" y="470"/>
                  </a:lnTo>
                  <a:lnTo>
                    <a:pt x="475" y="470"/>
                  </a:lnTo>
                  <a:lnTo>
                    <a:pt x="475" y="477"/>
                  </a:lnTo>
                  <a:lnTo>
                    <a:pt x="487" y="470"/>
                  </a:lnTo>
                  <a:lnTo>
                    <a:pt x="503" y="482"/>
                  </a:lnTo>
                  <a:lnTo>
                    <a:pt x="508" y="477"/>
                  </a:lnTo>
                  <a:lnTo>
                    <a:pt x="503" y="515"/>
                  </a:lnTo>
                  <a:lnTo>
                    <a:pt x="492" y="515"/>
                  </a:lnTo>
                  <a:lnTo>
                    <a:pt x="487" y="498"/>
                  </a:lnTo>
                  <a:lnTo>
                    <a:pt x="487" y="494"/>
                  </a:lnTo>
                  <a:lnTo>
                    <a:pt x="492" y="494"/>
                  </a:lnTo>
                  <a:lnTo>
                    <a:pt x="503" y="482"/>
                  </a:lnTo>
                  <a:lnTo>
                    <a:pt x="487" y="482"/>
                  </a:lnTo>
                  <a:lnTo>
                    <a:pt x="475" y="494"/>
                  </a:lnTo>
                  <a:lnTo>
                    <a:pt x="454" y="477"/>
                  </a:lnTo>
                  <a:lnTo>
                    <a:pt x="449" y="482"/>
                  </a:lnTo>
                  <a:lnTo>
                    <a:pt x="437" y="453"/>
                  </a:lnTo>
                  <a:lnTo>
                    <a:pt x="416" y="437"/>
                  </a:lnTo>
                  <a:lnTo>
                    <a:pt x="416" y="427"/>
                  </a:lnTo>
                  <a:lnTo>
                    <a:pt x="395" y="416"/>
                  </a:lnTo>
                  <a:lnTo>
                    <a:pt x="395" y="427"/>
                  </a:lnTo>
                  <a:lnTo>
                    <a:pt x="407" y="470"/>
                  </a:lnTo>
                  <a:lnTo>
                    <a:pt x="400" y="470"/>
                  </a:lnTo>
                  <a:lnTo>
                    <a:pt x="383" y="444"/>
                  </a:lnTo>
                  <a:lnTo>
                    <a:pt x="340" y="416"/>
                  </a:lnTo>
                  <a:lnTo>
                    <a:pt x="314" y="420"/>
                  </a:lnTo>
                  <a:lnTo>
                    <a:pt x="310" y="437"/>
                  </a:lnTo>
                  <a:lnTo>
                    <a:pt x="293" y="437"/>
                  </a:lnTo>
                  <a:lnTo>
                    <a:pt x="277" y="416"/>
                  </a:lnTo>
                  <a:lnTo>
                    <a:pt x="260" y="416"/>
                  </a:lnTo>
                  <a:lnTo>
                    <a:pt x="260" y="427"/>
                  </a:lnTo>
                  <a:lnTo>
                    <a:pt x="255" y="387"/>
                  </a:lnTo>
                  <a:lnTo>
                    <a:pt x="286" y="371"/>
                  </a:lnTo>
                  <a:lnTo>
                    <a:pt x="286" y="366"/>
                  </a:lnTo>
                  <a:lnTo>
                    <a:pt x="277" y="349"/>
                  </a:lnTo>
                  <a:lnTo>
                    <a:pt x="255" y="349"/>
                  </a:lnTo>
                  <a:lnTo>
                    <a:pt x="255" y="371"/>
                  </a:lnTo>
                  <a:lnTo>
                    <a:pt x="244" y="383"/>
                  </a:lnTo>
                  <a:lnTo>
                    <a:pt x="234" y="361"/>
                  </a:lnTo>
                  <a:lnTo>
                    <a:pt x="239" y="349"/>
                  </a:lnTo>
                  <a:lnTo>
                    <a:pt x="222" y="349"/>
                  </a:lnTo>
                  <a:lnTo>
                    <a:pt x="218" y="316"/>
                  </a:lnTo>
                  <a:lnTo>
                    <a:pt x="206" y="305"/>
                  </a:lnTo>
                  <a:lnTo>
                    <a:pt x="206" y="272"/>
                  </a:lnTo>
                  <a:lnTo>
                    <a:pt x="206" y="260"/>
                  </a:lnTo>
                  <a:lnTo>
                    <a:pt x="201" y="272"/>
                  </a:lnTo>
                  <a:lnTo>
                    <a:pt x="201" y="250"/>
                  </a:lnTo>
                  <a:lnTo>
                    <a:pt x="206" y="234"/>
                  </a:lnTo>
                  <a:lnTo>
                    <a:pt x="222" y="260"/>
                  </a:lnTo>
                  <a:lnTo>
                    <a:pt x="244" y="250"/>
                  </a:lnTo>
                  <a:lnTo>
                    <a:pt x="239" y="217"/>
                  </a:lnTo>
                  <a:lnTo>
                    <a:pt x="244" y="194"/>
                  </a:lnTo>
                  <a:lnTo>
                    <a:pt x="244" y="161"/>
                  </a:lnTo>
                  <a:lnTo>
                    <a:pt x="239" y="144"/>
                  </a:lnTo>
                  <a:lnTo>
                    <a:pt x="260" y="73"/>
                  </a:lnTo>
                  <a:lnTo>
                    <a:pt x="293" y="66"/>
                  </a:lnTo>
                  <a:lnTo>
                    <a:pt x="352" y="94"/>
                  </a:lnTo>
                  <a:lnTo>
                    <a:pt x="362" y="90"/>
                  </a:lnTo>
                  <a:lnTo>
                    <a:pt x="369" y="73"/>
                  </a:lnTo>
                  <a:lnTo>
                    <a:pt x="378" y="90"/>
                  </a:lnTo>
                  <a:lnTo>
                    <a:pt x="378" y="94"/>
                  </a:lnTo>
                  <a:lnTo>
                    <a:pt x="369" y="106"/>
                  </a:lnTo>
                  <a:lnTo>
                    <a:pt x="362" y="127"/>
                  </a:lnTo>
                  <a:lnTo>
                    <a:pt x="369" y="161"/>
                  </a:lnTo>
                  <a:lnTo>
                    <a:pt x="383" y="165"/>
                  </a:lnTo>
                  <a:lnTo>
                    <a:pt x="383" y="177"/>
                  </a:lnTo>
                  <a:lnTo>
                    <a:pt x="395" y="177"/>
                  </a:lnTo>
                  <a:lnTo>
                    <a:pt x="383" y="198"/>
                  </a:lnTo>
                  <a:lnTo>
                    <a:pt x="369" y="234"/>
                  </a:lnTo>
                  <a:lnTo>
                    <a:pt x="369" y="250"/>
                  </a:lnTo>
                  <a:lnTo>
                    <a:pt x="362" y="255"/>
                  </a:lnTo>
                  <a:lnTo>
                    <a:pt x="352" y="260"/>
                  </a:lnTo>
                  <a:lnTo>
                    <a:pt x="362" y="250"/>
                  </a:lnTo>
                  <a:lnTo>
                    <a:pt x="324" y="272"/>
                  </a:lnTo>
                  <a:lnTo>
                    <a:pt x="331" y="288"/>
                  </a:lnTo>
                  <a:lnTo>
                    <a:pt x="310" y="309"/>
                  </a:lnTo>
                  <a:lnTo>
                    <a:pt x="331" y="361"/>
                  </a:lnTo>
                  <a:lnTo>
                    <a:pt x="331" y="366"/>
                  </a:lnTo>
                  <a:lnTo>
                    <a:pt x="340" y="399"/>
                  </a:lnTo>
                  <a:lnTo>
                    <a:pt x="369" y="416"/>
                  </a:lnTo>
                  <a:lnTo>
                    <a:pt x="378" y="404"/>
                  </a:lnTo>
                  <a:lnTo>
                    <a:pt x="369" y="399"/>
                  </a:lnTo>
                  <a:lnTo>
                    <a:pt x="369" y="387"/>
                  </a:lnTo>
                  <a:lnTo>
                    <a:pt x="378" y="404"/>
                  </a:lnTo>
                  <a:lnTo>
                    <a:pt x="383" y="383"/>
                  </a:lnTo>
                  <a:lnTo>
                    <a:pt x="407" y="387"/>
                  </a:lnTo>
                  <a:lnTo>
                    <a:pt x="433" y="416"/>
                  </a:lnTo>
                  <a:lnTo>
                    <a:pt x="433" y="437"/>
                  </a:lnTo>
                  <a:lnTo>
                    <a:pt x="433" y="437"/>
                  </a:lnTo>
                  <a:lnTo>
                    <a:pt x="433" y="437"/>
                  </a:lnTo>
                  <a:close/>
                  <a:moveTo>
                    <a:pt x="218" y="250"/>
                  </a:moveTo>
                  <a:lnTo>
                    <a:pt x="206" y="238"/>
                  </a:lnTo>
                  <a:lnTo>
                    <a:pt x="218" y="238"/>
                  </a:lnTo>
                  <a:lnTo>
                    <a:pt x="218" y="250"/>
                  </a:lnTo>
                  <a:lnTo>
                    <a:pt x="218" y="250"/>
                  </a:lnTo>
                  <a:lnTo>
                    <a:pt x="218" y="250"/>
                  </a:lnTo>
                  <a:close/>
                  <a:moveTo>
                    <a:pt x="352" y="366"/>
                  </a:moveTo>
                  <a:lnTo>
                    <a:pt x="340" y="342"/>
                  </a:lnTo>
                  <a:lnTo>
                    <a:pt x="352" y="333"/>
                  </a:lnTo>
                  <a:lnTo>
                    <a:pt x="362" y="342"/>
                  </a:lnTo>
                  <a:lnTo>
                    <a:pt x="352" y="342"/>
                  </a:lnTo>
                  <a:lnTo>
                    <a:pt x="352" y="361"/>
                  </a:lnTo>
                  <a:lnTo>
                    <a:pt x="352" y="366"/>
                  </a:lnTo>
                  <a:lnTo>
                    <a:pt x="352" y="366"/>
                  </a:lnTo>
                  <a:lnTo>
                    <a:pt x="352" y="366"/>
                  </a:lnTo>
                  <a:close/>
                  <a:moveTo>
                    <a:pt x="369" y="361"/>
                  </a:moveTo>
                  <a:lnTo>
                    <a:pt x="362" y="349"/>
                  </a:lnTo>
                  <a:lnTo>
                    <a:pt x="369" y="349"/>
                  </a:lnTo>
                  <a:lnTo>
                    <a:pt x="369" y="361"/>
                  </a:lnTo>
                  <a:lnTo>
                    <a:pt x="369" y="361"/>
                  </a:lnTo>
                  <a:lnTo>
                    <a:pt x="369" y="361"/>
                  </a:lnTo>
                  <a:close/>
                  <a:moveTo>
                    <a:pt x="508" y="444"/>
                  </a:moveTo>
                  <a:lnTo>
                    <a:pt x="503" y="437"/>
                  </a:lnTo>
                  <a:lnTo>
                    <a:pt x="503" y="420"/>
                  </a:lnTo>
                  <a:lnTo>
                    <a:pt x="503" y="404"/>
                  </a:lnTo>
                  <a:lnTo>
                    <a:pt x="508" y="404"/>
                  </a:lnTo>
                  <a:lnTo>
                    <a:pt x="525" y="420"/>
                  </a:lnTo>
                  <a:lnTo>
                    <a:pt x="513" y="444"/>
                  </a:lnTo>
                  <a:lnTo>
                    <a:pt x="513" y="437"/>
                  </a:lnTo>
                  <a:lnTo>
                    <a:pt x="508" y="444"/>
                  </a:lnTo>
                  <a:lnTo>
                    <a:pt x="508" y="444"/>
                  </a:lnTo>
                  <a:lnTo>
                    <a:pt x="508" y="444"/>
                  </a:lnTo>
                  <a:close/>
                  <a:moveTo>
                    <a:pt x="234" y="437"/>
                  </a:moveTo>
                  <a:lnTo>
                    <a:pt x="222" y="420"/>
                  </a:lnTo>
                  <a:lnTo>
                    <a:pt x="234" y="420"/>
                  </a:lnTo>
                  <a:lnTo>
                    <a:pt x="234" y="437"/>
                  </a:lnTo>
                  <a:lnTo>
                    <a:pt x="234" y="437"/>
                  </a:lnTo>
                  <a:lnTo>
                    <a:pt x="234" y="437"/>
                  </a:lnTo>
                  <a:close/>
                  <a:moveTo>
                    <a:pt x="352" y="470"/>
                  </a:moveTo>
                  <a:lnTo>
                    <a:pt x="345" y="461"/>
                  </a:lnTo>
                  <a:lnTo>
                    <a:pt x="345" y="444"/>
                  </a:lnTo>
                  <a:lnTo>
                    <a:pt x="362" y="453"/>
                  </a:lnTo>
                  <a:lnTo>
                    <a:pt x="352" y="470"/>
                  </a:lnTo>
                  <a:lnTo>
                    <a:pt x="352" y="470"/>
                  </a:lnTo>
                  <a:lnTo>
                    <a:pt x="352" y="470"/>
                  </a:lnTo>
                  <a:close/>
                  <a:moveTo>
                    <a:pt x="314" y="531"/>
                  </a:moveTo>
                  <a:lnTo>
                    <a:pt x="293" y="538"/>
                  </a:lnTo>
                  <a:lnTo>
                    <a:pt x="272" y="498"/>
                  </a:lnTo>
                  <a:lnTo>
                    <a:pt x="260" y="477"/>
                  </a:lnTo>
                  <a:lnTo>
                    <a:pt x="239" y="444"/>
                  </a:lnTo>
                  <a:lnTo>
                    <a:pt x="286" y="444"/>
                  </a:lnTo>
                  <a:lnTo>
                    <a:pt x="324" y="470"/>
                  </a:lnTo>
                  <a:lnTo>
                    <a:pt x="314" y="498"/>
                  </a:lnTo>
                  <a:lnTo>
                    <a:pt x="324" y="510"/>
                  </a:lnTo>
                  <a:lnTo>
                    <a:pt x="314" y="527"/>
                  </a:lnTo>
                  <a:lnTo>
                    <a:pt x="314" y="531"/>
                  </a:lnTo>
                  <a:lnTo>
                    <a:pt x="314" y="531"/>
                  </a:lnTo>
                  <a:lnTo>
                    <a:pt x="314" y="531"/>
                  </a:lnTo>
                  <a:close/>
                  <a:moveTo>
                    <a:pt x="487" y="470"/>
                  </a:moveTo>
                  <a:lnTo>
                    <a:pt x="487" y="453"/>
                  </a:lnTo>
                  <a:lnTo>
                    <a:pt x="492" y="461"/>
                  </a:lnTo>
                  <a:lnTo>
                    <a:pt x="487" y="470"/>
                  </a:lnTo>
                  <a:lnTo>
                    <a:pt x="487" y="470"/>
                  </a:lnTo>
                  <a:lnTo>
                    <a:pt x="487" y="470"/>
                  </a:lnTo>
                  <a:close/>
                  <a:moveTo>
                    <a:pt x="492" y="470"/>
                  </a:moveTo>
                  <a:lnTo>
                    <a:pt x="492" y="461"/>
                  </a:lnTo>
                  <a:lnTo>
                    <a:pt x="503" y="461"/>
                  </a:lnTo>
                  <a:lnTo>
                    <a:pt x="492" y="470"/>
                  </a:lnTo>
                  <a:lnTo>
                    <a:pt x="492" y="470"/>
                  </a:lnTo>
                  <a:lnTo>
                    <a:pt x="492" y="470"/>
                  </a:lnTo>
                  <a:close/>
                  <a:moveTo>
                    <a:pt x="454" y="510"/>
                  </a:moveTo>
                  <a:lnTo>
                    <a:pt x="421" y="477"/>
                  </a:lnTo>
                  <a:lnTo>
                    <a:pt x="433" y="477"/>
                  </a:lnTo>
                  <a:lnTo>
                    <a:pt x="454" y="510"/>
                  </a:lnTo>
                  <a:lnTo>
                    <a:pt x="454" y="510"/>
                  </a:lnTo>
                  <a:lnTo>
                    <a:pt x="454" y="510"/>
                  </a:lnTo>
                  <a:close/>
                  <a:moveTo>
                    <a:pt x="352" y="548"/>
                  </a:moveTo>
                  <a:lnTo>
                    <a:pt x="345" y="531"/>
                  </a:lnTo>
                  <a:lnTo>
                    <a:pt x="352" y="515"/>
                  </a:lnTo>
                  <a:lnTo>
                    <a:pt x="362" y="510"/>
                  </a:lnTo>
                  <a:lnTo>
                    <a:pt x="352" y="548"/>
                  </a:lnTo>
                  <a:lnTo>
                    <a:pt x="352" y="548"/>
                  </a:lnTo>
                  <a:lnTo>
                    <a:pt x="352" y="548"/>
                  </a:lnTo>
                  <a:close/>
                  <a:moveTo>
                    <a:pt x="475" y="531"/>
                  </a:moveTo>
                  <a:lnTo>
                    <a:pt x="470" y="510"/>
                  </a:lnTo>
                  <a:lnTo>
                    <a:pt x="475" y="510"/>
                  </a:lnTo>
                  <a:lnTo>
                    <a:pt x="475" y="531"/>
                  </a:lnTo>
                  <a:lnTo>
                    <a:pt x="475" y="531"/>
                  </a:lnTo>
                  <a:lnTo>
                    <a:pt x="475" y="531"/>
                  </a:lnTo>
                  <a:close/>
                  <a:moveTo>
                    <a:pt x="503" y="581"/>
                  </a:moveTo>
                  <a:lnTo>
                    <a:pt x="459" y="538"/>
                  </a:lnTo>
                  <a:lnTo>
                    <a:pt x="437" y="564"/>
                  </a:lnTo>
                  <a:lnTo>
                    <a:pt x="449" y="538"/>
                  </a:lnTo>
                  <a:lnTo>
                    <a:pt x="437" y="510"/>
                  </a:lnTo>
                  <a:lnTo>
                    <a:pt x="492" y="538"/>
                  </a:lnTo>
                  <a:lnTo>
                    <a:pt x="503" y="555"/>
                  </a:lnTo>
                  <a:lnTo>
                    <a:pt x="503" y="581"/>
                  </a:lnTo>
                  <a:lnTo>
                    <a:pt x="503" y="581"/>
                  </a:lnTo>
                  <a:lnTo>
                    <a:pt x="503" y="581"/>
                  </a:lnTo>
                  <a:close/>
                  <a:moveTo>
                    <a:pt x="617" y="626"/>
                  </a:moveTo>
                  <a:lnTo>
                    <a:pt x="610" y="621"/>
                  </a:lnTo>
                  <a:lnTo>
                    <a:pt x="584" y="621"/>
                  </a:lnTo>
                  <a:lnTo>
                    <a:pt x="563" y="593"/>
                  </a:lnTo>
                  <a:lnTo>
                    <a:pt x="555" y="593"/>
                  </a:lnTo>
                  <a:lnTo>
                    <a:pt x="567" y="572"/>
                  </a:lnTo>
                  <a:lnTo>
                    <a:pt x="525" y="538"/>
                  </a:lnTo>
                  <a:lnTo>
                    <a:pt x="513" y="515"/>
                  </a:lnTo>
                  <a:lnTo>
                    <a:pt x="541" y="515"/>
                  </a:lnTo>
                  <a:lnTo>
                    <a:pt x="579" y="515"/>
                  </a:lnTo>
                  <a:lnTo>
                    <a:pt x="584" y="527"/>
                  </a:lnTo>
                  <a:lnTo>
                    <a:pt x="584" y="531"/>
                  </a:lnTo>
                  <a:lnTo>
                    <a:pt x="600" y="538"/>
                  </a:lnTo>
                  <a:lnTo>
                    <a:pt x="593" y="548"/>
                  </a:lnTo>
                  <a:lnTo>
                    <a:pt x="600" y="548"/>
                  </a:lnTo>
                  <a:lnTo>
                    <a:pt x="593" y="555"/>
                  </a:lnTo>
                  <a:lnTo>
                    <a:pt x="593" y="588"/>
                  </a:lnTo>
                  <a:lnTo>
                    <a:pt x="610" y="605"/>
                  </a:lnTo>
                  <a:lnTo>
                    <a:pt x="600" y="609"/>
                  </a:lnTo>
                  <a:lnTo>
                    <a:pt x="610" y="609"/>
                  </a:lnTo>
                  <a:lnTo>
                    <a:pt x="617" y="626"/>
                  </a:lnTo>
                  <a:lnTo>
                    <a:pt x="617" y="626"/>
                  </a:lnTo>
                  <a:lnTo>
                    <a:pt x="617" y="626"/>
                  </a:lnTo>
                  <a:close/>
                  <a:moveTo>
                    <a:pt x="400" y="538"/>
                  </a:moveTo>
                  <a:lnTo>
                    <a:pt x="383" y="527"/>
                  </a:lnTo>
                  <a:lnTo>
                    <a:pt x="400" y="527"/>
                  </a:lnTo>
                  <a:lnTo>
                    <a:pt x="400" y="538"/>
                  </a:lnTo>
                  <a:lnTo>
                    <a:pt x="400" y="538"/>
                  </a:lnTo>
                  <a:lnTo>
                    <a:pt x="400" y="538"/>
                  </a:lnTo>
                  <a:close/>
                  <a:moveTo>
                    <a:pt x="234" y="555"/>
                  </a:moveTo>
                  <a:lnTo>
                    <a:pt x="218" y="555"/>
                  </a:lnTo>
                  <a:lnTo>
                    <a:pt x="206" y="531"/>
                  </a:lnTo>
                  <a:lnTo>
                    <a:pt x="239" y="548"/>
                  </a:lnTo>
                  <a:lnTo>
                    <a:pt x="239" y="555"/>
                  </a:lnTo>
                  <a:lnTo>
                    <a:pt x="234" y="555"/>
                  </a:lnTo>
                  <a:lnTo>
                    <a:pt x="234" y="555"/>
                  </a:lnTo>
                  <a:lnTo>
                    <a:pt x="234" y="555"/>
                  </a:lnTo>
                  <a:close/>
                  <a:moveTo>
                    <a:pt x="293" y="538"/>
                  </a:moveTo>
                  <a:lnTo>
                    <a:pt x="293" y="548"/>
                  </a:lnTo>
                  <a:lnTo>
                    <a:pt x="286" y="538"/>
                  </a:lnTo>
                  <a:lnTo>
                    <a:pt x="293" y="538"/>
                  </a:lnTo>
                  <a:lnTo>
                    <a:pt x="293" y="538"/>
                  </a:lnTo>
                  <a:lnTo>
                    <a:pt x="293" y="538"/>
                  </a:lnTo>
                  <a:close/>
                  <a:moveTo>
                    <a:pt x="206" y="581"/>
                  </a:moveTo>
                  <a:lnTo>
                    <a:pt x="206" y="555"/>
                  </a:lnTo>
                  <a:lnTo>
                    <a:pt x="222" y="564"/>
                  </a:lnTo>
                  <a:lnTo>
                    <a:pt x="206" y="581"/>
                  </a:lnTo>
                  <a:lnTo>
                    <a:pt x="206" y="581"/>
                  </a:lnTo>
                  <a:lnTo>
                    <a:pt x="206" y="581"/>
                  </a:lnTo>
                  <a:close/>
                  <a:moveTo>
                    <a:pt x="433" y="609"/>
                  </a:moveTo>
                  <a:lnTo>
                    <a:pt x="433" y="621"/>
                  </a:lnTo>
                  <a:lnTo>
                    <a:pt x="407" y="638"/>
                  </a:lnTo>
                  <a:lnTo>
                    <a:pt x="407" y="642"/>
                  </a:lnTo>
                  <a:lnTo>
                    <a:pt x="369" y="659"/>
                  </a:lnTo>
                  <a:lnTo>
                    <a:pt x="352" y="675"/>
                  </a:lnTo>
                  <a:lnTo>
                    <a:pt x="345" y="666"/>
                  </a:lnTo>
                  <a:lnTo>
                    <a:pt x="362" y="581"/>
                  </a:lnTo>
                  <a:lnTo>
                    <a:pt x="362" y="572"/>
                  </a:lnTo>
                  <a:lnTo>
                    <a:pt x="345" y="572"/>
                  </a:lnTo>
                  <a:lnTo>
                    <a:pt x="345" y="564"/>
                  </a:lnTo>
                  <a:lnTo>
                    <a:pt x="369" y="572"/>
                  </a:lnTo>
                  <a:lnTo>
                    <a:pt x="395" y="588"/>
                  </a:lnTo>
                  <a:lnTo>
                    <a:pt x="416" y="588"/>
                  </a:lnTo>
                  <a:lnTo>
                    <a:pt x="416" y="593"/>
                  </a:lnTo>
                  <a:lnTo>
                    <a:pt x="437" y="588"/>
                  </a:lnTo>
                  <a:lnTo>
                    <a:pt x="433" y="609"/>
                  </a:lnTo>
                  <a:lnTo>
                    <a:pt x="433" y="609"/>
                  </a:lnTo>
                  <a:lnTo>
                    <a:pt x="433" y="609"/>
                  </a:lnTo>
                  <a:close/>
                  <a:moveTo>
                    <a:pt x="529" y="593"/>
                  </a:moveTo>
                  <a:lnTo>
                    <a:pt x="513" y="581"/>
                  </a:lnTo>
                  <a:lnTo>
                    <a:pt x="529" y="581"/>
                  </a:lnTo>
                  <a:lnTo>
                    <a:pt x="541" y="588"/>
                  </a:lnTo>
                  <a:lnTo>
                    <a:pt x="529" y="593"/>
                  </a:lnTo>
                  <a:lnTo>
                    <a:pt x="529" y="593"/>
                  </a:lnTo>
                  <a:lnTo>
                    <a:pt x="529" y="593"/>
                  </a:lnTo>
                  <a:close/>
                  <a:moveTo>
                    <a:pt x="546" y="659"/>
                  </a:moveTo>
                  <a:lnTo>
                    <a:pt x="555" y="649"/>
                  </a:lnTo>
                  <a:lnTo>
                    <a:pt x="541" y="638"/>
                  </a:lnTo>
                  <a:lnTo>
                    <a:pt x="529" y="626"/>
                  </a:lnTo>
                  <a:lnTo>
                    <a:pt x="529" y="638"/>
                  </a:lnTo>
                  <a:lnTo>
                    <a:pt x="525" y="638"/>
                  </a:lnTo>
                  <a:lnTo>
                    <a:pt x="513" y="588"/>
                  </a:lnTo>
                  <a:lnTo>
                    <a:pt x="541" y="605"/>
                  </a:lnTo>
                  <a:lnTo>
                    <a:pt x="555" y="593"/>
                  </a:lnTo>
                  <a:lnTo>
                    <a:pt x="563" y="605"/>
                  </a:lnTo>
                  <a:lnTo>
                    <a:pt x="563" y="649"/>
                  </a:lnTo>
                  <a:lnTo>
                    <a:pt x="584" y="683"/>
                  </a:lnTo>
                  <a:lnTo>
                    <a:pt x="567" y="692"/>
                  </a:lnTo>
                  <a:lnTo>
                    <a:pt x="563" y="675"/>
                  </a:lnTo>
                  <a:lnTo>
                    <a:pt x="567" y="699"/>
                  </a:lnTo>
                  <a:lnTo>
                    <a:pt x="546" y="692"/>
                  </a:lnTo>
                  <a:lnTo>
                    <a:pt x="546" y="659"/>
                  </a:lnTo>
                  <a:lnTo>
                    <a:pt x="546" y="659"/>
                  </a:lnTo>
                  <a:lnTo>
                    <a:pt x="546" y="659"/>
                  </a:lnTo>
                  <a:close/>
                  <a:moveTo>
                    <a:pt x="201" y="605"/>
                  </a:moveTo>
                  <a:lnTo>
                    <a:pt x="189" y="593"/>
                  </a:lnTo>
                  <a:lnTo>
                    <a:pt x="206" y="593"/>
                  </a:lnTo>
                  <a:lnTo>
                    <a:pt x="201" y="605"/>
                  </a:lnTo>
                  <a:lnTo>
                    <a:pt x="201" y="605"/>
                  </a:lnTo>
                  <a:lnTo>
                    <a:pt x="201" y="605"/>
                  </a:lnTo>
                  <a:close/>
                  <a:moveTo>
                    <a:pt x="189" y="666"/>
                  </a:moveTo>
                  <a:lnTo>
                    <a:pt x="168" y="683"/>
                  </a:lnTo>
                  <a:lnTo>
                    <a:pt x="163" y="699"/>
                  </a:lnTo>
                  <a:lnTo>
                    <a:pt x="130" y="704"/>
                  </a:lnTo>
                  <a:lnTo>
                    <a:pt x="126" y="720"/>
                  </a:lnTo>
                  <a:lnTo>
                    <a:pt x="130" y="732"/>
                  </a:lnTo>
                  <a:lnTo>
                    <a:pt x="100" y="758"/>
                  </a:lnTo>
                  <a:lnTo>
                    <a:pt x="83" y="758"/>
                  </a:lnTo>
                  <a:lnTo>
                    <a:pt x="76" y="786"/>
                  </a:lnTo>
                  <a:lnTo>
                    <a:pt x="17" y="827"/>
                  </a:lnTo>
                  <a:lnTo>
                    <a:pt x="24" y="803"/>
                  </a:lnTo>
                  <a:lnTo>
                    <a:pt x="55" y="770"/>
                  </a:lnTo>
                  <a:lnTo>
                    <a:pt x="71" y="753"/>
                  </a:lnTo>
                  <a:lnTo>
                    <a:pt x="76" y="753"/>
                  </a:lnTo>
                  <a:lnTo>
                    <a:pt x="130" y="692"/>
                  </a:lnTo>
                  <a:lnTo>
                    <a:pt x="130" y="699"/>
                  </a:lnTo>
                  <a:lnTo>
                    <a:pt x="130" y="692"/>
                  </a:lnTo>
                  <a:lnTo>
                    <a:pt x="137" y="692"/>
                  </a:lnTo>
                  <a:lnTo>
                    <a:pt x="147" y="666"/>
                  </a:lnTo>
                  <a:lnTo>
                    <a:pt x="151" y="675"/>
                  </a:lnTo>
                  <a:lnTo>
                    <a:pt x="168" y="659"/>
                  </a:lnTo>
                  <a:lnTo>
                    <a:pt x="168" y="649"/>
                  </a:lnTo>
                  <a:lnTo>
                    <a:pt x="163" y="638"/>
                  </a:lnTo>
                  <a:lnTo>
                    <a:pt x="180" y="649"/>
                  </a:lnTo>
                  <a:lnTo>
                    <a:pt x="168" y="626"/>
                  </a:lnTo>
                  <a:lnTo>
                    <a:pt x="168" y="621"/>
                  </a:lnTo>
                  <a:lnTo>
                    <a:pt x="180" y="626"/>
                  </a:lnTo>
                  <a:lnTo>
                    <a:pt x="180" y="593"/>
                  </a:lnTo>
                  <a:lnTo>
                    <a:pt x="185" y="609"/>
                  </a:lnTo>
                  <a:lnTo>
                    <a:pt x="180" y="638"/>
                  </a:lnTo>
                  <a:lnTo>
                    <a:pt x="185" y="642"/>
                  </a:lnTo>
                  <a:lnTo>
                    <a:pt x="189" y="666"/>
                  </a:lnTo>
                  <a:lnTo>
                    <a:pt x="189" y="666"/>
                  </a:lnTo>
                  <a:lnTo>
                    <a:pt x="189" y="666"/>
                  </a:lnTo>
                  <a:close/>
                  <a:moveTo>
                    <a:pt x="475" y="621"/>
                  </a:moveTo>
                  <a:lnTo>
                    <a:pt x="475" y="605"/>
                  </a:lnTo>
                  <a:lnTo>
                    <a:pt x="475" y="621"/>
                  </a:lnTo>
                  <a:lnTo>
                    <a:pt x="475" y="621"/>
                  </a:lnTo>
                  <a:lnTo>
                    <a:pt x="475" y="621"/>
                  </a:lnTo>
                  <a:close/>
                  <a:moveTo>
                    <a:pt x="454" y="699"/>
                  </a:moveTo>
                  <a:lnTo>
                    <a:pt x="475" y="666"/>
                  </a:lnTo>
                  <a:lnTo>
                    <a:pt x="492" y="621"/>
                  </a:lnTo>
                  <a:lnTo>
                    <a:pt x="503" y="609"/>
                  </a:lnTo>
                  <a:lnTo>
                    <a:pt x="503" y="675"/>
                  </a:lnTo>
                  <a:lnTo>
                    <a:pt x="470" y="699"/>
                  </a:lnTo>
                  <a:lnTo>
                    <a:pt x="459" y="732"/>
                  </a:lnTo>
                  <a:lnTo>
                    <a:pt x="449" y="749"/>
                  </a:lnTo>
                  <a:lnTo>
                    <a:pt x="454" y="699"/>
                  </a:lnTo>
                  <a:lnTo>
                    <a:pt x="454" y="699"/>
                  </a:lnTo>
                  <a:lnTo>
                    <a:pt x="454" y="699"/>
                  </a:lnTo>
                  <a:close/>
                  <a:moveTo>
                    <a:pt x="449" y="675"/>
                  </a:moveTo>
                  <a:lnTo>
                    <a:pt x="433" y="732"/>
                  </a:lnTo>
                  <a:lnTo>
                    <a:pt x="449" y="753"/>
                  </a:lnTo>
                  <a:lnTo>
                    <a:pt x="437" y="770"/>
                  </a:lnTo>
                  <a:lnTo>
                    <a:pt x="421" y="770"/>
                  </a:lnTo>
                  <a:lnTo>
                    <a:pt x="416" y="753"/>
                  </a:lnTo>
                  <a:lnTo>
                    <a:pt x="395" y="737"/>
                  </a:lnTo>
                  <a:lnTo>
                    <a:pt x="383" y="716"/>
                  </a:lnTo>
                  <a:lnTo>
                    <a:pt x="383" y="704"/>
                  </a:lnTo>
                  <a:lnTo>
                    <a:pt x="400" y="704"/>
                  </a:lnTo>
                  <a:lnTo>
                    <a:pt x="416" y="699"/>
                  </a:lnTo>
                  <a:lnTo>
                    <a:pt x="416" y="659"/>
                  </a:lnTo>
                  <a:lnTo>
                    <a:pt x="421" y="649"/>
                  </a:lnTo>
                  <a:lnTo>
                    <a:pt x="421" y="638"/>
                  </a:lnTo>
                  <a:lnTo>
                    <a:pt x="437" y="626"/>
                  </a:lnTo>
                  <a:lnTo>
                    <a:pt x="459" y="638"/>
                  </a:lnTo>
                  <a:lnTo>
                    <a:pt x="459" y="642"/>
                  </a:lnTo>
                  <a:lnTo>
                    <a:pt x="449" y="675"/>
                  </a:lnTo>
                  <a:lnTo>
                    <a:pt x="449" y="675"/>
                  </a:lnTo>
                  <a:lnTo>
                    <a:pt x="449" y="675"/>
                  </a:lnTo>
                  <a:close/>
                  <a:moveTo>
                    <a:pt x="617" y="649"/>
                  </a:moveTo>
                  <a:lnTo>
                    <a:pt x="610" y="642"/>
                  </a:lnTo>
                  <a:lnTo>
                    <a:pt x="617" y="642"/>
                  </a:lnTo>
                  <a:lnTo>
                    <a:pt x="622" y="649"/>
                  </a:lnTo>
                  <a:lnTo>
                    <a:pt x="617" y="649"/>
                  </a:lnTo>
                  <a:lnTo>
                    <a:pt x="617" y="649"/>
                  </a:lnTo>
                  <a:lnTo>
                    <a:pt x="617" y="649"/>
                  </a:lnTo>
                  <a:close/>
                  <a:moveTo>
                    <a:pt x="395" y="675"/>
                  </a:moveTo>
                  <a:lnTo>
                    <a:pt x="383" y="666"/>
                  </a:lnTo>
                  <a:lnTo>
                    <a:pt x="400" y="649"/>
                  </a:lnTo>
                  <a:lnTo>
                    <a:pt x="407" y="659"/>
                  </a:lnTo>
                  <a:lnTo>
                    <a:pt x="395" y="675"/>
                  </a:lnTo>
                  <a:lnTo>
                    <a:pt x="395" y="675"/>
                  </a:lnTo>
                  <a:lnTo>
                    <a:pt x="395" y="675"/>
                  </a:lnTo>
                  <a:close/>
                  <a:moveTo>
                    <a:pt x="525" y="659"/>
                  </a:moveTo>
                  <a:lnTo>
                    <a:pt x="525" y="649"/>
                  </a:lnTo>
                  <a:lnTo>
                    <a:pt x="529" y="649"/>
                  </a:lnTo>
                  <a:lnTo>
                    <a:pt x="525" y="659"/>
                  </a:lnTo>
                  <a:lnTo>
                    <a:pt x="525" y="659"/>
                  </a:lnTo>
                  <a:lnTo>
                    <a:pt x="525" y="659"/>
                  </a:lnTo>
                  <a:close/>
                  <a:moveTo>
                    <a:pt x="513" y="659"/>
                  </a:moveTo>
                  <a:lnTo>
                    <a:pt x="513" y="649"/>
                  </a:lnTo>
                  <a:lnTo>
                    <a:pt x="525" y="659"/>
                  </a:lnTo>
                  <a:lnTo>
                    <a:pt x="513" y="659"/>
                  </a:lnTo>
                  <a:lnTo>
                    <a:pt x="513" y="659"/>
                  </a:lnTo>
                  <a:lnTo>
                    <a:pt x="513" y="659"/>
                  </a:lnTo>
                  <a:close/>
                  <a:moveTo>
                    <a:pt x="201" y="666"/>
                  </a:moveTo>
                  <a:lnTo>
                    <a:pt x="201" y="659"/>
                  </a:lnTo>
                  <a:lnTo>
                    <a:pt x="218" y="659"/>
                  </a:lnTo>
                  <a:lnTo>
                    <a:pt x="201" y="666"/>
                  </a:lnTo>
                  <a:lnTo>
                    <a:pt x="201" y="666"/>
                  </a:lnTo>
                  <a:lnTo>
                    <a:pt x="201" y="666"/>
                  </a:lnTo>
                  <a:close/>
                  <a:moveTo>
                    <a:pt x="610" y="716"/>
                  </a:moveTo>
                  <a:lnTo>
                    <a:pt x="610" y="704"/>
                  </a:lnTo>
                  <a:lnTo>
                    <a:pt x="600" y="692"/>
                  </a:lnTo>
                  <a:lnTo>
                    <a:pt x="610" y="666"/>
                  </a:lnTo>
                  <a:lnTo>
                    <a:pt x="617" y="704"/>
                  </a:lnTo>
                  <a:lnTo>
                    <a:pt x="610" y="716"/>
                  </a:lnTo>
                  <a:lnTo>
                    <a:pt x="610" y="716"/>
                  </a:lnTo>
                  <a:lnTo>
                    <a:pt x="610" y="716"/>
                  </a:lnTo>
                  <a:close/>
                  <a:moveTo>
                    <a:pt x="529" y="699"/>
                  </a:moveTo>
                  <a:lnTo>
                    <a:pt x="529" y="716"/>
                  </a:lnTo>
                  <a:lnTo>
                    <a:pt x="541" y="720"/>
                  </a:lnTo>
                  <a:lnTo>
                    <a:pt x="525" y="732"/>
                  </a:lnTo>
                  <a:lnTo>
                    <a:pt x="492" y="732"/>
                  </a:lnTo>
                  <a:lnTo>
                    <a:pt x="475" y="720"/>
                  </a:lnTo>
                  <a:lnTo>
                    <a:pt x="475" y="716"/>
                  </a:lnTo>
                  <a:lnTo>
                    <a:pt x="508" y="692"/>
                  </a:lnTo>
                  <a:lnTo>
                    <a:pt x="529" y="699"/>
                  </a:lnTo>
                  <a:lnTo>
                    <a:pt x="529" y="699"/>
                  </a:lnTo>
                  <a:lnTo>
                    <a:pt x="529" y="699"/>
                  </a:lnTo>
                  <a:close/>
                  <a:moveTo>
                    <a:pt x="584" y="704"/>
                  </a:moveTo>
                  <a:lnTo>
                    <a:pt x="579" y="692"/>
                  </a:lnTo>
                  <a:lnTo>
                    <a:pt x="584" y="704"/>
                  </a:lnTo>
                  <a:lnTo>
                    <a:pt x="584" y="704"/>
                  </a:lnTo>
                  <a:lnTo>
                    <a:pt x="584" y="704"/>
                  </a:lnTo>
                  <a:close/>
                  <a:moveTo>
                    <a:pt x="638" y="720"/>
                  </a:moveTo>
                  <a:lnTo>
                    <a:pt x="631" y="716"/>
                  </a:lnTo>
                  <a:lnTo>
                    <a:pt x="638" y="699"/>
                  </a:lnTo>
                  <a:lnTo>
                    <a:pt x="648" y="716"/>
                  </a:lnTo>
                  <a:lnTo>
                    <a:pt x="638" y="720"/>
                  </a:lnTo>
                  <a:lnTo>
                    <a:pt x="638" y="720"/>
                  </a:lnTo>
                  <a:lnTo>
                    <a:pt x="638" y="720"/>
                  </a:lnTo>
                  <a:close/>
                  <a:moveTo>
                    <a:pt x="454" y="898"/>
                  </a:moveTo>
                  <a:lnTo>
                    <a:pt x="449" y="881"/>
                  </a:lnTo>
                  <a:lnTo>
                    <a:pt x="437" y="886"/>
                  </a:lnTo>
                  <a:lnTo>
                    <a:pt x="433" y="881"/>
                  </a:lnTo>
                  <a:lnTo>
                    <a:pt x="437" y="881"/>
                  </a:lnTo>
                  <a:lnTo>
                    <a:pt x="433" y="864"/>
                  </a:lnTo>
                  <a:lnTo>
                    <a:pt x="421" y="886"/>
                  </a:lnTo>
                  <a:lnTo>
                    <a:pt x="407" y="886"/>
                  </a:lnTo>
                  <a:lnTo>
                    <a:pt x="416" y="864"/>
                  </a:lnTo>
                  <a:lnTo>
                    <a:pt x="400" y="864"/>
                  </a:lnTo>
                  <a:lnTo>
                    <a:pt x="378" y="886"/>
                  </a:lnTo>
                  <a:lnTo>
                    <a:pt x="383" y="886"/>
                  </a:lnTo>
                  <a:lnTo>
                    <a:pt x="378" y="898"/>
                  </a:lnTo>
                  <a:lnTo>
                    <a:pt x="362" y="926"/>
                  </a:lnTo>
                  <a:lnTo>
                    <a:pt x="352" y="921"/>
                  </a:lnTo>
                  <a:lnTo>
                    <a:pt x="345" y="914"/>
                  </a:lnTo>
                  <a:lnTo>
                    <a:pt x="369" y="848"/>
                  </a:lnTo>
                  <a:lnTo>
                    <a:pt x="421" y="831"/>
                  </a:lnTo>
                  <a:lnTo>
                    <a:pt x="421" y="810"/>
                  </a:lnTo>
                  <a:lnTo>
                    <a:pt x="449" y="810"/>
                  </a:lnTo>
                  <a:lnTo>
                    <a:pt x="454" y="794"/>
                  </a:lnTo>
                  <a:lnTo>
                    <a:pt x="475" y="803"/>
                  </a:lnTo>
                  <a:lnTo>
                    <a:pt x="487" y="810"/>
                  </a:lnTo>
                  <a:lnTo>
                    <a:pt x="487" y="831"/>
                  </a:lnTo>
                  <a:lnTo>
                    <a:pt x="470" y="848"/>
                  </a:lnTo>
                  <a:lnTo>
                    <a:pt x="492" y="831"/>
                  </a:lnTo>
                  <a:lnTo>
                    <a:pt x="508" y="831"/>
                  </a:lnTo>
                  <a:lnTo>
                    <a:pt x="513" y="815"/>
                  </a:lnTo>
                  <a:lnTo>
                    <a:pt x="525" y="803"/>
                  </a:lnTo>
                  <a:lnTo>
                    <a:pt x="546" y="810"/>
                  </a:lnTo>
                  <a:lnTo>
                    <a:pt x="555" y="777"/>
                  </a:lnTo>
                  <a:lnTo>
                    <a:pt x="567" y="786"/>
                  </a:lnTo>
                  <a:lnTo>
                    <a:pt x="584" y="777"/>
                  </a:lnTo>
                  <a:lnTo>
                    <a:pt x="600" y="777"/>
                  </a:lnTo>
                  <a:lnTo>
                    <a:pt x="593" y="732"/>
                  </a:lnTo>
                  <a:lnTo>
                    <a:pt x="593" y="716"/>
                  </a:lnTo>
                  <a:lnTo>
                    <a:pt x="610" y="732"/>
                  </a:lnTo>
                  <a:lnTo>
                    <a:pt x="631" y="737"/>
                  </a:lnTo>
                  <a:lnTo>
                    <a:pt x="638" y="753"/>
                  </a:lnTo>
                  <a:lnTo>
                    <a:pt x="648" y="753"/>
                  </a:lnTo>
                  <a:lnTo>
                    <a:pt x="648" y="770"/>
                  </a:lnTo>
                  <a:lnTo>
                    <a:pt x="664" y="786"/>
                  </a:lnTo>
                  <a:lnTo>
                    <a:pt x="638" y="803"/>
                  </a:lnTo>
                  <a:lnTo>
                    <a:pt x="648" y="810"/>
                  </a:lnTo>
                  <a:lnTo>
                    <a:pt x="664" y="810"/>
                  </a:lnTo>
                  <a:lnTo>
                    <a:pt x="655" y="831"/>
                  </a:lnTo>
                  <a:lnTo>
                    <a:pt x="669" y="831"/>
                  </a:lnTo>
                  <a:lnTo>
                    <a:pt x="664" y="860"/>
                  </a:lnTo>
                  <a:lnTo>
                    <a:pt x="669" y="869"/>
                  </a:lnTo>
                  <a:lnTo>
                    <a:pt x="676" y="898"/>
                  </a:lnTo>
                  <a:lnTo>
                    <a:pt x="655" y="926"/>
                  </a:lnTo>
                  <a:lnTo>
                    <a:pt x="664" y="938"/>
                  </a:lnTo>
                  <a:lnTo>
                    <a:pt x="655" y="926"/>
                  </a:lnTo>
                  <a:lnTo>
                    <a:pt x="648" y="926"/>
                  </a:lnTo>
                  <a:lnTo>
                    <a:pt x="655" y="938"/>
                  </a:lnTo>
                  <a:lnTo>
                    <a:pt x="648" y="975"/>
                  </a:lnTo>
                  <a:lnTo>
                    <a:pt x="638" y="926"/>
                  </a:lnTo>
                  <a:lnTo>
                    <a:pt x="622" y="914"/>
                  </a:lnTo>
                  <a:lnTo>
                    <a:pt x="622" y="898"/>
                  </a:lnTo>
                  <a:lnTo>
                    <a:pt x="610" y="902"/>
                  </a:lnTo>
                  <a:lnTo>
                    <a:pt x="610" y="914"/>
                  </a:lnTo>
                  <a:lnTo>
                    <a:pt x="600" y="921"/>
                  </a:lnTo>
                  <a:lnTo>
                    <a:pt x="593" y="938"/>
                  </a:lnTo>
                  <a:lnTo>
                    <a:pt x="593" y="954"/>
                  </a:lnTo>
                  <a:lnTo>
                    <a:pt x="610" y="959"/>
                  </a:lnTo>
                  <a:lnTo>
                    <a:pt x="617" y="992"/>
                  </a:lnTo>
                  <a:lnTo>
                    <a:pt x="593" y="1025"/>
                  </a:lnTo>
                  <a:lnTo>
                    <a:pt x="584" y="1025"/>
                  </a:lnTo>
                  <a:lnTo>
                    <a:pt x="579" y="1009"/>
                  </a:lnTo>
                  <a:lnTo>
                    <a:pt x="584" y="980"/>
                  </a:lnTo>
                  <a:lnTo>
                    <a:pt x="579" y="980"/>
                  </a:lnTo>
                  <a:lnTo>
                    <a:pt x="567" y="997"/>
                  </a:lnTo>
                  <a:lnTo>
                    <a:pt x="563" y="997"/>
                  </a:lnTo>
                  <a:lnTo>
                    <a:pt x="513" y="980"/>
                  </a:lnTo>
                  <a:lnTo>
                    <a:pt x="503" y="971"/>
                  </a:lnTo>
                  <a:lnTo>
                    <a:pt x="492" y="926"/>
                  </a:lnTo>
                  <a:lnTo>
                    <a:pt x="513" y="886"/>
                  </a:lnTo>
                  <a:lnTo>
                    <a:pt x="492" y="869"/>
                  </a:lnTo>
                  <a:lnTo>
                    <a:pt x="459" y="860"/>
                  </a:lnTo>
                  <a:lnTo>
                    <a:pt x="454" y="860"/>
                  </a:lnTo>
                  <a:lnTo>
                    <a:pt x="454" y="869"/>
                  </a:lnTo>
                  <a:lnTo>
                    <a:pt x="449" y="881"/>
                  </a:lnTo>
                  <a:lnTo>
                    <a:pt x="454" y="886"/>
                  </a:lnTo>
                  <a:lnTo>
                    <a:pt x="454" y="898"/>
                  </a:lnTo>
                  <a:lnTo>
                    <a:pt x="454" y="898"/>
                  </a:lnTo>
                  <a:lnTo>
                    <a:pt x="454" y="898"/>
                  </a:lnTo>
                  <a:close/>
                  <a:moveTo>
                    <a:pt x="470" y="770"/>
                  </a:moveTo>
                  <a:lnTo>
                    <a:pt x="454" y="758"/>
                  </a:lnTo>
                  <a:lnTo>
                    <a:pt x="470" y="753"/>
                  </a:lnTo>
                  <a:lnTo>
                    <a:pt x="475" y="758"/>
                  </a:lnTo>
                  <a:lnTo>
                    <a:pt x="470" y="770"/>
                  </a:lnTo>
                  <a:lnTo>
                    <a:pt x="470" y="770"/>
                  </a:lnTo>
                  <a:lnTo>
                    <a:pt x="470" y="770"/>
                  </a:lnTo>
                  <a:close/>
                  <a:moveTo>
                    <a:pt x="546" y="770"/>
                  </a:moveTo>
                  <a:lnTo>
                    <a:pt x="541" y="758"/>
                  </a:lnTo>
                  <a:lnTo>
                    <a:pt x="541" y="753"/>
                  </a:lnTo>
                  <a:lnTo>
                    <a:pt x="546" y="758"/>
                  </a:lnTo>
                  <a:lnTo>
                    <a:pt x="546" y="770"/>
                  </a:lnTo>
                  <a:lnTo>
                    <a:pt x="546" y="770"/>
                  </a:lnTo>
                  <a:lnTo>
                    <a:pt x="546" y="770"/>
                  </a:lnTo>
                  <a:close/>
                  <a:moveTo>
                    <a:pt x="7" y="864"/>
                  </a:moveTo>
                  <a:lnTo>
                    <a:pt x="0" y="843"/>
                  </a:lnTo>
                  <a:lnTo>
                    <a:pt x="7" y="843"/>
                  </a:lnTo>
                  <a:lnTo>
                    <a:pt x="17" y="860"/>
                  </a:lnTo>
                  <a:lnTo>
                    <a:pt x="7" y="864"/>
                  </a:lnTo>
                  <a:lnTo>
                    <a:pt x="7" y="864"/>
                  </a:lnTo>
                  <a:lnTo>
                    <a:pt x="7" y="864"/>
                  </a:lnTo>
                  <a:close/>
                  <a:moveTo>
                    <a:pt x="416" y="898"/>
                  </a:moveTo>
                  <a:lnTo>
                    <a:pt x="407" y="886"/>
                  </a:lnTo>
                  <a:lnTo>
                    <a:pt x="421" y="886"/>
                  </a:lnTo>
                  <a:lnTo>
                    <a:pt x="421" y="898"/>
                  </a:lnTo>
                  <a:lnTo>
                    <a:pt x="416" y="898"/>
                  </a:lnTo>
                  <a:lnTo>
                    <a:pt x="416" y="898"/>
                  </a:lnTo>
                  <a:lnTo>
                    <a:pt x="416" y="898"/>
                  </a:lnTo>
                  <a:close/>
                  <a:moveTo>
                    <a:pt x="617" y="926"/>
                  </a:moveTo>
                  <a:lnTo>
                    <a:pt x="610" y="914"/>
                  </a:lnTo>
                  <a:lnTo>
                    <a:pt x="617" y="902"/>
                  </a:lnTo>
                  <a:lnTo>
                    <a:pt x="622" y="914"/>
                  </a:lnTo>
                  <a:lnTo>
                    <a:pt x="617" y="926"/>
                  </a:lnTo>
                  <a:lnTo>
                    <a:pt x="617" y="926"/>
                  </a:lnTo>
                  <a:lnTo>
                    <a:pt x="617" y="926"/>
                  </a:lnTo>
                  <a:close/>
                  <a:moveTo>
                    <a:pt x="114" y="921"/>
                  </a:moveTo>
                  <a:lnTo>
                    <a:pt x="109" y="921"/>
                  </a:lnTo>
                  <a:lnTo>
                    <a:pt x="114" y="914"/>
                  </a:lnTo>
                  <a:lnTo>
                    <a:pt x="114" y="921"/>
                  </a:lnTo>
                  <a:lnTo>
                    <a:pt x="114" y="921"/>
                  </a:lnTo>
                  <a:lnTo>
                    <a:pt x="114" y="921"/>
                  </a:lnTo>
                  <a:close/>
                  <a:moveTo>
                    <a:pt x="352" y="959"/>
                  </a:moveTo>
                  <a:lnTo>
                    <a:pt x="340" y="942"/>
                  </a:lnTo>
                  <a:lnTo>
                    <a:pt x="362" y="938"/>
                  </a:lnTo>
                  <a:lnTo>
                    <a:pt x="369" y="954"/>
                  </a:lnTo>
                  <a:lnTo>
                    <a:pt x="369" y="959"/>
                  </a:lnTo>
                  <a:lnTo>
                    <a:pt x="352" y="959"/>
                  </a:lnTo>
                  <a:lnTo>
                    <a:pt x="352" y="959"/>
                  </a:lnTo>
                  <a:lnTo>
                    <a:pt x="352" y="959"/>
                  </a:lnTo>
                  <a:close/>
                  <a:moveTo>
                    <a:pt x="255" y="975"/>
                  </a:moveTo>
                  <a:lnTo>
                    <a:pt x="244" y="975"/>
                  </a:lnTo>
                  <a:lnTo>
                    <a:pt x="255" y="959"/>
                  </a:lnTo>
                  <a:lnTo>
                    <a:pt x="255" y="975"/>
                  </a:lnTo>
                  <a:lnTo>
                    <a:pt x="255" y="975"/>
                  </a:lnTo>
                  <a:lnTo>
                    <a:pt x="255" y="975"/>
                  </a:lnTo>
                  <a:close/>
                  <a:moveTo>
                    <a:pt x="345" y="992"/>
                  </a:moveTo>
                  <a:lnTo>
                    <a:pt x="340" y="980"/>
                  </a:lnTo>
                  <a:lnTo>
                    <a:pt x="352" y="992"/>
                  </a:lnTo>
                  <a:lnTo>
                    <a:pt x="345" y="992"/>
                  </a:lnTo>
                  <a:lnTo>
                    <a:pt x="345" y="992"/>
                  </a:lnTo>
                  <a:lnTo>
                    <a:pt x="345" y="992"/>
                  </a:lnTo>
                  <a:close/>
                  <a:moveTo>
                    <a:pt x="310" y="997"/>
                  </a:moveTo>
                  <a:lnTo>
                    <a:pt x="298" y="997"/>
                  </a:lnTo>
                  <a:lnTo>
                    <a:pt x="277" y="997"/>
                  </a:lnTo>
                  <a:lnTo>
                    <a:pt x="277" y="992"/>
                  </a:lnTo>
                  <a:lnTo>
                    <a:pt x="293" y="980"/>
                  </a:lnTo>
                  <a:lnTo>
                    <a:pt x="314" y="992"/>
                  </a:lnTo>
                  <a:lnTo>
                    <a:pt x="310" y="997"/>
                  </a:lnTo>
                  <a:lnTo>
                    <a:pt x="310" y="997"/>
                  </a:lnTo>
                  <a:lnTo>
                    <a:pt x="310" y="997"/>
                  </a:lnTo>
                  <a:close/>
                  <a:moveTo>
                    <a:pt x="277" y="1030"/>
                  </a:moveTo>
                  <a:lnTo>
                    <a:pt x="277" y="1025"/>
                  </a:lnTo>
                  <a:lnTo>
                    <a:pt x="277" y="1030"/>
                  </a:lnTo>
                  <a:lnTo>
                    <a:pt x="277" y="1030"/>
                  </a:lnTo>
                  <a:lnTo>
                    <a:pt x="277" y="1030"/>
                  </a:lnTo>
                  <a:close/>
                  <a:moveTo>
                    <a:pt x="206" y="1065"/>
                  </a:moveTo>
                  <a:lnTo>
                    <a:pt x="201" y="1053"/>
                  </a:lnTo>
                  <a:lnTo>
                    <a:pt x="234" y="1037"/>
                  </a:lnTo>
                  <a:lnTo>
                    <a:pt x="234" y="1053"/>
                  </a:lnTo>
                  <a:lnTo>
                    <a:pt x="218" y="1046"/>
                  </a:lnTo>
                  <a:lnTo>
                    <a:pt x="206" y="1065"/>
                  </a:lnTo>
                  <a:lnTo>
                    <a:pt x="206" y="1065"/>
                  </a:lnTo>
                  <a:lnTo>
                    <a:pt x="206" y="106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1" name="Freeform 542">
              <a:extLst>
                <a:ext uri="{FF2B5EF4-FFF2-40B4-BE49-F238E27FC236}">
                  <a16:creationId xmlns:a16="http://schemas.microsoft.com/office/drawing/2014/main" id="{ABDC9142-CF2E-4307-A2B7-3992A86A9DF0}"/>
                </a:ext>
              </a:extLst>
            </p:cNvPr>
            <p:cNvSpPr>
              <a:spLocks noEditPoints="1"/>
            </p:cNvSpPr>
            <p:nvPr/>
          </p:nvSpPr>
          <p:spPr bwMode="gray">
            <a:xfrm>
              <a:off x="12184924" y="3672228"/>
              <a:ext cx="58913" cy="15383"/>
            </a:xfrm>
            <a:custGeom>
              <a:avLst/>
              <a:gdLst>
                <a:gd name="T0" fmla="*/ 142 w 180"/>
                <a:gd name="T1" fmla="*/ 36 h 47"/>
                <a:gd name="T2" fmla="*/ 121 w 180"/>
                <a:gd name="T3" fmla="*/ 47 h 47"/>
                <a:gd name="T4" fmla="*/ 104 w 180"/>
                <a:gd name="T5" fmla="*/ 36 h 47"/>
                <a:gd name="T6" fmla="*/ 52 w 180"/>
                <a:gd name="T7" fmla="*/ 47 h 47"/>
                <a:gd name="T8" fmla="*/ 52 w 180"/>
                <a:gd name="T9" fmla="*/ 21 h 47"/>
                <a:gd name="T10" fmla="*/ 41 w 180"/>
                <a:gd name="T11" fmla="*/ 17 h 47"/>
                <a:gd name="T12" fmla="*/ 57 w 180"/>
                <a:gd name="T13" fmla="*/ 0 h 47"/>
                <a:gd name="T14" fmla="*/ 142 w 180"/>
                <a:gd name="T15" fmla="*/ 10 h 47"/>
                <a:gd name="T16" fmla="*/ 159 w 180"/>
                <a:gd name="T17" fmla="*/ 17 h 47"/>
                <a:gd name="T18" fmla="*/ 163 w 180"/>
                <a:gd name="T19" fmla="*/ 21 h 47"/>
                <a:gd name="T20" fmla="*/ 142 w 180"/>
                <a:gd name="T21" fmla="*/ 36 h 47"/>
                <a:gd name="T22" fmla="*/ 142 w 180"/>
                <a:gd name="T23" fmla="*/ 36 h 47"/>
                <a:gd name="T24" fmla="*/ 142 w 180"/>
                <a:gd name="T25" fmla="*/ 36 h 47"/>
                <a:gd name="T26" fmla="*/ 163 w 180"/>
                <a:gd name="T27" fmla="*/ 31 h 47"/>
                <a:gd name="T28" fmla="*/ 163 w 180"/>
                <a:gd name="T29" fmla="*/ 31 h 47"/>
                <a:gd name="T30" fmla="*/ 180 w 180"/>
                <a:gd name="T31" fmla="*/ 31 h 47"/>
                <a:gd name="T32" fmla="*/ 163 w 180"/>
                <a:gd name="T33" fmla="*/ 31 h 47"/>
                <a:gd name="T34" fmla="*/ 163 w 180"/>
                <a:gd name="T35" fmla="*/ 31 h 47"/>
                <a:gd name="T36" fmla="*/ 163 w 180"/>
                <a:gd name="T37" fmla="*/ 31 h 47"/>
                <a:gd name="T38" fmla="*/ 5 w 180"/>
                <a:gd name="T39" fmla="*/ 36 h 47"/>
                <a:gd name="T40" fmla="*/ 0 w 180"/>
                <a:gd name="T41" fmla="*/ 31 h 47"/>
                <a:gd name="T42" fmla="*/ 5 w 180"/>
                <a:gd name="T43" fmla="*/ 31 h 47"/>
                <a:gd name="T44" fmla="*/ 5 w 180"/>
                <a:gd name="T45" fmla="*/ 36 h 47"/>
                <a:gd name="T46" fmla="*/ 5 w 180"/>
                <a:gd name="T47" fmla="*/ 36 h 47"/>
                <a:gd name="T48" fmla="*/ 5 w 180"/>
                <a:gd name="T49"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0" h="47">
                  <a:moveTo>
                    <a:pt x="142" y="36"/>
                  </a:moveTo>
                  <a:lnTo>
                    <a:pt x="121" y="47"/>
                  </a:lnTo>
                  <a:lnTo>
                    <a:pt x="104" y="36"/>
                  </a:lnTo>
                  <a:lnTo>
                    <a:pt x="52" y="47"/>
                  </a:lnTo>
                  <a:lnTo>
                    <a:pt x="52" y="21"/>
                  </a:lnTo>
                  <a:lnTo>
                    <a:pt x="41" y="17"/>
                  </a:lnTo>
                  <a:lnTo>
                    <a:pt x="57" y="0"/>
                  </a:lnTo>
                  <a:lnTo>
                    <a:pt x="142" y="10"/>
                  </a:lnTo>
                  <a:lnTo>
                    <a:pt x="159" y="17"/>
                  </a:lnTo>
                  <a:lnTo>
                    <a:pt x="163" y="21"/>
                  </a:lnTo>
                  <a:lnTo>
                    <a:pt x="142" y="36"/>
                  </a:lnTo>
                  <a:lnTo>
                    <a:pt x="142" y="36"/>
                  </a:lnTo>
                  <a:lnTo>
                    <a:pt x="142" y="36"/>
                  </a:lnTo>
                  <a:close/>
                  <a:moveTo>
                    <a:pt x="163" y="31"/>
                  </a:moveTo>
                  <a:lnTo>
                    <a:pt x="163" y="31"/>
                  </a:lnTo>
                  <a:lnTo>
                    <a:pt x="180" y="31"/>
                  </a:lnTo>
                  <a:lnTo>
                    <a:pt x="163" y="31"/>
                  </a:lnTo>
                  <a:lnTo>
                    <a:pt x="163" y="31"/>
                  </a:lnTo>
                  <a:lnTo>
                    <a:pt x="163" y="31"/>
                  </a:lnTo>
                  <a:close/>
                  <a:moveTo>
                    <a:pt x="5" y="36"/>
                  </a:moveTo>
                  <a:lnTo>
                    <a:pt x="0" y="31"/>
                  </a:lnTo>
                  <a:lnTo>
                    <a:pt x="5" y="31"/>
                  </a:lnTo>
                  <a:lnTo>
                    <a:pt x="5" y="36"/>
                  </a:lnTo>
                  <a:lnTo>
                    <a:pt x="5" y="36"/>
                  </a:lnTo>
                  <a:lnTo>
                    <a:pt x="5" y="3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2" name="Freeform 543">
              <a:extLst>
                <a:ext uri="{FF2B5EF4-FFF2-40B4-BE49-F238E27FC236}">
                  <a16:creationId xmlns:a16="http://schemas.microsoft.com/office/drawing/2014/main" id="{54E373E5-24FB-4A85-A58C-8285C2ED0136}"/>
                </a:ext>
              </a:extLst>
            </p:cNvPr>
            <p:cNvSpPr>
              <a:spLocks noEditPoints="1"/>
            </p:cNvSpPr>
            <p:nvPr/>
          </p:nvSpPr>
          <p:spPr bwMode="gray">
            <a:xfrm>
              <a:off x="9778967" y="1537600"/>
              <a:ext cx="8330681" cy="1547786"/>
            </a:xfrm>
            <a:custGeom>
              <a:avLst/>
              <a:gdLst>
                <a:gd name="T0" fmla="*/ 24366 w 25453"/>
                <a:gd name="T1" fmla="*/ 2721 h 4729"/>
                <a:gd name="T2" fmla="*/ 23563 w 25453"/>
                <a:gd name="T3" fmla="*/ 3031 h 4729"/>
                <a:gd name="T4" fmla="*/ 23076 w 25453"/>
                <a:gd name="T5" fmla="*/ 3692 h 4729"/>
                <a:gd name="T6" fmla="*/ 23331 w 25453"/>
                <a:gd name="T7" fmla="*/ 2809 h 4729"/>
                <a:gd name="T8" fmla="*/ 22391 w 25453"/>
                <a:gd name="T9" fmla="*/ 2993 h 4729"/>
                <a:gd name="T10" fmla="*/ 22018 w 25453"/>
                <a:gd name="T11" fmla="*/ 3643 h 4729"/>
                <a:gd name="T12" fmla="*/ 21312 w 25453"/>
                <a:gd name="T13" fmla="*/ 4578 h 4729"/>
                <a:gd name="T14" fmla="*/ 20955 w 25453"/>
                <a:gd name="T15" fmla="*/ 3676 h 4729"/>
                <a:gd name="T16" fmla="*/ 19167 w 25453"/>
                <a:gd name="T17" fmla="*/ 3768 h 4729"/>
                <a:gd name="T18" fmla="*/ 18078 w 25453"/>
                <a:gd name="T19" fmla="*/ 3936 h 4729"/>
                <a:gd name="T20" fmla="*/ 17117 w 25453"/>
                <a:gd name="T21" fmla="*/ 3487 h 4729"/>
                <a:gd name="T22" fmla="*/ 16424 w 25453"/>
                <a:gd name="T23" fmla="*/ 3803 h 4729"/>
                <a:gd name="T24" fmla="*/ 15550 w 25453"/>
                <a:gd name="T25" fmla="*/ 3931 h 4729"/>
                <a:gd name="T26" fmla="*/ 15425 w 25453"/>
                <a:gd name="T27" fmla="*/ 4694 h 4729"/>
                <a:gd name="T28" fmla="*/ 14821 w 25453"/>
                <a:gd name="T29" fmla="*/ 4191 h 4729"/>
                <a:gd name="T30" fmla="*/ 14388 w 25453"/>
                <a:gd name="T31" fmla="*/ 3581 h 4729"/>
                <a:gd name="T32" fmla="*/ 14169 w 25453"/>
                <a:gd name="T33" fmla="*/ 2792 h 4729"/>
                <a:gd name="T34" fmla="*/ 14471 w 25453"/>
                <a:gd name="T35" fmla="*/ 1862 h 4729"/>
                <a:gd name="T36" fmla="*/ 14660 w 25453"/>
                <a:gd name="T37" fmla="*/ 2488 h 4729"/>
                <a:gd name="T38" fmla="*/ 15395 w 25453"/>
                <a:gd name="T39" fmla="*/ 2018 h 4729"/>
                <a:gd name="T40" fmla="*/ 16278 w 25453"/>
                <a:gd name="T41" fmla="*/ 1918 h 4729"/>
                <a:gd name="T42" fmla="*/ 16991 w 25453"/>
                <a:gd name="T43" fmla="*/ 1368 h 4729"/>
                <a:gd name="T44" fmla="*/ 17298 w 25453"/>
                <a:gd name="T45" fmla="*/ 2105 h 4729"/>
                <a:gd name="T46" fmla="*/ 17407 w 25453"/>
                <a:gd name="T47" fmla="*/ 1545 h 4729"/>
                <a:gd name="T48" fmla="*/ 17969 w 25453"/>
                <a:gd name="T49" fmla="*/ 1718 h 4729"/>
                <a:gd name="T50" fmla="*/ 18272 w 25453"/>
                <a:gd name="T51" fmla="*/ 1075 h 4729"/>
                <a:gd name="T52" fmla="*/ 19103 w 25453"/>
                <a:gd name="T53" fmla="*/ 891 h 4729"/>
                <a:gd name="T54" fmla="*/ 20065 w 25453"/>
                <a:gd name="T55" fmla="*/ 981 h 4729"/>
                <a:gd name="T56" fmla="*/ 20074 w 25453"/>
                <a:gd name="T57" fmla="*/ 1290 h 4729"/>
                <a:gd name="T58" fmla="*/ 21782 w 25453"/>
                <a:gd name="T59" fmla="*/ 1573 h 4729"/>
                <a:gd name="T60" fmla="*/ 22644 w 25453"/>
                <a:gd name="T61" fmla="*/ 1552 h 4729"/>
                <a:gd name="T62" fmla="*/ 24227 w 25453"/>
                <a:gd name="T63" fmla="*/ 1767 h 4729"/>
                <a:gd name="T64" fmla="*/ 25053 w 25453"/>
                <a:gd name="T65" fmla="*/ 2046 h 4729"/>
                <a:gd name="T66" fmla="*/ 25205 w 25453"/>
                <a:gd name="T67" fmla="*/ 2400 h 4729"/>
                <a:gd name="T68" fmla="*/ 16188 w 25453"/>
                <a:gd name="T69" fmla="*/ 5 h 4729"/>
                <a:gd name="T70" fmla="*/ 18557 w 25453"/>
                <a:gd name="T71" fmla="*/ 236 h 4729"/>
                <a:gd name="T72" fmla="*/ 16198 w 25453"/>
                <a:gd name="T73" fmla="*/ 116 h 4729"/>
                <a:gd name="T74" fmla="*/ 15593 w 25453"/>
                <a:gd name="T75" fmla="*/ 203 h 4729"/>
                <a:gd name="T76" fmla="*/ 15345 w 25453"/>
                <a:gd name="T77" fmla="*/ 236 h 4729"/>
                <a:gd name="T78" fmla="*/ 15933 w 25453"/>
                <a:gd name="T79" fmla="*/ 236 h 4729"/>
                <a:gd name="T80" fmla="*/ 18650 w 25453"/>
                <a:gd name="T81" fmla="*/ 404 h 4729"/>
                <a:gd name="T82" fmla="*/ 16252 w 25453"/>
                <a:gd name="T83" fmla="*/ 322 h 4729"/>
                <a:gd name="T84" fmla="*/ 19221 w 25453"/>
                <a:gd name="T85" fmla="*/ 598 h 4729"/>
                <a:gd name="T86" fmla="*/ 23093 w 25453"/>
                <a:gd name="T87" fmla="*/ 758 h 4729"/>
                <a:gd name="T88" fmla="*/ 16727 w 25453"/>
                <a:gd name="T89" fmla="*/ 832 h 4729"/>
                <a:gd name="T90" fmla="*/ 18978 w 25453"/>
                <a:gd name="T91" fmla="*/ 815 h 4729"/>
                <a:gd name="T92" fmla="*/ 18898 w 25453"/>
                <a:gd name="T93" fmla="*/ 886 h 4729"/>
                <a:gd name="T94" fmla="*/ 22046 w 25453"/>
                <a:gd name="T95" fmla="*/ 931 h 4729"/>
                <a:gd name="T96" fmla="*/ 16257 w 25453"/>
                <a:gd name="T97" fmla="*/ 947 h 4729"/>
                <a:gd name="T98" fmla="*/ 17700 w 25453"/>
                <a:gd name="T99" fmla="*/ 1129 h 4729"/>
                <a:gd name="T100" fmla="*/ 18125 w 25453"/>
                <a:gd name="T101" fmla="*/ 1195 h 4729"/>
                <a:gd name="T102" fmla="*/ 20700 w 25453"/>
                <a:gd name="T103" fmla="*/ 1363 h 4729"/>
                <a:gd name="T104" fmla="*/ 17133 w 25453"/>
                <a:gd name="T105" fmla="*/ 1314 h 4729"/>
                <a:gd name="T106" fmla="*/ 15858 w 25453"/>
                <a:gd name="T107" fmla="*/ 1363 h 4729"/>
                <a:gd name="T108" fmla="*/ 17693 w 25453"/>
                <a:gd name="T109" fmla="*/ 1392 h 4729"/>
                <a:gd name="T110" fmla="*/ 21775 w 25453"/>
                <a:gd name="T111" fmla="*/ 1552 h 4729"/>
                <a:gd name="T112" fmla="*/ 16257 w 25453"/>
                <a:gd name="T113" fmla="*/ 1696 h 4729"/>
                <a:gd name="T114" fmla="*/ 15534 w 25453"/>
                <a:gd name="T115" fmla="*/ 1923 h 4729"/>
                <a:gd name="T116" fmla="*/ 0 w 25453"/>
                <a:gd name="T117" fmla="*/ 2400 h 4729"/>
                <a:gd name="T118" fmla="*/ 13590 w 25453"/>
                <a:gd name="T119" fmla="*/ 3421 h 4729"/>
                <a:gd name="T120" fmla="*/ 22169 w 25453"/>
                <a:gd name="T121" fmla="*/ 3659 h 4729"/>
                <a:gd name="T122" fmla="*/ 23001 w 25453"/>
                <a:gd name="T123" fmla="*/ 3903 h 4729"/>
                <a:gd name="T124" fmla="*/ 22483 w 25453"/>
                <a:gd name="T125" fmla="*/ 4373 h 4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53" h="4729">
                  <a:moveTo>
                    <a:pt x="24735" y="2360"/>
                  </a:moveTo>
                  <a:lnTo>
                    <a:pt x="24706" y="2388"/>
                  </a:lnTo>
                  <a:lnTo>
                    <a:pt x="24638" y="2421"/>
                  </a:lnTo>
                  <a:lnTo>
                    <a:pt x="24654" y="2405"/>
                  </a:lnTo>
                  <a:lnTo>
                    <a:pt x="24572" y="2405"/>
                  </a:lnTo>
                  <a:lnTo>
                    <a:pt x="24562" y="2384"/>
                  </a:lnTo>
                  <a:lnTo>
                    <a:pt x="24517" y="2360"/>
                  </a:lnTo>
                  <a:lnTo>
                    <a:pt x="24479" y="2367"/>
                  </a:lnTo>
                  <a:lnTo>
                    <a:pt x="24529" y="2367"/>
                  </a:lnTo>
                  <a:lnTo>
                    <a:pt x="24550" y="2388"/>
                  </a:lnTo>
                  <a:lnTo>
                    <a:pt x="24529" y="2400"/>
                  </a:lnTo>
                  <a:lnTo>
                    <a:pt x="24508" y="2384"/>
                  </a:lnTo>
                  <a:lnTo>
                    <a:pt x="24491" y="2388"/>
                  </a:lnTo>
                  <a:lnTo>
                    <a:pt x="24465" y="2377"/>
                  </a:lnTo>
                  <a:lnTo>
                    <a:pt x="24442" y="2400"/>
                  </a:lnTo>
                  <a:lnTo>
                    <a:pt x="24352" y="2405"/>
                  </a:lnTo>
                  <a:lnTo>
                    <a:pt x="24437" y="2400"/>
                  </a:lnTo>
                  <a:lnTo>
                    <a:pt x="24465" y="2384"/>
                  </a:lnTo>
                  <a:lnTo>
                    <a:pt x="24491" y="2405"/>
                  </a:lnTo>
                  <a:lnTo>
                    <a:pt x="24465" y="2417"/>
                  </a:lnTo>
                  <a:lnTo>
                    <a:pt x="24465" y="2421"/>
                  </a:lnTo>
                  <a:lnTo>
                    <a:pt x="24491" y="2405"/>
                  </a:lnTo>
                  <a:lnTo>
                    <a:pt x="24513" y="2421"/>
                  </a:lnTo>
                  <a:lnTo>
                    <a:pt x="24529" y="2405"/>
                  </a:lnTo>
                  <a:lnTo>
                    <a:pt x="24567" y="2400"/>
                  </a:lnTo>
                  <a:lnTo>
                    <a:pt x="24550" y="2421"/>
                  </a:lnTo>
                  <a:lnTo>
                    <a:pt x="24572" y="2445"/>
                  </a:lnTo>
                  <a:lnTo>
                    <a:pt x="24605" y="2462"/>
                  </a:lnTo>
                  <a:lnTo>
                    <a:pt x="24621" y="2445"/>
                  </a:lnTo>
                  <a:lnTo>
                    <a:pt x="24626" y="2455"/>
                  </a:lnTo>
                  <a:lnTo>
                    <a:pt x="24638" y="2478"/>
                  </a:lnTo>
                  <a:lnTo>
                    <a:pt x="24626" y="2495"/>
                  </a:lnTo>
                  <a:lnTo>
                    <a:pt x="24642" y="2495"/>
                  </a:lnTo>
                  <a:lnTo>
                    <a:pt x="24654" y="2528"/>
                  </a:lnTo>
                  <a:lnTo>
                    <a:pt x="24642" y="2528"/>
                  </a:lnTo>
                  <a:lnTo>
                    <a:pt x="24621" y="2532"/>
                  </a:lnTo>
                  <a:lnTo>
                    <a:pt x="24654" y="2532"/>
                  </a:lnTo>
                  <a:lnTo>
                    <a:pt x="24654" y="2549"/>
                  </a:lnTo>
                  <a:lnTo>
                    <a:pt x="24642" y="2556"/>
                  </a:lnTo>
                  <a:lnTo>
                    <a:pt x="24659" y="2549"/>
                  </a:lnTo>
                  <a:lnTo>
                    <a:pt x="24654" y="2532"/>
                  </a:lnTo>
                  <a:lnTo>
                    <a:pt x="24668" y="2566"/>
                  </a:lnTo>
                  <a:lnTo>
                    <a:pt x="24659" y="2556"/>
                  </a:lnTo>
                  <a:lnTo>
                    <a:pt x="24659" y="2566"/>
                  </a:lnTo>
                  <a:lnTo>
                    <a:pt x="24697" y="2582"/>
                  </a:lnTo>
                  <a:lnTo>
                    <a:pt x="24697" y="2599"/>
                  </a:lnTo>
                  <a:lnTo>
                    <a:pt x="24680" y="2606"/>
                  </a:lnTo>
                  <a:lnTo>
                    <a:pt x="24706" y="2622"/>
                  </a:lnTo>
                  <a:lnTo>
                    <a:pt x="24706" y="2643"/>
                  </a:lnTo>
                  <a:lnTo>
                    <a:pt x="24676" y="2660"/>
                  </a:lnTo>
                  <a:lnTo>
                    <a:pt x="24680" y="2677"/>
                  </a:lnTo>
                  <a:lnTo>
                    <a:pt x="24676" y="2681"/>
                  </a:lnTo>
                  <a:lnTo>
                    <a:pt x="24600" y="2655"/>
                  </a:lnTo>
                  <a:lnTo>
                    <a:pt x="24550" y="2643"/>
                  </a:lnTo>
                  <a:lnTo>
                    <a:pt x="24550" y="2627"/>
                  </a:lnTo>
                  <a:lnTo>
                    <a:pt x="24562" y="2622"/>
                  </a:lnTo>
                  <a:lnTo>
                    <a:pt x="24546" y="2639"/>
                  </a:lnTo>
                  <a:lnTo>
                    <a:pt x="24529" y="2610"/>
                  </a:lnTo>
                  <a:lnTo>
                    <a:pt x="24529" y="2639"/>
                  </a:lnTo>
                  <a:lnTo>
                    <a:pt x="24550" y="2643"/>
                  </a:lnTo>
                  <a:lnTo>
                    <a:pt x="24508" y="2655"/>
                  </a:lnTo>
                  <a:lnTo>
                    <a:pt x="24479" y="2677"/>
                  </a:lnTo>
                  <a:lnTo>
                    <a:pt x="24373" y="2721"/>
                  </a:lnTo>
                  <a:lnTo>
                    <a:pt x="24357" y="2717"/>
                  </a:lnTo>
                  <a:lnTo>
                    <a:pt x="24366" y="2721"/>
                  </a:lnTo>
                  <a:lnTo>
                    <a:pt x="24357" y="2733"/>
                  </a:lnTo>
                  <a:lnTo>
                    <a:pt x="24328" y="2733"/>
                  </a:lnTo>
                  <a:lnTo>
                    <a:pt x="24319" y="2738"/>
                  </a:lnTo>
                  <a:lnTo>
                    <a:pt x="24302" y="2750"/>
                  </a:lnTo>
                  <a:lnTo>
                    <a:pt x="24290" y="2738"/>
                  </a:lnTo>
                  <a:lnTo>
                    <a:pt x="24281" y="2766"/>
                  </a:lnTo>
                  <a:lnTo>
                    <a:pt x="24276" y="2766"/>
                  </a:lnTo>
                  <a:lnTo>
                    <a:pt x="24260" y="2776"/>
                  </a:lnTo>
                  <a:lnTo>
                    <a:pt x="24243" y="2771"/>
                  </a:lnTo>
                  <a:lnTo>
                    <a:pt x="24227" y="2776"/>
                  </a:lnTo>
                  <a:lnTo>
                    <a:pt x="24243" y="2788"/>
                  </a:lnTo>
                  <a:lnTo>
                    <a:pt x="24227" y="2788"/>
                  </a:lnTo>
                  <a:lnTo>
                    <a:pt x="24239" y="2792"/>
                  </a:lnTo>
                  <a:lnTo>
                    <a:pt x="24222" y="2804"/>
                  </a:lnTo>
                  <a:lnTo>
                    <a:pt x="24205" y="2792"/>
                  </a:lnTo>
                  <a:lnTo>
                    <a:pt x="24205" y="2809"/>
                  </a:lnTo>
                  <a:lnTo>
                    <a:pt x="24210" y="2821"/>
                  </a:lnTo>
                  <a:lnTo>
                    <a:pt x="24194" y="2821"/>
                  </a:lnTo>
                  <a:lnTo>
                    <a:pt x="24184" y="2809"/>
                  </a:lnTo>
                  <a:lnTo>
                    <a:pt x="24189" y="2828"/>
                  </a:lnTo>
                  <a:lnTo>
                    <a:pt x="24184" y="2844"/>
                  </a:lnTo>
                  <a:lnTo>
                    <a:pt x="24172" y="2828"/>
                  </a:lnTo>
                  <a:lnTo>
                    <a:pt x="24172" y="2844"/>
                  </a:lnTo>
                  <a:lnTo>
                    <a:pt x="24151" y="2844"/>
                  </a:lnTo>
                  <a:lnTo>
                    <a:pt x="24151" y="2849"/>
                  </a:lnTo>
                  <a:lnTo>
                    <a:pt x="24135" y="2849"/>
                  </a:lnTo>
                  <a:lnTo>
                    <a:pt x="24135" y="2866"/>
                  </a:lnTo>
                  <a:lnTo>
                    <a:pt x="24080" y="2887"/>
                  </a:lnTo>
                  <a:lnTo>
                    <a:pt x="24080" y="2899"/>
                  </a:lnTo>
                  <a:lnTo>
                    <a:pt x="24076" y="2903"/>
                  </a:lnTo>
                  <a:lnTo>
                    <a:pt x="24064" y="2936"/>
                  </a:lnTo>
                  <a:lnTo>
                    <a:pt x="24059" y="2936"/>
                  </a:lnTo>
                  <a:lnTo>
                    <a:pt x="24033" y="2920"/>
                  </a:lnTo>
                  <a:lnTo>
                    <a:pt x="24021" y="2887"/>
                  </a:lnTo>
                  <a:lnTo>
                    <a:pt x="23979" y="2866"/>
                  </a:lnTo>
                  <a:lnTo>
                    <a:pt x="23979" y="2877"/>
                  </a:lnTo>
                  <a:lnTo>
                    <a:pt x="23913" y="2866"/>
                  </a:lnTo>
                  <a:lnTo>
                    <a:pt x="23832" y="2899"/>
                  </a:lnTo>
                  <a:lnTo>
                    <a:pt x="23761" y="2953"/>
                  </a:lnTo>
                  <a:lnTo>
                    <a:pt x="23773" y="2887"/>
                  </a:lnTo>
                  <a:lnTo>
                    <a:pt x="23778" y="2882"/>
                  </a:lnTo>
                  <a:lnTo>
                    <a:pt x="23757" y="2882"/>
                  </a:lnTo>
                  <a:lnTo>
                    <a:pt x="23702" y="2920"/>
                  </a:lnTo>
                  <a:lnTo>
                    <a:pt x="23686" y="2915"/>
                  </a:lnTo>
                  <a:lnTo>
                    <a:pt x="23702" y="2932"/>
                  </a:lnTo>
                  <a:lnTo>
                    <a:pt x="23681" y="2953"/>
                  </a:lnTo>
                  <a:lnTo>
                    <a:pt x="23665" y="2936"/>
                  </a:lnTo>
                  <a:lnTo>
                    <a:pt x="23648" y="2920"/>
                  </a:lnTo>
                  <a:lnTo>
                    <a:pt x="23643" y="2920"/>
                  </a:lnTo>
                  <a:lnTo>
                    <a:pt x="23643" y="2932"/>
                  </a:lnTo>
                  <a:lnTo>
                    <a:pt x="23627" y="2936"/>
                  </a:lnTo>
                  <a:lnTo>
                    <a:pt x="23627" y="2943"/>
                  </a:lnTo>
                  <a:lnTo>
                    <a:pt x="23617" y="2943"/>
                  </a:lnTo>
                  <a:lnTo>
                    <a:pt x="23627" y="2936"/>
                  </a:lnTo>
                  <a:lnTo>
                    <a:pt x="23617" y="2932"/>
                  </a:lnTo>
                  <a:lnTo>
                    <a:pt x="23596" y="2932"/>
                  </a:lnTo>
                  <a:lnTo>
                    <a:pt x="23601" y="2936"/>
                  </a:lnTo>
                  <a:lnTo>
                    <a:pt x="23596" y="2943"/>
                  </a:lnTo>
                  <a:lnTo>
                    <a:pt x="23572" y="2953"/>
                  </a:lnTo>
                  <a:lnTo>
                    <a:pt x="23572" y="2972"/>
                  </a:lnTo>
                  <a:lnTo>
                    <a:pt x="23558" y="2977"/>
                  </a:lnTo>
                  <a:lnTo>
                    <a:pt x="23572" y="2998"/>
                  </a:lnTo>
                  <a:lnTo>
                    <a:pt x="23563" y="3010"/>
                  </a:lnTo>
                  <a:lnTo>
                    <a:pt x="23546" y="3010"/>
                  </a:lnTo>
                  <a:lnTo>
                    <a:pt x="23563" y="3031"/>
                  </a:lnTo>
                  <a:lnTo>
                    <a:pt x="23546" y="3026"/>
                  </a:lnTo>
                  <a:lnTo>
                    <a:pt x="23542" y="3026"/>
                  </a:lnTo>
                  <a:lnTo>
                    <a:pt x="23546" y="3043"/>
                  </a:lnTo>
                  <a:lnTo>
                    <a:pt x="23504" y="3071"/>
                  </a:lnTo>
                  <a:lnTo>
                    <a:pt x="23487" y="3099"/>
                  </a:lnTo>
                  <a:lnTo>
                    <a:pt x="23471" y="3137"/>
                  </a:lnTo>
                  <a:lnTo>
                    <a:pt x="23487" y="3158"/>
                  </a:lnTo>
                  <a:lnTo>
                    <a:pt x="23504" y="3170"/>
                  </a:lnTo>
                  <a:lnTo>
                    <a:pt x="23504" y="3175"/>
                  </a:lnTo>
                  <a:lnTo>
                    <a:pt x="23520" y="3154"/>
                  </a:lnTo>
                  <a:lnTo>
                    <a:pt x="23563" y="3158"/>
                  </a:lnTo>
                  <a:lnTo>
                    <a:pt x="23563" y="3170"/>
                  </a:lnTo>
                  <a:lnTo>
                    <a:pt x="23558" y="3192"/>
                  </a:lnTo>
                  <a:lnTo>
                    <a:pt x="23525" y="3208"/>
                  </a:lnTo>
                  <a:lnTo>
                    <a:pt x="23535" y="3236"/>
                  </a:lnTo>
                  <a:lnTo>
                    <a:pt x="23535" y="3269"/>
                  </a:lnTo>
                  <a:lnTo>
                    <a:pt x="23542" y="3281"/>
                  </a:lnTo>
                  <a:lnTo>
                    <a:pt x="23563" y="3269"/>
                  </a:lnTo>
                  <a:lnTo>
                    <a:pt x="23572" y="3326"/>
                  </a:lnTo>
                  <a:lnTo>
                    <a:pt x="23546" y="3347"/>
                  </a:lnTo>
                  <a:lnTo>
                    <a:pt x="23525" y="3336"/>
                  </a:lnTo>
                  <a:lnTo>
                    <a:pt x="23525" y="3319"/>
                  </a:lnTo>
                  <a:lnTo>
                    <a:pt x="23558" y="3293"/>
                  </a:lnTo>
                  <a:lnTo>
                    <a:pt x="23546" y="3293"/>
                  </a:lnTo>
                  <a:lnTo>
                    <a:pt x="23542" y="3303"/>
                  </a:lnTo>
                  <a:lnTo>
                    <a:pt x="23525" y="3303"/>
                  </a:lnTo>
                  <a:lnTo>
                    <a:pt x="23504" y="3310"/>
                  </a:lnTo>
                  <a:lnTo>
                    <a:pt x="23520" y="3326"/>
                  </a:lnTo>
                  <a:lnTo>
                    <a:pt x="23483" y="3343"/>
                  </a:lnTo>
                  <a:lnTo>
                    <a:pt x="23454" y="3397"/>
                  </a:lnTo>
                  <a:lnTo>
                    <a:pt x="23466" y="3437"/>
                  </a:lnTo>
                  <a:lnTo>
                    <a:pt x="23487" y="3458"/>
                  </a:lnTo>
                  <a:lnTo>
                    <a:pt x="23487" y="3475"/>
                  </a:lnTo>
                  <a:lnTo>
                    <a:pt x="23454" y="3503"/>
                  </a:lnTo>
                  <a:lnTo>
                    <a:pt x="23428" y="3503"/>
                  </a:lnTo>
                  <a:lnTo>
                    <a:pt x="23416" y="3491"/>
                  </a:lnTo>
                  <a:lnTo>
                    <a:pt x="23383" y="3503"/>
                  </a:lnTo>
                  <a:lnTo>
                    <a:pt x="23341" y="3541"/>
                  </a:lnTo>
                  <a:lnTo>
                    <a:pt x="23324" y="3581"/>
                  </a:lnTo>
                  <a:lnTo>
                    <a:pt x="23331" y="3586"/>
                  </a:lnTo>
                  <a:lnTo>
                    <a:pt x="23331" y="3603"/>
                  </a:lnTo>
                  <a:lnTo>
                    <a:pt x="23324" y="3598"/>
                  </a:lnTo>
                  <a:lnTo>
                    <a:pt x="23341" y="3619"/>
                  </a:lnTo>
                  <a:lnTo>
                    <a:pt x="23341" y="3636"/>
                  </a:lnTo>
                  <a:lnTo>
                    <a:pt x="23308" y="3619"/>
                  </a:lnTo>
                  <a:lnTo>
                    <a:pt x="23270" y="3643"/>
                  </a:lnTo>
                  <a:lnTo>
                    <a:pt x="23249" y="3659"/>
                  </a:lnTo>
                  <a:lnTo>
                    <a:pt x="23239" y="3643"/>
                  </a:lnTo>
                  <a:lnTo>
                    <a:pt x="23223" y="3643"/>
                  </a:lnTo>
                  <a:lnTo>
                    <a:pt x="23223" y="3659"/>
                  </a:lnTo>
                  <a:lnTo>
                    <a:pt x="23239" y="3659"/>
                  </a:lnTo>
                  <a:lnTo>
                    <a:pt x="23232" y="3680"/>
                  </a:lnTo>
                  <a:lnTo>
                    <a:pt x="23223" y="3680"/>
                  </a:lnTo>
                  <a:lnTo>
                    <a:pt x="23232" y="3692"/>
                  </a:lnTo>
                  <a:lnTo>
                    <a:pt x="23232" y="3714"/>
                  </a:lnTo>
                  <a:lnTo>
                    <a:pt x="23218" y="3730"/>
                  </a:lnTo>
                  <a:lnTo>
                    <a:pt x="23218" y="3751"/>
                  </a:lnTo>
                  <a:lnTo>
                    <a:pt x="23105" y="3846"/>
                  </a:lnTo>
                  <a:lnTo>
                    <a:pt x="23109" y="3836"/>
                  </a:lnTo>
                  <a:lnTo>
                    <a:pt x="23093" y="3808"/>
                  </a:lnTo>
                  <a:lnTo>
                    <a:pt x="23093" y="3751"/>
                  </a:lnTo>
                  <a:lnTo>
                    <a:pt x="23076" y="3692"/>
                  </a:lnTo>
                  <a:lnTo>
                    <a:pt x="23088" y="3697"/>
                  </a:lnTo>
                  <a:lnTo>
                    <a:pt x="23088" y="3692"/>
                  </a:lnTo>
                  <a:lnTo>
                    <a:pt x="23076" y="3692"/>
                  </a:lnTo>
                  <a:lnTo>
                    <a:pt x="23060" y="3669"/>
                  </a:lnTo>
                  <a:lnTo>
                    <a:pt x="23022" y="3421"/>
                  </a:lnTo>
                  <a:lnTo>
                    <a:pt x="23034" y="3359"/>
                  </a:lnTo>
                  <a:lnTo>
                    <a:pt x="23055" y="3281"/>
                  </a:lnTo>
                  <a:lnTo>
                    <a:pt x="23088" y="3253"/>
                  </a:lnTo>
                  <a:lnTo>
                    <a:pt x="23093" y="3236"/>
                  </a:lnTo>
                  <a:lnTo>
                    <a:pt x="23105" y="3236"/>
                  </a:lnTo>
                  <a:lnTo>
                    <a:pt x="23126" y="3208"/>
                  </a:lnTo>
                  <a:lnTo>
                    <a:pt x="23126" y="3182"/>
                  </a:lnTo>
                  <a:lnTo>
                    <a:pt x="23109" y="3175"/>
                  </a:lnTo>
                  <a:lnTo>
                    <a:pt x="23126" y="3158"/>
                  </a:lnTo>
                  <a:lnTo>
                    <a:pt x="23142" y="3170"/>
                  </a:lnTo>
                  <a:lnTo>
                    <a:pt x="23157" y="3170"/>
                  </a:lnTo>
                  <a:lnTo>
                    <a:pt x="23168" y="3142"/>
                  </a:lnTo>
                  <a:lnTo>
                    <a:pt x="23218" y="3142"/>
                  </a:lnTo>
                  <a:lnTo>
                    <a:pt x="23320" y="3059"/>
                  </a:lnTo>
                  <a:lnTo>
                    <a:pt x="23324" y="3031"/>
                  </a:lnTo>
                  <a:lnTo>
                    <a:pt x="23362" y="2998"/>
                  </a:lnTo>
                  <a:lnTo>
                    <a:pt x="23374" y="2977"/>
                  </a:lnTo>
                  <a:lnTo>
                    <a:pt x="23395" y="2972"/>
                  </a:lnTo>
                  <a:lnTo>
                    <a:pt x="23438" y="2920"/>
                  </a:lnTo>
                  <a:lnTo>
                    <a:pt x="23466" y="2915"/>
                  </a:lnTo>
                  <a:lnTo>
                    <a:pt x="23471" y="2903"/>
                  </a:lnTo>
                  <a:lnTo>
                    <a:pt x="23471" y="2882"/>
                  </a:lnTo>
                  <a:lnTo>
                    <a:pt x="23535" y="2861"/>
                  </a:lnTo>
                  <a:lnTo>
                    <a:pt x="23542" y="2849"/>
                  </a:lnTo>
                  <a:lnTo>
                    <a:pt x="23596" y="2832"/>
                  </a:lnTo>
                  <a:lnTo>
                    <a:pt x="23596" y="2828"/>
                  </a:lnTo>
                  <a:lnTo>
                    <a:pt x="23579" y="2821"/>
                  </a:lnTo>
                  <a:lnTo>
                    <a:pt x="23617" y="2788"/>
                  </a:lnTo>
                  <a:lnTo>
                    <a:pt x="23617" y="2776"/>
                  </a:lnTo>
                  <a:lnTo>
                    <a:pt x="23601" y="2771"/>
                  </a:lnTo>
                  <a:lnTo>
                    <a:pt x="23610" y="2755"/>
                  </a:lnTo>
                  <a:lnTo>
                    <a:pt x="23617" y="2750"/>
                  </a:lnTo>
                  <a:lnTo>
                    <a:pt x="23627" y="2681"/>
                  </a:lnTo>
                  <a:lnTo>
                    <a:pt x="23655" y="2660"/>
                  </a:lnTo>
                  <a:lnTo>
                    <a:pt x="23698" y="2665"/>
                  </a:lnTo>
                  <a:lnTo>
                    <a:pt x="23709" y="2677"/>
                  </a:lnTo>
                  <a:lnTo>
                    <a:pt x="23698" y="2660"/>
                  </a:lnTo>
                  <a:lnTo>
                    <a:pt x="23735" y="2660"/>
                  </a:lnTo>
                  <a:lnTo>
                    <a:pt x="23686" y="2655"/>
                  </a:lnTo>
                  <a:lnTo>
                    <a:pt x="23643" y="2639"/>
                  </a:lnTo>
                  <a:lnTo>
                    <a:pt x="23563" y="2655"/>
                  </a:lnTo>
                  <a:lnTo>
                    <a:pt x="23558" y="2660"/>
                  </a:lnTo>
                  <a:lnTo>
                    <a:pt x="23572" y="2677"/>
                  </a:lnTo>
                  <a:lnTo>
                    <a:pt x="23558" y="2681"/>
                  </a:lnTo>
                  <a:lnTo>
                    <a:pt x="23558" y="2710"/>
                  </a:lnTo>
                  <a:lnTo>
                    <a:pt x="23542" y="2733"/>
                  </a:lnTo>
                  <a:lnTo>
                    <a:pt x="23572" y="2738"/>
                  </a:lnTo>
                  <a:lnTo>
                    <a:pt x="23563" y="2750"/>
                  </a:lnTo>
                  <a:lnTo>
                    <a:pt x="23546" y="2766"/>
                  </a:lnTo>
                  <a:lnTo>
                    <a:pt x="23535" y="2750"/>
                  </a:lnTo>
                  <a:lnTo>
                    <a:pt x="23525" y="2750"/>
                  </a:lnTo>
                  <a:lnTo>
                    <a:pt x="23535" y="2755"/>
                  </a:lnTo>
                  <a:lnTo>
                    <a:pt x="23504" y="2750"/>
                  </a:lnTo>
                  <a:lnTo>
                    <a:pt x="23400" y="2832"/>
                  </a:lnTo>
                  <a:lnTo>
                    <a:pt x="23395" y="2849"/>
                  </a:lnTo>
                  <a:lnTo>
                    <a:pt x="23362" y="2849"/>
                  </a:lnTo>
                  <a:lnTo>
                    <a:pt x="23346" y="2866"/>
                  </a:lnTo>
                  <a:lnTo>
                    <a:pt x="23357" y="2849"/>
                  </a:lnTo>
                  <a:lnTo>
                    <a:pt x="23346" y="2844"/>
                  </a:lnTo>
                  <a:lnTo>
                    <a:pt x="23362" y="2821"/>
                  </a:lnTo>
                  <a:lnTo>
                    <a:pt x="23346" y="2821"/>
                  </a:lnTo>
                  <a:lnTo>
                    <a:pt x="23324" y="2828"/>
                  </a:lnTo>
                  <a:lnTo>
                    <a:pt x="23331" y="2809"/>
                  </a:lnTo>
                  <a:lnTo>
                    <a:pt x="23331" y="2792"/>
                  </a:lnTo>
                  <a:lnTo>
                    <a:pt x="23324" y="2792"/>
                  </a:lnTo>
                  <a:lnTo>
                    <a:pt x="23362" y="2738"/>
                  </a:lnTo>
                  <a:lnTo>
                    <a:pt x="23362" y="2717"/>
                  </a:lnTo>
                  <a:lnTo>
                    <a:pt x="23303" y="2750"/>
                  </a:lnTo>
                  <a:lnTo>
                    <a:pt x="23294" y="2721"/>
                  </a:lnTo>
                  <a:lnTo>
                    <a:pt x="23287" y="2721"/>
                  </a:lnTo>
                  <a:lnTo>
                    <a:pt x="23202" y="2738"/>
                  </a:lnTo>
                  <a:lnTo>
                    <a:pt x="23164" y="2733"/>
                  </a:lnTo>
                  <a:lnTo>
                    <a:pt x="23109" y="2766"/>
                  </a:lnTo>
                  <a:lnTo>
                    <a:pt x="23105" y="2804"/>
                  </a:lnTo>
                  <a:lnTo>
                    <a:pt x="23060" y="2821"/>
                  </a:lnTo>
                  <a:lnTo>
                    <a:pt x="23055" y="2832"/>
                  </a:lnTo>
                  <a:lnTo>
                    <a:pt x="23050" y="2849"/>
                  </a:lnTo>
                  <a:lnTo>
                    <a:pt x="22984" y="2887"/>
                  </a:lnTo>
                  <a:lnTo>
                    <a:pt x="22963" y="2915"/>
                  </a:lnTo>
                  <a:lnTo>
                    <a:pt x="22946" y="2936"/>
                  </a:lnTo>
                  <a:lnTo>
                    <a:pt x="22930" y="2943"/>
                  </a:lnTo>
                  <a:lnTo>
                    <a:pt x="22942" y="2972"/>
                  </a:lnTo>
                  <a:lnTo>
                    <a:pt x="22925" y="2988"/>
                  </a:lnTo>
                  <a:lnTo>
                    <a:pt x="22925" y="2993"/>
                  </a:lnTo>
                  <a:lnTo>
                    <a:pt x="22953" y="2993"/>
                  </a:lnTo>
                  <a:lnTo>
                    <a:pt x="22946" y="2977"/>
                  </a:lnTo>
                  <a:lnTo>
                    <a:pt x="22984" y="2988"/>
                  </a:lnTo>
                  <a:lnTo>
                    <a:pt x="23001" y="2998"/>
                  </a:lnTo>
                  <a:lnTo>
                    <a:pt x="22996" y="3014"/>
                  </a:lnTo>
                  <a:lnTo>
                    <a:pt x="22968" y="3026"/>
                  </a:lnTo>
                  <a:lnTo>
                    <a:pt x="22946" y="3014"/>
                  </a:lnTo>
                  <a:lnTo>
                    <a:pt x="22942" y="3014"/>
                  </a:lnTo>
                  <a:lnTo>
                    <a:pt x="22930" y="3031"/>
                  </a:lnTo>
                  <a:lnTo>
                    <a:pt x="22916" y="3031"/>
                  </a:lnTo>
                  <a:lnTo>
                    <a:pt x="22899" y="3014"/>
                  </a:lnTo>
                  <a:lnTo>
                    <a:pt x="22871" y="3010"/>
                  </a:lnTo>
                  <a:lnTo>
                    <a:pt x="22861" y="3026"/>
                  </a:lnTo>
                  <a:lnTo>
                    <a:pt x="22845" y="3031"/>
                  </a:lnTo>
                  <a:lnTo>
                    <a:pt x="22840" y="3047"/>
                  </a:lnTo>
                  <a:lnTo>
                    <a:pt x="22802" y="3031"/>
                  </a:lnTo>
                  <a:lnTo>
                    <a:pt x="22786" y="3043"/>
                  </a:lnTo>
                  <a:lnTo>
                    <a:pt x="22779" y="3047"/>
                  </a:lnTo>
                  <a:lnTo>
                    <a:pt x="22731" y="3059"/>
                  </a:lnTo>
                  <a:lnTo>
                    <a:pt x="22710" y="3026"/>
                  </a:lnTo>
                  <a:lnTo>
                    <a:pt x="22791" y="3014"/>
                  </a:lnTo>
                  <a:lnTo>
                    <a:pt x="22765" y="3010"/>
                  </a:lnTo>
                  <a:lnTo>
                    <a:pt x="22748" y="2988"/>
                  </a:lnTo>
                  <a:lnTo>
                    <a:pt x="22731" y="2977"/>
                  </a:lnTo>
                  <a:lnTo>
                    <a:pt x="22698" y="2977"/>
                  </a:lnTo>
                  <a:lnTo>
                    <a:pt x="22698" y="2988"/>
                  </a:lnTo>
                  <a:lnTo>
                    <a:pt x="22682" y="2993"/>
                  </a:lnTo>
                  <a:lnTo>
                    <a:pt x="22682" y="2988"/>
                  </a:lnTo>
                  <a:lnTo>
                    <a:pt x="22665" y="2988"/>
                  </a:lnTo>
                  <a:lnTo>
                    <a:pt x="22682" y="2977"/>
                  </a:lnTo>
                  <a:lnTo>
                    <a:pt x="22606" y="2953"/>
                  </a:lnTo>
                  <a:lnTo>
                    <a:pt x="22568" y="2972"/>
                  </a:lnTo>
                  <a:lnTo>
                    <a:pt x="22576" y="2993"/>
                  </a:lnTo>
                  <a:lnTo>
                    <a:pt x="22559" y="2993"/>
                  </a:lnTo>
                  <a:lnTo>
                    <a:pt x="22552" y="2977"/>
                  </a:lnTo>
                  <a:lnTo>
                    <a:pt x="22547" y="2988"/>
                  </a:lnTo>
                  <a:lnTo>
                    <a:pt x="22547" y="2998"/>
                  </a:lnTo>
                  <a:lnTo>
                    <a:pt x="22559" y="2998"/>
                  </a:lnTo>
                  <a:lnTo>
                    <a:pt x="22559" y="3010"/>
                  </a:lnTo>
                  <a:lnTo>
                    <a:pt x="22521" y="3010"/>
                  </a:lnTo>
                  <a:lnTo>
                    <a:pt x="22521" y="2993"/>
                  </a:lnTo>
                  <a:lnTo>
                    <a:pt x="22505" y="2993"/>
                  </a:lnTo>
                  <a:lnTo>
                    <a:pt x="22462" y="3010"/>
                  </a:lnTo>
                  <a:lnTo>
                    <a:pt x="22391" y="2993"/>
                  </a:lnTo>
                  <a:lnTo>
                    <a:pt x="22375" y="2993"/>
                  </a:lnTo>
                  <a:lnTo>
                    <a:pt x="22375" y="3014"/>
                  </a:lnTo>
                  <a:lnTo>
                    <a:pt x="22354" y="3026"/>
                  </a:lnTo>
                  <a:lnTo>
                    <a:pt x="22337" y="3010"/>
                  </a:lnTo>
                  <a:lnTo>
                    <a:pt x="22342" y="2993"/>
                  </a:lnTo>
                  <a:lnTo>
                    <a:pt x="22207" y="2993"/>
                  </a:lnTo>
                  <a:lnTo>
                    <a:pt x="22160" y="2998"/>
                  </a:lnTo>
                  <a:lnTo>
                    <a:pt x="22084" y="3031"/>
                  </a:lnTo>
                  <a:lnTo>
                    <a:pt x="22051" y="3071"/>
                  </a:lnTo>
                  <a:lnTo>
                    <a:pt x="21980" y="3121"/>
                  </a:lnTo>
                  <a:lnTo>
                    <a:pt x="21964" y="3158"/>
                  </a:lnTo>
                  <a:lnTo>
                    <a:pt x="21938" y="3175"/>
                  </a:lnTo>
                  <a:lnTo>
                    <a:pt x="21900" y="3215"/>
                  </a:lnTo>
                  <a:lnTo>
                    <a:pt x="21872" y="3225"/>
                  </a:lnTo>
                  <a:lnTo>
                    <a:pt x="21857" y="3248"/>
                  </a:lnTo>
                  <a:lnTo>
                    <a:pt x="21834" y="3248"/>
                  </a:lnTo>
                  <a:lnTo>
                    <a:pt x="21803" y="3293"/>
                  </a:lnTo>
                  <a:lnTo>
                    <a:pt x="21803" y="3303"/>
                  </a:lnTo>
                  <a:lnTo>
                    <a:pt x="21775" y="3336"/>
                  </a:lnTo>
                  <a:lnTo>
                    <a:pt x="21683" y="3397"/>
                  </a:lnTo>
                  <a:lnTo>
                    <a:pt x="21668" y="3421"/>
                  </a:lnTo>
                  <a:lnTo>
                    <a:pt x="21619" y="3437"/>
                  </a:lnTo>
                  <a:lnTo>
                    <a:pt x="21598" y="3458"/>
                  </a:lnTo>
                  <a:lnTo>
                    <a:pt x="21602" y="3475"/>
                  </a:lnTo>
                  <a:lnTo>
                    <a:pt x="21635" y="3491"/>
                  </a:lnTo>
                  <a:lnTo>
                    <a:pt x="21711" y="3487"/>
                  </a:lnTo>
                  <a:lnTo>
                    <a:pt x="21711" y="3491"/>
                  </a:lnTo>
                  <a:lnTo>
                    <a:pt x="21706" y="3508"/>
                  </a:lnTo>
                  <a:lnTo>
                    <a:pt x="21711" y="3532"/>
                  </a:lnTo>
                  <a:lnTo>
                    <a:pt x="21694" y="3558"/>
                  </a:lnTo>
                  <a:lnTo>
                    <a:pt x="21706" y="3569"/>
                  </a:lnTo>
                  <a:lnTo>
                    <a:pt x="21737" y="3565"/>
                  </a:lnTo>
                  <a:lnTo>
                    <a:pt x="21744" y="3548"/>
                  </a:lnTo>
                  <a:lnTo>
                    <a:pt x="21728" y="3532"/>
                  </a:lnTo>
                  <a:lnTo>
                    <a:pt x="21737" y="3532"/>
                  </a:lnTo>
                  <a:lnTo>
                    <a:pt x="21775" y="3515"/>
                  </a:lnTo>
                  <a:lnTo>
                    <a:pt x="21744" y="3541"/>
                  </a:lnTo>
                  <a:lnTo>
                    <a:pt x="21744" y="3548"/>
                  </a:lnTo>
                  <a:lnTo>
                    <a:pt x="21765" y="3558"/>
                  </a:lnTo>
                  <a:lnTo>
                    <a:pt x="21782" y="3558"/>
                  </a:lnTo>
                  <a:lnTo>
                    <a:pt x="21765" y="3565"/>
                  </a:lnTo>
                  <a:lnTo>
                    <a:pt x="21758" y="3581"/>
                  </a:lnTo>
                  <a:lnTo>
                    <a:pt x="21737" y="3586"/>
                  </a:lnTo>
                  <a:lnTo>
                    <a:pt x="21744" y="3598"/>
                  </a:lnTo>
                  <a:lnTo>
                    <a:pt x="21791" y="3598"/>
                  </a:lnTo>
                  <a:lnTo>
                    <a:pt x="21813" y="3581"/>
                  </a:lnTo>
                  <a:lnTo>
                    <a:pt x="21820" y="3565"/>
                  </a:lnTo>
                  <a:lnTo>
                    <a:pt x="21834" y="3548"/>
                  </a:lnTo>
                  <a:lnTo>
                    <a:pt x="21834" y="3569"/>
                  </a:lnTo>
                  <a:lnTo>
                    <a:pt x="21813" y="3598"/>
                  </a:lnTo>
                  <a:lnTo>
                    <a:pt x="21829" y="3598"/>
                  </a:lnTo>
                  <a:lnTo>
                    <a:pt x="21834" y="3581"/>
                  </a:lnTo>
                  <a:lnTo>
                    <a:pt x="21850" y="3548"/>
                  </a:lnTo>
                  <a:lnTo>
                    <a:pt x="21846" y="3525"/>
                  </a:lnTo>
                  <a:lnTo>
                    <a:pt x="21834" y="3525"/>
                  </a:lnTo>
                  <a:lnTo>
                    <a:pt x="21888" y="3532"/>
                  </a:lnTo>
                  <a:lnTo>
                    <a:pt x="21909" y="3515"/>
                  </a:lnTo>
                  <a:lnTo>
                    <a:pt x="21954" y="3548"/>
                  </a:lnTo>
                  <a:lnTo>
                    <a:pt x="21954" y="3565"/>
                  </a:lnTo>
                  <a:lnTo>
                    <a:pt x="21976" y="3586"/>
                  </a:lnTo>
                  <a:lnTo>
                    <a:pt x="22009" y="3598"/>
                  </a:lnTo>
                  <a:lnTo>
                    <a:pt x="21997" y="3603"/>
                  </a:lnTo>
                  <a:lnTo>
                    <a:pt x="22035" y="3619"/>
                  </a:lnTo>
                  <a:lnTo>
                    <a:pt x="22035" y="3636"/>
                  </a:lnTo>
                  <a:lnTo>
                    <a:pt x="22018" y="3643"/>
                  </a:lnTo>
                  <a:lnTo>
                    <a:pt x="22018" y="3652"/>
                  </a:lnTo>
                  <a:lnTo>
                    <a:pt x="21980" y="3636"/>
                  </a:lnTo>
                  <a:lnTo>
                    <a:pt x="22018" y="3669"/>
                  </a:lnTo>
                  <a:lnTo>
                    <a:pt x="22030" y="3680"/>
                  </a:lnTo>
                  <a:lnTo>
                    <a:pt x="22013" y="3709"/>
                  </a:lnTo>
                  <a:lnTo>
                    <a:pt x="22046" y="3725"/>
                  </a:lnTo>
                  <a:lnTo>
                    <a:pt x="22030" y="3747"/>
                  </a:lnTo>
                  <a:lnTo>
                    <a:pt x="22035" y="3751"/>
                  </a:lnTo>
                  <a:lnTo>
                    <a:pt x="21997" y="3780"/>
                  </a:lnTo>
                  <a:lnTo>
                    <a:pt x="21997" y="3791"/>
                  </a:lnTo>
                  <a:lnTo>
                    <a:pt x="21992" y="3803"/>
                  </a:lnTo>
                  <a:lnTo>
                    <a:pt x="21997" y="3803"/>
                  </a:lnTo>
                  <a:lnTo>
                    <a:pt x="21997" y="3808"/>
                  </a:lnTo>
                  <a:lnTo>
                    <a:pt x="21980" y="3808"/>
                  </a:lnTo>
                  <a:lnTo>
                    <a:pt x="21980" y="3846"/>
                  </a:lnTo>
                  <a:lnTo>
                    <a:pt x="21976" y="3858"/>
                  </a:lnTo>
                  <a:lnTo>
                    <a:pt x="21964" y="3862"/>
                  </a:lnTo>
                  <a:lnTo>
                    <a:pt x="21964" y="3919"/>
                  </a:lnTo>
                  <a:lnTo>
                    <a:pt x="21976" y="3931"/>
                  </a:lnTo>
                  <a:lnTo>
                    <a:pt x="21980" y="3931"/>
                  </a:lnTo>
                  <a:lnTo>
                    <a:pt x="21959" y="3947"/>
                  </a:lnTo>
                  <a:lnTo>
                    <a:pt x="21976" y="3973"/>
                  </a:lnTo>
                  <a:lnTo>
                    <a:pt x="21959" y="4006"/>
                  </a:lnTo>
                  <a:lnTo>
                    <a:pt x="21959" y="4030"/>
                  </a:lnTo>
                  <a:lnTo>
                    <a:pt x="21954" y="4047"/>
                  </a:lnTo>
                  <a:lnTo>
                    <a:pt x="21942" y="4080"/>
                  </a:lnTo>
                  <a:lnTo>
                    <a:pt x="21883" y="4141"/>
                  </a:lnTo>
                  <a:lnTo>
                    <a:pt x="21867" y="4174"/>
                  </a:lnTo>
                  <a:lnTo>
                    <a:pt x="21834" y="4207"/>
                  </a:lnTo>
                  <a:lnTo>
                    <a:pt x="21820" y="4252"/>
                  </a:lnTo>
                  <a:lnTo>
                    <a:pt x="21796" y="4285"/>
                  </a:lnTo>
                  <a:lnTo>
                    <a:pt x="21683" y="4413"/>
                  </a:lnTo>
                  <a:lnTo>
                    <a:pt x="21668" y="4434"/>
                  </a:lnTo>
                  <a:lnTo>
                    <a:pt x="21640" y="4451"/>
                  </a:lnTo>
                  <a:lnTo>
                    <a:pt x="21631" y="4474"/>
                  </a:lnTo>
                  <a:lnTo>
                    <a:pt x="21614" y="4484"/>
                  </a:lnTo>
                  <a:lnTo>
                    <a:pt x="21619" y="4491"/>
                  </a:lnTo>
                  <a:lnTo>
                    <a:pt x="21619" y="4500"/>
                  </a:lnTo>
                  <a:lnTo>
                    <a:pt x="21586" y="4524"/>
                  </a:lnTo>
                  <a:lnTo>
                    <a:pt x="21527" y="4562"/>
                  </a:lnTo>
                  <a:lnTo>
                    <a:pt x="21505" y="4578"/>
                  </a:lnTo>
                  <a:lnTo>
                    <a:pt x="21456" y="4595"/>
                  </a:lnTo>
                  <a:lnTo>
                    <a:pt x="21442" y="4595"/>
                  </a:lnTo>
                  <a:lnTo>
                    <a:pt x="21442" y="4583"/>
                  </a:lnTo>
                  <a:lnTo>
                    <a:pt x="21435" y="4595"/>
                  </a:lnTo>
                  <a:lnTo>
                    <a:pt x="21425" y="4578"/>
                  </a:lnTo>
                  <a:lnTo>
                    <a:pt x="21413" y="4583"/>
                  </a:lnTo>
                  <a:lnTo>
                    <a:pt x="21404" y="4578"/>
                  </a:lnTo>
                  <a:lnTo>
                    <a:pt x="21397" y="4583"/>
                  </a:lnTo>
                  <a:lnTo>
                    <a:pt x="21397" y="4545"/>
                  </a:lnTo>
                  <a:lnTo>
                    <a:pt x="21371" y="4562"/>
                  </a:lnTo>
                  <a:lnTo>
                    <a:pt x="21366" y="4562"/>
                  </a:lnTo>
                  <a:lnTo>
                    <a:pt x="21380" y="4540"/>
                  </a:lnTo>
                  <a:lnTo>
                    <a:pt x="21359" y="4540"/>
                  </a:lnTo>
                  <a:lnTo>
                    <a:pt x="21333" y="4578"/>
                  </a:lnTo>
                  <a:lnTo>
                    <a:pt x="21317" y="4583"/>
                  </a:lnTo>
                  <a:lnTo>
                    <a:pt x="21317" y="4611"/>
                  </a:lnTo>
                  <a:lnTo>
                    <a:pt x="21312" y="4602"/>
                  </a:lnTo>
                  <a:lnTo>
                    <a:pt x="21279" y="4595"/>
                  </a:lnTo>
                  <a:lnTo>
                    <a:pt x="21295" y="4611"/>
                  </a:lnTo>
                  <a:lnTo>
                    <a:pt x="21279" y="4635"/>
                  </a:lnTo>
                  <a:lnTo>
                    <a:pt x="21274" y="4618"/>
                  </a:lnTo>
                  <a:lnTo>
                    <a:pt x="21274" y="4602"/>
                  </a:lnTo>
                  <a:lnTo>
                    <a:pt x="21262" y="4595"/>
                  </a:lnTo>
                  <a:lnTo>
                    <a:pt x="21312" y="4578"/>
                  </a:lnTo>
                  <a:lnTo>
                    <a:pt x="21312" y="4562"/>
                  </a:lnTo>
                  <a:lnTo>
                    <a:pt x="21328" y="4540"/>
                  </a:lnTo>
                  <a:lnTo>
                    <a:pt x="21317" y="4524"/>
                  </a:lnTo>
                  <a:lnTo>
                    <a:pt x="21328" y="4474"/>
                  </a:lnTo>
                  <a:lnTo>
                    <a:pt x="21312" y="4417"/>
                  </a:lnTo>
                  <a:lnTo>
                    <a:pt x="21295" y="4401"/>
                  </a:lnTo>
                  <a:lnTo>
                    <a:pt x="21333" y="4396"/>
                  </a:lnTo>
                  <a:lnTo>
                    <a:pt x="21366" y="4363"/>
                  </a:lnTo>
                  <a:lnTo>
                    <a:pt x="21371" y="4373"/>
                  </a:lnTo>
                  <a:lnTo>
                    <a:pt x="21435" y="4389"/>
                  </a:lnTo>
                  <a:lnTo>
                    <a:pt x="21451" y="4380"/>
                  </a:lnTo>
                  <a:lnTo>
                    <a:pt x="21451" y="4356"/>
                  </a:lnTo>
                  <a:lnTo>
                    <a:pt x="21472" y="4340"/>
                  </a:lnTo>
                  <a:lnTo>
                    <a:pt x="21472" y="4318"/>
                  </a:lnTo>
                  <a:lnTo>
                    <a:pt x="21505" y="4278"/>
                  </a:lnTo>
                  <a:lnTo>
                    <a:pt x="21510" y="4269"/>
                  </a:lnTo>
                  <a:lnTo>
                    <a:pt x="21505" y="4262"/>
                  </a:lnTo>
                  <a:lnTo>
                    <a:pt x="21510" y="4245"/>
                  </a:lnTo>
                  <a:lnTo>
                    <a:pt x="21522" y="4207"/>
                  </a:lnTo>
                  <a:lnTo>
                    <a:pt x="21527" y="4207"/>
                  </a:lnTo>
                  <a:lnTo>
                    <a:pt x="21527" y="4179"/>
                  </a:lnTo>
                  <a:lnTo>
                    <a:pt x="21548" y="4167"/>
                  </a:lnTo>
                  <a:lnTo>
                    <a:pt x="21565" y="4151"/>
                  </a:lnTo>
                  <a:lnTo>
                    <a:pt x="21548" y="4117"/>
                  </a:lnTo>
                  <a:lnTo>
                    <a:pt x="21565" y="4096"/>
                  </a:lnTo>
                  <a:lnTo>
                    <a:pt x="21543" y="4084"/>
                  </a:lnTo>
                  <a:lnTo>
                    <a:pt x="21494" y="4096"/>
                  </a:lnTo>
                  <a:lnTo>
                    <a:pt x="21479" y="4117"/>
                  </a:lnTo>
                  <a:lnTo>
                    <a:pt x="21451" y="4113"/>
                  </a:lnTo>
                  <a:lnTo>
                    <a:pt x="21418" y="4134"/>
                  </a:lnTo>
                  <a:lnTo>
                    <a:pt x="21413" y="4151"/>
                  </a:lnTo>
                  <a:lnTo>
                    <a:pt x="21305" y="4151"/>
                  </a:lnTo>
                  <a:lnTo>
                    <a:pt x="21295" y="4125"/>
                  </a:lnTo>
                  <a:lnTo>
                    <a:pt x="21279" y="4113"/>
                  </a:lnTo>
                  <a:lnTo>
                    <a:pt x="21291" y="4096"/>
                  </a:lnTo>
                  <a:lnTo>
                    <a:pt x="21274" y="4063"/>
                  </a:lnTo>
                  <a:lnTo>
                    <a:pt x="21279" y="4040"/>
                  </a:lnTo>
                  <a:lnTo>
                    <a:pt x="21253" y="4040"/>
                  </a:lnTo>
                  <a:lnTo>
                    <a:pt x="21224" y="4023"/>
                  </a:lnTo>
                  <a:lnTo>
                    <a:pt x="21208" y="4006"/>
                  </a:lnTo>
                  <a:lnTo>
                    <a:pt x="21203" y="4002"/>
                  </a:lnTo>
                  <a:lnTo>
                    <a:pt x="21198" y="3990"/>
                  </a:lnTo>
                  <a:lnTo>
                    <a:pt x="21170" y="4002"/>
                  </a:lnTo>
                  <a:lnTo>
                    <a:pt x="21149" y="3973"/>
                  </a:lnTo>
                  <a:lnTo>
                    <a:pt x="21078" y="3973"/>
                  </a:lnTo>
                  <a:lnTo>
                    <a:pt x="21057" y="3952"/>
                  </a:lnTo>
                  <a:lnTo>
                    <a:pt x="21057" y="3931"/>
                  </a:lnTo>
                  <a:lnTo>
                    <a:pt x="21064" y="3914"/>
                  </a:lnTo>
                  <a:lnTo>
                    <a:pt x="21047" y="3903"/>
                  </a:lnTo>
                  <a:lnTo>
                    <a:pt x="21040" y="3891"/>
                  </a:lnTo>
                  <a:lnTo>
                    <a:pt x="21047" y="3879"/>
                  </a:lnTo>
                  <a:lnTo>
                    <a:pt x="21040" y="3862"/>
                  </a:lnTo>
                  <a:lnTo>
                    <a:pt x="21019" y="3836"/>
                  </a:lnTo>
                  <a:lnTo>
                    <a:pt x="21019" y="3808"/>
                  </a:lnTo>
                  <a:lnTo>
                    <a:pt x="21009" y="3820"/>
                  </a:lnTo>
                  <a:lnTo>
                    <a:pt x="21019" y="3803"/>
                  </a:lnTo>
                  <a:lnTo>
                    <a:pt x="21009" y="3803"/>
                  </a:lnTo>
                  <a:lnTo>
                    <a:pt x="21002" y="3768"/>
                  </a:lnTo>
                  <a:lnTo>
                    <a:pt x="20981" y="3747"/>
                  </a:lnTo>
                  <a:lnTo>
                    <a:pt x="20993" y="3730"/>
                  </a:lnTo>
                  <a:lnTo>
                    <a:pt x="20972" y="3730"/>
                  </a:lnTo>
                  <a:lnTo>
                    <a:pt x="20981" y="3709"/>
                  </a:lnTo>
                  <a:lnTo>
                    <a:pt x="20965" y="3692"/>
                  </a:lnTo>
                  <a:lnTo>
                    <a:pt x="20950" y="3692"/>
                  </a:lnTo>
                  <a:lnTo>
                    <a:pt x="20955" y="3676"/>
                  </a:lnTo>
                  <a:lnTo>
                    <a:pt x="20927" y="3659"/>
                  </a:lnTo>
                  <a:lnTo>
                    <a:pt x="20934" y="3652"/>
                  </a:lnTo>
                  <a:lnTo>
                    <a:pt x="20927" y="3643"/>
                  </a:lnTo>
                  <a:lnTo>
                    <a:pt x="20896" y="3624"/>
                  </a:lnTo>
                  <a:lnTo>
                    <a:pt x="20875" y="3636"/>
                  </a:lnTo>
                  <a:lnTo>
                    <a:pt x="20846" y="3624"/>
                  </a:lnTo>
                  <a:lnTo>
                    <a:pt x="20830" y="3614"/>
                  </a:lnTo>
                  <a:lnTo>
                    <a:pt x="20820" y="3614"/>
                  </a:lnTo>
                  <a:lnTo>
                    <a:pt x="20787" y="3598"/>
                  </a:lnTo>
                  <a:lnTo>
                    <a:pt x="20587" y="3619"/>
                  </a:lnTo>
                  <a:lnTo>
                    <a:pt x="20535" y="3669"/>
                  </a:lnTo>
                  <a:lnTo>
                    <a:pt x="20539" y="3692"/>
                  </a:lnTo>
                  <a:lnTo>
                    <a:pt x="20561" y="3680"/>
                  </a:lnTo>
                  <a:lnTo>
                    <a:pt x="20577" y="3692"/>
                  </a:lnTo>
                  <a:lnTo>
                    <a:pt x="20577" y="3714"/>
                  </a:lnTo>
                  <a:lnTo>
                    <a:pt x="20587" y="3730"/>
                  </a:lnTo>
                  <a:lnTo>
                    <a:pt x="20577" y="3751"/>
                  </a:lnTo>
                  <a:lnTo>
                    <a:pt x="20539" y="3780"/>
                  </a:lnTo>
                  <a:lnTo>
                    <a:pt x="20518" y="3836"/>
                  </a:lnTo>
                  <a:lnTo>
                    <a:pt x="20502" y="3846"/>
                  </a:lnTo>
                  <a:lnTo>
                    <a:pt x="20497" y="3862"/>
                  </a:lnTo>
                  <a:lnTo>
                    <a:pt x="20468" y="3895"/>
                  </a:lnTo>
                  <a:lnTo>
                    <a:pt x="20485" y="3903"/>
                  </a:lnTo>
                  <a:lnTo>
                    <a:pt x="20485" y="3931"/>
                  </a:lnTo>
                  <a:lnTo>
                    <a:pt x="20468" y="3936"/>
                  </a:lnTo>
                  <a:lnTo>
                    <a:pt x="20431" y="3947"/>
                  </a:lnTo>
                  <a:lnTo>
                    <a:pt x="20388" y="3985"/>
                  </a:lnTo>
                  <a:lnTo>
                    <a:pt x="20301" y="3952"/>
                  </a:lnTo>
                  <a:lnTo>
                    <a:pt x="20291" y="3947"/>
                  </a:lnTo>
                  <a:lnTo>
                    <a:pt x="20270" y="3936"/>
                  </a:lnTo>
                  <a:lnTo>
                    <a:pt x="20232" y="3947"/>
                  </a:lnTo>
                  <a:lnTo>
                    <a:pt x="20209" y="3947"/>
                  </a:lnTo>
                  <a:lnTo>
                    <a:pt x="20171" y="3914"/>
                  </a:lnTo>
                  <a:lnTo>
                    <a:pt x="20128" y="3903"/>
                  </a:lnTo>
                  <a:lnTo>
                    <a:pt x="20053" y="3952"/>
                  </a:lnTo>
                  <a:lnTo>
                    <a:pt x="20048" y="3973"/>
                  </a:lnTo>
                  <a:lnTo>
                    <a:pt x="19923" y="4002"/>
                  </a:lnTo>
                  <a:lnTo>
                    <a:pt x="19885" y="4014"/>
                  </a:lnTo>
                  <a:lnTo>
                    <a:pt x="19800" y="4006"/>
                  </a:lnTo>
                  <a:lnTo>
                    <a:pt x="19779" y="3990"/>
                  </a:lnTo>
                  <a:lnTo>
                    <a:pt x="19729" y="4002"/>
                  </a:lnTo>
                  <a:lnTo>
                    <a:pt x="19687" y="3969"/>
                  </a:lnTo>
                  <a:lnTo>
                    <a:pt x="19691" y="3947"/>
                  </a:lnTo>
                  <a:lnTo>
                    <a:pt x="19628" y="3936"/>
                  </a:lnTo>
                  <a:lnTo>
                    <a:pt x="19620" y="3919"/>
                  </a:lnTo>
                  <a:lnTo>
                    <a:pt x="19599" y="3903"/>
                  </a:lnTo>
                  <a:lnTo>
                    <a:pt x="19566" y="3903"/>
                  </a:lnTo>
                  <a:lnTo>
                    <a:pt x="19552" y="3895"/>
                  </a:lnTo>
                  <a:lnTo>
                    <a:pt x="19507" y="3891"/>
                  </a:lnTo>
                  <a:lnTo>
                    <a:pt x="19439" y="3903"/>
                  </a:lnTo>
                  <a:lnTo>
                    <a:pt x="19410" y="3919"/>
                  </a:lnTo>
                  <a:lnTo>
                    <a:pt x="19401" y="3919"/>
                  </a:lnTo>
                  <a:lnTo>
                    <a:pt x="19389" y="3919"/>
                  </a:lnTo>
                  <a:lnTo>
                    <a:pt x="19356" y="3919"/>
                  </a:lnTo>
                  <a:lnTo>
                    <a:pt x="19351" y="3903"/>
                  </a:lnTo>
                  <a:lnTo>
                    <a:pt x="19335" y="3903"/>
                  </a:lnTo>
                  <a:lnTo>
                    <a:pt x="19292" y="3879"/>
                  </a:lnTo>
                  <a:lnTo>
                    <a:pt x="19297" y="3862"/>
                  </a:lnTo>
                  <a:lnTo>
                    <a:pt x="19280" y="3858"/>
                  </a:lnTo>
                  <a:lnTo>
                    <a:pt x="19292" y="3841"/>
                  </a:lnTo>
                  <a:lnTo>
                    <a:pt x="19280" y="3825"/>
                  </a:lnTo>
                  <a:lnTo>
                    <a:pt x="19280" y="3808"/>
                  </a:lnTo>
                  <a:lnTo>
                    <a:pt x="19243" y="3791"/>
                  </a:lnTo>
                  <a:lnTo>
                    <a:pt x="19226" y="3803"/>
                  </a:lnTo>
                  <a:lnTo>
                    <a:pt x="19167" y="3768"/>
                  </a:lnTo>
                  <a:lnTo>
                    <a:pt x="19129" y="3768"/>
                  </a:lnTo>
                  <a:lnTo>
                    <a:pt x="19049" y="3730"/>
                  </a:lnTo>
                  <a:lnTo>
                    <a:pt x="19032" y="3763"/>
                  </a:lnTo>
                  <a:lnTo>
                    <a:pt x="19011" y="3768"/>
                  </a:lnTo>
                  <a:lnTo>
                    <a:pt x="19006" y="3791"/>
                  </a:lnTo>
                  <a:lnTo>
                    <a:pt x="18990" y="3791"/>
                  </a:lnTo>
                  <a:lnTo>
                    <a:pt x="18973" y="3841"/>
                  </a:lnTo>
                  <a:lnTo>
                    <a:pt x="18990" y="3858"/>
                  </a:lnTo>
                  <a:lnTo>
                    <a:pt x="18990" y="3862"/>
                  </a:lnTo>
                  <a:lnTo>
                    <a:pt x="18990" y="3874"/>
                  </a:lnTo>
                  <a:lnTo>
                    <a:pt x="19011" y="3891"/>
                  </a:lnTo>
                  <a:lnTo>
                    <a:pt x="19011" y="3903"/>
                  </a:lnTo>
                  <a:lnTo>
                    <a:pt x="18994" y="3931"/>
                  </a:lnTo>
                  <a:lnTo>
                    <a:pt x="18969" y="3936"/>
                  </a:lnTo>
                  <a:lnTo>
                    <a:pt x="18940" y="3957"/>
                  </a:lnTo>
                  <a:lnTo>
                    <a:pt x="18919" y="3947"/>
                  </a:lnTo>
                  <a:lnTo>
                    <a:pt x="18886" y="3952"/>
                  </a:lnTo>
                  <a:lnTo>
                    <a:pt x="18848" y="3936"/>
                  </a:lnTo>
                  <a:lnTo>
                    <a:pt x="18843" y="3947"/>
                  </a:lnTo>
                  <a:lnTo>
                    <a:pt x="18834" y="3936"/>
                  </a:lnTo>
                  <a:lnTo>
                    <a:pt x="18810" y="3947"/>
                  </a:lnTo>
                  <a:lnTo>
                    <a:pt x="18780" y="3936"/>
                  </a:lnTo>
                  <a:lnTo>
                    <a:pt x="18772" y="3931"/>
                  </a:lnTo>
                  <a:lnTo>
                    <a:pt x="18751" y="3936"/>
                  </a:lnTo>
                  <a:lnTo>
                    <a:pt x="18735" y="3914"/>
                  </a:lnTo>
                  <a:lnTo>
                    <a:pt x="18725" y="3879"/>
                  </a:lnTo>
                  <a:lnTo>
                    <a:pt x="18645" y="3879"/>
                  </a:lnTo>
                  <a:lnTo>
                    <a:pt x="18633" y="3874"/>
                  </a:lnTo>
                  <a:lnTo>
                    <a:pt x="18633" y="3858"/>
                  </a:lnTo>
                  <a:lnTo>
                    <a:pt x="18628" y="3858"/>
                  </a:lnTo>
                  <a:lnTo>
                    <a:pt x="18612" y="3874"/>
                  </a:lnTo>
                  <a:lnTo>
                    <a:pt x="18591" y="3858"/>
                  </a:lnTo>
                  <a:lnTo>
                    <a:pt x="18579" y="3862"/>
                  </a:lnTo>
                  <a:lnTo>
                    <a:pt x="18546" y="3874"/>
                  </a:lnTo>
                  <a:lnTo>
                    <a:pt x="18524" y="3891"/>
                  </a:lnTo>
                  <a:lnTo>
                    <a:pt x="18494" y="3895"/>
                  </a:lnTo>
                  <a:lnTo>
                    <a:pt x="18482" y="3914"/>
                  </a:lnTo>
                  <a:lnTo>
                    <a:pt x="18432" y="3931"/>
                  </a:lnTo>
                  <a:lnTo>
                    <a:pt x="18428" y="3936"/>
                  </a:lnTo>
                  <a:lnTo>
                    <a:pt x="18402" y="3947"/>
                  </a:lnTo>
                  <a:lnTo>
                    <a:pt x="18411" y="3957"/>
                  </a:lnTo>
                  <a:lnTo>
                    <a:pt x="18380" y="3973"/>
                  </a:lnTo>
                  <a:lnTo>
                    <a:pt x="18373" y="3969"/>
                  </a:lnTo>
                  <a:lnTo>
                    <a:pt x="18373" y="3985"/>
                  </a:lnTo>
                  <a:lnTo>
                    <a:pt x="18357" y="3985"/>
                  </a:lnTo>
                  <a:lnTo>
                    <a:pt x="18347" y="3973"/>
                  </a:lnTo>
                  <a:lnTo>
                    <a:pt x="18347" y="3990"/>
                  </a:lnTo>
                  <a:lnTo>
                    <a:pt x="18305" y="3985"/>
                  </a:lnTo>
                  <a:lnTo>
                    <a:pt x="18293" y="3990"/>
                  </a:lnTo>
                  <a:lnTo>
                    <a:pt x="18293" y="4006"/>
                  </a:lnTo>
                  <a:lnTo>
                    <a:pt x="18276" y="4014"/>
                  </a:lnTo>
                  <a:lnTo>
                    <a:pt x="18239" y="4023"/>
                  </a:lnTo>
                  <a:lnTo>
                    <a:pt x="18239" y="4006"/>
                  </a:lnTo>
                  <a:lnTo>
                    <a:pt x="18213" y="4002"/>
                  </a:lnTo>
                  <a:lnTo>
                    <a:pt x="18213" y="3985"/>
                  </a:lnTo>
                  <a:lnTo>
                    <a:pt x="18184" y="3973"/>
                  </a:lnTo>
                  <a:lnTo>
                    <a:pt x="18201" y="3957"/>
                  </a:lnTo>
                  <a:lnTo>
                    <a:pt x="18201" y="3952"/>
                  </a:lnTo>
                  <a:lnTo>
                    <a:pt x="18184" y="3952"/>
                  </a:lnTo>
                  <a:lnTo>
                    <a:pt x="18163" y="3985"/>
                  </a:lnTo>
                  <a:lnTo>
                    <a:pt x="18125" y="3973"/>
                  </a:lnTo>
                  <a:lnTo>
                    <a:pt x="18092" y="3973"/>
                  </a:lnTo>
                  <a:lnTo>
                    <a:pt x="18087" y="3947"/>
                  </a:lnTo>
                  <a:lnTo>
                    <a:pt x="18078" y="3947"/>
                  </a:lnTo>
                  <a:lnTo>
                    <a:pt x="18078" y="3936"/>
                  </a:lnTo>
                  <a:lnTo>
                    <a:pt x="18078" y="3931"/>
                  </a:lnTo>
                  <a:lnTo>
                    <a:pt x="18033" y="3914"/>
                  </a:lnTo>
                  <a:lnTo>
                    <a:pt x="18002" y="3858"/>
                  </a:lnTo>
                  <a:lnTo>
                    <a:pt x="17969" y="3841"/>
                  </a:lnTo>
                  <a:lnTo>
                    <a:pt x="17915" y="3846"/>
                  </a:lnTo>
                  <a:lnTo>
                    <a:pt x="17915" y="3858"/>
                  </a:lnTo>
                  <a:lnTo>
                    <a:pt x="17898" y="3862"/>
                  </a:lnTo>
                  <a:lnTo>
                    <a:pt x="17835" y="3862"/>
                  </a:lnTo>
                  <a:lnTo>
                    <a:pt x="17823" y="3841"/>
                  </a:lnTo>
                  <a:lnTo>
                    <a:pt x="17802" y="3846"/>
                  </a:lnTo>
                  <a:lnTo>
                    <a:pt x="17806" y="3825"/>
                  </a:lnTo>
                  <a:lnTo>
                    <a:pt x="17780" y="3808"/>
                  </a:lnTo>
                  <a:lnTo>
                    <a:pt x="17769" y="3820"/>
                  </a:lnTo>
                  <a:lnTo>
                    <a:pt x="17752" y="3825"/>
                  </a:lnTo>
                  <a:lnTo>
                    <a:pt x="17764" y="3841"/>
                  </a:lnTo>
                  <a:lnTo>
                    <a:pt x="17731" y="3858"/>
                  </a:lnTo>
                  <a:lnTo>
                    <a:pt x="17731" y="3862"/>
                  </a:lnTo>
                  <a:lnTo>
                    <a:pt x="17575" y="3619"/>
                  </a:lnTo>
                  <a:lnTo>
                    <a:pt x="17483" y="3548"/>
                  </a:lnTo>
                  <a:lnTo>
                    <a:pt x="17478" y="3532"/>
                  </a:lnTo>
                  <a:lnTo>
                    <a:pt x="17495" y="3532"/>
                  </a:lnTo>
                  <a:lnTo>
                    <a:pt x="17511" y="3525"/>
                  </a:lnTo>
                  <a:lnTo>
                    <a:pt x="17499" y="3508"/>
                  </a:lnTo>
                  <a:lnTo>
                    <a:pt x="17478" y="3515"/>
                  </a:lnTo>
                  <a:lnTo>
                    <a:pt x="17461" y="3515"/>
                  </a:lnTo>
                  <a:lnTo>
                    <a:pt x="17461" y="3525"/>
                  </a:lnTo>
                  <a:lnTo>
                    <a:pt x="17407" y="3541"/>
                  </a:lnTo>
                  <a:lnTo>
                    <a:pt x="17402" y="3541"/>
                  </a:lnTo>
                  <a:lnTo>
                    <a:pt x="17407" y="3548"/>
                  </a:lnTo>
                  <a:lnTo>
                    <a:pt x="17374" y="3569"/>
                  </a:lnTo>
                  <a:lnTo>
                    <a:pt x="17360" y="3565"/>
                  </a:lnTo>
                  <a:lnTo>
                    <a:pt x="17353" y="3581"/>
                  </a:lnTo>
                  <a:lnTo>
                    <a:pt x="17336" y="3581"/>
                  </a:lnTo>
                  <a:lnTo>
                    <a:pt x="17336" y="3603"/>
                  </a:lnTo>
                  <a:lnTo>
                    <a:pt x="17322" y="3586"/>
                  </a:lnTo>
                  <a:lnTo>
                    <a:pt x="17298" y="3586"/>
                  </a:lnTo>
                  <a:lnTo>
                    <a:pt x="17284" y="3586"/>
                  </a:lnTo>
                  <a:lnTo>
                    <a:pt x="17268" y="3603"/>
                  </a:lnTo>
                  <a:lnTo>
                    <a:pt x="17251" y="3586"/>
                  </a:lnTo>
                  <a:lnTo>
                    <a:pt x="17268" y="3565"/>
                  </a:lnTo>
                  <a:lnTo>
                    <a:pt x="17284" y="3565"/>
                  </a:lnTo>
                  <a:lnTo>
                    <a:pt x="17294" y="3541"/>
                  </a:lnTo>
                  <a:lnTo>
                    <a:pt x="17251" y="3558"/>
                  </a:lnTo>
                  <a:lnTo>
                    <a:pt x="17239" y="3548"/>
                  </a:lnTo>
                  <a:lnTo>
                    <a:pt x="17230" y="3541"/>
                  </a:lnTo>
                  <a:lnTo>
                    <a:pt x="17209" y="3532"/>
                  </a:lnTo>
                  <a:lnTo>
                    <a:pt x="17197" y="3548"/>
                  </a:lnTo>
                  <a:lnTo>
                    <a:pt x="17213" y="3541"/>
                  </a:lnTo>
                  <a:lnTo>
                    <a:pt x="17213" y="3558"/>
                  </a:lnTo>
                  <a:lnTo>
                    <a:pt x="17197" y="3558"/>
                  </a:lnTo>
                  <a:lnTo>
                    <a:pt x="17192" y="3558"/>
                  </a:lnTo>
                  <a:lnTo>
                    <a:pt x="17197" y="3532"/>
                  </a:lnTo>
                  <a:lnTo>
                    <a:pt x="17185" y="3532"/>
                  </a:lnTo>
                  <a:lnTo>
                    <a:pt x="17192" y="3525"/>
                  </a:lnTo>
                  <a:lnTo>
                    <a:pt x="17176" y="3515"/>
                  </a:lnTo>
                  <a:lnTo>
                    <a:pt x="17171" y="3508"/>
                  </a:lnTo>
                  <a:lnTo>
                    <a:pt x="17176" y="3541"/>
                  </a:lnTo>
                  <a:lnTo>
                    <a:pt x="17143" y="3525"/>
                  </a:lnTo>
                  <a:lnTo>
                    <a:pt x="17138" y="3541"/>
                  </a:lnTo>
                  <a:lnTo>
                    <a:pt x="17121" y="3532"/>
                  </a:lnTo>
                  <a:lnTo>
                    <a:pt x="17105" y="3541"/>
                  </a:lnTo>
                  <a:lnTo>
                    <a:pt x="17088" y="3515"/>
                  </a:lnTo>
                  <a:lnTo>
                    <a:pt x="17105" y="3515"/>
                  </a:lnTo>
                  <a:lnTo>
                    <a:pt x="17105" y="3491"/>
                  </a:lnTo>
                  <a:lnTo>
                    <a:pt x="17117" y="3487"/>
                  </a:lnTo>
                  <a:lnTo>
                    <a:pt x="17100" y="3470"/>
                  </a:lnTo>
                  <a:lnTo>
                    <a:pt x="17088" y="3447"/>
                  </a:lnTo>
                  <a:lnTo>
                    <a:pt x="17083" y="3421"/>
                  </a:lnTo>
                  <a:lnTo>
                    <a:pt x="17062" y="3421"/>
                  </a:lnTo>
                  <a:lnTo>
                    <a:pt x="17046" y="3437"/>
                  </a:lnTo>
                  <a:lnTo>
                    <a:pt x="16996" y="3414"/>
                  </a:lnTo>
                  <a:lnTo>
                    <a:pt x="16975" y="3414"/>
                  </a:lnTo>
                  <a:lnTo>
                    <a:pt x="16970" y="3421"/>
                  </a:lnTo>
                  <a:lnTo>
                    <a:pt x="16954" y="3404"/>
                  </a:lnTo>
                  <a:lnTo>
                    <a:pt x="16954" y="3421"/>
                  </a:lnTo>
                  <a:lnTo>
                    <a:pt x="16937" y="3414"/>
                  </a:lnTo>
                  <a:lnTo>
                    <a:pt x="16928" y="3430"/>
                  </a:lnTo>
                  <a:lnTo>
                    <a:pt x="16899" y="3430"/>
                  </a:lnTo>
                  <a:lnTo>
                    <a:pt x="16906" y="3447"/>
                  </a:lnTo>
                  <a:lnTo>
                    <a:pt x="16899" y="3454"/>
                  </a:lnTo>
                  <a:lnTo>
                    <a:pt x="16883" y="3454"/>
                  </a:lnTo>
                  <a:lnTo>
                    <a:pt x="16852" y="3470"/>
                  </a:lnTo>
                  <a:lnTo>
                    <a:pt x="16743" y="3491"/>
                  </a:lnTo>
                  <a:lnTo>
                    <a:pt x="16743" y="3475"/>
                  </a:lnTo>
                  <a:lnTo>
                    <a:pt x="16727" y="3491"/>
                  </a:lnTo>
                  <a:lnTo>
                    <a:pt x="16706" y="3487"/>
                  </a:lnTo>
                  <a:lnTo>
                    <a:pt x="16689" y="3503"/>
                  </a:lnTo>
                  <a:lnTo>
                    <a:pt x="16689" y="3515"/>
                  </a:lnTo>
                  <a:lnTo>
                    <a:pt x="16668" y="3508"/>
                  </a:lnTo>
                  <a:lnTo>
                    <a:pt x="16604" y="3515"/>
                  </a:lnTo>
                  <a:lnTo>
                    <a:pt x="16604" y="3525"/>
                  </a:lnTo>
                  <a:lnTo>
                    <a:pt x="16597" y="3532"/>
                  </a:lnTo>
                  <a:lnTo>
                    <a:pt x="16580" y="3525"/>
                  </a:lnTo>
                  <a:lnTo>
                    <a:pt x="16543" y="3532"/>
                  </a:lnTo>
                  <a:lnTo>
                    <a:pt x="16543" y="3541"/>
                  </a:lnTo>
                  <a:lnTo>
                    <a:pt x="16505" y="3548"/>
                  </a:lnTo>
                  <a:lnTo>
                    <a:pt x="16505" y="3565"/>
                  </a:lnTo>
                  <a:lnTo>
                    <a:pt x="16491" y="3548"/>
                  </a:lnTo>
                  <a:lnTo>
                    <a:pt x="16467" y="3548"/>
                  </a:lnTo>
                  <a:lnTo>
                    <a:pt x="16467" y="3558"/>
                  </a:lnTo>
                  <a:lnTo>
                    <a:pt x="16420" y="3541"/>
                  </a:lnTo>
                  <a:lnTo>
                    <a:pt x="16398" y="3558"/>
                  </a:lnTo>
                  <a:lnTo>
                    <a:pt x="16398" y="3565"/>
                  </a:lnTo>
                  <a:lnTo>
                    <a:pt x="16415" y="3569"/>
                  </a:lnTo>
                  <a:lnTo>
                    <a:pt x="16398" y="3586"/>
                  </a:lnTo>
                  <a:lnTo>
                    <a:pt x="16387" y="3586"/>
                  </a:lnTo>
                  <a:lnTo>
                    <a:pt x="16424" y="3586"/>
                  </a:lnTo>
                  <a:lnTo>
                    <a:pt x="16436" y="3598"/>
                  </a:lnTo>
                  <a:lnTo>
                    <a:pt x="16420" y="3603"/>
                  </a:lnTo>
                  <a:lnTo>
                    <a:pt x="16415" y="3598"/>
                  </a:lnTo>
                  <a:lnTo>
                    <a:pt x="16403" y="3619"/>
                  </a:lnTo>
                  <a:lnTo>
                    <a:pt x="16474" y="3636"/>
                  </a:lnTo>
                  <a:lnTo>
                    <a:pt x="16474" y="3652"/>
                  </a:lnTo>
                  <a:lnTo>
                    <a:pt x="16458" y="3652"/>
                  </a:lnTo>
                  <a:lnTo>
                    <a:pt x="16424" y="3643"/>
                  </a:lnTo>
                  <a:lnTo>
                    <a:pt x="16398" y="3652"/>
                  </a:lnTo>
                  <a:lnTo>
                    <a:pt x="16370" y="3680"/>
                  </a:lnTo>
                  <a:lnTo>
                    <a:pt x="16382" y="3680"/>
                  </a:lnTo>
                  <a:lnTo>
                    <a:pt x="16382" y="3692"/>
                  </a:lnTo>
                  <a:lnTo>
                    <a:pt x="16387" y="3697"/>
                  </a:lnTo>
                  <a:lnTo>
                    <a:pt x="16398" y="3714"/>
                  </a:lnTo>
                  <a:lnTo>
                    <a:pt x="16370" y="3730"/>
                  </a:lnTo>
                  <a:lnTo>
                    <a:pt x="16361" y="3730"/>
                  </a:lnTo>
                  <a:lnTo>
                    <a:pt x="16316" y="3747"/>
                  </a:lnTo>
                  <a:lnTo>
                    <a:pt x="16328" y="3751"/>
                  </a:lnTo>
                  <a:lnTo>
                    <a:pt x="16361" y="3763"/>
                  </a:lnTo>
                  <a:lnTo>
                    <a:pt x="16349" y="3780"/>
                  </a:lnTo>
                  <a:lnTo>
                    <a:pt x="16387" y="3787"/>
                  </a:lnTo>
                  <a:lnTo>
                    <a:pt x="16387" y="3791"/>
                  </a:lnTo>
                  <a:lnTo>
                    <a:pt x="16424" y="3803"/>
                  </a:lnTo>
                  <a:lnTo>
                    <a:pt x="16441" y="3820"/>
                  </a:lnTo>
                  <a:lnTo>
                    <a:pt x="16436" y="3820"/>
                  </a:lnTo>
                  <a:lnTo>
                    <a:pt x="16420" y="3862"/>
                  </a:lnTo>
                  <a:lnTo>
                    <a:pt x="16370" y="3874"/>
                  </a:lnTo>
                  <a:lnTo>
                    <a:pt x="16344" y="3874"/>
                  </a:lnTo>
                  <a:lnTo>
                    <a:pt x="16328" y="3858"/>
                  </a:lnTo>
                  <a:lnTo>
                    <a:pt x="16311" y="3879"/>
                  </a:lnTo>
                  <a:lnTo>
                    <a:pt x="16290" y="3891"/>
                  </a:lnTo>
                  <a:lnTo>
                    <a:pt x="16295" y="3879"/>
                  </a:lnTo>
                  <a:lnTo>
                    <a:pt x="16290" y="3874"/>
                  </a:lnTo>
                  <a:lnTo>
                    <a:pt x="16252" y="3874"/>
                  </a:lnTo>
                  <a:lnTo>
                    <a:pt x="16226" y="3858"/>
                  </a:lnTo>
                  <a:lnTo>
                    <a:pt x="16219" y="3846"/>
                  </a:lnTo>
                  <a:lnTo>
                    <a:pt x="16226" y="3836"/>
                  </a:lnTo>
                  <a:lnTo>
                    <a:pt x="16202" y="3825"/>
                  </a:lnTo>
                  <a:lnTo>
                    <a:pt x="16198" y="3836"/>
                  </a:lnTo>
                  <a:lnTo>
                    <a:pt x="16165" y="3836"/>
                  </a:lnTo>
                  <a:lnTo>
                    <a:pt x="16165" y="3846"/>
                  </a:lnTo>
                  <a:lnTo>
                    <a:pt x="16150" y="3858"/>
                  </a:lnTo>
                  <a:lnTo>
                    <a:pt x="16117" y="3836"/>
                  </a:lnTo>
                  <a:lnTo>
                    <a:pt x="16096" y="3836"/>
                  </a:lnTo>
                  <a:lnTo>
                    <a:pt x="16089" y="3836"/>
                  </a:lnTo>
                  <a:lnTo>
                    <a:pt x="16096" y="3841"/>
                  </a:lnTo>
                  <a:lnTo>
                    <a:pt x="16080" y="3836"/>
                  </a:lnTo>
                  <a:lnTo>
                    <a:pt x="16063" y="3846"/>
                  </a:lnTo>
                  <a:lnTo>
                    <a:pt x="16058" y="3846"/>
                  </a:lnTo>
                  <a:lnTo>
                    <a:pt x="16047" y="3862"/>
                  </a:lnTo>
                  <a:lnTo>
                    <a:pt x="16021" y="3891"/>
                  </a:lnTo>
                  <a:lnTo>
                    <a:pt x="15950" y="3836"/>
                  </a:lnTo>
                  <a:lnTo>
                    <a:pt x="15938" y="3841"/>
                  </a:lnTo>
                  <a:lnTo>
                    <a:pt x="15938" y="3846"/>
                  </a:lnTo>
                  <a:lnTo>
                    <a:pt x="15950" y="3846"/>
                  </a:lnTo>
                  <a:lnTo>
                    <a:pt x="15950" y="3879"/>
                  </a:lnTo>
                  <a:lnTo>
                    <a:pt x="15938" y="3891"/>
                  </a:lnTo>
                  <a:lnTo>
                    <a:pt x="15933" y="3874"/>
                  </a:lnTo>
                  <a:lnTo>
                    <a:pt x="15938" y="3858"/>
                  </a:lnTo>
                  <a:lnTo>
                    <a:pt x="15928" y="3846"/>
                  </a:lnTo>
                  <a:lnTo>
                    <a:pt x="15900" y="3825"/>
                  </a:lnTo>
                  <a:lnTo>
                    <a:pt x="15879" y="3820"/>
                  </a:lnTo>
                  <a:lnTo>
                    <a:pt x="15879" y="3803"/>
                  </a:lnTo>
                  <a:lnTo>
                    <a:pt x="15862" y="3791"/>
                  </a:lnTo>
                  <a:lnTo>
                    <a:pt x="15803" y="3791"/>
                  </a:lnTo>
                  <a:lnTo>
                    <a:pt x="15787" y="3768"/>
                  </a:lnTo>
                  <a:lnTo>
                    <a:pt x="15772" y="3780"/>
                  </a:lnTo>
                  <a:lnTo>
                    <a:pt x="15756" y="3780"/>
                  </a:lnTo>
                  <a:lnTo>
                    <a:pt x="15749" y="3787"/>
                  </a:lnTo>
                  <a:lnTo>
                    <a:pt x="15749" y="3791"/>
                  </a:lnTo>
                  <a:lnTo>
                    <a:pt x="15739" y="3791"/>
                  </a:lnTo>
                  <a:lnTo>
                    <a:pt x="15711" y="3791"/>
                  </a:lnTo>
                  <a:lnTo>
                    <a:pt x="15711" y="3787"/>
                  </a:lnTo>
                  <a:lnTo>
                    <a:pt x="15718" y="3787"/>
                  </a:lnTo>
                  <a:lnTo>
                    <a:pt x="15718" y="3780"/>
                  </a:lnTo>
                  <a:lnTo>
                    <a:pt x="15680" y="3768"/>
                  </a:lnTo>
                  <a:lnTo>
                    <a:pt x="15680" y="3787"/>
                  </a:lnTo>
                  <a:lnTo>
                    <a:pt x="15664" y="3780"/>
                  </a:lnTo>
                  <a:lnTo>
                    <a:pt x="15664" y="3791"/>
                  </a:lnTo>
                  <a:lnTo>
                    <a:pt x="15647" y="3803"/>
                  </a:lnTo>
                  <a:lnTo>
                    <a:pt x="15647" y="3808"/>
                  </a:lnTo>
                  <a:lnTo>
                    <a:pt x="15609" y="3836"/>
                  </a:lnTo>
                  <a:lnTo>
                    <a:pt x="15588" y="3825"/>
                  </a:lnTo>
                  <a:lnTo>
                    <a:pt x="15576" y="3841"/>
                  </a:lnTo>
                  <a:lnTo>
                    <a:pt x="15576" y="3858"/>
                  </a:lnTo>
                  <a:lnTo>
                    <a:pt x="15534" y="3879"/>
                  </a:lnTo>
                  <a:lnTo>
                    <a:pt x="15534" y="3914"/>
                  </a:lnTo>
                  <a:lnTo>
                    <a:pt x="15550" y="3931"/>
                  </a:lnTo>
                  <a:lnTo>
                    <a:pt x="15539" y="3947"/>
                  </a:lnTo>
                  <a:lnTo>
                    <a:pt x="15508" y="3952"/>
                  </a:lnTo>
                  <a:lnTo>
                    <a:pt x="15501" y="3947"/>
                  </a:lnTo>
                  <a:lnTo>
                    <a:pt x="15480" y="3914"/>
                  </a:lnTo>
                  <a:lnTo>
                    <a:pt x="15454" y="3891"/>
                  </a:lnTo>
                  <a:lnTo>
                    <a:pt x="15447" y="3895"/>
                  </a:lnTo>
                  <a:lnTo>
                    <a:pt x="15432" y="3903"/>
                  </a:lnTo>
                  <a:lnTo>
                    <a:pt x="15432" y="3931"/>
                  </a:lnTo>
                  <a:lnTo>
                    <a:pt x="15409" y="3952"/>
                  </a:lnTo>
                  <a:lnTo>
                    <a:pt x="15395" y="4002"/>
                  </a:lnTo>
                  <a:lnTo>
                    <a:pt x="15416" y="4014"/>
                  </a:lnTo>
                  <a:lnTo>
                    <a:pt x="15395" y="4030"/>
                  </a:lnTo>
                  <a:lnTo>
                    <a:pt x="15378" y="4080"/>
                  </a:lnTo>
                  <a:lnTo>
                    <a:pt x="15416" y="4096"/>
                  </a:lnTo>
                  <a:lnTo>
                    <a:pt x="15425" y="4134"/>
                  </a:lnTo>
                  <a:lnTo>
                    <a:pt x="15442" y="4151"/>
                  </a:lnTo>
                  <a:lnTo>
                    <a:pt x="15442" y="4134"/>
                  </a:lnTo>
                  <a:lnTo>
                    <a:pt x="15496" y="4151"/>
                  </a:lnTo>
                  <a:lnTo>
                    <a:pt x="15555" y="4228"/>
                  </a:lnTo>
                  <a:lnTo>
                    <a:pt x="15534" y="4236"/>
                  </a:lnTo>
                  <a:lnTo>
                    <a:pt x="15517" y="4236"/>
                  </a:lnTo>
                  <a:lnTo>
                    <a:pt x="15517" y="4252"/>
                  </a:lnTo>
                  <a:lnTo>
                    <a:pt x="15560" y="4269"/>
                  </a:lnTo>
                  <a:lnTo>
                    <a:pt x="15572" y="4278"/>
                  </a:lnTo>
                  <a:lnTo>
                    <a:pt x="15560" y="4278"/>
                  </a:lnTo>
                  <a:lnTo>
                    <a:pt x="15550" y="4290"/>
                  </a:lnTo>
                  <a:lnTo>
                    <a:pt x="15522" y="4290"/>
                  </a:lnTo>
                  <a:lnTo>
                    <a:pt x="15534" y="4302"/>
                  </a:lnTo>
                  <a:lnTo>
                    <a:pt x="15534" y="4318"/>
                  </a:lnTo>
                  <a:lnTo>
                    <a:pt x="15522" y="4306"/>
                  </a:lnTo>
                  <a:lnTo>
                    <a:pt x="15496" y="4323"/>
                  </a:lnTo>
                  <a:lnTo>
                    <a:pt x="15470" y="4335"/>
                  </a:lnTo>
                  <a:lnTo>
                    <a:pt x="15447" y="4323"/>
                  </a:lnTo>
                  <a:lnTo>
                    <a:pt x="15454" y="4340"/>
                  </a:lnTo>
                  <a:lnTo>
                    <a:pt x="15442" y="4323"/>
                  </a:lnTo>
                  <a:lnTo>
                    <a:pt x="15447" y="4340"/>
                  </a:lnTo>
                  <a:lnTo>
                    <a:pt x="15447" y="4356"/>
                  </a:lnTo>
                  <a:lnTo>
                    <a:pt x="15416" y="4413"/>
                  </a:lnTo>
                  <a:lnTo>
                    <a:pt x="15416" y="4401"/>
                  </a:lnTo>
                  <a:lnTo>
                    <a:pt x="15395" y="4417"/>
                  </a:lnTo>
                  <a:lnTo>
                    <a:pt x="15387" y="4434"/>
                  </a:lnTo>
                  <a:lnTo>
                    <a:pt x="15395" y="4446"/>
                  </a:lnTo>
                  <a:lnTo>
                    <a:pt x="15416" y="4451"/>
                  </a:lnTo>
                  <a:lnTo>
                    <a:pt x="15432" y="4484"/>
                  </a:lnTo>
                  <a:lnTo>
                    <a:pt x="15447" y="4500"/>
                  </a:lnTo>
                  <a:lnTo>
                    <a:pt x="15442" y="4512"/>
                  </a:lnTo>
                  <a:lnTo>
                    <a:pt x="15442" y="4524"/>
                  </a:lnTo>
                  <a:lnTo>
                    <a:pt x="15447" y="4491"/>
                  </a:lnTo>
                  <a:lnTo>
                    <a:pt x="15463" y="4491"/>
                  </a:lnTo>
                  <a:lnTo>
                    <a:pt x="15447" y="4528"/>
                  </a:lnTo>
                  <a:lnTo>
                    <a:pt x="15447" y="4540"/>
                  </a:lnTo>
                  <a:lnTo>
                    <a:pt x="15454" y="4545"/>
                  </a:lnTo>
                  <a:lnTo>
                    <a:pt x="15447" y="4557"/>
                  </a:lnTo>
                  <a:lnTo>
                    <a:pt x="15442" y="4566"/>
                  </a:lnTo>
                  <a:lnTo>
                    <a:pt x="15463" y="4578"/>
                  </a:lnTo>
                  <a:lnTo>
                    <a:pt x="15463" y="4602"/>
                  </a:lnTo>
                  <a:lnTo>
                    <a:pt x="15484" y="4623"/>
                  </a:lnTo>
                  <a:lnTo>
                    <a:pt x="15508" y="4668"/>
                  </a:lnTo>
                  <a:lnTo>
                    <a:pt x="15522" y="4673"/>
                  </a:lnTo>
                  <a:lnTo>
                    <a:pt x="15508" y="4689"/>
                  </a:lnTo>
                  <a:lnTo>
                    <a:pt x="15484" y="4706"/>
                  </a:lnTo>
                  <a:lnTo>
                    <a:pt x="15480" y="4722"/>
                  </a:lnTo>
                  <a:lnTo>
                    <a:pt x="15463" y="4729"/>
                  </a:lnTo>
                  <a:lnTo>
                    <a:pt x="15432" y="4710"/>
                  </a:lnTo>
                  <a:lnTo>
                    <a:pt x="15425" y="4694"/>
                  </a:lnTo>
                  <a:lnTo>
                    <a:pt x="15395" y="4668"/>
                  </a:lnTo>
                  <a:lnTo>
                    <a:pt x="15387" y="4673"/>
                  </a:lnTo>
                  <a:lnTo>
                    <a:pt x="15371" y="4668"/>
                  </a:lnTo>
                  <a:lnTo>
                    <a:pt x="15319" y="4639"/>
                  </a:lnTo>
                  <a:lnTo>
                    <a:pt x="15324" y="4611"/>
                  </a:lnTo>
                  <a:lnTo>
                    <a:pt x="15291" y="4611"/>
                  </a:lnTo>
                  <a:lnTo>
                    <a:pt x="15286" y="4595"/>
                  </a:lnTo>
                  <a:lnTo>
                    <a:pt x="15269" y="4583"/>
                  </a:lnTo>
                  <a:lnTo>
                    <a:pt x="15253" y="4602"/>
                  </a:lnTo>
                  <a:lnTo>
                    <a:pt x="15236" y="4583"/>
                  </a:lnTo>
                  <a:lnTo>
                    <a:pt x="15194" y="4602"/>
                  </a:lnTo>
                  <a:lnTo>
                    <a:pt x="15182" y="4602"/>
                  </a:lnTo>
                  <a:lnTo>
                    <a:pt x="15182" y="4595"/>
                  </a:lnTo>
                  <a:lnTo>
                    <a:pt x="15144" y="4578"/>
                  </a:lnTo>
                  <a:lnTo>
                    <a:pt x="15123" y="4557"/>
                  </a:lnTo>
                  <a:lnTo>
                    <a:pt x="15031" y="4545"/>
                  </a:lnTo>
                  <a:lnTo>
                    <a:pt x="14967" y="4524"/>
                  </a:lnTo>
                  <a:lnTo>
                    <a:pt x="14941" y="4512"/>
                  </a:lnTo>
                  <a:lnTo>
                    <a:pt x="14924" y="4524"/>
                  </a:lnTo>
                  <a:lnTo>
                    <a:pt x="14924" y="4540"/>
                  </a:lnTo>
                  <a:lnTo>
                    <a:pt x="14832" y="4458"/>
                  </a:lnTo>
                  <a:lnTo>
                    <a:pt x="14795" y="4446"/>
                  </a:lnTo>
                  <a:lnTo>
                    <a:pt x="14766" y="4417"/>
                  </a:lnTo>
                  <a:lnTo>
                    <a:pt x="14766" y="4429"/>
                  </a:lnTo>
                  <a:lnTo>
                    <a:pt x="14745" y="4417"/>
                  </a:lnTo>
                  <a:lnTo>
                    <a:pt x="14724" y="4396"/>
                  </a:lnTo>
                  <a:lnTo>
                    <a:pt x="14686" y="4380"/>
                  </a:lnTo>
                  <a:lnTo>
                    <a:pt x="14707" y="4363"/>
                  </a:lnTo>
                  <a:lnTo>
                    <a:pt x="14691" y="4356"/>
                  </a:lnTo>
                  <a:lnTo>
                    <a:pt x="14686" y="4363"/>
                  </a:lnTo>
                  <a:lnTo>
                    <a:pt x="14698" y="4356"/>
                  </a:lnTo>
                  <a:lnTo>
                    <a:pt x="14714" y="4363"/>
                  </a:lnTo>
                  <a:lnTo>
                    <a:pt x="14714" y="4373"/>
                  </a:lnTo>
                  <a:lnTo>
                    <a:pt x="14745" y="4356"/>
                  </a:lnTo>
                  <a:lnTo>
                    <a:pt x="14761" y="4363"/>
                  </a:lnTo>
                  <a:lnTo>
                    <a:pt x="14761" y="4340"/>
                  </a:lnTo>
                  <a:lnTo>
                    <a:pt x="14752" y="4340"/>
                  </a:lnTo>
                  <a:lnTo>
                    <a:pt x="14752" y="4356"/>
                  </a:lnTo>
                  <a:lnTo>
                    <a:pt x="14752" y="4340"/>
                  </a:lnTo>
                  <a:lnTo>
                    <a:pt x="14761" y="4340"/>
                  </a:lnTo>
                  <a:lnTo>
                    <a:pt x="14752" y="4335"/>
                  </a:lnTo>
                  <a:lnTo>
                    <a:pt x="14766" y="4323"/>
                  </a:lnTo>
                  <a:lnTo>
                    <a:pt x="14778" y="4302"/>
                  </a:lnTo>
                  <a:lnTo>
                    <a:pt x="14783" y="4302"/>
                  </a:lnTo>
                  <a:lnTo>
                    <a:pt x="14783" y="4306"/>
                  </a:lnTo>
                  <a:lnTo>
                    <a:pt x="14795" y="4290"/>
                  </a:lnTo>
                  <a:lnTo>
                    <a:pt x="14816" y="4302"/>
                  </a:lnTo>
                  <a:lnTo>
                    <a:pt x="14821" y="4290"/>
                  </a:lnTo>
                  <a:lnTo>
                    <a:pt x="14783" y="4269"/>
                  </a:lnTo>
                  <a:lnTo>
                    <a:pt x="14778" y="4269"/>
                  </a:lnTo>
                  <a:lnTo>
                    <a:pt x="14761" y="4245"/>
                  </a:lnTo>
                  <a:lnTo>
                    <a:pt x="14783" y="4245"/>
                  </a:lnTo>
                  <a:lnTo>
                    <a:pt x="14799" y="4236"/>
                  </a:lnTo>
                  <a:lnTo>
                    <a:pt x="14821" y="4245"/>
                  </a:lnTo>
                  <a:lnTo>
                    <a:pt x="14816" y="4236"/>
                  </a:lnTo>
                  <a:lnTo>
                    <a:pt x="14804" y="4236"/>
                  </a:lnTo>
                  <a:lnTo>
                    <a:pt x="14804" y="4228"/>
                  </a:lnTo>
                  <a:lnTo>
                    <a:pt x="14854" y="4212"/>
                  </a:lnTo>
                  <a:lnTo>
                    <a:pt x="14870" y="4212"/>
                  </a:lnTo>
                  <a:lnTo>
                    <a:pt x="14870" y="4207"/>
                  </a:lnTo>
                  <a:lnTo>
                    <a:pt x="14870" y="4191"/>
                  </a:lnTo>
                  <a:lnTo>
                    <a:pt x="14854" y="4191"/>
                  </a:lnTo>
                  <a:lnTo>
                    <a:pt x="14821" y="4207"/>
                  </a:lnTo>
                  <a:lnTo>
                    <a:pt x="14816" y="4195"/>
                  </a:lnTo>
                  <a:lnTo>
                    <a:pt x="14821" y="4191"/>
                  </a:lnTo>
                  <a:lnTo>
                    <a:pt x="14832" y="4191"/>
                  </a:lnTo>
                  <a:lnTo>
                    <a:pt x="14799" y="4207"/>
                  </a:lnTo>
                  <a:lnTo>
                    <a:pt x="14799" y="4158"/>
                  </a:lnTo>
                  <a:lnTo>
                    <a:pt x="14832" y="4151"/>
                  </a:lnTo>
                  <a:lnTo>
                    <a:pt x="14837" y="4134"/>
                  </a:lnTo>
                  <a:lnTo>
                    <a:pt x="14908" y="4134"/>
                  </a:lnTo>
                  <a:lnTo>
                    <a:pt x="14908" y="4117"/>
                  </a:lnTo>
                  <a:lnTo>
                    <a:pt x="14924" y="4096"/>
                  </a:lnTo>
                  <a:lnTo>
                    <a:pt x="14908" y="4068"/>
                  </a:lnTo>
                  <a:lnTo>
                    <a:pt x="14903" y="4063"/>
                  </a:lnTo>
                  <a:lnTo>
                    <a:pt x="14908" y="4047"/>
                  </a:lnTo>
                  <a:lnTo>
                    <a:pt x="14924" y="4047"/>
                  </a:lnTo>
                  <a:lnTo>
                    <a:pt x="14924" y="4040"/>
                  </a:lnTo>
                  <a:lnTo>
                    <a:pt x="14908" y="4040"/>
                  </a:lnTo>
                  <a:lnTo>
                    <a:pt x="14903" y="4030"/>
                  </a:lnTo>
                  <a:lnTo>
                    <a:pt x="14913" y="4023"/>
                  </a:lnTo>
                  <a:lnTo>
                    <a:pt x="14929" y="4006"/>
                  </a:lnTo>
                  <a:lnTo>
                    <a:pt x="14924" y="3985"/>
                  </a:lnTo>
                  <a:lnTo>
                    <a:pt x="14929" y="3973"/>
                  </a:lnTo>
                  <a:lnTo>
                    <a:pt x="14908" y="3973"/>
                  </a:lnTo>
                  <a:lnTo>
                    <a:pt x="14891" y="3957"/>
                  </a:lnTo>
                  <a:lnTo>
                    <a:pt x="14870" y="3957"/>
                  </a:lnTo>
                  <a:lnTo>
                    <a:pt x="14858" y="3947"/>
                  </a:lnTo>
                  <a:lnTo>
                    <a:pt x="14849" y="3952"/>
                  </a:lnTo>
                  <a:lnTo>
                    <a:pt x="14799" y="3931"/>
                  </a:lnTo>
                  <a:lnTo>
                    <a:pt x="14795" y="3931"/>
                  </a:lnTo>
                  <a:lnTo>
                    <a:pt x="14783" y="3947"/>
                  </a:lnTo>
                  <a:lnTo>
                    <a:pt x="14761" y="3931"/>
                  </a:lnTo>
                  <a:lnTo>
                    <a:pt x="14745" y="3895"/>
                  </a:lnTo>
                  <a:lnTo>
                    <a:pt x="14686" y="3914"/>
                  </a:lnTo>
                  <a:lnTo>
                    <a:pt x="14660" y="3903"/>
                  </a:lnTo>
                  <a:lnTo>
                    <a:pt x="14653" y="3895"/>
                  </a:lnTo>
                  <a:lnTo>
                    <a:pt x="14615" y="3895"/>
                  </a:lnTo>
                  <a:lnTo>
                    <a:pt x="14601" y="3874"/>
                  </a:lnTo>
                  <a:lnTo>
                    <a:pt x="14606" y="3874"/>
                  </a:lnTo>
                  <a:lnTo>
                    <a:pt x="14589" y="3841"/>
                  </a:lnTo>
                  <a:lnTo>
                    <a:pt x="14601" y="3836"/>
                  </a:lnTo>
                  <a:lnTo>
                    <a:pt x="14584" y="3836"/>
                  </a:lnTo>
                  <a:lnTo>
                    <a:pt x="14577" y="3820"/>
                  </a:lnTo>
                  <a:lnTo>
                    <a:pt x="14551" y="3825"/>
                  </a:lnTo>
                  <a:lnTo>
                    <a:pt x="14530" y="3820"/>
                  </a:lnTo>
                  <a:lnTo>
                    <a:pt x="14509" y="3780"/>
                  </a:lnTo>
                  <a:lnTo>
                    <a:pt x="14530" y="3768"/>
                  </a:lnTo>
                  <a:lnTo>
                    <a:pt x="14530" y="3763"/>
                  </a:lnTo>
                  <a:lnTo>
                    <a:pt x="14509" y="3747"/>
                  </a:lnTo>
                  <a:lnTo>
                    <a:pt x="14509" y="3730"/>
                  </a:lnTo>
                  <a:lnTo>
                    <a:pt x="14492" y="3709"/>
                  </a:lnTo>
                  <a:lnTo>
                    <a:pt x="14443" y="3709"/>
                  </a:lnTo>
                  <a:lnTo>
                    <a:pt x="14421" y="3725"/>
                  </a:lnTo>
                  <a:lnTo>
                    <a:pt x="14384" y="3714"/>
                  </a:lnTo>
                  <a:lnTo>
                    <a:pt x="14374" y="3735"/>
                  </a:lnTo>
                  <a:lnTo>
                    <a:pt x="14346" y="3735"/>
                  </a:lnTo>
                  <a:lnTo>
                    <a:pt x="14329" y="3714"/>
                  </a:lnTo>
                  <a:lnTo>
                    <a:pt x="14329" y="3692"/>
                  </a:lnTo>
                  <a:lnTo>
                    <a:pt x="14320" y="3676"/>
                  </a:lnTo>
                  <a:lnTo>
                    <a:pt x="14329" y="3669"/>
                  </a:lnTo>
                  <a:lnTo>
                    <a:pt x="14308" y="3643"/>
                  </a:lnTo>
                  <a:lnTo>
                    <a:pt x="14320" y="3624"/>
                  </a:lnTo>
                  <a:lnTo>
                    <a:pt x="14374" y="3636"/>
                  </a:lnTo>
                  <a:lnTo>
                    <a:pt x="14405" y="3614"/>
                  </a:lnTo>
                  <a:lnTo>
                    <a:pt x="14417" y="3603"/>
                  </a:lnTo>
                  <a:lnTo>
                    <a:pt x="14388" y="3598"/>
                  </a:lnTo>
                  <a:lnTo>
                    <a:pt x="14388" y="3586"/>
                  </a:lnTo>
                  <a:lnTo>
                    <a:pt x="14400" y="3581"/>
                  </a:lnTo>
                  <a:lnTo>
                    <a:pt x="14388" y="3581"/>
                  </a:lnTo>
                  <a:lnTo>
                    <a:pt x="14367" y="3569"/>
                  </a:lnTo>
                  <a:lnTo>
                    <a:pt x="14346" y="3569"/>
                  </a:lnTo>
                  <a:lnTo>
                    <a:pt x="14350" y="3541"/>
                  </a:lnTo>
                  <a:lnTo>
                    <a:pt x="14313" y="3525"/>
                  </a:lnTo>
                  <a:lnTo>
                    <a:pt x="14308" y="3508"/>
                  </a:lnTo>
                  <a:lnTo>
                    <a:pt x="14298" y="3503"/>
                  </a:lnTo>
                  <a:lnTo>
                    <a:pt x="14298" y="3487"/>
                  </a:lnTo>
                  <a:lnTo>
                    <a:pt x="14275" y="3470"/>
                  </a:lnTo>
                  <a:lnTo>
                    <a:pt x="14291" y="3447"/>
                  </a:lnTo>
                  <a:lnTo>
                    <a:pt x="14275" y="3421"/>
                  </a:lnTo>
                  <a:lnTo>
                    <a:pt x="14282" y="3414"/>
                  </a:lnTo>
                  <a:lnTo>
                    <a:pt x="14282" y="3392"/>
                  </a:lnTo>
                  <a:lnTo>
                    <a:pt x="14275" y="3392"/>
                  </a:lnTo>
                  <a:lnTo>
                    <a:pt x="14254" y="3364"/>
                  </a:lnTo>
                  <a:lnTo>
                    <a:pt x="14237" y="3364"/>
                  </a:lnTo>
                  <a:lnTo>
                    <a:pt x="14211" y="3364"/>
                  </a:lnTo>
                  <a:lnTo>
                    <a:pt x="14185" y="3380"/>
                  </a:lnTo>
                  <a:lnTo>
                    <a:pt x="14173" y="3376"/>
                  </a:lnTo>
                  <a:lnTo>
                    <a:pt x="14185" y="3359"/>
                  </a:lnTo>
                  <a:lnTo>
                    <a:pt x="14173" y="3359"/>
                  </a:lnTo>
                  <a:lnTo>
                    <a:pt x="14152" y="3347"/>
                  </a:lnTo>
                  <a:lnTo>
                    <a:pt x="14131" y="3359"/>
                  </a:lnTo>
                  <a:lnTo>
                    <a:pt x="14119" y="3343"/>
                  </a:lnTo>
                  <a:lnTo>
                    <a:pt x="14098" y="3343"/>
                  </a:lnTo>
                  <a:lnTo>
                    <a:pt x="14093" y="3336"/>
                  </a:lnTo>
                  <a:lnTo>
                    <a:pt x="14098" y="3319"/>
                  </a:lnTo>
                  <a:lnTo>
                    <a:pt x="14076" y="3265"/>
                  </a:lnTo>
                  <a:lnTo>
                    <a:pt x="14060" y="3253"/>
                  </a:lnTo>
                  <a:lnTo>
                    <a:pt x="14065" y="3215"/>
                  </a:lnTo>
                  <a:lnTo>
                    <a:pt x="14043" y="3199"/>
                  </a:lnTo>
                  <a:lnTo>
                    <a:pt x="14043" y="3192"/>
                  </a:lnTo>
                  <a:lnTo>
                    <a:pt x="14039" y="3192"/>
                  </a:lnTo>
                  <a:lnTo>
                    <a:pt x="14043" y="3158"/>
                  </a:lnTo>
                  <a:lnTo>
                    <a:pt x="14065" y="3158"/>
                  </a:lnTo>
                  <a:lnTo>
                    <a:pt x="14043" y="3121"/>
                  </a:lnTo>
                  <a:lnTo>
                    <a:pt x="14043" y="3104"/>
                  </a:lnTo>
                  <a:lnTo>
                    <a:pt x="14039" y="3059"/>
                  </a:lnTo>
                  <a:lnTo>
                    <a:pt x="14065" y="3031"/>
                  </a:lnTo>
                  <a:lnTo>
                    <a:pt x="14076" y="3010"/>
                  </a:lnTo>
                  <a:lnTo>
                    <a:pt x="14093" y="3010"/>
                  </a:lnTo>
                  <a:lnTo>
                    <a:pt x="14093" y="2998"/>
                  </a:lnTo>
                  <a:lnTo>
                    <a:pt x="14081" y="2988"/>
                  </a:lnTo>
                  <a:lnTo>
                    <a:pt x="14081" y="2977"/>
                  </a:lnTo>
                  <a:lnTo>
                    <a:pt x="14076" y="2960"/>
                  </a:lnTo>
                  <a:lnTo>
                    <a:pt x="14081" y="2953"/>
                  </a:lnTo>
                  <a:lnTo>
                    <a:pt x="14102" y="2972"/>
                  </a:lnTo>
                  <a:lnTo>
                    <a:pt x="14114" y="2943"/>
                  </a:lnTo>
                  <a:lnTo>
                    <a:pt x="14136" y="2953"/>
                  </a:lnTo>
                  <a:lnTo>
                    <a:pt x="14157" y="2932"/>
                  </a:lnTo>
                  <a:lnTo>
                    <a:pt x="14228" y="2943"/>
                  </a:lnTo>
                  <a:lnTo>
                    <a:pt x="14237" y="2936"/>
                  </a:lnTo>
                  <a:lnTo>
                    <a:pt x="14211" y="2932"/>
                  </a:lnTo>
                  <a:lnTo>
                    <a:pt x="14211" y="2915"/>
                  </a:lnTo>
                  <a:lnTo>
                    <a:pt x="14199" y="2915"/>
                  </a:lnTo>
                  <a:lnTo>
                    <a:pt x="14152" y="2915"/>
                  </a:lnTo>
                  <a:lnTo>
                    <a:pt x="14119" y="2887"/>
                  </a:lnTo>
                  <a:lnTo>
                    <a:pt x="14114" y="2877"/>
                  </a:lnTo>
                  <a:lnTo>
                    <a:pt x="14131" y="2882"/>
                  </a:lnTo>
                  <a:lnTo>
                    <a:pt x="14131" y="2866"/>
                  </a:lnTo>
                  <a:lnTo>
                    <a:pt x="14119" y="2866"/>
                  </a:lnTo>
                  <a:lnTo>
                    <a:pt x="14131" y="2866"/>
                  </a:lnTo>
                  <a:lnTo>
                    <a:pt x="14131" y="2849"/>
                  </a:lnTo>
                  <a:lnTo>
                    <a:pt x="14093" y="2877"/>
                  </a:lnTo>
                  <a:lnTo>
                    <a:pt x="14065" y="2877"/>
                  </a:lnTo>
                  <a:lnTo>
                    <a:pt x="14169" y="2792"/>
                  </a:lnTo>
                  <a:lnTo>
                    <a:pt x="14308" y="2655"/>
                  </a:lnTo>
                  <a:lnTo>
                    <a:pt x="14329" y="2610"/>
                  </a:lnTo>
                  <a:lnTo>
                    <a:pt x="14308" y="2573"/>
                  </a:lnTo>
                  <a:lnTo>
                    <a:pt x="14223" y="2516"/>
                  </a:lnTo>
                  <a:lnTo>
                    <a:pt x="14261" y="2478"/>
                  </a:lnTo>
                  <a:lnTo>
                    <a:pt x="14261" y="2462"/>
                  </a:lnTo>
                  <a:lnTo>
                    <a:pt x="14223" y="2438"/>
                  </a:lnTo>
                  <a:lnTo>
                    <a:pt x="14228" y="2433"/>
                  </a:lnTo>
                  <a:lnTo>
                    <a:pt x="14223" y="2421"/>
                  </a:lnTo>
                  <a:lnTo>
                    <a:pt x="14237" y="2417"/>
                  </a:lnTo>
                  <a:lnTo>
                    <a:pt x="14228" y="2400"/>
                  </a:lnTo>
                  <a:lnTo>
                    <a:pt x="14206" y="2388"/>
                  </a:lnTo>
                  <a:lnTo>
                    <a:pt x="14190" y="2384"/>
                  </a:lnTo>
                  <a:lnTo>
                    <a:pt x="14190" y="2360"/>
                  </a:lnTo>
                  <a:lnTo>
                    <a:pt x="14211" y="2360"/>
                  </a:lnTo>
                  <a:lnTo>
                    <a:pt x="14206" y="2343"/>
                  </a:lnTo>
                  <a:lnTo>
                    <a:pt x="14190" y="2343"/>
                  </a:lnTo>
                  <a:lnTo>
                    <a:pt x="14199" y="2327"/>
                  </a:lnTo>
                  <a:lnTo>
                    <a:pt x="14206" y="2294"/>
                  </a:lnTo>
                  <a:lnTo>
                    <a:pt x="14228" y="2289"/>
                  </a:lnTo>
                  <a:lnTo>
                    <a:pt x="14211" y="2240"/>
                  </a:lnTo>
                  <a:lnTo>
                    <a:pt x="14152" y="2145"/>
                  </a:lnTo>
                  <a:lnTo>
                    <a:pt x="14157" y="2129"/>
                  </a:lnTo>
                  <a:lnTo>
                    <a:pt x="14211" y="2067"/>
                  </a:lnTo>
                  <a:lnTo>
                    <a:pt x="14223" y="2051"/>
                  </a:lnTo>
                  <a:lnTo>
                    <a:pt x="14199" y="2034"/>
                  </a:lnTo>
                  <a:lnTo>
                    <a:pt x="14173" y="2001"/>
                  </a:lnTo>
                  <a:lnTo>
                    <a:pt x="14131" y="1989"/>
                  </a:lnTo>
                  <a:lnTo>
                    <a:pt x="14114" y="1944"/>
                  </a:lnTo>
                  <a:lnTo>
                    <a:pt x="14136" y="1906"/>
                  </a:lnTo>
                  <a:lnTo>
                    <a:pt x="14102" y="1902"/>
                  </a:lnTo>
                  <a:lnTo>
                    <a:pt x="14147" y="1878"/>
                  </a:lnTo>
                  <a:lnTo>
                    <a:pt x="14169" y="1866"/>
                  </a:lnTo>
                  <a:lnTo>
                    <a:pt x="14169" y="1845"/>
                  </a:lnTo>
                  <a:lnTo>
                    <a:pt x="14228" y="1824"/>
                  </a:lnTo>
                  <a:lnTo>
                    <a:pt x="14228" y="1812"/>
                  </a:lnTo>
                  <a:lnTo>
                    <a:pt x="14228" y="1807"/>
                  </a:lnTo>
                  <a:lnTo>
                    <a:pt x="14261" y="1812"/>
                  </a:lnTo>
                  <a:lnTo>
                    <a:pt x="14282" y="1812"/>
                  </a:lnTo>
                  <a:lnTo>
                    <a:pt x="14282" y="1795"/>
                  </a:lnTo>
                  <a:lnTo>
                    <a:pt x="14282" y="1779"/>
                  </a:lnTo>
                  <a:lnTo>
                    <a:pt x="14346" y="1795"/>
                  </a:lnTo>
                  <a:lnTo>
                    <a:pt x="14336" y="1791"/>
                  </a:lnTo>
                  <a:lnTo>
                    <a:pt x="14336" y="1779"/>
                  </a:lnTo>
                  <a:lnTo>
                    <a:pt x="14367" y="1779"/>
                  </a:lnTo>
                  <a:lnTo>
                    <a:pt x="14350" y="1767"/>
                  </a:lnTo>
                  <a:lnTo>
                    <a:pt x="14400" y="1791"/>
                  </a:lnTo>
                  <a:lnTo>
                    <a:pt x="14438" y="1791"/>
                  </a:lnTo>
                  <a:lnTo>
                    <a:pt x="14438" y="1807"/>
                  </a:lnTo>
                  <a:lnTo>
                    <a:pt x="14421" y="1812"/>
                  </a:lnTo>
                  <a:lnTo>
                    <a:pt x="14362" y="1807"/>
                  </a:lnTo>
                  <a:lnTo>
                    <a:pt x="14388" y="1824"/>
                  </a:lnTo>
                  <a:lnTo>
                    <a:pt x="14374" y="1829"/>
                  </a:lnTo>
                  <a:lnTo>
                    <a:pt x="14426" y="1829"/>
                  </a:lnTo>
                  <a:lnTo>
                    <a:pt x="14417" y="1845"/>
                  </a:lnTo>
                  <a:lnTo>
                    <a:pt x="14426" y="1833"/>
                  </a:lnTo>
                  <a:lnTo>
                    <a:pt x="14471" y="1829"/>
                  </a:lnTo>
                  <a:lnTo>
                    <a:pt x="14443" y="1850"/>
                  </a:lnTo>
                  <a:lnTo>
                    <a:pt x="14459" y="1850"/>
                  </a:lnTo>
                  <a:lnTo>
                    <a:pt x="14471" y="1862"/>
                  </a:lnTo>
                  <a:lnTo>
                    <a:pt x="14426" y="1878"/>
                  </a:lnTo>
                  <a:lnTo>
                    <a:pt x="14426" y="1890"/>
                  </a:lnTo>
                  <a:lnTo>
                    <a:pt x="14426" y="1878"/>
                  </a:lnTo>
                  <a:lnTo>
                    <a:pt x="14459" y="1878"/>
                  </a:lnTo>
                  <a:lnTo>
                    <a:pt x="14471" y="1862"/>
                  </a:lnTo>
                  <a:lnTo>
                    <a:pt x="14471" y="1845"/>
                  </a:lnTo>
                  <a:lnTo>
                    <a:pt x="14480" y="1845"/>
                  </a:lnTo>
                  <a:lnTo>
                    <a:pt x="14639" y="1862"/>
                  </a:lnTo>
                  <a:lnTo>
                    <a:pt x="14761" y="1923"/>
                  </a:lnTo>
                  <a:lnTo>
                    <a:pt x="14804" y="1973"/>
                  </a:lnTo>
                  <a:lnTo>
                    <a:pt x="14821" y="1961"/>
                  </a:lnTo>
                  <a:lnTo>
                    <a:pt x="14887" y="2001"/>
                  </a:lnTo>
                  <a:lnTo>
                    <a:pt x="14908" y="2001"/>
                  </a:lnTo>
                  <a:lnTo>
                    <a:pt x="14903" y="1989"/>
                  </a:lnTo>
                  <a:lnTo>
                    <a:pt x="14908" y="1989"/>
                  </a:lnTo>
                  <a:lnTo>
                    <a:pt x="14946" y="2018"/>
                  </a:lnTo>
                  <a:lnTo>
                    <a:pt x="14946" y="2029"/>
                  </a:lnTo>
                  <a:lnTo>
                    <a:pt x="14955" y="2046"/>
                  </a:lnTo>
                  <a:lnTo>
                    <a:pt x="14993" y="2046"/>
                  </a:lnTo>
                  <a:lnTo>
                    <a:pt x="14993" y="2072"/>
                  </a:lnTo>
                  <a:lnTo>
                    <a:pt x="15000" y="2084"/>
                  </a:lnTo>
                  <a:lnTo>
                    <a:pt x="15000" y="2105"/>
                  </a:lnTo>
                  <a:lnTo>
                    <a:pt x="15017" y="2105"/>
                  </a:lnTo>
                  <a:lnTo>
                    <a:pt x="15017" y="2112"/>
                  </a:lnTo>
                  <a:lnTo>
                    <a:pt x="15010" y="2157"/>
                  </a:lnTo>
                  <a:lnTo>
                    <a:pt x="14962" y="2199"/>
                  </a:lnTo>
                  <a:lnTo>
                    <a:pt x="14924" y="2216"/>
                  </a:lnTo>
                  <a:lnTo>
                    <a:pt x="14821" y="2249"/>
                  </a:lnTo>
                  <a:lnTo>
                    <a:pt x="14606" y="2211"/>
                  </a:lnTo>
                  <a:lnTo>
                    <a:pt x="14563" y="2178"/>
                  </a:lnTo>
                  <a:lnTo>
                    <a:pt x="14530" y="2183"/>
                  </a:lnTo>
                  <a:lnTo>
                    <a:pt x="14525" y="2178"/>
                  </a:lnTo>
                  <a:lnTo>
                    <a:pt x="14530" y="2178"/>
                  </a:lnTo>
                  <a:lnTo>
                    <a:pt x="14492" y="2166"/>
                  </a:lnTo>
                  <a:lnTo>
                    <a:pt x="14471" y="2157"/>
                  </a:lnTo>
                  <a:lnTo>
                    <a:pt x="14476" y="2162"/>
                  </a:lnTo>
                  <a:lnTo>
                    <a:pt x="14471" y="2166"/>
                  </a:lnTo>
                  <a:lnTo>
                    <a:pt x="14443" y="2157"/>
                  </a:lnTo>
                  <a:lnTo>
                    <a:pt x="14405" y="2121"/>
                  </a:lnTo>
                  <a:lnTo>
                    <a:pt x="14350" y="2112"/>
                  </a:lnTo>
                  <a:lnTo>
                    <a:pt x="14374" y="2112"/>
                  </a:lnTo>
                  <a:lnTo>
                    <a:pt x="14400" y="2129"/>
                  </a:lnTo>
                  <a:lnTo>
                    <a:pt x="14400" y="2145"/>
                  </a:lnTo>
                  <a:lnTo>
                    <a:pt x="14421" y="2162"/>
                  </a:lnTo>
                  <a:lnTo>
                    <a:pt x="14417" y="2166"/>
                  </a:lnTo>
                  <a:lnTo>
                    <a:pt x="14454" y="2178"/>
                  </a:lnTo>
                  <a:lnTo>
                    <a:pt x="14421" y="2183"/>
                  </a:lnTo>
                  <a:lnTo>
                    <a:pt x="14443" y="2178"/>
                  </a:lnTo>
                  <a:lnTo>
                    <a:pt x="14471" y="2195"/>
                  </a:lnTo>
                  <a:lnTo>
                    <a:pt x="14421" y="2195"/>
                  </a:lnTo>
                  <a:lnTo>
                    <a:pt x="14480" y="2199"/>
                  </a:lnTo>
                  <a:lnTo>
                    <a:pt x="14454" y="2216"/>
                  </a:lnTo>
                  <a:lnTo>
                    <a:pt x="14509" y="2223"/>
                  </a:lnTo>
                  <a:lnTo>
                    <a:pt x="14563" y="2266"/>
                  </a:lnTo>
                  <a:lnTo>
                    <a:pt x="14568" y="2289"/>
                  </a:lnTo>
                  <a:lnTo>
                    <a:pt x="14547" y="2273"/>
                  </a:lnTo>
                  <a:lnTo>
                    <a:pt x="14551" y="2306"/>
                  </a:lnTo>
                  <a:lnTo>
                    <a:pt x="14547" y="2322"/>
                  </a:lnTo>
                  <a:lnTo>
                    <a:pt x="14530" y="2327"/>
                  </a:lnTo>
                  <a:lnTo>
                    <a:pt x="14547" y="2343"/>
                  </a:lnTo>
                  <a:lnTo>
                    <a:pt x="14568" y="2388"/>
                  </a:lnTo>
                  <a:lnTo>
                    <a:pt x="14568" y="2417"/>
                  </a:lnTo>
                  <a:lnTo>
                    <a:pt x="14551" y="2421"/>
                  </a:lnTo>
                  <a:lnTo>
                    <a:pt x="14589" y="2445"/>
                  </a:lnTo>
                  <a:lnTo>
                    <a:pt x="14606" y="2438"/>
                  </a:lnTo>
                  <a:lnTo>
                    <a:pt x="14622" y="2445"/>
                  </a:lnTo>
                  <a:lnTo>
                    <a:pt x="14639" y="2462"/>
                  </a:lnTo>
                  <a:lnTo>
                    <a:pt x="14643" y="2462"/>
                  </a:lnTo>
                  <a:lnTo>
                    <a:pt x="14660" y="2471"/>
                  </a:lnTo>
                  <a:lnTo>
                    <a:pt x="14660" y="2488"/>
                  </a:lnTo>
                  <a:lnTo>
                    <a:pt x="14740" y="2511"/>
                  </a:lnTo>
                  <a:lnTo>
                    <a:pt x="14783" y="2488"/>
                  </a:lnTo>
                  <a:lnTo>
                    <a:pt x="14783" y="2471"/>
                  </a:lnTo>
                  <a:lnTo>
                    <a:pt x="14778" y="2462"/>
                  </a:lnTo>
                  <a:lnTo>
                    <a:pt x="14778" y="2445"/>
                  </a:lnTo>
                  <a:lnTo>
                    <a:pt x="14766" y="2438"/>
                  </a:lnTo>
                  <a:lnTo>
                    <a:pt x="14728" y="2445"/>
                  </a:lnTo>
                  <a:lnTo>
                    <a:pt x="14724" y="2438"/>
                  </a:lnTo>
                  <a:lnTo>
                    <a:pt x="14691" y="2405"/>
                  </a:lnTo>
                  <a:lnTo>
                    <a:pt x="14676" y="2400"/>
                  </a:lnTo>
                  <a:lnTo>
                    <a:pt x="14669" y="2377"/>
                  </a:lnTo>
                  <a:lnTo>
                    <a:pt x="14698" y="2377"/>
                  </a:lnTo>
                  <a:lnTo>
                    <a:pt x="14698" y="2351"/>
                  </a:lnTo>
                  <a:lnTo>
                    <a:pt x="14714" y="2343"/>
                  </a:lnTo>
                  <a:lnTo>
                    <a:pt x="14761" y="2367"/>
                  </a:lnTo>
                  <a:lnTo>
                    <a:pt x="14778" y="2384"/>
                  </a:lnTo>
                  <a:lnTo>
                    <a:pt x="14804" y="2384"/>
                  </a:lnTo>
                  <a:lnTo>
                    <a:pt x="14783" y="2400"/>
                  </a:lnTo>
                  <a:lnTo>
                    <a:pt x="14783" y="2417"/>
                  </a:lnTo>
                  <a:lnTo>
                    <a:pt x="14816" y="2388"/>
                  </a:lnTo>
                  <a:lnTo>
                    <a:pt x="14891" y="2421"/>
                  </a:lnTo>
                  <a:lnTo>
                    <a:pt x="14913" y="2417"/>
                  </a:lnTo>
                  <a:lnTo>
                    <a:pt x="14908" y="2417"/>
                  </a:lnTo>
                  <a:lnTo>
                    <a:pt x="14908" y="2405"/>
                  </a:lnTo>
                  <a:lnTo>
                    <a:pt x="14955" y="2421"/>
                  </a:lnTo>
                  <a:lnTo>
                    <a:pt x="14946" y="2377"/>
                  </a:lnTo>
                  <a:lnTo>
                    <a:pt x="14903" y="2327"/>
                  </a:lnTo>
                  <a:lnTo>
                    <a:pt x="14903" y="2306"/>
                  </a:lnTo>
                  <a:lnTo>
                    <a:pt x="14946" y="2277"/>
                  </a:lnTo>
                  <a:lnTo>
                    <a:pt x="14967" y="2256"/>
                  </a:lnTo>
                  <a:lnTo>
                    <a:pt x="15021" y="2240"/>
                  </a:lnTo>
                  <a:lnTo>
                    <a:pt x="15069" y="2195"/>
                  </a:lnTo>
                  <a:lnTo>
                    <a:pt x="15106" y="2211"/>
                  </a:lnTo>
                  <a:lnTo>
                    <a:pt x="15156" y="2199"/>
                  </a:lnTo>
                  <a:lnTo>
                    <a:pt x="15177" y="2223"/>
                  </a:lnTo>
                  <a:lnTo>
                    <a:pt x="15156" y="2240"/>
                  </a:lnTo>
                  <a:lnTo>
                    <a:pt x="15156" y="2249"/>
                  </a:lnTo>
                  <a:lnTo>
                    <a:pt x="15172" y="2256"/>
                  </a:lnTo>
                  <a:lnTo>
                    <a:pt x="15172" y="2249"/>
                  </a:lnTo>
                  <a:lnTo>
                    <a:pt x="15156" y="2240"/>
                  </a:lnTo>
                  <a:lnTo>
                    <a:pt x="15194" y="2232"/>
                  </a:lnTo>
                  <a:lnTo>
                    <a:pt x="15198" y="2240"/>
                  </a:lnTo>
                  <a:lnTo>
                    <a:pt x="15198" y="2249"/>
                  </a:lnTo>
                  <a:lnTo>
                    <a:pt x="15215" y="2266"/>
                  </a:lnTo>
                  <a:lnTo>
                    <a:pt x="15210" y="2232"/>
                  </a:lnTo>
                  <a:lnTo>
                    <a:pt x="15232" y="2166"/>
                  </a:lnTo>
                  <a:lnTo>
                    <a:pt x="15227" y="2162"/>
                  </a:lnTo>
                  <a:lnTo>
                    <a:pt x="15236" y="2145"/>
                  </a:lnTo>
                  <a:lnTo>
                    <a:pt x="15210" y="2112"/>
                  </a:lnTo>
                  <a:lnTo>
                    <a:pt x="15182" y="2105"/>
                  </a:lnTo>
                  <a:lnTo>
                    <a:pt x="15182" y="2100"/>
                  </a:lnTo>
                  <a:lnTo>
                    <a:pt x="15210" y="2051"/>
                  </a:lnTo>
                  <a:lnTo>
                    <a:pt x="15210" y="2029"/>
                  </a:lnTo>
                  <a:lnTo>
                    <a:pt x="15215" y="2018"/>
                  </a:lnTo>
                  <a:lnTo>
                    <a:pt x="15210" y="2018"/>
                  </a:lnTo>
                  <a:lnTo>
                    <a:pt x="15215" y="1977"/>
                  </a:lnTo>
                  <a:lnTo>
                    <a:pt x="15156" y="1940"/>
                  </a:lnTo>
                  <a:lnTo>
                    <a:pt x="15156" y="1923"/>
                  </a:lnTo>
                  <a:lnTo>
                    <a:pt x="15210" y="1940"/>
                  </a:lnTo>
                  <a:lnTo>
                    <a:pt x="15291" y="1940"/>
                  </a:lnTo>
                  <a:lnTo>
                    <a:pt x="15333" y="1944"/>
                  </a:lnTo>
                  <a:lnTo>
                    <a:pt x="15340" y="1973"/>
                  </a:lnTo>
                  <a:lnTo>
                    <a:pt x="15378" y="1994"/>
                  </a:lnTo>
                  <a:lnTo>
                    <a:pt x="15378" y="2013"/>
                  </a:lnTo>
                  <a:lnTo>
                    <a:pt x="15395" y="2018"/>
                  </a:lnTo>
                  <a:lnTo>
                    <a:pt x="15395" y="2034"/>
                  </a:lnTo>
                  <a:lnTo>
                    <a:pt x="15302" y="2046"/>
                  </a:lnTo>
                  <a:lnTo>
                    <a:pt x="15291" y="2051"/>
                  </a:lnTo>
                  <a:lnTo>
                    <a:pt x="15291" y="2055"/>
                  </a:lnTo>
                  <a:lnTo>
                    <a:pt x="15269" y="2067"/>
                  </a:lnTo>
                  <a:lnTo>
                    <a:pt x="15265" y="2088"/>
                  </a:lnTo>
                  <a:lnTo>
                    <a:pt x="15319" y="2112"/>
                  </a:lnTo>
                  <a:lnTo>
                    <a:pt x="15324" y="2145"/>
                  </a:lnTo>
                  <a:lnTo>
                    <a:pt x="15340" y="2157"/>
                  </a:lnTo>
                  <a:lnTo>
                    <a:pt x="15387" y="2157"/>
                  </a:lnTo>
                  <a:lnTo>
                    <a:pt x="15371" y="2162"/>
                  </a:lnTo>
                  <a:lnTo>
                    <a:pt x="15463" y="2138"/>
                  </a:lnTo>
                  <a:lnTo>
                    <a:pt x="15463" y="2121"/>
                  </a:lnTo>
                  <a:lnTo>
                    <a:pt x="15454" y="2105"/>
                  </a:lnTo>
                  <a:lnTo>
                    <a:pt x="15480" y="2072"/>
                  </a:lnTo>
                  <a:lnTo>
                    <a:pt x="15470" y="2055"/>
                  </a:lnTo>
                  <a:lnTo>
                    <a:pt x="15480" y="2051"/>
                  </a:lnTo>
                  <a:lnTo>
                    <a:pt x="15534" y="2046"/>
                  </a:lnTo>
                  <a:lnTo>
                    <a:pt x="15555" y="2055"/>
                  </a:lnTo>
                  <a:lnTo>
                    <a:pt x="15522" y="2018"/>
                  </a:lnTo>
                  <a:lnTo>
                    <a:pt x="15572" y="2029"/>
                  </a:lnTo>
                  <a:lnTo>
                    <a:pt x="15626" y="1994"/>
                  </a:lnTo>
                  <a:lnTo>
                    <a:pt x="15609" y="2013"/>
                  </a:lnTo>
                  <a:lnTo>
                    <a:pt x="15614" y="2001"/>
                  </a:lnTo>
                  <a:lnTo>
                    <a:pt x="15680" y="1961"/>
                  </a:lnTo>
                  <a:lnTo>
                    <a:pt x="15697" y="1961"/>
                  </a:lnTo>
                  <a:lnTo>
                    <a:pt x="15765" y="1940"/>
                  </a:lnTo>
                  <a:lnTo>
                    <a:pt x="15787" y="1944"/>
                  </a:lnTo>
                  <a:lnTo>
                    <a:pt x="15772" y="1961"/>
                  </a:lnTo>
                  <a:lnTo>
                    <a:pt x="15777" y="1973"/>
                  </a:lnTo>
                  <a:lnTo>
                    <a:pt x="15810" y="1956"/>
                  </a:lnTo>
                  <a:lnTo>
                    <a:pt x="15794" y="1940"/>
                  </a:lnTo>
                  <a:lnTo>
                    <a:pt x="15810" y="1935"/>
                  </a:lnTo>
                  <a:lnTo>
                    <a:pt x="15777" y="1935"/>
                  </a:lnTo>
                  <a:lnTo>
                    <a:pt x="15886" y="1890"/>
                  </a:lnTo>
                  <a:lnTo>
                    <a:pt x="15938" y="1885"/>
                  </a:lnTo>
                  <a:lnTo>
                    <a:pt x="15874" y="1902"/>
                  </a:lnTo>
                  <a:lnTo>
                    <a:pt x="15900" y="1902"/>
                  </a:lnTo>
                  <a:lnTo>
                    <a:pt x="15879" y="1935"/>
                  </a:lnTo>
                  <a:lnTo>
                    <a:pt x="15895" y="1961"/>
                  </a:lnTo>
                  <a:lnTo>
                    <a:pt x="15886" y="1973"/>
                  </a:lnTo>
                  <a:lnTo>
                    <a:pt x="15874" y="1956"/>
                  </a:lnTo>
                  <a:lnTo>
                    <a:pt x="15879" y="1973"/>
                  </a:lnTo>
                  <a:lnTo>
                    <a:pt x="15862" y="1961"/>
                  </a:lnTo>
                  <a:lnTo>
                    <a:pt x="15848" y="1977"/>
                  </a:lnTo>
                  <a:lnTo>
                    <a:pt x="15917" y="1989"/>
                  </a:lnTo>
                  <a:lnTo>
                    <a:pt x="15933" y="1973"/>
                  </a:lnTo>
                  <a:lnTo>
                    <a:pt x="15954" y="1989"/>
                  </a:lnTo>
                  <a:lnTo>
                    <a:pt x="15966" y="1977"/>
                  </a:lnTo>
                  <a:lnTo>
                    <a:pt x="15966" y="1973"/>
                  </a:lnTo>
                  <a:lnTo>
                    <a:pt x="15966" y="1961"/>
                  </a:lnTo>
                  <a:lnTo>
                    <a:pt x="15992" y="1940"/>
                  </a:lnTo>
                  <a:lnTo>
                    <a:pt x="16042" y="1923"/>
                  </a:lnTo>
                  <a:lnTo>
                    <a:pt x="16134" y="1940"/>
                  </a:lnTo>
                  <a:lnTo>
                    <a:pt x="16155" y="1918"/>
                  </a:lnTo>
                  <a:lnTo>
                    <a:pt x="16181" y="1918"/>
                  </a:lnTo>
                  <a:lnTo>
                    <a:pt x="16181" y="1906"/>
                  </a:lnTo>
                  <a:lnTo>
                    <a:pt x="16198" y="1902"/>
                  </a:lnTo>
                  <a:lnTo>
                    <a:pt x="16209" y="1918"/>
                  </a:lnTo>
                  <a:lnTo>
                    <a:pt x="16202" y="1906"/>
                  </a:lnTo>
                  <a:lnTo>
                    <a:pt x="16202" y="1902"/>
                  </a:lnTo>
                  <a:lnTo>
                    <a:pt x="16240" y="1885"/>
                  </a:lnTo>
                  <a:lnTo>
                    <a:pt x="16273" y="1885"/>
                  </a:lnTo>
                  <a:lnTo>
                    <a:pt x="16240" y="1890"/>
                  </a:lnTo>
                  <a:lnTo>
                    <a:pt x="16278" y="1918"/>
                  </a:lnTo>
                  <a:lnTo>
                    <a:pt x="16257" y="1935"/>
                  </a:lnTo>
                  <a:lnTo>
                    <a:pt x="16257" y="1956"/>
                  </a:lnTo>
                  <a:lnTo>
                    <a:pt x="16311" y="1961"/>
                  </a:lnTo>
                  <a:lnTo>
                    <a:pt x="16316" y="1956"/>
                  </a:lnTo>
                  <a:lnTo>
                    <a:pt x="16306" y="1935"/>
                  </a:lnTo>
                  <a:lnTo>
                    <a:pt x="16311" y="1923"/>
                  </a:lnTo>
                  <a:lnTo>
                    <a:pt x="16361" y="1923"/>
                  </a:lnTo>
                  <a:lnTo>
                    <a:pt x="16387" y="1902"/>
                  </a:lnTo>
                  <a:lnTo>
                    <a:pt x="16387" y="1866"/>
                  </a:lnTo>
                  <a:lnTo>
                    <a:pt x="16365" y="1866"/>
                  </a:lnTo>
                  <a:lnTo>
                    <a:pt x="16361" y="1845"/>
                  </a:lnTo>
                  <a:lnTo>
                    <a:pt x="16332" y="1812"/>
                  </a:lnTo>
                  <a:lnTo>
                    <a:pt x="16344" y="1795"/>
                  </a:lnTo>
                  <a:lnTo>
                    <a:pt x="16365" y="1795"/>
                  </a:lnTo>
                  <a:lnTo>
                    <a:pt x="16370" y="1779"/>
                  </a:lnTo>
                  <a:lnTo>
                    <a:pt x="16382" y="1774"/>
                  </a:lnTo>
                  <a:lnTo>
                    <a:pt x="16543" y="1795"/>
                  </a:lnTo>
                  <a:lnTo>
                    <a:pt x="16613" y="1812"/>
                  </a:lnTo>
                  <a:lnTo>
                    <a:pt x="16672" y="1845"/>
                  </a:lnTo>
                  <a:lnTo>
                    <a:pt x="16656" y="1850"/>
                  </a:lnTo>
                  <a:lnTo>
                    <a:pt x="16656" y="1866"/>
                  </a:lnTo>
                  <a:lnTo>
                    <a:pt x="16684" y="1850"/>
                  </a:lnTo>
                  <a:lnTo>
                    <a:pt x="16739" y="1866"/>
                  </a:lnTo>
                  <a:lnTo>
                    <a:pt x="16722" y="1878"/>
                  </a:lnTo>
                  <a:lnTo>
                    <a:pt x="16819" y="1906"/>
                  </a:lnTo>
                  <a:lnTo>
                    <a:pt x="16814" y="1906"/>
                  </a:lnTo>
                  <a:lnTo>
                    <a:pt x="16831" y="1923"/>
                  </a:lnTo>
                  <a:lnTo>
                    <a:pt x="16899" y="1956"/>
                  </a:lnTo>
                  <a:lnTo>
                    <a:pt x="16906" y="1973"/>
                  </a:lnTo>
                  <a:lnTo>
                    <a:pt x="16899" y="1977"/>
                  </a:lnTo>
                  <a:lnTo>
                    <a:pt x="16906" y="1989"/>
                  </a:lnTo>
                  <a:lnTo>
                    <a:pt x="16916" y="1977"/>
                  </a:lnTo>
                  <a:lnTo>
                    <a:pt x="16958" y="1902"/>
                  </a:lnTo>
                  <a:lnTo>
                    <a:pt x="16954" y="1902"/>
                  </a:lnTo>
                  <a:lnTo>
                    <a:pt x="16970" y="1890"/>
                  </a:lnTo>
                  <a:lnTo>
                    <a:pt x="16937" y="1902"/>
                  </a:lnTo>
                  <a:lnTo>
                    <a:pt x="16916" y="1885"/>
                  </a:lnTo>
                  <a:lnTo>
                    <a:pt x="16890" y="1850"/>
                  </a:lnTo>
                  <a:lnTo>
                    <a:pt x="16890" y="1812"/>
                  </a:lnTo>
                  <a:lnTo>
                    <a:pt x="16883" y="1824"/>
                  </a:lnTo>
                  <a:lnTo>
                    <a:pt x="16814" y="1795"/>
                  </a:lnTo>
                  <a:lnTo>
                    <a:pt x="16814" y="1824"/>
                  </a:lnTo>
                  <a:lnTo>
                    <a:pt x="16798" y="1812"/>
                  </a:lnTo>
                  <a:lnTo>
                    <a:pt x="16798" y="1791"/>
                  </a:lnTo>
                  <a:lnTo>
                    <a:pt x="16807" y="1758"/>
                  </a:lnTo>
                  <a:lnTo>
                    <a:pt x="16814" y="1751"/>
                  </a:lnTo>
                  <a:lnTo>
                    <a:pt x="16814" y="1767"/>
                  </a:lnTo>
                  <a:lnTo>
                    <a:pt x="16831" y="1758"/>
                  </a:lnTo>
                  <a:lnTo>
                    <a:pt x="16835" y="1739"/>
                  </a:lnTo>
                  <a:lnTo>
                    <a:pt x="16819" y="1734"/>
                  </a:lnTo>
                  <a:lnTo>
                    <a:pt x="16835" y="1663"/>
                  </a:lnTo>
                  <a:lnTo>
                    <a:pt x="16819" y="1647"/>
                  </a:lnTo>
                  <a:lnTo>
                    <a:pt x="16793" y="1663"/>
                  </a:lnTo>
                  <a:lnTo>
                    <a:pt x="16793" y="1640"/>
                  </a:lnTo>
                  <a:lnTo>
                    <a:pt x="16807" y="1614"/>
                  </a:lnTo>
                  <a:lnTo>
                    <a:pt x="16798" y="1630"/>
                  </a:lnTo>
                  <a:lnTo>
                    <a:pt x="16793" y="1623"/>
                  </a:lnTo>
                  <a:lnTo>
                    <a:pt x="16807" y="1590"/>
                  </a:lnTo>
                  <a:lnTo>
                    <a:pt x="16883" y="1557"/>
                  </a:lnTo>
                  <a:lnTo>
                    <a:pt x="16916" y="1519"/>
                  </a:lnTo>
                  <a:lnTo>
                    <a:pt x="16954" y="1401"/>
                  </a:lnTo>
                  <a:lnTo>
                    <a:pt x="16970" y="1384"/>
                  </a:lnTo>
                  <a:lnTo>
                    <a:pt x="16975" y="1368"/>
                  </a:lnTo>
                  <a:lnTo>
                    <a:pt x="17013" y="1363"/>
                  </a:lnTo>
                  <a:lnTo>
                    <a:pt x="16991" y="1368"/>
                  </a:lnTo>
                  <a:lnTo>
                    <a:pt x="16996" y="1375"/>
                  </a:lnTo>
                  <a:lnTo>
                    <a:pt x="17138" y="1368"/>
                  </a:lnTo>
                  <a:lnTo>
                    <a:pt x="17171" y="1384"/>
                  </a:lnTo>
                  <a:lnTo>
                    <a:pt x="17154" y="1384"/>
                  </a:lnTo>
                  <a:lnTo>
                    <a:pt x="17223" y="1401"/>
                  </a:lnTo>
                  <a:lnTo>
                    <a:pt x="17213" y="1418"/>
                  </a:lnTo>
                  <a:lnTo>
                    <a:pt x="17230" y="1458"/>
                  </a:lnTo>
                  <a:lnTo>
                    <a:pt x="17197" y="1503"/>
                  </a:lnTo>
                  <a:lnTo>
                    <a:pt x="17192" y="1512"/>
                  </a:lnTo>
                  <a:lnTo>
                    <a:pt x="17192" y="1536"/>
                  </a:lnTo>
                  <a:lnTo>
                    <a:pt x="17154" y="1569"/>
                  </a:lnTo>
                  <a:lnTo>
                    <a:pt x="17171" y="1590"/>
                  </a:lnTo>
                  <a:lnTo>
                    <a:pt x="17209" y="1614"/>
                  </a:lnTo>
                  <a:lnTo>
                    <a:pt x="17209" y="1623"/>
                  </a:lnTo>
                  <a:lnTo>
                    <a:pt x="17223" y="1647"/>
                  </a:lnTo>
                  <a:lnTo>
                    <a:pt x="17213" y="1680"/>
                  </a:lnTo>
                  <a:lnTo>
                    <a:pt x="17223" y="1701"/>
                  </a:lnTo>
                  <a:lnTo>
                    <a:pt x="17192" y="1722"/>
                  </a:lnTo>
                  <a:lnTo>
                    <a:pt x="17209" y="1734"/>
                  </a:lnTo>
                  <a:lnTo>
                    <a:pt x="17197" y="1751"/>
                  </a:lnTo>
                  <a:lnTo>
                    <a:pt x="17213" y="1774"/>
                  </a:lnTo>
                  <a:lnTo>
                    <a:pt x="17197" y="1807"/>
                  </a:lnTo>
                  <a:lnTo>
                    <a:pt x="17209" y="1829"/>
                  </a:lnTo>
                  <a:lnTo>
                    <a:pt x="17197" y="1866"/>
                  </a:lnTo>
                  <a:lnTo>
                    <a:pt x="17209" y="1890"/>
                  </a:lnTo>
                  <a:lnTo>
                    <a:pt x="17213" y="1906"/>
                  </a:lnTo>
                  <a:lnTo>
                    <a:pt x="17268" y="1940"/>
                  </a:lnTo>
                  <a:lnTo>
                    <a:pt x="17284" y="1956"/>
                  </a:lnTo>
                  <a:lnTo>
                    <a:pt x="17268" y="1944"/>
                  </a:lnTo>
                  <a:lnTo>
                    <a:pt x="17246" y="1989"/>
                  </a:lnTo>
                  <a:lnTo>
                    <a:pt x="17239" y="1994"/>
                  </a:lnTo>
                  <a:lnTo>
                    <a:pt x="17251" y="2029"/>
                  </a:lnTo>
                  <a:lnTo>
                    <a:pt x="17239" y="2046"/>
                  </a:lnTo>
                  <a:lnTo>
                    <a:pt x="17209" y="2055"/>
                  </a:lnTo>
                  <a:lnTo>
                    <a:pt x="17209" y="2067"/>
                  </a:lnTo>
                  <a:lnTo>
                    <a:pt x="17192" y="2072"/>
                  </a:lnTo>
                  <a:lnTo>
                    <a:pt x="17197" y="2084"/>
                  </a:lnTo>
                  <a:lnTo>
                    <a:pt x="17192" y="2088"/>
                  </a:lnTo>
                  <a:lnTo>
                    <a:pt x="17171" y="2100"/>
                  </a:lnTo>
                  <a:lnTo>
                    <a:pt x="17185" y="2112"/>
                  </a:lnTo>
                  <a:lnTo>
                    <a:pt x="17176" y="2105"/>
                  </a:lnTo>
                  <a:lnTo>
                    <a:pt x="17154" y="2138"/>
                  </a:lnTo>
                  <a:lnTo>
                    <a:pt x="17121" y="2138"/>
                  </a:lnTo>
                  <a:lnTo>
                    <a:pt x="17138" y="2166"/>
                  </a:lnTo>
                  <a:lnTo>
                    <a:pt x="17138" y="2178"/>
                  </a:lnTo>
                  <a:lnTo>
                    <a:pt x="17100" y="2178"/>
                  </a:lnTo>
                  <a:lnTo>
                    <a:pt x="17088" y="2183"/>
                  </a:lnTo>
                  <a:lnTo>
                    <a:pt x="17079" y="2195"/>
                  </a:lnTo>
                  <a:lnTo>
                    <a:pt x="17046" y="2178"/>
                  </a:lnTo>
                  <a:lnTo>
                    <a:pt x="17079" y="2162"/>
                  </a:lnTo>
                  <a:lnTo>
                    <a:pt x="17046" y="2166"/>
                  </a:lnTo>
                  <a:lnTo>
                    <a:pt x="17013" y="2157"/>
                  </a:lnTo>
                  <a:lnTo>
                    <a:pt x="16954" y="2157"/>
                  </a:lnTo>
                  <a:lnTo>
                    <a:pt x="16958" y="2162"/>
                  </a:lnTo>
                  <a:lnTo>
                    <a:pt x="16958" y="2178"/>
                  </a:lnTo>
                  <a:lnTo>
                    <a:pt x="16982" y="2195"/>
                  </a:lnTo>
                  <a:lnTo>
                    <a:pt x="17050" y="2216"/>
                  </a:lnTo>
                  <a:lnTo>
                    <a:pt x="17133" y="2211"/>
                  </a:lnTo>
                  <a:lnTo>
                    <a:pt x="17171" y="2223"/>
                  </a:lnTo>
                  <a:lnTo>
                    <a:pt x="17192" y="2216"/>
                  </a:lnTo>
                  <a:lnTo>
                    <a:pt x="17192" y="2195"/>
                  </a:lnTo>
                  <a:lnTo>
                    <a:pt x="17197" y="2178"/>
                  </a:lnTo>
                  <a:lnTo>
                    <a:pt x="17230" y="2178"/>
                  </a:lnTo>
                  <a:lnTo>
                    <a:pt x="17294" y="2138"/>
                  </a:lnTo>
                  <a:lnTo>
                    <a:pt x="17298" y="2105"/>
                  </a:lnTo>
                  <a:lnTo>
                    <a:pt x="17298" y="2100"/>
                  </a:lnTo>
                  <a:lnTo>
                    <a:pt x="17353" y="2051"/>
                  </a:lnTo>
                  <a:lnTo>
                    <a:pt x="17360" y="2018"/>
                  </a:lnTo>
                  <a:lnTo>
                    <a:pt x="17353" y="1994"/>
                  </a:lnTo>
                  <a:lnTo>
                    <a:pt x="17332" y="1961"/>
                  </a:lnTo>
                  <a:lnTo>
                    <a:pt x="17336" y="1944"/>
                  </a:lnTo>
                  <a:lnTo>
                    <a:pt x="17336" y="1923"/>
                  </a:lnTo>
                  <a:lnTo>
                    <a:pt x="17353" y="1918"/>
                  </a:lnTo>
                  <a:lnTo>
                    <a:pt x="17483" y="1890"/>
                  </a:lnTo>
                  <a:lnTo>
                    <a:pt x="17495" y="1902"/>
                  </a:lnTo>
                  <a:lnTo>
                    <a:pt x="17495" y="1918"/>
                  </a:lnTo>
                  <a:lnTo>
                    <a:pt x="17537" y="1944"/>
                  </a:lnTo>
                  <a:lnTo>
                    <a:pt x="17537" y="1961"/>
                  </a:lnTo>
                  <a:lnTo>
                    <a:pt x="17532" y="1973"/>
                  </a:lnTo>
                  <a:lnTo>
                    <a:pt x="17537" y="1977"/>
                  </a:lnTo>
                  <a:lnTo>
                    <a:pt x="17532" y="2013"/>
                  </a:lnTo>
                  <a:lnTo>
                    <a:pt x="17537" y="2018"/>
                  </a:lnTo>
                  <a:lnTo>
                    <a:pt x="17520" y="2034"/>
                  </a:lnTo>
                  <a:lnTo>
                    <a:pt x="17570" y="2067"/>
                  </a:lnTo>
                  <a:lnTo>
                    <a:pt x="17662" y="2067"/>
                  </a:lnTo>
                  <a:lnTo>
                    <a:pt x="17646" y="2051"/>
                  </a:lnTo>
                  <a:lnTo>
                    <a:pt x="17624" y="2055"/>
                  </a:lnTo>
                  <a:lnTo>
                    <a:pt x="17617" y="2055"/>
                  </a:lnTo>
                  <a:lnTo>
                    <a:pt x="17629" y="2051"/>
                  </a:lnTo>
                  <a:lnTo>
                    <a:pt x="17549" y="2046"/>
                  </a:lnTo>
                  <a:lnTo>
                    <a:pt x="17554" y="1994"/>
                  </a:lnTo>
                  <a:lnTo>
                    <a:pt x="17601" y="1977"/>
                  </a:lnTo>
                  <a:lnTo>
                    <a:pt x="17587" y="1961"/>
                  </a:lnTo>
                  <a:lnTo>
                    <a:pt x="17587" y="1944"/>
                  </a:lnTo>
                  <a:lnTo>
                    <a:pt x="17570" y="1944"/>
                  </a:lnTo>
                  <a:lnTo>
                    <a:pt x="17563" y="1902"/>
                  </a:lnTo>
                  <a:lnTo>
                    <a:pt x="17445" y="1850"/>
                  </a:lnTo>
                  <a:lnTo>
                    <a:pt x="17407" y="1850"/>
                  </a:lnTo>
                  <a:lnTo>
                    <a:pt x="17360" y="1878"/>
                  </a:lnTo>
                  <a:lnTo>
                    <a:pt x="17332" y="1866"/>
                  </a:lnTo>
                  <a:lnTo>
                    <a:pt x="17298" y="1878"/>
                  </a:lnTo>
                  <a:lnTo>
                    <a:pt x="17284" y="1862"/>
                  </a:lnTo>
                  <a:lnTo>
                    <a:pt x="17298" y="1829"/>
                  </a:lnTo>
                  <a:lnTo>
                    <a:pt x="17268" y="1791"/>
                  </a:lnTo>
                  <a:lnTo>
                    <a:pt x="17294" y="1751"/>
                  </a:lnTo>
                  <a:lnTo>
                    <a:pt x="17284" y="1739"/>
                  </a:lnTo>
                  <a:lnTo>
                    <a:pt x="17332" y="1696"/>
                  </a:lnTo>
                  <a:lnTo>
                    <a:pt x="17332" y="1668"/>
                  </a:lnTo>
                  <a:lnTo>
                    <a:pt x="17298" y="1647"/>
                  </a:lnTo>
                  <a:lnTo>
                    <a:pt x="17298" y="1630"/>
                  </a:lnTo>
                  <a:lnTo>
                    <a:pt x="17268" y="1590"/>
                  </a:lnTo>
                  <a:lnTo>
                    <a:pt x="17239" y="1573"/>
                  </a:lnTo>
                  <a:lnTo>
                    <a:pt x="17268" y="1545"/>
                  </a:lnTo>
                  <a:lnTo>
                    <a:pt x="17268" y="1529"/>
                  </a:lnTo>
                  <a:lnTo>
                    <a:pt x="17268" y="1519"/>
                  </a:lnTo>
                  <a:lnTo>
                    <a:pt x="17369" y="1479"/>
                  </a:lnTo>
                  <a:lnTo>
                    <a:pt x="17386" y="1462"/>
                  </a:lnTo>
                  <a:lnTo>
                    <a:pt x="17386" y="1441"/>
                  </a:lnTo>
                  <a:lnTo>
                    <a:pt x="17374" y="1408"/>
                  </a:lnTo>
                  <a:lnTo>
                    <a:pt x="17360" y="1384"/>
                  </a:lnTo>
                  <a:lnTo>
                    <a:pt x="17374" y="1375"/>
                  </a:lnTo>
                  <a:lnTo>
                    <a:pt x="17402" y="1384"/>
                  </a:lnTo>
                  <a:lnTo>
                    <a:pt x="17412" y="1392"/>
                  </a:lnTo>
                  <a:lnTo>
                    <a:pt x="17402" y="1401"/>
                  </a:lnTo>
                  <a:lnTo>
                    <a:pt x="17424" y="1418"/>
                  </a:lnTo>
                  <a:lnTo>
                    <a:pt x="17412" y="1425"/>
                  </a:lnTo>
                  <a:lnTo>
                    <a:pt x="17428" y="1458"/>
                  </a:lnTo>
                  <a:lnTo>
                    <a:pt x="17391" y="1512"/>
                  </a:lnTo>
                  <a:lnTo>
                    <a:pt x="17391" y="1529"/>
                  </a:lnTo>
                  <a:lnTo>
                    <a:pt x="17407" y="1545"/>
                  </a:lnTo>
                  <a:lnTo>
                    <a:pt x="17407" y="1557"/>
                  </a:lnTo>
                  <a:lnTo>
                    <a:pt x="17391" y="1569"/>
                  </a:lnTo>
                  <a:lnTo>
                    <a:pt x="17391" y="1573"/>
                  </a:lnTo>
                  <a:lnTo>
                    <a:pt x="17428" y="1590"/>
                  </a:lnTo>
                  <a:lnTo>
                    <a:pt x="17511" y="1602"/>
                  </a:lnTo>
                  <a:lnTo>
                    <a:pt x="17511" y="1614"/>
                  </a:lnTo>
                  <a:lnTo>
                    <a:pt x="17516" y="1607"/>
                  </a:lnTo>
                  <a:lnTo>
                    <a:pt x="17563" y="1607"/>
                  </a:lnTo>
                  <a:lnTo>
                    <a:pt x="17575" y="1614"/>
                  </a:lnTo>
                  <a:lnTo>
                    <a:pt x="17587" y="1630"/>
                  </a:lnTo>
                  <a:lnTo>
                    <a:pt x="17617" y="1640"/>
                  </a:lnTo>
                  <a:lnTo>
                    <a:pt x="17662" y="1630"/>
                  </a:lnTo>
                  <a:lnTo>
                    <a:pt x="17624" y="1630"/>
                  </a:lnTo>
                  <a:lnTo>
                    <a:pt x="17617" y="1630"/>
                  </a:lnTo>
                  <a:lnTo>
                    <a:pt x="17624" y="1614"/>
                  </a:lnTo>
                  <a:lnTo>
                    <a:pt x="17608" y="1614"/>
                  </a:lnTo>
                  <a:lnTo>
                    <a:pt x="17624" y="1623"/>
                  </a:lnTo>
                  <a:lnTo>
                    <a:pt x="17617" y="1623"/>
                  </a:lnTo>
                  <a:lnTo>
                    <a:pt x="17601" y="1614"/>
                  </a:lnTo>
                  <a:lnTo>
                    <a:pt x="17608" y="1590"/>
                  </a:lnTo>
                  <a:lnTo>
                    <a:pt x="17575" y="1590"/>
                  </a:lnTo>
                  <a:lnTo>
                    <a:pt x="17587" y="1573"/>
                  </a:lnTo>
                  <a:lnTo>
                    <a:pt x="17570" y="1590"/>
                  </a:lnTo>
                  <a:lnTo>
                    <a:pt x="17549" y="1585"/>
                  </a:lnTo>
                  <a:lnTo>
                    <a:pt x="17554" y="1590"/>
                  </a:lnTo>
                  <a:lnTo>
                    <a:pt x="17461" y="1552"/>
                  </a:lnTo>
                  <a:lnTo>
                    <a:pt x="17445" y="1512"/>
                  </a:lnTo>
                  <a:lnTo>
                    <a:pt x="17457" y="1503"/>
                  </a:lnTo>
                  <a:lnTo>
                    <a:pt x="17511" y="1491"/>
                  </a:lnTo>
                  <a:lnTo>
                    <a:pt x="17554" y="1519"/>
                  </a:lnTo>
                  <a:lnTo>
                    <a:pt x="17591" y="1512"/>
                  </a:lnTo>
                  <a:lnTo>
                    <a:pt x="17601" y="1495"/>
                  </a:lnTo>
                  <a:lnTo>
                    <a:pt x="17587" y="1479"/>
                  </a:lnTo>
                  <a:lnTo>
                    <a:pt x="17537" y="1479"/>
                  </a:lnTo>
                  <a:lnTo>
                    <a:pt x="17549" y="1462"/>
                  </a:lnTo>
                  <a:lnTo>
                    <a:pt x="17563" y="1474"/>
                  </a:lnTo>
                  <a:lnTo>
                    <a:pt x="17575" y="1446"/>
                  </a:lnTo>
                  <a:lnTo>
                    <a:pt x="17624" y="1441"/>
                  </a:lnTo>
                  <a:lnTo>
                    <a:pt x="17693" y="1446"/>
                  </a:lnTo>
                  <a:lnTo>
                    <a:pt x="17785" y="1479"/>
                  </a:lnTo>
                  <a:lnTo>
                    <a:pt x="17785" y="1491"/>
                  </a:lnTo>
                  <a:lnTo>
                    <a:pt x="17769" y="1491"/>
                  </a:lnTo>
                  <a:lnTo>
                    <a:pt x="17839" y="1536"/>
                  </a:lnTo>
                  <a:lnTo>
                    <a:pt x="17927" y="1529"/>
                  </a:lnTo>
                  <a:lnTo>
                    <a:pt x="17953" y="1536"/>
                  </a:lnTo>
                  <a:lnTo>
                    <a:pt x="17941" y="1552"/>
                  </a:lnTo>
                  <a:lnTo>
                    <a:pt x="17932" y="1569"/>
                  </a:lnTo>
                  <a:lnTo>
                    <a:pt x="17889" y="1590"/>
                  </a:lnTo>
                  <a:lnTo>
                    <a:pt x="17894" y="1614"/>
                  </a:lnTo>
                  <a:lnTo>
                    <a:pt x="17877" y="1630"/>
                  </a:lnTo>
                  <a:lnTo>
                    <a:pt x="17894" y="1656"/>
                  </a:lnTo>
                  <a:lnTo>
                    <a:pt x="17872" y="1684"/>
                  </a:lnTo>
                  <a:lnTo>
                    <a:pt x="17894" y="1734"/>
                  </a:lnTo>
                  <a:lnTo>
                    <a:pt x="17877" y="1684"/>
                  </a:lnTo>
                  <a:lnTo>
                    <a:pt x="17898" y="1680"/>
                  </a:lnTo>
                  <a:lnTo>
                    <a:pt x="17898" y="1656"/>
                  </a:lnTo>
                  <a:lnTo>
                    <a:pt x="17910" y="1630"/>
                  </a:lnTo>
                  <a:lnTo>
                    <a:pt x="17948" y="1640"/>
                  </a:lnTo>
                  <a:lnTo>
                    <a:pt x="17941" y="1701"/>
                  </a:lnTo>
                  <a:lnTo>
                    <a:pt x="17910" y="1722"/>
                  </a:lnTo>
                  <a:lnTo>
                    <a:pt x="17910" y="1734"/>
                  </a:lnTo>
                  <a:lnTo>
                    <a:pt x="17948" y="1751"/>
                  </a:lnTo>
                  <a:lnTo>
                    <a:pt x="17948" y="1739"/>
                  </a:lnTo>
                  <a:lnTo>
                    <a:pt x="17932" y="1718"/>
                  </a:lnTo>
                  <a:lnTo>
                    <a:pt x="17969" y="1718"/>
                  </a:lnTo>
                  <a:lnTo>
                    <a:pt x="17986" y="1701"/>
                  </a:lnTo>
                  <a:lnTo>
                    <a:pt x="17969" y="1640"/>
                  </a:lnTo>
                  <a:lnTo>
                    <a:pt x="17948" y="1602"/>
                  </a:lnTo>
                  <a:lnTo>
                    <a:pt x="17979" y="1545"/>
                  </a:lnTo>
                  <a:lnTo>
                    <a:pt x="17965" y="1519"/>
                  </a:lnTo>
                  <a:lnTo>
                    <a:pt x="17915" y="1512"/>
                  </a:lnTo>
                  <a:lnTo>
                    <a:pt x="17877" y="1479"/>
                  </a:lnTo>
                  <a:lnTo>
                    <a:pt x="17889" y="1474"/>
                  </a:lnTo>
                  <a:lnTo>
                    <a:pt x="17877" y="1458"/>
                  </a:lnTo>
                  <a:lnTo>
                    <a:pt x="17806" y="1446"/>
                  </a:lnTo>
                  <a:lnTo>
                    <a:pt x="17780" y="1425"/>
                  </a:lnTo>
                  <a:lnTo>
                    <a:pt x="17785" y="1408"/>
                  </a:lnTo>
                  <a:lnTo>
                    <a:pt x="17769" y="1392"/>
                  </a:lnTo>
                  <a:lnTo>
                    <a:pt x="17785" y="1375"/>
                  </a:lnTo>
                  <a:lnTo>
                    <a:pt x="17785" y="1363"/>
                  </a:lnTo>
                  <a:lnTo>
                    <a:pt x="17752" y="1347"/>
                  </a:lnTo>
                  <a:lnTo>
                    <a:pt x="17764" y="1335"/>
                  </a:lnTo>
                  <a:lnTo>
                    <a:pt x="17738" y="1335"/>
                  </a:lnTo>
                  <a:lnTo>
                    <a:pt x="17764" y="1330"/>
                  </a:lnTo>
                  <a:lnTo>
                    <a:pt x="17747" y="1314"/>
                  </a:lnTo>
                  <a:lnTo>
                    <a:pt x="17769" y="1290"/>
                  </a:lnTo>
                  <a:lnTo>
                    <a:pt x="17764" y="1290"/>
                  </a:lnTo>
                  <a:lnTo>
                    <a:pt x="17764" y="1281"/>
                  </a:lnTo>
                  <a:lnTo>
                    <a:pt x="18054" y="1252"/>
                  </a:lnTo>
                  <a:lnTo>
                    <a:pt x="18092" y="1257"/>
                  </a:lnTo>
                  <a:lnTo>
                    <a:pt x="18146" y="1240"/>
                  </a:lnTo>
                  <a:lnTo>
                    <a:pt x="18222" y="1240"/>
                  </a:lnTo>
                  <a:lnTo>
                    <a:pt x="18217" y="1252"/>
                  </a:lnTo>
                  <a:lnTo>
                    <a:pt x="18130" y="1297"/>
                  </a:lnTo>
                  <a:lnTo>
                    <a:pt x="18130" y="1314"/>
                  </a:lnTo>
                  <a:lnTo>
                    <a:pt x="18196" y="1347"/>
                  </a:lnTo>
                  <a:lnTo>
                    <a:pt x="18201" y="1363"/>
                  </a:lnTo>
                  <a:lnTo>
                    <a:pt x="18196" y="1335"/>
                  </a:lnTo>
                  <a:lnTo>
                    <a:pt x="18142" y="1314"/>
                  </a:lnTo>
                  <a:lnTo>
                    <a:pt x="18130" y="1290"/>
                  </a:lnTo>
                  <a:lnTo>
                    <a:pt x="18234" y="1273"/>
                  </a:lnTo>
                  <a:lnTo>
                    <a:pt x="18267" y="1236"/>
                  </a:lnTo>
                  <a:lnTo>
                    <a:pt x="18239" y="1240"/>
                  </a:lnTo>
                  <a:lnTo>
                    <a:pt x="18217" y="1219"/>
                  </a:lnTo>
                  <a:lnTo>
                    <a:pt x="18250" y="1219"/>
                  </a:lnTo>
                  <a:lnTo>
                    <a:pt x="18239" y="1207"/>
                  </a:lnTo>
                  <a:lnTo>
                    <a:pt x="18213" y="1207"/>
                  </a:lnTo>
                  <a:lnTo>
                    <a:pt x="18201" y="1186"/>
                  </a:lnTo>
                  <a:lnTo>
                    <a:pt x="18184" y="1186"/>
                  </a:lnTo>
                  <a:lnTo>
                    <a:pt x="18142" y="1179"/>
                  </a:lnTo>
                  <a:lnTo>
                    <a:pt x="18142" y="1170"/>
                  </a:lnTo>
                  <a:lnTo>
                    <a:pt x="18168" y="1179"/>
                  </a:lnTo>
                  <a:lnTo>
                    <a:pt x="18146" y="1162"/>
                  </a:lnTo>
                  <a:lnTo>
                    <a:pt x="18180" y="1153"/>
                  </a:lnTo>
                  <a:lnTo>
                    <a:pt x="18213" y="1162"/>
                  </a:lnTo>
                  <a:lnTo>
                    <a:pt x="18196" y="1179"/>
                  </a:lnTo>
                  <a:lnTo>
                    <a:pt x="18222" y="1170"/>
                  </a:lnTo>
                  <a:lnTo>
                    <a:pt x="18184" y="1146"/>
                  </a:lnTo>
                  <a:lnTo>
                    <a:pt x="18196" y="1141"/>
                  </a:lnTo>
                  <a:lnTo>
                    <a:pt x="18184" y="1141"/>
                  </a:lnTo>
                  <a:lnTo>
                    <a:pt x="18130" y="1129"/>
                  </a:lnTo>
                  <a:lnTo>
                    <a:pt x="18158" y="1113"/>
                  </a:lnTo>
                  <a:lnTo>
                    <a:pt x="18146" y="1108"/>
                  </a:lnTo>
                  <a:lnTo>
                    <a:pt x="18213" y="1129"/>
                  </a:lnTo>
                  <a:lnTo>
                    <a:pt x="18213" y="1125"/>
                  </a:lnTo>
                  <a:lnTo>
                    <a:pt x="18201" y="1125"/>
                  </a:lnTo>
                  <a:lnTo>
                    <a:pt x="18239" y="1087"/>
                  </a:lnTo>
                  <a:lnTo>
                    <a:pt x="18234" y="1075"/>
                  </a:lnTo>
                  <a:lnTo>
                    <a:pt x="18255" y="1087"/>
                  </a:lnTo>
                  <a:lnTo>
                    <a:pt x="18272" y="1075"/>
                  </a:lnTo>
                  <a:lnTo>
                    <a:pt x="18213" y="1070"/>
                  </a:lnTo>
                  <a:lnTo>
                    <a:pt x="18217" y="1051"/>
                  </a:lnTo>
                  <a:lnTo>
                    <a:pt x="18288" y="1058"/>
                  </a:lnTo>
                  <a:lnTo>
                    <a:pt x="18373" y="1002"/>
                  </a:lnTo>
                  <a:lnTo>
                    <a:pt x="18395" y="1014"/>
                  </a:lnTo>
                  <a:lnTo>
                    <a:pt x="18428" y="997"/>
                  </a:lnTo>
                  <a:lnTo>
                    <a:pt x="18487" y="981"/>
                  </a:lnTo>
                  <a:lnTo>
                    <a:pt x="18541" y="981"/>
                  </a:lnTo>
                  <a:lnTo>
                    <a:pt x="18546" y="976"/>
                  </a:lnTo>
                  <a:lnTo>
                    <a:pt x="18720" y="943"/>
                  </a:lnTo>
                  <a:lnTo>
                    <a:pt x="18671" y="943"/>
                  </a:lnTo>
                  <a:lnTo>
                    <a:pt x="18666" y="947"/>
                  </a:lnTo>
                  <a:lnTo>
                    <a:pt x="18654" y="931"/>
                  </a:lnTo>
                  <a:lnTo>
                    <a:pt x="18645" y="943"/>
                  </a:lnTo>
                  <a:lnTo>
                    <a:pt x="18645" y="947"/>
                  </a:lnTo>
                  <a:lnTo>
                    <a:pt x="18628" y="943"/>
                  </a:lnTo>
                  <a:lnTo>
                    <a:pt x="18633" y="924"/>
                  </a:lnTo>
                  <a:lnTo>
                    <a:pt x="18654" y="924"/>
                  </a:lnTo>
                  <a:lnTo>
                    <a:pt x="18650" y="919"/>
                  </a:lnTo>
                  <a:lnTo>
                    <a:pt x="18666" y="919"/>
                  </a:lnTo>
                  <a:lnTo>
                    <a:pt x="18654" y="924"/>
                  </a:lnTo>
                  <a:lnTo>
                    <a:pt x="18666" y="931"/>
                  </a:lnTo>
                  <a:lnTo>
                    <a:pt x="18709" y="924"/>
                  </a:lnTo>
                  <a:lnTo>
                    <a:pt x="18683" y="907"/>
                  </a:lnTo>
                  <a:lnTo>
                    <a:pt x="18735" y="907"/>
                  </a:lnTo>
                  <a:lnTo>
                    <a:pt x="18742" y="924"/>
                  </a:lnTo>
                  <a:lnTo>
                    <a:pt x="18758" y="919"/>
                  </a:lnTo>
                  <a:lnTo>
                    <a:pt x="18742" y="907"/>
                  </a:lnTo>
                  <a:lnTo>
                    <a:pt x="18751" y="907"/>
                  </a:lnTo>
                  <a:lnTo>
                    <a:pt x="18865" y="919"/>
                  </a:lnTo>
                  <a:lnTo>
                    <a:pt x="18817" y="947"/>
                  </a:lnTo>
                  <a:lnTo>
                    <a:pt x="18827" y="947"/>
                  </a:lnTo>
                  <a:lnTo>
                    <a:pt x="18843" y="943"/>
                  </a:lnTo>
                  <a:lnTo>
                    <a:pt x="18881" y="931"/>
                  </a:lnTo>
                  <a:lnTo>
                    <a:pt x="18886" y="943"/>
                  </a:lnTo>
                  <a:lnTo>
                    <a:pt x="18881" y="947"/>
                  </a:lnTo>
                  <a:lnTo>
                    <a:pt x="18935" y="924"/>
                  </a:lnTo>
                  <a:lnTo>
                    <a:pt x="18940" y="924"/>
                  </a:lnTo>
                  <a:lnTo>
                    <a:pt x="18924" y="943"/>
                  </a:lnTo>
                  <a:lnTo>
                    <a:pt x="18973" y="931"/>
                  </a:lnTo>
                  <a:lnTo>
                    <a:pt x="18957" y="924"/>
                  </a:lnTo>
                  <a:lnTo>
                    <a:pt x="18994" y="919"/>
                  </a:lnTo>
                  <a:lnTo>
                    <a:pt x="19006" y="919"/>
                  </a:lnTo>
                  <a:lnTo>
                    <a:pt x="18978" y="907"/>
                  </a:lnTo>
                  <a:lnTo>
                    <a:pt x="19044" y="891"/>
                  </a:lnTo>
                  <a:lnTo>
                    <a:pt x="19032" y="903"/>
                  </a:lnTo>
                  <a:lnTo>
                    <a:pt x="19082" y="903"/>
                  </a:lnTo>
                  <a:lnTo>
                    <a:pt x="19065" y="907"/>
                  </a:lnTo>
                  <a:lnTo>
                    <a:pt x="19098" y="907"/>
                  </a:lnTo>
                  <a:lnTo>
                    <a:pt x="19087" y="919"/>
                  </a:lnTo>
                  <a:lnTo>
                    <a:pt x="19113" y="924"/>
                  </a:lnTo>
                  <a:lnTo>
                    <a:pt x="19103" y="959"/>
                  </a:lnTo>
                  <a:lnTo>
                    <a:pt x="19075" y="964"/>
                  </a:lnTo>
                  <a:lnTo>
                    <a:pt x="19065" y="997"/>
                  </a:lnTo>
                  <a:lnTo>
                    <a:pt x="19103" y="1014"/>
                  </a:lnTo>
                  <a:lnTo>
                    <a:pt x="19141" y="1051"/>
                  </a:lnTo>
                  <a:lnTo>
                    <a:pt x="19136" y="1035"/>
                  </a:lnTo>
                  <a:lnTo>
                    <a:pt x="19113" y="1018"/>
                  </a:lnTo>
                  <a:lnTo>
                    <a:pt x="19120" y="1014"/>
                  </a:lnTo>
                  <a:lnTo>
                    <a:pt x="19075" y="997"/>
                  </a:lnTo>
                  <a:lnTo>
                    <a:pt x="19082" y="964"/>
                  </a:lnTo>
                  <a:lnTo>
                    <a:pt x="19103" y="964"/>
                  </a:lnTo>
                  <a:lnTo>
                    <a:pt x="19120" y="947"/>
                  </a:lnTo>
                  <a:lnTo>
                    <a:pt x="19120" y="919"/>
                  </a:lnTo>
                  <a:lnTo>
                    <a:pt x="19103" y="891"/>
                  </a:lnTo>
                  <a:lnTo>
                    <a:pt x="19061" y="874"/>
                  </a:lnTo>
                  <a:lnTo>
                    <a:pt x="19044" y="865"/>
                  </a:lnTo>
                  <a:lnTo>
                    <a:pt x="19188" y="853"/>
                  </a:lnTo>
                  <a:lnTo>
                    <a:pt x="19280" y="874"/>
                  </a:lnTo>
                  <a:lnTo>
                    <a:pt x="19188" y="848"/>
                  </a:lnTo>
                  <a:lnTo>
                    <a:pt x="19205" y="848"/>
                  </a:lnTo>
                  <a:lnTo>
                    <a:pt x="19212" y="820"/>
                  </a:lnTo>
                  <a:lnTo>
                    <a:pt x="19188" y="799"/>
                  </a:lnTo>
                  <a:lnTo>
                    <a:pt x="19195" y="780"/>
                  </a:lnTo>
                  <a:lnTo>
                    <a:pt x="19212" y="780"/>
                  </a:lnTo>
                  <a:lnTo>
                    <a:pt x="19212" y="763"/>
                  </a:lnTo>
                  <a:lnTo>
                    <a:pt x="19276" y="721"/>
                  </a:lnTo>
                  <a:lnTo>
                    <a:pt x="19292" y="725"/>
                  </a:lnTo>
                  <a:lnTo>
                    <a:pt x="19351" y="681"/>
                  </a:lnTo>
                  <a:lnTo>
                    <a:pt x="19427" y="671"/>
                  </a:lnTo>
                  <a:lnTo>
                    <a:pt x="19439" y="671"/>
                  </a:lnTo>
                  <a:lnTo>
                    <a:pt x="19427" y="681"/>
                  </a:lnTo>
                  <a:lnTo>
                    <a:pt x="19460" y="671"/>
                  </a:lnTo>
                  <a:lnTo>
                    <a:pt x="19476" y="697"/>
                  </a:lnTo>
                  <a:lnTo>
                    <a:pt x="19507" y="697"/>
                  </a:lnTo>
                  <a:lnTo>
                    <a:pt x="19535" y="697"/>
                  </a:lnTo>
                  <a:lnTo>
                    <a:pt x="19552" y="721"/>
                  </a:lnTo>
                  <a:lnTo>
                    <a:pt x="19566" y="725"/>
                  </a:lnTo>
                  <a:lnTo>
                    <a:pt x="19528" y="725"/>
                  </a:lnTo>
                  <a:lnTo>
                    <a:pt x="19514" y="742"/>
                  </a:lnTo>
                  <a:lnTo>
                    <a:pt x="19422" y="763"/>
                  </a:lnTo>
                  <a:lnTo>
                    <a:pt x="19545" y="758"/>
                  </a:lnTo>
                  <a:lnTo>
                    <a:pt x="19535" y="775"/>
                  </a:lnTo>
                  <a:lnTo>
                    <a:pt x="19514" y="780"/>
                  </a:lnTo>
                  <a:lnTo>
                    <a:pt x="19604" y="775"/>
                  </a:lnTo>
                  <a:lnTo>
                    <a:pt x="19654" y="792"/>
                  </a:lnTo>
                  <a:lnTo>
                    <a:pt x="19637" y="799"/>
                  </a:lnTo>
                  <a:lnTo>
                    <a:pt x="19642" y="799"/>
                  </a:lnTo>
                  <a:lnTo>
                    <a:pt x="19590" y="848"/>
                  </a:lnTo>
                  <a:lnTo>
                    <a:pt x="19573" y="848"/>
                  </a:lnTo>
                  <a:lnTo>
                    <a:pt x="19573" y="853"/>
                  </a:lnTo>
                  <a:lnTo>
                    <a:pt x="19687" y="853"/>
                  </a:lnTo>
                  <a:lnTo>
                    <a:pt x="19691" y="836"/>
                  </a:lnTo>
                  <a:lnTo>
                    <a:pt x="19687" y="832"/>
                  </a:lnTo>
                  <a:lnTo>
                    <a:pt x="19687" y="820"/>
                  </a:lnTo>
                  <a:lnTo>
                    <a:pt x="19831" y="832"/>
                  </a:lnTo>
                  <a:lnTo>
                    <a:pt x="19906" y="820"/>
                  </a:lnTo>
                  <a:lnTo>
                    <a:pt x="19982" y="865"/>
                  </a:lnTo>
                  <a:lnTo>
                    <a:pt x="19961" y="874"/>
                  </a:lnTo>
                  <a:lnTo>
                    <a:pt x="19994" y="865"/>
                  </a:lnTo>
                  <a:lnTo>
                    <a:pt x="20020" y="886"/>
                  </a:lnTo>
                  <a:lnTo>
                    <a:pt x="20015" y="903"/>
                  </a:lnTo>
                  <a:lnTo>
                    <a:pt x="20010" y="891"/>
                  </a:lnTo>
                  <a:lnTo>
                    <a:pt x="20031" y="907"/>
                  </a:lnTo>
                  <a:lnTo>
                    <a:pt x="20010" y="924"/>
                  </a:lnTo>
                  <a:lnTo>
                    <a:pt x="20065" y="907"/>
                  </a:lnTo>
                  <a:lnTo>
                    <a:pt x="20036" y="891"/>
                  </a:lnTo>
                  <a:lnTo>
                    <a:pt x="20065" y="891"/>
                  </a:lnTo>
                  <a:lnTo>
                    <a:pt x="20074" y="907"/>
                  </a:lnTo>
                  <a:lnTo>
                    <a:pt x="20074" y="947"/>
                  </a:lnTo>
                  <a:lnTo>
                    <a:pt x="20091" y="943"/>
                  </a:lnTo>
                  <a:lnTo>
                    <a:pt x="20102" y="959"/>
                  </a:lnTo>
                  <a:lnTo>
                    <a:pt x="20091" y="985"/>
                  </a:lnTo>
                  <a:lnTo>
                    <a:pt x="20074" y="997"/>
                  </a:lnTo>
                  <a:lnTo>
                    <a:pt x="20069" y="997"/>
                  </a:lnTo>
                  <a:lnTo>
                    <a:pt x="20086" y="981"/>
                  </a:lnTo>
                  <a:lnTo>
                    <a:pt x="19994" y="959"/>
                  </a:lnTo>
                  <a:lnTo>
                    <a:pt x="20031" y="976"/>
                  </a:lnTo>
                  <a:lnTo>
                    <a:pt x="20031" y="997"/>
                  </a:lnTo>
                  <a:lnTo>
                    <a:pt x="20065" y="981"/>
                  </a:lnTo>
                  <a:lnTo>
                    <a:pt x="20065" y="997"/>
                  </a:lnTo>
                  <a:lnTo>
                    <a:pt x="20086" y="1002"/>
                  </a:lnTo>
                  <a:lnTo>
                    <a:pt x="20091" y="1018"/>
                  </a:lnTo>
                  <a:lnTo>
                    <a:pt x="20074" y="1018"/>
                  </a:lnTo>
                  <a:lnTo>
                    <a:pt x="20086" y="1030"/>
                  </a:lnTo>
                  <a:lnTo>
                    <a:pt x="20031" y="1075"/>
                  </a:lnTo>
                  <a:lnTo>
                    <a:pt x="19977" y="1092"/>
                  </a:lnTo>
                  <a:lnTo>
                    <a:pt x="19956" y="1125"/>
                  </a:lnTo>
                  <a:lnTo>
                    <a:pt x="19930" y="1125"/>
                  </a:lnTo>
                  <a:lnTo>
                    <a:pt x="19902" y="1141"/>
                  </a:lnTo>
                  <a:lnTo>
                    <a:pt x="19854" y="1153"/>
                  </a:lnTo>
                  <a:lnTo>
                    <a:pt x="19859" y="1153"/>
                  </a:lnTo>
                  <a:lnTo>
                    <a:pt x="19847" y="1170"/>
                  </a:lnTo>
                  <a:lnTo>
                    <a:pt x="19800" y="1170"/>
                  </a:lnTo>
                  <a:lnTo>
                    <a:pt x="19831" y="1179"/>
                  </a:lnTo>
                  <a:lnTo>
                    <a:pt x="19821" y="1195"/>
                  </a:lnTo>
                  <a:lnTo>
                    <a:pt x="19767" y="1219"/>
                  </a:lnTo>
                  <a:lnTo>
                    <a:pt x="19708" y="1264"/>
                  </a:lnTo>
                  <a:lnTo>
                    <a:pt x="19628" y="1273"/>
                  </a:lnTo>
                  <a:lnTo>
                    <a:pt x="19628" y="1281"/>
                  </a:lnTo>
                  <a:lnTo>
                    <a:pt x="19604" y="1314"/>
                  </a:lnTo>
                  <a:lnTo>
                    <a:pt x="19552" y="1318"/>
                  </a:lnTo>
                  <a:lnTo>
                    <a:pt x="19535" y="1363"/>
                  </a:lnTo>
                  <a:lnTo>
                    <a:pt x="19498" y="1392"/>
                  </a:lnTo>
                  <a:lnTo>
                    <a:pt x="19566" y="1363"/>
                  </a:lnTo>
                  <a:lnTo>
                    <a:pt x="19561" y="1347"/>
                  </a:lnTo>
                  <a:lnTo>
                    <a:pt x="19573" y="1330"/>
                  </a:lnTo>
                  <a:lnTo>
                    <a:pt x="19604" y="1335"/>
                  </a:lnTo>
                  <a:lnTo>
                    <a:pt x="19713" y="1330"/>
                  </a:lnTo>
                  <a:lnTo>
                    <a:pt x="19708" y="1318"/>
                  </a:lnTo>
                  <a:lnTo>
                    <a:pt x="19779" y="1307"/>
                  </a:lnTo>
                  <a:lnTo>
                    <a:pt x="19779" y="1290"/>
                  </a:lnTo>
                  <a:lnTo>
                    <a:pt x="19793" y="1297"/>
                  </a:lnTo>
                  <a:lnTo>
                    <a:pt x="19779" y="1281"/>
                  </a:lnTo>
                  <a:lnTo>
                    <a:pt x="19817" y="1297"/>
                  </a:lnTo>
                  <a:lnTo>
                    <a:pt x="19892" y="1264"/>
                  </a:lnTo>
                  <a:lnTo>
                    <a:pt x="19892" y="1252"/>
                  </a:lnTo>
                  <a:lnTo>
                    <a:pt x="19876" y="1252"/>
                  </a:lnTo>
                  <a:lnTo>
                    <a:pt x="19817" y="1264"/>
                  </a:lnTo>
                  <a:lnTo>
                    <a:pt x="19800" y="1252"/>
                  </a:lnTo>
                  <a:lnTo>
                    <a:pt x="19821" y="1224"/>
                  </a:lnTo>
                  <a:lnTo>
                    <a:pt x="19847" y="1219"/>
                  </a:lnTo>
                  <a:lnTo>
                    <a:pt x="19902" y="1236"/>
                  </a:lnTo>
                  <a:lnTo>
                    <a:pt x="19906" y="1219"/>
                  </a:lnTo>
                  <a:lnTo>
                    <a:pt x="19939" y="1207"/>
                  </a:lnTo>
                  <a:lnTo>
                    <a:pt x="19913" y="1224"/>
                  </a:lnTo>
                  <a:lnTo>
                    <a:pt x="19930" y="1240"/>
                  </a:lnTo>
                  <a:lnTo>
                    <a:pt x="19982" y="1257"/>
                  </a:lnTo>
                  <a:lnTo>
                    <a:pt x="20031" y="1252"/>
                  </a:lnTo>
                  <a:lnTo>
                    <a:pt x="20036" y="1240"/>
                  </a:lnTo>
                  <a:lnTo>
                    <a:pt x="20031" y="1224"/>
                  </a:lnTo>
                  <a:lnTo>
                    <a:pt x="20069" y="1264"/>
                  </a:lnTo>
                  <a:lnTo>
                    <a:pt x="20053" y="1297"/>
                  </a:lnTo>
                  <a:lnTo>
                    <a:pt x="20074" y="1314"/>
                  </a:lnTo>
                  <a:lnTo>
                    <a:pt x="20074" y="1363"/>
                  </a:lnTo>
                  <a:lnTo>
                    <a:pt x="20048" y="1375"/>
                  </a:lnTo>
                  <a:lnTo>
                    <a:pt x="20053" y="1392"/>
                  </a:lnTo>
                  <a:lnTo>
                    <a:pt x="20119" y="1418"/>
                  </a:lnTo>
                  <a:lnTo>
                    <a:pt x="20069" y="1401"/>
                  </a:lnTo>
                  <a:lnTo>
                    <a:pt x="20053" y="1384"/>
                  </a:lnTo>
                  <a:lnTo>
                    <a:pt x="20074" y="1363"/>
                  </a:lnTo>
                  <a:lnTo>
                    <a:pt x="20074" y="1318"/>
                  </a:lnTo>
                  <a:lnTo>
                    <a:pt x="20119" y="1314"/>
                  </a:lnTo>
                  <a:lnTo>
                    <a:pt x="20091" y="1314"/>
                  </a:lnTo>
                  <a:lnTo>
                    <a:pt x="20074" y="1290"/>
                  </a:lnTo>
                  <a:lnTo>
                    <a:pt x="20216" y="1257"/>
                  </a:lnTo>
                  <a:lnTo>
                    <a:pt x="20443" y="1281"/>
                  </a:lnTo>
                  <a:lnTo>
                    <a:pt x="20464" y="1290"/>
                  </a:lnTo>
                  <a:lnTo>
                    <a:pt x="20426" y="1290"/>
                  </a:lnTo>
                  <a:lnTo>
                    <a:pt x="20414" y="1297"/>
                  </a:lnTo>
                  <a:lnTo>
                    <a:pt x="20414" y="1330"/>
                  </a:lnTo>
                  <a:lnTo>
                    <a:pt x="20502" y="1351"/>
                  </a:lnTo>
                  <a:lnTo>
                    <a:pt x="20518" y="1368"/>
                  </a:lnTo>
                  <a:lnTo>
                    <a:pt x="20572" y="1375"/>
                  </a:lnTo>
                  <a:lnTo>
                    <a:pt x="20518" y="1363"/>
                  </a:lnTo>
                  <a:lnTo>
                    <a:pt x="20662" y="1363"/>
                  </a:lnTo>
                  <a:lnTo>
                    <a:pt x="20766" y="1392"/>
                  </a:lnTo>
                  <a:lnTo>
                    <a:pt x="20792" y="1392"/>
                  </a:lnTo>
                  <a:lnTo>
                    <a:pt x="20863" y="1408"/>
                  </a:lnTo>
                  <a:lnTo>
                    <a:pt x="20965" y="1458"/>
                  </a:lnTo>
                  <a:lnTo>
                    <a:pt x="20981" y="1446"/>
                  </a:lnTo>
                  <a:lnTo>
                    <a:pt x="21035" y="1512"/>
                  </a:lnTo>
                  <a:lnTo>
                    <a:pt x="21026" y="1529"/>
                  </a:lnTo>
                  <a:lnTo>
                    <a:pt x="21040" y="1573"/>
                  </a:lnTo>
                  <a:lnTo>
                    <a:pt x="21040" y="1569"/>
                  </a:lnTo>
                  <a:lnTo>
                    <a:pt x="21035" y="1529"/>
                  </a:lnTo>
                  <a:lnTo>
                    <a:pt x="21047" y="1512"/>
                  </a:lnTo>
                  <a:lnTo>
                    <a:pt x="21019" y="1491"/>
                  </a:lnTo>
                  <a:lnTo>
                    <a:pt x="21019" y="1458"/>
                  </a:lnTo>
                  <a:lnTo>
                    <a:pt x="21002" y="1441"/>
                  </a:lnTo>
                  <a:lnTo>
                    <a:pt x="21073" y="1446"/>
                  </a:lnTo>
                  <a:lnTo>
                    <a:pt x="21111" y="1479"/>
                  </a:lnTo>
                  <a:lnTo>
                    <a:pt x="21144" y="1529"/>
                  </a:lnTo>
                  <a:lnTo>
                    <a:pt x="21170" y="1519"/>
                  </a:lnTo>
                  <a:lnTo>
                    <a:pt x="21165" y="1495"/>
                  </a:lnTo>
                  <a:lnTo>
                    <a:pt x="21203" y="1536"/>
                  </a:lnTo>
                  <a:lnTo>
                    <a:pt x="21154" y="1536"/>
                  </a:lnTo>
                  <a:lnTo>
                    <a:pt x="21149" y="1545"/>
                  </a:lnTo>
                  <a:lnTo>
                    <a:pt x="21149" y="1552"/>
                  </a:lnTo>
                  <a:lnTo>
                    <a:pt x="21170" y="1552"/>
                  </a:lnTo>
                  <a:lnTo>
                    <a:pt x="21187" y="1585"/>
                  </a:lnTo>
                  <a:lnTo>
                    <a:pt x="21208" y="1590"/>
                  </a:lnTo>
                  <a:lnTo>
                    <a:pt x="21208" y="1614"/>
                  </a:lnTo>
                  <a:lnTo>
                    <a:pt x="21236" y="1614"/>
                  </a:lnTo>
                  <a:lnTo>
                    <a:pt x="21253" y="1630"/>
                  </a:lnTo>
                  <a:lnTo>
                    <a:pt x="21241" y="1630"/>
                  </a:lnTo>
                  <a:lnTo>
                    <a:pt x="21274" y="1647"/>
                  </a:lnTo>
                  <a:lnTo>
                    <a:pt x="21291" y="1630"/>
                  </a:lnTo>
                  <a:lnTo>
                    <a:pt x="21295" y="1663"/>
                  </a:lnTo>
                  <a:lnTo>
                    <a:pt x="21312" y="1663"/>
                  </a:lnTo>
                  <a:lnTo>
                    <a:pt x="21342" y="1647"/>
                  </a:lnTo>
                  <a:lnTo>
                    <a:pt x="21366" y="1602"/>
                  </a:lnTo>
                  <a:lnTo>
                    <a:pt x="21387" y="1602"/>
                  </a:lnTo>
                  <a:lnTo>
                    <a:pt x="21371" y="1590"/>
                  </a:lnTo>
                  <a:lnTo>
                    <a:pt x="21387" y="1536"/>
                  </a:lnTo>
                  <a:lnTo>
                    <a:pt x="21425" y="1503"/>
                  </a:lnTo>
                  <a:lnTo>
                    <a:pt x="21425" y="1529"/>
                  </a:lnTo>
                  <a:lnTo>
                    <a:pt x="21489" y="1569"/>
                  </a:lnTo>
                  <a:lnTo>
                    <a:pt x="21543" y="1585"/>
                  </a:lnTo>
                  <a:lnTo>
                    <a:pt x="21640" y="1545"/>
                  </a:lnTo>
                  <a:lnTo>
                    <a:pt x="21758" y="1585"/>
                  </a:lnTo>
                  <a:lnTo>
                    <a:pt x="21749" y="1590"/>
                  </a:lnTo>
                  <a:lnTo>
                    <a:pt x="21765" y="1590"/>
                  </a:lnTo>
                  <a:lnTo>
                    <a:pt x="21782" y="1614"/>
                  </a:lnTo>
                  <a:lnTo>
                    <a:pt x="21796" y="1607"/>
                  </a:lnTo>
                  <a:lnTo>
                    <a:pt x="21775" y="1602"/>
                  </a:lnTo>
                  <a:lnTo>
                    <a:pt x="21813" y="1590"/>
                  </a:lnTo>
                  <a:lnTo>
                    <a:pt x="21791" y="1590"/>
                  </a:lnTo>
                  <a:lnTo>
                    <a:pt x="21813" y="1585"/>
                  </a:lnTo>
                  <a:lnTo>
                    <a:pt x="21782" y="1573"/>
                  </a:lnTo>
                  <a:lnTo>
                    <a:pt x="21796" y="1552"/>
                  </a:lnTo>
                  <a:lnTo>
                    <a:pt x="21829" y="1545"/>
                  </a:lnTo>
                  <a:lnTo>
                    <a:pt x="21820" y="1552"/>
                  </a:lnTo>
                  <a:lnTo>
                    <a:pt x="21829" y="1557"/>
                  </a:lnTo>
                  <a:lnTo>
                    <a:pt x="21846" y="1545"/>
                  </a:lnTo>
                  <a:lnTo>
                    <a:pt x="21867" y="1552"/>
                  </a:lnTo>
                  <a:lnTo>
                    <a:pt x="21872" y="1573"/>
                  </a:lnTo>
                  <a:lnTo>
                    <a:pt x="21883" y="1573"/>
                  </a:lnTo>
                  <a:lnTo>
                    <a:pt x="21900" y="1557"/>
                  </a:lnTo>
                  <a:lnTo>
                    <a:pt x="21926" y="1569"/>
                  </a:lnTo>
                  <a:lnTo>
                    <a:pt x="21909" y="1536"/>
                  </a:lnTo>
                  <a:lnTo>
                    <a:pt x="21909" y="1512"/>
                  </a:lnTo>
                  <a:lnTo>
                    <a:pt x="21888" y="1503"/>
                  </a:lnTo>
                  <a:lnTo>
                    <a:pt x="21905" y="1503"/>
                  </a:lnTo>
                  <a:lnTo>
                    <a:pt x="21926" y="1474"/>
                  </a:lnTo>
                  <a:lnTo>
                    <a:pt x="21938" y="1479"/>
                  </a:lnTo>
                  <a:lnTo>
                    <a:pt x="21954" y="1462"/>
                  </a:lnTo>
                  <a:lnTo>
                    <a:pt x="21905" y="1462"/>
                  </a:lnTo>
                  <a:lnTo>
                    <a:pt x="21888" y="1479"/>
                  </a:lnTo>
                  <a:lnTo>
                    <a:pt x="21867" y="1462"/>
                  </a:lnTo>
                  <a:lnTo>
                    <a:pt x="21905" y="1425"/>
                  </a:lnTo>
                  <a:lnTo>
                    <a:pt x="21976" y="1425"/>
                  </a:lnTo>
                  <a:lnTo>
                    <a:pt x="22009" y="1418"/>
                  </a:lnTo>
                  <a:lnTo>
                    <a:pt x="22009" y="1401"/>
                  </a:lnTo>
                  <a:lnTo>
                    <a:pt x="21976" y="1375"/>
                  </a:lnTo>
                  <a:lnTo>
                    <a:pt x="21992" y="1375"/>
                  </a:lnTo>
                  <a:lnTo>
                    <a:pt x="22072" y="1392"/>
                  </a:lnTo>
                  <a:lnTo>
                    <a:pt x="22316" y="1425"/>
                  </a:lnTo>
                  <a:lnTo>
                    <a:pt x="22413" y="1446"/>
                  </a:lnTo>
                  <a:lnTo>
                    <a:pt x="22316" y="1446"/>
                  </a:lnTo>
                  <a:lnTo>
                    <a:pt x="22283" y="1429"/>
                  </a:lnTo>
                  <a:lnTo>
                    <a:pt x="22266" y="1441"/>
                  </a:lnTo>
                  <a:lnTo>
                    <a:pt x="22250" y="1462"/>
                  </a:lnTo>
                  <a:lnTo>
                    <a:pt x="22224" y="1458"/>
                  </a:lnTo>
                  <a:lnTo>
                    <a:pt x="22245" y="1474"/>
                  </a:lnTo>
                  <a:lnTo>
                    <a:pt x="22424" y="1458"/>
                  </a:lnTo>
                  <a:lnTo>
                    <a:pt x="22354" y="1512"/>
                  </a:lnTo>
                  <a:lnTo>
                    <a:pt x="22354" y="1491"/>
                  </a:lnTo>
                  <a:lnTo>
                    <a:pt x="22375" y="1479"/>
                  </a:lnTo>
                  <a:lnTo>
                    <a:pt x="22358" y="1474"/>
                  </a:lnTo>
                  <a:lnTo>
                    <a:pt x="22354" y="1491"/>
                  </a:lnTo>
                  <a:lnTo>
                    <a:pt x="22342" y="1462"/>
                  </a:lnTo>
                  <a:lnTo>
                    <a:pt x="22332" y="1462"/>
                  </a:lnTo>
                  <a:lnTo>
                    <a:pt x="22337" y="1462"/>
                  </a:lnTo>
                  <a:lnTo>
                    <a:pt x="22332" y="1491"/>
                  </a:lnTo>
                  <a:lnTo>
                    <a:pt x="22337" y="1491"/>
                  </a:lnTo>
                  <a:lnTo>
                    <a:pt x="22342" y="1503"/>
                  </a:lnTo>
                  <a:lnTo>
                    <a:pt x="22304" y="1512"/>
                  </a:lnTo>
                  <a:lnTo>
                    <a:pt x="22283" y="1503"/>
                  </a:lnTo>
                  <a:lnTo>
                    <a:pt x="22299" y="1519"/>
                  </a:lnTo>
                  <a:lnTo>
                    <a:pt x="22278" y="1529"/>
                  </a:lnTo>
                  <a:lnTo>
                    <a:pt x="22278" y="1536"/>
                  </a:lnTo>
                  <a:lnTo>
                    <a:pt x="22304" y="1545"/>
                  </a:lnTo>
                  <a:lnTo>
                    <a:pt x="22358" y="1519"/>
                  </a:lnTo>
                  <a:lnTo>
                    <a:pt x="22439" y="1446"/>
                  </a:lnTo>
                  <a:lnTo>
                    <a:pt x="22576" y="1462"/>
                  </a:lnTo>
                  <a:lnTo>
                    <a:pt x="22613" y="1479"/>
                  </a:lnTo>
                  <a:lnTo>
                    <a:pt x="22639" y="1512"/>
                  </a:lnTo>
                  <a:lnTo>
                    <a:pt x="22613" y="1529"/>
                  </a:lnTo>
                  <a:lnTo>
                    <a:pt x="22590" y="1503"/>
                  </a:lnTo>
                  <a:lnTo>
                    <a:pt x="22576" y="1529"/>
                  </a:lnTo>
                  <a:lnTo>
                    <a:pt x="22552" y="1519"/>
                  </a:lnTo>
                  <a:lnTo>
                    <a:pt x="22568" y="1529"/>
                  </a:lnTo>
                  <a:lnTo>
                    <a:pt x="22552" y="1536"/>
                  </a:lnTo>
                  <a:lnTo>
                    <a:pt x="22644" y="1552"/>
                  </a:lnTo>
                  <a:lnTo>
                    <a:pt x="22628" y="1552"/>
                  </a:lnTo>
                  <a:lnTo>
                    <a:pt x="22623" y="1569"/>
                  </a:lnTo>
                  <a:lnTo>
                    <a:pt x="22682" y="1557"/>
                  </a:lnTo>
                  <a:lnTo>
                    <a:pt x="22665" y="1585"/>
                  </a:lnTo>
                  <a:lnTo>
                    <a:pt x="22639" y="1602"/>
                  </a:lnTo>
                  <a:lnTo>
                    <a:pt x="22682" y="1573"/>
                  </a:lnTo>
                  <a:lnTo>
                    <a:pt x="22677" y="1590"/>
                  </a:lnTo>
                  <a:lnTo>
                    <a:pt x="22710" y="1573"/>
                  </a:lnTo>
                  <a:lnTo>
                    <a:pt x="22736" y="1585"/>
                  </a:lnTo>
                  <a:lnTo>
                    <a:pt x="22786" y="1630"/>
                  </a:lnTo>
                  <a:lnTo>
                    <a:pt x="22753" y="1630"/>
                  </a:lnTo>
                  <a:lnTo>
                    <a:pt x="22816" y="1647"/>
                  </a:lnTo>
                  <a:lnTo>
                    <a:pt x="22892" y="1647"/>
                  </a:lnTo>
                  <a:lnTo>
                    <a:pt x="23055" y="1614"/>
                  </a:lnTo>
                  <a:lnTo>
                    <a:pt x="23194" y="1623"/>
                  </a:lnTo>
                  <a:lnTo>
                    <a:pt x="23270" y="1647"/>
                  </a:lnTo>
                  <a:lnTo>
                    <a:pt x="23320" y="1668"/>
                  </a:lnTo>
                  <a:lnTo>
                    <a:pt x="23341" y="1701"/>
                  </a:lnTo>
                  <a:lnTo>
                    <a:pt x="23341" y="1722"/>
                  </a:lnTo>
                  <a:lnTo>
                    <a:pt x="23331" y="1739"/>
                  </a:lnTo>
                  <a:lnTo>
                    <a:pt x="23324" y="1739"/>
                  </a:lnTo>
                  <a:lnTo>
                    <a:pt x="23324" y="1751"/>
                  </a:lnTo>
                  <a:lnTo>
                    <a:pt x="23320" y="1774"/>
                  </a:lnTo>
                  <a:lnTo>
                    <a:pt x="23320" y="1779"/>
                  </a:lnTo>
                  <a:lnTo>
                    <a:pt x="23412" y="1812"/>
                  </a:lnTo>
                  <a:lnTo>
                    <a:pt x="23400" y="1829"/>
                  </a:lnTo>
                  <a:lnTo>
                    <a:pt x="23412" y="1862"/>
                  </a:lnTo>
                  <a:lnTo>
                    <a:pt x="23400" y="1878"/>
                  </a:lnTo>
                  <a:lnTo>
                    <a:pt x="23433" y="1885"/>
                  </a:lnTo>
                  <a:lnTo>
                    <a:pt x="23412" y="1940"/>
                  </a:lnTo>
                  <a:lnTo>
                    <a:pt x="23383" y="1940"/>
                  </a:lnTo>
                  <a:lnTo>
                    <a:pt x="23395" y="1944"/>
                  </a:lnTo>
                  <a:lnTo>
                    <a:pt x="23416" y="1940"/>
                  </a:lnTo>
                  <a:lnTo>
                    <a:pt x="23433" y="1906"/>
                  </a:lnTo>
                  <a:lnTo>
                    <a:pt x="23450" y="1890"/>
                  </a:lnTo>
                  <a:lnTo>
                    <a:pt x="23438" y="1862"/>
                  </a:lnTo>
                  <a:lnTo>
                    <a:pt x="23438" y="1833"/>
                  </a:lnTo>
                  <a:lnTo>
                    <a:pt x="23504" y="1807"/>
                  </a:lnTo>
                  <a:lnTo>
                    <a:pt x="23589" y="1795"/>
                  </a:lnTo>
                  <a:lnTo>
                    <a:pt x="23617" y="1791"/>
                  </a:lnTo>
                  <a:lnTo>
                    <a:pt x="23655" y="1807"/>
                  </a:lnTo>
                  <a:lnTo>
                    <a:pt x="23816" y="1824"/>
                  </a:lnTo>
                  <a:lnTo>
                    <a:pt x="23882" y="1791"/>
                  </a:lnTo>
                  <a:lnTo>
                    <a:pt x="23920" y="1812"/>
                  </a:lnTo>
                  <a:lnTo>
                    <a:pt x="23913" y="1833"/>
                  </a:lnTo>
                  <a:lnTo>
                    <a:pt x="23920" y="1850"/>
                  </a:lnTo>
                  <a:lnTo>
                    <a:pt x="23995" y="1878"/>
                  </a:lnTo>
                  <a:lnTo>
                    <a:pt x="24005" y="1906"/>
                  </a:lnTo>
                  <a:lnTo>
                    <a:pt x="24012" y="1918"/>
                  </a:lnTo>
                  <a:lnTo>
                    <a:pt x="24064" y="1906"/>
                  </a:lnTo>
                  <a:lnTo>
                    <a:pt x="24080" y="1918"/>
                  </a:lnTo>
                  <a:lnTo>
                    <a:pt x="24064" y="1906"/>
                  </a:lnTo>
                  <a:lnTo>
                    <a:pt x="24080" y="1902"/>
                  </a:lnTo>
                  <a:lnTo>
                    <a:pt x="24087" y="1906"/>
                  </a:lnTo>
                  <a:lnTo>
                    <a:pt x="24087" y="1890"/>
                  </a:lnTo>
                  <a:lnTo>
                    <a:pt x="24113" y="1878"/>
                  </a:lnTo>
                  <a:lnTo>
                    <a:pt x="24102" y="1845"/>
                  </a:lnTo>
                  <a:lnTo>
                    <a:pt x="24080" y="1812"/>
                  </a:lnTo>
                  <a:lnTo>
                    <a:pt x="24050" y="1807"/>
                  </a:lnTo>
                  <a:lnTo>
                    <a:pt x="24059" y="1791"/>
                  </a:lnTo>
                  <a:lnTo>
                    <a:pt x="24080" y="1791"/>
                  </a:lnTo>
                  <a:lnTo>
                    <a:pt x="24080" y="1751"/>
                  </a:lnTo>
                  <a:lnTo>
                    <a:pt x="24064" y="1739"/>
                  </a:lnTo>
                  <a:lnTo>
                    <a:pt x="24076" y="1739"/>
                  </a:lnTo>
                  <a:lnTo>
                    <a:pt x="24227" y="1767"/>
                  </a:lnTo>
                  <a:lnTo>
                    <a:pt x="24260" y="1774"/>
                  </a:lnTo>
                  <a:lnTo>
                    <a:pt x="24264" y="1791"/>
                  </a:lnTo>
                  <a:lnTo>
                    <a:pt x="24281" y="1779"/>
                  </a:lnTo>
                  <a:lnTo>
                    <a:pt x="24260" y="1767"/>
                  </a:lnTo>
                  <a:lnTo>
                    <a:pt x="24281" y="1767"/>
                  </a:lnTo>
                  <a:lnTo>
                    <a:pt x="24314" y="1779"/>
                  </a:lnTo>
                  <a:lnTo>
                    <a:pt x="24465" y="1774"/>
                  </a:lnTo>
                  <a:lnTo>
                    <a:pt x="24513" y="1795"/>
                  </a:lnTo>
                  <a:lnTo>
                    <a:pt x="24654" y="1833"/>
                  </a:lnTo>
                  <a:lnTo>
                    <a:pt x="24676" y="1845"/>
                  </a:lnTo>
                  <a:lnTo>
                    <a:pt x="24654" y="1833"/>
                  </a:lnTo>
                  <a:lnTo>
                    <a:pt x="24642" y="1845"/>
                  </a:lnTo>
                  <a:lnTo>
                    <a:pt x="24692" y="1850"/>
                  </a:lnTo>
                  <a:lnTo>
                    <a:pt x="24735" y="1885"/>
                  </a:lnTo>
                  <a:lnTo>
                    <a:pt x="24706" y="1866"/>
                  </a:lnTo>
                  <a:lnTo>
                    <a:pt x="24723" y="1885"/>
                  </a:lnTo>
                  <a:lnTo>
                    <a:pt x="24735" y="1885"/>
                  </a:lnTo>
                  <a:lnTo>
                    <a:pt x="24735" y="1944"/>
                  </a:lnTo>
                  <a:lnTo>
                    <a:pt x="24735" y="2013"/>
                  </a:lnTo>
                  <a:lnTo>
                    <a:pt x="24735" y="2067"/>
                  </a:lnTo>
                  <a:lnTo>
                    <a:pt x="24735" y="2129"/>
                  </a:lnTo>
                  <a:lnTo>
                    <a:pt x="24735" y="2183"/>
                  </a:lnTo>
                  <a:lnTo>
                    <a:pt x="24735" y="2249"/>
                  </a:lnTo>
                  <a:lnTo>
                    <a:pt x="24735" y="2306"/>
                  </a:lnTo>
                  <a:lnTo>
                    <a:pt x="24735" y="2360"/>
                  </a:lnTo>
                  <a:lnTo>
                    <a:pt x="24735" y="2360"/>
                  </a:lnTo>
                  <a:lnTo>
                    <a:pt x="24735" y="2360"/>
                  </a:lnTo>
                  <a:close/>
                  <a:moveTo>
                    <a:pt x="24735" y="1557"/>
                  </a:moveTo>
                  <a:lnTo>
                    <a:pt x="24739" y="1552"/>
                  </a:lnTo>
                  <a:lnTo>
                    <a:pt x="24836" y="1552"/>
                  </a:lnTo>
                  <a:lnTo>
                    <a:pt x="24912" y="1602"/>
                  </a:lnTo>
                  <a:lnTo>
                    <a:pt x="24874" y="1623"/>
                  </a:lnTo>
                  <a:lnTo>
                    <a:pt x="24782" y="1640"/>
                  </a:lnTo>
                  <a:lnTo>
                    <a:pt x="24735" y="1630"/>
                  </a:lnTo>
                  <a:lnTo>
                    <a:pt x="24735" y="1590"/>
                  </a:lnTo>
                  <a:lnTo>
                    <a:pt x="24735" y="1557"/>
                  </a:lnTo>
                  <a:lnTo>
                    <a:pt x="24735" y="1557"/>
                  </a:lnTo>
                  <a:lnTo>
                    <a:pt x="24735" y="1557"/>
                  </a:lnTo>
                  <a:close/>
                  <a:moveTo>
                    <a:pt x="24735" y="1630"/>
                  </a:moveTo>
                  <a:lnTo>
                    <a:pt x="24654" y="1656"/>
                  </a:lnTo>
                  <a:lnTo>
                    <a:pt x="24642" y="1623"/>
                  </a:lnTo>
                  <a:lnTo>
                    <a:pt x="24659" y="1602"/>
                  </a:lnTo>
                  <a:lnTo>
                    <a:pt x="24735" y="1557"/>
                  </a:lnTo>
                  <a:lnTo>
                    <a:pt x="24735" y="1590"/>
                  </a:lnTo>
                  <a:lnTo>
                    <a:pt x="24735" y="1630"/>
                  </a:lnTo>
                  <a:lnTo>
                    <a:pt x="24735" y="1630"/>
                  </a:lnTo>
                  <a:lnTo>
                    <a:pt x="24735" y="1630"/>
                  </a:lnTo>
                  <a:close/>
                  <a:moveTo>
                    <a:pt x="24735" y="1885"/>
                  </a:moveTo>
                  <a:lnTo>
                    <a:pt x="24756" y="1902"/>
                  </a:lnTo>
                  <a:lnTo>
                    <a:pt x="24768" y="1890"/>
                  </a:lnTo>
                  <a:lnTo>
                    <a:pt x="24772" y="1906"/>
                  </a:lnTo>
                  <a:lnTo>
                    <a:pt x="24805" y="1918"/>
                  </a:lnTo>
                  <a:lnTo>
                    <a:pt x="24836" y="1940"/>
                  </a:lnTo>
                  <a:lnTo>
                    <a:pt x="24820" y="1935"/>
                  </a:lnTo>
                  <a:lnTo>
                    <a:pt x="24820" y="1940"/>
                  </a:lnTo>
                  <a:lnTo>
                    <a:pt x="24864" y="1956"/>
                  </a:lnTo>
                  <a:lnTo>
                    <a:pt x="24874" y="1973"/>
                  </a:lnTo>
                  <a:lnTo>
                    <a:pt x="24890" y="1973"/>
                  </a:lnTo>
                  <a:lnTo>
                    <a:pt x="24843" y="1940"/>
                  </a:lnTo>
                  <a:lnTo>
                    <a:pt x="24895" y="1973"/>
                  </a:lnTo>
                  <a:lnTo>
                    <a:pt x="24890" y="1977"/>
                  </a:lnTo>
                  <a:lnTo>
                    <a:pt x="24895" y="1977"/>
                  </a:lnTo>
                  <a:lnTo>
                    <a:pt x="24919" y="1977"/>
                  </a:lnTo>
                  <a:lnTo>
                    <a:pt x="24928" y="1994"/>
                  </a:lnTo>
                  <a:lnTo>
                    <a:pt x="25053" y="2046"/>
                  </a:lnTo>
                  <a:lnTo>
                    <a:pt x="25063" y="2072"/>
                  </a:lnTo>
                  <a:lnTo>
                    <a:pt x="25058" y="2088"/>
                  </a:lnTo>
                  <a:lnTo>
                    <a:pt x="25075" y="2088"/>
                  </a:lnTo>
                  <a:lnTo>
                    <a:pt x="25079" y="2084"/>
                  </a:lnTo>
                  <a:lnTo>
                    <a:pt x="25096" y="2084"/>
                  </a:lnTo>
                  <a:lnTo>
                    <a:pt x="25096" y="2100"/>
                  </a:lnTo>
                  <a:lnTo>
                    <a:pt x="25091" y="2100"/>
                  </a:lnTo>
                  <a:lnTo>
                    <a:pt x="25079" y="2121"/>
                  </a:lnTo>
                  <a:lnTo>
                    <a:pt x="25096" y="2162"/>
                  </a:lnTo>
                  <a:lnTo>
                    <a:pt x="25079" y="2166"/>
                  </a:lnTo>
                  <a:lnTo>
                    <a:pt x="25117" y="2183"/>
                  </a:lnTo>
                  <a:lnTo>
                    <a:pt x="25117" y="2216"/>
                  </a:lnTo>
                  <a:lnTo>
                    <a:pt x="25150" y="2195"/>
                  </a:lnTo>
                  <a:lnTo>
                    <a:pt x="25146" y="2223"/>
                  </a:lnTo>
                  <a:lnTo>
                    <a:pt x="25150" y="2223"/>
                  </a:lnTo>
                  <a:lnTo>
                    <a:pt x="25167" y="2199"/>
                  </a:lnTo>
                  <a:lnTo>
                    <a:pt x="25129" y="2183"/>
                  </a:lnTo>
                  <a:lnTo>
                    <a:pt x="25150" y="2166"/>
                  </a:lnTo>
                  <a:lnTo>
                    <a:pt x="25146" y="2138"/>
                  </a:lnTo>
                  <a:lnTo>
                    <a:pt x="25108" y="2121"/>
                  </a:lnTo>
                  <a:lnTo>
                    <a:pt x="25172" y="2112"/>
                  </a:lnTo>
                  <a:lnTo>
                    <a:pt x="25214" y="2121"/>
                  </a:lnTo>
                  <a:lnTo>
                    <a:pt x="25198" y="2138"/>
                  </a:lnTo>
                  <a:lnTo>
                    <a:pt x="25198" y="2157"/>
                  </a:lnTo>
                  <a:lnTo>
                    <a:pt x="25214" y="2157"/>
                  </a:lnTo>
                  <a:lnTo>
                    <a:pt x="25205" y="2138"/>
                  </a:lnTo>
                  <a:lnTo>
                    <a:pt x="25214" y="2129"/>
                  </a:lnTo>
                  <a:lnTo>
                    <a:pt x="25235" y="2145"/>
                  </a:lnTo>
                  <a:lnTo>
                    <a:pt x="25259" y="2138"/>
                  </a:lnTo>
                  <a:lnTo>
                    <a:pt x="25221" y="2121"/>
                  </a:lnTo>
                  <a:lnTo>
                    <a:pt x="25311" y="2138"/>
                  </a:lnTo>
                  <a:lnTo>
                    <a:pt x="25311" y="2157"/>
                  </a:lnTo>
                  <a:lnTo>
                    <a:pt x="25335" y="2162"/>
                  </a:lnTo>
                  <a:lnTo>
                    <a:pt x="25335" y="2178"/>
                  </a:lnTo>
                  <a:lnTo>
                    <a:pt x="25398" y="2216"/>
                  </a:lnTo>
                  <a:lnTo>
                    <a:pt x="25387" y="2223"/>
                  </a:lnTo>
                  <a:lnTo>
                    <a:pt x="25403" y="2216"/>
                  </a:lnTo>
                  <a:lnTo>
                    <a:pt x="25420" y="2223"/>
                  </a:lnTo>
                  <a:lnTo>
                    <a:pt x="25415" y="2232"/>
                  </a:lnTo>
                  <a:lnTo>
                    <a:pt x="25441" y="2232"/>
                  </a:lnTo>
                  <a:lnTo>
                    <a:pt x="25453" y="2249"/>
                  </a:lnTo>
                  <a:lnTo>
                    <a:pt x="25453" y="2256"/>
                  </a:lnTo>
                  <a:lnTo>
                    <a:pt x="25420" y="2249"/>
                  </a:lnTo>
                  <a:lnTo>
                    <a:pt x="25387" y="2273"/>
                  </a:lnTo>
                  <a:lnTo>
                    <a:pt x="25398" y="2273"/>
                  </a:lnTo>
                  <a:lnTo>
                    <a:pt x="25398" y="2289"/>
                  </a:lnTo>
                  <a:lnTo>
                    <a:pt x="25387" y="2294"/>
                  </a:lnTo>
                  <a:lnTo>
                    <a:pt x="25323" y="2273"/>
                  </a:lnTo>
                  <a:lnTo>
                    <a:pt x="25361" y="2306"/>
                  </a:lnTo>
                  <a:lnTo>
                    <a:pt x="25349" y="2310"/>
                  </a:lnTo>
                  <a:lnTo>
                    <a:pt x="25335" y="2306"/>
                  </a:lnTo>
                  <a:lnTo>
                    <a:pt x="25290" y="2310"/>
                  </a:lnTo>
                  <a:lnTo>
                    <a:pt x="25306" y="2310"/>
                  </a:lnTo>
                  <a:lnTo>
                    <a:pt x="25273" y="2306"/>
                  </a:lnTo>
                  <a:lnTo>
                    <a:pt x="25268" y="2294"/>
                  </a:lnTo>
                  <a:lnTo>
                    <a:pt x="25235" y="2289"/>
                  </a:lnTo>
                  <a:lnTo>
                    <a:pt x="25259" y="2306"/>
                  </a:lnTo>
                  <a:lnTo>
                    <a:pt x="25268" y="2322"/>
                  </a:lnTo>
                  <a:lnTo>
                    <a:pt x="25280" y="2322"/>
                  </a:lnTo>
                  <a:lnTo>
                    <a:pt x="25273" y="2343"/>
                  </a:lnTo>
                  <a:lnTo>
                    <a:pt x="25242" y="2343"/>
                  </a:lnTo>
                  <a:lnTo>
                    <a:pt x="25273" y="2343"/>
                  </a:lnTo>
                  <a:lnTo>
                    <a:pt x="25280" y="2360"/>
                  </a:lnTo>
                  <a:lnTo>
                    <a:pt x="25259" y="2384"/>
                  </a:lnTo>
                  <a:lnTo>
                    <a:pt x="25205" y="2400"/>
                  </a:lnTo>
                  <a:lnTo>
                    <a:pt x="25226" y="2388"/>
                  </a:lnTo>
                  <a:lnTo>
                    <a:pt x="25235" y="2400"/>
                  </a:lnTo>
                  <a:lnTo>
                    <a:pt x="25214" y="2405"/>
                  </a:lnTo>
                  <a:lnTo>
                    <a:pt x="25259" y="2421"/>
                  </a:lnTo>
                  <a:lnTo>
                    <a:pt x="25268" y="2433"/>
                  </a:lnTo>
                  <a:lnTo>
                    <a:pt x="25252" y="2438"/>
                  </a:lnTo>
                  <a:lnTo>
                    <a:pt x="25235" y="2421"/>
                  </a:lnTo>
                  <a:lnTo>
                    <a:pt x="25221" y="2433"/>
                  </a:lnTo>
                  <a:lnTo>
                    <a:pt x="25226" y="2438"/>
                  </a:lnTo>
                  <a:lnTo>
                    <a:pt x="25226" y="2445"/>
                  </a:lnTo>
                  <a:lnTo>
                    <a:pt x="25205" y="2455"/>
                  </a:lnTo>
                  <a:lnTo>
                    <a:pt x="25188" y="2445"/>
                  </a:lnTo>
                  <a:lnTo>
                    <a:pt x="25205" y="2433"/>
                  </a:lnTo>
                  <a:lnTo>
                    <a:pt x="25188" y="2417"/>
                  </a:lnTo>
                  <a:lnTo>
                    <a:pt x="25198" y="2433"/>
                  </a:lnTo>
                  <a:lnTo>
                    <a:pt x="25172" y="2445"/>
                  </a:lnTo>
                  <a:lnTo>
                    <a:pt x="25150" y="2438"/>
                  </a:lnTo>
                  <a:lnTo>
                    <a:pt x="25146" y="2421"/>
                  </a:lnTo>
                  <a:lnTo>
                    <a:pt x="25091" y="2400"/>
                  </a:lnTo>
                  <a:lnTo>
                    <a:pt x="25053" y="2400"/>
                  </a:lnTo>
                  <a:lnTo>
                    <a:pt x="25053" y="2388"/>
                  </a:lnTo>
                  <a:lnTo>
                    <a:pt x="25020" y="2367"/>
                  </a:lnTo>
                  <a:lnTo>
                    <a:pt x="25025" y="2351"/>
                  </a:lnTo>
                  <a:lnTo>
                    <a:pt x="25020" y="2327"/>
                  </a:lnTo>
                  <a:lnTo>
                    <a:pt x="25004" y="2310"/>
                  </a:lnTo>
                  <a:lnTo>
                    <a:pt x="24933" y="2294"/>
                  </a:lnTo>
                  <a:lnTo>
                    <a:pt x="24902" y="2310"/>
                  </a:lnTo>
                  <a:lnTo>
                    <a:pt x="24836" y="2310"/>
                  </a:lnTo>
                  <a:lnTo>
                    <a:pt x="24843" y="2289"/>
                  </a:lnTo>
                  <a:lnTo>
                    <a:pt x="24827" y="2277"/>
                  </a:lnTo>
                  <a:lnTo>
                    <a:pt x="24810" y="2256"/>
                  </a:lnTo>
                  <a:lnTo>
                    <a:pt x="24820" y="2249"/>
                  </a:lnTo>
                  <a:lnTo>
                    <a:pt x="24836" y="2232"/>
                  </a:lnTo>
                  <a:lnTo>
                    <a:pt x="24836" y="2199"/>
                  </a:lnTo>
                  <a:lnTo>
                    <a:pt x="24810" y="2232"/>
                  </a:lnTo>
                  <a:lnTo>
                    <a:pt x="24794" y="2232"/>
                  </a:lnTo>
                  <a:lnTo>
                    <a:pt x="24789" y="2199"/>
                  </a:lnTo>
                  <a:lnTo>
                    <a:pt x="24789" y="2216"/>
                  </a:lnTo>
                  <a:lnTo>
                    <a:pt x="24772" y="2211"/>
                  </a:lnTo>
                  <a:lnTo>
                    <a:pt x="24789" y="2232"/>
                  </a:lnTo>
                  <a:lnTo>
                    <a:pt x="24782" y="2232"/>
                  </a:lnTo>
                  <a:lnTo>
                    <a:pt x="24756" y="2240"/>
                  </a:lnTo>
                  <a:lnTo>
                    <a:pt x="24751" y="2232"/>
                  </a:lnTo>
                  <a:lnTo>
                    <a:pt x="24756" y="2232"/>
                  </a:lnTo>
                  <a:lnTo>
                    <a:pt x="24751" y="2232"/>
                  </a:lnTo>
                  <a:lnTo>
                    <a:pt x="24739" y="2266"/>
                  </a:lnTo>
                  <a:lnTo>
                    <a:pt x="24782" y="2294"/>
                  </a:lnTo>
                  <a:lnTo>
                    <a:pt x="24782" y="2306"/>
                  </a:lnTo>
                  <a:lnTo>
                    <a:pt x="24768" y="2322"/>
                  </a:lnTo>
                  <a:lnTo>
                    <a:pt x="24768" y="2343"/>
                  </a:lnTo>
                  <a:lnTo>
                    <a:pt x="24751" y="2351"/>
                  </a:lnTo>
                  <a:lnTo>
                    <a:pt x="24735" y="2360"/>
                  </a:lnTo>
                  <a:lnTo>
                    <a:pt x="24735" y="2306"/>
                  </a:lnTo>
                  <a:lnTo>
                    <a:pt x="24735" y="2249"/>
                  </a:lnTo>
                  <a:lnTo>
                    <a:pt x="24735" y="2183"/>
                  </a:lnTo>
                  <a:lnTo>
                    <a:pt x="24735" y="2129"/>
                  </a:lnTo>
                  <a:lnTo>
                    <a:pt x="24735" y="2067"/>
                  </a:lnTo>
                  <a:lnTo>
                    <a:pt x="24735" y="2013"/>
                  </a:lnTo>
                  <a:lnTo>
                    <a:pt x="24735" y="1944"/>
                  </a:lnTo>
                  <a:lnTo>
                    <a:pt x="24735" y="1885"/>
                  </a:lnTo>
                  <a:lnTo>
                    <a:pt x="24735" y="1885"/>
                  </a:lnTo>
                  <a:lnTo>
                    <a:pt x="24735" y="1885"/>
                  </a:lnTo>
                  <a:close/>
                  <a:moveTo>
                    <a:pt x="16188" y="22"/>
                  </a:moveTo>
                  <a:lnTo>
                    <a:pt x="16172" y="22"/>
                  </a:lnTo>
                  <a:lnTo>
                    <a:pt x="16188" y="5"/>
                  </a:lnTo>
                  <a:lnTo>
                    <a:pt x="16278" y="0"/>
                  </a:lnTo>
                  <a:lnTo>
                    <a:pt x="16264" y="17"/>
                  </a:lnTo>
                  <a:lnTo>
                    <a:pt x="16188" y="22"/>
                  </a:lnTo>
                  <a:lnTo>
                    <a:pt x="16188" y="22"/>
                  </a:lnTo>
                  <a:lnTo>
                    <a:pt x="16188" y="22"/>
                  </a:lnTo>
                  <a:close/>
                  <a:moveTo>
                    <a:pt x="16474" y="22"/>
                  </a:moveTo>
                  <a:lnTo>
                    <a:pt x="16550" y="22"/>
                  </a:lnTo>
                  <a:lnTo>
                    <a:pt x="16592" y="33"/>
                  </a:lnTo>
                  <a:lnTo>
                    <a:pt x="16566" y="43"/>
                  </a:lnTo>
                  <a:lnTo>
                    <a:pt x="16474" y="33"/>
                  </a:lnTo>
                  <a:lnTo>
                    <a:pt x="16474" y="22"/>
                  </a:lnTo>
                  <a:lnTo>
                    <a:pt x="16474" y="22"/>
                  </a:lnTo>
                  <a:lnTo>
                    <a:pt x="16474" y="22"/>
                  </a:lnTo>
                  <a:close/>
                  <a:moveTo>
                    <a:pt x="16202" y="38"/>
                  </a:moveTo>
                  <a:lnTo>
                    <a:pt x="16235" y="38"/>
                  </a:lnTo>
                  <a:lnTo>
                    <a:pt x="16198" y="43"/>
                  </a:lnTo>
                  <a:lnTo>
                    <a:pt x="16202" y="38"/>
                  </a:lnTo>
                  <a:lnTo>
                    <a:pt x="16202" y="38"/>
                  </a:lnTo>
                  <a:lnTo>
                    <a:pt x="16202" y="38"/>
                  </a:lnTo>
                  <a:close/>
                  <a:moveTo>
                    <a:pt x="16453" y="38"/>
                  </a:moveTo>
                  <a:lnTo>
                    <a:pt x="16474" y="43"/>
                  </a:lnTo>
                  <a:lnTo>
                    <a:pt x="16441" y="38"/>
                  </a:lnTo>
                  <a:lnTo>
                    <a:pt x="16453" y="38"/>
                  </a:lnTo>
                  <a:lnTo>
                    <a:pt x="16453" y="38"/>
                  </a:lnTo>
                  <a:lnTo>
                    <a:pt x="16453" y="38"/>
                  </a:lnTo>
                  <a:close/>
                  <a:moveTo>
                    <a:pt x="16188" y="76"/>
                  </a:moveTo>
                  <a:lnTo>
                    <a:pt x="16096" y="59"/>
                  </a:lnTo>
                  <a:lnTo>
                    <a:pt x="16165" y="43"/>
                  </a:lnTo>
                  <a:lnTo>
                    <a:pt x="16219" y="71"/>
                  </a:lnTo>
                  <a:lnTo>
                    <a:pt x="16188" y="76"/>
                  </a:lnTo>
                  <a:lnTo>
                    <a:pt x="16188" y="76"/>
                  </a:lnTo>
                  <a:lnTo>
                    <a:pt x="16188" y="76"/>
                  </a:lnTo>
                  <a:close/>
                  <a:moveTo>
                    <a:pt x="16209" y="88"/>
                  </a:moveTo>
                  <a:lnTo>
                    <a:pt x="16252" y="71"/>
                  </a:lnTo>
                  <a:lnTo>
                    <a:pt x="16278" y="88"/>
                  </a:lnTo>
                  <a:lnTo>
                    <a:pt x="16209" y="88"/>
                  </a:lnTo>
                  <a:lnTo>
                    <a:pt x="16209" y="88"/>
                  </a:lnTo>
                  <a:lnTo>
                    <a:pt x="16209" y="88"/>
                  </a:lnTo>
                  <a:close/>
                  <a:moveTo>
                    <a:pt x="16009" y="99"/>
                  </a:moveTo>
                  <a:lnTo>
                    <a:pt x="16021" y="92"/>
                  </a:lnTo>
                  <a:lnTo>
                    <a:pt x="16004" y="92"/>
                  </a:lnTo>
                  <a:lnTo>
                    <a:pt x="16089" y="99"/>
                  </a:lnTo>
                  <a:lnTo>
                    <a:pt x="16063" y="76"/>
                  </a:lnTo>
                  <a:lnTo>
                    <a:pt x="16172" y="92"/>
                  </a:lnTo>
                  <a:lnTo>
                    <a:pt x="16075" y="116"/>
                  </a:lnTo>
                  <a:lnTo>
                    <a:pt x="16009" y="99"/>
                  </a:lnTo>
                  <a:lnTo>
                    <a:pt x="16009" y="99"/>
                  </a:lnTo>
                  <a:lnTo>
                    <a:pt x="16009" y="99"/>
                  </a:lnTo>
                  <a:close/>
                  <a:moveTo>
                    <a:pt x="15917" y="92"/>
                  </a:moveTo>
                  <a:lnTo>
                    <a:pt x="15912" y="88"/>
                  </a:lnTo>
                  <a:lnTo>
                    <a:pt x="15933" y="92"/>
                  </a:lnTo>
                  <a:lnTo>
                    <a:pt x="15917" y="92"/>
                  </a:lnTo>
                  <a:lnTo>
                    <a:pt x="15917" y="92"/>
                  </a:lnTo>
                  <a:lnTo>
                    <a:pt x="15917" y="92"/>
                  </a:lnTo>
                  <a:close/>
                  <a:moveTo>
                    <a:pt x="16311" y="92"/>
                  </a:moveTo>
                  <a:lnTo>
                    <a:pt x="16365" y="92"/>
                  </a:lnTo>
                  <a:lnTo>
                    <a:pt x="16306" y="92"/>
                  </a:lnTo>
                  <a:lnTo>
                    <a:pt x="16311" y="92"/>
                  </a:lnTo>
                  <a:lnTo>
                    <a:pt x="16311" y="92"/>
                  </a:lnTo>
                  <a:lnTo>
                    <a:pt x="16311" y="92"/>
                  </a:lnTo>
                  <a:close/>
                  <a:moveTo>
                    <a:pt x="18654" y="265"/>
                  </a:moveTo>
                  <a:lnTo>
                    <a:pt x="18524" y="260"/>
                  </a:lnTo>
                  <a:lnTo>
                    <a:pt x="18546" y="244"/>
                  </a:lnTo>
                  <a:lnTo>
                    <a:pt x="18612" y="244"/>
                  </a:lnTo>
                  <a:lnTo>
                    <a:pt x="18557" y="236"/>
                  </a:lnTo>
                  <a:lnTo>
                    <a:pt x="18617" y="220"/>
                  </a:lnTo>
                  <a:lnTo>
                    <a:pt x="18628" y="203"/>
                  </a:lnTo>
                  <a:lnTo>
                    <a:pt x="18654" y="170"/>
                  </a:lnTo>
                  <a:lnTo>
                    <a:pt x="18600" y="182"/>
                  </a:lnTo>
                  <a:lnTo>
                    <a:pt x="18617" y="166"/>
                  </a:lnTo>
                  <a:lnTo>
                    <a:pt x="18650" y="154"/>
                  </a:lnTo>
                  <a:lnTo>
                    <a:pt x="18645" y="144"/>
                  </a:lnTo>
                  <a:lnTo>
                    <a:pt x="18817" y="99"/>
                  </a:lnTo>
                  <a:lnTo>
                    <a:pt x="18780" y="99"/>
                  </a:lnTo>
                  <a:lnTo>
                    <a:pt x="18789" y="92"/>
                  </a:lnTo>
                  <a:lnTo>
                    <a:pt x="18834" y="92"/>
                  </a:lnTo>
                  <a:lnTo>
                    <a:pt x="18898" y="149"/>
                  </a:lnTo>
                  <a:lnTo>
                    <a:pt x="18990" y="187"/>
                  </a:lnTo>
                  <a:lnTo>
                    <a:pt x="18924" y="199"/>
                  </a:lnTo>
                  <a:lnTo>
                    <a:pt x="18919" y="220"/>
                  </a:lnTo>
                  <a:lnTo>
                    <a:pt x="18924" y="227"/>
                  </a:lnTo>
                  <a:lnTo>
                    <a:pt x="18935" y="255"/>
                  </a:lnTo>
                  <a:lnTo>
                    <a:pt x="18952" y="260"/>
                  </a:lnTo>
                  <a:lnTo>
                    <a:pt x="18924" y="265"/>
                  </a:lnTo>
                  <a:lnTo>
                    <a:pt x="18763" y="281"/>
                  </a:lnTo>
                  <a:lnTo>
                    <a:pt x="18687" y="310"/>
                  </a:lnTo>
                  <a:lnTo>
                    <a:pt x="18574" y="281"/>
                  </a:lnTo>
                  <a:lnTo>
                    <a:pt x="18628" y="281"/>
                  </a:lnTo>
                  <a:lnTo>
                    <a:pt x="18579" y="260"/>
                  </a:lnTo>
                  <a:lnTo>
                    <a:pt x="18654" y="265"/>
                  </a:lnTo>
                  <a:lnTo>
                    <a:pt x="18654" y="265"/>
                  </a:lnTo>
                  <a:lnTo>
                    <a:pt x="18654" y="265"/>
                  </a:lnTo>
                  <a:close/>
                  <a:moveTo>
                    <a:pt x="16117" y="109"/>
                  </a:moveTo>
                  <a:lnTo>
                    <a:pt x="16188" y="109"/>
                  </a:lnTo>
                  <a:lnTo>
                    <a:pt x="16150" y="128"/>
                  </a:lnTo>
                  <a:lnTo>
                    <a:pt x="16113" y="116"/>
                  </a:lnTo>
                  <a:lnTo>
                    <a:pt x="16117" y="109"/>
                  </a:lnTo>
                  <a:lnTo>
                    <a:pt x="16117" y="109"/>
                  </a:lnTo>
                  <a:lnTo>
                    <a:pt x="16117" y="109"/>
                  </a:lnTo>
                  <a:close/>
                  <a:moveTo>
                    <a:pt x="18503" y="133"/>
                  </a:moveTo>
                  <a:lnTo>
                    <a:pt x="18428" y="128"/>
                  </a:lnTo>
                  <a:lnTo>
                    <a:pt x="18418" y="109"/>
                  </a:lnTo>
                  <a:lnTo>
                    <a:pt x="18503" y="99"/>
                  </a:lnTo>
                  <a:lnTo>
                    <a:pt x="18541" y="116"/>
                  </a:lnTo>
                  <a:lnTo>
                    <a:pt x="18503" y="133"/>
                  </a:lnTo>
                  <a:lnTo>
                    <a:pt x="18503" y="133"/>
                  </a:lnTo>
                  <a:lnTo>
                    <a:pt x="18503" y="133"/>
                  </a:lnTo>
                  <a:close/>
                  <a:moveTo>
                    <a:pt x="16505" y="166"/>
                  </a:moveTo>
                  <a:lnTo>
                    <a:pt x="16543" y="149"/>
                  </a:lnTo>
                  <a:lnTo>
                    <a:pt x="16613" y="144"/>
                  </a:lnTo>
                  <a:lnTo>
                    <a:pt x="16618" y="116"/>
                  </a:lnTo>
                  <a:lnTo>
                    <a:pt x="16646" y="109"/>
                  </a:lnTo>
                  <a:lnTo>
                    <a:pt x="16689" y="116"/>
                  </a:lnTo>
                  <a:lnTo>
                    <a:pt x="16706" y="144"/>
                  </a:lnTo>
                  <a:lnTo>
                    <a:pt x="16706" y="154"/>
                  </a:lnTo>
                  <a:lnTo>
                    <a:pt x="16646" y="182"/>
                  </a:lnTo>
                  <a:lnTo>
                    <a:pt x="16550" y="199"/>
                  </a:lnTo>
                  <a:lnTo>
                    <a:pt x="16495" y="170"/>
                  </a:lnTo>
                  <a:lnTo>
                    <a:pt x="16505" y="166"/>
                  </a:lnTo>
                  <a:lnTo>
                    <a:pt x="16505" y="166"/>
                  </a:lnTo>
                  <a:lnTo>
                    <a:pt x="16505" y="166"/>
                  </a:lnTo>
                  <a:close/>
                  <a:moveTo>
                    <a:pt x="15647" y="133"/>
                  </a:moveTo>
                  <a:lnTo>
                    <a:pt x="15659" y="133"/>
                  </a:lnTo>
                  <a:lnTo>
                    <a:pt x="15647" y="128"/>
                  </a:lnTo>
                  <a:lnTo>
                    <a:pt x="15659" y="116"/>
                  </a:lnTo>
                  <a:lnTo>
                    <a:pt x="15685" y="128"/>
                  </a:lnTo>
                  <a:lnTo>
                    <a:pt x="15647" y="133"/>
                  </a:lnTo>
                  <a:lnTo>
                    <a:pt x="15647" y="133"/>
                  </a:lnTo>
                  <a:lnTo>
                    <a:pt x="15647" y="133"/>
                  </a:lnTo>
                  <a:close/>
                  <a:moveTo>
                    <a:pt x="16198" y="116"/>
                  </a:moveTo>
                  <a:lnTo>
                    <a:pt x="16226" y="116"/>
                  </a:lnTo>
                  <a:lnTo>
                    <a:pt x="16198" y="116"/>
                  </a:lnTo>
                  <a:lnTo>
                    <a:pt x="16198" y="116"/>
                  </a:lnTo>
                  <a:lnTo>
                    <a:pt x="16198" y="116"/>
                  </a:lnTo>
                  <a:close/>
                  <a:moveTo>
                    <a:pt x="16328" y="144"/>
                  </a:moveTo>
                  <a:lnTo>
                    <a:pt x="16370" y="128"/>
                  </a:lnTo>
                  <a:lnTo>
                    <a:pt x="16441" y="128"/>
                  </a:lnTo>
                  <a:lnTo>
                    <a:pt x="16398" y="154"/>
                  </a:lnTo>
                  <a:lnTo>
                    <a:pt x="16328" y="144"/>
                  </a:lnTo>
                  <a:lnTo>
                    <a:pt x="16328" y="144"/>
                  </a:lnTo>
                  <a:lnTo>
                    <a:pt x="16328" y="144"/>
                  </a:lnTo>
                  <a:close/>
                  <a:moveTo>
                    <a:pt x="15933" y="144"/>
                  </a:moveTo>
                  <a:lnTo>
                    <a:pt x="15950" y="128"/>
                  </a:lnTo>
                  <a:lnTo>
                    <a:pt x="16009" y="144"/>
                  </a:lnTo>
                  <a:lnTo>
                    <a:pt x="16047" y="133"/>
                  </a:lnTo>
                  <a:lnTo>
                    <a:pt x="16165" y="182"/>
                  </a:lnTo>
                  <a:lnTo>
                    <a:pt x="16113" y="199"/>
                  </a:lnTo>
                  <a:lnTo>
                    <a:pt x="16089" y="170"/>
                  </a:lnTo>
                  <a:lnTo>
                    <a:pt x="15933" y="144"/>
                  </a:lnTo>
                  <a:lnTo>
                    <a:pt x="15933" y="144"/>
                  </a:lnTo>
                  <a:lnTo>
                    <a:pt x="15933" y="144"/>
                  </a:lnTo>
                  <a:close/>
                  <a:moveTo>
                    <a:pt x="16047" y="128"/>
                  </a:moveTo>
                  <a:lnTo>
                    <a:pt x="16150" y="133"/>
                  </a:lnTo>
                  <a:lnTo>
                    <a:pt x="16202" y="154"/>
                  </a:lnTo>
                  <a:lnTo>
                    <a:pt x="16155" y="166"/>
                  </a:lnTo>
                  <a:lnTo>
                    <a:pt x="16047" y="128"/>
                  </a:lnTo>
                  <a:lnTo>
                    <a:pt x="16047" y="128"/>
                  </a:lnTo>
                  <a:lnTo>
                    <a:pt x="16047" y="128"/>
                  </a:lnTo>
                  <a:close/>
                  <a:moveTo>
                    <a:pt x="16172" y="133"/>
                  </a:moveTo>
                  <a:lnTo>
                    <a:pt x="16188" y="128"/>
                  </a:lnTo>
                  <a:lnTo>
                    <a:pt x="16235" y="144"/>
                  </a:lnTo>
                  <a:lnTo>
                    <a:pt x="16209" y="149"/>
                  </a:lnTo>
                  <a:lnTo>
                    <a:pt x="16172" y="133"/>
                  </a:lnTo>
                  <a:lnTo>
                    <a:pt x="16172" y="133"/>
                  </a:lnTo>
                  <a:lnTo>
                    <a:pt x="16172" y="133"/>
                  </a:lnTo>
                  <a:close/>
                  <a:moveTo>
                    <a:pt x="17672" y="149"/>
                  </a:moveTo>
                  <a:lnTo>
                    <a:pt x="17752" y="154"/>
                  </a:lnTo>
                  <a:lnTo>
                    <a:pt x="17714" y="170"/>
                  </a:lnTo>
                  <a:lnTo>
                    <a:pt x="17655" y="170"/>
                  </a:lnTo>
                  <a:lnTo>
                    <a:pt x="17672" y="149"/>
                  </a:lnTo>
                  <a:lnTo>
                    <a:pt x="17672" y="149"/>
                  </a:lnTo>
                  <a:lnTo>
                    <a:pt x="17672" y="149"/>
                  </a:lnTo>
                  <a:close/>
                  <a:moveTo>
                    <a:pt x="15534" y="260"/>
                  </a:moveTo>
                  <a:lnTo>
                    <a:pt x="15555" y="277"/>
                  </a:lnTo>
                  <a:lnTo>
                    <a:pt x="15517" y="277"/>
                  </a:lnTo>
                  <a:lnTo>
                    <a:pt x="15517" y="281"/>
                  </a:lnTo>
                  <a:lnTo>
                    <a:pt x="15508" y="293"/>
                  </a:lnTo>
                  <a:lnTo>
                    <a:pt x="15454" y="298"/>
                  </a:lnTo>
                  <a:lnTo>
                    <a:pt x="15454" y="293"/>
                  </a:lnTo>
                  <a:lnTo>
                    <a:pt x="15463" y="281"/>
                  </a:lnTo>
                  <a:lnTo>
                    <a:pt x="15484" y="277"/>
                  </a:lnTo>
                  <a:lnTo>
                    <a:pt x="15447" y="265"/>
                  </a:lnTo>
                  <a:lnTo>
                    <a:pt x="15416" y="281"/>
                  </a:lnTo>
                  <a:lnTo>
                    <a:pt x="15387" y="260"/>
                  </a:lnTo>
                  <a:lnTo>
                    <a:pt x="15416" y="244"/>
                  </a:lnTo>
                  <a:lnTo>
                    <a:pt x="15496" y="255"/>
                  </a:lnTo>
                  <a:lnTo>
                    <a:pt x="15454" y="244"/>
                  </a:lnTo>
                  <a:lnTo>
                    <a:pt x="15501" y="236"/>
                  </a:lnTo>
                  <a:lnTo>
                    <a:pt x="15484" y="227"/>
                  </a:lnTo>
                  <a:lnTo>
                    <a:pt x="15442" y="236"/>
                  </a:lnTo>
                  <a:lnTo>
                    <a:pt x="15508" y="210"/>
                  </a:lnTo>
                  <a:lnTo>
                    <a:pt x="15560" y="220"/>
                  </a:lnTo>
                  <a:lnTo>
                    <a:pt x="15576" y="210"/>
                  </a:lnTo>
                  <a:lnTo>
                    <a:pt x="15572" y="203"/>
                  </a:lnTo>
                  <a:lnTo>
                    <a:pt x="15593" y="203"/>
                  </a:lnTo>
                  <a:lnTo>
                    <a:pt x="15605" y="187"/>
                  </a:lnTo>
                  <a:lnTo>
                    <a:pt x="15550" y="187"/>
                  </a:lnTo>
                  <a:lnTo>
                    <a:pt x="15631" y="154"/>
                  </a:lnTo>
                  <a:lnTo>
                    <a:pt x="15659" y="154"/>
                  </a:lnTo>
                  <a:lnTo>
                    <a:pt x="15626" y="166"/>
                  </a:lnTo>
                  <a:lnTo>
                    <a:pt x="15680" y="154"/>
                  </a:lnTo>
                  <a:lnTo>
                    <a:pt x="15697" y="166"/>
                  </a:lnTo>
                  <a:lnTo>
                    <a:pt x="15643" y="187"/>
                  </a:lnTo>
                  <a:lnTo>
                    <a:pt x="15711" y="182"/>
                  </a:lnTo>
                  <a:lnTo>
                    <a:pt x="15739" y="187"/>
                  </a:lnTo>
                  <a:lnTo>
                    <a:pt x="15685" y="220"/>
                  </a:lnTo>
                  <a:lnTo>
                    <a:pt x="15605" y="227"/>
                  </a:lnTo>
                  <a:lnTo>
                    <a:pt x="15609" y="244"/>
                  </a:lnTo>
                  <a:lnTo>
                    <a:pt x="15539" y="244"/>
                  </a:lnTo>
                  <a:lnTo>
                    <a:pt x="15522" y="260"/>
                  </a:lnTo>
                  <a:lnTo>
                    <a:pt x="15534" y="260"/>
                  </a:lnTo>
                  <a:lnTo>
                    <a:pt x="15534" y="260"/>
                  </a:lnTo>
                  <a:lnTo>
                    <a:pt x="15534" y="260"/>
                  </a:lnTo>
                  <a:close/>
                  <a:moveTo>
                    <a:pt x="16181" y="170"/>
                  </a:moveTo>
                  <a:lnTo>
                    <a:pt x="16235" y="154"/>
                  </a:lnTo>
                  <a:lnTo>
                    <a:pt x="16257" y="170"/>
                  </a:lnTo>
                  <a:lnTo>
                    <a:pt x="16219" y="187"/>
                  </a:lnTo>
                  <a:lnTo>
                    <a:pt x="16172" y="170"/>
                  </a:lnTo>
                  <a:lnTo>
                    <a:pt x="16181" y="170"/>
                  </a:lnTo>
                  <a:lnTo>
                    <a:pt x="16181" y="170"/>
                  </a:lnTo>
                  <a:lnTo>
                    <a:pt x="16181" y="170"/>
                  </a:lnTo>
                  <a:close/>
                  <a:moveTo>
                    <a:pt x="15900" y="170"/>
                  </a:moveTo>
                  <a:lnTo>
                    <a:pt x="15983" y="154"/>
                  </a:lnTo>
                  <a:lnTo>
                    <a:pt x="16042" y="170"/>
                  </a:lnTo>
                  <a:lnTo>
                    <a:pt x="15966" y="187"/>
                  </a:lnTo>
                  <a:lnTo>
                    <a:pt x="15900" y="170"/>
                  </a:lnTo>
                  <a:lnTo>
                    <a:pt x="15900" y="170"/>
                  </a:lnTo>
                  <a:lnTo>
                    <a:pt x="15900" y="170"/>
                  </a:lnTo>
                  <a:close/>
                  <a:moveTo>
                    <a:pt x="16273" y="220"/>
                  </a:moveTo>
                  <a:lnTo>
                    <a:pt x="16278" y="210"/>
                  </a:lnTo>
                  <a:lnTo>
                    <a:pt x="16264" y="203"/>
                  </a:lnTo>
                  <a:lnTo>
                    <a:pt x="16273" y="199"/>
                  </a:lnTo>
                  <a:lnTo>
                    <a:pt x="16306" y="170"/>
                  </a:lnTo>
                  <a:lnTo>
                    <a:pt x="16453" y="166"/>
                  </a:lnTo>
                  <a:lnTo>
                    <a:pt x="16479" y="182"/>
                  </a:lnTo>
                  <a:lnTo>
                    <a:pt x="16467" y="199"/>
                  </a:lnTo>
                  <a:lnTo>
                    <a:pt x="16474" y="203"/>
                  </a:lnTo>
                  <a:lnTo>
                    <a:pt x="16441" y="210"/>
                  </a:lnTo>
                  <a:lnTo>
                    <a:pt x="16398" y="244"/>
                  </a:lnTo>
                  <a:lnTo>
                    <a:pt x="16344" y="227"/>
                  </a:lnTo>
                  <a:lnTo>
                    <a:pt x="16295" y="236"/>
                  </a:lnTo>
                  <a:lnTo>
                    <a:pt x="16273" y="220"/>
                  </a:lnTo>
                  <a:lnTo>
                    <a:pt x="16273" y="220"/>
                  </a:lnTo>
                  <a:lnTo>
                    <a:pt x="16273" y="220"/>
                  </a:lnTo>
                  <a:close/>
                  <a:moveTo>
                    <a:pt x="15345" y="236"/>
                  </a:moveTo>
                  <a:lnTo>
                    <a:pt x="15340" y="210"/>
                  </a:lnTo>
                  <a:lnTo>
                    <a:pt x="15307" y="220"/>
                  </a:lnTo>
                  <a:lnTo>
                    <a:pt x="15265" y="203"/>
                  </a:lnTo>
                  <a:lnTo>
                    <a:pt x="15409" y="182"/>
                  </a:lnTo>
                  <a:lnTo>
                    <a:pt x="15447" y="166"/>
                  </a:lnTo>
                  <a:lnTo>
                    <a:pt x="15517" y="182"/>
                  </a:lnTo>
                  <a:lnTo>
                    <a:pt x="15522" y="182"/>
                  </a:lnTo>
                  <a:lnTo>
                    <a:pt x="15508" y="187"/>
                  </a:lnTo>
                  <a:lnTo>
                    <a:pt x="15534" y="203"/>
                  </a:lnTo>
                  <a:lnTo>
                    <a:pt x="15484" y="199"/>
                  </a:lnTo>
                  <a:lnTo>
                    <a:pt x="15463" y="182"/>
                  </a:lnTo>
                  <a:lnTo>
                    <a:pt x="15432" y="199"/>
                  </a:lnTo>
                  <a:lnTo>
                    <a:pt x="15442" y="210"/>
                  </a:lnTo>
                  <a:lnTo>
                    <a:pt x="15425" y="203"/>
                  </a:lnTo>
                  <a:lnTo>
                    <a:pt x="15345" y="236"/>
                  </a:lnTo>
                  <a:lnTo>
                    <a:pt x="15345" y="236"/>
                  </a:lnTo>
                  <a:lnTo>
                    <a:pt x="15345" y="236"/>
                  </a:lnTo>
                  <a:close/>
                  <a:moveTo>
                    <a:pt x="16009" y="187"/>
                  </a:moveTo>
                  <a:lnTo>
                    <a:pt x="16080" y="182"/>
                  </a:lnTo>
                  <a:lnTo>
                    <a:pt x="16113" y="199"/>
                  </a:lnTo>
                  <a:lnTo>
                    <a:pt x="16037" y="203"/>
                  </a:lnTo>
                  <a:lnTo>
                    <a:pt x="16004" y="187"/>
                  </a:lnTo>
                  <a:lnTo>
                    <a:pt x="16009" y="187"/>
                  </a:lnTo>
                  <a:lnTo>
                    <a:pt x="16009" y="187"/>
                  </a:lnTo>
                  <a:lnTo>
                    <a:pt x="16009" y="187"/>
                  </a:lnTo>
                  <a:close/>
                  <a:moveTo>
                    <a:pt x="15848" y="220"/>
                  </a:moveTo>
                  <a:lnTo>
                    <a:pt x="15858" y="210"/>
                  </a:lnTo>
                  <a:lnTo>
                    <a:pt x="15841" y="203"/>
                  </a:lnTo>
                  <a:lnTo>
                    <a:pt x="15858" y="203"/>
                  </a:lnTo>
                  <a:lnTo>
                    <a:pt x="15874" y="220"/>
                  </a:lnTo>
                  <a:lnTo>
                    <a:pt x="15848" y="220"/>
                  </a:lnTo>
                  <a:lnTo>
                    <a:pt x="15848" y="220"/>
                  </a:lnTo>
                  <a:lnTo>
                    <a:pt x="15848" y="220"/>
                  </a:lnTo>
                  <a:close/>
                  <a:moveTo>
                    <a:pt x="16134" y="203"/>
                  </a:moveTo>
                  <a:lnTo>
                    <a:pt x="16188" y="203"/>
                  </a:lnTo>
                  <a:lnTo>
                    <a:pt x="16165" y="220"/>
                  </a:lnTo>
                  <a:lnTo>
                    <a:pt x="16127" y="210"/>
                  </a:lnTo>
                  <a:lnTo>
                    <a:pt x="16134" y="203"/>
                  </a:lnTo>
                  <a:lnTo>
                    <a:pt x="16134" y="203"/>
                  </a:lnTo>
                  <a:lnTo>
                    <a:pt x="16134" y="203"/>
                  </a:lnTo>
                  <a:close/>
                  <a:moveTo>
                    <a:pt x="15886" y="227"/>
                  </a:moveTo>
                  <a:lnTo>
                    <a:pt x="15900" y="220"/>
                  </a:lnTo>
                  <a:lnTo>
                    <a:pt x="15895" y="210"/>
                  </a:lnTo>
                  <a:lnTo>
                    <a:pt x="15900" y="203"/>
                  </a:lnTo>
                  <a:lnTo>
                    <a:pt x="15928" y="210"/>
                  </a:lnTo>
                  <a:lnTo>
                    <a:pt x="15912" y="220"/>
                  </a:lnTo>
                  <a:lnTo>
                    <a:pt x="15933" y="227"/>
                  </a:lnTo>
                  <a:lnTo>
                    <a:pt x="15917" y="236"/>
                  </a:lnTo>
                  <a:lnTo>
                    <a:pt x="15886" y="227"/>
                  </a:lnTo>
                  <a:lnTo>
                    <a:pt x="15886" y="227"/>
                  </a:lnTo>
                  <a:lnTo>
                    <a:pt x="15886" y="227"/>
                  </a:lnTo>
                  <a:close/>
                  <a:moveTo>
                    <a:pt x="15950" y="220"/>
                  </a:moveTo>
                  <a:lnTo>
                    <a:pt x="15971" y="210"/>
                  </a:lnTo>
                  <a:lnTo>
                    <a:pt x="15983" y="227"/>
                  </a:lnTo>
                  <a:lnTo>
                    <a:pt x="15950" y="220"/>
                  </a:lnTo>
                  <a:lnTo>
                    <a:pt x="15950" y="220"/>
                  </a:lnTo>
                  <a:lnTo>
                    <a:pt x="15950" y="220"/>
                  </a:lnTo>
                  <a:close/>
                  <a:moveTo>
                    <a:pt x="16155" y="293"/>
                  </a:moveTo>
                  <a:lnTo>
                    <a:pt x="16134" y="281"/>
                  </a:lnTo>
                  <a:lnTo>
                    <a:pt x="16134" y="244"/>
                  </a:lnTo>
                  <a:lnTo>
                    <a:pt x="16113" y="227"/>
                  </a:lnTo>
                  <a:lnTo>
                    <a:pt x="16209" y="227"/>
                  </a:lnTo>
                  <a:lnTo>
                    <a:pt x="16273" y="255"/>
                  </a:lnTo>
                  <a:lnTo>
                    <a:pt x="16209" y="260"/>
                  </a:lnTo>
                  <a:lnTo>
                    <a:pt x="16188" y="265"/>
                  </a:lnTo>
                  <a:lnTo>
                    <a:pt x="16219" y="265"/>
                  </a:lnTo>
                  <a:lnTo>
                    <a:pt x="16209" y="281"/>
                  </a:lnTo>
                  <a:lnTo>
                    <a:pt x="16181" y="277"/>
                  </a:lnTo>
                  <a:lnTo>
                    <a:pt x="16172" y="281"/>
                  </a:lnTo>
                  <a:lnTo>
                    <a:pt x="16181" y="293"/>
                  </a:lnTo>
                  <a:lnTo>
                    <a:pt x="16155" y="293"/>
                  </a:lnTo>
                  <a:lnTo>
                    <a:pt x="16155" y="293"/>
                  </a:lnTo>
                  <a:lnTo>
                    <a:pt x="16155" y="293"/>
                  </a:lnTo>
                  <a:close/>
                  <a:moveTo>
                    <a:pt x="15933" y="236"/>
                  </a:moveTo>
                  <a:lnTo>
                    <a:pt x="15950" y="227"/>
                  </a:lnTo>
                  <a:lnTo>
                    <a:pt x="15966" y="236"/>
                  </a:lnTo>
                  <a:lnTo>
                    <a:pt x="15928" y="244"/>
                  </a:lnTo>
                  <a:lnTo>
                    <a:pt x="15933" y="236"/>
                  </a:lnTo>
                  <a:lnTo>
                    <a:pt x="15933" y="236"/>
                  </a:lnTo>
                  <a:lnTo>
                    <a:pt x="15933" y="236"/>
                  </a:lnTo>
                  <a:close/>
                  <a:moveTo>
                    <a:pt x="15983" y="236"/>
                  </a:moveTo>
                  <a:lnTo>
                    <a:pt x="15992" y="236"/>
                  </a:lnTo>
                  <a:lnTo>
                    <a:pt x="15971" y="236"/>
                  </a:lnTo>
                  <a:lnTo>
                    <a:pt x="15983" y="236"/>
                  </a:lnTo>
                  <a:lnTo>
                    <a:pt x="15983" y="236"/>
                  </a:lnTo>
                  <a:lnTo>
                    <a:pt x="15983" y="236"/>
                  </a:lnTo>
                  <a:close/>
                  <a:moveTo>
                    <a:pt x="15787" y="277"/>
                  </a:moveTo>
                  <a:lnTo>
                    <a:pt x="15772" y="265"/>
                  </a:lnTo>
                  <a:lnTo>
                    <a:pt x="15824" y="244"/>
                  </a:lnTo>
                  <a:lnTo>
                    <a:pt x="15858" y="244"/>
                  </a:lnTo>
                  <a:lnTo>
                    <a:pt x="15895" y="265"/>
                  </a:lnTo>
                  <a:lnTo>
                    <a:pt x="15862" y="281"/>
                  </a:lnTo>
                  <a:lnTo>
                    <a:pt x="15787" y="277"/>
                  </a:lnTo>
                  <a:lnTo>
                    <a:pt x="15787" y="277"/>
                  </a:lnTo>
                  <a:lnTo>
                    <a:pt x="15787" y="277"/>
                  </a:lnTo>
                  <a:close/>
                  <a:moveTo>
                    <a:pt x="16025" y="293"/>
                  </a:moveTo>
                  <a:lnTo>
                    <a:pt x="16042" y="277"/>
                  </a:lnTo>
                  <a:lnTo>
                    <a:pt x="16042" y="265"/>
                  </a:lnTo>
                  <a:lnTo>
                    <a:pt x="16042" y="255"/>
                  </a:lnTo>
                  <a:lnTo>
                    <a:pt x="16117" y="260"/>
                  </a:lnTo>
                  <a:lnTo>
                    <a:pt x="16117" y="293"/>
                  </a:lnTo>
                  <a:lnTo>
                    <a:pt x="16113" y="298"/>
                  </a:lnTo>
                  <a:lnTo>
                    <a:pt x="16021" y="293"/>
                  </a:lnTo>
                  <a:lnTo>
                    <a:pt x="16025" y="293"/>
                  </a:lnTo>
                  <a:lnTo>
                    <a:pt x="16025" y="293"/>
                  </a:lnTo>
                  <a:lnTo>
                    <a:pt x="16025" y="293"/>
                  </a:lnTo>
                  <a:close/>
                  <a:moveTo>
                    <a:pt x="15966" y="265"/>
                  </a:moveTo>
                  <a:lnTo>
                    <a:pt x="15992" y="255"/>
                  </a:lnTo>
                  <a:lnTo>
                    <a:pt x="16009" y="260"/>
                  </a:lnTo>
                  <a:lnTo>
                    <a:pt x="15983" y="277"/>
                  </a:lnTo>
                  <a:lnTo>
                    <a:pt x="15966" y="265"/>
                  </a:lnTo>
                  <a:lnTo>
                    <a:pt x="15966" y="265"/>
                  </a:lnTo>
                  <a:lnTo>
                    <a:pt x="15966" y="265"/>
                  </a:lnTo>
                  <a:close/>
                  <a:moveTo>
                    <a:pt x="15917" y="277"/>
                  </a:moveTo>
                  <a:lnTo>
                    <a:pt x="15912" y="260"/>
                  </a:lnTo>
                  <a:lnTo>
                    <a:pt x="15917" y="255"/>
                  </a:lnTo>
                  <a:lnTo>
                    <a:pt x="15933" y="260"/>
                  </a:lnTo>
                  <a:lnTo>
                    <a:pt x="15917" y="277"/>
                  </a:lnTo>
                  <a:lnTo>
                    <a:pt x="15917" y="277"/>
                  </a:lnTo>
                  <a:lnTo>
                    <a:pt x="15917" y="277"/>
                  </a:lnTo>
                  <a:close/>
                  <a:moveTo>
                    <a:pt x="15609" y="298"/>
                  </a:moveTo>
                  <a:lnTo>
                    <a:pt x="15588" y="281"/>
                  </a:lnTo>
                  <a:lnTo>
                    <a:pt x="15614" y="265"/>
                  </a:lnTo>
                  <a:lnTo>
                    <a:pt x="15647" y="281"/>
                  </a:lnTo>
                  <a:lnTo>
                    <a:pt x="15609" y="298"/>
                  </a:lnTo>
                  <a:lnTo>
                    <a:pt x="15609" y="298"/>
                  </a:lnTo>
                  <a:lnTo>
                    <a:pt x="15609" y="298"/>
                  </a:lnTo>
                  <a:close/>
                  <a:moveTo>
                    <a:pt x="19098" y="425"/>
                  </a:moveTo>
                  <a:lnTo>
                    <a:pt x="19061" y="425"/>
                  </a:lnTo>
                  <a:lnTo>
                    <a:pt x="19120" y="459"/>
                  </a:lnTo>
                  <a:lnTo>
                    <a:pt x="19129" y="482"/>
                  </a:lnTo>
                  <a:lnTo>
                    <a:pt x="19087" y="499"/>
                  </a:lnTo>
                  <a:lnTo>
                    <a:pt x="19011" y="503"/>
                  </a:lnTo>
                  <a:lnTo>
                    <a:pt x="18935" y="499"/>
                  </a:lnTo>
                  <a:lnTo>
                    <a:pt x="18898" y="475"/>
                  </a:lnTo>
                  <a:lnTo>
                    <a:pt x="18827" y="475"/>
                  </a:lnTo>
                  <a:lnTo>
                    <a:pt x="18817" y="449"/>
                  </a:lnTo>
                  <a:lnTo>
                    <a:pt x="18780" y="466"/>
                  </a:lnTo>
                  <a:lnTo>
                    <a:pt x="18735" y="433"/>
                  </a:lnTo>
                  <a:lnTo>
                    <a:pt x="18735" y="392"/>
                  </a:lnTo>
                  <a:lnTo>
                    <a:pt x="18687" y="392"/>
                  </a:lnTo>
                  <a:lnTo>
                    <a:pt x="18704" y="392"/>
                  </a:lnTo>
                  <a:lnTo>
                    <a:pt x="18687" y="388"/>
                  </a:lnTo>
                  <a:lnTo>
                    <a:pt x="18697" y="371"/>
                  </a:lnTo>
                  <a:lnTo>
                    <a:pt x="18650" y="404"/>
                  </a:lnTo>
                  <a:lnTo>
                    <a:pt x="18650" y="392"/>
                  </a:lnTo>
                  <a:lnTo>
                    <a:pt x="18654" y="388"/>
                  </a:lnTo>
                  <a:lnTo>
                    <a:pt x="18628" y="376"/>
                  </a:lnTo>
                  <a:lnTo>
                    <a:pt x="18654" y="388"/>
                  </a:lnTo>
                  <a:lnTo>
                    <a:pt x="18709" y="347"/>
                  </a:lnTo>
                  <a:lnTo>
                    <a:pt x="18751" y="338"/>
                  </a:lnTo>
                  <a:lnTo>
                    <a:pt x="18725" y="322"/>
                  </a:lnTo>
                  <a:lnTo>
                    <a:pt x="18772" y="293"/>
                  </a:lnTo>
                  <a:lnTo>
                    <a:pt x="18796" y="310"/>
                  </a:lnTo>
                  <a:lnTo>
                    <a:pt x="18817" y="293"/>
                  </a:lnTo>
                  <a:lnTo>
                    <a:pt x="18957" y="281"/>
                  </a:lnTo>
                  <a:lnTo>
                    <a:pt x="18990" y="298"/>
                  </a:lnTo>
                  <a:lnTo>
                    <a:pt x="18957" y="347"/>
                  </a:lnTo>
                  <a:lnTo>
                    <a:pt x="18935" y="355"/>
                  </a:lnTo>
                  <a:lnTo>
                    <a:pt x="18969" y="347"/>
                  </a:lnTo>
                  <a:lnTo>
                    <a:pt x="18978" y="322"/>
                  </a:lnTo>
                  <a:lnTo>
                    <a:pt x="19011" y="331"/>
                  </a:lnTo>
                  <a:lnTo>
                    <a:pt x="19028" y="314"/>
                  </a:lnTo>
                  <a:lnTo>
                    <a:pt x="19023" y="310"/>
                  </a:lnTo>
                  <a:lnTo>
                    <a:pt x="19028" y="298"/>
                  </a:lnTo>
                  <a:lnTo>
                    <a:pt x="19075" y="298"/>
                  </a:lnTo>
                  <a:lnTo>
                    <a:pt x="19136" y="347"/>
                  </a:lnTo>
                  <a:lnTo>
                    <a:pt x="19113" y="371"/>
                  </a:lnTo>
                  <a:lnTo>
                    <a:pt x="19103" y="392"/>
                  </a:lnTo>
                  <a:lnTo>
                    <a:pt x="19113" y="409"/>
                  </a:lnTo>
                  <a:lnTo>
                    <a:pt x="19098" y="425"/>
                  </a:lnTo>
                  <a:lnTo>
                    <a:pt x="19098" y="425"/>
                  </a:lnTo>
                  <a:lnTo>
                    <a:pt x="19098" y="425"/>
                  </a:lnTo>
                  <a:close/>
                  <a:moveTo>
                    <a:pt x="16240" y="310"/>
                  </a:moveTo>
                  <a:lnTo>
                    <a:pt x="16278" y="293"/>
                  </a:lnTo>
                  <a:lnTo>
                    <a:pt x="16311" y="293"/>
                  </a:lnTo>
                  <a:lnTo>
                    <a:pt x="16311" y="310"/>
                  </a:lnTo>
                  <a:lnTo>
                    <a:pt x="16278" y="322"/>
                  </a:lnTo>
                  <a:lnTo>
                    <a:pt x="16240" y="310"/>
                  </a:lnTo>
                  <a:lnTo>
                    <a:pt x="16240" y="310"/>
                  </a:lnTo>
                  <a:lnTo>
                    <a:pt x="16240" y="310"/>
                  </a:lnTo>
                  <a:close/>
                  <a:moveTo>
                    <a:pt x="15626" y="314"/>
                  </a:moveTo>
                  <a:lnTo>
                    <a:pt x="15659" y="314"/>
                  </a:lnTo>
                  <a:lnTo>
                    <a:pt x="15697" y="293"/>
                  </a:lnTo>
                  <a:lnTo>
                    <a:pt x="15723" y="322"/>
                  </a:lnTo>
                  <a:lnTo>
                    <a:pt x="15626" y="314"/>
                  </a:lnTo>
                  <a:lnTo>
                    <a:pt x="15626" y="314"/>
                  </a:lnTo>
                  <a:lnTo>
                    <a:pt x="15626" y="314"/>
                  </a:lnTo>
                  <a:close/>
                  <a:moveTo>
                    <a:pt x="18503" y="298"/>
                  </a:moveTo>
                  <a:lnTo>
                    <a:pt x="18487" y="298"/>
                  </a:lnTo>
                  <a:lnTo>
                    <a:pt x="18633" y="310"/>
                  </a:lnTo>
                  <a:lnTo>
                    <a:pt x="18697" y="322"/>
                  </a:lnTo>
                  <a:lnTo>
                    <a:pt x="18645" y="355"/>
                  </a:lnTo>
                  <a:lnTo>
                    <a:pt x="18562" y="364"/>
                  </a:lnTo>
                  <a:lnTo>
                    <a:pt x="18595" y="355"/>
                  </a:lnTo>
                  <a:lnTo>
                    <a:pt x="18574" y="338"/>
                  </a:lnTo>
                  <a:lnTo>
                    <a:pt x="18503" y="331"/>
                  </a:lnTo>
                  <a:lnTo>
                    <a:pt x="18508" y="322"/>
                  </a:lnTo>
                  <a:lnTo>
                    <a:pt x="18503" y="298"/>
                  </a:lnTo>
                  <a:lnTo>
                    <a:pt x="18503" y="298"/>
                  </a:lnTo>
                  <a:lnTo>
                    <a:pt x="18503" y="298"/>
                  </a:lnTo>
                  <a:close/>
                  <a:moveTo>
                    <a:pt x="18704" y="310"/>
                  </a:moveTo>
                  <a:lnTo>
                    <a:pt x="18735" y="310"/>
                  </a:lnTo>
                  <a:lnTo>
                    <a:pt x="18704" y="314"/>
                  </a:lnTo>
                  <a:lnTo>
                    <a:pt x="18704" y="310"/>
                  </a:lnTo>
                  <a:lnTo>
                    <a:pt x="18704" y="310"/>
                  </a:lnTo>
                  <a:lnTo>
                    <a:pt x="18704" y="310"/>
                  </a:lnTo>
                  <a:close/>
                  <a:moveTo>
                    <a:pt x="16209" y="314"/>
                  </a:moveTo>
                  <a:lnTo>
                    <a:pt x="16226" y="314"/>
                  </a:lnTo>
                  <a:lnTo>
                    <a:pt x="16252" y="322"/>
                  </a:lnTo>
                  <a:lnTo>
                    <a:pt x="16202" y="322"/>
                  </a:lnTo>
                  <a:lnTo>
                    <a:pt x="16209" y="314"/>
                  </a:lnTo>
                  <a:lnTo>
                    <a:pt x="16209" y="314"/>
                  </a:lnTo>
                  <a:lnTo>
                    <a:pt x="16209" y="314"/>
                  </a:lnTo>
                  <a:close/>
                  <a:moveTo>
                    <a:pt x="18541" y="364"/>
                  </a:moveTo>
                  <a:lnTo>
                    <a:pt x="18503" y="355"/>
                  </a:lnTo>
                  <a:lnTo>
                    <a:pt x="18557" y="364"/>
                  </a:lnTo>
                  <a:lnTo>
                    <a:pt x="18541" y="364"/>
                  </a:lnTo>
                  <a:lnTo>
                    <a:pt x="18541" y="364"/>
                  </a:lnTo>
                  <a:lnTo>
                    <a:pt x="18541" y="364"/>
                  </a:lnTo>
                  <a:close/>
                  <a:moveTo>
                    <a:pt x="19129" y="376"/>
                  </a:moveTo>
                  <a:lnTo>
                    <a:pt x="19129" y="364"/>
                  </a:lnTo>
                  <a:lnTo>
                    <a:pt x="19150" y="364"/>
                  </a:lnTo>
                  <a:lnTo>
                    <a:pt x="19129" y="376"/>
                  </a:lnTo>
                  <a:lnTo>
                    <a:pt x="19129" y="376"/>
                  </a:lnTo>
                  <a:lnTo>
                    <a:pt x="19129" y="376"/>
                  </a:lnTo>
                  <a:close/>
                  <a:moveTo>
                    <a:pt x="17495" y="388"/>
                  </a:moveTo>
                  <a:lnTo>
                    <a:pt x="17445" y="371"/>
                  </a:lnTo>
                  <a:lnTo>
                    <a:pt x="17563" y="388"/>
                  </a:lnTo>
                  <a:lnTo>
                    <a:pt x="17499" y="392"/>
                  </a:lnTo>
                  <a:lnTo>
                    <a:pt x="17495" y="388"/>
                  </a:lnTo>
                  <a:lnTo>
                    <a:pt x="17495" y="388"/>
                  </a:lnTo>
                  <a:lnTo>
                    <a:pt x="17495" y="388"/>
                  </a:lnTo>
                  <a:close/>
                  <a:moveTo>
                    <a:pt x="18494" y="388"/>
                  </a:moveTo>
                  <a:lnTo>
                    <a:pt x="18536" y="392"/>
                  </a:lnTo>
                  <a:lnTo>
                    <a:pt x="18482" y="376"/>
                  </a:lnTo>
                  <a:lnTo>
                    <a:pt x="18494" y="388"/>
                  </a:lnTo>
                  <a:lnTo>
                    <a:pt x="18494" y="388"/>
                  </a:lnTo>
                  <a:lnTo>
                    <a:pt x="18494" y="388"/>
                  </a:lnTo>
                  <a:close/>
                  <a:moveTo>
                    <a:pt x="19129" y="392"/>
                  </a:moveTo>
                  <a:lnTo>
                    <a:pt x="19129" y="404"/>
                  </a:lnTo>
                  <a:lnTo>
                    <a:pt x="19120" y="404"/>
                  </a:lnTo>
                  <a:lnTo>
                    <a:pt x="19129" y="392"/>
                  </a:lnTo>
                  <a:lnTo>
                    <a:pt x="19129" y="392"/>
                  </a:lnTo>
                  <a:lnTo>
                    <a:pt x="19129" y="392"/>
                  </a:lnTo>
                  <a:close/>
                  <a:moveTo>
                    <a:pt x="19136" y="553"/>
                  </a:moveTo>
                  <a:lnTo>
                    <a:pt x="19157" y="503"/>
                  </a:lnTo>
                  <a:lnTo>
                    <a:pt x="19212" y="515"/>
                  </a:lnTo>
                  <a:lnTo>
                    <a:pt x="19183" y="487"/>
                  </a:lnTo>
                  <a:lnTo>
                    <a:pt x="19195" y="466"/>
                  </a:lnTo>
                  <a:lnTo>
                    <a:pt x="19243" y="475"/>
                  </a:lnTo>
                  <a:lnTo>
                    <a:pt x="19195" y="459"/>
                  </a:lnTo>
                  <a:lnTo>
                    <a:pt x="19212" y="433"/>
                  </a:lnTo>
                  <a:lnTo>
                    <a:pt x="19250" y="409"/>
                  </a:lnTo>
                  <a:lnTo>
                    <a:pt x="19264" y="425"/>
                  </a:lnTo>
                  <a:lnTo>
                    <a:pt x="19280" y="433"/>
                  </a:lnTo>
                  <a:lnTo>
                    <a:pt x="19280" y="409"/>
                  </a:lnTo>
                  <a:lnTo>
                    <a:pt x="19297" y="404"/>
                  </a:lnTo>
                  <a:lnTo>
                    <a:pt x="19351" y="421"/>
                  </a:lnTo>
                  <a:lnTo>
                    <a:pt x="19330" y="433"/>
                  </a:lnTo>
                  <a:lnTo>
                    <a:pt x="19297" y="499"/>
                  </a:lnTo>
                  <a:lnTo>
                    <a:pt x="19335" y="466"/>
                  </a:lnTo>
                  <a:lnTo>
                    <a:pt x="19406" y="449"/>
                  </a:lnTo>
                  <a:lnTo>
                    <a:pt x="19410" y="475"/>
                  </a:lnTo>
                  <a:lnTo>
                    <a:pt x="19439" y="475"/>
                  </a:lnTo>
                  <a:lnTo>
                    <a:pt x="19453" y="499"/>
                  </a:lnTo>
                  <a:lnTo>
                    <a:pt x="19453" y="503"/>
                  </a:lnTo>
                  <a:lnTo>
                    <a:pt x="19460" y="499"/>
                  </a:lnTo>
                  <a:lnTo>
                    <a:pt x="19491" y="499"/>
                  </a:lnTo>
                  <a:lnTo>
                    <a:pt x="19507" y="536"/>
                  </a:lnTo>
                  <a:lnTo>
                    <a:pt x="19460" y="577"/>
                  </a:lnTo>
                  <a:lnTo>
                    <a:pt x="19335" y="593"/>
                  </a:lnTo>
                  <a:lnTo>
                    <a:pt x="19318" y="598"/>
                  </a:lnTo>
                  <a:lnTo>
                    <a:pt x="19302" y="593"/>
                  </a:lnTo>
                  <a:lnTo>
                    <a:pt x="19221" y="598"/>
                  </a:lnTo>
                  <a:lnTo>
                    <a:pt x="19129" y="631"/>
                  </a:lnTo>
                  <a:lnTo>
                    <a:pt x="19087" y="643"/>
                  </a:lnTo>
                  <a:lnTo>
                    <a:pt x="19082" y="626"/>
                  </a:lnTo>
                  <a:lnTo>
                    <a:pt x="19136" y="553"/>
                  </a:lnTo>
                  <a:lnTo>
                    <a:pt x="19136" y="553"/>
                  </a:lnTo>
                  <a:lnTo>
                    <a:pt x="19136" y="553"/>
                  </a:lnTo>
                  <a:close/>
                  <a:moveTo>
                    <a:pt x="19561" y="598"/>
                  </a:moveTo>
                  <a:lnTo>
                    <a:pt x="19552" y="593"/>
                  </a:lnTo>
                  <a:lnTo>
                    <a:pt x="19583" y="577"/>
                  </a:lnTo>
                  <a:lnTo>
                    <a:pt x="19604" y="586"/>
                  </a:lnTo>
                  <a:lnTo>
                    <a:pt x="19561" y="598"/>
                  </a:lnTo>
                  <a:lnTo>
                    <a:pt x="19561" y="598"/>
                  </a:lnTo>
                  <a:lnTo>
                    <a:pt x="19561" y="598"/>
                  </a:lnTo>
                  <a:close/>
                  <a:moveTo>
                    <a:pt x="19654" y="626"/>
                  </a:moveTo>
                  <a:lnTo>
                    <a:pt x="19583" y="598"/>
                  </a:lnTo>
                  <a:lnTo>
                    <a:pt x="19670" y="610"/>
                  </a:lnTo>
                  <a:lnTo>
                    <a:pt x="19654" y="626"/>
                  </a:lnTo>
                  <a:lnTo>
                    <a:pt x="19654" y="626"/>
                  </a:lnTo>
                  <a:lnTo>
                    <a:pt x="19654" y="626"/>
                  </a:lnTo>
                  <a:close/>
                  <a:moveTo>
                    <a:pt x="18562" y="688"/>
                  </a:moveTo>
                  <a:lnTo>
                    <a:pt x="18546" y="681"/>
                  </a:lnTo>
                  <a:lnTo>
                    <a:pt x="18574" y="688"/>
                  </a:lnTo>
                  <a:lnTo>
                    <a:pt x="18562" y="688"/>
                  </a:lnTo>
                  <a:lnTo>
                    <a:pt x="18562" y="688"/>
                  </a:lnTo>
                  <a:lnTo>
                    <a:pt x="18562" y="688"/>
                  </a:lnTo>
                  <a:close/>
                  <a:moveTo>
                    <a:pt x="19642" y="754"/>
                  </a:moveTo>
                  <a:lnTo>
                    <a:pt x="19637" y="742"/>
                  </a:lnTo>
                  <a:lnTo>
                    <a:pt x="19654" y="725"/>
                  </a:lnTo>
                  <a:lnTo>
                    <a:pt x="19670" y="737"/>
                  </a:lnTo>
                  <a:lnTo>
                    <a:pt x="19670" y="742"/>
                  </a:lnTo>
                  <a:lnTo>
                    <a:pt x="19642" y="754"/>
                  </a:lnTo>
                  <a:lnTo>
                    <a:pt x="19642" y="754"/>
                  </a:lnTo>
                  <a:lnTo>
                    <a:pt x="19642" y="754"/>
                  </a:lnTo>
                  <a:close/>
                  <a:moveTo>
                    <a:pt x="18373" y="758"/>
                  </a:moveTo>
                  <a:lnTo>
                    <a:pt x="18364" y="742"/>
                  </a:lnTo>
                  <a:lnTo>
                    <a:pt x="18373" y="737"/>
                  </a:lnTo>
                  <a:lnTo>
                    <a:pt x="18402" y="742"/>
                  </a:lnTo>
                  <a:lnTo>
                    <a:pt x="18373" y="758"/>
                  </a:lnTo>
                  <a:lnTo>
                    <a:pt x="18373" y="758"/>
                  </a:lnTo>
                  <a:lnTo>
                    <a:pt x="18373" y="758"/>
                  </a:lnTo>
                  <a:close/>
                  <a:moveTo>
                    <a:pt x="19535" y="742"/>
                  </a:moveTo>
                  <a:lnTo>
                    <a:pt x="19552" y="737"/>
                  </a:lnTo>
                  <a:lnTo>
                    <a:pt x="19535" y="742"/>
                  </a:lnTo>
                  <a:lnTo>
                    <a:pt x="19535" y="742"/>
                  </a:lnTo>
                  <a:lnTo>
                    <a:pt x="19535" y="742"/>
                  </a:lnTo>
                  <a:close/>
                  <a:moveTo>
                    <a:pt x="18881" y="754"/>
                  </a:moveTo>
                  <a:lnTo>
                    <a:pt x="18886" y="758"/>
                  </a:lnTo>
                  <a:lnTo>
                    <a:pt x="18860" y="780"/>
                  </a:lnTo>
                  <a:lnTo>
                    <a:pt x="18796" y="780"/>
                  </a:lnTo>
                  <a:lnTo>
                    <a:pt x="18881" y="754"/>
                  </a:lnTo>
                  <a:lnTo>
                    <a:pt x="18881" y="754"/>
                  </a:lnTo>
                  <a:lnTo>
                    <a:pt x="18881" y="754"/>
                  </a:lnTo>
                  <a:close/>
                  <a:moveTo>
                    <a:pt x="18357" y="758"/>
                  </a:moveTo>
                  <a:lnTo>
                    <a:pt x="18331" y="763"/>
                  </a:lnTo>
                  <a:lnTo>
                    <a:pt x="18347" y="763"/>
                  </a:lnTo>
                  <a:lnTo>
                    <a:pt x="18343" y="780"/>
                  </a:lnTo>
                  <a:lnTo>
                    <a:pt x="18331" y="763"/>
                  </a:lnTo>
                  <a:lnTo>
                    <a:pt x="18357" y="758"/>
                  </a:lnTo>
                  <a:lnTo>
                    <a:pt x="18357" y="758"/>
                  </a:lnTo>
                  <a:lnTo>
                    <a:pt x="18357" y="758"/>
                  </a:lnTo>
                  <a:close/>
                  <a:moveTo>
                    <a:pt x="23093" y="758"/>
                  </a:moveTo>
                  <a:lnTo>
                    <a:pt x="23109" y="758"/>
                  </a:lnTo>
                  <a:lnTo>
                    <a:pt x="23088" y="758"/>
                  </a:lnTo>
                  <a:lnTo>
                    <a:pt x="23093" y="758"/>
                  </a:lnTo>
                  <a:lnTo>
                    <a:pt x="23093" y="758"/>
                  </a:lnTo>
                  <a:lnTo>
                    <a:pt x="23093" y="758"/>
                  </a:lnTo>
                  <a:close/>
                  <a:moveTo>
                    <a:pt x="16101" y="1314"/>
                  </a:moveTo>
                  <a:lnTo>
                    <a:pt x="16096" y="1307"/>
                  </a:lnTo>
                  <a:lnTo>
                    <a:pt x="16096" y="1318"/>
                  </a:lnTo>
                  <a:lnTo>
                    <a:pt x="16047" y="1318"/>
                  </a:lnTo>
                  <a:lnTo>
                    <a:pt x="16037" y="1297"/>
                  </a:lnTo>
                  <a:lnTo>
                    <a:pt x="16042" y="1314"/>
                  </a:lnTo>
                  <a:lnTo>
                    <a:pt x="15971" y="1297"/>
                  </a:lnTo>
                  <a:lnTo>
                    <a:pt x="15917" y="1314"/>
                  </a:lnTo>
                  <a:lnTo>
                    <a:pt x="15900" y="1307"/>
                  </a:lnTo>
                  <a:lnTo>
                    <a:pt x="15928" y="1297"/>
                  </a:lnTo>
                  <a:lnTo>
                    <a:pt x="15928" y="1290"/>
                  </a:lnTo>
                  <a:lnTo>
                    <a:pt x="15917" y="1290"/>
                  </a:lnTo>
                  <a:lnTo>
                    <a:pt x="15928" y="1281"/>
                  </a:lnTo>
                  <a:lnTo>
                    <a:pt x="15987" y="1257"/>
                  </a:lnTo>
                  <a:lnTo>
                    <a:pt x="15900" y="1273"/>
                  </a:lnTo>
                  <a:lnTo>
                    <a:pt x="15879" y="1252"/>
                  </a:lnTo>
                  <a:lnTo>
                    <a:pt x="15954" y="1224"/>
                  </a:lnTo>
                  <a:lnTo>
                    <a:pt x="15938" y="1219"/>
                  </a:lnTo>
                  <a:lnTo>
                    <a:pt x="15971" y="1195"/>
                  </a:lnTo>
                  <a:lnTo>
                    <a:pt x="16037" y="1203"/>
                  </a:lnTo>
                  <a:lnTo>
                    <a:pt x="15983" y="1179"/>
                  </a:lnTo>
                  <a:lnTo>
                    <a:pt x="16025" y="1179"/>
                  </a:lnTo>
                  <a:lnTo>
                    <a:pt x="15987" y="1170"/>
                  </a:lnTo>
                  <a:lnTo>
                    <a:pt x="15992" y="1153"/>
                  </a:lnTo>
                  <a:lnTo>
                    <a:pt x="16063" y="1146"/>
                  </a:lnTo>
                  <a:lnTo>
                    <a:pt x="16009" y="1141"/>
                  </a:lnTo>
                  <a:lnTo>
                    <a:pt x="16009" y="1125"/>
                  </a:lnTo>
                  <a:lnTo>
                    <a:pt x="16113" y="1125"/>
                  </a:lnTo>
                  <a:lnTo>
                    <a:pt x="16089" y="1125"/>
                  </a:lnTo>
                  <a:lnTo>
                    <a:pt x="16075" y="1108"/>
                  </a:lnTo>
                  <a:lnTo>
                    <a:pt x="16037" y="1108"/>
                  </a:lnTo>
                  <a:lnTo>
                    <a:pt x="16089" y="1087"/>
                  </a:lnTo>
                  <a:lnTo>
                    <a:pt x="16063" y="1087"/>
                  </a:lnTo>
                  <a:lnTo>
                    <a:pt x="16075" y="1075"/>
                  </a:lnTo>
                  <a:lnTo>
                    <a:pt x="16037" y="1075"/>
                  </a:lnTo>
                  <a:lnTo>
                    <a:pt x="16042" y="1070"/>
                  </a:lnTo>
                  <a:lnTo>
                    <a:pt x="16025" y="1070"/>
                  </a:lnTo>
                  <a:lnTo>
                    <a:pt x="16025" y="1058"/>
                  </a:lnTo>
                  <a:lnTo>
                    <a:pt x="16063" y="1051"/>
                  </a:lnTo>
                  <a:lnTo>
                    <a:pt x="16075" y="1070"/>
                  </a:lnTo>
                  <a:lnTo>
                    <a:pt x="16101" y="1042"/>
                  </a:lnTo>
                  <a:lnTo>
                    <a:pt x="16096" y="1035"/>
                  </a:lnTo>
                  <a:lnTo>
                    <a:pt x="16101" y="1030"/>
                  </a:lnTo>
                  <a:lnTo>
                    <a:pt x="16165" y="1030"/>
                  </a:lnTo>
                  <a:lnTo>
                    <a:pt x="16150" y="1002"/>
                  </a:lnTo>
                  <a:lnTo>
                    <a:pt x="16198" y="997"/>
                  </a:lnTo>
                  <a:lnTo>
                    <a:pt x="16181" y="985"/>
                  </a:lnTo>
                  <a:lnTo>
                    <a:pt x="16235" y="959"/>
                  </a:lnTo>
                  <a:lnTo>
                    <a:pt x="16349" y="931"/>
                  </a:lnTo>
                  <a:lnTo>
                    <a:pt x="16328" y="924"/>
                  </a:lnTo>
                  <a:lnTo>
                    <a:pt x="16344" y="919"/>
                  </a:lnTo>
                  <a:lnTo>
                    <a:pt x="16382" y="919"/>
                  </a:lnTo>
                  <a:lnTo>
                    <a:pt x="16361" y="931"/>
                  </a:lnTo>
                  <a:lnTo>
                    <a:pt x="16370" y="931"/>
                  </a:lnTo>
                  <a:lnTo>
                    <a:pt x="16403" y="907"/>
                  </a:lnTo>
                  <a:lnTo>
                    <a:pt x="16387" y="907"/>
                  </a:lnTo>
                  <a:lnTo>
                    <a:pt x="16398" y="891"/>
                  </a:lnTo>
                  <a:lnTo>
                    <a:pt x="16441" y="886"/>
                  </a:lnTo>
                  <a:lnTo>
                    <a:pt x="16495" y="903"/>
                  </a:lnTo>
                  <a:lnTo>
                    <a:pt x="16580" y="874"/>
                  </a:lnTo>
                  <a:lnTo>
                    <a:pt x="16613" y="886"/>
                  </a:lnTo>
                  <a:lnTo>
                    <a:pt x="16710" y="848"/>
                  </a:lnTo>
                  <a:lnTo>
                    <a:pt x="16743" y="853"/>
                  </a:lnTo>
                  <a:lnTo>
                    <a:pt x="16727" y="832"/>
                  </a:lnTo>
                  <a:lnTo>
                    <a:pt x="16852" y="780"/>
                  </a:lnTo>
                  <a:lnTo>
                    <a:pt x="16921" y="792"/>
                  </a:lnTo>
                  <a:lnTo>
                    <a:pt x="16954" y="815"/>
                  </a:lnTo>
                  <a:lnTo>
                    <a:pt x="16937" y="848"/>
                  </a:lnTo>
                  <a:lnTo>
                    <a:pt x="16944" y="853"/>
                  </a:lnTo>
                  <a:lnTo>
                    <a:pt x="16899" y="886"/>
                  </a:lnTo>
                  <a:lnTo>
                    <a:pt x="16906" y="886"/>
                  </a:lnTo>
                  <a:lnTo>
                    <a:pt x="16684" y="959"/>
                  </a:lnTo>
                  <a:lnTo>
                    <a:pt x="16592" y="981"/>
                  </a:lnTo>
                  <a:lnTo>
                    <a:pt x="16576" y="976"/>
                  </a:lnTo>
                  <a:lnTo>
                    <a:pt x="16559" y="985"/>
                  </a:lnTo>
                  <a:lnTo>
                    <a:pt x="16441" y="1018"/>
                  </a:lnTo>
                  <a:lnTo>
                    <a:pt x="16424" y="1042"/>
                  </a:lnTo>
                  <a:lnTo>
                    <a:pt x="16415" y="1030"/>
                  </a:lnTo>
                  <a:lnTo>
                    <a:pt x="16403" y="1042"/>
                  </a:lnTo>
                  <a:lnTo>
                    <a:pt x="16370" y="1058"/>
                  </a:lnTo>
                  <a:lnTo>
                    <a:pt x="16382" y="1070"/>
                  </a:lnTo>
                  <a:lnTo>
                    <a:pt x="16370" y="1075"/>
                  </a:lnTo>
                  <a:lnTo>
                    <a:pt x="16361" y="1058"/>
                  </a:lnTo>
                  <a:lnTo>
                    <a:pt x="16361" y="1075"/>
                  </a:lnTo>
                  <a:lnTo>
                    <a:pt x="16316" y="1075"/>
                  </a:lnTo>
                  <a:lnTo>
                    <a:pt x="16370" y="1087"/>
                  </a:lnTo>
                  <a:lnTo>
                    <a:pt x="16332" y="1096"/>
                  </a:lnTo>
                  <a:lnTo>
                    <a:pt x="16349" y="1108"/>
                  </a:lnTo>
                  <a:lnTo>
                    <a:pt x="16344" y="1113"/>
                  </a:lnTo>
                  <a:lnTo>
                    <a:pt x="16316" y="1113"/>
                  </a:lnTo>
                  <a:lnTo>
                    <a:pt x="16290" y="1108"/>
                  </a:lnTo>
                  <a:lnTo>
                    <a:pt x="16311" y="1125"/>
                  </a:lnTo>
                  <a:lnTo>
                    <a:pt x="16306" y="1141"/>
                  </a:lnTo>
                  <a:lnTo>
                    <a:pt x="16264" y="1113"/>
                  </a:lnTo>
                  <a:lnTo>
                    <a:pt x="16273" y="1129"/>
                  </a:lnTo>
                  <a:lnTo>
                    <a:pt x="16257" y="1141"/>
                  </a:lnTo>
                  <a:lnTo>
                    <a:pt x="16264" y="1153"/>
                  </a:lnTo>
                  <a:lnTo>
                    <a:pt x="16198" y="1141"/>
                  </a:lnTo>
                  <a:lnTo>
                    <a:pt x="16226" y="1153"/>
                  </a:lnTo>
                  <a:lnTo>
                    <a:pt x="16235" y="1179"/>
                  </a:lnTo>
                  <a:lnTo>
                    <a:pt x="16219" y="1195"/>
                  </a:lnTo>
                  <a:lnTo>
                    <a:pt x="16202" y="1186"/>
                  </a:lnTo>
                  <a:lnTo>
                    <a:pt x="16209" y="1203"/>
                  </a:lnTo>
                  <a:lnTo>
                    <a:pt x="16198" y="1203"/>
                  </a:lnTo>
                  <a:lnTo>
                    <a:pt x="16198" y="1219"/>
                  </a:lnTo>
                  <a:lnTo>
                    <a:pt x="16165" y="1207"/>
                  </a:lnTo>
                  <a:lnTo>
                    <a:pt x="16150" y="1195"/>
                  </a:lnTo>
                  <a:lnTo>
                    <a:pt x="16143" y="1195"/>
                  </a:lnTo>
                  <a:lnTo>
                    <a:pt x="16150" y="1207"/>
                  </a:lnTo>
                  <a:lnTo>
                    <a:pt x="16134" y="1207"/>
                  </a:lnTo>
                  <a:lnTo>
                    <a:pt x="16172" y="1236"/>
                  </a:lnTo>
                  <a:lnTo>
                    <a:pt x="16181" y="1252"/>
                  </a:lnTo>
                  <a:lnTo>
                    <a:pt x="16165" y="1257"/>
                  </a:lnTo>
                  <a:lnTo>
                    <a:pt x="16143" y="1240"/>
                  </a:lnTo>
                  <a:lnTo>
                    <a:pt x="16080" y="1236"/>
                  </a:lnTo>
                  <a:lnTo>
                    <a:pt x="16134" y="1240"/>
                  </a:lnTo>
                  <a:lnTo>
                    <a:pt x="16155" y="1264"/>
                  </a:lnTo>
                  <a:lnTo>
                    <a:pt x="16134" y="1281"/>
                  </a:lnTo>
                  <a:lnTo>
                    <a:pt x="16096" y="1264"/>
                  </a:lnTo>
                  <a:lnTo>
                    <a:pt x="16096" y="1273"/>
                  </a:lnTo>
                  <a:lnTo>
                    <a:pt x="16127" y="1290"/>
                  </a:lnTo>
                  <a:lnTo>
                    <a:pt x="16101" y="1314"/>
                  </a:lnTo>
                  <a:lnTo>
                    <a:pt x="16101" y="1314"/>
                  </a:lnTo>
                  <a:lnTo>
                    <a:pt x="16101" y="1314"/>
                  </a:lnTo>
                  <a:close/>
                  <a:moveTo>
                    <a:pt x="18978" y="815"/>
                  </a:moveTo>
                  <a:lnTo>
                    <a:pt x="18969" y="808"/>
                  </a:lnTo>
                  <a:lnTo>
                    <a:pt x="18978" y="808"/>
                  </a:lnTo>
                  <a:lnTo>
                    <a:pt x="18978" y="815"/>
                  </a:lnTo>
                  <a:lnTo>
                    <a:pt x="18978" y="815"/>
                  </a:lnTo>
                  <a:lnTo>
                    <a:pt x="18978" y="815"/>
                  </a:lnTo>
                  <a:close/>
                  <a:moveTo>
                    <a:pt x="22521" y="836"/>
                  </a:moveTo>
                  <a:lnTo>
                    <a:pt x="22547" y="820"/>
                  </a:lnTo>
                  <a:lnTo>
                    <a:pt x="22585" y="820"/>
                  </a:lnTo>
                  <a:lnTo>
                    <a:pt x="22576" y="836"/>
                  </a:lnTo>
                  <a:lnTo>
                    <a:pt x="22521" y="836"/>
                  </a:lnTo>
                  <a:lnTo>
                    <a:pt x="22521" y="836"/>
                  </a:lnTo>
                  <a:lnTo>
                    <a:pt x="22521" y="836"/>
                  </a:lnTo>
                  <a:close/>
                  <a:moveTo>
                    <a:pt x="18957" y="848"/>
                  </a:moveTo>
                  <a:lnTo>
                    <a:pt x="18940" y="836"/>
                  </a:lnTo>
                  <a:lnTo>
                    <a:pt x="18952" y="820"/>
                  </a:lnTo>
                  <a:lnTo>
                    <a:pt x="18957" y="836"/>
                  </a:lnTo>
                  <a:lnTo>
                    <a:pt x="18957" y="848"/>
                  </a:lnTo>
                  <a:lnTo>
                    <a:pt x="18957" y="848"/>
                  </a:lnTo>
                  <a:lnTo>
                    <a:pt x="18957" y="848"/>
                  </a:lnTo>
                  <a:close/>
                  <a:moveTo>
                    <a:pt x="18827" y="832"/>
                  </a:moveTo>
                  <a:lnTo>
                    <a:pt x="18834" y="832"/>
                  </a:lnTo>
                  <a:lnTo>
                    <a:pt x="18806" y="832"/>
                  </a:lnTo>
                  <a:lnTo>
                    <a:pt x="18827" y="832"/>
                  </a:lnTo>
                  <a:lnTo>
                    <a:pt x="18827" y="832"/>
                  </a:lnTo>
                  <a:lnTo>
                    <a:pt x="18827" y="832"/>
                  </a:lnTo>
                  <a:close/>
                  <a:moveTo>
                    <a:pt x="18789" y="820"/>
                  </a:moveTo>
                  <a:lnTo>
                    <a:pt x="18806" y="832"/>
                  </a:lnTo>
                  <a:lnTo>
                    <a:pt x="18763" y="836"/>
                  </a:lnTo>
                  <a:lnTo>
                    <a:pt x="18789" y="820"/>
                  </a:lnTo>
                  <a:lnTo>
                    <a:pt x="18789" y="820"/>
                  </a:lnTo>
                  <a:lnTo>
                    <a:pt x="18789" y="820"/>
                  </a:lnTo>
                  <a:close/>
                  <a:moveTo>
                    <a:pt x="18881" y="832"/>
                  </a:moveTo>
                  <a:lnTo>
                    <a:pt x="18865" y="836"/>
                  </a:lnTo>
                  <a:lnTo>
                    <a:pt x="18843" y="836"/>
                  </a:lnTo>
                  <a:lnTo>
                    <a:pt x="18881" y="832"/>
                  </a:lnTo>
                  <a:lnTo>
                    <a:pt x="18881" y="832"/>
                  </a:lnTo>
                  <a:lnTo>
                    <a:pt x="18881" y="832"/>
                  </a:lnTo>
                  <a:close/>
                  <a:moveTo>
                    <a:pt x="20010" y="865"/>
                  </a:moveTo>
                  <a:lnTo>
                    <a:pt x="19968" y="836"/>
                  </a:lnTo>
                  <a:lnTo>
                    <a:pt x="20010" y="836"/>
                  </a:lnTo>
                  <a:lnTo>
                    <a:pt x="20020" y="853"/>
                  </a:lnTo>
                  <a:lnTo>
                    <a:pt x="20010" y="865"/>
                  </a:lnTo>
                  <a:lnTo>
                    <a:pt x="20010" y="865"/>
                  </a:lnTo>
                  <a:lnTo>
                    <a:pt x="20010" y="865"/>
                  </a:lnTo>
                  <a:close/>
                  <a:moveTo>
                    <a:pt x="18704" y="836"/>
                  </a:moveTo>
                  <a:lnTo>
                    <a:pt x="18735" y="848"/>
                  </a:lnTo>
                  <a:lnTo>
                    <a:pt x="18697" y="848"/>
                  </a:lnTo>
                  <a:lnTo>
                    <a:pt x="18704" y="836"/>
                  </a:lnTo>
                  <a:lnTo>
                    <a:pt x="18704" y="836"/>
                  </a:lnTo>
                  <a:lnTo>
                    <a:pt x="18704" y="836"/>
                  </a:lnTo>
                  <a:close/>
                  <a:moveTo>
                    <a:pt x="20048" y="874"/>
                  </a:moveTo>
                  <a:lnTo>
                    <a:pt x="20065" y="870"/>
                  </a:lnTo>
                  <a:lnTo>
                    <a:pt x="20069" y="874"/>
                  </a:lnTo>
                  <a:lnTo>
                    <a:pt x="20048" y="874"/>
                  </a:lnTo>
                  <a:lnTo>
                    <a:pt x="20048" y="874"/>
                  </a:lnTo>
                  <a:lnTo>
                    <a:pt x="20048" y="874"/>
                  </a:lnTo>
                  <a:close/>
                  <a:moveTo>
                    <a:pt x="18902" y="907"/>
                  </a:moveTo>
                  <a:lnTo>
                    <a:pt x="18898" y="903"/>
                  </a:lnTo>
                  <a:lnTo>
                    <a:pt x="18902" y="874"/>
                  </a:lnTo>
                  <a:lnTo>
                    <a:pt x="18919" y="886"/>
                  </a:lnTo>
                  <a:lnTo>
                    <a:pt x="18902" y="907"/>
                  </a:lnTo>
                  <a:lnTo>
                    <a:pt x="18902" y="907"/>
                  </a:lnTo>
                  <a:lnTo>
                    <a:pt x="18902" y="907"/>
                  </a:lnTo>
                  <a:close/>
                  <a:moveTo>
                    <a:pt x="18898" y="886"/>
                  </a:moveTo>
                  <a:lnTo>
                    <a:pt x="18872" y="886"/>
                  </a:lnTo>
                  <a:lnTo>
                    <a:pt x="18902" y="886"/>
                  </a:lnTo>
                  <a:lnTo>
                    <a:pt x="18898" y="886"/>
                  </a:lnTo>
                  <a:lnTo>
                    <a:pt x="18898" y="886"/>
                  </a:lnTo>
                  <a:lnTo>
                    <a:pt x="18898" y="886"/>
                  </a:lnTo>
                  <a:close/>
                  <a:moveTo>
                    <a:pt x="18872" y="919"/>
                  </a:moveTo>
                  <a:lnTo>
                    <a:pt x="18796" y="903"/>
                  </a:lnTo>
                  <a:lnTo>
                    <a:pt x="18806" y="886"/>
                  </a:lnTo>
                  <a:lnTo>
                    <a:pt x="18898" y="891"/>
                  </a:lnTo>
                  <a:lnTo>
                    <a:pt x="18886" y="907"/>
                  </a:lnTo>
                  <a:lnTo>
                    <a:pt x="18886" y="891"/>
                  </a:lnTo>
                  <a:lnTo>
                    <a:pt x="18872" y="891"/>
                  </a:lnTo>
                  <a:lnTo>
                    <a:pt x="18872" y="903"/>
                  </a:lnTo>
                  <a:lnTo>
                    <a:pt x="18872" y="907"/>
                  </a:lnTo>
                  <a:lnTo>
                    <a:pt x="18872" y="919"/>
                  </a:lnTo>
                  <a:lnTo>
                    <a:pt x="18872" y="919"/>
                  </a:lnTo>
                  <a:lnTo>
                    <a:pt x="18872" y="919"/>
                  </a:lnTo>
                  <a:close/>
                  <a:moveTo>
                    <a:pt x="18758" y="891"/>
                  </a:moveTo>
                  <a:lnTo>
                    <a:pt x="18780" y="891"/>
                  </a:lnTo>
                  <a:lnTo>
                    <a:pt x="18763" y="903"/>
                  </a:lnTo>
                  <a:lnTo>
                    <a:pt x="18735" y="903"/>
                  </a:lnTo>
                  <a:lnTo>
                    <a:pt x="18763" y="903"/>
                  </a:lnTo>
                  <a:lnTo>
                    <a:pt x="18758" y="891"/>
                  </a:lnTo>
                  <a:lnTo>
                    <a:pt x="18758" y="891"/>
                  </a:lnTo>
                  <a:lnTo>
                    <a:pt x="18758" y="891"/>
                  </a:lnTo>
                  <a:close/>
                  <a:moveTo>
                    <a:pt x="18780" y="903"/>
                  </a:moveTo>
                  <a:lnTo>
                    <a:pt x="18789" y="907"/>
                  </a:lnTo>
                  <a:lnTo>
                    <a:pt x="18780" y="907"/>
                  </a:lnTo>
                  <a:lnTo>
                    <a:pt x="18780" y="903"/>
                  </a:lnTo>
                  <a:lnTo>
                    <a:pt x="18780" y="903"/>
                  </a:lnTo>
                  <a:lnTo>
                    <a:pt x="18780" y="903"/>
                  </a:lnTo>
                  <a:close/>
                  <a:moveTo>
                    <a:pt x="22105" y="1108"/>
                  </a:moveTo>
                  <a:lnTo>
                    <a:pt x="22072" y="1087"/>
                  </a:lnTo>
                  <a:lnTo>
                    <a:pt x="22098" y="1087"/>
                  </a:lnTo>
                  <a:lnTo>
                    <a:pt x="22089" y="1075"/>
                  </a:lnTo>
                  <a:lnTo>
                    <a:pt x="21938" y="1096"/>
                  </a:lnTo>
                  <a:lnTo>
                    <a:pt x="21909" y="1087"/>
                  </a:lnTo>
                  <a:lnTo>
                    <a:pt x="21900" y="1087"/>
                  </a:lnTo>
                  <a:lnTo>
                    <a:pt x="21905" y="1096"/>
                  </a:lnTo>
                  <a:lnTo>
                    <a:pt x="21900" y="1113"/>
                  </a:lnTo>
                  <a:lnTo>
                    <a:pt x="21867" y="1125"/>
                  </a:lnTo>
                  <a:lnTo>
                    <a:pt x="21791" y="1096"/>
                  </a:lnTo>
                  <a:lnTo>
                    <a:pt x="21782" y="1087"/>
                  </a:lnTo>
                  <a:lnTo>
                    <a:pt x="21737" y="1058"/>
                  </a:lnTo>
                  <a:lnTo>
                    <a:pt x="21711" y="1030"/>
                  </a:lnTo>
                  <a:lnTo>
                    <a:pt x="21749" y="1030"/>
                  </a:lnTo>
                  <a:lnTo>
                    <a:pt x="21749" y="1018"/>
                  </a:lnTo>
                  <a:lnTo>
                    <a:pt x="21737" y="1018"/>
                  </a:lnTo>
                  <a:lnTo>
                    <a:pt x="21744" y="985"/>
                  </a:lnTo>
                  <a:lnTo>
                    <a:pt x="21720" y="985"/>
                  </a:lnTo>
                  <a:lnTo>
                    <a:pt x="21737" y="981"/>
                  </a:lnTo>
                  <a:lnTo>
                    <a:pt x="21728" y="976"/>
                  </a:lnTo>
                  <a:lnTo>
                    <a:pt x="21737" y="964"/>
                  </a:lnTo>
                  <a:lnTo>
                    <a:pt x="21775" y="964"/>
                  </a:lnTo>
                  <a:lnTo>
                    <a:pt x="21749" y="943"/>
                  </a:lnTo>
                  <a:lnTo>
                    <a:pt x="21820" y="907"/>
                  </a:lnTo>
                  <a:lnTo>
                    <a:pt x="21829" y="924"/>
                  </a:lnTo>
                  <a:lnTo>
                    <a:pt x="21829" y="903"/>
                  </a:lnTo>
                  <a:lnTo>
                    <a:pt x="21850" y="903"/>
                  </a:lnTo>
                  <a:lnTo>
                    <a:pt x="21872" y="919"/>
                  </a:lnTo>
                  <a:lnTo>
                    <a:pt x="21921" y="931"/>
                  </a:lnTo>
                  <a:lnTo>
                    <a:pt x="21926" y="943"/>
                  </a:lnTo>
                  <a:lnTo>
                    <a:pt x="21921" y="947"/>
                  </a:lnTo>
                  <a:lnTo>
                    <a:pt x="21926" y="959"/>
                  </a:lnTo>
                  <a:lnTo>
                    <a:pt x="21964" y="964"/>
                  </a:lnTo>
                  <a:lnTo>
                    <a:pt x="21964" y="981"/>
                  </a:lnTo>
                  <a:lnTo>
                    <a:pt x="22009" y="981"/>
                  </a:lnTo>
                  <a:lnTo>
                    <a:pt x="21997" y="976"/>
                  </a:lnTo>
                  <a:lnTo>
                    <a:pt x="22009" y="924"/>
                  </a:lnTo>
                  <a:lnTo>
                    <a:pt x="22046" y="931"/>
                  </a:lnTo>
                  <a:lnTo>
                    <a:pt x="22030" y="903"/>
                  </a:lnTo>
                  <a:lnTo>
                    <a:pt x="22115" y="947"/>
                  </a:lnTo>
                  <a:lnTo>
                    <a:pt x="22207" y="959"/>
                  </a:lnTo>
                  <a:lnTo>
                    <a:pt x="22316" y="1002"/>
                  </a:lnTo>
                  <a:lnTo>
                    <a:pt x="22266" y="1014"/>
                  </a:lnTo>
                  <a:lnTo>
                    <a:pt x="22261" y="1030"/>
                  </a:lnTo>
                  <a:lnTo>
                    <a:pt x="22283" y="1035"/>
                  </a:lnTo>
                  <a:lnTo>
                    <a:pt x="22245" y="1070"/>
                  </a:lnTo>
                  <a:lnTo>
                    <a:pt x="22212" y="1075"/>
                  </a:lnTo>
                  <a:lnTo>
                    <a:pt x="22136" y="1058"/>
                  </a:lnTo>
                  <a:lnTo>
                    <a:pt x="22105" y="1030"/>
                  </a:lnTo>
                  <a:lnTo>
                    <a:pt x="22115" y="1014"/>
                  </a:lnTo>
                  <a:lnTo>
                    <a:pt x="22143" y="985"/>
                  </a:lnTo>
                  <a:lnTo>
                    <a:pt x="22143" y="981"/>
                  </a:lnTo>
                  <a:lnTo>
                    <a:pt x="22105" y="976"/>
                  </a:lnTo>
                  <a:lnTo>
                    <a:pt x="22084" y="985"/>
                  </a:lnTo>
                  <a:lnTo>
                    <a:pt x="22084" y="1018"/>
                  </a:lnTo>
                  <a:lnTo>
                    <a:pt x="22115" y="1058"/>
                  </a:lnTo>
                  <a:lnTo>
                    <a:pt x="22191" y="1087"/>
                  </a:lnTo>
                  <a:lnTo>
                    <a:pt x="22122" y="1092"/>
                  </a:lnTo>
                  <a:lnTo>
                    <a:pt x="22105" y="1108"/>
                  </a:lnTo>
                  <a:lnTo>
                    <a:pt x="22105" y="1108"/>
                  </a:lnTo>
                  <a:lnTo>
                    <a:pt x="22105" y="1108"/>
                  </a:lnTo>
                  <a:close/>
                  <a:moveTo>
                    <a:pt x="22816" y="907"/>
                  </a:moveTo>
                  <a:lnTo>
                    <a:pt x="22807" y="907"/>
                  </a:lnTo>
                  <a:lnTo>
                    <a:pt x="22833" y="907"/>
                  </a:lnTo>
                  <a:lnTo>
                    <a:pt x="22816" y="907"/>
                  </a:lnTo>
                  <a:lnTo>
                    <a:pt x="22816" y="907"/>
                  </a:lnTo>
                  <a:lnTo>
                    <a:pt x="22816" y="907"/>
                  </a:lnTo>
                  <a:close/>
                  <a:moveTo>
                    <a:pt x="16316" y="907"/>
                  </a:moveTo>
                  <a:lnTo>
                    <a:pt x="16361" y="903"/>
                  </a:lnTo>
                  <a:lnTo>
                    <a:pt x="16311" y="919"/>
                  </a:lnTo>
                  <a:lnTo>
                    <a:pt x="16316" y="907"/>
                  </a:lnTo>
                  <a:lnTo>
                    <a:pt x="16316" y="907"/>
                  </a:lnTo>
                  <a:lnTo>
                    <a:pt x="16316" y="907"/>
                  </a:lnTo>
                  <a:close/>
                  <a:moveTo>
                    <a:pt x="21997" y="924"/>
                  </a:moveTo>
                  <a:lnTo>
                    <a:pt x="21992" y="919"/>
                  </a:lnTo>
                  <a:lnTo>
                    <a:pt x="21997" y="907"/>
                  </a:lnTo>
                  <a:lnTo>
                    <a:pt x="22013" y="919"/>
                  </a:lnTo>
                  <a:lnTo>
                    <a:pt x="21997" y="924"/>
                  </a:lnTo>
                  <a:lnTo>
                    <a:pt x="21997" y="924"/>
                  </a:lnTo>
                  <a:lnTo>
                    <a:pt x="21997" y="924"/>
                  </a:lnTo>
                  <a:close/>
                  <a:moveTo>
                    <a:pt x="17932" y="943"/>
                  </a:moveTo>
                  <a:lnTo>
                    <a:pt x="17889" y="943"/>
                  </a:lnTo>
                  <a:lnTo>
                    <a:pt x="17953" y="943"/>
                  </a:lnTo>
                  <a:lnTo>
                    <a:pt x="17932" y="943"/>
                  </a:lnTo>
                  <a:lnTo>
                    <a:pt x="17932" y="943"/>
                  </a:lnTo>
                  <a:lnTo>
                    <a:pt x="17932" y="943"/>
                  </a:lnTo>
                  <a:close/>
                  <a:moveTo>
                    <a:pt x="16240" y="943"/>
                  </a:moveTo>
                  <a:lnTo>
                    <a:pt x="16273" y="931"/>
                  </a:lnTo>
                  <a:lnTo>
                    <a:pt x="16235" y="947"/>
                  </a:lnTo>
                  <a:lnTo>
                    <a:pt x="16240" y="943"/>
                  </a:lnTo>
                  <a:lnTo>
                    <a:pt x="16240" y="943"/>
                  </a:lnTo>
                  <a:lnTo>
                    <a:pt x="16240" y="943"/>
                  </a:lnTo>
                  <a:close/>
                  <a:moveTo>
                    <a:pt x="17839" y="943"/>
                  </a:moveTo>
                  <a:lnTo>
                    <a:pt x="17889" y="947"/>
                  </a:lnTo>
                  <a:lnTo>
                    <a:pt x="17835" y="943"/>
                  </a:lnTo>
                  <a:lnTo>
                    <a:pt x="17839" y="943"/>
                  </a:lnTo>
                  <a:lnTo>
                    <a:pt x="17839" y="943"/>
                  </a:lnTo>
                  <a:lnTo>
                    <a:pt x="17839" y="943"/>
                  </a:lnTo>
                  <a:close/>
                  <a:moveTo>
                    <a:pt x="16257" y="947"/>
                  </a:moveTo>
                  <a:lnTo>
                    <a:pt x="16273" y="943"/>
                  </a:lnTo>
                  <a:lnTo>
                    <a:pt x="16252" y="947"/>
                  </a:lnTo>
                  <a:lnTo>
                    <a:pt x="16257" y="947"/>
                  </a:lnTo>
                  <a:lnTo>
                    <a:pt x="16257" y="947"/>
                  </a:lnTo>
                  <a:lnTo>
                    <a:pt x="16257" y="947"/>
                  </a:lnTo>
                  <a:close/>
                  <a:moveTo>
                    <a:pt x="21614" y="1018"/>
                  </a:moveTo>
                  <a:lnTo>
                    <a:pt x="21631" y="997"/>
                  </a:lnTo>
                  <a:lnTo>
                    <a:pt x="21619" y="981"/>
                  </a:lnTo>
                  <a:lnTo>
                    <a:pt x="21635" y="959"/>
                  </a:lnTo>
                  <a:lnTo>
                    <a:pt x="21640" y="981"/>
                  </a:lnTo>
                  <a:lnTo>
                    <a:pt x="21668" y="985"/>
                  </a:lnTo>
                  <a:lnTo>
                    <a:pt x="21652" y="1002"/>
                  </a:lnTo>
                  <a:lnTo>
                    <a:pt x="21657" y="1014"/>
                  </a:lnTo>
                  <a:lnTo>
                    <a:pt x="21652" y="1018"/>
                  </a:lnTo>
                  <a:lnTo>
                    <a:pt x="21614" y="1018"/>
                  </a:lnTo>
                  <a:lnTo>
                    <a:pt x="21614" y="1018"/>
                  </a:lnTo>
                  <a:lnTo>
                    <a:pt x="21614" y="1018"/>
                  </a:lnTo>
                  <a:close/>
                  <a:moveTo>
                    <a:pt x="22391" y="985"/>
                  </a:moveTo>
                  <a:lnTo>
                    <a:pt x="22408" y="1002"/>
                  </a:lnTo>
                  <a:lnTo>
                    <a:pt x="22396" y="1014"/>
                  </a:lnTo>
                  <a:lnTo>
                    <a:pt x="22424" y="1030"/>
                  </a:lnTo>
                  <a:lnTo>
                    <a:pt x="22450" y="1030"/>
                  </a:lnTo>
                  <a:lnTo>
                    <a:pt x="22439" y="1030"/>
                  </a:lnTo>
                  <a:lnTo>
                    <a:pt x="22450" y="1014"/>
                  </a:lnTo>
                  <a:lnTo>
                    <a:pt x="22521" y="1018"/>
                  </a:lnTo>
                  <a:lnTo>
                    <a:pt x="22538" y="1018"/>
                  </a:lnTo>
                  <a:lnTo>
                    <a:pt x="22531" y="1035"/>
                  </a:lnTo>
                  <a:lnTo>
                    <a:pt x="22538" y="1042"/>
                  </a:lnTo>
                  <a:lnTo>
                    <a:pt x="22590" y="1035"/>
                  </a:lnTo>
                  <a:lnTo>
                    <a:pt x="22644" y="1042"/>
                  </a:lnTo>
                  <a:lnTo>
                    <a:pt x="22665" y="1070"/>
                  </a:lnTo>
                  <a:lnTo>
                    <a:pt x="22698" y="1058"/>
                  </a:lnTo>
                  <a:lnTo>
                    <a:pt x="22682" y="1075"/>
                  </a:lnTo>
                  <a:lnTo>
                    <a:pt x="22677" y="1092"/>
                  </a:lnTo>
                  <a:lnTo>
                    <a:pt x="22613" y="1113"/>
                  </a:lnTo>
                  <a:lnTo>
                    <a:pt x="22514" y="1108"/>
                  </a:lnTo>
                  <a:lnTo>
                    <a:pt x="22358" y="1042"/>
                  </a:lnTo>
                  <a:lnTo>
                    <a:pt x="22387" y="997"/>
                  </a:lnTo>
                  <a:lnTo>
                    <a:pt x="22391" y="985"/>
                  </a:lnTo>
                  <a:lnTo>
                    <a:pt x="22391" y="985"/>
                  </a:lnTo>
                  <a:lnTo>
                    <a:pt x="22391" y="985"/>
                  </a:lnTo>
                  <a:close/>
                  <a:moveTo>
                    <a:pt x="17877" y="1002"/>
                  </a:moveTo>
                  <a:lnTo>
                    <a:pt x="17872" y="1014"/>
                  </a:lnTo>
                  <a:lnTo>
                    <a:pt x="17889" y="1030"/>
                  </a:lnTo>
                  <a:lnTo>
                    <a:pt x="17872" y="1030"/>
                  </a:lnTo>
                  <a:lnTo>
                    <a:pt x="17872" y="1051"/>
                  </a:lnTo>
                  <a:lnTo>
                    <a:pt x="17856" y="1042"/>
                  </a:lnTo>
                  <a:lnTo>
                    <a:pt x="17856" y="1035"/>
                  </a:lnTo>
                  <a:lnTo>
                    <a:pt x="17844" y="1035"/>
                  </a:lnTo>
                  <a:lnTo>
                    <a:pt x="17835" y="1030"/>
                  </a:lnTo>
                  <a:lnTo>
                    <a:pt x="17877" y="1002"/>
                  </a:lnTo>
                  <a:lnTo>
                    <a:pt x="17877" y="1002"/>
                  </a:lnTo>
                  <a:lnTo>
                    <a:pt x="17877" y="1002"/>
                  </a:lnTo>
                  <a:close/>
                  <a:moveTo>
                    <a:pt x="18217" y="1075"/>
                  </a:moveTo>
                  <a:lnTo>
                    <a:pt x="18222" y="1087"/>
                  </a:lnTo>
                  <a:lnTo>
                    <a:pt x="18196" y="1092"/>
                  </a:lnTo>
                  <a:lnTo>
                    <a:pt x="18201" y="1096"/>
                  </a:lnTo>
                  <a:lnTo>
                    <a:pt x="18163" y="1092"/>
                  </a:lnTo>
                  <a:lnTo>
                    <a:pt x="18217" y="1075"/>
                  </a:lnTo>
                  <a:lnTo>
                    <a:pt x="18217" y="1075"/>
                  </a:lnTo>
                  <a:lnTo>
                    <a:pt x="18217" y="1075"/>
                  </a:lnTo>
                  <a:close/>
                  <a:moveTo>
                    <a:pt x="18109" y="1108"/>
                  </a:moveTo>
                  <a:lnTo>
                    <a:pt x="18125" y="1113"/>
                  </a:lnTo>
                  <a:lnTo>
                    <a:pt x="18087" y="1113"/>
                  </a:lnTo>
                  <a:lnTo>
                    <a:pt x="18109" y="1108"/>
                  </a:lnTo>
                  <a:lnTo>
                    <a:pt x="18109" y="1108"/>
                  </a:lnTo>
                  <a:lnTo>
                    <a:pt x="18109" y="1108"/>
                  </a:lnTo>
                  <a:close/>
                  <a:moveTo>
                    <a:pt x="17672" y="1129"/>
                  </a:moveTo>
                  <a:lnTo>
                    <a:pt x="17700" y="1129"/>
                  </a:lnTo>
                  <a:lnTo>
                    <a:pt x="17693" y="1146"/>
                  </a:lnTo>
                  <a:lnTo>
                    <a:pt x="17672" y="1129"/>
                  </a:lnTo>
                  <a:lnTo>
                    <a:pt x="17672" y="1129"/>
                  </a:lnTo>
                  <a:lnTo>
                    <a:pt x="17672" y="1129"/>
                  </a:lnTo>
                  <a:close/>
                  <a:moveTo>
                    <a:pt x="18125" y="1141"/>
                  </a:moveTo>
                  <a:lnTo>
                    <a:pt x="18104" y="1153"/>
                  </a:lnTo>
                  <a:lnTo>
                    <a:pt x="18087" y="1146"/>
                  </a:lnTo>
                  <a:lnTo>
                    <a:pt x="18125" y="1141"/>
                  </a:lnTo>
                  <a:lnTo>
                    <a:pt x="18125" y="1141"/>
                  </a:lnTo>
                  <a:lnTo>
                    <a:pt x="18125" y="1141"/>
                  </a:lnTo>
                  <a:close/>
                  <a:moveTo>
                    <a:pt x="18142" y="1153"/>
                  </a:moveTo>
                  <a:lnTo>
                    <a:pt x="18125" y="1153"/>
                  </a:lnTo>
                  <a:lnTo>
                    <a:pt x="18130" y="1141"/>
                  </a:lnTo>
                  <a:lnTo>
                    <a:pt x="18163" y="1146"/>
                  </a:lnTo>
                  <a:lnTo>
                    <a:pt x="18142" y="1153"/>
                  </a:lnTo>
                  <a:lnTo>
                    <a:pt x="18142" y="1153"/>
                  </a:lnTo>
                  <a:lnTo>
                    <a:pt x="18142" y="1153"/>
                  </a:lnTo>
                  <a:close/>
                  <a:moveTo>
                    <a:pt x="20020" y="1207"/>
                  </a:moveTo>
                  <a:lnTo>
                    <a:pt x="19982" y="1203"/>
                  </a:lnTo>
                  <a:lnTo>
                    <a:pt x="19930" y="1170"/>
                  </a:lnTo>
                  <a:lnTo>
                    <a:pt x="19961" y="1170"/>
                  </a:lnTo>
                  <a:lnTo>
                    <a:pt x="19977" y="1141"/>
                  </a:lnTo>
                  <a:lnTo>
                    <a:pt x="20069" y="1162"/>
                  </a:lnTo>
                  <a:lnTo>
                    <a:pt x="20053" y="1186"/>
                  </a:lnTo>
                  <a:lnTo>
                    <a:pt x="20020" y="1207"/>
                  </a:lnTo>
                  <a:lnTo>
                    <a:pt x="20020" y="1207"/>
                  </a:lnTo>
                  <a:lnTo>
                    <a:pt x="20020" y="1207"/>
                  </a:lnTo>
                  <a:close/>
                  <a:moveTo>
                    <a:pt x="18054" y="1146"/>
                  </a:moveTo>
                  <a:lnTo>
                    <a:pt x="18071" y="1153"/>
                  </a:lnTo>
                  <a:lnTo>
                    <a:pt x="18050" y="1153"/>
                  </a:lnTo>
                  <a:lnTo>
                    <a:pt x="18054" y="1162"/>
                  </a:lnTo>
                  <a:lnTo>
                    <a:pt x="18033" y="1153"/>
                  </a:lnTo>
                  <a:lnTo>
                    <a:pt x="18054" y="1146"/>
                  </a:lnTo>
                  <a:lnTo>
                    <a:pt x="18054" y="1146"/>
                  </a:lnTo>
                  <a:lnTo>
                    <a:pt x="18054" y="1146"/>
                  </a:lnTo>
                  <a:close/>
                  <a:moveTo>
                    <a:pt x="20246" y="1179"/>
                  </a:moveTo>
                  <a:lnTo>
                    <a:pt x="20246" y="1162"/>
                  </a:lnTo>
                  <a:lnTo>
                    <a:pt x="20263" y="1179"/>
                  </a:lnTo>
                  <a:lnTo>
                    <a:pt x="20246" y="1179"/>
                  </a:lnTo>
                  <a:lnTo>
                    <a:pt x="20246" y="1179"/>
                  </a:lnTo>
                  <a:lnTo>
                    <a:pt x="20246" y="1179"/>
                  </a:lnTo>
                  <a:close/>
                  <a:moveTo>
                    <a:pt x="21964" y="1236"/>
                  </a:moveTo>
                  <a:lnTo>
                    <a:pt x="21942" y="1219"/>
                  </a:lnTo>
                  <a:lnTo>
                    <a:pt x="21942" y="1195"/>
                  </a:lnTo>
                  <a:lnTo>
                    <a:pt x="21980" y="1179"/>
                  </a:lnTo>
                  <a:lnTo>
                    <a:pt x="22013" y="1195"/>
                  </a:lnTo>
                  <a:lnTo>
                    <a:pt x="22009" y="1219"/>
                  </a:lnTo>
                  <a:lnTo>
                    <a:pt x="21964" y="1236"/>
                  </a:lnTo>
                  <a:lnTo>
                    <a:pt x="21964" y="1236"/>
                  </a:lnTo>
                  <a:lnTo>
                    <a:pt x="21964" y="1236"/>
                  </a:lnTo>
                  <a:close/>
                  <a:moveTo>
                    <a:pt x="21614" y="1186"/>
                  </a:moveTo>
                  <a:lnTo>
                    <a:pt x="21657" y="1207"/>
                  </a:lnTo>
                  <a:lnTo>
                    <a:pt x="21673" y="1224"/>
                  </a:lnTo>
                  <a:lnTo>
                    <a:pt x="21657" y="1236"/>
                  </a:lnTo>
                  <a:lnTo>
                    <a:pt x="21614" y="1195"/>
                  </a:lnTo>
                  <a:lnTo>
                    <a:pt x="21614" y="1186"/>
                  </a:lnTo>
                  <a:lnTo>
                    <a:pt x="21614" y="1186"/>
                  </a:lnTo>
                  <a:lnTo>
                    <a:pt x="21614" y="1186"/>
                  </a:lnTo>
                  <a:close/>
                  <a:moveTo>
                    <a:pt x="18125" y="1195"/>
                  </a:moveTo>
                  <a:lnTo>
                    <a:pt x="18109" y="1203"/>
                  </a:lnTo>
                  <a:lnTo>
                    <a:pt x="18116" y="1195"/>
                  </a:lnTo>
                  <a:lnTo>
                    <a:pt x="18104" y="1195"/>
                  </a:lnTo>
                  <a:lnTo>
                    <a:pt x="18125" y="1195"/>
                  </a:lnTo>
                  <a:lnTo>
                    <a:pt x="18125" y="1195"/>
                  </a:lnTo>
                  <a:lnTo>
                    <a:pt x="18125" y="1195"/>
                  </a:lnTo>
                  <a:close/>
                  <a:moveTo>
                    <a:pt x="17910" y="1195"/>
                  </a:moveTo>
                  <a:lnTo>
                    <a:pt x="17915" y="1203"/>
                  </a:lnTo>
                  <a:lnTo>
                    <a:pt x="17889" y="1203"/>
                  </a:lnTo>
                  <a:lnTo>
                    <a:pt x="17910" y="1195"/>
                  </a:lnTo>
                  <a:lnTo>
                    <a:pt x="17910" y="1195"/>
                  </a:lnTo>
                  <a:lnTo>
                    <a:pt x="17910" y="1195"/>
                  </a:lnTo>
                  <a:close/>
                  <a:moveTo>
                    <a:pt x="17927" y="1207"/>
                  </a:moveTo>
                  <a:lnTo>
                    <a:pt x="17948" y="1195"/>
                  </a:lnTo>
                  <a:lnTo>
                    <a:pt x="17979" y="1207"/>
                  </a:lnTo>
                  <a:lnTo>
                    <a:pt x="17927" y="1207"/>
                  </a:lnTo>
                  <a:lnTo>
                    <a:pt x="17927" y="1207"/>
                  </a:lnTo>
                  <a:lnTo>
                    <a:pt x="17927" y="1207"/>
                  </a:lnTo>
                  <a:close/>
                  <a:moveTo>
                    <a:pt x="18002" y="1219"/>
                  </a:moveTo>
                  <a:lnTo>
                    <a:pt x="18033" y="1207"/>
                  </a:lnTo>
                  <a:lnTo>
                    <a:pt x="18033" y="1224"/>
                  </a:lnTo>
                  <a:lnTo>
                    <a:pt x="18002" y="1219"/>
                  </a:lnTo>
                  <a:lnTo>
                    <a:pt x="18002" y="1219"/>
                  </a:lnTo>
                  <a:lnTo>
                    <a:pt x="18002" y="1219"/>
                  </a:lnTo>
                  <a:close/>
                  <a:moveTo>
                    <a:pt x="20846" y="1240"/>
                  </a:moveTo>
                  <a:lnTo>
                    <a:pt x="20830" y="1236"/>
                  </a:lnTo>
                  <a:lnTo>
                    <a:pt x="20858" y="1236"/>
                  </a:lnTo>
                  <a:lnTo>
                    <a:pt x="20846" y="1240"/>
                  </a:lnTo>
                  <a:lnTo>
                    <a:pt x="20846" y="1240"/>
                  </a:lnTo>
                  <a:lnTo>
                    <a:pt x="20846" y="1240"/>
                  </a:lnTo>
                  <a:close/>
                  <a:moveTo>
                    <a:pt x="22013" y="1236"/>
                  </a:moveTo>
                  <a:lnTo>
                    <a:pt x="22072" y="1236"/>
                  </a:lnTo>
                  <a:lnTo>
                    <a:pt x="22115" y="1240"/>
                  </a:lnTo>
                  <a:lnTo>
                    <a:pt x="22174" y="1290"/>
                  </a:lnTo>
                  <a:lnTo>
                    <a:pt x="22181" y="1297"/>
                  </a:lnTo>
                  <a:lnTo>
                    <a:pt x="22174" y="1307"/>
                  </a:lnTo>
                  <a:lnTo>
                    <a:pt x="22181" y="1330"/>
                  </a:lnTo>
                  <a:lnTo>
                    <a:pt x="22098" y="1318"/>
                  </a:lnTo>
                  <a:lnTo>
                    <a:pt x="21992" y="1297"/>
                  </a:lnTo>
                  <a:lnTo>
                    <a:pt x="21926" y="1314"/>
                  </a:lnTo>
                  <a:lnTo>
                    <a:pt x="21909" y="1307"/>
                  </a:lnTo>
                  <a:lnTo>
                    <a:pt x="21964" y="1290"/>
                  </a:lnTo>
                  <a:lnTo>
                    <a:pt x="22013" y="1236"/>
                  </a:lnTo>
                  <a:lnTo>
                    <a:pt x="22013" y="1236"/>
                  </a:lnTo>
                  <a:lnTo>
                    <a:pt x="22013" y="1236"/>
                  </a:lnTo>
                  <a:close/>
                  <a:moveTo>
                    <a:pt x="20776" y="1330"/>
                  </a:moveTo>
                  <a:lnTo>
                    <a:pt x="20754" y="1307"/>
                  </a:lnTo>
                  <a:lnTo>
                    <a:pt x="20754" y="1281"/>
                  </a:lnTo>
                  <a:lnTo>
                    <a:pt x="20771" y="1264"/>
                  </a:lnTo>
                  <a:lnTo>
                    <a:pt x="20809" y="1273"/>
                  </a:lnTo>
                  <a:lnTo>
                    <a:pt x="20804" y="1252"/>
                  </a:lnTo>
                  <a:lnTo>
                    <a:pt x="20820" y="1264"/>
                  </a:lnTo>
                  <a:lnTo>
                    <a:pt x="20842" y="1252"/>
                  </a:lnTo>
                  <a:lnTo>
                    <a:pt x="20880" y="1273"/>
                  </a:lnTo>
                  <a:lnTo>
                    <a:pt x="20896" y="1264"/>
                  </a:lnTo>
                  <a:lnTo>
                    <a:pt x="20901" y="1281"/>
                  </a:lnTo>
                  <a:lnTo>
                    <a:pt x="20927" y="1281"/>
                  </a:lnTo>
                  <a:lnTo>
                    <a:pt x="20917" y="1297"/>
                  </a:lnTo>
                  <a:lnTo>
                    <a:pt x="20917" y="1307"/>
                  </a:lnTo>
                  <a:lnTo>
                    <a:pt x="20972" y="1281"/>
                  </a:lnTo>
                  <a:lnTo>
                    <a:pt x="20981" y="1290"/>
                  </a:lnTo>
                  <a:lnTo>
                    <a:pt x="20965" y="1307"/>
                  </a:lnTo>
                  <a:lnTo>
                    <a:pt x="20988" y="1307"/>
                  </a:lnTo>
                  <a:lnTo>
                    <a:pt x="21002" y="1347"/>
                  </a:lnTo>
                  <a:lnTo>
                    <a:pt x="20972" y="1375"/>
                  </a:lnTo>
                  <a:lnTo>
                    <a:pt x="20981" y="1384"/>
                  </a:lnTo>
                  <a:lnTo>
                    <a:pt x="20972" y="1425"/>
                  </a:lnTo>
                  <a:lnTo>
                    <a:pt x="20981" y="1441"/>
                  </a:lnTo>
                  <a:lnTo>
                    <a:pt x="20965" y="1458"/>
                  </a:lnTo>
                  <a:lnTo>
                    <a:pt x="20863" y="1401"/>
                  </a:lnTo>
                  <a:lnTo>
                    <a:pt x="20700" y="1363"/>
                  </a:lnTo>
                  <a:lnTo>
                    <a:pt x="20717" y="1351"/>
                  </a:lnTo>
                  <a:lnTo>
                    <a:pt x="20754" y="1368"/>
                  </a:lnTo>
                  <a:lnTo>
                    <a:pt x="20766" y="1363"/>
                  </a:lnTo>
                  <a:lnTo>
                    <a:pt x="20771" y="1335"/>
                  </a:lnTo>
                  <a:lnTo>
                    <a:pt x="20787" y="1330"/>
                  </a:lnTo>
                  <a:lnTo>
                    <a:pt x="20776" y="1330"/>
                  </a:lnTo>
                  <a:lnTo>
                    <a:pt x="20776" y="1330"/>
                  </a:lnTo>
                  <a:lnTo>
                    <a:pt x="20776" y="1330"/>
                  </a:lnTo>
                  <a:close/>
                  <a:moveTo>
                    <a:pt x="18213" y="1264"/>
                  </a:moveTo>
                  <a:lnTo>
                    <a:pt x="18201" y="1273"/>
                  </a:lnTo>
                  <a:lnTo>
                    <a:pt x="18168" y="1273"/>
                  </a:lnTo>
                  <a:lnTo>
                    <a:pt x="18213" y="1264"/>
                  </a:lnTo>
                  <a:lnTo>
                    <a:pt x="18213" y="1264"/>
                  </a:lnTo>
                  <a:lnTo>
                    <a:pt x="18213" y="1264"/>
                  </a:lnTo>
                  <a:close/>
                  <a:moveTo>
                    <a:pt x="17747" y="1290"/>
                  </a:moveTo>
                  <a:lnTo>
                    <a:pt x="17731" y="1281"/>
                  </a:lnTo>
                  <a:lnTo>
                    <a:pt x="17752" y="1281"/>
                  </a:lnTo>
                  <a:lnTo>
                    <a:pt x="17747" y="1290"/>
                  </a:lnTo>
                  <a:lnTo>
                    <a:pt x="17747" y="1290"/>
                  </a:lnTo>
                  <a:lnTo>
                    <a:pt x="17747" y="1290"/>
                  </a:lnTo>
                  <a:close/>
                  <a:moveTo>
                    <a:pt x="17402" y="1297"/>
                  </a:moveTo>
                  <a:lnTo>
                    <a:pt x="17412" y="1281"/>
                  </a:lnTo>
                  <a:lnTo>
                    <a:pt x="17457" y="1281"/>
                  </a:lnTo>
                  <a:lnTo>
                    <a:pt x="17440" y="1297"/>
                  </a:lnTo>
                  <a:lnTo>
                    <a:pt x="17407" y="1297"/>
                  </a:lnTo>
                  <a:lnTo>
                    <a:pt x="17412" y="1290"/>
                  </a:lnTo>
                  <a:lnTo>
                    <a:pt x="17402" y="1297"/>
                  </a:lnTo>
                  <a:lnTo>
                    <a:pt x="17402" y="1297"/>
                  </a:lnTo>
                  <a:lnTo>
                    <a:pt x="17402" y="1297"/>
                  </a:lnTo>
                  <a:close/>
                  <a:moveTo>
                    <a:pt x="21002" y="1347"/>
                  </a:moveTo>
                  <a:lnTo>
                    <a:pt x="21002" y="1335"/>
                  </a:lnTo>
                  <a:lnTo>
                    <a:pt x="20993" y="1318"/>
                  </a:lnTo>
                  <a:lnTo>
                    <a:pt x="20993" y="1307"/>
                  </a:lnTo>
                  <a:lnTo>
                    <a:pt x="21002" y="1297"/>
                  </a:lnTo>
                  <a:lnTo>
                    <a:pt x="21009" y="1307"/>
                  </a:lnTo>
                  <a:lnTo>
                    <a:pt x="21019" y="1290"/>
                  </a:lnTo>
                  <a:lnTo>
                    <a:pt x="21009" y="1290"/>
                  </a:lnTo>
                  <a:lnTo>
                    <a:pt x="21026" y="1281"/>
                  </a:lnTo>
                  <a:lnTo>
                    <a:pt x="21090" y="1290"/>
                  </a:lnTo>
                  <a:lnTo>
                    <a:pt x="21094" y="1307"/>
                  </a:lnTo>
                  <a:lnTo>
                    <a:pt x="21116" y="1314"/>
                  </a:lnTo>
                  <a:lnTo>
                    <a:pt x="21111" y="1318"/>
                  </a:lnTo>
                  <a:lnTo>
                    <a:pt x="21154" y="1335"/>
                  </a:lnTo>
                  <a:lnTo>
                    <a:pt x="21149" y="1351"/>
                  </a:lnTo>
                  <a:lnTo>
                    <a:pt x="21170" y="1347"/>
                  </a:lnTo>
                  <a:lnTo>
                    <a:pt x="21154" y="1363"/>
                  </a:lnTo>
                  <a:lnTo>
                    <a:pt x="21111" y="1368"/>
                  </a:lnTo>
                  <a:lnTo>
                    <a:pt x="21111" y="1384"/>
                  </a:lnTo>
                  <a:lnTo>
                    <a:pt x="20993" y="1425"/>
                  </a:lnTo>
                  <a:lnTo>
                    <a:pt x="20988" y="1429"/>
                  </a:lnTo>
                  <a:lnTo>
                    <a:pt x="20993" y="1441"/>
                  </a:lnTo>
                  <a:lnTo>
                    <a:pt x="20972" y="1425"/>
                  </a:lnTo>
                  <a:lnTo>
                    <a:pt x="20981" y="1401"/>
                  </a:lnTo>
                  <a:lnTo>
                    <a:pt x="20988" y="1384"/>
                  </a:lnTo>
                  <a:lnTo>
                    <a:pt x="20981" y="1368"/>
                  </a:lnTo>
                  <a:lnTo>
                    <a:pt x="21002" y="1347"/>
                  </a:lnTo>
                  <a:lnTo>
                    <a:pt x="21002" y="1347"/>
                  </a:lnTo>
                  <a:lnTo>
                    <a:pt x="21002" y="1347"/>
                  </a:lnTo>
                  <a:close/>
                  <a:moveTo>
                    <a:pt x="17013" y="1351"/>
                  </a:moveTo>
                  <a:lnTo>
                    <a:pt x="17029" y="1330"/>
                  </a:lnTo>
                  <a:lnTo>
                    <a:pt x="17024" y="1307"/>
                  </a:lnTo>
                  <a:lnTo>
                    <a:pt x="17062" y="1290"/>
                  </a:lnTo>
                  <a:lnTo>
                    <a:pt x="17117" y="1297"/>
                  </a:lnTo>
                  <a:lnTo>
                    <a:pt x="17088" y="1318"/>
                  </a:lnTo>
                  <a:lnTo>
                    <a:pt x="17133" y="1314"/>
                  </a:lnTo>
                  <a:lnTo>
                    <a:pt x="17143" y="1330"/>
                  </a:lnTo>
                  <a:lnTo>
                    <a:pt x="17050" y="1351"/>
                  </a:lnTo>
                  <a:lnTo>
                    <a:pt x="17013" y="1351"/>
                  </a:lnTo>
                  <a:lnTo>
                    <a:pt x="17013" y="1351"/>
                  </a:lnTo>
                  <a:lnTo>
                    <a:pt x="17013" y="1351"/>
                  </a:lnTo>
                  <a:close/>
                  <a:moveTo>
                    <a:pt x="16134" y="1684"/>
                  </a:moveTo>
                  <a:lnTo>
                    <a:pt x="16089" y="1680"/>
                  </a:lnTo>
                  <a:lnTo>
                    <a:pt x="16080" y="1668"/>
                  </a:lnTo>
                  <a:lnTo>
                    <a:pt x="16080" y="1663"/>
                  </a:lnTo>
                  <a:lnTo>
                    <a:pt x="16058" y="1668"/>
                  </a:lnTo>
                  <a:lnTo>
                    <a:pt x="16075" y="1668"/>
                  </a:lnTo>
                  <a:lnTo>
                    <a:pt x="16089" y="1684"/>
                  </a:lnTo>
                  <a:lnTo>
                    <a:pt x="16075" y="1684"/>
                  </a:lnTo>
                  <a:lnTo>
                    <a:pt x="16063" y="1684"/>
                  </a:lnTo>
                  <a:lnTo>
                    <a:pt x="16080" y="1684"/>
                  </a:lnTo>
                  <a:lnTo>
                    <a:pt x="16037" y="1668"/>
                  </a:lnTo>
                  <a:lnTo>
                    <a:pt x="16047" y="1684"/>
                  </a:lnTo>
                  <a:lnTo>
                    <a:pt x="16037" y="1684"/>
                  </a:lnTo>
                  <a:lnTo>
                    <a:pt x="16021" y="1680"/>
                  </a:lnTo>
                  <a:lnTo>
                    <a:pt x="16025" y="1668"/>
                  </a:lnTo>
                  <a:lnTo>
                    <a:pt x="16004" y="1663"/>
                  </a:lnTo>
                  <a:lnTo>
                    <a:pt x="15983" y="1684"/>
                  </a:lnTo>
                  <a:lnTo>
                    <a:pt x="15938" y="1656"/>
                  </a:lnTo>
                  <a:lnTo>
                    <a:pt x="15933" y="1663"/>
                  </a:lnTo>
                  <a:lnTo>
                    <a:pt x="15954" y="1668"/>
                  </a:lnTo>
                  <a:lnTo>
                    <a:pt x="15928" y="1656"/>
                  </a:lnTo>
                  <a:lnTo>
                    <a:pt x="15862" y="1656"/>
                  </a:lnTo>
                  <a:lnTo>
                    <a:pt x="15858" y="1647"/>
                  </a:lnTo>
                  <a:lnTo>
                    <a:pt x="15879" y="1647"/>
                  </a:lnTo>
                  <a:lnTo>
                    <a:pt x="15886" y="1640"/>
                  </a:lnTo>
                  <a:lnTo>
                    <a:pt x="15862" y="1614"/>
                  </a:lnTo>
                  <a:lnTo>
                    <a:pt x="15917" y="1607"/>
                  </a:lnTo>
                  <a:lnTo>
                    <a:pt x="15862" y="1602"/>
                  </a:lnTo>
                  <a:lnTo>
                    <a:pt x="15862" y="1590"/>
                  </a:lnTo>
                  <a:lnTo>
                    <a:pt x="15879" y="1573"/>
                  </a:lnTo>
                  <a:lnTo>
                    <a:pt x="15895" y="1569"/>
                  </a:lnTo>
                  <a:lnTo>
                    <a:pt x="15862" y="1590"/>
                  </a:lnTo>
                  <a:lnTo>
                    <a:pt x="15848" y="1569"/>
                  </a:lnTo>
                  <a:lnTo>
                    <a:pt x="15862" y="1557"/>
                  </a:lnTo>
                  <a:lnTo>
                    <a:pt x="15858" y="1552"/>
                  </a:lnTo>
                  <a:lnTo>
                    <a:pt x="15824" y="1573"/>
                  </a:lnTo>
                  <a:lnTo>
                    <a:pt x="15803" y="1557"/>
                  </a:lnTo>
                  <a:lnTo>
                    <a:pt x="15803" y="1552"/>
                  </a:lnTo>
                  <a:lnTo>
                    <a:pt x="15787" y="1569"/>
                  </a:lnTo>
                  <a:lnTo>
                    <a:pt x="15777" y="1552"/>
                  </a:lnTo>
                  <a:lnTo>
                    <a:pt x="15772" y="1557"/>
                  </a:lnTo>
                  <a:lnTo>
                    <a:pt x="15777" y="1557"/>
                  </a:lnTo>
                  <a:lnTo>
                    <a:pt x="15749" y="1569"/>
                  </a:lnTo>
                  <a:lnTo>
                    <a:pt x="15735" y="1552"/>
                  </a:lnTo>
                  <a:lnTo>
                    <a:pt x="15718" y="1512"/>
                  </a:lnTo>
                  <a:lnTo>
                    <a:pt x="15735" y="1491"/>
                  </a:lnTo>
                  <a:lnTo>
                    <a:pt x="15749" y="1474"/>
                  </a:lnTo>
                  <a:lnTo>
                    <a:pt x="15787" y="1491"/>
                  </a:lnTo>
                  <a:lnTo>
                    <a:pt x="15787" y="1462"/>
                  </a:lnTo>
                  <a:lnTo>
                    <a:pt x="15820" y="1446"/>
                  </a:lnTo>
                  <a:lnTo>
                    <a:pt x="15810" y="1429"/>
                  </a:lnTo>
                  <a:lnTo>
                    <a:pt x="15841" y="1418"/>
                  </a:lnTo>
                  <a:lnTo>
                    <a:pt x="15810" y="1418"/>
                  </a:lnTo>
                  <a:lnTo>
                    <a:pt x="15820" y="1408"/>
                  </a:lnTo>
                  <a:lnTo>
                    <a:pt x="15848" y="1408"/>
                  </a:lnTo>
                  <a:lnTo>
                    <a:pt x="15787" y="1392"/>
                  </a:lnTo>
                  <a:lnTo>
                    <a:pt x="15832" y="1368"/>
                  </a:lnTo>
                  <a:lnTo>
                    <a:pt x="15858" y="1375"/>
                  </a:lnTo>
                  <a:lnTo>
                    <a:pt x="15841" y="1363"/>
                  </a:lnTo>
                  <a:lnTo>
                    <a:pt x="15858" y="1363"/>
                  </a:lnTo>
                  <a:lnTo>
                    <a:pt x="15841" y="1347"/>
                  </a:lnTo>
                  <a:lnTo>
                    <a:pt x="15858" y="1330"/>
                  </a:lnTo>
                  <a:lnTo>
                    <a:pt x="15886" y="1314"/>
                  </a:lnTo>
                  <a:lnTo>
                    <a:pt x="15917" y="1318"/>
                  </a:lnTo>
                  <a:lnTo>
                    <a:pt x="15966" y="1297"/>
                  </a:lnTo>
                  <a:lnTo>
                    <a:pt x="16075" y="1330"/>
                  </a:lnTo>
                  <a:lnTo>
                    <a:pt x="16080" y="1335"/>
                  </a:lnTo>
                  <a:lnTo>
                    <a:pt x="16025" y="1351"/>
                  </a:lnTo>
                  <a:lnTo>
                    <a:pt x="16075" y="1351"/>
                  </a:lnTo>
                  <a:lnTo>
                    <a:pt x="16063" y="1363"/>
                  </a:lnTo>
                  <a:lnTo>
                    <a:pt x="16021" y="1363"/>
                  </a:lnTo>
                  <a:lnTo>
                    <a:pt x="16058" y="1363"/>
                  </a:lnTo>
                  <a:lnTo>
                    <a:pt x="16047" y="1384"/>
                  </a:lnTo>
                  <a:lnTo>
                    <a:pt x="16004" y="1384"/>
                  </a:lnTo>
                  <a:lnTo>
                    <a:pt x="16042" y="1401"/>
                  </a:lnTo>
                  <a:lnTo>
                    <a:pt x="16025" y="1408"/>
                  </a:lnTo>
                  <a:lnTo>
                    <a:pt x="16021" y="1425"/>
                  </a:lnTo>
                  <a:lnTo>
                    <a:pt x="15987" y="1418"/>
                  </a:lnTo>
                  <a:lnTo>
                    <a:pt x="16009" y="1425"/>
                  </a:lnTo>
                  <a:lnTo>
                    <a:pt x="15983" y="1429"/>
                  </a:lnTo>
                  <a:lnTo>
                    <a:pt x="16004" y="1429"/>
                  </a:lnTo>
                  <a:lnTo>
                    <a:pt x="16004" y="1458"/>
                  </a:lnTo>
                  <a:lnTo>
                    <a:pt x="16009" y="1474"/>
                  </a:lnTo>
                  <a:lnTo>
                    <a:pt x="15987" y="1503"/>
                  </a:lnTo>
                  <a:lnTo>
                    <a:pt x="16009" y="1512"/>
                  </a:lnTo>
                  <a:lnTo>
                    <a:pt x="16021" y="1545"/>
                  </a:lnTo>
                  <a:lnTo>
                    <a:pt x="16058" y="1602"/>
                  </a:lnTo>
                  <a:lnTo>
                    <a:pt x="16117" y="1647"/>
                  </a:lnTo>
                  <a:lnTo>
                    <a:pt x="16155" y="1663"/>
                  </a:lnTo>
                  <a:lnTo>
                    <a:pt x="16143" y="1680"/>
                  </a:lnTo>
                  <a:lnTo>
                    <a:pt x="16096" y="1668"/>
                  </a:lnTo>
                  <a:lnTo>
                    <a:pt x="16134" y="1684"/>
                  </a:lnTo>
                  <a:lnTo>
                    <a:pt x="16134" y="1684"/>
                  </a:lnTo>
                  <a:lnTo>
                    <a:pt x="16134" y="1684"/>
                  </a:lnTo>
                  <a:close/>
                  <a:moveTo>
                    <a:pt x="17105" y="1314"/>
                  </a:moveTo>
                  <a:lnTo>
                    <a:pt x="17121" y="1307"/>
                  </a:lnTo>
                  <a:lnTo>
                    <a:pt x="17105" y="1318"/>
                  </a:lnTo>
                  <a:lnTo>
                    <a:pt x="17105" y="1314"/>
                  </a:lnTo>
                  <a:lnTo>
                    <a:pt x="17105" y="1314"/>
                  </a:lnTo>
                  <a:lnTo>
                    <a:pt x="17105" y="1314"/>
                  </a:lnTo>
                  <a:close/>
                  <a:moveTo>
                    <a:pt x="17461" y="1335"/>
                  </a:moveTo>
                  <a:lnTo>
                    <a:pt x="17457" y="1330"/>
                  </a:lnTo>
                  <a:lnTo>
                    <a:pt x="17499" y="1335"/>
                  </a:lnTo>
                  <a:lnTo>
                    <a:pt x="17461" y="1335"/>
                  </a:lnTo>
                  <a:lnTo>
                    <a:pt x="17461" y="1335"/>
                  </a:lnTo>
                  <a:lnTo>
                    <a:pt x="17461" y="1335"/>
                  </a:lnTo>
                  <a:close/>
                  <a:moveTo>
                    <a:pt x="20535" y="1351"/>
                  </a:moveTo>
                  <a:lnTo>
                    <a:pt x="20506" y="1347"/>
                  </a:lnTo>
                  <a:lnTo>
                    <a:pt x="20523" y="1335"/>
                  </a:lnTo>
                  <a:lnTo>
                    <a:pt x="20549" y="1347"/>
                  </a:lnTo>
                  <a:lnTo>
                    <a:pt x="20535" y="1351"/>
                  </a:lnTo>
                  <a:lnTo>
                    <a:pt x="20535" y="1351"/>
                  </a:lnTo>
                  <a:lnTo>
                    <a:pt x="20535" y="1351"/>
                  </a:lnTo>
                  <a:close/>
                  <a:moveTo>
                    <a:pt x="17315" y="1351"/>
                  </a:moveTo>
                  <a:lnTo>
                    <a:pt x="17336" y="1335"/>
                  </a:lnTo>
                  <a:lnTo>
                    <a:pt x="17369" y="1351"/>
                  </a:lnTo>
                  <a:lnTo>
                    <a:pt x="17353" y="1347"/>
                  </a:lnTo>
                  <a:lnTo>
                    <a:pt x="17353" y="1375"/>
                  </a:lnTo>
                  <a:lnTo>
                    <a:pt x="17315" y="1351"/>
                  </a:lnTo>
                  <a:lnTo>
                    <a:pt x="17315" y="1351"/>
                  </a:lnTo>
                  <a:lnTo>
                    <a:pt x="17315" y="1351"/>
                  </a:lnTo>
                  <a:close/>
                  <a:moveTo>
                    <a:pt x="17629" y="1368"/>
                  </a:moveTo>
                  <a:lnTo>
                    <a:pt x="17672" y="1347"/>
                  </a:lnTo>
                  <a:lnTo>
                    <a:pt x="17693" y="1368"/>
                  </a:lnTo>
                  <a:lnTo>
                    <a:pt x="17693" y="1392"/>
                  </a:lnTo>
                  <a:lnTo>
                    <a:pt x="17683" y="1401"/>
                  </a:lnTo>
                  <a:lnTo>
                    <a:pt x="17629" y="1384"/>
                  </a:lnTo>
                  <a:lnTo>
                    <a:pt x="17629" y="1368"/>
                  </a:lnTo>
                  <a:lnTo>
                    <a:pt x="17629" y="1368"/>
                  </a:lnTo>
                  <a:lnTo>
                    <a:pt x="17629" y="1368"/>
                  </a:lnTo>
                  <a:close/>
                  <a:moveTo>
                    <a:pt x="20695" y="1368"/>
                  </a:moveTo>
                  <a:lnTo>
                    <a:pt x="20787" y="1392"/>
                  </a:lnTo>
                  <a:lnTo>
                    <a:pt x="20724" y="1384"/>
                  </a:lnTo>
                  <a:lnTo>
                    <a:pt x="20695" y="1368"/>
                  </a:lnTo>
                  <a:lnTo>
                    <a:pt x="20695" y="1368"/>
                  </a:lnTo>
                  <a:lnTo>
                    <a:pt x="20695" y="1368"/>
                  </a:lnTo>
                  <a:close/>
                  <a:moveTo>
                    <a:pt x="21170" y="1384"/>
                  </a:moveTo>
                  <a:lnTo>
                    <a:pt x="21111" y="1375"/>
                  </a:lnTo>
                  <a:lnTo>
                    <a:pt x="21149" y="1375"/>
                  </a:lnTo>
                  <a:lnTo>
                    <a:pt x="21182" y="1384"/>
                  </a:lnTo>
                  <a:lnTo>
                    <a:pt x="21170" y="1384"/>
                  </a:lnTo>
                  <a:lnTo>
                    <a:pt x="21170" y="1384"/>
                  </a:lnTo>
                  <a:lnTo>
                    <a:pt x="21170" y="1384"/>
                  </a:lnTo>
                  <a:close/>
                  <a:moveTo>
                    <a:pt x="21040" y="1408"/>
                  </a:moveTo>
                  <a:lnTo>
                    <a:pt x="21111" y="1384"/>
                  </a:lnTo>
                  <a:lnTo>
                    <a:pt x="21187" y="1401"/>
                  </a:lnTo>
                  <a:lnTo>
                    <a:pt x="21040" y="1408"/>
                  </a:lnTo>
                  <a:lnTo>
                    <a:pt x="21040" y="1408"/>
                  </a:lnTo>
                  <a:lnTo>
                    <a:pt x="21040" y="1408"/>
                  </a:lnTo>
                  <a:close/>
                  <a:moveTo>
                    <a:pt x="17223" y="1401"/>
                  </a:moveTo>
                  <a:lnTo>
                    <a:pt x="17239" y="1401"/>
                  </a:lnTo>
                  <a:lnTo>
                    <a:pt x="17239" y="1408"/>
                  </a:lnTo>
                  <a:lnTo>
                    <a:pt x="17223" y="1401"/>
                  </a:lnTo>
                  <a:lnTo>
                    <a:pt x="17223" y="1401"/>
                  </a:lnTo>
                  <a:lnTo>
                    <a:pt x="17223" y="1401"/>
                  </a:lnTo>
                  <a:close/>
                  <a:moveTo>
                    <a:pt x="21102" y="1408"/>
                  </a:moveTo>
                  <a:lnTo>
                    <a:pt x="21144" y="1401"/>
                  </a:lnTo>
                  <a:lnTo>
                    <a:pt x="21154" y="1418"/>
                  </a:lnTo>
                  <a:lnTo>
                    <a:pt x="21144" y="1425"/>
                  </a:lnTo>
                  <a:lnTo>
                    <a:pt x="21102" y="1408"/>
                  </a:lnTo>
                  <a:lnTo>
                    <a:pt x="21102" y="1408"/>
                  </a:lnTo>
                  <a:lnTo>
                    <a:pt x="21102" y="1408"/>
                  </a:lnTo>
                  <a:close/>
                  <a:moveTo>
                    <a:pt x="21002" y="1429"/>
                  </a:moveTo>
                  <a:lnTo>
                    <a:pt x="21002" y="1425"/>
                  </a:lnTo>
                  <a:lnTo>
                    <a:pt x="21078" y="1408"/>
                  </a:lnTo>
                  <a:lnTo>
                    <a:pt x="21144" y="1429"/>
                  </a:lnTo>
                  <a:lnTo>
                    <a:pt x="21182" y="1429"/>
                  </a:lnTo>
                  <a:lnTo>
                    <a:pt x="21198" y="1446"/>
                  </a:lnTo>
                  <a:lnTo>
                    <a:pt x="21187" y="1458"/>
                  </a:lnTo>
                  <a:lnTo>
                    <a:pt x="21203" y="1462"/>
                  </a:lnTo>
                  <a:lnTo>
                    <a:pt x="21182" y="1474"/>
                  </a:lnTo>
                  <a:lnTo>
                    <a:pt x="21198" y="1479"/>
                  </a:lnTo>
                  <a:lnTo>
                    <a:pt x="21187" y="1479"/>
                  </a:lnTo>
                  <a:lnTo>
                    <a:pt x="21149" y="1491"/>
                  </a:lnTo>
                  <a:lnTo>
                    <a:pt x="21064" y="1429"/>
                  </a:lnTo>
                  <a:lnTo>
                    <a:pt x="21002" y="1429"/>
                  </a:lnTo>
                  <a:lnTo>
                    <a:pt x="21002" y="1429"/>
                  </a:lnTo>
                  <a:lnTo>
                    <a:pt x="21002" y="1429"/>
                  </a:lnTo>
                  <a:close/>
                  <a:moveTo>
                    <a:pt x="17511" y="1446"/>
                  </a:moveTo>
                  <a:lnTo>
                    <a:pt x="17563" y="1408"/>
                  </a:lnTo>
                  <a:lnTo>
                    <a:pt x="17617" y="1425"/>
                  </a:lnTo>
                  <a:lnTo>
                    <a:pt x="17570" y="1458"/>
                  </a:lnTo>
                  <a:lnTo>
                    <a:pt x="17520" y="1458"/>
                  </a:lnTo>
                  <a:lnTo>
                    <a:pt x="17511" y="1446"/>
                  </a:lnTo>
                  <a:lnTo>
                    <a:pt x="17511" y="1446"/>
                  </a:lnTo>
                  <a:lnTo>
                    <a:pt x="17511" y="1446"/>
                  </a:lnTo>
                  <a:close/>
                  <a:moveTo>
                    <a:pt x="21791" y="1557"/>
                  </a:moveTo>
                  <a:lnTo>
                    <a:pt x="21775" y="1573"/>
                  </a:lnTo>
                  <a:lnTo>
                    <a:pt x="21720" y="1557"/>
                  </a:lnTo>
                  <a:lnTo>
                    <a:pt x="21775" y="1552"/>
                  </a:lnTo>
                  <a:lnTo>
                    <a:pt x="21791" y="1557"/>
                  </a:lnTo>
                  <a:lnTo>
                    <a:pt x="21791" y="1557"/>
                  </a:lnTo>
                  <a:lnTo>
                    <a:pt x="21791" y="1557"/>
                  </a:lnTo>
                  <a:close/>
                  <a:moveTo>
                    <a:pt x="15832" y="1630"/>
                  </a:moveTo>
                  <a:lnTo>
                    <a:pt x="15810" y="1602"/>
                  </a:lnTo>
                  <a:lnTo>
                    <a:pt x="15777" y="1585"/>
                  </a:lnTo>
                  <a:lnTo>
                    <a:pt x="15810" y="1573"/>
                  </a:lnTo>
                  <a:lnTo>
                    <a:pt x="15832" y="1590"/>
                  </a:lnTo>
                  <a:lnTo>
                    <a:pt x="15810" y="1573"/>
                  </a:lnTo>
                  <a:lnTo>
                    <a:pt x="15820" y="1590"/>
                  </a:lnTo>
                  <a:lnTo>
                    <a:pt x="15848" y="1590"/>
                  </a:lnTo>
                  <a:lnTo>
                    <a:pt x="15848" y="1607"/>
                  </a:lnTo>
                  <a:lnTo>
                    <a:pt x="15832" y="1614"/>
                  </a:lnTo>
                  <a:lnTo>
                    <a:pt x="15841" y="1630"/>
                  </a:lnTo>
                  <a:lnTo>
                    <a:pt x="15832" y="1630"/>
                  </a:lnTo>
                  <a:lnTo>
                    <a:pt x="15832" y="1630"/>
                  </a:lnTo>
                  <a:lnTo>
                    <a:pt x="15832" y="1630"/>
                  </a:lnTo>
                  <a:close/>
                  <a:moveTo>
                    <a:pt x="15848" y="1585"/>
                  </a:moveTo>
                  <a:lnTo>
                    <a:pt x="15841" y="1585"/>
                  </a:lnTo>
                  <a:lnTo>
                    <a:pt x="15858" y="1590"/>
                  </a:lnTo>
                  <a:lnTo>
                    <a:pt x="15848" y="1585"/>
                  </a:lnTo>
                  <a:lnTo>
                    <a:pt x="15848" y="1585"/>
                  </a:lnTo>
                  <a:lnTo>
                    <a:pt x="15848" y="1585"/>
                  </a:lnTo>
                  <a:close/>
                  <a:moveTo>
                    <a:pt x="23383" y="1656"/>
                  </a:moveTo>
                  <a:lnTo>
                    <a:pt x="23374" y="1647"/>
                  </a:lnTo>
                  <a:lnTo>
                    <a:pt x="23362" y="1640"/>
                  </a:lnTo>
                  <a:lnTo>
                    <a:pt x="23383" y="1656"/>
                  </a:lnTo>
                  <a:lnTo>
                    <a:pt x="23383" y="1656"/>
                  </a:lnTo>
                  <a:lnTo>
                    <a:pt x="23383" y="1656"/>
                  </a:lnTo>
                  <a:close/>
                  <a:moveTo>
                    <a:pt x="17941" y="1701"/>
                  </a:moveTo>
                  <a:lnTo>
                    <a:pt x="17948" y="1656"/>
                  </a:lnTo>
                  <a:lnTo>
                    <a:pt x="17953" y="1647"/>
                  </a:lnTo>
                  <a:lnTo>
                    <a:pt x="17969" y="1663"/>
                  </a:lnTo>
                  <a:lnTo>
                    <a:pt x="17953" y="1668"/>
                  </a:lnTo>
                  <a:lnTo>
                    <a:pt x="17953" y="1696"/>
                  </a:lnTo>
                  <a:lnTo>
                    <a:pt x="17941" y="1701"/>
                  </a:lnTo>
                  <a:lnTo>
                    <a:pt x="17941" y="1701"/>
                  </a:lnTo>
                  <a:lnTo>
                    <a:pt x="17941" y="1701"/>
                  </a:lnTo>
                  <a:close/>
                  <a:moveTo>
                    <a:pt x="16117" y="1696"/>
                  </a:moveTo>
                  <a:lnTo>
                    <a:pt x="16101" y="1680"/>
                  </a:lnTo>
                  <a:lnTo>
                    <a:pt x="16127" y="1684"/>
                  </a:lnTo>
                  <a:lnTo>
                    <a:pt x="16117" y="1696"/>
                  </a:lnTo>
                  <a:lnTo>
                    <a:pt x="16117" y="1696"/>
                  </a:lnTo>
                  <a:lnTo>
                    <a:pt x="16117" y="1696"/>
                  </a:lnTo>
                  <a:close/>
                  <a:moveTo>
                    <a:pt x="17979" y="1701"/>
                  </a:moveTo>
                  <a:lnTo>
                    <a:pt x="17965" y="1713"/>
                  </a:lnTo>
                  <a:lnTo>
                    <a:pt x="17979" y="1684"/>
                  </a:lnTo>
                  <a:lnTo>
                    <a:pt x="17979" y="1696"/>
                  </a:lnTo>
                  <a:lnTo>
                    <a:pt x="17979" y="1701"/>
                  </a:lnTo>
                  <a:lnTo>
                    <a:pt x="17979" y="1701"/>
                  </a:lnTo>
                  <a:lnTo>
                    <a:pt x="17979" y="1701"/>
                  </a:lnTo>
                  <a:close/>
                  <a:moveTo>
                    <a:pt x="16316" y="1795"/>
                  </a:moveTo>
                  <a:lnTo>
                    <a:pt x="16295" y="1795"/>
                  </a:lnTo>
                  <a:lnTo>
                    <a:pt x="16290" y="1791"/>
                  </a:lnTo>
                  <a:lnTo>
                    <a:pt x="16295" y="1779"/>
                  </a:lnTo>
                  <a:lnTo>
                    <a:pt x="16278" y="1774"/>
                  </a:lnTo>
                  <a:lnTo>
                    <a:pt x="16252" y="1767"/>
                  </a:lnTo>
                  <a:lnTo>
                    <a:pt x="16264" y="1774"/>
                  </a:lnTo>
                  <a:lnTo>
                    <a:pt x="16257" y="1774"/>
                  </a:lnTo>
                  <a:lnTo>
                    <a:pt x="16226" y="1751"/>
                  </a:lnTo>
                  <a:lnTo>
                    <a:pt x="16226" y="1734"/>
                  </a:lnTo>
                  <a:lnTo>
                    <a:pt x="16209" y="1722"/>
                  </a:lnTo>
                  <a:lnTo>
                    <a:pt x="16240" y="1734"/>
                  </a:lnTo>
                  <a:lnTo>
                    <a:pt x="16226" y="1718"/>
                  </a:lnTo>
                  <a:lnTo>
                    <a:pt x="16257" y="1696"/>
                  </a:lnTo>
                  <a:lnTo>
                    <a:pt x="16349" y="1767"/>
                  </a:lnTo>
                  <a:lnTo>
                    <a:pt x="16361" y="1779"/>
                  </a:lnTo>
                  <a:lnTo>
                    <a:pt x="16316" y="1795"/>
                  </a:lnTo>
                  <a:lnTo>
                    <a:pt x="16316" y="1795"/>
                  </a:lnTo>
                  <a:lnTo>
                    <a:pt x="16316" y="1795"/>
                  </a:lnTo>
                  <a:close/>
                  <a:moveTo>
                    <a:pt x="17927" y="1734"/>
                  </a:moveTo>
                  <a:lnTo>
                    <a:pt x="17932" y="1722"/>
                  </a:lnTo>
                  <a:lnTo>
                    <a:pt x="17948" y="1739"/>
                  </a:lnTo>
                  <a:lnTo>
                    <a:pt x="17927" y="1734"/>
                  </a:lnTo>
                  <a:lnTo>
                    <a:pt x="17927" y="1734"/>
                  </a:lnTo>
                  <a:lnTo>
                    <a:pt x="17927" y="1734"/>
                  </a:lnTo>
                  <a:close/>
                  <a:moveTo>
                    <a:pt x="23995" y="1791"/>
                  </a:moveTo>
                  <a:lnTo>
                    <a:pt x="23988" y="1791"/>
                  </a:lnTo>
                  <a:lnTo>
                    <a:pt x="23988" y="1807"/>
                  </a:lnTo>
                  <a:lnTo>
                    <a:pt x="23979" y="1812"/>
                  </a:lnTo>
                  <a:lnTo>
                    <a:pt x="23957" y="1812"/>
                  </a:lnTo>
                  <a:lnTo>
                    <a:pt x="23882" y="1779"/>
                  </a:lnTo>
                  <a:lnTo>
                    <a:pt x="23920" y="1758"/>
                  </a:lnTo>
                  <a:lnTo>
                    <a:pt x="23995" y="1774"/>
                  </a:lnTo>
                  <a:lnTo>
                    <a:pt x="23995" y="1791"/>
                  </a:lnTo>
                  <a:lnTo>
                    <a:pt x="23995" y="1791"/>
                  </a:lnTo>
                  <a:lnTo>
                    <a:pt x="23995" y="1791"/>
                  </a:lnTo>
                  <a:close/>
                  <a:moveTo>
                    <a:pt x="24050" y="1795"/>
                  </a:moveTo>
                  <a:lnTo>
                    <a:pt x="24033" y="1791"/>
                  </a:lnTo>
                  <a:lnTo>
                    <a:pt x="24050" y="1779"/>
                  </a:lnTo>
                  <a:lnTo>
                    <a:pt x="24050" y="1795"/>
                  </a:lnTo>
                  <a:lnTo>
                    <a:pt x="24050" y="1795"/>
                  </a:lnTo>
                  <a:lnTo>
                    <a:pt x="24050" y="1795"/>
                  </a:lnTo>
                  <a:close/>
                  <a:moveTo>
                    <a:pt x="23433" y="1833"/>
                  </a:moveTo>
                  <a:lnTo>
                    <a:pt x="23433" y="1812"/>
                  </a:lnTo>
                  <a:lnTo>
                    <a:pt x="23450" y="1812"/>
                  </a:lnTo>
                  <a:lnTo>
                    <a:pt x="23450" y="1829"/>
                  </a:lnTo>
                  <a:lnTo>
                    <a:pt x="23433" y="1833"/>
                  </a:lnTo>
                  <a:lnTo>
                    <a:pt x="23433" y="1833"/>
                  </a:lnTo>
                  <a:lnTo>
                    <a:pt x="23433" y="1833"/>
                  </a:lnTo>
                  <a:close/>
                  <a:moveTo>
                    <a:pt x="16814" y="1824"/>
                  </a:moveTo>
                  <a:lnTo>
                    <a:pt x="16835" y="1812"/>
                  </a:lnTo>
                  <a:lnTo>
                    <a:pt x="16831" y="1829"/>
                  </a:lnTo>
                  <a:lnTo>
                    <a:pt x="16814" y="1824"/>
                  </a:lnTo>
                  <a:lnTo>
                    <a:pt x="16814" y="1824"/>
                  </a:lnTo>
                  <a:lnTo>
                    <a:pt x="16814" y="1824"/>
                  </a:lnTo>
                  <a:close/>
                  <a:moveTo>
                    <a:pt x="23433" y="1902"/>
                  </a:moveTo>
                  <a:lnTo>
                    <a:pt x="23438" y="1885"/>
                  </a:lnTo>
                  <a:lnTo>
                    <a:pt x="23416" y="1878"/>
                  </a:lnTo>
                  <a:lnTo>
                    <a:pt x="23416" y="1845"/>
                  </a:lnTo>
                  <a:lnTo>
                    <a:pt x="23412" y="1833"/>
                  </a:lnTo>
                  <a:lnTo>
                    <a:pt x="23416" y="1829"/>
                  </a:lnTo>
                  <a:lnTo>
                    <a:pt x="23433" y="1824"/>
                  </a:lnTo>
                  <a:lnTo>
                    <a:pt x="23428" y="1829"/>
                  </a:lnTo>
                  <a:lnTo>
                    <a:pt x="23433" y="1833"/>
                  </a:lnTo>
                  <a:lnTo>
                    <a:pt x="23433" y="1850"/>
                  </a:lnTo>
                  <a:lnTo>
                    <a:pt x="23438" y="1890"/>
                  </a:lnTo>
                  <a:lnTo>
                    <a:pt x="23433" y="1902"/>
                  </a:lnTo>
                  <a:lnTo>
                    <a:pt x="23433" y="1902"/>
                  </a:lnTo>
                  <a:lnTo>
                    <a:pt x="23433" y="1902"/>
                  </a:lnTo>
                  <a:close/>
                  <a:moveTo>
                    <a:pt x="15496" y="1878"/>
                  </a:moveTo>
                  <a:lnTo>
                    <a:pt x="15508" y="1845"/>
                  </a:lnTo>
                  <a:lnTo>
                    <a:pt x="15555" y="1824"/>
                  </a:lnTo>
                  <a:lnTo>
                    <a:pt x="15631" y="1850"/>
                  </a:lnTo>
                  <a:lnTo>
                    <a:pt x="15647" y="1866"/>
                  </a:lnTo>
                  <a:lnTo>
                    <a:pt x="15631" y="1885"/>
                  </a:lnTo>
                  <a:lnTo>
                    <a:pt x="15643" y="1866"/>
                  </a:lnTo>
                  <a:lnTo>
                    <a:pt x="15631" y="1866"/>
                  </a:lnTo>
                  <a:lnTo>
                    <a:pt x="15588" y="1906"/>
                  </a:lnTo>
                  <a:lnTo>
                    <a:pt x="15534" y="1923"/>
                  </a:lnTo>
                  <a:lnTo>
                    <a:pt x="15496" y="1902"/>
                  </a:lnTo>
                  <a:lnTo>
                    <a:pt x="15496" y="1878"/>
                  </a:lnTo>
                  <a:lnTo>
                    <a:pt x="15496" y="1878"/>
                  </a:lnTo>
                  <a:lnTo>
                    <a:pt x="15496" y="1878"/>
                  </a:lnTo>
                  <a:close/>
                  <a:moveTo>
                    <a:pt x="16814" y="1833"/>
                  </a:moveTo>
                  <a:lnTo>
                    <a:pt x="16814" y="1829"/>
                  </a:lnTo>
                  <a:lnTo>
                    <a:pt x="16831" y="1833"/>
                  </a:lnTo>
                  <a:lnTo>
                    <a:pt x="16814" y="1833"/>
                  </a:lnTo>
                  <a:lnTo>
                    <a:pt x="16814" y="1833"/>
                  </a:lnTo>
                  <a:lnTo>
                    <a:pt x="16814" y="1833"/>
                  </a:lnTo>
                  <a:close/>
                  <a:moveTo>
                    <a:pt x="14513" y="1833"/>
                  </a:moveTo>
                  <a:lnTo>
                    <a:pt x="14530" y="1845"/>
                  </a:lnTo>
                  <a:lnTo>
                    <a:pt x="14497" y="1833"/>
                  </a:lnTo>
                  <a:lnTo>
                    <a:pt x="14513" y="1833"/>
                  </a:lnTo>
                  <a:lnTo>
                    <a:pt x="14513" y="1833"/>
                  </a:lnTo>
                  <a:lnTo>
                    <a:pt x="14513" y="1833"/>
                  </a:lnTo>
                  <a:close/>
                  <a:moveTo>
                    <a:pt x="16273" y="1866"/>
                  </a:moveTo>
                  <a:lnTo>
                    <a:pt x="16235" y="1845"/>
                  </a:lnTo>
                  <a:lnTo>
                    <a:pt x="16264" y="1850"/>
                  </a:lnTo>
                  <a:lnTo>
                    <a:pt x="16273" y="1866"/>
                  </a:lnTo>
                  <a:lnTo>
                    <a:pt x="16273" y="1866"/>
                  </a:lnTo>
                  <a:lnTo>
                    <a:pt x="16273" y="1866"/>
                  </a:lnTo>
                  <a:close/>
                  <a:moveTo>
                    <a:pt x="16134" y="1918"/>
                  </a:moveTo>
                  <a:lnTo>
                    <a:pt x="16181" y="1906"/>
                  </a:lnTo>
                  <a:lnTo>
                    <a:pt x="16127" y="1923"/>
                  </a:lnTo>
                  <a:lnTo>
                    <a:pt x="16134" y="1918"/>
                  </a:lnTo>
                  <a:lnTo>
                    <a:pt x="16134" y="1918"/>
                  </a:lnTo>
                  <a:lnTo>
                    <a:pt x="16134" y="1918"/>
                  </a:lnTo>
                  <a:close/>
                  <a:moveTo>
                    <a:pt x="17013" y="2195"/>
                  </a:moveTo>
                  <a:lnTo>
                    <a:pt x="16982" y="2162"/>
                  </a:lnTo>
                  <a:lnTo>
                    <a:pt x="16958" y="2162"/>
                  </a:lnTo>
                  <a:lnTo>
                    <a:pt x="17029" y="2166"/>
                  </a:lnTo>
                  <a:lnTo>
                    <a:pt x="17029" y="2195"/>
                  </a:lnTo>
                  <a:lnTo>
                    <a:pt x="17013" y="2195"/>
                  </a:lnTo>
                  <a:lnTo>
                    <a:pt x="17013" y="2195"/>
                  </a:lnTo>
                  <a:lnTo>
                    <a:pt x="17013" y="2195"/>
                  </a:lnTo>
                  <a:close/>
                  <a:moveTo>
                    <a:pt x="15102" y="2162"/>
                  </a:moveTo>
                  <a:lnTo>
                    <a:pt x="15106" y="2166"/>
                  </a:lnTo>
                  <a:lnTo>
                    <a:pt x="15092" y="2162"/>
                  </a:lnTo>
                  <a:lnTo>
                    <a:pt x="15102" y="2162"/>
                  </a:lnTo>
                  <a:lnTo>
                    <a:pt x="15102" y="2162"/>
                  </a:lnTo>
                  <a:lnTo>
                    <a:pt x="15102" y="2162"/>
                  </a:lnTo>
                  <a:close/>
                  <a:moveTo>
                    <a:pt x="16975" y="2166"/>
                  </a:moveTo>
                  <a:lnTo>
                    <a:pt x="16975" y="2178"/>
                  </a:lnTo>
                  <a:lnTo>
                    <a:pt x="16975" y="2166"/>
                  </a:lnTo>
                  <a:lnTo>
                    <a:pt x="16975" y="2166"/>
                  </a:lnTo>
                  <a:lnTo>
                    <a:pt x="16975" y="2166"/>
                  </a:lnTo>
                  <a:close/>
                  <a:moveTo>
                    <a:pt x="253" y="2277"/>
                  </a:moveTo>
                  <a:lnTo>
                    <a:pt x="253" y="2273"/>
                  </a:lnTo>
                  <a:lnTo>
                    <a:pt x="265" y="2273"/>
                  </a:lnTo>
                  <a:lnTo>
                    <a:pt x="253" y="2277"/>
                  </a:lnTo>
                  <a:lnTo>
                    <a:pt x="253" y="2277"/>
                  </a:lnTo>
                  <a:lnTo>
                    <a:pt x="253" y="2277"/>
                  </a:lnTo>
                  <a:close/>
                  <a:moveTo>
                    <a:pt x="14632" y="2351"/>
                  </a:moveTo>
                  <a:lnTo>
                    <a:pt x="14632" y="2367"/>
                  </a:lnTo>
                  <a:lnTo>
                    <a:pt x="14622" y="2377"/>
                  </a:lnTo>
                  <a:lnTo>
                    <a:pt x="14606" y="2351"/>
                  </a:lnTo>
                  <a:lnTo>
                    <a:pt x="14632" y="2351"/>
                  </a:lnTo>
                  <a:lnTo>
                    <a:pt x="14632" y="2351"/>
                  </a:lnTo>
                  <a:lnTo>
                    <a:pt x="14632" y="2351"/>
                  </a:lnTo>
                  <a:close/>
                  <a:moveTo>
                    <a:pt x="0" y="2400"/>
                  </a:moveTo>
                  <a:lnTo>
                    <a:pt x="17" y="2384"/>
                  </a:lnTo>
                  <a:lnTo>
                    <a:pt x="38" y="2400"/>
                  </a:lnTo>
                  <a:lnTo>
                    <a:pt x="0" y="2400"/>
                  </a:lnTo>
                  <a:lnTo>
                    <a:pt x="0" y="2400"/>
                  </a:lnTo>
                  <a:lnTo>
                    <a:pt x="0" y="2400"/>
                  </a:lnTo>
                  <a:close/>
                  <a:moveTo>
                    <a:pt x="14946" y="2400"/>
                  </a:moveTo>
                  <a:lnTo>
                    <a:pt x="14955" y="2421"/>
                  </a:lnTo>
                  <a:lnTo>
                    <a:pt x="14913" y="2405"/>
                  </a:lnTo>
                  <a:lnTo>
                    <a:pt x="14941" y="2417"/>
                  </a:lnTo>
                  <a:lnTo>
                    <a:pt x="14929" y="2400"/>
                  </a:lnTo>
                  <a:lnTo>
                    <a:pt x="14946" y="2400"/>
                  </a:lnTo>
                  <a:lnTo>
                    <a:pt x="14946" y="2400"/>
                  </a:lnTo>
                  <a:lnTo>
                    <a:pt x="14946" y="2400"/>
                  </a:lnTo>
                  <a:close/>
                  <a:moveTo>
                    <a:pt x="14639" y="2438"/>
                  </a:moveTo>
                  <a:lnTo>
                    <a:pt x="14643" y="2445"/>
                  </a:lnTo>
                  <a:lnTo>
                    <a:pt x="14632" y="2438"/>
                  </a:lnTo>
                  <a:lnTo>
                    <a:pt x="14639" y="2438"/>
                  </a:lnTo>
                  <a:lnTo>
                    <a:pt x="14639" y="2438"/>
                  </a:lnTo>
                  <a:lnTo>
                    <a:pt x="14639" y="2438"/>
                  </a:lnTo>
                  <a:close/>
                  <a:moveTo>
                    <a:pt x="14119" y="2899"/>
                  </a:moveTo>
                  <a:lnTo>
                    <a:pt x="14131" y="2899"/>
                  </a:lnTo>
                  <a:lnTo>
                    <a:pt x="14119" y="2887"/>
                  </a:lnTo>
                  <a:lnTo>
                    <a:pt x="14119" y="2899"/>
                  </a:lnTo>
                  <a:lnTo>
                    <a:pt x="14119" y="2899"/>
                  </a:lnTo>
                  <a:lnTo>
                    <a:pt x="14119" y="2899"/>
                  </a:lnTo>
                  <a:close/>
                  <a:moveTo>
                    <a:pt x="23572" y="3088"/>
                  </a:moveTo>
                  <a:lnTo>
                    <a:pt x="23596" y="3064"/>
                  </a:lnTo>
                  <a:lnTo>
                    <a:pt x="23610" y="3043"/>
                  </a:lnTo>
                  <a:lnTo>
                    <a:pt x="23596" y="3031"/>
                  </a:lnTo>
                  <a:lnTo>
                    <a:pt x="23655" y="3014"/>
                  </a:lnTo>
                  <a:lnTo>
                    <a:pt x="23665" y="3031"/>
                  </a:lnTo>
                  <a:lnTo>
                    <a:pt x="23665" y="3047"/>
                  </a:lnTo>
                  <a:lnTo>
                    <a:pt x="23627" y="3059"/>
                  </a:lnTo>
                  <a:lnTo>
                    <a:pt x="23579" y="3099"/>
                  </a:lnTo>
                  <a:lnTo>
                    <a:pt x="23572" y="3088"/>
                  </a:lnTo>
                  <a:lnTo>
                    <a:pt x="23572" y="3088"/>
                  </a:lnTo>
                  <a:lnTo>
                    <a:pt x="23572" y="3088"/>
                  </a:lnTo>
                  <a:close/>
                  <a:moveTo>
                    <a:pt x="22665" y="3031"/>
                  </a:moveTo>
                  <a:lnTo>
                    <a:pt x="22682" y="3026"/>
                  </a:lnTo>
                  <a:lnTo>
                    <a:pt x="22665" y="3031"/>
                  </a:lnTo>
                  <a:lnTo>
                    <a:pt x="22665" y="3031"/>
                  </a:lnTo>
                  <a:lnTo>
                    <a:pt x="22665" y="3031"/>
                  </a:lnTo>
                  <a:close/>
                  <a:moveTo>
                    <a:pt x="23773" y="3421"/>
                  </a:moveTo>
                  <a:lnTo>
                    <a:pt x="23773" y="3437"/>
                  </a:lnTo>
                  <a:lnTo>
                    <a:pt x="23806" y="3470"/>
                  </a:lnTo>
                  <a:lnTo>
                    <a:pt x="23806" y="3487"/>
                  </a:lnTo>
                  <a:lnTo>
                    <a:pt x="23778" y="3470"/>
                  </a:lnTo>
                  <a:lnTo>
                    <a:pt x="23752" y="3421"/>
                  </a:lnTo>
                  <a:lnTo>
                    <a:pt x="23773" y="3421"/>
                  </a:lnTo>
                  <a:lnTo>
                    <a:pt x="23773" y="3421"/>
                  </a:lnTo>
                  <a:lnTo>
                    <a:pt x="23773" y="3421"/>
                  </a:lnTo>
                  <a:close/>
                  <a:moveTo>
                    <a:pt x="13606" y="3430"/>
                  </a:moveTo>
                  <a:lnTo>
                    <a:pt x="13611" y="3421"/>
                  </a:lnTo>
                  <a:lnTo>
                    <a:pt x="13665" y="3447"/>
                  </a:lnTo>
                  <a:lnTo>
                    <a:pt x="13699" y="3447"/>
                  </a:lnTo>
                  <a:lnTo>
                    <a:pt x="13720" y="3470"/>
                  </a:lnTo>
                  <a:lnTo>
                    <a:pt x="13715" y="3487"/>
                  </a:lnTo>
                  <a:lnTo>
                    <a:pt x="13703" y="3503"/>
                  </a:lnTo>
                  <a:lnTo>
                    <a:pt x="13715" y="3515"/>
                  </a:lnTo>
                  <a:lnTo>
                    <a:pt x="13618" y="3515"/>
                  </a:lnTo>
                  <a:lnTo>
                    <a:pt x="13505" y="3508"/>
                  </a:lnTo>
                  <a:lnTo>
                    <a:pt x="13552" y="3487"/>
                  </a:lnTo>
                  <a:lnTo>
                    <a:pt x="13526" y="3487"/>
                  </a:lnTo>
                  <a:lnTo>
                    <a:pt x="13519" y="3475"/>
                  </a:lnTo>
                  <a:lnTo>
                    <a:pt x="13510" y="3487"/>
                  </a:lnTo>
                  <a:lnTo>
                    <a:pt x="13519" y="3454"/>
                  </a:lnTo>
                  <a:lnTo>
                    <a:pt x="13552" y="3454"/>
                  </a:lnTo>
                  <a:lnTo>
                    <a:pt x="13580" y="3421"/>
                  </a:lnTo>
                  <a:lnTo>
                    <a:pt x="13590" y="3421"/>
                  </a:lnTo>
                  <a:lnTo>
                    <a:pt x="13557" y="3454"/>
                  </a:lnTo>
                  <a:lnTo>
                    <a:pt x="13606" y="3458"/>
                  </a:lnTo>
                  <a:lnTo>
                    <a:pt x="13606" y="3437"/>
                  </a:lnTo>
                  <a:lnTo>
                    <a:pt x="13606" y="3430"/>
                  </a:lnTo>
                  <a:lnTo>
                    <a:pt x="13606" y="3430"/>
                  </a:lnTo>
                  <a:lnTo>
                    <a:pt x="13606" y="3430"/>
                  </a:lnTo>
                  <a:close/>
                  <a:moveTo>
                    <a:pt x="21744" y="3475"/>
                  </a:moveTo>
                  <a:lnTo>
                    <a:pt x="21765" y="3430"/>
                  </a:lnTo>
                  <a:lnTo>
                    <a:pt x="21803" y="3447"/>
                  </a:lnTo>
                  <a:lnTo>
                    <a:pt x="21775" y="3491"/>
                  </a:lnTo>
                  <a:lnTo>
                    <a:pt x="21758" y="3458"/>
                  </a:lnTo>
                  <a:lnTo>
                    <a:pt x="21744" y="3475"/>
                  </a:lnTo>
                  <a:lnTo>
                    <a:pt x="21744" y="3475"/>
                  </a:lnTo>
                  <a:lnTo>
                    <a:pt x="21744" y="3475"/>
                  </a:lnTo>
                  <a:close/>
                  <a:moveTo>
                    <a:pt x="21694" y="3458"/>
                  </a:moveTo>
                  <a:lnTo>
                    <a:pt x="21737" y="3437"/>
                  </a:lnTo>
                  <a:lnTo>
                    <a:pt x="21728" y="3458"/>
                  </a:lnTo>
                  <a:lnTo>
                    <a:pt x="21694" y="3458"/>
                  </a:lnTo>
                  <a:lnTo>
                    <a:pt x="21694" y="3458"/>
                  </a:lnTo>
                  <a:lnTo>
                    <a:pt x="21694" y="3458"/>
                  </a:lnTo>
                  <a:close/>
                  <a:moveTo>
                    <a:pt x="13498" y="3508"/>
                  </a:moveTo>
                  <a:lnTo>
                    <a:pt x="13488" y="3503"/>
                  </a:lnTo>
                  <a:lnTo>
                    <a:pt x="13510" y="3487"/>
                  </a:lnTo>
                  <a:lnTo>
                    <a:pt x="13498" y="3508"/>
                  </a:lnTo>
                  <a:lnTo>
                    <a:pt x="13498" y="3508"/>
                  </a:lnTo>
                  <a:lnTo>
                    <a:pt x="13498" y="3508"/>
                  </a:lnTo>
                  <a:close/>
                  <a:moveTo>
                    <a:pt x="21765" y="3508"/>
                  </a:moveTo>
                  <a:lnTo>
                    <a:pt x="21758" y="3503"/>
                  </a:lnTo>
                  <a:lnTo>
                    <a:pt x="21765" y="3491"/>
                  </a:lnTo>
                  <a:lnTo>
                    <a:pt x="21765" y="3508"/>
                  </a:lnTo>
                  <a:lnTo>
                    <a:pt x="21765" y="3508"/>
                  </a:lnTo>
                  <a:lnTo>
                    <a:pt x="21765" y="3508"/>
                  </a:lnTo>
                  <a:close/>
                  <a:moveTo>
                    <a:pt x="22072" y="4080"/>
                  </a:moveTo>
                  <a:lnTo>
                    <a:pt x="22068" y="4058"/>
                  </a:lnTo>
                  <a:lnTo>
                    <a:pt x="22072" y="4030"/>
                  </a:lnTo>
                  <a:lnTo>
                    <a:pt x="22084" y="3973"/>
                  </a:lnTo>
                  <a:lnTo>
                    <a:pt x="22084" y="3903"/>
                  </a:lnTo>
                  <a:lnTo>
                    <a:pt x="22072" y="3891"/>
                  </a:lnTo>
                  <a:lnTo>
                    <a:pt x="22089" y="3825"/>
                  </a:lnTo>
                  <a:lnTo>
                    <a:pt x="22084" y="3791"/>
                  </a:lnTo>
                  <a:lnTo>
                    <a:pt x="22051" y="3751"/>
                  </a:lnTo>
                  <a:lnTo>
                    <a:pt x="22051" y="3714"/>
                  </a:lnTo>
                  <a:lnTo>
                    <a:pt x="22061" y="3692"/>
                  </a:lnTo>
                  <a:lnTo>
                    <a:pt x="22068" y="3643"/>
                  </a:lnTo>
                  <a:lnTo>
                    <a:pt x="22061" y="3614"/>
                  </a:lnTo>
                  <a:lnTo>
                    <a:pt x="22089" y="3598"/>
                  </a:lnTo>
                  <a:lnTo>
                    <a:pt x="22089" y="3614"/>
                  </a:lnTo>
                  <a:lnTo>
                    <a:pt x="22105" y="3614"/>
                  </a:lnTo>
                  <a:lnTo>
                    <a:pt x="22122" y="3598"/>
                  </a:lnTo>
                  <a:lnTo>
                    <a:pt x="22115" y="3598"/>
                  </a:lnTo>
                  <a:lnTo>
                    <a:pt x="22105" y="3581"/>
                  </a:lnTo>
                  <a:lnTo>
                    <a:pt x="22122" y="3586"/>
                  </a:lnTo>
                  <a:lnTo>
                    <a:pt x="22127" y="3581"/>
                  </a:lnTo>
                  <a:lnTo>
                    <a:pt x="22127" y="3565"/>
                  </a:lnTo>
                  <a:lnTo>
                    <a:pt x="22115" y="3581"/>
                  </a:lnTo>
                  <a:lnTo>
                    <a:pt x="22122" y="3558"/>
                  </a:lnTo>
                  <a:lnTo>
                    <a:pt x="22098" y="3525"/>
                  </a:lnTo>
                  <a:lnTo>
                    <a:pt x="22122" y="3525"/>
                  </a:lnTo>
                  <a:lnTo>
                    <a:pt x="22122" y="3508"/>
                  </a:lnTo>
                  <a:lnTo>
                    <a:pt x="22143" y="3541"/>
                  </a:lnTo>
                  <a:lnTo>
                    <a:pt x="22136" y="3569"/>
                  </a:lnTo>
                  <a:lnTo>
                    <a:pt x="22153" y="3598"/>
                  </a:lnTo>
                  <a:lnTo>
                    <a:pt x="22153" y="3614"/>
                  </a:lnTo>
                  <a:lnTo>
                    <a:pt x="22160" y="3619"/>
                  </a:lnTo>
                  <a:lnTo>
                    <a:pt x="22169" y="3659"/>
                  </a:lnTo>
                  <a:lnTo>
                    <a:pt x="22169" y="3697"/>
                  </a:lnTo>
                  <a:lnTo>
                    <a:pt x="22160" y="3714"/>
                  </a:lnTo>
                  <a:lnTo>
                    <a:pt x="22160" y="3692"/>
                  </a:lnTo>
                  <a:lnTo>
                    <a:pt x="22153" y="3709"/>
                  </a:lnTo>
                  <a:lnTo>
                    <a:pt x="22153" y="3747"/>
                  </a:lnTo>
                  <a:lnTo>
                    <a:pt x="22169" y="3768"/>
                  </a:lnTo>
                  <a:lnTo>
                    <a:pt x="22160" y="3791"/>
                  </a:lnTo>
                  <a:lnTo>
                    <a:pt x="22169" y="3791"/>
                  </a:lnTo>
                  <a:lnTo>
                    <a:pt x="22169" y="3780"/>
                  </a:lnTo>
                  <a:lnTo>
                    <a:pt x="22174" y="3808"/>
                  </a:lnTo>
                  <a:lnTo>
                    <a:pt x="22169" y="3808"/>
                  </a:lnTo>
                  <a:lnTo>
                    <a:pt x="22181" y="3820"/>
                  </a:lnTo>
                  <a:lnTo>
                    <a:pt x="22198" y="3903"/>
                  </a:lnTo>
                  <a:lnTo>
                    <a:pt x="22212" y="3936"/>
                  </a:lnTo>
                  <a:lnTo>
                    <a:pt x="22245" y="4023"/>
                  </a:lnTo>
                  <a:lnTo>
                    <a:pt x="22261" y="4040"/>
                  </a:lnTo>
                  <a:lnTo>
                    <a:pt x="22266" y="4063"/>
                  </a:lnTo>
                  <a:lnTo>
                    <a:pt x="22245" y="4030"/>
                  </a:lnTo>
                  <a:lnTo>
                    <a:pt x="22212" y="4006"/>
                  </a:lnTo>
                  <a:lnTo>
                    <a:pt x="22169" y="3990"/>
                  </a:lnTo>
                  <a:lnTo>
                    <a:pt x="22169" y="4002"/>
                  </a:lnTo>
                  <a:lnTo>
                    <a:pt x="22191" y="4002"/>
                  </a:lnTo>
                  <a:lnTo>
                    <a:pt x="22160" y="4006"/>
                  </a:lnTo>
                  <a:lnTo>
                    <a:pt x="22143" y="4023"/>
                  </a:lnTo>
                  <a:lnTo>
                    <a:pt x="22143" y="4040"/>
                  </a:lnTo>
                  <a:lnTo>
                    <a:pt x="22115" y="4117"/>
                  </a:lnTo>
                  <a:lnTo>
                    <a:pt x="22115" y="4141"/>
                  </a:lnTo>
                  <a:lnTo>
                    <a:pt x="22122" y="4158"/>
                  </a:lnTo>
                  <a:lnTo>
                    <a:pt x="22143" y="4191"/>
                  </a:lnTo>
                  <a:lnTo>
                    <a:pt x="22160" y="4236"/>
                  </a:lnTo>
                  <a:lnTo>
                    <a:pt x="22169" y="4245"/>
                  </a:lnTo>
                  <a:lnTo>
                    <a:pt x="22169" y="4228"/>
                  </a:lnTo>
                  <a:lnTo>
                    <a:pt x="22174" y="4228"/>
                  </a:lnTo>
                  <a:lnTo>
                    <a:pt x="22181" y="4269"/>
                  </a:lnTo>
                  <a:lnTo>
                    <a:pt x="22174" y="4302"/>
                  </a:lnTo>
                  <a:lnTo>
                    <a:pt x="22169" y="4252"/>
                  </a:lnTo>
                  <a:lnTo>
                    <a:pt x="22127" y="4252"/>
                  </a:lnTo>
                  <a:lnTo>
                    <a:pt x="22122" y="4236"/>
                  </a:lnTo>
                  <a:lnTo>
                    <a:pt x="22105" y="4252"/>
                  </a:lnTo>
                  <a:lnTo>
                    <a:pt x="22084" y="4306"/>
                  </a:lnTo>
                  <a:lnTo>
                    <a:pt x="22068" y="4302"/>
                  </a:lnTo>
                  <a:lnTo>
                    <a:pt x="22061" y="4252"/>
                  </a:lnTo>
                  <a:lnTo>
                    <a:pt x="22072" y="4207"/>
                  </a:lnTo>
                  <a:lnTo>
                    <a:pt x="22072" y="4158"/>
                  </a:lnTo>
                  <a:lnTo>
                    <a:pt x="22089" y="4125"/>
                  </a:lnTo>
                  <a:lnTo>
                    <a:pt x="22084" y="4096"/>
                  </a:lnTo>
                  <a:lnTo>
                    <a:pt x="22072" y="4080"/>
                  </a:lnTo>
                  <a:lnTo>
                    <a:pt x="22072" y="4080"/>
                  </a:lnTo>
                  <a:lnTo>
                    <a:pt x="22072" y="4080"/>
                  </a:lnTo>
                  <a:close/>
                  <a:moveTo>
                    <a:pt x="23017" y="3846"/>
                  </a:moveTo>
                  <a:lnTo>
                    <a:pt x="23022" y="3846"/>
                  </a:lnTo>
                  <a:lnTo>
                    <a:pt x="23034" y="3858"/>
                  </a:lnTo>
                  <a:lnTo>
                    <a:pt x="23022" y="3858"/>
                  </a:lnTo>
                  <a:lnTo>
                    <a:pt x="23017" y="3846"/>
                  </a:lnTo>
                  <a:lnTo>
                    <a:pt x="23017" y="3846"/>
                  </a:lnTo>
                  <a:lnTo>
                    <a:pt x="23017" y="3846"/>
                  </a:lnTo>
                  <a:close/>
                  <a:moveTo>
                    <a:pt x="23088" y="3874"/>
                  </a:moveTo>
                  <a:lnTo>
                    <a:pt x="23072" y="3874"/>
                  </a:lnTo>
                  <a:lnTo>
                    <a:pt x="23072" y="3862"/>
                  </a:lnTo>
                  <a:lnTo>
                    <a:pt x="23088" y="3858"/>
                  </a:lnTo>
                  <a:lnTo>
                    <a:pt x="23088" y="3874"/>
                  </a:lnTo>
                  <a:lnTo>
                    <a:pt x="23088" y="3874"/>
                  </a:lnTo>
                  <a:lnTo>
                    <a:pt x="23088" y="3874"/>
                  </a:lnTo>
                  <a:close/>
                  <a:moveTo>
                    <a:pt x="23001" y="3931"/>
                  </a:moveTo>
                  <a:lnTo>
                    <a:pt x="23001" y="3903"/>
                  </a:lnTo>
                  <a:lnTo>
                    <a:pt x="23034" y="3895"/>
                  </a:lnTo>
                  <a:lnTo>
                    <a:pt x="23050" y="3874"/>
                  </a:lnTo>
                  <a:lnTo>
                    <a:pt x="23060" y="3862"/>
                  </a:lnTo>
                  <a:lnTo>
                    <a:pt x="23072" y="3891"/>
                  </a:lnTo>
                  <a:lnTo>
                    <a:pt x="23050" y="3914"/>
                  </a:lnTo>
                  <a:lnTo>
                    <a:pt x="23001" y="3931"/>
                  </a:lnTo>
                  <a:lnTo>
                    <a:pt x="23001" y="3931"/>
                  </a:lnTo>
                  <a:lnTo>
                    <a:pt x="23001" y="3931"/>
                  </a:lnTo>
                  <a:close/>
                  <a:moveTo>
                    <a:pt x="22946" y="3957"/>
                  </a:moveTo>
                  <a:lnTo>
                    <a:pt x="22946" y="3952"/>
                  </a:lnTo>
                  <a:lnTo>
                    <a:pt x="22946" y="3957"/>
                  </a:lnTo>
                  <a:lnTo>
                    <a:pt x="22946" y="3957"/>
                  </a:lnTo>
                  <a:lnTo>
                    <a:pt x="22946" y="3957"/>
                  </a:lnTo>
                  <a:close/>
                  <a:moveTo>
                    <a:pt x="22953" y="4002"/>
                  </a:moveTo>
                  <a:lnTo>
                    <a:pt x="22968" y="3973"/>
                  </a:lnTo>
                  <a:lnTo>
                    <a:pt x="22979" y="3969"/>
                  </a:lnTo>
                  <a:lnTo>
                    <a:pt x="22968" y="3990"/>
                  </a:lnTo>
                  <a:lnTo>
                    <a:pt x="22968" y="4002"/>
                  </a:lnTo>
                  <a:lnTo>
                    <a:pt x="22953" y="4002"/>
                  </a:lnTo>
                  <a:lnTo>
                    <a:pt x="22953" y="4002"/>
                  </a:lnTo>
                  <a:lnTo>
                    <a:pt x="22953" y="4002"/>
                  </a:lnTo>
                  <a:close/>
                  <a:moveTo>
                    <a:pt x="22946" y="4014"/>
                  </a:moveTo>
                  <a:lnTo>
                    <a:pt x="22953" y="4014"/>
                  </a:lnTo>
                  <a:lnTo>
                    <a:pt x="22953" y="4023"/>
                  </a:lnTo>
                  <a:lnTo>
                    <a:pt x="22946" y="4014"/>
                  </a:lnTo>
                  <a:lnTo>
                    <a:pt x="22946" y="4014"/>
                  </a:lnTo>
                  <a:lnTo>
                    <a:pt x="22946" y="4014"/>
                  </a:lnTo>
                  <a:close/>
                  <a:moveTo>
                    <a:pt x="22916" y="4058"/>
                  </a:moveTo>
                  <a:lnTo>
                    <a:pt x="22925" y="4040"/>
                  </a:lnTo>
                  <a:lnTo>
                    <a:pt x="22930" y="4040"/>
                  </a:lnTo>
                  <a:lnTo>
                    <a:pt x="22916" y="4058"/>
                  </a:lnTo>
                  <a:lnTo>
                    <a:pt x="22916" y="4058"/>
                  </a:lnTo>
                  <a:lnTo>
                    <a:pt x="22916" y="4058"/>
                  </a:lnTo>
                  <a:close/>
                  <a:moveTo>
                    <a:pt x="22861" y="4117"/>
                  </a:moveTo>
                  <a:lnTo>
                    <a:pt x="22854" y="4113"/>
                  </a:lnTo>
                  <a:lnTo>
                    <a:pt x="22861" y="4113"/>
                  </a:lnTo>
                  <a:lnTo>
                    <a:pt x="22861" y="4117"/>
                  </a:lnTo>
                  <a:lnTo>
                    <a:pt x="22861" y="4117"/>
                  </a:lnTo>
                  <a:lnTo>
                    <a:pt x="22861" y="4117"/>
                  </a:lnTo>
                  <a:close/>
                  <a:moveTo>
                    <a:pt x="22807" y="4179"/>
                  </a:moveTo>
                  <a:lnTo>
                    <a:pt x="22816" y="4179"/>
                  </a:lnTo>
                  <a:lnTo>
                    <a:pt x="22807" y="4179"/>
                  </a:lnTo>
                  <a:lnTo>
                    <a:pt x="22807" y="4179"/>
                  </a:lnTo>
                  <a:lnTo>
                    <a:pt x="22807" y="4179"/>
                  </a:lnTo>
                  <a:close/>
                  <a:moveTo>
                    <a:pt x="22791" y="4195"/>
                  </a:moveTo>
                  <a:lnTo>
                    <a:pt x="22779" y="4224"/>
                  </a:lnTo>
                  <a:lnTo>
                    <a:pt x="22753" y="4228"/>
                  </a:lnTo>
                  <a:lnTo>
                    <a:pt x="22791" y="4195"/>
                  </a:lnTo>
                  <a:lnTo>
                    <a:pt x="22791" y="4195"/>
                  </a:lnTo>
                  <a:lnTo>
                    <a:pt x="22791" y="4195"/>
                  </a:lnTo>
                  <a:close/>
                  <a:moveTo>
                    <a:pt x="22602" y="4340"/>
                  </a:moveTo>
                  <a:lnTo>
                    <a:pt x="22613" y="4318"/>
                  </a:lnTo>
                  <a:lnTo>
                    <a:pt x="22628" y="4302"/>
                  </a:lnTo>
                  <a:lnTo>
                    <a:pt x="22661" y="4285"/>
                  </a:lnTo>
                  <a:lnTo>
                    <a:pt x="22665" y="4285"/>
                  </a:lnTo>
                  <a:lnTo>
                    <a:pt x="22644" y="4306"/>
                  </a:lnTo>
                  <a:lnTo>
                    <a:pt x="22613" y="4335"/>
                  </a:lnTo>
                  <a:lnTo>
                    <a:pt x="22602" y="4340"/>
                  </a:lnTo>
                  <a:lnTo>
                    <a:pt x="22602" y="4340"/>
                  </a:lnTo>
                  <a:lnTo>
                    <a:pt x="22602" y="4340"/>
                  </a:lnTo>
                  <a:close/>
                  <a:moveTo>
                    <a:pt x="22413" y="4446"/>
                  </a:moveTo>
                  <a:lnTo>
                    <a:pt x="22413" y="4434"/>
                  </a:lnTo>
                  <a:lnTo>
                    <a:pt x="22439" y="4417"/>
                  </a:lnTo>
                  <a:lnTo>
                    <a:pt x="22429" y="4413"/>
                  </a:lnTo>
                  <a:lnTo>
                    <a:pt x="22483" y="4373"/>
                  </a:lnTo>
                  <a:lnTo>
                    <a:pt x="22483" y="4363"/>
                  </a:lnTo>
                  <a:lnTo>
                    <a:pt x="22493" y="4356"/>
                  </a:lnTo>
                  <a:lnTo>
                    <a:pt x="22500" y="4373"/>
                  </a:lnTo>
                  <a:lnTo>
                    <a:pt x="22514" y="4373"/>
                  </a:lnTo>
                  <a:lnTo>
                    <a:pt x="22547" y="4347"/>
                  </a:lnTo>
                  <a:lnTo>
                    <a:pt x="22552" y="4347"/>
                  </a:lnTo>
                  <a:lnTo>
                    <a:pt x="22552" y="4363"/>
                  </a:lnTo>
                  <a:lnTo>
                    <a:pt x="22514" y="4373"/>
                  </a:lnTo>
                  <a:lnTo>
                    <a:pt x="22476" y="4396"/>
                  </a:lnTo>
                  <a:lnTo>
                    <a:pt x="22467" y="4396"/>
                  </a:lnTo>
                  <a:lnTo>
                    <a:pt x="22462" y="4413"/>
                  </a:lnTo>
                  <a:lnTo>
                    <a:pt x="22413" y="4446"/>
                  </a:lnTo>
                  <a:lnTo>
                    <a:pt x="22413" y="4446"/>
                  </a:lnTo>
                  <a:lnTo>
                    <a:pt x="22413" y="4446"/>
                  </a:lnTo>
                  <a:close/>
                  <a:moveTo>
                    <a:pt x="22370" y="4434"/>
                  </a:moveTo>
                  <a:lnTo>
                    <a:pt x="22391" y="4446"/>
                  </a:lnTo>
                  <a:lnTo>
                    <a:pt x="22354" y="4467"/>
                  </a:lnTo>
                  <a:lnTo>
                    <a:pt x="22337" y="4491"/>
                  </a:lnTo>
                  <a:lnTo>
                    <a:pt x="22332" y="4491"/>
                  </a:lnTo>
                  <a:lnTo>
                    <a:pt x="22320" y="4512"/>
                  </a:lnTo>
                  <a:lnTo>
                    <a:pt x="22316" y="4507"/>
                  </a:lnTo>
                  <a:lnTo>
                    <a:pt x="22316" y="4500"/>
                  </a:lnTo>
                  <a:lnTo>
                    <a:pt x="22337" y="4474"/>
                  </a:lnTo>
                  <a:lnTo>
                    <a:pt x="22370" y="4434"/>
                  </a:lnTo>
                  <a:lnTo>
                    <a:pt x="22370" y="4434"/>
                  </a:lnTo>
                  <a:lnTo>
                    <a:pt x="22370" y="4434"/>
                  </a:lnTo>
                  <a:close/>
                  <a:moveTo>
                    <a:pt x="15463" y="4484"/>
                  </a:moveTo>
                  <a:lnTo>
                    <a:pt x="15454" y="4484"/>
                  </a:lnTo>
                  <a:lnTo>
                    <a:pt x="15463" y="4484"/>
                  </a:lnTo>
                  <a:lnTo>
                    <a:pt x="15463" y="4484"/>
                  </a:lnTo>
                  <a:lnTo>
                    <a:pt x="15463" y="4484"/>
                  </a:lnTo>
                  <a:close/>
                  <a:moveTo>
                    <a:pt x="22413" y="4491"/>
                  </a:moveTo>
                  <a:lnTo>
                    <a:pt x="22408" y="4507"/>
                  </a:lnTo>
                  <a:lnTo>
                    <a:pt x="22396" y="4507"/>
                  </a:lnTo>
                  <a:lnTo>
                    <a:pt x="22396" y="4500"/>
                  </a:lnTo>
                  <a:lnTo>
                    <a:pt x="22413" y="4491"/>
                  </a:lnTo>
                  <a:lnTo>
                    <a:pt x="22413" y="4491"/>
                  </a:lnTo>
                  <a:lnTo>
                    <a:pt x="22413" y="4491"/>
                  </a:lnTo>
                  <a:close/>
                  <a:moveTo>
                    <a:pt x="22370" y="4524"/>
                  </a:moveTo>
                  <a:lnTo>
                    <a:pt x="22370" y="4528"/>
                  </a:lnTo>
                  <a:lnTo>
                    <a:pt x="22358" y="4524"/>
                  </a:lnTo>
                  <a:lnTo>
                    <a:pt x="22370" y="4524"/>
                  </a:lnTo>
                  <a:lnTo>
                    <a:pt x="22370" y="4524"/>
                  </a:lnTo>
                  <a:lnTo>
                    <a:pt x="22370" y="4524"/>
                  </a:lnTo>
                  <a:close/>
                  <a:moveTo>
                    <a:pt x="21366" y="4566"/>
                  </a:moveTo>
                  <a:lnTo>
                    <a:pt x="21359" y="4566"/>
                  </a:lnTo>
                  <a:lnTo>
                    <a:pt x="21366" y="4562"/>
                  </a:lnTo>
                  <a:lnTo>
                    <a:pt x="21366" y="4566"/>
                  </a:lnTo>
                  <a:lnTo>
                    <a:pt x="21366" y="4566"/>
                  </a:lnTo>
                  <a:lnTo>
                    <a:pt x="21366" y="456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3" name="Freeform 544">
              <a:extLst>
                <a:ext uri="{FF2B5EF4-FFF2-40B4-BE49-F238E27FC236}">
                  <a16:creationId xmlns:a16="http://schemas.microsoft.com/office/drawing/2014/main" id="{6B77BA77-F70A-452B-BDCC-9FED6F286829}"/>
                </a:ext>
              </a:extLst>
            </p:cNvPr>
            <p:cNvSpPr>
              <a:spLocks/>
            </p:cNvSpPr>
            <p:nvPr/>
          </p:nvSpPr>
          <p:spPr bwMode="gray">
            <a:xfrm>
              <a:off x="14405632" y="4138298"/>
              <a:ext cx="47131" cy="41239"/>
            </a:xfrm>
            <a:custGeom>
              <a:avLst/>
              <a:gdLst>
                <a:gd name="T0" fmla="*/ 16 w 144"/>
                <a:gd name="T1" fmla="*/ 126 h 126"/>
                <a:gd name="T2" fmla="*/ 9 w 144"/>
                <a:gd name="T3" fmla="*/ 119 h 126"/>
                <a:gd name="T4" fmla="*/ 0 w 144"/>
                <a:gd name="T5" fmla="*/ 97 h 126"/>
                <a:gd name="T6" fmla="*/ 21 w 144"/>
                <a:gd name="T7" fmla="*/ 88 h 126"/>
                <a:gd name="T8" fmla="*/ 21 w 144"/>
                <a:gd name="T9" fmla="*/ 64 h 126"/>
                <a:gd name="T10" fmla="*/ 30 w 144"/>
                <a:gd name="T11" fmla="*/ 43 h 126"/>
                <a:gd name="T12" fmla="*/ 54 w 144"/>
                <a:gd name="T13" fmla="*/ 26 h 126"/>
                <a:gd name="T14" fmla="*/ 68 w 144"/>
                <a:gd name="T15" fmla="*/ 26 h 126"/>
                <a:gd name="T16" fmla="*/ 85 w 144"/>
                <a:gd name="T17" fmla="*/ 34 h 126"/>
                <a:gd name="T18" fmla="*/ 106 w 144"/>
                <a:gd name="T19" fmla="*/ 0 h 126"/>
                <a:gd name="T20" fmla="*/ 118 w 144"/>
                <a:gd name="T21" fmla="*/ 0 h 126"/>
                <a:gd name="T22" fmla="*/ 122 w 144"/>
                <a:gd name="T23" fmla="*/ 26 h 126"/>
                <a:gd name="T24" fmla="*/ 129 w 144"/>
                <a:gd name="T25" fmla="*/ 34 h 126"/>
                <a:gd name="T26" fmla="*/ 139 w 144"/>
                <a:gd name="T27" fmla="*/ 50 h 126"/>
                <a:gd name="T28" fmla="*/ 139 w 144"/>
                <a:gd name="T29" fmla="*/ 64 h 126"/>
                <a:gd name="T30" fmla="*/ 144 w 144"/>
                <a:gd name="T31" fmla="*/ 71 h 126"/>
                <a:gd name="T32" fmla="*/ 139 w 144"/>
                <a:gd name="T33" fmla="*/ 97 h 126"/>
                <a:gd name="T34" fmla="*/ 122 w 144"/>
                <a:gd name="T35" fmla="*/ 97 h 126"/>
                <a:gd name="T36" fmla="*/ 106 w 144"/>
                <a:gd name="T37" fmla="*/ 97 h 126"/>
                <a:gd name="T38" fmla="*/ 92 w 144"/>
                <a:gd name="T39" fmla="*/ 104 h 126"/>
                <a:gd name="T40" fmla="*/ 75 w 144"/>
                <a:gd name="T41" fmla="*/ 97 h 126"/>
                <a:gd name="T42" fmla="*/ 68 w 144"/>
                <a:gd name="T43" fmla="*/ 126 h 126"/>
                <a:gd name="T44" fmla="*/ 37 w 144"/>
                <a:gd name="T45" fmla="*/ 126 h 126"/>
                <a:gd name="T46" fmla="*/ 37 w 144"/>
                <a:gd name="T47" fmla="*/ 119 h 126"/>
                <a:gd name="T48" fmla="*/ 21 w 144"/>
                <a:gd name="T49" fmla="*/ 109 h 126"/>
                <a:gd name="T50" fmla="*/ 16 w 144"/>
                <a:gd name="T51" fmla="*/ 109 h 126"/>
                <a:gd name="T52" fmla="*/ 16 w 144"/>
                <a:gd name="T53" fmla="*/ 126 h 126"/>
                <a:gd name="T54" fmla="*/ 16 w 144"/>
                <a:gd name="T55" fmla="*/ 126 h 126"/>
                <a:gd name="T56" fmla="*/ 16 w 144"/>
                <a:gd name="T5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26">
                  <a:moveTo>
                    <a:pt x="16" y="126"/>
                  </a:moveTo>
                  <a:lnTo>
                    <a:pt x="9" y="119"/>
                  </a:lnTo>
                  <a:lnTo>
                    <a:pt x="0" y="97"/>
                  </a:lnTo>
                  <a:lnTo>
                    <a:pt x="21" y="88"/>
                  </a:lnTo>
                  <a:lnTo>
                    <a:pt x="21" y="64"/>
                  </a:lnTo>
                  <a:lnTo>
                    <a:pt x="30" y="43"/>
                  </a:lnTo>
                  <a:lnTo>
                    <a:pt x="54" y="26"/>
                  </a:lnTo>
                  <a:lnTo>
                    <a:pt x="68" y="26"/>
                  </a:lnTo>
                  <a:lnTo>
                    <a:pt x="85" y="34"/>
                  </a:lnTo>
                  <a:lnTo>
                    <a:pt x="106" y="0"/>
                  </a:lnTo>
                  <a:lnTo>
                    <a:pt x="118" y="0"/>
                  </a:lnTo>
                  <a:lnTo>
                    <a:pt x="122" y="26"/>
                  </a:lnTo>
                  <a:lnTo>
                    <a:pt x="129" y="34"/>
                  </a:lnTo>
                  <a:lnTo>
                    <a:pt x="139" y="50"/>
                  </a:lnTo>
                  <a:lnTo>
                    <a:pt x="139" y="64"/>
                  </a:lnTo>
                  <a:lnTo>
                    <a:pt x="144" y="71"/>
                  </a:lnTo>
                  <a:lnTo>
                    <a:pt x="139" y="97"/>
                  </a:lnTo>
                  <a:lnTo>
                    <a:pt x="122" y="97"/>
                  </a:lnTo>
                  <a:lnTo>
                    <a:pt x="106" y="97"/>
                  </a:lnTo>
                  <a:lnTo>
                    <a:pt x="92" y="104"/>
                  </a:lnTo>
                  <a:lnTo>
                    <a:pt x="75" y="97"/>
                  </a:lnTo>
                  <a:lnTo>
                    <a:pt x="68" y="126"/>
                  </a:lnTo>
                  <a:lnTo>
                    <a:pt x="37" y="126"/>
                  </a:lnTo>
                  <a:lnTo>
                    <a:pt x="37" y="119"/>
                  </a:lnTo>
                  <a:lnTo>
                    <a:pt x="21" y="109"/>
                  </a:lnTo>
                  <a:lnTo>
                    <a:pt x="16" y="109"/>
                  </a:lnTo>
                  <a:lnTo>
                    <a:pt x="16" y="126"/>
                  </a:lnTo>
                  <a:lnTo>
                    <a:pt x="16" y="126"/>
                  </a:lnTo>
                  <a:lnTo>
                    <a:pt x="16" y="12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4" name="Freeform 545">
              <a:extLst>
                <a:ext uri="{FF2B5EF4-FFF2-40B4-BE49-F238E27FC236}">
                  <a16:creationId xmlns:a16="http://schemas.microsoft.com/office/drawing/2014/main" id="{955BC94C-C83B-4D5C-A5EE-0CA966C6B64E}"/>
                </a:ext>
              </a:extLst>
            </p:cNvPr>
            <p:cNvSpPr>
              <a:spLocks noEditPoints="1"/>
            </p:cNvSpPr>
            <p:nvPr/>
          </p:nvSpPr>
          <p:spPr bwMode="gray">
            <a:xfrm>
              <a:off x="14536223" y="3328239"/>
              <a:ext cx="485381" cy="414358"/>
            </a:xfrm>
            <a:custGeom>
              <a:avLst/>
              <a:gdLst>
                <a:gd name="T0" fmla="*/ 997 w 1483"/>
                <a:gd name="T1" fmla="*/ 1070 h 1266"/>
                <a:gd name="T2" fmla="*/ 694 w 1483"/>
                <a:gd name="T3" fmla="*/ 1139 h 1266"/>
                <a:gd name="T4" fmla="*/ 619 w 1483"/>
                <a:gd name="T5" fmla="*/ 1127 h 1266"/>
                <a:gd name="T6" fmla="*/ 609 w 1483"/>
                <a:gd name="T7" fmla="*/ 1193 h 1266"/>
                <a:gd name="T8" fmla="*/ 581 w 1483"/>
                <a:gd name="T9" fmla="*/ 1209 h 1266"/>
                <a:gd name="T10" fmla="*/ 567 w 1483"/>
                <a:gd name="T11" fmla="*/ 1172 h 1266"/>
                <a:gd name="T12" fmla="*/ 550 w 1483"/>
                <a:gd name="T13" fmla="*/ 1127 h 1266"/>
                <a:gd name="T14" fmla="*/ 475 w 1483"/>
                <a:gd name="T15" fmla="*/ 1044 h 1266"/>
                <a:gd name="T16" fmla="*/ 463 w 1483"/>
                <a:gd name="T17" fmla="*/ 1011 h 1266"/>
                <a:gd name="T18" fmla="*/ 441 w 1483"/>
                <a:gd name="T19" fmla="*/ 971 h 1266"/>
                <a:gd name="T20" fmla="*/ 378 w 1483"/>
                <a:gd name="T21" fmla="*/ 921 h 1266"/>
                <a:gd name="T22" fmla="*/ 323 w 1483"/>
                <a:gd name="T23" fmla="*/ 860 h 1266"/>
                <a:gd name="T24" fmla="*/ 312 w 1483"/>
                <a:gd name="T25" fmla="*/ 805 h 1266"/>
                <a:gd name="T26" fmla="*/ 278 w 1483"/>
                <a:gd name="T27" fmla="*/ 654 h 1266"/>
                <a:gd name="T28" fmla="*/ 189 w 1483"/>
                <a:gd name="T29" fmla="*/ 572 h 1266"/>
                <a:gd name="T30" fmla="*/ 172 w 1483"/>
                <a:gd name="T31" fmla="*/ 510 h 1266"/>
                <a:gd name="T32" fmla="*/ 156 w 1483"/>
                <a:gd name="T33" fmla="*/ 489 h 1266"/>
                <a:gd name="T34" fmla="*/ 47 w 1483"/>
                <a:gd name="T35" fmla="*/ 326 h 1266"/>
                <a:gd name="T36" fmla="*/ 0 w 1483"/>
                <a:gd name="T37" fmla="*/ 321 h 1266"/>
                <a:gd name="T38" fmla="*/ 106 w 1483"/>
                <a:gd name="T39" fmla="*/ 239 h 1266"/>
                <a:gd name="T40" fmla="*/ 210 w 1483"/>
                <a:gd name="T41" fmla="*/ 177 h 1266"/>
                <a:gd name="T42" fmla="*/ 172 w 1483"/>
                <a:gd name="T43" fmla="*/ 50 h 1266"/>
                <a:gd name="T44" fmla="*/ 408 w 1483"/>
                <a:gd name="T45" fmla="*/ 17 h 1266"/>
                <a:gd name="T46" fmla="*/ 718 w 1483"/>
                <a:gd name="T47" fmla="*/ 239 h 1266"/>
                <a:gd name="T48" fmla="*/ 928 w 1483"/>
                <a:gd name="T49" fmla="*/ 288 h 1266"/>
                <a:gd name="T50" fmla="*/ 987 w 1483"/>
                <a:gd name="T51" fmla="*/ 326 h 1266"/>
                <a:gd name="T52" fmla="*/ 1004 w 1483"/>
                <a:gd name="T53" fmla="*/ 345 h 1266"/>
                <a:gd name="T54" fmla="*/ 1034 w 1483"/>
                <a:gd name="T55" fmla="*/ 378 h 1266"/>
                <a:gd name="T56" fmla="*/ 1051 w 1483"/>
                <a:gd name="T57" fmla="*/ 387 h 1266"/>
                <a:gd name="T58" fmla="*/ 1089 w 1483"/>
                <a:gd name="T59" fmla="*/ 432 h 1266"/>
                <a:gd name="T60" fmla="*/ 1105 w 1483"/>
                <a:gd name="T61" fmla="*/ 461 h 1266"/>
                <a:gd name="T62" fmla="*/ 1089 w 1483"/>
                <a:gd name="T63" fmla="*/ 489 h 1266"/>
                <a:gd name="T64" fmla="*/ 1122 w 1483"/>
                <a:gd name="T65" fmla="*/ 531 h 1266"/>
                <a:gd name="T66" fmla="*/ 1143 w 1483"/>
                <a:gd name="T67" fmla="*/ 583 h 1266"/>
                <a:gd name="T68" fmla="*/ 1176 w 1483"/>
                <a:gd name="T69" fmla="*/ 588 h 1266"/>
                <a:gd name="T70" fmla="*/ 1186 w 1483"/>
                <a:gd name="T71" fmla="*/ 600 h 1266"/>
                <a:gd name="T72" fmla="*/ 1197 w 1483"/>
                <a:gd name="T73" fmla="*/ 626 h 1266"/>
                <a:gd name="T74" fmla="*/ 1450 w 1483"/>
                <a:gd name="T75" fmla="*/ 737 h 1266"/>
                <a:gd name="T76" fmla="*/ 1436 w 1483"/>
                <a:gd name="T77" fmla="*/ 938 h 1266"/>
                <a:gd name="T78" fmla="*/ 9 w 1483"/>
                <a:gd name="T79" fmla="*/ 333 h 1266"/>
                <a:gd name="T80" fmla="*/ 0 w 1483"/>
                <a:gd name="T81" fmla="*/ 326 h 1266"/>
                <a:gd name="T82" fmla="*/ 1051 w 1483"/>
                <a:gd name="T83" fmla="*/ 383 h 1266"/>
                <a:gd name="T84" fmla="*/ 1051 w 1483"/>
                <a:gd name="T85" fmla="*/ 383 h 1266"/>
                <a:gd name="T86" fmla="*/ 517 w 1483"/>
                <a:gd name="T87" fmla="*/ 1172 h 1266"/>
                <a:gd name="T88" fmla="*/ 517 w 1483"/>
                <a:gd name="T89" fmla="*/ 1172 h 1266"/>
                <a:gd name="T90" fmla="*/ 517 w 1483"/>
                <a:gd name="T91" fmla="*/ 1172 h 1266"/>
                <a:gd name="T92" fmla="*/ 512 w 1483"/>
                <a:gd name="T93" fmla="*/ 1181 h 1266"/>
                <a:gd name="T94" fmla="*/ 529 w 1483"/>
                <a:gd name="T95" fmla="*/ 1181 h 1266"/>
                <a:gd name="T96" fmla="*/ 534 w 1483"/>
                <a:gd name="T97" fmla="*/ 1200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3" h="1266">
                  <a:moveTo>
                    <a:pt x="1436" y="938"/>
                  </a:moveTo>
                  <a:lnTo>
                    <a:pt x="1230" y="1016"/>
                  </a:lnTo>
                  <a:lnTo>
                    <a:pt x="997" y="1070"/>
                  </a:lnTo>
                  <a:lnTo>
                    <a:pt x="824" y="1266"/>
                  </a:lnTo>
                  <a:lnTo>
                    <a:pt x="824" y="1193"/>
                  </a:lnTo>
                  <a:lnTo>
                    <a:pt x="694" y="1139"/>
                  </a:lnTo>
                  <a:lnTo>
                    <a:pt x="656" y="1143"/>
                  </a:lnTo>
                  <a:lnTo>
                    <a:pt x="635" y="1127"/>
                  </a:lnTo>
                  <a:lnTo>
                    <a:pt x="619" y="1127"/>
                  </a:lnTo>
                  <a:lnTo>
                    <a:pt x="609" y="1139"/>
                  </a:lnTo>
                  <a:lnTo>
                    <a:pt x="604" y="1172"/>
                  </a:lnTo>
                  <a:lnTo>
                    <a:pt x="609" y="1193"/>
                  </a:lnTo>
                  <a:lnTo>
                    <a:pt x="604" y="1193"/>
                  </a:lnTo>
                  <a:lnTo>
                    <a:pt x="593" y="1200"/>
                  </a:lnTo>
                  <a:lnTo>
                    <a:pt x="581" y="1209"/>
                  </a:lnTo>
                  <a:lnTo>
                    <a:pt x="581" y="1193"/>
                  </a:lnTo>
                  <a:lnTo>
                    <a:pt x="567" y="1176"/>
                  </a:lnTo>
                  <a:lnTo>
                    <a:pt x="567" y="1172"/>
                  </a:lnTo>
                  <a:lnTo>
                    <a:pt x="555" y="1155"/>
                  </a:lnTo>
                  <a:lnTo>
                    <a:pt x="550" y="1160"/>
                  </a:lnTo>
                  <a:lnTo>
                    <a:pt x="550" y="1127"/>
                  </a:lnTo>
                  <a:lnTo>
                    <a:pt x="500" y="1098"/>
                  </a:lnTo>
                  <a:lnTo>
                    <a:pt x="484" y="1061"/>
                  </a:lnTo>
                  <a:lnTo>
                    <a:pt x="475" y="1044"/>
                  </a:lnTo>
                  <a:lnTo>
                    <a:pt x="475" y="1028"/>
                  </a:lnTo>
                  <a:lnTo>
                    <a:pt x="463" y="1016"/>
                  </a:lnTo>
                  <a:lnTo>
                    <a:pt x="463" y="1011"/>
                  </a:lnTo>
                  <a:lnTo>
                    <a:pt x="458" y="1004"/>
                  </a:lnTo>
                  <a:lnTo>
                    <a:pt x="446" y="987"/>
                  </a:lnTo>
                  <a:lnTo>
                    <a:pt x="441" y="971"/>
                  </a:lnTo>
                  <a:lnTo>
                    <a:pt x="441" y="959"/>
                  </a:lnTo>
                  <a:lnTo>
                    <a:pt x="392" y="921"/>
                  </a:lnTo>
                  <a:lnTo>
                    <a:pt x="378" y="921"/>
                  </a:lnTo>
                  <a:lnTo>
                    <a:pt x="366" y="905"/>
                  </a:lnTo>
                  <a:lnTo>
                    <a:pt x="349" y="883"/>
                  </a:lnTo>
                  <a:lnTo>
                    <a:pt x="323" y="860"/>
                  </a:lnTo>
                  <a:lnTo>
                    <a:pt x="323" y="843"/>
                  </a:lnTo>
                  <a:lnTo>
                    <a:pt x="323" y="827"/>
                  </a:lnTo>
                  <a:lnTo>
                    <a:pt x="312" y="805"/>
                  </a:lnTo>
                  <a:lnTo>
                    <a:pt x="323" y="765"/>
                  </a:lnTo>
                  <a:lnTo>
                    <a:pt x="316" y="749"/>
                  </a:lnTo>
                  <a:lnTo>
                    <a:pt x="278" y="654"/>
                  </a:lnTo>
                  <a:lnTo>
                    <a:pt x="257" y="638"/>
                  </a:lnTo>
                  <a:lnTo>
                    <a:pt x="203" y="609"/>
                  </a:lnTo>
                  <a:lnTo>
                    <a:pt x="189" y="572"/>
                  </a:lnTo>
                  <a:lnTo>
                    <a:pt x="193" y="572"/>
                  </a:lnTo>
                  <a:lnTo>
                    <a:pt x="189" y="548"/>
                  </a:lnTo>
                  <a:lnTo>
                    <a:pt x="172" y="510"/>
                  </a:lnTo>
                  <a:lnTo>
                    <a:pt x="156" y="498"/>
                  </a:lnTo>
                  <a:lnTo>
                    <a:pt x="151" y="494"/>
                  </a:lnTo>
                  <a:lnTo>
                    <a:pt x="156" y="489"/>
                  </a:lnTo>
                  <a:lnTo>
                    <a:pt x="139" y="477"/>
                  </a:lnTo>
                  <a:lnTo>
                    <a:pt x="118" y="437"/>
                  </a:lnTo>
                  <a:lnTo>
                    <a:pt x="47" y="326"/>
                  </a:lnTo>
                  <a:lnTo>
                    <a:pt x="14" y="321"/>
                  </a:lnTo>
                  <a:lnTo>
                    <a:pt x="9" y="326"/>
                  </a:lnTo>
                  <a:lnTo>
                    <a:pt x="0" y="321"/>
                  </a:lnTo>
                  <a:lnTo>
                    <a:pt x="14" y="288"/>
                  </a:lnTo>
                  <a:lnTo>
                    <a:pt x="30" y="222"/>
                  </a:lnTo>
                  <a:lnTo>
                    <a:pt x="106" y="239"/>
                  </a:lnTo>
                  <a:lnTo>
                    <a:pt x="139" y="215"/>
                  </a:lnTo>
                  <a:lnTo>
                    <a:pt x="156" y="182"/>
                  </a:lnTo>
                  <a:lnTo>
                    <a:pt x="210" y="177"/>
                  </a:lnTo>
                  <a:lnTo>
                    <a:pt x="215" y="144"/>
                  </a:lnTo>
                  <a:lnTo>
                    <a:pt x="241" y="139"/>
                  </a:lnTo>
                  <a:lnTo>
                    <a:pt x="172" y="50"/>
                  </a:lnTo>
                  <a:lnTo>
                    <a:pt x="316" y="9"/>
                  </a:lnTo>
                  <a:lnTo>
                    <a:pt x="323" y="0"/>
                  </a:lnTo>
                  <a:lnTo>
                    <a:pt x="408" y="17"/>
                  </a:lnTo>
                  <a:lnTo>
                    <a:pt x="484" y="66"/>
                  </a:lnTo>
                  <a:lnTo>
                    <a:pt x="534" y="83"/>
                  </a:lnTo>
                  <a:lnTo>
                    <a:pt x="718" y="239"/>
                  </a:lnTo>
                  <a:lnTo>
                    <a:pt x="841" y="239"/>
                  </a:lnTo>
                  <a:lnTo>
                    <a:pt x="907" y="250"/>
                  </a:lnTo>
                  <a:lnTo>
                    <a:pt x="928" y="288"/>
                  </a:lnTo>
                  <a:lnTo>
                    <a:pt x="971" y="288"/>
                  </a:lnTo>
                  <a:lnTo>
                    <a:pt x="982" y="288"/>
                  </a:lnTo>
                  <a:lnTo>
                    <a:pt x="987" y="326"/>
                  </a:lnTo>
                  <a:lnTo>
                    <a:pt x="1004" y="345"/>
                  </a:lnTo>
                  <a:lnTo>
                    <a:pt x="1004" y="350"/>
                  </a:lnTo>
                  <a:lnTo>
                    <a:pt x="1004" y="345"/>
                  </a:lnTo>
                  <a:lnTo>
                    <a:pt x="1004" y="361"/>
                  </a:lnTo>
                  <a:lnTo>
                    <a:pt x="1034" y="366"/>
                  </a:lnTo>
                  <a:lnTo>
                    <a:pt x="1034" y="378"/>
                  </a:lnTo>
                  <a:lnTo>
                    <a:pt x="1025" y="378"/>
                  </a:lnTo>
                  <a:lnTo>
                    <a:pt x="1041" y="399"/>
                  </a:lnTo>
                  <a:lnTo>
                    <a:pt x="1051" y="387"/>
                  </a:lnTo>
                  <a:lnTo>
                    <a:pt x="1067" y="404"/>
                  </a:lnTo>
                  <a:lnTo>
                    <a:pt x="1096" y="437"/>
                  </a:lnTo>
                  <a:lnTo>
                    <a:pt x="1089" y="432"/>
                  </a:lnTo>
                  <a:lnTo>
                    <a:pt x="1089" y="444"/>
                  </a:lnTo>
                  <a:lnTo>
                    <a:pt x="1096" y="456"/>
                  </a:lnTo>
                  <a:lnTo>
                    <a:pt x="1105" y="461"/>
                  </a:lnTo>
                  <a:lnTo>
                    <a:pt x="1096" y="477"/>
                  </a:lnTo>
                  <a:lnTo>
                    <a:pt x="1089" y="472"/>
                  </a:lnTo>
                  <a:lnTo>
                    <a:pt x="1089" y="489"/>
                  </a:lnTo>
                  <a:lnTo>
                    <a:pt x="1105" y="515"/>
                  </a:lnTo>
                  <a:lnTo>
                    <a:pt x="1096" y="510"/>
                  </a:lnTo>
                  <a:lnTo>
                    <a:pt x="1122" y="531"/>
                  </a:lnTo>
                  <a:lnTo>
                    <a:pt x="1126" y="555"/>
                  </a:lnTo>
                  <a:lnTo>
                    <a:pt x="1143" y="583"/>
                  </a:lnTo>
                  <a:lnTo>
                    <a:pt x="1143" y="583"/>
                  </a:lnTo>
                  <a:lnTo>
                    <a:pt x="1148" y="600"/>
                  </a:lnTo>
                  <a:lnTo>
                    <a:pt x="1176" y="588"/>
                  </a:lnTo>
                  <a:lnTo>
                    <a:pt x="1176" y="588"/>
                  </a:lnTo>
                  <a:lnTo>
                    <a:pt x="1176" y="600"/>
                  </a:lnTo>
                  <a:lnTo>
                    <a:pt x="1181" y="588"/>
                  </a:lnTo>
                  <a:lnTo>
                    <a:pt x="1186" y="600"/>
                  </a:lnTo>
                  <a:lnTo>
                    <a:pt x="1176" y="609"/>
                  </a:lnTo>
                  <a:lnTo>
                    <a:pt x="1197" y="621"/>
                  </a:lnTo>
                  <a:lnTo>
                    <a:pt x="1197" y="626"/>
                  </a:lnTo>
                  <a:lnTo>
                    <a:pt x="1268" y="716"/>
                  </a:lnTo>
                  <a:lnTo>
                    <a:pt x="1445" y="737"/>
                  </a:lnTo>
                  <a:lnTo>
                    <a:pt x="1450" y="737"/>
                  </a:lnTo>
                  <a:lnTo>
                    <a:pt x="1483" y="789"/>
                  </a:lnTo>
                  <a:lnTo>
                    <a:pt x="1436" y="938"/>
                  </a:lnTo>
                  <a:lnTo>
                    <a:pt x="1436" y="938"/>
                  </a:lnTo>
                  <a:lnTo>
                    <a:pt x="1436" y="938"/>
                  </a:lnTo>
                  <a:close/>
                  <a:moveTo>
                    <a:pt x="0" y="326"/>
                  </a:moveTo>
                  <a:lnTo>
                    <a:pt x="9" y="333"/>
                  </a:lnTo>
                  <a:lnTo>
                    <a:pt x="0" y="333"/>
                  </a:lnTo>
                  <a:lnTo>
                    <a:pt x="0" y="326"/>
                  </a:lnTo>
                  <a:lnTo>
                    <a:pt x="0" y="326"/>
                  </a:lnTo>
                  <a:lnTo>
                    <a:pt x="0" y="326"/>
                  </a:lnTo>
                  <a:close/>
                  <a:moveTo>
                    <a:pt x="1051" y="383"/>
                  </a:moveTo>
                  <a:lnTo>
                    <a:pt x="1051" y="383"/>
                  </a:lnTo>
                  <a:lnTo>
                    <a:pt x="1058" y="383"/>
                  </a:lnTo>
                  <a:lnTo>
                    <a:pt x="1051" y="383"/>
                  </a:lnTo>
                  <a:lnTo>
                    <a:pt x="1051" y="383"/>
                  </a:lnTo>
                  <a:lnTo>
                    <a:pt x="1051" y="383"/>
                  </a:lnTo>
                  <a:close/>
                  <a:moveTo>
                    <a:pt x="517" y="1172"/>
                  </a:moveTo>
                  <a:lnTo>
                    <a:pt x="517" y="1172"/>
                  </a:lnTo>
                  <a:lnTo>
                    <a:pt x="529" y="1181"/>
                  </a:lnTo>
                  <a:lnTo>
                    <a:pt x="512" y="1176"/>
                  </a:lnTo>
                  <a:lnTo>
                    <a:pt x="517" y="1172"/>
                  </a:lnTo>
                  <a:lnTo>
                    <a:pt x="517" y="1172"/>
                  </a:lnTo>
                  <a:lnTo>
                    <a:pt x="517" y="1172"/>
                  </a:lnTo>
                  <a:lnTo>
                    <a:pt x="517" y="1172"/>
                  </a:lnTo>
                  <a:close/>
                  <a:moveTo>
                    <a:pt x="534" y="1200"/>
                  </a:moveTo>
                  <a:lnTo>
                    <a:pt x="534" y="1193"/>
                  </a:lnTo>
                  <a:lnTo>
                    <a:pt x="512" y="1181"/>
                  </a:lnTo>
                  <a:lnTo>
                    <a:pt x="512" y="1176"/>
                  </a:lnTo>
                  <a:lnTo>
                    <a:pt x="517" y="1181"/>
                  </a:lnTo>
                  <a:lnTo>
                    <a:pt x="529" y="1181"/>
                  </a:lnTo>
                  <a:lnTo>
                    <a:pt x="529" y="1181"/>
                  </a:lnTo>
                  <a:lnTo>
                    <a:pt x="534" y="1176"/>
                  </a:lnTo>
                  <a:lnTo>
                    <a:pt x="534" y="1200"/>
                  </a:lnTo>
                  <a:lnTo>
                    <a:pt x="534" y="1200"/>
                  </a:lnTo>
                  <a:lnTo>
                    <a:pt x="534" y="120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5" name="Freeform 546">
              <a:extLst>
                <a:ext uri="{FF2B5EF4-FFF2-40B4-BE49-F238E27FC236}">
                  <a16:creationId xmlns:a16="http://schemas.microsoft.com/office/drawing/2014/main" id="{1358B7B1-65A9-4056-90C5-2E68B70D70D2}"/>
                </a:ext>
              </a:extLst>
            </p:cNvPr>
            <p:cNvSpPr>
              <a:spLocks/>
            </p:cNvSpPr>
            <p:nvPr/>
          </p:nvSpPr>
          <p:spPr bwMode="gray">
            <a:xfrm>
              <a:off x="12448725" y="2915518"/>
              <a:ext cx="5237" cy="6873"/>
            </a:xfrm>
            <a:custGeom>
              <a:avLst/>
              <a:gdLst>
                <a:gd name="T0" fmla="*/ 5 w 16"/>
                <a:gd name="T1" fmla="*/ 0 h 21"/>
                <a:gd name="T2" fmla="*/ 5 w 16"/>
                <a:gd name="T3" fmla="*/ 4 h 21"/>
                <a:gd name="T4" fmla="*/ 5 w 16"/>
                <a:gd name="T5" fmla="*/ 4 h 21"/>
                <a:gd name="T6" fmla="*/ 16 w 16"/>
                <a:gd name="T7" fmla="*/ 21 h 21"/>
                <a:gd name="T8" fmla="*/ 5 w 16"/>
                <a:gd name="T9" fmla="*/ 21 h 21"/>
                <a:gd name="T10" fmla="*/ 0 w 16"/>
                <a:gd name="T11" fmla="*/ 0 h 21"/>
                <a:gd name="T12" fmla="*/ 5 w 16"/>
                <a:gd name="T13" fmla="*/ 0 h 21"/>
                <a:gd name="T14" fmla="*/ 5 w 16"/>
                <a:gd name="T15" fmla="*/ 0 h 21"/>
                <a:gd name="T16" fmla="*/ 5 w 16"/>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1">
                  <a:moveTo>
                    <a:pt x="5" y="0"/>
                  </a:moveTo>
                  <a:lnTo>
                    <a:pt x="5" y="4"/>
                  </a:lnTo>
                  <a:lnTo>
                    <a:pt x="5" y="4"/>
                  </a:lnTo>
                  <a:lnTo>
                    <a:pt x="16" y="21"/>
                  </a:lnTo>
                  <a:lnTo>
                    <a:pt x="5" y="21"/>
                  </a:lnTo>
                  <a:lnTo>
                    <a:pt x="0" y="0"/>
                  </a:lnTo>
                  <a:lnTo>
                    <a:pt x="5" y="0"/>
                  </a:lnTo>
                  <a:lnTo>
                    <a:pt x="5" y="0"/>
                  </a:lnTo>
                  <a:lnTo>
                    <a:pt x="5"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6" name="Freeform 547">
              <a:extLst>
                <a:ext uri="{FF2B5EF4-FFF2-40B4-BE49-F238E27FC236}">
                  <a16:creationId xmlns:a16="http://schemas.microsoft.com/office/drawing/2014/main" id="{EC338C28-C1AE-497B-9970-68DE66099BE2}"/>
                </a:ext>
              </a:extLst>
            </p:cNvPr>
            <p:cNvSpPr>
              <a:spLocks/>
            </p:cNvSpPr>
            <p:nvPr/>
          </p:nvSpPr>
          <p:spPr bwMode="gray">
            <a:xfrm>
              <a:off x="12302424" y="3700048"/>
              <a:ext cx="1636" cy="5564"/>
            </a:xfrm>
            <a:custGeom>
              <a:avLst/>
              <a:gdLst>
                <a:gd name="T0" fmla="*/ 5 w 5"/>
                <a:gd name="T1" fmla="*/ 17 h 17"/>
                <a:gd name="T2" fmla="*/ 0 w 5"/>
                <a:gd name="T3" fmla="*/ 0 h 17"/>
                <a:gd name="T4" fmla="*/ 5 w 5"/>
                <a:gd name="T5" fmla="*/ 0 h 17"/>
                <a:gd name="T6" fmla="*/ 5 w 5"/>
                <a:gd name="T7" fmla="*/ 17 h 17"/>
                <a:gd name="T8" fmla="*/ 5 w 5"/>
                <a:gd name="T9" fmla="*/ 17 h 17"/>
                <a:gd name="T10" fmla="*/ 5 w 5"/>
                <a:gd name="T11" fmla="*/ 17 h 17"/>
              </a:gdLst>
              <a:ahLst/>
              <a:cxnLst>
                <a:cxn ang="0">
                  <a:pos x="T0" y="T1"/>
                </a:cxn>
                <a:cxn ang="0">
                  <a:pos x="T2" y="T3"/>
                </a:cxn>
                <a:cxn ang="0">
                  <a:pos x="T4" y="T5"/>
                </a:cxn>
                <a:cxn ang="0">
                  <a:pos x="T6" y="T7"/>
                </a:cxn>
                <a:cxn ang="0">
                  <a:pos x="T8" y="T9"/>
                </a:cxn>
                <a:cxn ang="0">
                  <a:pos x="T10" y="T11"/>
                </a:cxn>
              </a:cxnLst>
              <a:rect l="0" t="0" r="r" b="b"/>
              <a:pathLst>
                <a:path w="5" h="17">
                  <a:moveTo>
                    <a:pt x="5" y="17"/>
                  </a:moveTo>
                  <a:lnTo>
                    <a:pt x="0" y="0"/>
                  </a:lnTo>
                  <a:lnTo>
                    <a:pt x="5" y="0"/>
                  </a:lnTo>
                  <a:lnTo>
                    <a:pt x="5" y="17"/>
                  </a:lnTo>
                  <a:lnTo>
                    <a:pt x="5" y="17"/>
                  </a:lnTo>
                  <a:lnTo>
                    <a:pt x="5" y="1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7" name="Freeform 548">
              <a:extLst>
                <a:ext uri="{FF2B5EF4-FFF2-40B4-BE49-F238E27FC236}">
                  <a16:creationId xmlns:a16="http://schemas.microsoft.com/office/drawing/2014/main" id="{3DF9AA38-96FB-4CDA-95CF-7F6C014AADC8}"/>
                </a:ext>
              </a:extLst>
            </p:cNvPr>
            <p:cNvSpPr>
              <a:spLocks noEditPoints="1"/>
            </p:cNvSpPr>
            <p:nvPr/>
          </p:nvSpPr>
          <p:spPr bwMode="gray">
            <a:xfrm>
              <a:off x="14805261" y="4221105"/>
              <a:ext cx="214052" cy="116845"/>
            </a:xfrm>
            <a:custGeom>
              <a:avLst/>
              <a:gdLst>
                <a:gd name="T0" fmla="*/ 654 w 654"/>
                <a:gd name="T1" fmla="*/ 17 h 357"/>
                <a:gd name="T2" fmla="*/ 638 w 654"/>
                <a:gd name="T3" fmla="*/ 12 h 357"/>
                <a:gd name="T4" fmla="*/ 647 w 654"/>
                <a:gd name="T5" fmla="*/ 0 h 357"/>
                <a:gd name="T6" fmla="*/ 654 w 654"/>
                <a:gd name="T7" fmla="*/ 17 h 357"/>
                <a:gd name="T8" fmla="*/ 654 w 654"/>
                <a:gd name="T9" fmla="*/ 17 h 357"/>
                <a:gd name="T10" fmla="*/ 654 w 654"/>
                <a:gd name="T11" fmla="*/ 17 h 357"/>
                <a:gd name="T12" fmla="*/ 7 w 654"/>
                <a:gd name="T13" fmla="*/ 357 h 357"/>
                <a:gd name="T14" fmla="*/ 0 w 654"/>
                <a:gd name="T15" fmla="*/ 352 h 357"/>
                <a:gd name="T16" fmla="*/ 23 w 654"/>
                <a:gd name="T17" fmla="*/ 352 h 357"/>
                <a:gd name="T18" fmla="*/ 7 w 654"/>
                <a:gd name="T19" fmla="*/ 357 h 357"/>
                <a:gd name="T20" fmla="*/ 7 w 654"/>
                <a:gd name="T21" fmla="*/ 357 h 357"/>
                <a:gd name="T22" fmla="*/ 7 w 654"/>
                <a:gd name="T23"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4" h="357">
                  <a:moveTo>
                    <a:pt x="654" y="17"/>
                  </a:moveTo>
                  <a:lnTo>
                    <a:pt x="638" y="12"/>
                  </a:lnTo>
                  <a:lnTo>
                    <a:pt x="647" y="0"/>
                  </a:lnTo>
                  <a:lnTo>
                    <a:pt x="654" y="17"/>
                  </a:lnTo>
                  <a:lnTo>
                    <a:pt x="654" y="17"/>
                  </a:lnTo>
                  <a:lnTo>
                    <a:pt x="654" y="17"/>
                  </a:lnTo>
                  <a:close/>
                  <a:moveTo>
                    <a:pt x="7" y="357"/>
                  </a:moveTo>
                  <a:lnTo>
                    <a:pt x="0" y="352"/>
                  </a:lnTo>
                  <a:lnTo>
                    <a:pt x="23" y="352"/>
                  </a:lnTo>
                  <a:lnTo>
                    <a:pt x="7" y="357"/>
                  </a:lnTo>
                  <a:lnTo>
                    <a:pt x="7" y="357"/>
                  </a:lnTo>
                  <a:lnTo>
                    <a:pt x="7" y="35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8" name="Freeform 549">
              <a:extLst>
                <a:ext uri="{FF2B5EF4-FFF2-40B4-BE49-F238E27FC236}">
                  <a16:creationId xmlns:a16="http://schemas.microsoft.com/office/drawing/2014/main" id="{C3FAAA63-618A-4456-A5A2-729B65C9EB6C}"/>
                </a:ext>
              </a:extLst>
            </p:cNvPr>
            <p:cNvSpPr>
              <a:spLocks noEditPoints="1"/>
            </p:cNvSpPr>
            <p:nvPr/>
          </p:nvSpPr>
          <p:spPr bwMode="gray">
            <a:xfrm>
              <a:off x="14075390" y="4643972"/>
              <a:ext cx="538076" cy="665721"/>
            </a:xfrm>
            <a:custGeom>
              <a:avLst/>
              <a:gdLst>
                <a:gd name="T0" fmla="*/ 449 w 1644"/>
                <a:gd name="T1" fmla="*/ 289 h 2034"/>
                <a:gd name="T2" fmla="*/ 437 w 1644"/>
                <a:gd name="T3" fmla="*/ 355 h 2034"/>
                <a:gd name="T4" fmla="*/ 534 w 1644"/>
                <a:gd name="T5" fmla="*/ 350 h 2034"/>
                <a:gd name="T6" fmla="*/ 588 w 1644"/>
                <a:gd name="T7" fmla="*/ 260 h 2034"/>
                <a:gd name="T8" fmla="*/ 664 w 1644"/>
                <a:gd name="T9" fmla="*/ 272 h 2034"/>
                <a:gd name="T10" fmla="*/ 718 w 1644"/>
                <a:gd name="T11" fmla="*/ 289 h 2034"/>
                <a:gd name="T12" fmla="*/ 805 w 1644"/>
                <a:gd name="T13" fmla="*/ 199 h 2034"/>
                <a:gd name="T14" fmla="*/ 881 w 1644"/>
                <a:gd name="T15" fmla="*/ 123 h 2034"/>
                <a:gd name="T16" fmla="*/ 923 w 1644"/>
                <a:gd name="T17" fmla="*/ 90 h 2034"/>
                <a:gd name="T18" fmla="*/ 1020 w 1644"/>
                <a:gd name="T19" fmla="*/ 22 h 2034"/>
                <a:gd name="T20" fmla="*/ 1075 w 1644"/>
                <a:gd name="T21" fmla="*/ 0 h 2034"/>
                <a:gd name="T22" fmla="*/ 1188 w 1644"/>
                <a:gd name="T23" fmla="*/ 22 h 2034"/>
                <a:gd name="T24" fmla="*/ 1226 w 1644"/>
                <a:gd name="T25" fmla="*/ 144 h 2034"/>
                <a:gd name="T26" fmla="*/ 1226 w 1644"/>
                <a:gd name="T27" fmla="*/ 293 h 2034"/>
                <a:gd name="T28" fmla="*/ 1171 w 1644"/>
                <a:gd name="T29" fmla="*/ 293 h 2034"/>
                <a:gd name="T30" fmla="*/ 1157 w 1644"/>
                <a:gd name="T31" fmla="*/ 355 h 2034"/>
                <a:gd name="T32" fmla="*/ 1238 w 1644"/>
                <a:gd name="T33" fmla="*/ 400 h 2034"/>
                <a:gd name="T34" fmla="*/ 1297 w 1644"/>
                <a:gd name="T35" fmla="*/ 366 h 2034"/>
                <a:gd name="T36" fmla="*/ 1221 w 1644"/>
                <a:gd name="T37" fmla="*/ 522 h 2034"/>
                <a:gd name="T38" fmla="*/ 1167 w 1644"/>
                <a:gd name="T39" fmla="*/ 605 h 2034"/>
                <a:gd name="T40" fmla="*/ 990 w 1644"/>
                <a:gd name="T41" fmla="*/ 815 h 2034"/>
                <a:gd name="T42" fmla="*/ 848 w 1644"/>
                <a:gd name="T43" fmla="*/ 910 h 2034"/>
                <a:gd name="T44" fmla="*/ 794 w 1644"/>
                <a:gd name="T45" fmla="*/ 926 h 2034"/>
                <a:gd name="T46" fmla="*/ 734 w 1644"/>
                <a:gd name="T47" fmla="*/ 943 h 2034"/>
                <a:gd name="T48" fmla="*/ 626 w 1644"/>
                <a:gd name="T49" fmla="*/ 938 h 2034"/>
                <a:gd name="T50" fmla="*/ 517 w 1644"/>
                <a:gd name="T51" fmla="*/ 959 h 2034"/>
                <a:gd name="T52" fmla="*/ 453 w 1644"/>
                <a:gd name="T53" fmla="*/ 959 h 2034"/>
                <a:gd name="T54" fmla="*/ 394 w 1644"/>
                <a:gd name="T55" fmla="*/ 992 h 2034"/>
                <a:gd name="T56" fmla="*/ 345 w 1644"/>
                <a:gd name="T57" fmla="*/ 964 h 2034"/>
                <a:gd name="T58" fmla="*/ 307 w 1644"/>
                <a:gd name="T59" fmla="*/ 943 h 2034"/>
                <a:gd name="T60" fmla="*/ 286 w 1644"/>
                <a:gd name="T61" fmla="*/ 959 h 2034"/>
                <a:gd name="T62" fmla="*/ 286 w 1644"/>
                <a:gd name="T63" fmla="*/ 922 h 2034"/>
                <a:gd name="T64" fmla="*/ 248 w 1644"/>
                <a:gd name="T65" fmla="*/ 848 h 2034"/>
                <a:gd name="T66" fmla="*/ 260 w 1644"/>
                <a:gd name="T67" fmla="*/ 832 h 2034"/>
                <a:gd name="T68" fmla="*/ 269 w 1644"/>
                <a:gd name="T69" fmla="*/ 759 h 2034"/>
                <a:gd name="T70" fmla="*/ 151 w 1644"/>
                <a:gd name="T71" fmla="*/ 522 h 2034"/>
                <a:gd name="T72" fmla="*/ 168 w 1644"/>
                <a:gd name="T73" fmla="*/ 461 h 2034"/>
                <a:gd name="T74" fmla="*/ 205 w 1644"/>
                <a:gd name="T75" fmla="*/ 466 h 2034"/>
                <a:gd name="T76" fmla="*/ 222 w 1644"/>
                <a:gd name="T77" fmla="*/ 515 h 2034"/>
                <a:gd name="T78" fmla="*/ 302 w 1644"/>
                <a:gd name="T79" fmla="*/ 515 h 2034"/>
                <a:gd name="T80" fmla="*/ 340 w 1644"/>
                <a:gd name="T81" fmla="*/ 511 h 2034"/>
                <a:gd name="T82" fmla="*/ 394 w 1644"/>
                <a:gd name="T83" fmla="*/ 482 h 2034"/>
                <a:gd name="T84" fmla="*/ 394 w 1644"/>
                <a:gd name="T85" fmla="*/ 199 h 2034"/>
                <a:gd name="T86" fmla="*/ 966 w 1644"/>
                <a:gd name="T87" fmla="*/ 511 h 2034"/>
                <a:gd name="T88" fmla="*/ 886 w 1644"/>
                <a:gd name="T89" fmla="*/ 577 h 2034"/>
                <a:gd name="T90" fmla="*/ 935 w 1644"/>
                <a:gd name="T91" fmla="*/ 659 h 2034"/>
                <a:gd name="T92" fmla="*/ 1011 w 1644"/>
                <a:gd name="T93" fmla="*/ 622 h 2034"/>
                <a:gd name="T94" fmla="*/ 1042 w 1644"/>
                <a:gd name="T95" fmla="*/ 577 h 2034"/>
                <a:gd name="T96" fmla="*/ 1049 w 1644"/>
                <a:gd name="T97" fmla="*/ 539 h 2034"/>
                <a:gd name="T98" fmla="*/ 1011 w 1644"/>
                <a:gd name="T99" fmla="*/ 511 h 2034"/>
                <a:gd name="T100" fmla="*/ 21 w 1644"/>
                <a:gd name="T101" fmla="*/ 78 h 2034"/>
                <a:gd name="T102" fmla="*/ 0 w 1644"/>
                <a:gd name="T103" fmla="*/ 55 h 2034"/>
                <a:gd name="T104" fmla="*/ 5 w 1644"/>
                <a:gd name="T105" fmla="*/ 38 h 2034"/>
                <a:gd name="T106" fmla="*/ 1644 w 1644"/>
                <a:gd name="T107" fmla="*/ 2034 h 2034"/>
                <a:gd name="T108" fmla="*/ 1644 w 1644"/>
                <a:gd name="T109" fmla="*/ 2029 h 2034"/>
                <a:gd name="T110" fmla="*/ 1644 w 1644"/>
                <a:gd name="T111" fmla="*/ 2034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44" h="2034">
                  <a:moveTo>
                    <a:pt x="394" y="199"/>
                  </a:moveTo>
                  <a:lnTo>
                    <a:pt x="416" y="222"/>
                  </a:lnTo>
                  <a:lnTo>
                    <a:pt x="449" y="289"/>
                  </a:lnTo>
                  <a:lnTo>
                    <a:pt x="453" y="310"/>
                  </a:lnTo>
                  <a:lnTo>
                    <a:pt x="432" y="333"/>
                  </a:lnTo>
                  <a:lnTo>
                    <a:pt x="437" y="355"/>
                  </a:lnTo>
                  <a:lnTo>
                    <a:pt x="508" y="366"/>
                  </a:lnTo>
                  <a:lnTo>
                    <a:pt x="517" y="350"/>
                  </a:lnTo>
                  <a:lnTo>
                    <a:pt x="534" y="350"/>
                  </a:lnTo>
                  <a:lnTo>
                    <a:pt x="546" y="326"/>
                  </a:lnTo>
                  <a:lnTo>
                    <a:pt x="579" y="300"/>
                  </a:lnTo>
                  <a:lnTo>
                    <a:pt x="588" y="260"/>
                  </a:lnTo>
                  <a:lnTo>
                    <a:pt x="600" y="244"/>
                  </a:lnTo>
                  <a:lnTo>
                    <a:pt x="633" y="239"/>
                  </a:lnTo>
                  <a:lnTo>
                    <a:pt x="664" y="272"/>
                  </a:lnTo>
                  <a:lnTo>
                    <a:pt x="685" y="272"/>
                  </a:lnTo>
                  <a:lnTo>
                    <a:pt x="697" y="277"/>
                  </a:lnTo>
                  <a:lnTo>
                    <a:pt x="718" y="289"/>
                  </a:lnTo>
                  <a:lnTo>
                    <a:pt x="777" y="272"/>
                  </a:lnTo>
                  <a:lnTo>
                    <a:pt x="789" y="255"/>
                  </a:lnTo>
                  <a:lnTo>
                    <a:pt x="805" y="199"/>
                  </a:lnTo>
                  <a:lnTo>
                    <a:pt x="843" y="189"/>
                  </a:lnTo>
                  <a:lnTo>
                    <a:pt x="869" y="166"/>
                  </a:lnTo>
                  <a:lnTo>
                    <a:pt x="881" y="123"/>
                  </a:lnTo>
                  <a:lnTo>
                    <a:pt x="914" y="95"/>
                  </a:lnTo>
                  <a:lnTo>
                    <a:pt x="919" y="95"/>
                  </a:lnTo>
                  <a:lnTo>
                    <a:pt x="923" y="90"/>
                  </a:lnTo>
                  <a:lnTo>
                    <a:pt x="952" y="74"/>
                  </a:lnTo>
                  <a:lnTo>
                    <a:pt x="973" y="38"/>
                  </a:lnTo>
                  <a:lnTo>
                    <a:pt x="1020" y="22"/>
                  </a:lnTo>
                  <a:lnTo>
                    <a:pt x="1027" y="12"/>
                  </a:lnTo>
                  <a:lnTo>
                    <a:pt x="1049" y="12"/>
                  </a:lnTo>
                  <a:lnTo>
                    <a:pt x="1075" y="0"/>
                  </a:lnTo>
                  <a:lnTo>
                    <a:pt x="1120" y="17"/>
                  </a:lnTo>
                  <a:lnTo>
                    <a:pt x="1157" y="17"/>
                  </a:lnTo>
                  <a:lnTo>
                    <a:pt x="1188" y="22"/>
                  </a:lnTo>
                  <a:lnTo>
                    <a:pt x="1205" y="78"/>
                  </a:lnTo>
                  <a:lnTo>
                    <a:pt x="1205" y="107"/>
                  </a:lnTo>
                  <a:lnTo>
                    <a:pt x="1226" y="144"/>
                  </a:lnTo>
                  <a:lnTo>
                    <a:pt x="1238" y="178"/>
                  </a:lnTo>
                  <a:lnTo>
                    <a:pt x="1238" y="293"/>
                  </a:lnTo>
                  <a:lnTo>
                    <a:pt x="1226" y="293"/>
                  </a:lnTo>
                  <a:lnTo>
                    <a:pt x="1195" y="277"/>
                  </a:lnTo>
                  <a:lnTo>
                    <a:pt x="1188" y="277"/>
                  </a:lnTo>
                  <a:lnTo>
                    <a:pt x="1171" y="293"/>
                  </a:lnTo>
                  <a:lnTo>
                    <a:pt x="1150" y="326"/>
                  </a:lnTo>
                  <a:lnTo>
                    <a:pt x="1150" y="355"/>
                  </a:lnTo>
                  <a:lnTo>
                    <a:pt x="1157" y="355"/>
                  </a:lnTo>
                  <a:lnTo>
                    <a:pt x="1171" y="388"/>
                  </a:lnTo>
                  <a:lnTo>
                    <a:pt x="1205" y="400"/>
                  </a:lnTo>
                  <a:lnTo>
                    <a:pt x="1238" y="400"/>
                  </a:lnTo>
                  <a:lnTo>
                    <a:pt x="1238" y="355"/>
                  </a:lnTo>
                  <a:lnTo>
                    <a:pt x="1242" y="366"/>
                  </a:lnTo>
                  <a:lnTo>
                    <a:pt x="1297" y="366"/>
                  </a:lnTo>
                  <a:lnTo>
                    <a:pt x="1259" y="494"/>
                  </a:lnTo>
                  <a:lnTo>
                    <a:pt x="1238" y="522"/>
                  </a:lnTo>
                  <a:lnTo>
                    <a:pt x="1221" y="522"/>
                  </a:lnTo>
                  <a:lnTo>
                    <a:pt x="1188" y="565"/>
                  </a:lnTo>
                  <a:lnTo>
                    <a:pt x="1167" y="605"/>
                  </a:lnTo>
                  <a:lnTo>
                    <a:pt x="1167" y="605"/>
                  </a:lnTo>
                  <a:lnTo>
                    <a:pt x="1096" y="716"/>
                  </a:lnTo>
                  <a:lnTo>
                    <a:pt x="1049" y="742"/>
                  </a:lnTo>
                  <a:lnTo>
                    <a:pt x="990" y="815"/>
                  </a:lnTo>
                  <a:lnTo>
                    <a:pt x="952" y="848"/>
                  </a:lnTo>
                  <a:lnTo>
                    <a:pt x="886" y="886"/>
                  </a:lnTo>
                  <a:lnTo>
                    <a:pt x="848" y="910"/>
                  </a:lnTo>
                  <a:lnTo>
                    <a:pt x="794" y="910"/>
                  </a:lnTo>
                  <a:lnTo>
                    <a:pt x="789" y="922"/>
                  </a:lnTo>
                  <a:lnTo>
                    <a:pt x="794" y="926"/>
                  </a:lnTo>
                  <a:lnTo>
                    <a:pt x="739" y="926"/>
                  </a:lnTo>
                  <a:lnTo>
                    <a:pt x="739" y="926"/>
                  </a:lnTo>
                  <a:lnTo>
                    <a:pt x="734" y="943"/>
                  </a:lnTo>
                  <a:lnTo>
                    <a:pt x="647" y="926"/>
                  </a:lnTo>
                  <a:lnTo>
                    <a:pt x="633" y="926"/>
                  </a:lnTo>
                  <a:lnTo>
                    <a:pt x="626" y="938"/>
                  </a:lnTo>
                  <a:lnTo>
                    <a:pt x="572" y="926"/>
                  </a:lnTo>
                  <a:lnTo>
                    <a:pt x="541" y="938"/>
                  </a:lnTo>
                  <a:lnTo>
                    <a:pt x="517" y="959"/>
                  </a:lnTo>
                  <a:lnTo>
                    <a:pt x="503" y="959"/>
                  </a:lnTo>
                  <a:lnTo>
                    <a:pt x="486" y="959"/>
                  </a:lnTo>
                  <a:lnTo>
                    <a:pt x="453" y="959"/>
                  </a:lnTo>
                  <a:lnTo>
                    <a:pt x="449" y="964"/>
                  </a:lnTo>
                  <a:lnTo>
                    <a:pt x="427" y="964"/>
                  </a:lnTo>
                  <a:lnTo>
                    <a:pt x="394" y="992"/>
                  </a:lnTo>
                  <a:lnTo>
                    <a:pt x="373" y="992"/>
                  </a:lnTo>
                  <a:lnTo>
                    <a:pt x="345" y="976"/>
                  </a:lnTo>
                  <a:lnTo>
                    <a:pt x="345" y="964"/>
                  </a:lnTo>
                  <a:lnTo>
                    <a:pt x="340" y="959"/>
                  </a:lnTo>
                  <a:lnTo>
                    <a:pt x="307" y="959"/>
                  </a:lnTo>
                  <a:lnTo>
                    <a:pt x="307" y="943"/>
                  </a:lnTo>
                  <a:lnTo>
                    <a:pt x="307" y="938"/>
                  </a:lnTo>
                  <a:lnTo>
                    <a:pt x="286" y="938"/>
                  </a:lnTo>
                  <a:lnTo>
                    <a:pt x="286" y="959"/>
                  </a:lnTo>
                  <a:lnTo>
                    <a:pt x="274" y="955"/>
                  </a:lnTo>
                  <a:lnTo>
                    <a:pt x="269" y="926"/>
                  </a:lnTo>
                  <a:lnTo>
                    <a:pt x="286" y="922"/>
                  </a:lnTo>
                  <a:lnTo>
                    <a:pt x="286" y="903"/>
                  </a:lnTo>
                  <a:lnTo>
                    <a:pt x="253" y="848"/>
                  </a:lnTo>
                  <a:lnTo>
                    <a:pt x="248" y="848"/>
                  </a:lnTo>
                  <a:lnTo>
                    <a:pt x="236" y="832"/>
                  </a:lnTo>
                  <a:lnTo>
                    <a:pt x="253" y="827"/>
                  </a:lnTo>
                  <a:lnTo>
                    <a:pt x="260" y="832"/>
                  </a:lnTo>
                  <a:lnTo>
                    <a:pt x="269" y="815"/>
                  </a:lnTo>
                  <a:lnTo>
                    <a:pt x="274" y="794"/>
                  </a:lnTo>
                  <a:lnTo>
                    <a:pt x="269" y="759"/>
                  </a:lnTo>
                  <a:lnTo>
                    <a:pt x="198" y="631"/>
                  </a:lnTo>
                  <a:lnTo>
                    <a:pt x="168" y="539"/>
                  </a:lnTo>
                  <a:lnTo>
                    <a:pt x="151" y="522"/>
                  </a:lnTo>
                  <a:lnTo>
                    <a:pt x="146" y="499"/>
                  </a:lnTo>
                  <a:lnTo>
                    <a:pt x="160" y="494"/>
                  </a:lnTo>
                  <a:lnTo>
                    <a:pt x="168" y="461"/>
                  </a:lnTo>
                  <a:lnTo>
                    <a:pt x="184" y="454"/>
                  </a:lnTo>
                  <a:lnTo>
                    <a:pt x="198" y="466"/>
                  </a:lnTo>
                  <a:lnTo>
                    <a:pt x="205" y="466"/>
                  </a:lnTo>
                  <a:lnTo>
                    <a:pt x="205" y="511"/>
                  </a:lnTo>
                  <a:lnTo>
                    <a:pt x="222" y="511"/>
                  </a:lnTo>
                  <a:lnTo>
                    <a:pt x="222" y="515"/>
                  </a:lnTo>
                  <a:lnTo>
                    <a:pt x="248" y="515"/>
                  </a:lnTo>
                  <a:lnTo>
                    <a:pt x="260" y="522"/>
                  </a:lnTo>
                  <a:lnTo>
                    <a:pt x="302" y="515"/>
                  </a:lnTo>
                  <a:lnTo>
                    <a:pt x="328" y="522"/>
                  </a:lnTo>
                  <a:lnTo>
                    <a:pt x="340" y="522"/>
                  </a:lnTo>
                  <a:lnTo>
                    <a:pt x="340" y="511"/>
                  </a:lnTo>
                  <a:lnTo>
                    <a:pt x="357" y="511"/>
                  </a:lnTo>
                  <a:lnTo>
                    <a:pt x="361" y="494"/>
                  </a:lnTo>
                  <a:lnTo>
                    <a:pt x="394" y="482"/>
                  </a:lnTo>
                  <a:lnTo>
                    <a:pt x="394" y="199"/>
                  </a:lnTo>
                  <a:lnTo>
                    <a:pt x="394" y="199"/>
                  </a:lnTo>
                  <a:lnTo>
                    <a:pt x="394" y="199"/>
                  </a:lnTo>
                  <a:close/>
                  <a:moveTo>
                    <a:pt x="1011" y="511"/>
                  </a:moveTo>
                  <a:lnTo>
                    <a:pt x="994" y="499"/>
                  </a:lnTo>
                  <a:lnTo>
                    <a:pt x="966" y="511"/>
                  </a:lnTo>
                  <a:lnTo>
                    <a:pt x="923" y="532"/>
                  </a:lnTo>
                  <a:lnTo>
                    <a:pt x="902" y="572"/>
                  </a:lnTo>
                  <a:lnTo>
                    <a:pt x="886" y="577"/>
                  </a:lnTo>
                  <a:lnTo>
                    <a:pt x="902" y="610"/>
                  </a:lnTo>
                  <a:lnTo>
                    <a:pt x="914" y="631"/>
                  </a:lnTo>
                  <a:lnTo>
                    <a:pt x="935" y="659"/>
                  </a:lnTo>
                  <a:lnTo>
                    <a:pt x="957" y="659"/>
                  </a:lnTo>
                  <a:lnTo>
                    <a:pt x="978" y="622"/>
                  </a:lnTo>
                  <a:lnTo>
                    <a:pt x="1011" y="622"/>
                  </a:lnTo>
                  <a:lnTo>
                    <a:pt x="1032" y="605"/>
                  </a:lnTo>
                  <a:lnTo>
                    <a:pt x="1032" y="577"/>
                  </a:lnTo>
                  <a:lnTo>
                    <a:pt x="1042" y="577"/>
                  </a:lnTo>
                  <a:lnTo>
                    <a:pt x="1042" y="572"/>
                  </a:lnTo>
                  <a:lnTo>
                    <a:pt x="1058" y="555"/>
                  </a:lnTo>
                  <a:lnTo>
                    <a:pt x="1049" y="539"/>
                  </a:lnTo>
                  <a:lnTo>
                    <a:pt x="1011" y="511"/>
                  </a:lnTo>
                  <a:lnTo>
                    <a:pt x="1011" y="511"/>
                  </a:lnTo>
                  <a:lnTo>
                    <a:pt x="1011" y="511"/>
                  </a:lnTo>
                  <a:close/>
                  <a:moveTo>
                    <a:pt x="5" y="38"/>
                  </a:moveTo>
                  <a:lnTo>
                    <a:pt x="16" y="38"/>
                  </a:lnTo>
                  <a:lnTo>
                    <a:pt x="21" y="78"/>
                  </a:lnTo>
                  <a:lnTo>
                    <a:pt x="0" y="78"/>
                  </a:lnTo>
                  <a:lnTo>
                    <a:pt x="0" y="66"/>
                  </a:lnTo>
                  <a:lnTo>
                    <a:pt x="0" y="55"/>
                  </a:lnTo>
                  <a:lnTo>
                    <a:pt x="0" y="66"/>
                  </a:lnTo>
                  <a:lnTo>
                    <a:pt x="5" y="66"/>
                  </a:lnTo>
                  <a:lnTo>
                    <a:pt x="5" y="38"/>
                  </a:lnTo>
                  <a:lnTo>
                    <a:pt x="5" y="38"/>
                  </a:lnTo>
                  <a:lnTo>
                    <a:pt x="5" y="38"/>
                  </a:lnTo>
                  <a:close/>
                  <a:moveTo>
                    <a:pt x="1644" y="2034"/>
                  </a:moveTo>
                  <a:lnTo>
                    <a:pt x="1627" y="2029"/>
                  </a:lnTo>
                  <a:lnTo>
                    <a:pt x="1637" y="2022"/>
                  </a:lnTo>
                  <a:lnTo>
                    <a:pt x="1644" y="2029"/>
                  </a:lnTo>
                  <a:lnTo>
                    <a:pt x="1644" y="2034"/>
                  </a:lnTo>
                  <a:lnTo>
                    <a:pt x="1644" y="2034"/>
                  </a:lnTo>
                  <a:lnTo>
                    <a:pt x="1644" y="203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9" name="Freeform 550">
              <a:extLst>
                <a:ext uri="{FF2B5EF4-FFF2-40B4-BE49-F238E27FC236}">
                  <a16:creationId xmlns:a16="http://schemas.microsoft.com/office/drawing/2014/main" id="{EE486636-A499-44C4-98E7-0CB4C85CF1EC}"/>
                </a:ext>
              </a:extLst>
            </p:cNvPr>
            <p:cNvSpPr>
              <a:spLocks/>
            </p:cNvSpPr>
            <p:nvPr/>
          </p:nvSpPr>
          <p:spPr bwMode="gray">
            <a:xfrm>
              <a:off x="13343227" y="3715431"/>
              <a:ext cx="142374" cy="106699"/>
            </a:xfrm>
            <a:custGeom>
              <a:avLst/>
              <a:gdLst>
                <a:gd name="T0" fmla="*/ 163 w 435"/>
                <a:gd name="T1" fmla="*/ 305 h 326"/>
                <a:gd name="T2" fmla="*/ 92 w 435"/>
                <a:gd name="T3" fmla="*/ 322 h 326"/>
                <a:gd name="T4" fmla="*/ 45 w 435"/>
                <a:gd name="T5" fmla="*/ 322 h 326"/>
                <a:gd name="T6" fmla="*/ 75 w 435"/>
                <a:gd name="T7" fmla="*/ 310 h 326"/>
                <a:gd name="T8" fmla="*/ 130 w 435"/>
                <a:gd name="T9" fmla="*/ 310 h 326"/>
                <a:gd name="T10" fmla="*/ 137 w 435"/>
                <a:gd name="T11" fmla="*/ 293 h 326"/>
                <a:gd name="T12" fmla="*/ 137 w 435"/>
                <a:gd name="T13" fmla="*/ 293 h 326"/>
                <a:gd name="T14" fmla="*/ 130 w 435"/>
                <a:gd name="T15" fmla="*/ 310 h 326"/>
                <a:gd name="T16" fmla="*/ 99 w 435"/>
                <a:gd name="T17" fmla="*/ 293 h 326"/>
                <a:gd name="T18" fmla="*/ 75 w 435"/>
                <a:gd name="T19" fmla="*/ 310 h 326"/>
                <a:gd name="T20" fmla="*/ 59 w 435"/>
                <a:gd name="T21" fmla="*/ 293 h 326"/>
                <a:gd name="T22" fmla="*/ 54 w 435"/>
                <a:gd name="T23" fmla="*/ 272 h 326"/>
                <a:gd name="T24" fmla="*/ 113 w 435"/>
                <a:gd name="T25" fmla="*/ 267 h 326"/>
                <a:gd name="T26" fmla="*/ 151 w 435"/>
                <a:gd name="T27" fmla="*/ 251 h 326"/>
                <a:gd name="T28" fmla="*/ 222 w 435"/>
                <a:gd name="T29" fmla="*/ 267 h 326"/>
                <a:gd name="T30" fmla="*/ 260 w 435"/>
                <a:gd name="T31" fmla="*/ 251 h 326"/>
                <a:gd name="T32" fmla="*/ 222 w 435"/>
                <a:gd name="T33" fmla="*/ 251 h 326"/>
                <a:gd name="T34" fmla="*/ 191 w 435"/>
                <a:gd name="T35" fmla="*/ 232 h 326"/>
                <a:gd name="T36" fmla="*/ 168 w 435"/>
                <a:gd name="T37" fmla="*/ 215 h 326"/>
                <a:gd name="T38" fmla="*/ 137 w 435"/>
                <a:gd name="T39" fmla="*/ 232 h 326"/>
                <a:gd name="T40" fmla="*/ 59 w 435"/>
                <a:gd name="T41" fmla="*/ 222 h 326"/>
                <a:gd name="T42" fmla="*/ 54 w 435"/>
                <a:gd name="T43" fmla="*/ 222 h 326"/>
                <a:gd name="T44" fmla="*/ 75 w 435"/>
                <a:gd name="T45" fmla="*/ 194 h 326"/>
                <a:gd name="T46" fmla="*/ 59 w 435"/>
                <a:gd name="T47" fmla="*/ 199 h 326"/>
                <a:gd name="T48" fmla="*/ 21 w 435"/>
                <a:gd name="T49" fmla="*/ 156 h 326"/>
                <a:gd name="T50" fmla="*/ 0 w 435"/>
                <a:gd name="T51" fmla="*/ 156 h 326"/>
                <a:gd name="T52" fmla="*/ 21 w 435"/>
                <a:gd name="T53" fmla="*/ 140 h 326"/>
                <a:gd name="T54" fmla="*/ 66 w 435"/>
                <a:gd name="T55" fmla="*/ 74 h 326"/>
                <a:gd name="T56" fmla="*/ 83 w 435"/>
                <a:gd name="T57" fmla="*/ 17 h 326"/>
                <a:gd name="T58" fmla="*/ 175 w 435"/>
                <a:gd name="T59" fmla="*/ 0 h 326"/>
                <a:gd name="T60" fmla="*/ 255 w 435"/>
                <a:gd name="T61" fmla="*/ 50 h 326"/>
                <a:gd name="T62" fmla="*/ 272 w 435"/>
                <a:gd name="T63" fmla="*/ 50 h 326"/>
                <a:gd name="T64" fmla="*/ 283 w 435"/>
                <a:gd name="T65" fmla="*/ 50 h 326"/>
                <a:gd name="T66" fmla="*/ 309 w 435"/>
                <a:gd name="T67" fmla="*/ 100 h 326"/>
                <a:gd name="T68" fmla="*/ 326 w 435"/>
                <a:gd name="T69" fmla="*/ 107 h 326"/>
                <a:gd name="T70" fmla="*/ 347 w 435"/>
                <a:gd name="T71" fmla="*/ 128 h 326"/>
                <a:gd name="T72" fmla="*/ 368 w 435"/>
                <a:gd name="T73" fmla="*/ 178 h 326"/>
                <a:gd name="T74" fmla="*/ 385 w 435"/>
                <a:gd name="T75" fmla="*/ 215 h 326"/>
                <a:gd name="T76" fmla="*/ 401 w 435"/>
                <a:gd name="T77" fmla="*/ 256 h 326"/>
                <a:gd name="T78" fmla="*/ 406 w 435"/>
                <a:gd name="T79" fmla="*/ 251 h 326"/>
                <a:gd name="T80" fmla="*/ 435 w 435"/>
                <a:gd name="T81" fmla="*/ 322 h 326"/>
                <a:gd name="T82" fmla="*/ 364 w 435"/>
                <a:gd name="T83" fmla="*/ 326 h 326"/>
                <a:gd name="T84" fmla="*/ 309 w 435"/>
                <a:gd name="T85" fmla="*/ 322 h 326"/>
                <a:gd name="T86" fmla="*/ 260 w 435"/>
                <a:gd name="T87" fmla="*/ 305 h 326"/>
                <a:gd name="T88" fmla="*/ 222 w 435"/>
                <a:gd name="T89" fmla="*/ 30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5" h="326">
                  <a:moveTo>
                    <a:pt x="222" y="305"/>
                  </a:moveTo>
                  <a:lnTo>
                    <a:pt x="163" y="305"/>
                  </a:lnTo>
                  <a:lnTo>
                    <a:pt x="120" y="322"/>
                  </a:lnTo>
                  <a:lnTo>
                    <a:pt x="92" y="322"/>
                  </a:lnTo>
                  <a:lnTo>
                    <a:pt x="54" y="326"/>
                  </a:lnTo>
                  <a:lnTo>
                    <a:pt x="45" y="322"/>
                  </a:lnTo>
                  <a:lnTo>
                    <a:pt x="59" y="305"/>
                  </a:lnTo>
                  <a:lnTo>
                    <a:pt x="75" y="310"/>
                  </a:lnTo>
                  <a:lnTo>
                    <a:pt x="99" y="305"/>
                  </a:lnTo>
                  <a:lnTo>
                    <a:pt x="130" y="310"/>
                  </a:lnTo>
                  <a:lnTo>
                    <a:pt x="137" y="305"/>
                  </a:lnTo>
                  <a:lnTo>
                    <a:pt x="137" y="293"/>
                  </a:lnTo>
                  <a:lnTo>
                    <a:pt x="146" y="289"/>
                  </a:lnTo>
                  <a:lnTo>
                    <a:pt x="137" y="293"/>
                  </a:lnTo>
                  <a:lnTo>
                    <a:pt x="137" y="305"/>
                  </a:lnTo>
                  <a:lnTo>
                    <a:pt x="130" y="310"/>
                  </a:lnTo>
                  <a:lnTo>
                    <a:pt x="109" y="310"/>
                  </a:lnTo>
                  <a:lnTo>
                    <a:pt x="99" y="293"/>
                  </a:lnTo>
                  <a:lnTo>
                    <a:pt x="99" y="305"/>
                  </a:lnTo>
                  <a:lnTo>
                    <a:pt x="75" y="310"/>
                  </a:lnTo>
                  <a:lnTo>
                    <a:pt x="59" y="305"/>
                  </a:lnTo>
                  <a:lnTo>
                    <a:pt x="59" y="293"/>
                  </a:lnTo>
                  <a:lnTo>
                    <a:pt x="54" y="310"/>
                  </a:lnTo>
                  <a:lnTo>
                    <a:pt x="54" y="272"/>
                  </a:lnTo>
                  <a:lnTo>
                    <a:pt x="54" y="267"/>
                  </a:lnTo>
                  <a:lnTo>
                    <a:pt x="113" y="267"/>
                  </a:lnTo>
                  <a:lnTo>
                    <a:pt x="113" y="256"/>
                  </a:lnTo>
                  <a:lnTo>
                    <a:pt x="151" y="251"/>
                  </a:lnTo>
                  <a:lnTo>
                    <a:pt x="168" y="232"/>
                  </a:lnTo>
                  <a:lnTo>
                    <a:pt x="222" y="267"/>
                  </a:lnTo>
                  <a:lnTo>
                    <a:pt x="255" y="256"/>
                  </a:lnTo>
                  <a:lnTo>
                    <a:pt x="260" y="251"/>
                  </a:lnTo>
                  <a:lnTo>
                    <a:pt x="243" y="232"/>
                  </a:lnTo>
                  <a:lnTo>
                    <a:pt x="222" y="251"/>
                  </a:lnTo>
                  <a:lnTo>
                    <a:pt x="205" y="232"/>
                  </a:lnTo>
                  <a:lnTo>
                    <a:pt x="191" y="232"/>
                  </a:lnTo>
                  <a:lnTo>
                    <a:pt x="184" y="222"/>
                  </a:lnTo>
                  <a:lnTo>
                    <a:pt x="168" y="215"/>
                  </a:lnTo>
                  <a:lnTo>
                    <a:pt x="146" y="222"/>
                  </a:lnTo>
                  <a:lnTo>
                    <a:pt x="137" y="232"/>
                  </a:lnTo>
                  <a:lnTo>
                    <a:pt x="59" y="232"/>
                  </a:lnTo>
                  <a:lnTo>
                    <a:pt x="59" y="222"/>
                  </a:lnTo>
                  <a:lnTo>
                    <a:pt x="66" y="211"/>
                  </a:lnTo>
                  <a:lnTo>
                    <a:pt x="54" y="222"/>
                  </a:lnTo>
                  <a:lnTo>
                    <a:pt x="54" y="211"/>
                  </a:lnTo>
                  <a:lnTo>
                    <a:pt x="75" y="194"/>
                  </a:lnTo>
                  <a:lnTo>
                    <a:pt x="66" y="194"/>
                  </a:lnTo>
                  <a:lnTo>
                    <a:pt x="59" y="199"/>
                  </a:lnTo>
                  <a:lnTo>
                    <a:pt x="45" y="199"/>
                  </a:lnTo>
                  <a:lnTo>
                    <a:pt x="21" y="156"/>
                  </a:lnTo>
                  <a:lnTo>
                    <a:pt x="7" y="156"/>
                  </a:lnTo>
                  <a:lnTo>
                    <a:pt x="0" y="156"/>
                  </a:lnTo>
                  <a:lnTo>
                    <a:pt x="0" y="156"/>
                  </a:lnTo>
                  <a:lnTo>
                    <a:pt x="21" y="140"/>
                  </a:lnTo>
                  <a:lnTo>
                    <a:pt x="45" y="111"/>
                  </a:lnTo>
                  <a:lnTo>
                    <a:pt x="66" y="74"/>
                  </a:lnTo>
                  <a:lnTo>
                    <a:pt x="66" y="50"/>
                  </a:lnTo>
                  <a:lnTo>
                    <a:pt x="83" y="17"/>
                  </a:lnTo>
                  <a:lnTo>
                    <a:pt x="130" y="17"/>
                  </a:lnTo>
                  <a:lnTo>
                    <a:pt x="175" y="0"/>
                  </a:lnTo>
                  <a:lnTo>
                    <a:pt x="222" y="12"/>
                  </a:lnTo>
                  <a:lnTo>
                    <a:pt x="255" y="50"/>
                  </a:lnTo>
                  <a:lnTo>
                    <a:pt x="260" y="45"/>
                  </a:lnTo>
                  <a:lnTo>
                    <a:pt x="272" y="50"/>
                  </a:lnTo>
                  <a:lnTo>
                    <a:pt x="276" y="50"/>
                  </a:lnTo>
                  <a:lnTo>
                    <a:pt x="283" y="50"/>
                  </a:lnTo>
                  <a:lnTo>
                    <a:pt x="298" y="83"/>
                  </a:lnTo>
                  <a:lnTo>
                    <a:pt x="309" y="100"/>
                  </a:lnTo>
                  <a:lnTo>
                    <a:pt x="314" y="100"/>
                  </a:lnTo>
                  <a:lnTo>
                    <a:pt x="326" y="107"/>
                  </a:lnTo>
                  <a:lnTo>
                    <a:pt x="326" y="111"/>
                  </a:lnTo>
                  <a:lnTo>
                    <a:pt x="347" y="128"/>
                  </a:lnTo>
                  <a:lnTo>
                    <a:pt x="368" y="144"/>
                  </a:lnTo>
                  <a:lnTo>
                    <a:pt x="368" y="178"/>
                  </a:lnTo>
                  <a:lnTo>
                    <a:pt x="385" y="194"/>
                  </a:lnTo>
                  <a:lnTo>
                    <a:pt x="385" y="215"/>
                  </a:lnTo>
                  <a:lnTo>
                    <a:pt x="380" y="232"/>
                  </a:lnTo>
                  <a:lnTo>
                    <a:pt x="401" y="256"/>
                  </a:lnTo>
                  <a:lnTo>
                    <a:pt x="401" y="251"/>
                  </a:lnTo>
                  <a:lnTo>
                    <a:pt x="406" y="251"/>
                  </a:lnTo>
                  <a:lnTo>
                    <a:pt x="435" y="277"/>
                  </a:lnTo>
                  <a:lnTo>
                    <a:pt x="435" y="322"/>
                  </a:lnTo>
                  <a:lnTo>
                    <a:pt x="385" y="322"/>
                  </a:lnTo>
                  <a:lnTo>
                    <a:pt x="364" y="326"/>
                  </a:lnTo>
                  <a:lnTo>
                    <a:pt x="326" y="310"/>
                  </a:lnTo>
                  <a:lnTo>
                    <a:pt x="309" y="322"/>
                  </a:lnTo>
                  <a:lnTo>
                    <a:pt x="309" y="305"/>
                  </a:lnTo>
                  <a:lnTo>
                    <a:pt x="260" y="305"/>
                  </a:lnTo>
                  <a:lnTo>
                    <a:pt x="222" y="305"/>
                  </a:lnTo>
                  <a:lnTo>
                    <a:pt x="222" y="305"/>
                  </a:lnTo>
                  <a:lnTo>
                    <a:pt x="222" y="30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0" name="Freeform 551">
              <a:extLst>
                <a:ext uri="{FF2B5EF4-FFF2-40B4-BE49-F238E27FC236}">
                  <a16:creationId xmlns:a16="http://schemas.microsoft.com/office/drawing/2014/main" id="{48D5C890-BB36-4709-894B-7BF96333BA5F}"/>
                </a:ext>
              </a:extLst>
            </p:cNvPr>
            <p:cNvSpPr>
              <a:spLocks noEditPoints="1"/>
            </p:cNvSpPr>
            <p:nvPr/>
          </p:nvSpPr>
          <p:spPr bwMode="gray">
            <a:xfrm>
              <a:off x="13413596" y="4299983"/>
              <a:ext cx="198014" cy="732817"/>
            </a:xfrm>
            <a:custGeom>
              <a:avLst/>
              <a:gdLst>
                <a:gd name="T0" fmla="*/ 0 w 605"/>
                <a:gd name="T1" fmla="*/ 5 h 2239"/>
                <a:gd name="T2" fmla="*/ 0 w 605"/>
                <a:gd name="T3" fmla="*/ 0 h 2239"/>
                <a:gd name="T4" fmla="*/ 5 w 605"/>
                <a:gd name="T5" fmla="*/ 5 h 2239"/>
                <a:gd name="T6" fmla="*/ 0 w 605"/>
                <a:gd name="T7" fmla="*/ 5 h 2239"/>
                <a:gd name="T8" fmla="*/ 0 w 605"/>
                <a:gd name="T9" fmla="*/ 5 h 2239"/>
                <a:gd name="T10" fmla="*/ 0 w 605"/>
                <a:gd name="T11" fmla="*/ 5 h 2239"/>
                <a:gd name="T12" fmla="*/ 605 w 605"/>
                <a:gd name="T13" fmla="*/ 593 h 2239"/>
                <a:gd name="T14" fmla="*/ 600 w 605"/>
                <a:gd name="T15" fmla="*/ 593 h 2239"/>
                <a:gd name="T16" fmla="*/ 605 w 605"/>
                <a:gd name="T17" fmla="*/ 588 h 2239"/>
                <a:gd name="T18" fmla="*/ 605 w 605"/>
                <a:gd name="T19" fmla="*/ 593 h 2239"/>
                <a:gd name="T20" fmla="*/ 605 w 605"/>
                <a:gd name="T21" fmla="*/ 593 h 2239"/>
                <a:gd name="T22" fmla="*/ 605 w 605"/>
                <a:gd name="T23" fmla="*/ 593 h 2239"/>
                <a:gd name="T24" fmla="*/ 146 w 605"/>
                <a:gd name="T25" fmla="*/ 2239 h 2239"/>
                <a:gd name="T26" fmla="*/ 146 w 605"/>
                <a:gd name="T27" fmla="*/ 2235 h 2239"/>
                <a:gd name="T28" fmla="*/ 151 w 605"/>
                <a:gd name="T29" fmla="*/ 2235 h 2239"/>
                <a:gd name="T30" fmla="*/ 146 w 605"/>
                <a:gd name="T31" fmla="*/ 2239 h 2239"/>
                <a:gd name="T32" fmla="*/ 146 w 605"/>
                <a:gd name="T33" fmla="*/ 2239 h 2239"/>
                <a:gd name="T34" fmla="*/ 146 w 605"/>
                <a:gd name="T35" fmla="*/ 2239 h 2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5" h="2239">
                  <a:moveTo>
                    <a:pt x="0" y="5"/>
                  </a:moveTo>
                  <a:lnTo>
                    <a:pt x="0" y="0"/>
                  </a:lnTo>
                  <a:lnTo>
                    <a:pt x="5" y="5"/>
                  </a:lnTo>
                  <a:lnTo>
                    <a:pt x="0" y="5"/>
                  </a:lnTo>
                  <a:lnTo>
                    <a:pt x="0" y="5"/>
                  </a:lnTo>
                  <a:lnTo>
                    <a:pt x="0" y="5"/>
                  </a:lnTo>
                  <a:close/>
                  <a:moveTo>
                    <a:pt x="605" y="593"/>
                  </a:moveTo>
                  <a:lnTo>
                    <a:pt x="600" y="593"/>
                  </a:lnTo>
                  <a:lnTo>
                    <a:pt x="605" y="588"/>
                  </a:lnTo>
                  <a:lnTo>
                    <a:pt x="605" y="593"/>
                  </a:lnTo>
                  <a:lnTo>
                    <a:pt x="605" y="593"/>
                  </a:lnTo>
                  <a:lnTo>
                    <a:pt x="605" y="593"/>
                  </a:lnTo>
                  <a:close/>
                  <a:moveTo>
                    <a:pt x="146" y="2239"/>
                  </a:moveTo>
                  <a:lnTo>
                    <a:pt x="146" y="2235"/>
                  </a:lnTo>
                  <a:lnTo>
                    <a:pt x="151" y="2235"/>
                  </a:lnTo>
                  <a:lnTo>
                    <a:pt x="146" y="2239"/>
                  </a:lnTo>
                  <a:lnTo>
                    <a:pt x="146" y="2239"/>
                  </a:lnTo>
                  <a:lnTo>
                    <a:pt x="146" y="223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1" name="Freeform 552">
              <a:extLst>
                <a:ext uri="{FF2B5EF4-FFF2-40B4-BE49-F238E27FC236}">
                  <a16:creationId xmlns:a16="http://schemas.microsoft.com/office/drawing/2014/main" id="{F02DEF5F-C33B-4D9B-AF7E-198F79731716}"/>
                </a:ext>
              </a:extLst>
            </p:cNvPr>
            <p:cNvSpPr>
              <a:spLocks/>
            </p:cNvSpPr>
            <p:nvPr/>
          </p:nvSpPr>
          <p:spPr bwMode="gray">
            <a:xfrm>
              <a:off x="14052806" y="2920755"/>
              <a:ext cx="71351" cy="43203"/>
            </a:xfrm>
            <a:custGeom>
              <a:avLst/>
              <a:gdLst>
                <a:gd name="T0" fmla="*/ 22 w 218"/>
                <a:gd name="T1" fmla="*/ 28 h 132"/>
                <a:gd name="T2" fmla="*/ 74 w 218"/>
                <a:gd name="T3" fmla="*/ 45 h 132"/>
                <a:gd name="T4" fmla="*/ 102 w 218"/>
                <a:gd name="T5" fmla="*/ 38 h 132"/>
                <a:gd name="T6" fmla="*/ 102 w 218"/>
                <a:gd name="T7" fmla="*/ 21 h 132"/>
                <a:gd name="T8" fmla="*/ 166 w 218"/>
                <a:gd name="T9" fmla="*/ 12 h 132"/>
                <a:gd name="T10" fmla="*/ 180 w 218"/>
                <a:gd name="T11" fmla="*/ 0 h 132"/>
                <a:gd name="T12" fmla="*/ 208 w 218"/>
                <a:gd name="T13" fmla="*/ 5 h 132"/>
                <a:gd name="T14" fmla="*/ 196 w 218"/>
                <a:gd name="T15" fmla="*/ 12 h 132"/>
                <a:gd name="T16" fmla="*/ 218 w 218"/>
                <a:gd name="T17" fmla="*/ 38 h 132"/>
                <a:gd name="T18" fmla="*/ 196 w 218"/>
                <a:gd name="T19" fmla="*/ 28 h 132"/>
                <a:gd name="T20" fmla="*/ 196 w 218"/>
                <a:gd name="T21" fmla="*/ 45 h 132"/>
                <a:gd name="T22" fmla="*/ 154 w 218"/>
                <a:gd name="T23" fmla="*/ 62 h 132"/>
                <a:gd name="T24" fmla="*/ 154 w 218"/>
                <a:gd name="T25" fmla="*/ 66 h 132"/>
                <a:gd name="T26" fmla="*/ 159 w 218"/>
                <a:gd name="T27" fmla="*/ 78 h 132"/>
                <a:gd name="T28" fmla="*/ 159 w 218"/>
                <a:gd name="T29" fmla="*/ 95 h 132"/>
                <a:gd name="T30" fmla="*/ 128 w 218"/>
                <a:gd name="T31" fmla="*/ 99 h 132"/>
                <a:gd name="T32" fmla="*/ 128 w 218"/>
                <a:gd name="T33" fmla="*/ 111 h 132"/>
                <a:gd name="T34" fmla="*/ 137 w 218"/>
                <a:gd name="T35" fmla="*/ 111 h 132"/>
                <a:gd name="T36" fmla="*/ 128 w 218"/>
                <a:gd name="T37" fmla="*/ 123 h 132"/>
                <a:gd name="T38" fmla="*/ 123 w 218"/>
                <a:gd name="T39" fmla="*/ 132 h 132"/>
                <a:gd name="T40" fmla="*/ 102 w 218"/>
                <a:gd name="T41" fmla="*/ 123 h 132"/>
                <a:gd name="T42" fmla="*/ 85 w 218"/>
                <a:gd name="T43" fmla="*/ 111 h 132"/>
                <a:gd name="T44" fmla="*/ 69 w 218"/>
                <a:gd name="T45" fmla="*/ 123 h 132"/>
                <a:gd name="T46" fmla="*/ 15 w 218"/>
                <a:gd name="T47" fmla="*/ 123 h 132"/>
                <a:gd name="T48" fmla="*/ 22 w 218"/>
                <a:gd name="T49" fmla="*/ 116 h 132"/>
                <a:gd name="T50" fmla="*/ 22 w 218"/>
                <a:gd name="T51" fmla="*/ 116 h 132"/>
                <a:gd name="T52" fmla="*/ 36 w 218"/>
                <a:gd name="T53" fmla="*/ 111 h 132"/>
                <a:gd name="T54" fmla="*/ 15 w 218"/>
                <a:gd name="T55" fmla="*/ 95 h 132"/>
                <a:gd name="T56" fmla="*/ 15 w 218"/>
                <a:gd name="T57" fmla="*/ 78 h 132"/>
                <a:gd name="T58" fmla="*/ 5 w 218"/>
                <a:gd name="T59" fmla="*/ 78 h 132"/>
                <a:gd name="T60" fmla="*/ 15 w 218"/>
                <a:gd name="T61" fmla="*/ 62 h 132"/>
                <a:gd name="T62" fmla="*/ 0 w 218"/>
                <a:gd name="T63" fmla="*/ 62 h 132"/>
                <a:gd name="T64" fmla="*/ 0 w 218"/>
                <a:gd name="T65" fmla="*/ 54 h 132"/>
                <a:gd name="T66" fmla="*/ 22 w 218"/>
                <a:gd name="T67" fmla="*/ 28 h 132"/>
                <a:gd name="T68" fmla="*/ 22 w 218"/>
                <a:gd name="T69" fmla="*/ 28 h 132"/>
                <a:gd name="T70" fmla="*/ 22 w 218"/>
                <a:gd name="T71" fmla="*/ 2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8" h="132">
                  <a:moveTo>
                    <a:pt x="22" y="28"/>
                  </a:moveTo>
                  <a:lnTo>
                    <a:pt x="74" y="45"/>
                  </a:lnTo>
                  <a:lnTo>
                    <a:pt x="102" y="38"/>
                  </a:lnTo>
                  <a:lnTo>
                    <a:pt x="102" y="21"/>
                  </a:lnTo>
                  <a:lnTo>
                    <a:pt x="166" y="12"/>
                  </a:lnTo>
                  <a:lnTo>
                    <a:pt x="180" y="0"/>
                  </a:lnTo>
                  <a:lnTo>
                    <a:pt x="208" y="5"/>
                  </a:lnTo>
                  <a:lnTo>
                    <a:pt x="196" y="12"/>
                  </a:lnTo>
                  <a:lnTo>
                    <a:pt x="218" y="38"/>
                  </a:lnTo>
                  <a:lnTo>
                    <a:pt x="196" y="28"/>
                  </a:lnTo>
                  <a:lnTo>
                    <a:pt x="196" y="45"/>
                  </a:lnTo>
                  <a:lnTo>
                    <a:pt x="154" y="62"/>
                  </a:lnTo>
                  <a:lnTo>
                    <a:pt x="154" y="66"/>
                  </a:lnTo>
                  <a:lnTo>
                    <a:pt x="159" y="78"/>
                  </a:lnTo>
                  <a:lnTo>
                    <a:pt x="159" y="95"/>
                  </a:lnTo>
                  <a:lnTo>
                    <a:pt x="128" y="99"/>
                  </a:lnTo>
                  <a:lnTo>
                    <a:pt x="128" y="111"/>
                  </a:lnTo>
                  <a:lnTo>
                    <a:pt x="137" y="111"/>
                  </a:lnTo>
                  <a:lnTo>
                    <a:pt x="128" y="123"/>
                  </a:lnTo>
                  <a:lnTo>
                    <a:pt x="123" y="132"/>
                  </a:lnTo>
                  <a:lnTo>
                    <a:pt x="102" y="123"/>
                  </a:lnTo>
                  <a:lnTo>
                    <a:pt x="85" y="111"/>
                  </a:lnTo>
                  <a:lnTo>
                    <a:pt x="69" y="123"/>
                  </a:lnTo>
                  <a:lnTo>
                    <a:pt x="15" y="123"/>
                  </a:lnTo>
                  <a:lnTo>
                    <a:pt x="22" y="116"/>
                  </a:lnTo>
                  <a:lnTo>
                    <a:pt x="22" y="116"/>
                  </a:lnTo>
                  <a:lnTo>
                    <a:pt x="36" y="111"/>
                  </a:lnTo>
                  <a:lnTo>
                    <a:pt x="15" y="95"/>
                  </a:lnTo>
                  <a:lnTo>
                    <a:pt x="15" y="78"/>
                  </a:lnTo>
                  <a:lnTo>
                    <a:pt x="5" y="78"/>
                  </a:lnTo>
                  <a:lnTo>
                    <a:pt x="15" y="62"/>
                  </a:lnTo>
                  <a:lnTo>
                    <a:pt x="0" y="62"/>
                  </a:lnTo>
                  <a:lnTo>
                    <a:pt x="0" y="54"/>
                  </a:lnTo>
                  <a:lnTo>
                    <a:pt x="22" y="28"/>
                  </a:lnTo>
                  <a:lnTo>
                    <a:pt x="22" y="28"/>
                  </a:lnTo>
                  <a:lnTo>
                    <a:pt x="22" y="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2" name="Freeform 553">
              <a:extLst>
                <a:ext uri="{FF2B5EF4-FFF2-40B4-BE49-F238E27FC236}">
                  <a16:creationId xmlns:a16="http://schemas.microsoft.com/office/drawing/2014/main" id="{4E28BDF2-E8BE-47C8-AF05-FDCA8268DC5A}"/>
                </a:ext>
              </a:extLst>
            </p:cNvPr>
            <p:cNvSpPr>
              <a:spLocks noEditPoints="1"/>
            </p:cNvSpPr>
            <p:nvPr/>
          </p:nvSpPr>
          <p:spPr bwMode="gray">
            <a:xfrm>
              <a:off x="13439125" y="3877116"/>
              <a:ext cx="70369" cy="74296"/>
            </a:xfrm>
            <a:custGeom>
              <a:avLst/>
              <a:gdLst>
                <a:gd name="T0" fmla="*/ 165 w 215"/>
                <a:gd name="T1" fmla="*/ 184 h 227"/>
                <a:gd name="T2" fmla="*/ 139 w 215"/>
                <a:gd name="T3" fmla="*/ 206 h 227"/>
                <a:gd name="T4" fmla="*/ 127 w 215"/>
                <a:gd name="T5" fmla="*/ 227 h 227"/>
                <a:gd name="T6" fmla="*/ 97 w 215"/>
                <a:gd name="T7" fmla="*/ 217 h 227"/>
                <a:gd name="T8" fmla="*/ 52 w 215"/>
                <a:gd name="T9" fmla="*/ 189 h 227"/>
                <a:gd name="T10" fmla="*/ 59 w 215"/>
                <a:gd name="T11" fmla="*/ 184 h 227"/>
                <a:gd name="T12" fmla="*/ 75 w 215"/>
                <a:gd name="T13" fmla="*/ 173 h 227"/>
                <a:gd name="T14" fmla="*/ 59 w 215"/>
                <a:gd name="T15" fmla="*/ 184 h 227"/>
                <a:gd name="T16" fmla="*/ 21 w 215"/>
                <a:gd name="T17" fmla="*/ 161 h 227"/>
                <a:gd name="T18" fmla="*/ 30 w 215"/>
                <a:gd name="T19" fmla="*/ 151 h 227"/>
                <a:gd name="T20" fmla="*/ 21 w 215"/>
                <a:gd name="T21" fmla="*/ 128 h 227"/>
                <a:gd name="T22" fmla="*/ 16 w 215"/>
                <a:gd name="T23" fmla="*/ 132 h 227"/>
                <a:gd name="T24" fmla="*/ 0 w 215"/>
                <a:gd name="T25" fmla="*/ 111 h 227"/>
                <a:gd name="T26" fmla="*/ 16 w 215"/>
                <a:gd name="T27" fmla="*/ 116 h 227"/>
                <a:gd name="T28" fmla="*/ 16 w 215"/>
                <a:gd name="T29" fmla="*/ 116 h 227"/>
                <a:gd name="T30" fmla="*/ 30 w 215"/>
                <a:gd name="T31" fmla="*/ 111 h 227"/>
                <a:gd name="T32" fmla="*/ 5 w 215"/>
                <a:gd name="T33" fmla="*/ 111 h 227"/>
                <a:gd name="T34" fmla="*/ 5 w 215"/>
                <a:gd name="T35" fmla="*/ 90 h 227"/>
                <a:gd name="T36" fmla="*/ 16 w 215"/>
                <a:gd name="T37" fmla="*/ 90 h 227"/>
                <a:gd name="T38" fmla="*/ 0 w 215"/>
                <a:gd name="T39" fmla="*/ 73 h 227"/>
                <a:gd name="T40" fmla="*/ 16 w 215"/>
                <a:gd name="T41" fmla="*/ 73 h 227"/>
                <a:gd name="T42" fmla="*/ 21 w 215"/>
                <a:gd name="T43" fmla="*/ 57 h 227"/>
                <a:gd name="T44" fmla="*/ 42 w 215"/>
                <a:gd name="T45" fmla="*/ 50 h 227"/>
                <a:gd name="T46" fmla="*/ 59 w 215"/>
                <a:gd name="T47" fmla="*/ 5 h 227"/>
                <a:gd name="T48" fmla="*/ 75 w 215"/>
                <a:gd name="T49" fmla="*/ 5 h 227"/>
                <a:gd name="T50" fmla="*/ 85 w 215"/>
                <a:gd name="T51" fmla="*/ 17 h 227"/>
                <a:gd name="T52" fmla="*/ 97 w 215"/>
                <a:gd name="T53" fmla="*/ 5 h 227"/>
                <a:gd name="T54" fmla="*/ 97 w 215"/>
                <a:gd name="T55" fmla="*/ 0 h 227"/>
                <a:gd name="T56" fmla="*/ 144 w 215"/>
                <a:gd name="T57" fmla="*/ 0 h 227"/>
                <a:gd name="T58" fmla="*/ 182 w 215"/>
                <a:gd name="T59" fmla="*/ 57 h 227"/>
                <a:gd name="T60" fmla="*/ 177 w 215"/>
                <a:gd name="T61" fmla="*/ 73 h 227"/>
                <a:gd name="T62" fmla="*/ 193 w 215"/>
                <a:gd name="T63" fmla="*/ 73 h 227"/>
                <a:gd name="T64" fmla="*/ 193 w 215"/>
                <a:gd name="T65" fmla="*/ 90 h 227"/>
                <a:gd name="T66" fmla="*/ 198 w 215"/>
                <a:gd name="T67" fmla="*/ 95 h 227"/>
                <a:gd name="T68" fmla="*/ 182 w 215"/>
                <a:gd name="T69" fmla="*/ 128 h 227"/>
                <a:gd name="T70" fmla="*/ 215 w 215"/>
                <a:gd name="T71" fmla="*/ 111 h 227"/>
                <a:gd name="T72" fmla="*/ 203 w 215"/>
                <a:gd name="T73" fmla="*/ 132 h 227"/>
                <a:gd name="T74" fmla="*/ 193 w 215"/>
                <a:gd name="T75" fmla="*/ 144 h 227"/>
                <a:gd name="T76" fmla="*/ 193 w 215"/>
                <a:gd name="T77" fmla="*/ 168 h 227"/>
                <a:gd name="T78" fmla="*/ 165 w 215"/>
                <a:gd name="T79" fmla="*/ 184 h 227"/>
                <a:gd name="T80" fmla="*/ 165 w 215"/>
                <a:gd name="T81" fmla="*/ 184 h 227"/>
                <a:gd name="T82" fmla="*/ 165 w 215"/>
                <a:gd name="T83" fmla="*/ 184 h 227"/>
                <a:gd name="T84" fmla="*/ 30 w 215"/>
                <a:gd name="T85" fmla="*/ 173 h 227"/>
                <a:gd name="T86" fmla="*/ 52 w 215"/>
                <a:gd name="T87" fmla="*/ 173 h 227"/>
                <a:gd name="T88" fmla="*/ 52 w 215"/>
                <a:gd name="T89" fmla="*/ 184 h 227"/>
                <a:gd name="T90" fmla="*/ 52 w 215"/>
                <a:gd name="T91" fmla="*/ 189 h 227"/>
                <a:gd name="T92" fmla="*/ 21 w 215"/>
                <a:gd name="T93" fmla="*/ 184 h 227"/>
                <a:gd name="T94" fmla="*/ 30 w 215"/>
                <a:gd name="T95" fmla="*/ 173 h 227"/>
                <a:gd name="T96" fmla="*/ 30 w 215"/>
                <a:gd name="T97" fmla="*/ 173 h 227"/>
                <a:gd name="T98" fmla="*/ 30 w 215"/>
                <a:gd name="T99" fmla="*/ 17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5" h="227">
                  <a:moveTo>
                    <a:pt x="165" y="184"/>
                  </a:moveTo>
                  <a:lnTo>
                    <a:pt x="139" y="206"/>
                  </a:lnTo>
                  <a:lnTo>
                    <a:pt x="127" y="227"/>
                  </a:lnTo>
                  <a:lnTo>
                    <a:pt x="97" y="217"/>
                  </a:lnTo>
                  <a:lnTo>
                    <a:pt x="52" y="189"/>
                  </a:lnTo>
                  <a:lnTo>
                    <a:pt x="59" y="184"/>
                  </a:lnTo>
                  <a:lnTo>
                    <a:pt x="75" y="173"/>
                  </a:lnTo>
                  <a:lnTo>
                    <a:pt x="59" y="184"/>
                  </a:lnTo>
                  <a:lnTo>
                    <a:pt x="21" y="161"/>
                  </a:lnTo>
                  <a:lnTo>
                    <a:pt x="30" y="151"/>
                  </a:lnTo>
                  <a:lnTo>
                    <a:pt x="21" y="128"/>
                  </a:lnTo>
                  <a:lnTo>
                    <a:pt x="16" y="132"/>
                  </a:lnTo>
                  <a:lnTo>
                    <a:pt x="0" y="111"/>
                  </a:lnTo>
                  <a:lnTo>
                    <a:pt x="16" y="116"/>
                  </a:lnTo>
                  <a:lnTo>
                    <a:pt x="16" y="116"/>
                  </a:lnTo>
                  <a:lnTo>
                    <a:pt x="30" y="111"/>
                  </a:lnTo>
                  <a:lnTo>
                    <a:pt x="5" y="111"/>
                  </a:lnTo>
                  <a:lnTo>
                    <a:pt x="5" y="90"/>
                  </a:lnTo>
                  <a:lnTo>
                    <a:pt x="16" y="90"/>
                  </a:lnTo>
                  <a:lnTo>
                    <a:pt x="0" y="73"/>
                  </a:lnTo>
                  <a:lnTo>
                    <a:pt x="16" y="73"/>
                  </a:lnTo>
                  <a:lnTo>
                    <a:pt x="21" y="57"/>
                  </a:lnTo>
                  <a:lnTo>
                    <a:pt x="42" y="50"/>
                  </a:lnTo>
                  <a:lnTo>
                    <a:pt x="59" y="5"/>
                  </a:lnTo>
                  <a:lnTo>
                    <a:pt x="75" y="5"/>
                  </a:lnTo>
                  <a:lnTo>
                    <a:pt x="85" y="17"/>
                  </a:lnTo>
                  <a:lnTo>
                    <a:pt x="97" y="5"/>
                  </a:lnTo>
                  <a:lnTo>
                    <a:pt x="97" y="0"/>
                  </a:lnTo>
                  <a:lnTo>
                    <a:pt x="144" y="0"/>
                  </a:lnTo>
                  <a:lnTo>
                    <a:pt x="182" y="57"/>
                  </a:lnTo>
                  <a:lnTo>
                    <a:pt x="177" y="73"/>
                  </a:lnTo>
                  <a:lnTo>
                    <a:pt x="193" y="73"/>
                  </a:lnTo>
                  <a:lnTo>
                    <a:pt x="193" y="90"/>
                  </a:lnTo>
                  <a:lnTo>
                    <a:pt x="198" y="95"/>
                  </a:lnTo>
                  <a:lnTo>
                    <a:pt x="182" y="128"/>
                  </a:lnTo>
                  <a:lnTo>
                    <a:pt x="215" y="111"/>
                  </a:lnTo>
                  <a:lnTo>
                    <a:pt x="203" y="132"/>
                  </a:lnTo>
                  <a:lnTo>
                    <a:pt x="193" y="144"/>
                  </a:lnTo>
                  <a:lnTo>
                    <a:pt x="193" y="168"/>
                  </a:lnTo>
                  <a:lnTo>
                    <a:pt x="165" y="184"/>
                  </a:lnTo>
                  <a:lnTo>
                    <a:pt x="165" y="184"/>
                  </a:lnTo>
                  <a:lnTo>
                    <a:pt x="165" y="184"/>
                  </a:lnTo>
                  <a:close/>
                  <a:moveTo>
                    <a:pt x="30" y="173"/>
                  </a:moveTo>
                  <a:lnTo>
                    <a:pt x="52" y="173"/>
                  </a:lnTo>
                  <a:lnTo>
                    <a:pt x="52" y="184"/>
                  </a:lnTo>
                  <a:lnTo>
                    <a:pt x="52" y="189"/>
                  </a:lnTo>
                  <a:lnTo>
                    <a:pt x="21" y="184"/>
                  </a:lnTo>
                  <a:lnTo>
                    <a:pt x="30" y="173"/>
                  </a:lnTo>
                  <a:lnTo>
                    <a:pt x="30" y="173"/>
                  </a:lnTo>
                  <a:lnTo>
                    <a:pt x="30" y="17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3" name="Freeform 554">
              <a:extLst>
                <a:ext uri="{FF2B5EF4-FFF2-40B4-BE49-F238E27FC236}">
                  <a16:creationId xmlns:a16="http://schemas.microsoft.com/office/drawing/2014/main" id="{653C97B2-A999-43E5-8D80-43B68D1AA0CB}"/>
                </a:ext>
              </a:extLst>
            </p:cNvPr>
            <p:cNvSpPr>
              <a:spLocks/>
            </p:cNvSpPr>
            <p:nvPr/>
          </p:nvSpPr>
          <p:spPr bwMode="gray">
            <a:xfrm>
              <a:off x="14028913" y="3005198"/>
              <a:ext cx="3928" cy="2946"/>
            </a:xfrm>
            <a:custGeom>
              <a:avLst/>
              <a:gdLst>
                <a:gd name="T0" fmla="*/ 0 w 12"/>
                <a:gd name="T1" fmla="*/ 0 h 9"/>
                <a:gd name="T2" fmla="*/ 12 w 12"/>
                <a:gd name="T3" fmla="*/ 0 h 9"/>
                <a:gd name="T4" fmla="*/ 0 w 12"/>
                <a:gd name="T5" fmla="*/ 9 h 9"/>
                <a:gd name="T6" fmla="*/ 0 w 12"/>
                <a:gd name="T7" fmla="*/ 0 h 9"/>
                <a:gd name="T8" fmla="*/ 0 w 12"/>
                <a:gd name="T9" fmla="*/ 0 h 9"/>
                <a:gd name="T10" fmla="*/ 0 w 12"/>
                <a:gd name="T11" fmla="*/ 0 h 9"/>
              </a:gdLst>
              <a:ahLst/>
              <a:cxnLst>
                <a:cxn ang="0">
                  <a:pos x="T0" y="T1"/>
                </a:cxn>
                <a:cxn ang="0">
                  <a:pos x="T2" y="T3"/>
                </a:cxn>
                <a:cxn ang="0">
                  <a:pos x="T4" y="T5"/>
                </a:cxn>
                <a:cxn ang="0">
                  <a:pos x="T6" y="T7"/>
                </a:cxn>
                <a:cxn ang="0">
                  <a:pos x="T8" y="T9"/>
                </a:cxn>
                <a:cxn ang="0">
                  <a:pos x="T10" y="T11"/>
                </a:cxn>
              </a:cxnLst>
              <a:rect l="0" t="0" r="r" b="b"/>
              <a:pathLst>
                <a:path w="12" h="9">
                  <a:moveTo>
                    <a:pt x="0" y="0"/>
                  </a:moveTo>
                  <a:lnTo>
                    <a:pt x="12" y="0"/>
                  </a:lnTo>
                  <a:lnTo>
                    <a:pt x="0" y="9"/>
                  </a:lnTo>
                  <a:lnTo>
                    <a:pt x="0" y="0"/>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4" name="Freeform 555">
              <a:extLst>
                <a:ext uri="{FF2B5EF4-FFF2-40B4-BE49-F238E27FC236}">
                  <a16:creationId xmlns:a16="http://schemas.microsoft.com/office/drawing/2014/main" id="{A5989023-FE7C-42AC-A657-C63399327837}"/>
                </a:ext>
              </a:extLst>
            </p:cNvPr>
            <p:cNvSpPr>
              <a:spLocks/>
            </p:cNvSpPr>
            <p:nvPr/>
          </p:nvSpPr>
          <p:spPr bwMode="gray">
            <a:xfrm>
              <a:off x="16122630" y="4082003"/>
              <a:ext cx="7855" cy="1637"/>
            </a:xfrm>
            <a:custGeom>
              <a:avLst/>
              <a:gdLst>
                <a:gd name="T0" fmla="*/ 24 w 24"/>
                <a:gd name="T1" fmla="*/ 0 h 5"/>
                <a:gd name="T2" fmla="*/ 16 w 24"/>
                <a:gd name="T3" fmla="*/ 5 h 5"/>
                <a:gd name="T4" fmla="*/ 0 w 24"/>
                <a:gd name="T5" fmla="*/ 5 h 5"/>
                <a:gd name="T6" fmla="*/ 7 w 24"/>
                <a:gd name="T7" fmla="*/ 0 h 5"/>
                <a:gd name="T8" fmla="*/ 24 w 24"/>
                <a:gd name="T9" fmla="*/ 0 h 5"/>
                <a:gd name="T10" fmla="*/ 24 w 24"/>
                <a:gd name="T11" fmla="*/ 0 h 5"/>
                <a:gd name="T12" fmla="*/ 24 w 2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4" h="5">
                  <a:moveTo>
                    <a:pt x="24" y="0"/>
                  </a:moveTo>
                  <a:lnTo>
                    <a:pt x="16" y="5"/>
                  </a:lnTo>
                  <a:lnTo>
                    <a:pt x="0" y="5"/>
                  </a:lnTo>
                  <a:lnTo>
                    <a:pt x="7" y="0"/>
                  </a:lnTo>
                  <a:lnTo>
                    <a:pt x="24" y="0"/>
                  </a:lnTo>
                  <a:lnTo>
                    <a:pt x="24" y="0"/>
                  </a:lnTo>
                  <a:lnTo>
                    <a:pt x="24"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5" name="Freeform 556">
              <a:extLst>
                <a:ext uri="{FF2B5EF4-FFF2-40B4-BE49-F238E27FC236}">
                  <a16:creationId xmlns:a16="http://schemas.microsoft.com/office/drawing/2014/main" id="{C5DCB666-F9A4-4701-BFCC-505F18C19FDD}"/>
                </a:ext>
              </a:extLst>
            </p:cNvPr>
            <p:cNvSpPr>
              <a:spLocks/>
            </p:cNvSpPr>
            <p:nvPr/>
          </p:nvSpPr>
          <p:spPr bwMode="gray">
            <a:xfrm>
              <a:off x="14686125" y="3829330"/>
              <a:ext cx="237290" cy="324678"/>
            </a:xfrm>
            <a:custGeom>
              <a:avLst/>
              <a:gdLst>
                <a:gd name="T0" fmla="*/ 130 w 725"/>
                <a:gd name="T1" fmla="*/ 555 h 992"/>
                <a:gd name="T2" fmla="*/ 184 w 725"/>
                <a:gd name="T3" fmla="*/ 515 h 992"/>
                <a:gd name="T4" fmla="*/ 276 w 725"/>
                <a:gd name="T5" fmla="*/ 515 h 992"/>
                <a:gd name="T6" fmla="*/ 416 w 725"/>
                <a:gd name="T7" fmla="*/ 295 h 992"/>
                <a:gd name="T8" fmla="*/ 184 w 725"/>
                <a:gd name="T9" fmla="*/ 193 h 992"/>
                <a:gd name="T10" fmla="*/ 151 w 725"/>
                <a:gd name="T11" fmla="*/ 151 h 992"/>
                <a:gd name="T12" fmla="*/ 130 w 725"/>
                <a:gd name="T13" fmla="*/ 127 h 992"/>
                <a:gd name="T14" fmla="*/ 130 w 725"/>
                <a:gd name="T15" fmla="*/ 73 h 992"/>
                <a:gd name="T16" fmla="*/ 168 w 725"/>
                <a:gd name="T17" fmla="*/ 49 h 992"/>
                <a:gd name="T18" fmla="*/ 234 w 725"/>
                <a:gd name="T19" fmla="*/ 111 h 992"/>
                <a:gd name="T20" fmla="*/ 331 w 725"/>
                <a:gd name="T21" fmla="*/ 85 h 992"/>
                <a:gd name="T22" fmla="*/ 449 w 725"/>
                <a:gd name="T23" fmla="*/ 66 h 992"/>
                <a:gd name="T24" fmla="*/ 503 w 725"/>
                <a:gd name="T25" fmla="*/ 66 h 992"/>
                <a:gd name="T26" fmla="*/ 557 w 725"/>
                <a:gd name="T27" fmla="*/ 56 h 992"/>
                <a:gd name="T28" fmla="*/ 600 w 725"/>
                <a:gd name="T29" fmla="*/ 40 h 992"/>
                <a:gd name="T30" fmla="*/ 654 w 725"/>
                <a:gd name="T31" fmla="*/ 28 h 992"/>
                <a:gd name="T32" fmla="*/ 687 w 725"/>
                <a:gd name="T33" fmla="*/ 0 h 992"/>
                <a:gd name="T34" fmla="*/ 704 w 725"/>
                <a:gd name="T35" fmla="*/ 49 h 992"/>
                <a:gd name="T36" fmla="*/ 709 w 725"/>
                <a:gd name="T37" fmla="*/ 66 h 992"/>
                <a:gd name="T38" fmla="*/ 704 w 725"/>
                <a:gd name="T39" fmla="*/ 111 h 992"/>
                <a:gd name="T40" fmla="*/ 709 w 725"/>
                <a:gd name="T41" fmla="*/ 106 h 992"/>
                <a:gd name="T42" fmla="*/ 725 w 725"/>
                <a:gd name="T43" fmla="*/ 122 h 992"/>
                <a:gd name="T44" fmla="*/ 692 w 725"/>
                <a:gd name="T45" fmla="*/ 122 h 992"/>
                <a:gd name="T46" fmla="*/ 654 w 725"/>
                <a:gd name="T47" fmla="*/ 233 h 992"/>
                <a:gd name="T48" fmla="*/ 616 w 725"/>
                <a:gd name="T49" fmla="*/ 295 h 992"/>
                <a:gd name="T50" fmla="*/ 569 w 725"/>
                <a:gd name="T51" fmla="*/ 382 h 992"/>
                <a:gd name="T52" fmla="*/ 487 w 725"/>
                <a:gd name="T53" fmla="*/ 548 h 992"/>
                <a:gd name="T54" fmla="*/ 243 w 725"/>
                <a:gd name="T55" fmla="*/ 753 h 992"/>
                <a:gd name="T56" fmla="*/ 71 w 725"/>
                <a:gd name="T57" fmla="*/ 937 h 992"/>
                <a:gd name="T58" fmla="*/ 0 w 725"/>
                <a:gd name="T59" fmla="*/ 937 h 992"/>
                <a:gd name="T60" fmla="*/ 21 w 725"/>
                <a:gd name="T61" fmla="*/ 642 h 992"/>
                <a:gd name="T62" fmla="*/ 71 w 725"/>
                <a:gd name="T63" fmla="*/ 571 h 992"/>
                <a:gd name="T64" fmla="*/ 71 w 725"/>
                <a:gd name="T65" fmla="*/ 571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5" h="992">
                  <a:moveTo>
                    <a:pt x="71" y="571"/>
                  </a:moveTo>
                  <a:lnTo>
                    <a:pt x="130" y="555"/>
                  </a:lnTo>
                  <a:lnTo>
                    <a:pt x="146" y="531"/>
                  </a:lnTo>
                  <a:lnTo>
                    <a:pt x="184" y="515"/>
                  </a:lnTo>
                  <a:lnTo>
                    <a:pt x="205" y="510"/>
                  </a:lnTo>
                  <a:lnTo>
                    <a:pt x="276" y="515"/>
                  </a:lnTo>
                  <a:lnTo>
                    <a:pt x="487" y="295"/>
                  </a:lnTo>
                  <a:lnTo>
                    <a:pt x="416" y="295"/>
                  </a:lnTo>
                  <a:lnTo>
                    <a:pt x="205" y="222"/>
                  </a:lnTo>
                  <a:lnTo>
                    <a:pt x="184" y="193"/>
                  </a:lnTo>
                  <a:lnTo>
                    <a:pt x="168" y="193"/>
                  </a:lnTo>
                  <a:lnTo>
                    <a:pt x="151" y="151"/>
                  </a:lnTo>
                  <a:lnTo>
                    <a:pt x="146" y="151"/>
                  </a:lnTo>
                  <a:lnTo>
                    <a:pt x="130" y="127"/>
                  </a:lnTo>
                  <a:lnTo>
                    <a:pt x="113" y="106"/>
                  </a:lnTo>
                  <a:lnTo>
                    <a:pt x="130" y="73"/>
                  </a:lnTo>
                  <a:lnTo>
                    <a:pt x="151" y="40"/>
                  </a:lnTo>
                  <a:lnTo>
                    <a:pt x="168" y="49"/>
                  </a:lnTo>
                  <a:lnTo>
                    <a:pt x="189" y="89"/>
                  </a:lnTo>
                  <a:lnTo>
                    <a:pt x="234" y="111"/>
                  </a:lnTo>
                  <a:lnTo>
                    <a:pt x="272" y="122"/>
                  </a:lnTo>
                  <a:lnTo>
                    <a:pt x="331" y="85"/>
                  </a:lnTo>
                  <a:lnTo>
                    <a:pt x="378" y="94"/>
                  </a:lnTo>
                  <a:lnTo>
                    <a:pt x="449" y="66"/>
                  </a:lnTo>
                  <a:lnTo>
                    <a:pt x="470" y="66"/>
                  </a:lnTo>
                  <a:lnTo>
                    <a:pt x="503" y="66"/>
                  </a:lnTo>
                  <a:lnTo>
                    <a:pt x="524" y="49"/>
                  </a:lnTo>
                  <a:lnTo>
                    <a:pt x="557" y="56"/>
                  </a:lnTo>
                  <a:lnTo>
                    <a:pt x="583" y="49"/>
                  </a:lnTo>
                  <a:lnTo>
                    <a:pt x="600" y="40"/>
                  </a:lnTo>
                  <a:lnTo>
                    <a:pt x="633" y="40"/>
                  </a:lnTo>
                  <a:lnTo>
                    <a:pt x="654" y="28"/>
                  </a:lnTo>
                  <a:lnTo>
                    <a:pt x="671" y="11"/>
                  </a:lnTo>
                  <a:lnTo>
                    <a:pt x="687" y="0"/>
                  </a:lnTo>
                  <a:lnTo>
                    <a:pt x="720" y="11"/>
                  </a:lnTo>
                  <a:lnTo>
                    <a:pt x="704" y="49"/>
                  </a:lnTo>
                  <a:lnTo>
                    <a:pt x="704" y="56"/>
                  </a:lnTo>
                  <a:lnTo>
                    <a:pt x="709" y="66"/>
                  </a:lnTo>
                  <a:lnTo>
                    <a:pt x="709" y="106"/>
                  </a:lnTo>
                  <a:lnTo>
                    <a:pt x="704" y="111"/>
                  </a:lnTo>
                  <a:lnTo>
                    <a:pt x="709" y="111"/>
                  </a:lnTo>
                  <a:lnTo>
                    <a:pt x="709" y="106"/>
                  </a:lnTo>
                  <a:lnTo>
                    <a:pt x="725" y="111"/>
                  </a:lnTo>
                  <a:lnTo>
                    <a:pt x="725" y="122"/>
                  </a:lnTo>
                  <a:lnTo>
                    <a:pt x="720" y="111"/>
                  </a:lnTo>
                  <a:lnTo>
                    <a:pt x="692" y="122"/>
                  </a:lnTo>
                  <a:lnTo>
                    <a:pt x="687" y="193"/>
                  </a:lnTo>
                  <a:lnTo>
                    <a:pt x="654" y="233"/>
                  </a:lnTo>
                  <a:lnTo>
                    <a:pt x="638" y="278"/>
                  </a:lnTo>
                  <a:lnTo>
                    <a:pt x="616" y="295"/>
                  </a:lnTo>
                  <a:lnTo>
                    <a:pt x="612" y="328"/>
                  </a:lnTo>
                  <a:lnTo>
                    <a:pt x="569" y="382"/>
                  </a:lnTo>
                  <a:lnTo>
                    <a:pt x="562" y="427"/>
                  </a:lnTo>
                  <a:lnTo>
                    <a:pt x="487" y="548"/>
                  </a:lnTo>
                  <a:lnTo>
                    <a:pt x="347" y="699"/>
                  </a:lnTo>
                  <a:lnTo>
                    <a:pt x="243" y="753"/>
                  </a:lnTo>
                  <a:lnTo>
                    <a:pt x="168" y="826"/>
                  </a:lnTo>
                  <a:lnTo>
                    <a:pt x="71" y="937"/>
                  </a:lnTo>
                  <a:lnTo>
                    <a:pt x="38" y="992"/>
                  </a:lnTo>
                  <a:lnTo>
                    <a:pt x="0" y="937"/>
                  </a:lnTo>
                  <a:lnTo>
                    <a:pt x="0" y="666"/>
                  </a:lnTo>
                  <a:lnTo>
                    <a:pt x="21" y="642"/>
                  </a:lnTo>
                  <a:lnTo>
                    <a:pt x="59" y="583"/>
                  </a:lnTo>
                  <a:lnTo>
                    <a:pt x="71" y="571"/>
                  </a:lnTo>
                  <a:lnTo>
                    <a:pt x="71" y="571"/>
                  </a:lnTo>
                  <a:lnTo>
                    <a:pt x="71" y="5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6" name="Freeform 557">
              <a:extLst>
                <a:ext uri="{FF2B5EF4-FFF2-40B4-BE49-F238E27FC236}">
                  <a16:creationId xmlns:a16="http://schemas.microsoft.com/office/drawing/2014/main" id="{769207FA-BD4D-4BE8-B3B9-26BB3F650C73}"/>
                </a:ext>
              </a:extLst>
            </p:cNvPr>
            <p:cNvSpPr>
              <a:spLocks noEditPoints="1"/>
            </p:cNvSpPr>
            <p:nvPr/>
          </p:nvSpPr>
          <p:spPr bwMode="gray">
            <a:xfrm>
              <a:off x="13327844" y="3010434"/>
              <a:ext cx="513856" cy="435305"/>
            </a:xfrm>
            <a:custGeom>
              <a:avLst/>
              <a:gdLst>
                <a:gd name="T0" fmla="*/ 793 w 1570"/>
                <a:gd name="T1" fmla="*/ 251 h 1330"/>
                <a:gd name="T2" fmla="*/ 815 w 1570"/>
                <a:gd name="T3" fmla="*/ 184 h 1330"/>
                <a:gd name="T4" fmla="*/ 756 w 1570"/>
                <a:gd name="T5" fmla="*/ 173 h 1330"/>
                <a:gd name="T6" fmla="*/ 708 w 1570"/>
                <a:gd name="T7" fmla="*/ 151 h 1330"/>
                <a:gd name="T8" fmla="*/ 647 w 1570"/>
                <a:gd name="T9" fmla="*/ 151 h 1330"/>
                <a:gd name="T10" fmla="*/ 654 w 1570"/>
                <a:gd name="T11" fmla="*/ 123 h 1330"/>
                <a:gd name="T12" fmla="*/ 642 w 1570"/>
                <a:gd name="T13" fmla="*/ 111 h 1330"/>
                <a:gd name="T14" fmla="*/ 633 w 1570"/>
                <a:gd name="T15" fmla="*/ 66 h 1330"/>
                <a:gd name="T16" fmla="*/ 663 w 1570"/>
                <a:gd name="T17" fmla="*/ 45 h 1330"/>
                <a:gd name="T18" fmla="*/ 722 w 1570"/>
                <a:gd name="T19" fmla="*/ 7 h 1330"/>
                <a:gd name="T20" fmla="*/ 777 w 1570"/>
                <a:gd name="T21" fmla="*/ 24 h 1330"/>
                <a:gd name="T22" fmla="*/ 869 w 1570"/>
                <a:gd name="T23" fmla="*/ 24 h 1330"/>
                <a:gd name="T24" fmla="*/ 1063 w 1570"/>
                <a:gd name="T25" fmla="*/ 28 h 1330"/>
                <a:gd name="T26" fmla="*/ 1171 w 1570"/>
                <a:gd name="T27" fmla="*/ 62 h 1330"/>
                <a:gd name="T28" fmla="*/ 1273 w 1570"/>
                <a:gd name="T29" fmla="*/ 95 h 1330"/>
                <a:gd name="T30" fmla="*/ 1372 w 1570"/>
                <a:gd name="T31" fmla="*/ 99 h 1330"/>
                <a:gd name="T32" fmla="*/ 1436 w 1570"/>
                <a:gd name="T33" fmla="*/ 118 h 1330"/>
                <a:gd name="T34" fmla="*/ 1495 w 1570"/>
                <a:gd name="T35" fmla="*/ 123 h 1330"/>
                <a:gd name="T36" fmla="*/ 1495 w 1570"/>
                <a:gd name="T37" fmla="*/ 168 h 1330"/>
                <a:gd name="T38" fmla="*/ 1318 w 1570"/>
                <a:gd name="T39" fmla="*/ 262 h 1330"/>
                <a:gd name="T40" fmla="*/ 1327 w 1570"/>
                <a:gd name="T41" fmla="*/ 279 h 1330"/>
                <a:gd name="T42" fmla="*/ 1263 w 1570"/>
                <a:gd name="T43" fmla="*/ 411 h 1330"/>
                <a:gd name="T44" fmla="*/ 1226 w 1570"/>
                <a:gd name="T45" fmla="*/ 527 h 1330"/>
                <a:gd name="T46" fmla="*/ 1112 w 1570"/>
                <a:gd name="T47" fmla="*/ 593 h 1330"/>
                <a:gd name="T48" fmla="*/ 949 w 1570"/>
                <a:gd name="T49" fmla="*/ 617 h 1330"/>
                <a:gd name="T50" fmla="*/ 881 w 1570"/>
                <a:gd name="T51" fmla="*/ 666 h 1330"/>
                <a:gd name="T52" fmla="*/ 826 w 1570"/>
                <a:gd name="T53" fmla="*/ 600 h 1330"/>
                <a:gd name="T54" fmla="*/ 751 w 1570"/>
                <a:gd name="T55" fmla="*/ 560 h 1330"/>
                <a:gd name="T56" fmla="*/ 777 w 1570"/>
                <a:gd name="T57" fmla="*/ 489 h 1330"/>
                <a:gd name="T58" fmla="*/ 760 w 1570"/>
                <a:gd name="T59" fmla="*/ 432 h 1330"/>
                <a:gd name="T60" fmla="*/ 777 w 1570"/>
                <a:gd name="T61" fmla="*/ 354 h 1330"/>
                <a:gd name="T62" fmla="*/ 789 w 1570"/>
                <a:gd name="T63" fmla="*/ 305 h 1330"/>
                <a:gd name="T64" fmla="*/ 1544 w 1570"/>
                <a:gd name="T65" fmla="*/ 321 h 1330"/>
                <a:gd name="T66" fmla="*/ 1570 w 1570"/>
                <a:gd name="T67" fmla="*/ 350 h 1330"/>
                <a:gd name="T68" fmla="*/ 1478 w 1570"/>
                <a:gd name="T69" fmla="*/ 333 h 1330"/>
                <a:gd name="T70" fmla="*/ 1495 w 1570"/>
                <a:gd name="T71" fmla="*/ 378 h 1330"/>
                <a:gd name="T72" fmla="*/ 1441 w 1570"/>
                <a:gd name="T73" fmla="*/ 371 h 1330"/>
                <a:gd name="T74" fmla="*/ 1356 w 1570"/>
                <a:gd name="T75" fmla="*/ 416 h 1330"/>
                <a:gd name="T76" fmla="*/ 1365 w 1570"/>
                <a:gd name="T77" fmla="*/ 428 h 1330"/>
                <a:gd name="T78" fmla="*/ 1372 w 1570"/>
                <a:gd name="T79" fmla="*/ 432 h 1330"/>
                <a:gd name="T80" fmla="*/ 1372 w 1570"/>
                <a:gd name="T81" fmla="*/ 444 h 1330"/>
                <a:gd name="T82" fmla="*/ 330 w 1570"/>
                <a:gd name="T83" fmla="*/ 1202 h 1330"/>
                <a:gd name="T84" fmla="*/ 309 w 1570"/>
                <a:gd name="T85" fmla="*/ 1238 h 1330"/>
                <a:gd name="T86" fmla="*/ 16 w 1570"/>
                <a:gd name="T87" fmla="*/ 1238 h 1330"/>
                <a:gd name="T88" fmla="*/ 21 w 1570"/>
                <a:gd name="T89" fmla="*/ 1259 h 1330"/>
                <a:gd name="T90" fmla="*/ 293 w 1570"/>
                <a:gd name="T91" fmla="*/ 1243 h 1330"/>
                <a:gd name="T92" fmla="*/ 271 w 1570"/>
                <a:gd name="T93" fmla="*/ 1297 h 1330"/>
                <a:gd name="T94" fmla="*/ 87 w 1570"/>
                <a:gd name="T95" fmla="*/ 1276 h 1330"/>
                <a:gd name="T96" fmla="*/ 125 w 1570"/>
                <a:gd name="T97" fmla="*/ 1292 h 1330"/>
                <a:gd name="T98" fmla="*/ 59 w 1570"/>
                <a:gd name="T99" fmla="*/ 1297 h 1330"/>
                <a:gd name="T100" fmla="*/ 59 w 1570"/>
                <a:gd name="T101" fmla="*/ 1297 h 1330"/>
                <a:gd name="T102" fmla="*/ 163 w 1570"/>
                <a:gd name="T103" fmla="*/ 1304 h 1330"/>
                <a:gd name="T104" fmla="*/ 196 w 1570"/>
                <a:gd name="T105" fmla="*/ 1313 h 1330"/>
                <a:gd name="T106" fmla="*/ 7 w 1570"/>
                <a:gd name="T107" fmla="*/ 1330 h 1330"/>
                <a:gd name="T108" fmla="*/ 7 w 1570"/>
                <a:gd name="T109" fmla="*/ 133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70" h="1330">
                  <a:moveTo>
                    <a:pt x="789" y="305"/>
                  </a:moveTo>
                  <a:lnTo>
                    <a:pt x="793" y="300"/>
                  </a:lnTo>
                  <a:lnTo>
                    <a:pt x="793" y="284"/>
                  </a:lnTo>
                  <a:lnTo>
                    <a:pt x="793" y="251"/>
                  </a:lnTo>
                  <a:lnTo>
                    <a:pt x="789" y="239"/>
                  </a:lnTo>
                  <a:lnTo>
                    <a:pt x="826" y="210"/>
                  </a:lnTo>
                  <a:lnTo>
                    <a:pt x="843" y="189"/>
                  </a:lnTo>
                  <a:lnTo>
                    <a:pt x="815" y="184"/>
                  </a:lnTo>
                  <a:lnTo>
                    <a:pt x="810" y="156"/>
                  </a:lnTo>
                  <a:lnTo>
                    <a:pt x="772" y="156"/>
                  </a:lnTo>
                  <a:lnTo>
                    <a:pt x="772" y="168"/>
                  </a:lnTo>
                  <a:lnTo>
                    <a:pt x="756" y="173"/>
                  </a:lnTo>
                  <a:lnTo>
                    <a:pt x="734" y="168"/>
                  </a:lnTo>
                  <a:lnTo>
                    <a:pt x="701" y="173"/>
                  </a:lnTo>
                  <a:lnTo>
                    <a:pt x="696" y="168"/>
                  </a:lnTo>
                  <a:lnTo>
                    <a:pt x="708" y="151"/>
                  </a:lnTo>
                  <a:lnTo>
                    <a:pt x="696" y="139"/>
                  </a:lnTo>
                  <a:lnTo>
                    <a:pt x="654" y="156"/>
                  </a:lnTo>
                  <a:lnTo>
                    <a:pt x="647" y="168"/>
                  </a:lnTo>
                  <a:lnTo>
                    <a:pt x="647" y="151"/>
                  </a:lnTo>
                  <a:lnTo>
                    <a:pt x="670" y="123"/>
                  </a:lnTo>
                  <a:lnTo>
                    <a:pt x="647" y="135"/>
                  </a:lnTo>
                  <a:lnTo>
                    <a:pt x="663" y="118"/>
                  </a:lnTo>
                  <a:lnTo>
                    <a:pt x="654" y="123"/>
                  </a:lnTo>
                  <a:lnTo>
                    <a:pt x="647" y="118"/>
                  </a:lnTo>
                  <a:lnTo>
                    <a:pt x="654" y="118"/>
                  </a:lnTo>
                  <a:lnTo>
                    <a:pt x="663" y="95"/>
                  </a:lnTo>
                  <a:lnTo>
                    <a:pt x="642" y="111"/>
                  </a:lnTo>
                  <a:lnTo>
                    <a:pt x="642" y="95"/>
                  </a:lnTo>
                  <a:lnTo>
                    <a:pt x="647" y="83"/>
                  </a:lnTo>
                  <a:lnTo>
                    <a:pt x="633" y="95"/>
                  </a:lnTo>
                  <a:lnTo>
                    <a:pt x="633" y="66"/>
                  </a:lnTo>
                  <a:lnTo>
                    <a:pt x="626" y="78"/>
                  </a:lnTo>
                  <a:lnTo>
                    <a:pt x="626" y="57"/>
                  </a:lnTo>
                  <a:lnTo>
                    <a:pt x="647" y="40"/>
                  </a:lnTo>
                  <a:lnTo>
                    <a:pt x="663" y="45"/>
                  </a:lnTo>
                  <a:lnTo>
                    <a:pt x="685" y="28"/>
                  </a:lnTo>
                  <a:lnTo>
                    <a:pt x="696" y="24"/>
                  </a:lnTo>
                  <a:lnTo>
                    <a:pt x="718" y="0"/>
                  </a:lnTo>
                  <a:lnTo>
                    <a:pt x="722" y="7"/>
                  </a:lnTo>
                  <a:lnTo>
                    <a:pt x="751" y="7"/>
                  </a:lnTo>
                  <a:lnTo>
                    <a:pt x="760" y="24"/>
                  </a:lnTo>
                  <a:lnTo>
                    <a:pt x="777" y="24"/>
                  </a:lnTo>
                  <a:lnTo>
                    <a:pt x="777" y="24"/>
                  </a:lnTo>
                  <a:lnTo>
                    <a:pt x="789" y="12"/>
                  </a:lnTo>
                  <a:lnTo>
                    <a:pt x="848" y="24"/>
                  </a:lnTo>
                  <a:lnTo>
                    <a:pt x="864" y="12"/>
                  </a:lnTo>
                  <a:lnTo>
                    <a:pt x="869" y="24"/>
                  </a:lnTo>
                  <a:lnTo>
                    <a:pt x="956" y="28"/>
                  </a:lnTo>
                  <a:lnTo>
                    <a:pt x="1020" y="24"/>
                  </a:lnTo>
                  <a:lnTo>
                    <a:pt x="1048" y="40"/>
                  </a:lnTo>
                  <a:lnTo>
                    <a:pt x="1063" y="28"/>
                  </a:lnTo>
                  <a:lnTo>
                    <a:pt x="1112" y="45"/>
                  </a:lnTo>
                  <a:lnTo>
                    <a:pt x="1150" y="40"/>
                  </a:lnTo>
                  <a:lnTo>
                    <a:pt x="1171" y="45"/>
                  </a:lnTo>
                  <a:lnTo>
                    <a:pt x="1171" y="62"/>
                  </a:lnTo>
                  <a:lnTo>
                    <a:pt x="1221" y="66"/>
                  </a:lnTo>
                  <a:lnTo>
                    <a:pt x="1237" y="83"/>
                  </a:lnTo>
                  <a:lnTo>
                    <a:pt x="1247" y="83"/>
                  </a:lnTo>
                  <a:lnTo>
                    <a:pt x="1273" y="95"/>
                  </a:lnTo>
                  <a:lnTo>
                    <a:pt x="1318" y="95"/>
                  </a:lnTo>
                  <a:lnTo>
                    <a:pt x="1327" y="78"/>
                  </a:lnTo>
                  <a:lnTo>
                    <a:pt x="1365" y="95"/>
                  </a:lnTo>
                  <a:lnTo>
                    <a:pt x="1372" y="99"/>
                  </a:lnTo>
                  <a:lnTo>
                    <a:pt x="1372" y="118"/>
                  </a:lnTo>
                  <a:lnTo>
                    <a:pt x="1398" y="111"/>
                  </a:lnTo>
                  <a:lnTo>
                    <a:pt x="1410" y="123"/>
                  </a:lnTo>
                  <a:lnTo>
                    <a:pt x="1436" y="118"/>
                  </a:lnTo>
                  <a:lnTo>
                    <a:pt x="1452" y="123"/>
                  </a:lnTo>
                  <a:lnTo>
                    <a:pt x="1478" y="118"/>
                  </a:lnTo>
                  <a:lnTo>
                    <a:pt x="1495" y="118"/>
                  </a:lnTo>
                  <a:lnTo>
                    <a:pt x="1495" y="123"/>
                  </a:lnTo>
                  <a:lnTo>
                    <a:pt x="1507" y="123"/>
                  </a:lnTo>
                  <a:lnTo>
                    <a:pt x="1490" y="135"/>
                  </a:lnTo>
                  <a:lnTo>
                    <a:pt x="1495" y="151"/>
                  </a:lnTo>
                  <a:lnTo>
                    <a:pt x="1495" y="168"/>
                  </a:lnTo>
                  <a:lnTo>
                    <a:pt x="1436" y="206"/>
                  </a:lnTo>
                  <a:lnTo>
                    <a:pt x="1419" y="222"/>
                  </a:lnTo>
                  <a:lnTo>
                    <a:pt x="1344" y="239"/>
                  </a:lnTo>
                  <a:lnTo>
                    <a:pt x="1318" y="262"/>
                  </a:lnTo>
                  <a:lnTo>
                    <a:pt x="1334" y="267"/>
                  </a:lnTo>
                  <a:lnTo>
                    <a:pt x="1318" y="279"/>
                  </a:lnTo>
                  <a:lnTo>
                    <a:pt x="1318" y="279"/>
                  </a:lnTo>
                  <a:lnTo>
                    <a:pt x="1327" y="279"/>
                  </a:lnTo>
                  <a:lnTo>
                    <a:pt x="1311" y="279"/>
                  </a:lnTo>
                  <a:lnTo>
                    <a:pt x="1273" y="321"/>
                  </a:lnTo>
                  <a:lnTo>
                    <a:pt x="1247" y="371"/>
                  </a:lnTo>
                  <a:lnTo>
                    <a:pt x="1263" y="411"/>
                  </a:lnTo>
                  <a:lnTo>
                    <a:pt x="1289" y="432"/>
                  </a:lnTo>
                  <a:lnTo>
                    <a:pt x="1237" y="465"/>
                  </a:lnTo>
                  <a:lnTo>
                    <a:pt x="1209" y="522"/>
                  </a:lnTo>
                  <a:lnTo>
                    <a:pt x="1226" y="527"/>
                  </a:lnTo>
                  <a:lnTo>
                    <a:pt x="1183" y="527"/>
                  </a:lnTo>
                  <a:lnTo>
                    <a:pt x="1155" y="543"/>
                  </a:lnTo>
                  <a:lnTo>
                    <a:pt x="1129" y="600"/>
                  </a:lnTo>
                  <a:lnTo>
                    <a:pt x="1112" y="593"/>
                  </a:lnTo>
                  <a:lnTo>
                    <a:pt x="1079" y="610"/>
                  </a:lnTo>
                  <a:lnTo>
                    <a:pt x="1063" y="600"/>
                  </a:lnTo>
                  <a:lnTo>
                    <a:pt x="966" y="600"/>
                  </a:lnTo>
                  <a:lnTo>
                    <a:pt x="949" y="617"/>
                  </a:lnTo>
                  <a:lnTo>
                    <a:pt x="911" y="626"/>
                  </a:lnTo>
                  <a:lnTo>
                    <a:pt x="902" y="650"/>
                  </a:lnTo>
                  <a:lnTo>
                    <a:pt x="897" y="650"/>
                  </a:lnTo>
                  <a:lnTo>
                    <a:pt x="881" y="666"/>
                  </a:lnTo>
                  <a:lnTo>
                    <a:pt x="848" y="650"/>
                  </a:lnTo>
                  <a:lnTo>
                    <a:pt x="831" y="626"/>
                  </a:lnTo>
                  <a:lnTo>
                    <a:pt x="843" y="617"/>
                  </a:lnTo>
                  <a:lnTo>
                    <a:pt x="826" y="600"/>
                  </a:lnTo>
                  <a:lnTo>
                    <a:pt x="826" y="593"/>
                  </a:lnTo>
                  <a:lnTo>
                    <a:pt x="789" y="560"/>
                  </a:lnTo>
                  <a:lnTo>
                    <a:pt x="756" y="560"/>
                  </a:lnTo>
                  <a:lnTo>
                    <a:pt x="751" y="560"/>
                  </a:lnTo>
                  <a:lnTo>
                    <a:pt x="751" y="527"/>
                  </a:lnTo>
                  <a:lnTo>
                    <a:pt x="751" y="522"/>
                  </a:lnTo>
                  <a:lnTo>
                    <a:pt x="760" y="499"/>
                  </a:lnTo>
                  <a:lnTo>
                    <a:pt x="777" y="489"/>
                  </a:lnTo>
                  <a:lnTo>
                    <a:pt x="789" y="482"/>
                  </a:lnTo>
                  <a:lnTo>
                    <a:pt x="777" y="482"/>
                  </a:lnTo>
                  <a:lnTo>
                    <a:pt x="756" y="461"/>
                  </a:lnTo>
                  <a:lnTo>
                    <a:pt x="760" y="432"/>
                  </a:lnTo>
                  <a:lnTo>
                    <a:pt x="789" y="411"/>
                  </a:lnTo>
                  <a:lnTo>
                    <a:pt x="760" y="395"/>
                  </a:lnTo>
                  <a:lnTo>
                    <a:pt x="751" y="354"/>
                  </a:lnTo>
                  <a:lnTo>
                    <a:pt x="777" y="354"/>
                  </a:lnTo>
                  <a:lnTo>
                    <a:pt x="793" y="321"/>
                  </a:lnTo>
                  <a:lnTo>
                    <a:pt x="777" y="317"/>
                  </a:lnTo>
                  <a:lnTo>
                    <a:pt x="789" y="305"/>
                  </a:lnTo>
                  <a:lnTo>
                    <a:pt x="789" y="305"/>
                  </a:lnTo>
                  <a:lnTo>
                    <a:pt x="789" y="305"/>
                  </a:lnTo>
                  <a:close/>
                  <a:moveTo>
                    <a:pt x="1570" y="350"/>
                  </a:moveTo>
                  <a:lnTo>
                    <a:pt x="1544" y="333"/>
                  </a:lnTo>
                  <a:lnTo>
                    <a:pt x="1544" y="321"/>
                  </a:lnTo>
                  <a:lnTo>
                    <a:pt x="1566" y="321"/>
                  </a:lnTo>
                  <a:lnTo>
                    <a:pt x="1570" y="338"/>
                  </a:lnTo>
                  <a:lnTo>
                    <a:pt x="1570" y="350"/>
                  </a:lnTo>
                  <a:lnTo>
                    <a:pt x="1570" y="350"/>
                  </a:lnTo>
                  <a:lnTo>
                    <a:pt x="1570" y="350"/>
                  </a:lnTo>
                  <a:close/>
                  <a:moveTo>
                    <a:pt x="1441" y="371"/>
                  </a:moveTo>
                  <a:lnTo>
                    <a:pt x="1441" y="362"/>
                  </a:lnTo>
                  <a:lnTo>
                    <a:pt x="1478" y="333"/>
                  </a:lnTo>
                  <a:lnTo>
                    <a:pt x="1490" y="333"/>
                  </a:lnTo>
                  <a:lnTo>
                    <a:pt x="1495" y="350"/>
                  </a:lnTo>
                  <a:lnTo>
                    <a:pt x="1516" y="350"/>
                  </a:lnTo>
                  <a:lnTo>
                    <a:pt x="1495" y="378"/>
                  </a:lnTo>
                  <a:lnTo>
                    <a:pt x="1490" y="388"/>
                  </a:lnTo>
                  <a:lnTo>
                    <a:pt x="1462" y="378"/>
                  </a:lnTo>
                  <a:lnTo>
                    <a:pt x="1457" y="362"/>
                  </a:lnTo>
                  <a:lnTo>
                    <a:pt x="1441" y="371"/>
                  </a:lnTo>
                  <a:lnTo>
                    <a:pt x="1441" y="371"/>
                  </a:lnTo>
                  <a:lnTo>
                    <a:pt x="1441" y="371"/>
                  </a:lnTo>
                  <a:close/>
                  <a:moveTo>
                    <a:pt x="1365" y="428"/>
                  </a:moveTo>
                  <a:lnTo>
                    <a:pt x="1356" y="416"/>
                  </a:lnTo>
                  <a:lnTo>
                    <a:pt x="1365" y="411"/>
                  </a:lnTo>
                  <a:lnTo>
                    <a:pt x="1386" y="406"/>
                  </a:lnTo>
                  <a:lnTo>
                    <a:pt x="1386" y="411"/>
                  </a:lnTo>
                  <a:lnTo>
                    <a:pt x="1365" y="428"/>
                  </a:lnTo>
                  <a:lnTo>
                    <a:pt x="1365" y="428"/>
                  </a:lnTo>
                  <a:lnTo>
                    <a:pt x="1365" y="428"/>
                  </a:lnTo>
                  <a:close/>
                  <a:moveTo>
                    <a:pt x="1372" y="444"/>
                  </a:moveTo>
                  <a:lnTo>
                    <a:pt x="1372" y="432"/>
                  </a:lnTo>
                  <a:lnTo>
                    <a:pt x="1382" y="444"/>
                  </a:lnTo>
                  <a:lnTo>
                    <a:pt x="1372" y="444"/>
                  </a:lnTo>
                  <a:lnTo>
                    <a:pt x="1372" y="444"/>
                  </a:lnTo>
                  <a:lnTo>
                    <a:pt x="1372" y="444"/>
                  </a:lnTo>
                  <a:close/>
                  <a:moveTo>
                    <a:pt x="309" y="1238"/>
                  </a:moveTo>
                  <a:lnTo>
                    <a:pt x="302" y="1226"/>
                  </a:lnTo>
                  <a:lnTo>
                    <a:pt x="309" y="1219"/>
                  </a:lnTo>
                  <a:lnTo>
                    <a:pt x="330" y="1202"/>
                  </a:lnTo>
                  <a:lnTo>
                    <a:pt x="323" y="1226"/>
                  </a:lnTo>
                  <a:lnTo>
                    <a:pt x="309" y="1238"/>
                  </a:lnTo>
                  <a:lnTo>
                    <a:pt x="309" y="1238"/>
                  </a:lnTo>
                  <a:lnTo>
                    <a:pt x="309" y="1238"/>
                  </a:lnTo>
                  <a:close/>
                  <a:moveTo>
                    <a:pt x="21" y="1259"/>
                  </a:moveTo>
                  <a:lnTo>
                    <a:pt x="21" y="1264"/>
                  </a:lnTo>
                  <a:lnTo>
                    <a:pt x="7" y="1243"/>
                  </a:lnTo>
                  <a:lnTo>
                    <a:pt x="16" y="1238"/>
                  </a:lnTo>
                  <a:lnTo>
                    <a:pt x="33" y="1243"/>
                  </a:lnTo>
                  <a:lnTo>
                    <a:pt x="21" y="1259"/>
                  </a:lnTo>
                  <a:lnTo>
                    <a:pt x="21" y="1259"/>
                  </a:lnTo>
                  <a:lnTo>
                    <a:pt x="21" y="1259"/>
                  </a:lnTo>
                  <a:close/>
                  <a:moveTo>
                    <a:pt x="271" y="1297"/>
                  </a:moveTo>
                  <a:lnTo>
                    <a:pt x="264" y="1297"/>
                  </a:lnTo>
                  <a:lnTo>
                    <a:pt x="276" y="1280"/>
                  </a:lnTo>
                  <a:lnTo>
                    <a:pt x="293" y="1243"/>
                  </a:lnTo>
                  <a:lnTo>
                    <a:pt x="302" y="1243"/>
                  </a:lnTo>
                  <a:lnTo>
                    <a:pt x="302" y="1259"/>
                  </a:lnTo>
                  <a:lnTo>
                    <a:pt x="293" y="1280"/>
                  </a:lnTo>
                  <a:lnTo>
                    <a:pt x="271" y="1297"/>
                  </a:lnTo>
                  <a:lnTo>
                    <a:pt x="271" y="1297"/>
                  </a:lnTo>
                  <a:lnTo>
                    <a:pt x="271" y="1297"/>
                  </a:lnTo>
                  <a:close/>
                  <a:moveTo>
                    <a:pt x="104" y="1297"/>
                  </a:moveTo>
                  <a:lnTo>
                    <a:pt x="87" y="1276"/>
                  </a:lnTo>
                  <a:lnTo>
                    <a:pt x="108" y="1264"/>
                  </a:lnTo>
                  <a:lnTo>
                    <a:pt x="125" y="1259"/>
                  </a:lnTo>
                  <a:lnTo>
                    <a:pt x="141" y="1259"/>
                  </a:lnTo>
                  <a:lnTo>
                    <a:pt x="125" y="1292"/>
                  </a:lnTo>
                  <a:lnTo>
                    <a:pt x="104" y="1297"/>
                  </a:lnTo>
                  <a:lnTo>
                    <a:pt x="104" y="1297"/>
                  </a:lnTo>
                  <a:lnTo>
                    <a:pt x="104" y="1297"/>
                  </a:lnTo>
                  <a:close/>
                  <a:moveTo>
                    <a:pt x="59" y="1297"/>
                  </a:moveTo>
                  <a:lnTo>
                    <a:pt x="54" y="1292"/>
                  </a:lnTo>
                  <a:lnTo>
                    <a:pt x="59" y="1280"/>
                  </a:lnTo>
                  <a:lnTo>
                    <a:pt x="75" y="1292"/>
                  </a:lnTo>
                  <a:lnTo>
                    <a:pt x="59" y="1297"/>
                  </a:lnTo>
                  <a:lnTo>
                    <a:pt x="59" y="1297"/>
                  </a:lnTo>
                  <a:lnTo>
                    <a:pt x="59" y="1297"/>
                  </a:lnTo>
                  <a:close/>
                  <a:moveTo>
                    <a:pt x="179" y="1321"/>
                  </a:moveTo>
                  <a:lnTo>
                    <a:pt x="163" y="1304"/>
                  </a:lnTo>
                  <a:lnTo>
                    <a:pt x="167" y="1292"/>
                  </a:lnTo>
                  <a:lnTo>
                    <a:pt x="196" y="1292"/>
                  </a:lnTo>
                  <a:lnTo>
                    <a:pt x="196" y="1297"/>
                  </a:lnTo>
                  <a:lnTo>
                    <a:pt x="196" y="1313"/>
                  </a:lnTo>
                  <a:lnTo>
                    <a:pt x="179" y="1321"/>
                  </a:lnTo>
                  <a:lnTo>
                    <a:pt x="179" y="1321"/>
                  </a:lnTo>
                  <a:lnTo>
                    <a:pt x="179" y="1321"/>
                  </a:lnTo>
                  <a:close/>
                  <a:moveTo>
                    <a:pt x="7" y="1330"/>
                  </a:moveTo>
                  <a:lnTo>
                    <a:pt x="0" y="1321"/>
                  </a:lnTo>
                  <a:lnTo>
                    <a:pt x="16" y="1313"/>
                  </a:lnTo>
                  <a:lnTo>
                    <a:pt x="7" y="1330"/>
                  </a:lnTo>
                  <a:lnTo>
                    <a:pt x="7" y="1330"/>
                  </a:lnTo>
                  <a:lnTo>
                    <a:pt x="7" y="133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7" name="Freeform 558">
              <a:extLst>
                <a:ext uri="{FF2B5EF4-FFF2-40B4-BE49-F238E27FC236}">
                  <a16:creationId xmlns:a16="http://schemas.microsoft.com/office/drawing/2014/main" id="{36C9F3A2-5FF9-4535-84A9-852BC6730139}"/>
                </a:ext>
              </a:extLst>
            </p:cNvPr>
            <p:cNvSpPr>
              <a:spLocks/>
            </p:cNvSpPr>
            <p:nvPr/>
          </p:nvSpPr>
          <p:spPr bwMode="gray">
            <a:xfrm>
              <a:off x="14176524" y="2940066"/>
              <a:ext cx="95243" cy="125355"/>
            </a:xfrm>
            <a:custGeom>
              <a:avLst/>
              <a:gdLst>
                <a:gd name="T0" fmla="*/ 90 w 291"/>
                <a:gd name="T1" fmla="*/ 317 h 383"/>
                <a:gd name="T2" fmla="*/ 102 w 291"/>
                <a:gd name="T3" fmla="*/ 300 h 383"/>
                <a:gd name="T4" fmla="*/ 107 w 291"/>
                <a:gd name="T5" fmla="*/ 295 h 383"/>
                <a:gd name="T6" fmla="*/ 31 w 291"/>
                <a:gd name="T7" fmla="*/ 239 h 383"/>
                <a:gd name="T8" fmla="*/ 48 w 291"/>
                <a:gd name="T9" fmla="*/ 222 h 383"/>
                <a:gd name="T10" fmla="*/ 48 w 291"/>
                <a:gd name="T11" fmla="*/ 201 h 383"/>
                <a:gd name="T12" fmla="*/ 22 w 291"/>
                <a:gd name="T13" fmla="*/ 168 h 383"/>
                <a:gd name="T14" fmla="*/ 14 w 291"/>
                <a:gd name="T15" fmla="*/ 118 h 383"/>
                <a:gd name="T16" fmla="*/ 48 w 291"/>
                <a:gd name="T17" fmla="*/ 90 h 383"/>
                <a:gd name="T18" fmla="*/ 14 w 291"/>
                <a:gd name="T19" fmla="*/ 62 h 383"/>
                <a:gd name="T20" fmla="*/ 5 w 291"/>
                <a:gd name="T21" fmla="*/ 57 h 383"/>
                <a:gd name="T22" fmla="*/ 0 w 291"/>
                <a:gd name="T23" fmla="*/ 24 h 383"/>
                <a:gd name="T24" fmla="*/ 31 w 291"/>
                <a:gd name="T25" fmla="*/ 17 h 383"/>
                <a:gd name="T26" fmla="*/ 102 w 291"/>
                <a:gd name="T27" fmla="*/ 7 h 383"/>
                <a:gd name="T28" fmla="*/ 140 w 291"/>
                <a:gd name="T29" fmla="*/ 40 h 383"/>
                <a:gd name="T30" fmla="*/ 194 w 291"/>
                <a:gd name="T31" fmla="*/ 95 h 383"/>
                <a:gd name="T32" fmla="*/ 194 w 291"/>
                <a:gd name="T33" fmla="*/ 118 h 383"/>
                <a:gd name="T34" fmla="*/ 182 w 291"/>
                <a:gd name="T35" fmla="*/ 128 h 383"/>
                <a:gd name="T36" fmla="*/ 199 w 291"/>
                <a:gd name="T37" fmla="*/ 135 h 383"/>
                <a:gd name="T38" fmla="*/ 232 w 291"/>
                <a:gd name="T39" fmla="*/ 151 h 383"/>
                <a:gd name="T40" fmla="*/ 253 w 291"/>
                <a:gd name="T41" fmla="*/ 135 h 383"/>
                <a:gd name="T42" fmla="*/ 253 w 291"/>
                <a:gd name="T43" fmla="*/ 151 h 383"/>
                <a:gd name="T44" fmla="*/ 253 w 291"/>
                <a:gd name="T45" fmla="*/ 201 h 383"/>
                <a:gd name="T46" fmla="*/ 265 w 291"/>
                <a:gd name="T47" fmla="*/ 246 h 383"/>
                <a:gd name="T48" fmla="*/ 279 w 291"/>
                <a:gd name="T49" fmla="*/ 295 h 383"/>
                <a:gd name="T50" fmla="*/ 253 w 291"/>
                <a:gd name="T51" fmla="*/ 317 h 383"/>
                <a:gd name="T52" fmla="*/ 248 w 291"/>
                <a:gd name="T53" fmla="*/ 338 h 383"/>
                <a:gd name="T54" fmla="*/ 199 w 291"/>
                <a:gd name="T55" fmla="*/ 350 h 383"/>
                <a:gd name="T56" fmla="*/ 177 w 291"/>
                <a:gd name="T57" fmla="*/ 354 h 383"/>
                <a:gd name="T58" fmla="*/ 140 w 291"/>
                <a:gd name="T59" fmla="*/ 366 h 383"/>
                <a:gd name="T60" fmla="*/ 123 w 291"/>
                <a:gd name="T61" fmla="*/ 383 h 383"/>
                <a:gd name="T62" fmla="*/ 102 w 291"/>
                <a:gd name="T63" fmla="*/ 338 h 383"/>
                <a:gd name="T64" fmla="*/ 85 w 291"/>
                <a:gd name="T65" fmla="*/ 32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 h="383">
                  <a:moveTo>
                    <a:pt x="85" y="329"/>
                  </a:moveTo>
                  <a:lnTo>
                    <a:pt x="90" y="317"/>
                  </a:lnTo>
                  <a:lnTo>
                    <a:pt x="85" y="312"/>
                  </a:lnTo>
                  <a:lnTo>
                    <a:pt x="102" y="300"/>
                  </a:lnTo>
                  <a:lnTo>
                    <a:pt x="107" y="300"/>
                  </a:lnTo>
                  <a:lnTo>
                    <a:pt x="107" y="295"/>
                  </a:lnTo>
                  <a:lnTo>
                    <a:pt x="64" y="272"/>
                  </a:lnTo>
                  <a:lnTo>
                    <a:pt x="31" y="239"/>
                  </a:lnTo>
                  <a:lnTo>
                    <a:pt x="48" y="239"/>
                  </a:lnTo>
                  <a:lnTo>
                    <a:pt x="48" y="222"/>
                  </a:lnTo>
                  <a:lnTo>
                    <a:pt x="31" y="201"/>
                  </a:lnTo>
                  <a:lnTo>
                    <a:pt x="48" y="201"/>
                  </a:lnTo>
                  <a:lnTo>
                    <a:pt x="52" y="189"/>
                  </a:lnTo>
                  <a:lnTo>
                    <a:pt x="22" y="168"/>
                  </a:lnTo>
                  <a:lnTo>
                    <a:pt x="38" y="118"/>
                  </a:lnTo>
                  <a:lnTo>
                    <a:pt x="14" y="118"/>
                  </a:lnTo>
                  <a:lnTo>
                    <a:pt x="22" y="90"/>
                  </a:lnTo>
                  <a:lnTo>
                    <a:pt x="48" y="90"/>
                  </a:lnTo>
                  <a:lnTo>
                    <a:pt x="14" y="73"/>
                  </a:lnTo>
                  <a:lnTo>
                    <a:pt x="14" y="62"/>
                  </a:lnTo>
                  <a:lnTo>
                    <a:pt x="22" y="62"/>
                  </a:lnTo>
                  <a:lnTo>
                    <a:pt x="5" y="57"/>
                  </a:lnTo>
                  <a:lnTo>
                    <a:pt x="5" y="40"/>
                  </a:lnTo>
                  <a:lnTo>
                    <a:pt x="0" y="24"/>
                  </a:lnTo>
                  <a:lnTo>
                    <a:pt x="22" y="17"/>
                  </a:lnTo>
                  <a:lnTo>
                    <a:pt x="31" y="17"/>
                  </a:lnTo>
                  <a:lnTo>
                    <a:pt x="52" y="0"/>
                  </a:lnTo>
                  <a:lnTo>
                    <a:pt x="102" y="7"/>
                  </a:lnTo>
                  <a:lnTo>
                    <a:pt x="128" y="40"/>
                  </a:lnTo>
                  <a:lnTo>
                    <a:pt x="140" y="40"/>
                  </a:lnTo>
                  <a:lnTo>
                    <a:pt x="140" y="62"/>
                  </a:lnTo>
                  <a:lnTo>
                    <a:pt x="194" y="95"/>
                  </a:lnTo>
                  <a:lnTo>
                    <a:pt x="177" y="111"/>
                  </a:lnTo>
                  <a:lnTo>
                    <a:pt x="194" y="118"/>
                  </a:lnTo>
                  <a:lnTo>
                    <a:pt x="177" y="118"/>
                  </a:lnTo>
                  <a:lnTo>
                    <a:pt x="182" y="128"/>
                  </a:lnTo>
                  <a:lnTo>
                    <a:pt x="194" y="128"/>
                  </a:lnTo>
                  <a:lnTo>
                    <a:pt x="199" y="135"/>
                  </a:lnTo>
                  <a:lnTo>
                    <a:pt x="227" y="144"/>
                  </a:lnTo>
                  <a:lnTo>
                    <a:pt x="232" y="151"/>
                  </a:lnTo>
                  <a:lnTo>
                    <a:pt x="248" y="135"/>
                  </a:lnTo>
                  <a:lnTo>
                    <a:pt x="253" y="135"/>
                  </a:lnTo>
                  <a:lnTo>
                    <a:pt x="279" y="151"/>
                  </a:lnTo>
                  <a:lnTo>
                    <a:pt x="253" y="151"/>
                  </a:lnTo>
                  <a:lnTo>
                    <a:pt x="270" y="173"/>
                  </a:lnTo>
                  <a:lnTo>
                    <a:pt x="253" y="201"/>
                  </a:lnTo>
                  <a:lnTo>
                    <a:pt x="248" y="217"/>
                  </a:lnTo>
                  <a:lnTo>
                    <a:pt x="265" y="246"/>
                  </a:lnTo>
                  <a:lnTo>
                    <a:pt x="291" y="272"/>
                  </a:lnTo>
                  <a:lnTo>
                    <a:pt x="279" y="295"/>
                  </a:lnTo>
                  <a:lnTo>
                    <a:pt x="253" y="300"/>
                  </a:lnTo>
                  <a:lnTo>
                    <a:pt x="253" y="317"/>
                  </a:lnTo>
                  <a:lnTo>
                    <a:pt x="265" y="333"/>
                  </a:lnTo>
                  <a:lnTo>
                    <a:pt x="248" y="338"/>
                  </a:lnTo>
                  <a:lnTo>
                    <a:pt x="215" y="338"/>
                  </a:lnTo>
                  <a:lnTo>
                    <a:pt x="199" y="350"/>
                  </a:lnTo>
                  <a:lnTo>
                    <a:pt x="182" y="350"/>
                  </a:lnTo>
                  <a:lnTo>
                    <a:pt x="177" y="354"/>
                  </a:lnTo>
                  <a:lnTo>
                    <a:pt x="161" y="354"/>
                  </a:lnTo>
                  <a:lnTo>
                    <a:pt x="140" y="366"/>
                  </a:lnTo>
                  <a:lnTo>
                    <a:pt x="128" y="383"/>
                  </a:lnTo>
                  <a:lnTo>
                    <a:pt x="123" y="383"/>
                  </a:lnTo>
                  <a:lnTo>
                    <a:pt x="123" y="350"/>
                  </a:lnTo>
                  <a:lnTo>
                    <a:pt x="102" y="338"/>
                  </a:lnTo>
                  <a:lnTo>
                    <a:pt x="85" y="329"/>
                  </a:lnTo>
                  <a:lnTo>
                    <a:pt x="85" y="329"/>
                  </a:lnTo>
                  <a:lnTo>
                    <a:pt x="85" y="32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8" name="Freeform 559">
              <a:extLst>
                <a:ext uri="{FF2B5EF4-FFF2-40B4-BE49-F238E27FC236}">
                  <a16:creationId xmlns:a16="http://schemas.microsoft.com/office/drawing/2014/main" id="{16CC72DB-C436-4B5E-8A47-EE43ED719071}"/>
                </a:ext>
              </a:extLst>
            </p:cNvPr>
            <p:cNvSpPr>
              <a:spLocks/>
            </p:cNvSpPr>
            <p:nvPr/>
          </p:nvSpPr>
          <p:spPr bwMode="gray">
            <a:xfrm>
              <a:off x="12343663" y="3780563"/>
              <a:ext cx="5237" cy="6873"/>
            </a:xfrm>
            <a:custGeom>
              <a:avLst/>
              <a:gdLst>
                <a:gd name="T0" fmla="*/ 4 w 16"/>
                <a:gd name="T1" fmla="*/ 21 h 21"/>
                <a:gd name="T2" fmla="*/ 0 w 16"/>
                <a:gd name="T3" fmla="*/ 16 h 21"/>
                <a:gd name="T4" fmla="*/ 4 w 16"/>
                <a:gd name="T5" fmla="*/ 0 h 21"/>
                <a:gd name="T6" fmla="*/ 16 w 16"/>
                <a:gd name="T7" fmla="*/ 9 h 21"/>
                <a:gd name="T8" fmla="*/ 4 w 16"/>
                <a:gd name="T9" fmla="*/ 21 h 21"/>
                <a:gd name="T10" fmla="*/ 4 w 16"/>
                <a:gd name="T11" fmla="*/ 21 h 21"/>
                <a:gd name="T12" fmla="*/ 4 w 16"/>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6" h="21">
                  <a:moveTo>
                    <a:pt x="4" y="21"/>
                  </a:moveTo>
                  <a:lnTo>
                    <a:pt x="0" y="16"/>
                  </a:lnTo>
                  <a:lnTo>
                    <a:pt x="4" y="0"/>
                  </a:lnTo>
                  <a:lnTo>
                    <a:pt x="16" y="9"/>
                  </a:lnTo>
                  <a:lnTo>
                    <a:pt x="4" y="21"/>
                  </a:lnTo>
                  <a:lnTo>
                    <a:pt x="4" y="21"/>
                  </a:lnTo>
                  <a:lnTo>
                    <a:pt x="4" y="2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9" name="Freeform 560">
              <a:extLst>
                <a:ext uri="{FF2B5EF4-FFF2-40B4-BE49-F238E27FC236}">
                  <a16:creationId xmlns:a16="http://schemas.microsoft.com/office/drawing/2014/main" id="{91ECFE5D-0D43-4394-BA19-2B09ECD1B187}"/>
                </a:ext>
              </a:extLst>
            </p:cNvPr>
            <p:cNvSpPr>
              <a:spLocks noEditPoints="1"/>
            </p:cNvSpPr>
            <p:nvPr/>
          </p:nvSpPr>
          <p:spPr bwMode="gray">
            <a:xfrm>
              <a:off x="13984074" y="1597822"/>
              <a:ext cx="605499" cy="323369"/>
            </a:xfrm>
            <a:custGeom>
              <a:avLst/>
              <a:gdLst>
                <a:gd name="T0" fmla="*/ 749 w 1850"/>
                <a:gd name="T1" fmla="*/ 22 h 988"/>
                <a:gd name="T2" fmla="*/ 706 w 1850"/>
                <a:gd name="T3" fmla="*/ 17 h 988"/>
                <a:gd name="T4" fmla="*/ 678 w 1850"/>
                <a:gd name="T5" fmla="*/ 38 h 988"/>
                <a:gd name="T6" fmla="*/ 959 w 1850"/>
                <a:gd name="T7" fmla="*/ 43 h 988"/>
                <a:gd name="T8" fmla="*/ 834 w 1850"/>
                <a:gd name="T9" fmla="*/ 60 h 988"/>
                <a:gd name="T10" fmla="*/ 905 w 1850"/>
                <a:gd name="T11" fmla="*/ 71 h 988"/>
                <a:gd name="T12" fmla="*/ 933 w 1850"/>
                <a:gd name="T13" fmla="*/ 78 h 988"/>
                <a:gd name="T14" fmla="*/ 1013 w 1850"/>
                <a:gd name="T15" fmla="*/ 78 h 988"/>
                <a:gd name="T16" fmla="*/ 1082 w 1850"/>
                <a:gd name="T17" fmla="*/ 187 h 988"/>
                <a:gd name="T18" fmla="*/ 921 w 1850"/>
                <a:gd name="T19" fmla="*/ 260 h 988"/>
                <a:gd name="T20" fmla="*/ 690 w 1850"/>
                <a:gd name="T21" fmla="*/ 187 h 988"/>
                <a:gd name="T22" fmla="*/ 586 w 1850"/>
                <a:gd name="T23" fmla="*/ 128 h 988"/>
                <a:gd name="T24" fmla="*/ 657 w 1850"/>
                <a:gd name="T25" fmla="*/ 95 h 988"/>
                <a:gd name="T26" fmla="*/ 728 w 1850"/>
                <a:gd name="T27" fmla="*/ 78 h 988"/>
                <a:gd name="T28" fmla="*/ 825 w 1850"/>
                <a:gd name="T29" fmla="*/ 133 h 988"/>
                <a:gd name="T30" fmla="*/ 980 w 1850"/>
                <a:gd name="T31" fmla="*/ 60 h 988"/>
                <a:gd name="T32" fmla="*/ 586 w 1850"/>
                <a:gd name="T33" fmla="*/ 78 h 988"/>
                <a:gd name="T34" fmla="*/ 1481 w 1850"/>
                <a:gd name="T35" fmla="*/ 116 h 988"/>
                <a:gd name="T36" fmla="*/ 1219 w 1850"/>
                <a:gd name="T37" fmla="*/ 100 h 988"/>
                <a:gd name="T38" fmla="*/ 1843 w 1850"/>
                <a:gd name="T39" fmla="*/ 100 h 988"/>
                <a:gd name="T40" fmla="*/ 85 w 1850"/>
                <a:gd name="T41" fmla="*/ 334 h 988"/>
                <a:gd name="T42" fmla="*/ 118 w 1850"/>
                <a:gd name="T43" fmla="*/ 244 h 988"/>
                <a:gd name="T44" fmla="*/ 31 w 1850"/>
                <a:gd name="T45" fmla="*/ 227 h 988"/>
                <a:gd name="T46" fmla="*/ 85 w 1850"/>
                <a:gd name="T47" fmla="*/ 154 h 988"/>
                <a:gd name="T48" fmla="*/ 139 w 1850"/>
                <a:gd name="T49" fmla="*/ 194 h 988"/>
                <a:gd name="T50" fmla="*/ 295 w 1850"/>
                <a:gd name="T51" fmla="*/ 154 h 988"/>
                <a:gd name="T52" fmla="*/ 388 w 1850"/>
                <a:gd name="T53" fmla="*/ 239 h 988"/>
                <a:gd name="T54" fmla="*/ 458 w 1850"/>
                <a:gd name="T55" fmla="*/ 133 h 988"/>
                <a:gd name="T56" fmla="*/ 555 w 1850"/>
                <a:gd name="T57" fmla="*/ 187 h 988"/>
                <a:gd name="T58" fmla="*/ 652 w 1850"/>
                <a:gd name="T59" fmla="*/ 350 h 988"/>
                <a:gd name="T60" fmla="*/ 555 w 1850"/>
                <a:gd name="T61" fmla="*/ 442 h 988"/>
                <a:gd name="T62" fmla="*/ 480 w 1850"/>
                <a:gd name="T63" fmla="*/ 598 h 988"/>
                <a:gd name="T64" fmla="*/ 350 w 1850"/>
                <a:gd name="T65" fmla="*/ 598 h 988"/>
                <a:gd name="T66" fmla="*/ 286 w 1850"/>
                <a:gd name="T67" fmla="*/ 520 h 988"/>
                <a:gd name="T68" fmla="*/ 248 w 1850"/>
                <a:gd name="T69" fmla="*/ 487 h 988"/>
                <a:gd name="T70" fmla="*/ 265 w 1850"/>
                <a:gd name="T71" fmla="*/ 433 h 988"/>
                <a:gd name="T72" fmla="*/ 480 w 1850"/>
                <a:gd name="T73" fmla="*/ 376 h 988"/>
                <a:gd name="T74" fmla="*/ 350 w 1850"/>
                <a:gd name="T75" fmla="*/ 350 h 988"/>
                <a:gd name="T76" fmla="*/ 286 w 1850"/>
                <a:gd name="T77" fmla="*/ 355 h 988"/>
                <a:gd name="T78" fmla="*/ 227 w 1850"/>
                <a:gd name="T79" fmla="*/ 416 h 988"/>
                <a:gd name="T80" fmla="*/ 662 w 1850"/>
                <a:gd name="T81" fmla="*/ 249 h 988"/>
                <a:gd name="T82" fmla="*/ 673 w 1850"/>
                <a:gd name="T83" fmla="*/ 282 h 988"/>
                <a:gd name="T84" fmla="*/ 732 w 1850"/>
                <a:gd name="T85" fmla="*/ 282 h 988"/>
                <a:gd name="T86" fmla="*/ 1396 w 1850"/>
                <a:gd name="T87" fmla="*/ 293 h 988"/>
                <a:gd name="T88" fmla="*/ 1354 w 1850"/>
                <a:gd name="T89" fmla="*/ 305 h 988"/>
                <a:gd name="T90" fmla="*/ 47 w 1850"/>
                <a:gd name="T91" fmla="*/ 371 h 988"/>
                <a:gd name="T92" fmla="*/ 97 w 1850"/>
                <a:gd name="T93" fmla="*/ 376 h 988"/>
                <a:gd name="T94" fmla="*/ 1136 w 1850"/>
                <a:gd name="T95" fmla="*/ 315 h 988"/>
                <a:gd name="T96" fmla="*/ 813 w 1850"/>
                <a:gd name="T97" fmla="*/ 355 h 988"/>
                <a:gd name="T98" fmla="*/ 678 w 1850"/>
                <a:gd name="T99" fmla="*/ 371 h 988"/>
                <a:gd name="T100" fmla="*/ 841 w 1850"/>
                <a:gd name="T101" fmla="*/ 537 h 988"/>
                <a:gd name="T102" fmla="*/ 732 w 1850"/>
                <a:gd name="T103" fmla="*/ 433 h 988"/>
                <a:gd name="T104" fmla="*/ 1013 w 1850"/>
                <a:gd name="T105" fmla="*/ 482 h 988"/>
                <a:gd name="T106" fmla="*/ 879 w 1850"/>
                <a:gd name="T107" fmla="*/ 560 h 988"/>
                <a:gd name="T108" fmla="*/ 1068 w 1850"/>
                <a:gd name="T109" fmla="*/ 648 h 988"/>
                <a:gd name="T110" fmla="*/ 602 w 1850"/>
                <a:gd name="T111" fmla="*/ 988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50" h="988">
                  <a:moveTo>
                    <a:pt x="728" y="17"/>
                  </a:moveTo>
                  <a:lnTo>
                    <a:pt x="711" y="0"/>
                  </a:lnTo>
                  <a:lnTo>
                    <a:pt x="744" y="5"/>
                  </a:lnTo>
                  <a:lnTo>
                    <a:pt x="728" y="17"/>
                  </a:lnTo>
                  <a:lnTo>
                    <a:pt x="728" y="17"/>
                  </a:lnTo>
                  <a:lnTo>
                    <a:pt x="728" y="17"/>
                  </a:lnTo>
                  <a:close/>
                  <a:moveTo>
                    <a:pt x="749" y="22"/>
                  </a:moveTo>
                  <a:lnTo>
                    <a:pt x="744" y="17"/>
                  </a:lnTo>
                  <a:lnTo>
                    <a:pt x="765" y="17"/>
                  </a:lnTo>
                  <a:lnTo>
                    <a:pt x="749" y="22"/>
                  </a:lnTo>
                  <a:lnTo>
                    <a:pt x="749" y="22"/>
                  </a:lnTo>
                  <a:lnTo>
                    <a:pt x="749" y="22"/>
                  </a:lnTo>
                  <a:close/>
                  <a:moveTo>
                    <a:pt x="716" y="22"/>
                  </a:moveTo>
                  <a:lnTo>
                    <a:pt x="706" y="17"/>
                  </a:lnTo>
                  <a:lnTo>
                    <a:pt x="728" y="22"/>
                  </a:lnTo>
                  <a:lnTo>
                    <a:pt x="716" y="22"/>
                  </a:lnTo>
                  <a:lnTo>
                    <a:pt x="716" y="22"/>
                  </a:lnTo>
                  <a:lnTo>
                    <a:pt x="716" y="22"/>
                  </a:lnTo>
                  <a:close/>
                  <a:moveTo>
                    <a:pt x="673" y="43"/>
                  </a:moveTo>
                  <a:lnTo>
                    <a:pt x="657" y="43"/>
                  </a:lnTo>
                  <a:lnTo>
                    <a:pt x="678" y="38"/>
                  </a:lnTo>
                  <a:lnTo>
                    <a:pt x="673" y="43"/>
                  </a:lnTo>
                  <a:lnTo>
                    <a:pt x="673" y="43"/>
                  </a:lnTo>
                  <a:lnTo>
                    <a:pt x="673" y="43"/>
                  </a:lnTo>
                  <a:close/>
                  <a:moveTo>
                    <a:pt x="959" y="43"/>
                  </a:moveTo>
                  <a:lnTo>
                    <a:pt x="976" y="43"/>
                  </a:lnTo>
                  <a:lnTo>
                    <a:pt x="947" y="43"/>
                  </a:lnTo>
                  <a:lnTo>
                    <a:pt x="959" y="43"/>
                  </a:lnTo>
                  <a:lnTo>
                    <a:pt x="959" y="43"/>
                  </a:lnTo>
                  <a:lnTo>
                    <a:pt x="959" y="43"/>
                  </a:lnTo>
                  <a:close/>
                  <a:moveTo>
                    <a:pt x="834" y="128"/>
                  </a:moveTo>
                  <a:lnTo>
                    <a:pt x="841" y="83"/>
                  </a:lnTo>
                  <a:lnTo>
                    <a:pt x="851" y="78"/>
                  </a:lnTo>
                  <a:lnTo>
                    <a:pt x="834" y="71"/>
                  </a:lnTo>
                  <a:lnTo>
                    <a:pt x="834" y="60"/>
                  </a:lnTo>
                  <a:lnTo>
                    <a:pt x="858" y="55"/>
                  </a:lnTo>
                  <a:lnTo>
                    <a:pt x="858" y="71"/>
                  </a:lnTo>
                  <a:lnTo>
                    <a:pt x="867" y="71"/>
                  </a:lnTo>
                  <a:lnTo>
                    <a:pt x="872" y="43"/>
                  </a:lnTo>
                  <a:lnTo>
                    <a:pt x="905" y="55"/>
                  </a:lnTo>
                  <a:lnTo>
                    <a:pt x="888" y="60"/>
                  </a:lnTo>
                  <a:lnTo>
                    <a:pt x="905" y="71"/>
                  </a:lnTo>
                  <a:lnTo>
                    <a:pt x="888" y="83"/>
                  </a:lnTo>
                  <a:lnTo>
                    <a:pt x="879" y="100"/>
                  </a:lnTo>
                  <a:lnTo>
                    <a:pt x="888" y="112"/>
                  </a:lnTo>
                  <a:lnTo>
                    <a:pt x="910" y="95"/>
                  </a:lnTo>
                  <a:lnTo>
                    <a:pt x="926" y="100"/>
                  </a:lnTo>
                  <a:lnTo>
                    <a:pt x="933" y="95"/>
                  </a:lnTo>
                  <a:lnTo>
                    <a:pt x="933" y="78"/>
                  </a:lnTo>
                  <a:lnTo>
                    <a:pt x="980" y="78"/>
                  </a:lnTo>
                  <a:lnTo>
                    <a:pt x="964" y="71"/>
                  </a:lnTo>
                  <a:lnTo>
                    <a:pt x="997" y="78"/>
                  </a:lnTo>
                  <a:lnTo>
                    <a:pt x="980" y="83"/>
                  </a:lnTo>
                  <a:lnTo>
                    <a:pt x="985" y="83"/>
                  </a:lnTo>
                  <a:lnTo>
                    <a:pt x="1013" y="71"/>
                  </a:lnTo>
                  <a:lnTo>
                    <a:pt x="1013" y="78"/>
                  </a:lnTo>
                  <a:lnTo>
                    <a:pt x="1002" y="83"/>
                  </a:lnTo>
                  <a:lnTo>
                    <a:pt x="1039" y="78"/>
                  </a:lnTo>
                  <a:lnTo>
                    <a:pt x="1035" y="83"/>
                  </a:lnTo>
                  <a:lnTo>
                    <a:pt x="1174" y="112"/>
                  </a:lnTo>
                  <a:lnTo>
                    <a:pt x="1165" y="133"/>
                  </a:lnTo>
                  <a:lnTo>
                    <a:pt x="1181" y="138"/>
                  </a:lnTo>
                  <a:lnTo>
                    <a:pt x="1082" y="187"/>
                  </a:lnTo>
                  <a:lnTo>
                    <a:pt x="1089" y="206"/>
                  </a:lnTo>
                  <a:lnTo>
                    <a:pt x="1073" y="223"/>
                  </a:lnTo>
                  <a:lnTo>
                    <a:pt x="1035" y="239"/>
                  </a:lnTo>
                  <a:lnTo>
                    <a:pt x="1002" y="227"/>
                  </a:lnTo>
                  <a:lnTo>
                    <a:pt x="976" y="239"/>
                  </a:lnTo>
                  <a:lnTo>
                    <a:pt x="959" y="260"/>
                  </a:lnTo>
                  <a:lnTo>
                    <a:pt x="921" y="260"/>
                  </a:lnTo>
                  <a:lnTo>
                    <a:pt x="858" y="239"/>
                  </a:lnTo>
                  <a:lnTo>
                    <a:pt x="872" y="223"/>
                  </a:lnTo>
                  <a:lnTo>
                    <a:pt x="728" y="227"/>
                  </a:lnTo>
                  <a:lnTo>
                    <a:pt x="728" y="211"/>
                  </a:lnTo>
                  <a:lnTo>
                    <a:pt x="690" y="211"/>
                  </a:lnTo>
                  <a:lnTo>
                    <a:pt x="640" y="187"/>
                  </a:lnTo>
                  <a:lnTo>
                    <a:pt x="690" y="187"/>
                  </a:lnTo>
                  <a:lnTo>
                    <a:pt x="749" y="194"/>
                  </a:lnTo>
                  <a:lnTo>
                    <a:pt x="706" y="182"/>
                  </a:lnTo>
                  <a:lnTo>
                    <a:pt x="803" y="171"/>
                  </a:lnTo>
                  <a:lnTo>
                    <a:pt x="834" y="154"/>
                  </a:lnTo>
                  <a:lnTo>
                    <a:pt x="586" y="171"/>
                  </a:lnTo>
                  <a:lnTo>
                    <a:pt x="539" y="138"/>
                  </a:lnTo>
                  <a:lnTo>
                    <a:pt x="586" y="128"/>
                  </a:lnTo>
                  <a:lnTo>
                    <a:pt x="517" y="112"/>
                  </a:lnTo>
                  <a:lnTo>
                    <a:pt x="581" y="95"/>
                  </a:lnTo>
                  <a:lnTo>
                    <a:pt x="624" y="112"/>
                  </a:lnTo>
                  <a:lnTo>
                    <a:pt x="640" y="100"/>
                  </a:lnTo>
                  <a:lnTo>
                    <a:pt x="619" y="95"/>
                  </a:lnTo>
                  <a:lnTo>
                    <a:pt x="602" y="71"/>
                  </a:lnTo>
                  <a:lnTo>
                    <a:pt x="657" y="95"/>
                  </a:lnTo>
                  <a:lnTo>
                    <a:pt x="657" y="78"/>
                  </a:lnTo>
                  <a:lnTo>
                    <a:pt x="662" y="60"/>
                  </a:lnTo>
                  <a:lnTo>
                    <a:pt x="636" y="55"/>
                  </a:lnTo>
                  <a:lnTo>
                    <a:pt x="652" y="43"/>
                  </a:lnTo>
                  <a:lnTo>
                    <a:pt x="706" y="60"/>
                  </a:lnTo>
                  <a:lnTo>
                    <a:pt x="711" y="78"/>
                  </a:lnTo>
                  <a:lnTo>
                    <a:pt x="728" y="78"/>
                  </a:lnTo>
                  <a:lnTo>
                    <a:pt x="728" y="83"/>
                  </a:lnTo>
                  <a:lnTo>
                    <a:pt x="728" y="95"/>
                  </a:lnTo>
                  <a:lnTo>
                    <a:pt x="803" y="83"/>
                  </a:lnTo>
                  <a:lnTo>
                    <a:pt x="803" y="95"/>
                  </a:lnTo>
                  <a:lnTo>
                    <a:pt x="782" y="112"/>
                  </a:lnTo>
                  <a:lnTo>
                    <a:pt x="803" y="100"/>
                  </a:lnTo>
                  <a:lnTo>
                    <a:pt x="825" y="133"/>
                  </a:lnTo>
                  <a:lnTo>
                    <a:pt x="834" y="128"/>
                  </a:lnTo>
                  <a:lnTo>
                    <a:pt x="834" y="128"/>
                  </a:lnTo>
                  <a:lnTo>
                    <a:pt x="834" y="128"/>
                  </a:lnTo>
                  <a:close/>
                  <a:moveTo>
                    <a:pt x="976" y="60"/>
                  </a:moveTo>
                  <a:lnTo>
                    <a:pt x="959" y="60"/>
                  </a:lnTo>
                  <a:lnTo>
                    <a:pt x="964" y="55"/>
                  </a:lnTo>
                  <a:lnTo>
                    <a:pt x="980" y="60"/>
                  </a:lnTo>
                  <a:lnTo>
                    <a:pt x="976" y="60"/>
                  </a:lnTo>
                  <a:lnTo>
                    <a:pt x="976" y="60"/>
                  </a:lnTo>
                  <a:lnTo>
                    <a:pt x="976" y="60"/>
                  </a:lnTo>
                  <a:close/>
                  <a:moveTo>
                    <a:pt x="565" y="83"/>
                  </a:moveTo>
                  <a:lnTo>
                    <a:pt x="539" y="78"/>
                  </a:lnTo>
                  <a:lnTo>
                    <a:pt x="555" y="71"/>
                  </a:lnTo>
                  <a:lnTo>
                    <a:pt x="586" y="78"/>
                  </a:lnTo>
                  <a:lnTo>
                    <a:pt x="565" y="83"/>
                  </a:lnTo>
                  <a:lnTo>
                    <a:pt x="565" y="83"/>
                  </a:lnTo>
                  <a:lnTo>
                    <a:pt x="565" y="83"/>
                  </a:lnTo>
                  <a:close/>
                  <a:moveTo>
                    <a:pt x="1481" y="116"/>
                  </a:moveTo>
                  <a:lnTo>
                    <a:pt x="1472" y="112"/>
                  </a:lnTo>
                  <a:lnTo>
                    <a:pt x="1628" y="95"/>
                  </a:lnTo>
                  <a:lnTo>
                    <a:pt x="1481" y="116"/>
                  </a:lnTo>
                  <a:lnTo>
                    <a:pt x="1481" y="116"/>
                  </a:lnTo>
                  <a:lnTo>
                    <a:pt x="1481" y="116"/>
                  </a:lnTo>
                  <a:close/>
                  <a:moveTo>
                    <a:pt x="1219" y="100"/>
                  </a:moveTo>
                  <a:lnTo>
                    <a:pt x="1233" y="100"/>
                  </a:lnTo>
                  <a:lnTo>
                    <a:pt x="1212" y="112"/>
                  </a:lnTo>
                  <a:lnTo>
                    <a:pt x="1219" y="100"/>
                  </a:lnTo>
                  <a:lnTo>
                    <a:pt x="1219" y="100"/>
                  </a:lnTo>
                  <a:lnTo>
                    <a:pt x="1219" y="100"/>
                  </a:lnTo>
                  <a:close/>
                  <a:moveTo>
                    <a:pt x="1843" y="100"/>
                  </a:moveTo>
                  <a:lnTo>
                    <a:pt x="1838" y="100"/>
                  </a:lnTo>
                  <a:lnTo>
                    <a:pt x="1850" y="100"/>
                  </a:lnTo>
                  <a:lnTo>
                    <a:pt x="1843" y="100"/>
                  </a:lnTo>
                  <a:lnTo>
                    <a:pt x="1843" y="100"/>
                  </a:lnTo>
                  <a:lnTo>
                    <a:pt x="1843" y="100"/>
                  </a:lnTo>
                  <a:close/>
                  <a:moveTo>
                    <a:pt x="227" y="416"/>
                  </a:moveTo>
                  <a:lnTo>
                    <a:pt x="177" y="409"/>
                  </a:lnTo>
                  <a:lnTo>
                    <a:pt x="173" y="393"/>
                  </a:lnTo>
                  <a:lnTo>
                    <a:pt x="135" y="371"/>
                  </a:lnTo>
                  <a:lnTo>
                    <a:pt x="194" y="360"/>
                  </a:lnTo>
                  <a:lnTo>
                    <a:pt x="102" y="350"/>
                  </a:lnTo>
                  <a:lnTo>
                    <a:pt x="85" y="334"/>
                  </a:lnTo>
                  <a:lnTo>
                    <a:pt x="102" y="315"/>
                  </a:lnTo>
                  <a:lnTo>
                    <a:pt x="64" y="293"/>
                  </a:lnTo>
                  <a:lnTo>
                    <a:pt x="151" y="298"/>
                  </a:lnTo>
                  <a:lnTo>
                    <a:pt x="139" y="293"/>
                  </a:lnTo>
                  <a:lnTo>
                    <a:pt x="106" y="293"/>
                  </a:lnTo>
                  <a:lnTo>
                    <a:pt x="97" y="277"/>
                  </a:lnTo>
                  <a:lnTo>
                    <a:pt x="118" y="244"/>
                  </a:lnTo>
                  <a:lnTo>
                    <a:pt x="102" y="249"/>
                  </a:lnTo>
                  <a:lnTo>
                    <a:pt x="85" y="239"/>
                  </a:lnTo>
                  <a:lnTo>
                    <a:pt x="80" y="244"/>
                  </a:lnTo>
                  <a:lnTo>
                    <a:pt x="97" y="260"/>
                  </a:lnTo>
                  <a:lnTo>
                    <a:pt x="52" y="277"/>
                  </a:lnTo>
                  <a:lnTo>
                    <a:pt x="47" y="249"/>
                  </a:lnTo>
                  <a:lnTo>
                    <a:pt x="31" y="227"/>
                  </a:lnTo>
                  <a:lnTo>
                    <a:pt x="31" y="211"/>
                  </a:lnTo>
                  <a:lnTo>
                    <a:pt x="14" y="194"/>
                  </a:lnTo>
                  <a:lnTo>
                    <a:pt x="52" y="194"/>
                  </a:lnTo>
                  <a:lnTo>
                    <a:pt x="31" y="194"/>
                  </a:lnTo>
                  <a:lnTo>
                    <a:pt x="64" y="187"/>
                  </a:lnTo>
                  <a:lnTo>
                    <a:pt x="52" y="166"/>
                  </a:lnTo>
                  <a:lnTo>
                    <a:pt x="85" y="154"/>
                  </a:lnTo>
                  <a:lnTo>
                    <a:pt x="135" y="182"/>
                  </a:lnTo>
                  <a:lnTo>
                    <a:pt x="135" y="171"/>
                  </a:lnTo>
                  <a:lnTo>
                    <a:pt x="123" y="154"/>
                  </a:lnTo>
                  <a:lnTo>
                    <a:pt x="156" y="166"/>
                  </a:lnTo>
                  <a:lnTo>
                    <a:pt x="241" y="149"/>
                  </a:lnTo>
                  <a:lnTo>
                    <a:pt x="248" y="166"/>
                  </a:lnTo>
                  <a:lnTo>
                    <a:pt x="139" y="194"/>
                  </a:lnTo>
                  <a:lnTo>
                    <a:pt x="215" y="194"/>
                  </a:lnTo>
                  <a:lnTo>
                    <a:pt x="203" y="211"/>
                  </a:lnTo>
                  <a:lnTo>
                    <a:pt x="227" y="211"/>
                  </a:lnTo>
                  <a:lnTo>
                    <a:pt x="258" y="244"/>
                  </a:lnTo>
                  <a:lnTo>
                    <a:pt x="265" y="239"/>
                  </a:lnTo>
                  <a:lnTo>
                    <a:pt x="241" y="206"/>
                  </a:lnTo>
                  <a:lnTo>
                    <a:pt x="295" y="154"/>
                  </a:lnTo>
                  <a:lnTo>
                    <a:pt x="338" y="187"/>
                  </a:lnTo>
                  <a:lnTo>
                    <a:pt x="354" y="239"/>
                  </a:lnTo>
                  <a:lnTo>
                    <a:pt x="376" y="249"/>
                  </a:lnTo>
                  <a:lnTo>
                    <a:pt x="371" y="265"/>
                  </a:lnTo>
                  <a:lnTo>
                    <a:pt x="376" y="260"/>
                  </a:lnTo>
                  <a:lnTo>
                    <a:pt x="425" y="305"/>
                  </a:lnTo>
                  <a:lnTo>
                    <a:pt x="388" y="239"/>
                  </a:lnTo>
                  <a:lnTo>
                    <a:pt x="366" y="154"/>
                  </a:lnTo>
                  <a:lnTo>
                    <a:pt x="404" y="149"/>
                  </a:lnTo>
                  <a:lnTo>
                    <a:pt x="388" y="133"/>
                  </a:lnTo>
                  <a:lnTo>
                    <a:pt x="409" y="116"/>
                  </a:lnTo>
                  <a:lnTo>
                    <a:pt x="430" y="116"/>
                  </a:lnTo>
                  <a:lnTo>
                    <a:pt x="447" y="149"/>
                  </a:lnTo>
                  <a:lnTo>
                    <a:pt x="458" y="133"/>
                  </a:lnTo>
                  <a:lnTo>
                    <a:pt x="480" y="138"/>
                  </a:lnTo>
                  <a:lnTo>
                    <a:pt x="539" y="171"/>
                  </a:lnTo>
                  <a:lnTo>
                    <a:pt x="517" y="187"/>
                  </a:lnTo>
                  <a:lnTo>
                    <a:pt x="513" y="206"/>
                  </a:lnTo>
                  <a:lnTo>
                    <a:pt x="517" y="223"/>
                  </a:lnTo>
                  <a:lnTo>
                    <a:pt x="501" y="227"/>
                  </a:lnTo>
                  <a:lnTo>
                    <a:pt x="555" y="187"/>
                  </a:lnTo>
                  <a:lnTo>
                    <a:pt x="586" y="211"/>
                  </a:lnTo>
                  <a:lnTo>
                    <a:pt x="593" y="260"/>
                  </a:lnTo>
                  <a:lnTo>
                    <a:pt x="652" y="265"/>
                  </a:lnTo>
                  <a:lnTo>
                    <a:pt x="662" y="282"/>
                  </a:lnTo>
                  <a:lnTo>
                    <a:pt x="782" y="315"/>
                  </a:lnTo>
                  <a:lnTo>
                    <a:pt x="765" y="350"/>
                  </a:lnTo>
                  <a:lnTo>
                    <a:pt x="652" y="350"/>
                  </a:lnTo>
                  <a:lnTo>
                    <a:pt x="640" y="355"/>
                  </a:lnTo>
                  <a:lnTo>
                    <a:pt x="652" y="371"/>
                  </a:lnTo>
                  <a:lnTo>
                    <a:pt x="593" y="371"/>
                  </a:lnTo>
                  <a:lnTo>
                    <a:pt x="602" y="388"/>
                  </a:lnTo>
                  <a:lnTo>
                    <a:pt x="602" y="404"/>
                  </a:lnTo>
                  <a:lnTo>
                    <a:pt x="610" y="433"/>
                  </a:lnTo>
                  <a:lnTo>
                    <a:pt x="555" y="442"/>
                  </a:lnTo>
                  <a:lnTo>
                    <a:pt x="555" y="466"/>
                  </a:lnTo>
                  <a:lnTo>
                    <a:pt x="565" y="482"/>
                  </a:lnTo>
                  <a:lnTo>
                    <a:pt x="548" y="520"/>
                  </a:lnTo>
                  <a:lnTo>
                    <a:pt x="513" y="537"/>
                  </a:lnTo>
                  <a:lnTo>
                    <a:pt x="484" y="593"/>
                  </a:lnTo>
                  <a:lnTo>
                    <a:pt x="463" y="593"/>
                  </a:lnTo>
                  <a:lnTo>
                    <a:pt x="480" y="598"/>
                  </a:lnTo>
                  <a:lnTo>
                    <a:pt x="458" y="631"/>
                  </a:lnTo>
                  <a:lnTo>
                    <a:pt x="475" y="648"/>
                  </a:lnTo>
                  <a:lnTo>
                    <a:pt x="447" y="664"/>
                  </a:lnTo>
                  <a:lnTo>
                    <a:pt x="354" y="615"/>
                  </a:lnTo>
                  <a:lnTo>
                    <a:pt x="425" y="598"/>
                  </a:lnTo>
                  <a:lnTo>
                    <a:pt x="392" y="582"/>
                  </a:lnTo>
                  <a:lnTo>
                    <a:pt x="350" y="598"/>
                  </a:lnTo>
                  <a:lnTo>
                    <a:pt x="324" y="577"/>
                  </a:lnTo>
                  <a:lnTo>
                    <a:pt x="286" y="577"/>
                  </a:lnTo>
                  <a:lnTo>
                    <a:pt x="265" y="553"/>
                  </a:lnTo>
                  <a:lnTo>
                    <a:pt x="241" y="520"/>
                  </a:lnTo>
                  <a:lnTo>
                    <a:pt x="269" y="515"/>
                  </a:lnTo>
                  <a:lnTo>
                    <a:pt x="286" y="515"/>
                  </a:lnTo>
                  <a:lnTo>
                    <a:pt x="286" y="520"/>
                  </a:lnTo>
                  <a:lnTo>
                    <a:pt x="371" y="520"/>
                  </a:lnTo>
                  <a:lnTo>
                    <a:pt x="404" y="537"/>
                  </a:lnTo>
                  <a:lnTo>
                    <a:pt x="409" y="527"/>
                  </a:lnTo>
                  <a:lnTo>
                    <a:pt x="300" y="499"/>
                  </a:lnTo>
                  <a:lnTo>
                    <a:pt x="447" y="471"/>
                  </a:lnTo>
                  <a:lnTo>
                    <a:pt x="463" y="461"/>
                  </a:lnTo>
                  <a:lnTo>
                    <a:pt x="248" y="487"/>
                  </a:lnTo>
                  <a:lnTo>
                    <a:pt x="232" y="482"/>
                  </a:lnTo>
                  <a:lnTo>
                    <a:pt x="241" y="471"/>
                  </a:lnTo>
                  <a:lnTo>
                    <a:pt x="227" y="466"/>
                  </a:lnTo>
                  <a:lnTo>
                    <a:pt x="227" y="442"/>
                  </a:lnTo>
                  <a:lnTo>
                    <a:pt x="248" y="433"/>
                  </a:lnTo>
                  <a:lnTo>
                    <a:pt x="269" y="449"/>
                  </a:lnTo>
                  <a:lnTo>
                    <a:pt x="265" y="433"/>
                  </a:lnTo>
                  <a:lnTo>
                    <a:pt x="317" y="426"/>
                  </a:lnTo>
                  <a:lnTo>
                    <a:pt x="338" y="409"/>
                  </a:lnTo>
                  <a:lnTo>
                    <a:pt x="371" y="409"/>
                  </a:lnTo>
                  <a:lnTo>
                    <a:pt x="366" y="404"/>
                  </a:lnTo>
                  <a:lnTo>
                    <a:pt x="371" y="393"/>
                  </a:lnTo>
                  <a:lnTo>
                    <a:pt x="442" y="393"/>
                  </a:lnTo>
                  <a:lnTo>
                    <a:pt x="480" y="376"/>
                  </a:lnTo>
                  <a:lnTo>
                    <a:pt x="409" y="376"/>
                  </a:lnTo>
                  <a:lnTo>
                    <a:pt x="447" y="338"/>
                  </a:lnTo>
                  <a:lnTo>
                    <a:pt x="425" y="334"/>
                  </a:lnTo>
                  <a:lnTo>
                    <a:pt x="392" y="371"/>
                  </a:lnTo>
                  <a:lnTo>
                    <a:pt x="354" y="376"/>
                  </a:lnTo>
                  <a:lnTo>
                    <a:pt x="333" y="355"/>
                  </a:lnTo>
                  <a:lnTo>
                    <a:pt x="350" y="350"/>
                  </a:lnTo>
                  <a:lnTo>
                    <a:pt x="354" y="322"/>
                  </a:lnTo>
                  <a:lnTo>
                    <a:pt x="350" y="315"/>
                  </a:lnTo>
                  <a:lnTo>
                    <a:pt x="324" y="355"/>
                  </a:lnTo>
                  <a:lnTo>
                    <a:pt x="312" y="350"/>
                  </a:lnTo>
                  <a:lnTo>
                    <a:pt x="312" y="334"/>
                  </a:lnTo>
                  <a:lnTo>
                    <a:pt x="286" y="338"/>
                  </a:lnTo>
                  <a:lnTo>
                    <a:pt x="286" y="355"/>
                  </a:lnTo>
                  <a:lnTo>
                    <a:pt x="279" y="371"/>
                  </a:lnTo>
                  <a:lnTo>
                    <a:pt x="300" y="388"/>
                  </a:lnTo>
                  <a:lnTo>
                    <a:pt x="279" y="388"/>
                  </a:lnTo>
                  <a:lnTo>
                    <a:pt x="269" y="393"/>
                  </a:lnTo>
                  <a:lnTo>
                    <a:pt x="227" y="416"/>
                  </a:lnTo>
                  <a:lnTo>
                    <a:pt x="227" y="416"/>
                  </a:lnTo>
                  <a:lnTo>
                    <a:pt x="227" y="416"/>
                  </a:lnTo>
                  <a:close/>
                  <a:moveTo>
                    <a:pt x="26" y="182"/>
                  </a:moveTo>
                  <a:lnTo>
                    <a:pt x="14" y="171"/>
                  </a:lnTo>
                  <a:lnTo>
                    <a:pt x="47" y="182"/>
                  </a:lnTo>
                  <a:lnTo>
                    <a:pt x="26" y="182"/>
                  </a:lnTo>
                  <a:lnTo>
                    <a:pt x="26" y="182"/>
                  </a:lnTo>
                  <a:lnTo>
                    <a:pt x="26" y="182"/>
                  </a:lnTo>
                  <a:close/>
                  <a:moveTo>
                    <a:pt x="662" y="249"/>
                  </a:moveTo>
                  <a:lnTo>
                    <a:pt x="673" y="239"/>
                  </a:lnTo>
                  <a:lnTo>
                    <a:pt x="678" y="239"/>
                  </a:lnTo>
                  <a:lnTo>
                    <a:pt x="662" y="249"/>
                  </a:lnTo>
                  <a:lnTo>
                    <a:pt x="662" y="249"/>
                  </a:lnTo>
                  <a:lnTo>
                    <a:pt x="662" y="249"/>
                  </a:lnTo>
                  <a:close/>
                  <a:moveTo>
                    <a:pt x="695" y="293"/>
                  </a:moveTo>
                  <a:lnTo>
                    <a:pt x="673" y="282"/>
                  </a:lnTo>
                  <a:lnTo>
                    <a:pt x="690" y="265"/>
                  </a:lnTo>
                  <a:lnTo>
                    <a:pt x="728" y="277"/>
                  </a:lnTo>
                  <a:lnTo>
                    <a:pt x="695" y="293"/>
                  </a:lnTo>
                  <a:lnTo>
                    <a:pt x="695" y="293"/>
                  </a:lnTo>
                  <a:lnTo>
                    <a:pt x="695" y="293"/>
                  </a:lnTo>
                  <a:close/>
                  <a:moveTo>
                    <a:pt x="744" y="282"/>
                  </a:moveTo>
                  <a:lnTo>
                    <a:pt x="732" y="282"/>
                  </a:lnTo>
                  <a:lnTo>
                    <a:pt x="761" y="282"/>
                  </a:lnTo>
                  <a:lnTo>
                    <a:pt x="744" y="282"/>
                  </a:lnTo>
                  <a:lnTo>
                    <a:pt x="744" y="282"/>
                  </a:lnTo>
                  <a:lnTo>
                    <a:pt x="744" y="282"/>
                  </a:lnTo>
                  <a:close/>
                  <a:moveTo>
                    <a:pt x="1391" y="293"/>
                  </a:moveTo>
                  <a:lnTo>
                    <a:pt x="1375" y="293"/>
                  </a:lnTo>
                  <a:lnTo>
                    <a:pt x="1396" y="293"/>
                  </a:lnTo>
                  <a:lnTo>
                    <a:pt x="1391" y="293"/>
                  </a:lnTo>
                  <a:lnTo>
                    <a:pt x="1391" y="293"/>
                  </a:lnTo>
                  <a:lnTo>
                    <a:pt x="1391" y="293"/>
                  </a:lnTo>
                  <a:close/>
                  <a:moveTo>
                    <a:pt x="1233" y="315"/>
                  </a:moveTo>
                  <a:lnTo>
                    <a:pt x="1233" y="305"/>
                  </a:lnTo>
                  <a:lnTo>
                    <a:pt x="1257" y="298"/>
                  </a:lnTo>
                  <a:lnTo>
                    <a:pt x="1354" y="305"/>
                  </a:lnTo>
                  <a:lnTo>
                    <a:pt x="1321" y="315"/>
                  </a:lnTo>
                  <a:lnTo>
                    <a:pt x="1288" y="298"/>
                  </a:lnTo>
                  <a:lnTo>
                    <a:pt x="1233" y="315"/>
                  </a:lnTo>
                  <a:lnTo>
                    <a:pt x="1233" y="315"/>
                  </a:lnTo>
                  <a:lnTo>
                    <a:pt x="1233" y="315"/>
                  </a:lnTo>
                  <a:close/>
                  <a:moveTo>
                    <a:pt x="118" y="416"/>
                  </a:moveTo>
                  <a:lnTo>
                    <a:pt x="47" y="371"/>
                  </a:lnTo>
                  <a:lnTo>
                    <a:pt x="10" y="322"/>
                  </a:lnTo>
                  <a:lnTo>
                    <a:pt x="0" y="305"/>
                  </a:lnTo>
                  <a:lnTo>
                    <a:pt x="43" y="315"/>
                  </a:lnTo>
                  <a:lnTo>
                    <a:pt x="52" y="334"/>
                  </a:lnTo>
                  <a:lnTo>
                    <a:pt x="47" y="334"/>
                  </a:lnTo>
                  <a:lnTo>
                    <a:pt x="52" y="360"/>
                  </a:lnTo>
                  <a:lnTo>
                    <a:pt x="97" y="376"/>
                  </a:lnTo>
                  <a:lnTo>
                    <a:pt x="118" y="404"/>
                  </a:lnTo>
                  <a:lnTo>
                    <a:pt x="118" y="416"/>
                  </a:lnTo>
                  <a:lnTo>
                    <a:pt x="118" y="416"/>
                  </a:lnTo>
                  <a:lnTo>
                    <a:pt x="118" y="416"/>
                  </a:lnTo>
                  <a:close/>
                  <a:moveTo>
                    <a:pt x="1143" y="350"/>
                  </a:moveTo>
                  <a:lnTo>
                    <a:pt x="1120" y="322"/>
                  </a:lnTo>
                  <a:lnTo>
                    <a:pt x="1136" y="315"/>
                  </a:lnTo>
                  <a:lnTo>
                    <a:pt x="1165" y="338"/>
                  </a:lnTo>
                  <a:lnTo>
                    <a:pt x="1143" y="350"/>
                  </a:lnTo>
                  <a:lnTo>
                    <a:pt x="1143" y="350"/>
                  </a:lnTo>
                  <a:lnTo>
                    <a:pt x="1143" y="350"/>
                  </a:lnTo>
                  <a:close/>
                  <a:moveTo>
                    <a:pt x="678" y="371"/>
                  </a:moveTo>
                  <a:lnTo>
                    <a:pt x="761" y="350"/>
                  </a:lnTo>
                  <a:lnTo>
                    <a:pt x="813" y="355"/>
                  </a:lnTo>
                  <a:lnTo>
                    <a:pt x="825" y="371"/>
                  </a:lnTo>
                  <a:lnTo>
                    <a:pt x="825" y="404"/>
                  </a:lnTo>
                  <a:lnTo>
                    <a:pt x="716" y="416"/>
                  </a:lnTo>
                  <a:lnTo>
                    <a:pt x="728" y="404"/>
                  </a:lnTo>
                  <a:lnTo>
                    <a:pt x="706" y="393"/>
                  </a:lnTo>
                  <a:lnTo>
                    <a:pt x="716" y="388"/>
                  </a:lnTo>
                  <a:lnTo>
                    <a:pt x="678" y="371"/>
                  </a:lnTo>
                  <a:lnTo>
                    <a:pt x="678" y="371"/>
                  </a:lnTo>
                  <a:lnTo>
                    <a:pt x="678" y="371"/>
                  </a:lnTo>
                  <a:close/>
                  <a:moveTo>
                    <a:pt x="858" y="560"/>
                  </a:moveTo>
                  <a:lnTo>
                    <a:pt x="841" y="560"/>
                  </a:lnTo>
                  <a:lnTo>
                    <a:pt x="841" y="553"/>
                  </a:lnTo>
                  <a:lnTo>
                    <a:pt x="851" y="544"/>
                  </a:lnTo>
                  <a:lnTo>
                    <a:pt x="841" y="537"/>
                  </a:lnTo>
                  <a:lnTo>
                    <a:pt x="867" y="515"/>
                  </a:lnTo>
                  <a:lnTo>
                    <a:pt x="732" y="527"/>
                  </a:lnTo>
                  <a:lnTo>
                    <a:pt x="732" y="515"/>
                  </a:lnTo>
                  <a:lnTo>
                    <a:pt x="761" y="504"/>
                  </a:lnTo>
                  <a:lnTo>
                    <a:pt x="761" y="487"/>
                  </a:lnTo>
                  <a:lnTo>
                    <a:pt x="787" y="461"/>
                  </a:lnTo>
                  <a:lnTo>
                    <a:pt x="732" y="433"/>
                  </a:lnTo>
                  <a:lnTo>
                    <a:pt x="879" y="409"/>
                  </a:lnTo>
                  <a:lnTo>
                    <a:pt x="910" y="416"/>
                  </a:lnTo>
                  <a:lnTo>
                    <a:pt x="888" y="433"/>
                  </a:lnTo>
                  <a:lnTo>
                    <a:pt x="888" y="449"/>
                  </a:lnTo>
                  <a:lnTo>
                    <a:pt x="926" y="466"/>
                  </a:lnTo>
                  <a:lnTo>
                    <a:pt x="976" y="466"/>
                  </a:lnTo>
                  <a:lnTo>
                    <a:pt x="1013" y="482"/>
                  </a:lnTo>
                  <a:lnTo>
                    <a:pt x="964" y="499"/>
                  </a:lnTo>
                  <a:lnTo>
                    <a:pt x="933" y="527"/>
                  </a:lnTo>
                  <a:lnTo>
                    <a:pt x="858" y="560"/>
                  </a:lnTo>
                  <a:lnTo>
                    <a:pt x="858" y="560"/>
                  </a:lnTo>
                  <a:lnTo>
                    <a:pt x="858" y="560"/>
                  </a:lnTo>
                  <a:close/>
                  <a:moveTo>
                    <a:pt x="888" y="560"/>
                  </a:moveTo>
                  <a:lnTo>
                    <a:pt x="879" y="560"/>
                  </a:lnTo>
                  <a:lnTo>
                    <a:pt x="905" y="560"/>
                  </a:lnTo>
                  <a:lnTo>
                    <a:pt x="888" y="560"/>
                  </a:lnTo>
                  <a:lnTo>
                    <a:pt x="888" y="560"/>
                  </a:lnTo>
                  <a:lnTo>
                    <a:pt x="888" y="560"/>
                  </a:lnTo>
                  <a:close/>
                  <a:moveTo>
                    <a:pt x="1018" y="688"/>
                  </a:moveTo>
                  <a:lnTo>
                    <a:pt x="1018" y="681"/>
                  </a:lnTo>
                  <a:lnTo>
                    <a:pt x="1068" y="648"/>
                  </a:lnTo>
                  <a:lnTo>
                    <a:pt x="1018" y="688"/>
                  </a:lnTo>
                  <a:lnTo>
                    <a:pt x="1018" y="688"/>
                  </a:lnTo>
                  <a:lnTo>
                    <a:pt x="1018" y="688"/>
                  </a:lnTo>
                  <a:close/>
                  <a:moveTo>
                    <a:pt x="602" y="988"/>
                  </a:moveTo>
                  <a:lnTo>
                    <a:pt x="586" y="969"/>
                  </a:lnTo>
                  <a:lnTo>
                    <a:pt x="619" y="969"/>
                  </a:lnTo>
                  <a:lnTo>
                    <a:pt x="602" y="988"/>
                  </a:lnTo>
                  <a:lnTo>
                    <a:pt x="602" y="988"/>
                  </a:lnTo>
                  <a:lnTo>
                    <a:pt x="602" y="98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0" name="Freeform 561">
              <a:extLst>
                <a:ext uri="{FF2B5EF4-FFF2-40B4-BE49-F238E27FC236}">
                  <a16:creationId xmlns:a16="http://schemas.microsoft.com/office/drawing/2014/main" id="{94D63BCE-881E-4E90-8371-6B775D74A077}"/>
                </a:ext>
              </a:extLst>
            </p:cNvPr>
            <p:cNvSpPr>
              <a:spLocks noEditPoints="1"/>
            </p:cNvSpPr>
            <p:nvPr/>
          </p:nvSpPr>
          <p:spPr bwMode="gray">
            <a:xfrm>
              <a:off x="13999457" y="2152263"/>
              <a:ext cx="300131" cy="503382"/>
            </a:xfrm>
            <a:custGeom>
              <a:avLst/>
              <a:gdLst>
                <a:gd name="T0" fmla="*/ 69 w 917"/>
                <a:gd name="T1" fmla="*/ 1065 h 1538"/>
                <a:gd name="T2" fmla="*/ 69 w 917"/>
                <a:gd name="T3" fmla="*/ 860 h 1538"/>
                <a:gd name="T4" fmla="*/ 76 w 917"/>
                <a:gd name="T5" fmla="*/ 666 h 1538"/>
                <a:gd name="T6" fmla="*/ 211 w 917"/>
                <a:gd name="T7" fmla="*/ 555 h 1538"/>
                <a:gd name="T8" fmla="*/ 274 w 917"/>
                <a:gd name="T9" fmla="*/ 357 h 1538"/>
                <a:gd name="T10" fmla="*/ 378 w 917"/>
                <a:gd name="T11" fmla="*/ 177 h 1538"/>
                <a:gd name="T12" fmla="*/ 485 w 917"/>
                <a:gd name="T13" fmla="*/ 66 h 1538"/>
                <a:gd name="T14" fmla="*/ 648 w 917"/>
                <a:gd name="T15" fmla="*/ 12 h 1538"/>
                <a:gd name="T16" fmla="*/ 865 w 917"/>
                <a:gd name="T17" fmla="*/ 151 h 1538"/>
                <a:gd name="T18" fmla="*/ 903 w 917"/>
                <a:gd name="T19" fmla="*/ 279 h 1538"/>
                <a:gd name="T20" fmla="*/ 903 w 917"/>
                <a:gd name="T21" fmla="*/ 362 h 1538"/>
                <a:gd name="T22" fmla="*/ 794 w 917"/>
                <a:gd name="T23" fmla="*/ 395 h 1538"/>
                <a:gd name="T24" fmla="*/ 778 w 917"/>
                <a:gd name="T25" fmla="*/ 428 h 1538"/>
                <a:gd name="T26" fmla="*/ 740 w 917"/>
                <a:gd name="T27" fmla="*/ 465 h 1538"/>
                <a:gd name="T28" fmla="*/ 697 w 917"/>
                <a:gd name="T29" fmla="*/ 510 h 1538"/>
                <a:gd name="T30" fmla="*/ 697 w 917"/>
                <a:gd name="T31" fmla="*/ 593 h 1538"/>
                <a:gd name="T32" fmla="*/ 589 w 917"/>
                <a:gd name="T33" fmla="*/ 666 h 1538"/>
                <a:gd name="T34" fmla="*/ 546 w 917"/>
                <a:gd name="T35" fmla="*/ 695 h 1538"/>
                <a:gd name="T36" fmla="*/ 501 w 917"/>
                <a:gd name="T37" fmla="*/ 749 h 1538"/>
                <a:gd name="T38" fmla="*/ 480 w 917"/>
                <a:gd name="T39" fmla="*/ 761 h 1538"/>
                <a:gd name="T40" fmla="*/ 463 w 917"/>
                <a:gd name="T41" fmla="*/ 806 h 1538"/>
                <a:gd name="T42" fmla="*/ 447 w 917"/>
                <a:gd name="T43" fmla="*/ 877 h 1538"/>
                <a:gd name="T44" fmla="*/ 433 w 917"/>
                <a:gd name="T45" fmla="*/ 910 h 1538"/>
                <a:gd name="T46" fmla="*/ 480 w 917"/>
                <a:gd name="T47" fmla="*/ 988 h 1538"/>
                <a:gd name="T48" fmla="*/ 539 w 917"/>
                <a:gd name="T49" fmla="*/ 1044 h 1538"/>
                <a:gd name="T50" fmla="*/ 555 w 917"/>
                <a:gd name="T51" fmla="*/ 1082 h 1538"/>
                <a:gd name="T52" fmla="*/ 470 w 917"/>
                <a:gd name="T53" fmla="*/ 1110 h 1538"/>
                <a:gd name="T54" fmla="*/ 454 w 917"/>
                <a:gd name="T55" fmla="*/ 1099 h 1538"/>
                <a:gd name="T56" fmla="*/ 454 w 917"/>
                <a:gd name="T57" fmla="*/ 1110 h 1538"/>
                <a:gd name="T58" fmla="*/ 395 w 917"/>
                <a:gd name="T59" fmla="*/ 1110 h 1538"/>
                <a:gd name="T60" fmla="*/ 437 w 917"/>
                <a:gd name="T61" fmla="*/ 1132 h 1538"/>
                <a:gd name="T62" fmla="*/ 534 w 917"/>
                <a:gd name="T63" fmla="*/ 1122 h 1538"/>
                <a:gd name="T64" fmla="*/ 454 w 917"/>
                <a:gd name="T65" fmla="*/ 1172 h 1538"/>
                <a:gd name="T66" fmla="*/ 383 w 917"/>
                <a:gd name="T67" fmla="*/ 1205 h 1538"/>
                <a:gd name="T68" fmla="*/ 383 w 917"/>
                <a:gd name="T69" fmla="*/ 1266 h 1538"/>
                <a:gd name="T70" fmla="*/ 383 w 917"/>
                <a:gd name="T71" fmla="*/ 1304 h 1538"/>
                <a:gd name="T72" fmla="*/ 371 w 917"/>
                <a:gd name="T73" fmla="*/ 1403 h 1538"/>
                <a:gd name="T74" fmla="*/ 215 w 917"/>
                <a:gd name="T75" fmla="*/ 1486 h 1538"/>
                <a:gd name="T76" fmla="*/ 130 w 917"/>
                <a:gd name="T77" fmla="*/ 1538 h 1538"/>
                <a:gd name="T78" fmla="*/ 123 w 917"/>
                <a:gd name="T79" fmla="*/ 1427 h 1538"/>
                <a:gd name="T80" fmla="*/ 69 w 917"/>
                <a:gd name="T81" fmla="*/ 1321 h 1538"/>
                <a:gd name="T82" fmla="*/ 55 w 917"/>
                <a:gd name="T83" fmla="*/ 1299 h 1538"/>
                <a:gd name="T84" fmla="*/ 5 w 917"/>
                <a:gd name="T85" fmla="*/ 1226 h 1538"/>
                <a:gd name="T86" fmla="*/ 31 w 917"/>
                <a:gd name="T87" fmla="*/ 1172 h 1538"/>
                <a:gd name="T88" fmla="*/ 485 w 917"/>
                <a:gd name="T89" fmla="*/ 761 h 1538"/>
                <a:gd name="T90" fmla="*/ 447 w 917"/>
                <a:gd name="T91" fmla="*/ 789 h 1538"/>
                <a:gd name="T92" fmla="*/ 508 w 917"/>
                <a:gd name="T93" fmla="*/ 999 h 1538"/>
                <a:gd name="T94" fmla="*/ 534 w 917"/>
                <a:gd name="T95" fmla="*/ 1099 h 1538"/>
                <a:gd name="T96" fmla="*/ 433 w 917"/>
                <a:gd name="T97" fmla="*/ 1115 h 1538"/>
                <a:gd name="T98" fmla="*/ 447 w 917"/>
                <a:gd name="T99" fmla="*/ 1115 h 1538"/>
                <a:gd name="T100" fmla="*/ 522 w 917"/>
                <a:gd name="T101" fmla="*/ 1132 h 1538"/>
                <a:gd name="T102" fmla="*/ 577 w 917"/>
                <a:gd name="T103" fmla="*/ 1226 h 1538"/>
                <a:gd name="T104" fmla="*/ 38 w 917"/>
                <a:gd name="T105" fmla="*/ 1238 h 1538"/>
                <a:gd name="T106" fmla="*/ 48 w 917"/>
                <a:gd name="T107" fmla="*/ 1259 h 1538"/>
                <a:gd name="T108" fmla="*/ 560 w 917"/>
                <a:gd name="T109" fmla="*/ 1283 h 1538"/>
                <a:gd name="T110" fmla="*/ 560 w 917"/>
                <a:gd name="T111" fmla="*/ 1283 h 1538"/>
                <a:gd name="T112" fmla="*/ 508 w 917"/>
                <a:gd name="T113" fmla="*/ 1354 h 1538"/>
                <a:gd name="T114" fmla="*/ 555 w 917"/>
                <a:gd name="T115" fmla="*/ 1276 h 1538"/>
                <a:gd name="T116" fmla="*/ 426 w 917"/>
                <a:gd name="T117" fmla="*/ 1337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7" h="1538">
                  <a:moveTo>
                    <a:pt x="31" y="1172"/>
                  </a:moveTo>
                  <a:lnTo>
                    <a:pt x="48" y="1132"/>
                  </a:lnTo>
                  <a:lnTo>
                    <a:pt x="38" y="1099"/>
                  </a:lnTo>
                  <a:lnTo>
                    <a:pt x="55" y="1082"/>
                  </a:lnTo>
                  <a:lnTo>
                    <a:pt x="48" y="1065"/>
                  </a:lnTo>
                  <a:lnTo>
                    <a:pt x="69" y="1065"/>
                  </a:lnTo>
                  <a:lnTo>
                    <a:pt x="92" y="1044"/>
                  </a:lnTo>
                  <a:lnTo>
                    <a:pt x="107" y="1004"/>
                  </a:lnTo>
                  <a:lnTo>
                    <a:pt x="76" y="943"/>
                  </a:lnTo>
                  <a:lnTo>
                    <a:pt x="107" y="943"/>
                  </a:lnTo>
                  <a:lnTo>
                    <a:pt x="123" y="910"/>
                  </a:lnTo>
                  <a:lnTo>
                    <a:pt x="69" y="860"/>
                  </a:lnTo>
                  <a:lnTo>
                    <a:pt x="85" y="806"/>
                  </a:lnTo>
                  <a:lnTo>
                    <a:pt x="69" y="765"/>
                  </a:lnTo>
                  <a:lnTo>
                    <a:pt x="59" y="732"/>
                  </a:lnTo>
                  <a:lnTo>
                    <a:pt x="76" y="721"/>
                  </a:lnTo>
                  <a:lnTo>
                    <a:pt x="59" y="695"/>
                  </a:lnTo>
                  <a:lnTo>
                    <a:pt x="76" y="666"/>
                  </a:lnTo>
                  <a:lnTo>
                    <a:pt x="69" y="654"/>
                  </a:lnTo>
                  <a:lnTo>
                    <a:pt x="107" y="617"/>
                  </a:lnTo>
                  <a:lnTo>
                    <a:pt x="130" y="600"/>
                  </a:lnTo>
                  <a:lnTo>
                    <a:pt x="199" y="612"/>
                  </a:lnTo>
                  <a:lnTo>
                    <a:pt x="215" y="584"/>
                  </a:lnTo>
                  <a:lnTo>
                    <a:pt x="211" y="555"/>
                  </a:lnTo>
                  <a:lnTo>
                    <a:pt x="178" y="543"/>
                  </a:lnTo>
                  <a:lnTo>
                    <a:pt x="237" y="456"/>
                  </a:lnTo>
                  <a:lnTo>
                    <a:pt x="237" y="428"/>
                  </a:lnTo>
                  <a:lnTo>
                    <a:pt x="248" y="395"/>
                  </a:lnTo>
                  <a:lnTo>
                    <a:pt x="237" y="362"/>
                  </a:lnTo>
                  <a:lnTo>
                    <a:pt x="274" y="357"/>
                  </a:lnTo>
                  <a:lnTo>
                    <a:pt x="307" y="338"/>
                  </a:lnTo>
                  <a:lnTo>
                    <a:pt x="303" y="317"/>
                  </a:lnTo>
                  <a:lnTo>
                    <a:pt x="371" y="251"/>
                  </a:lnTo>
                  <a:lnTo>
                    <a:pt x="371" y="229"/>
                  </a:lnTo>
                  <a:lnTo>
                    <a:pt x="345" y="206"/>
                  </a:lnTo>
                  <a:lnTo>
                    <a:pt x="378" y="177"/>
                  </a:lnTo>
                  <a:lnTo>
                    <a:pt x="395" y="140"/>
                  </a:lnTo>
                  <a:lnTo>
                    <a:pt x="433" y="118"/>
                  </a:lnTo>
                  <a:lnTo>
                    <a:pt x="480" y="140"/>
                  </a:lnTo>
                  <a:lnTo>
                    <a:pt x="492" y="111"/>
                  </a:lnTo>
                  <a:lnTo>
                    <a:pt x="485" y="78"/>
                  </a:lnTo>
                  <a:lnTo>
                    <a:pt x="485" y="66"/>
                  </a:lnTo>
                  <a:lnTo>
                    <a:pt x="546" y="66"/>
                  </a:lnTo>
                  <a:lnTo>
                    <a:pt x="615" y="95"/>
                  </a:lnTo>
                  <a:lnTo>
                    <a:pt x="643" y="66"/>
                  </a:lnTo>
                  <a:lnTo>
                    <a:pt x="615" y="62"/>
                  </a:lnTo>
                  <a:lnTo>
                    <a:pt x="648" y="28"/>
                  </a:lnTo>
                  <a:lnTo>
                    <a:pt x="648" y="12"/>
                  </a:lnTo>
                  <a:lnTo>
                    <a:pt x="631" y="0"/>
                  </a:lnTo>
                  <a:lnTo>
                    <a:pt x="664" y="0"/>
                  </a:lnTo>
                  <a:lnTo>
                    <a:pt x="766" y="66"/>
                  </a:lnTo>
                  <a:lnTo>
                    <a:pt x="827" y="83"/>
                  </a:lnTo>
                  <a:lnTo>
                    <a:pt x="879" y="140"/>
                  </a:lnTo>
                  <a:lnTo>
                    <a:pt x="865" y="151"/>
                  </a:lnTo>
                  <a:lnTo>
                    <a:pt x="865" y="194"/>
                  </a:lnTo>
                  <a:lnTo>
                    <a:pt x="886" y="206"/>
                  </a:lnTo>
                  <a:lnTo>
                    <a:pt x="886" y="222"/>
                  </a:lnTo>
                  <a:lnTo>
                    <a:pt x="879" y="222"/>
                  </a:lnTo>
                  <a:lnTo>
                    <a:pt x="874" y="234"/>
                  </a:lnTo>
                  <a:lnTo>
                    <a:pt x="903" y="279"/>
                  </a:lnTo>
                  <a:lnTo>
                    <a:pt x="896" y="284"/>
                  </a:lnTo>
                  <a:lnTo>
                    <a:pt x="896" y="305"/>
                  </a:lnTo>
                  <a:lnTo>
                    <a:pt x="879" y="321"/>
                  </a:lnTo>
                  <a:lnTo>
                    <a:pt x="879" y="338"/>
                  </a:lnTo>
                  <a:lnTo>
                    <a:pt x="886" y="357"/>
                  </a:lnTo>
                  <a:lnTo>
                    <a:pt x="903" y="362"/>
                  </a:lnTo>
                  <a:lnTo>
                    <a:pt x="917" y="395"/>
                  </a:lnTo>
                  <a:lnTo>
                    <a:pt x="848" y="399"/>
                  </a:lnTo>
                  <a:lnTo>
                    <a:pt x="841" y="411"/>
                  </a:lnTo>
                  <a:lnTo>
                    <a:pt x="811" y="390"/>
                  </a:lnTo>
                  <a:lnTo>
                    <a:pt x="811" y="399"/>
                  </a:lnTo>
                  <a:lnTo>
                    <a:pt x="794" y="395"/>
                  </a:lnTo>
                  <a:lnTo>
                    <a:pt x="789" y="395"/>
                  </a:lnTo>
                  <a:lnTo>
                    <a:pt x="778" y="416"/>
                  </a:lnTo>
                  <a:lnTo>
                    <a:pt x="794" y="416"/>
                  </a:lnTo>
                  <a:lnTo>
                    <a:pt x="794" y="428"/>
                  </a:lnTo>
                  <a:lnTo>
                    <a:pt x="752" y="411"/>
                  </a:lnTo>
                  <a:lnTo>
                    <a:pt x="778" y="428"/>
                  </a:lnTo>
                  <a:lnTo>
                    <a:pt x="756" y="432"/>
                  </a:lnTo>
                  <a:lnTo>
                    <a:pt x="766" y="444"/>
                  </a:lnTo>
                  <a:lnTo>
                    <a:pt x="756" y="449"/>
                  </a:lnTo>
                  <a:lnTo>
                    <a:pt x="723" y="449"/>
                  </a:lnTo>
                  <a:lnTo>
                    <a:pt x="740" y="456"/>
                  </a:lnTo>
                  <a:lnTo>
                    <a:pt x="740" y="465"/>
                  </a:lnTo>
                  <a:lnTo>
                    <a:pt x="711" y="449"/>
                  </a:lnTo>
                  <a:lnTo>
                    <a:pt x="740" y="473"/>
                  </a:lnTo>
                  <a:lnTo>
                    <a:pt x="735" y="489"/>
                  </a:lnTo>
                  <a:lnTo>
                    <a:pt x="711" y="501"/>
                  </a:lnTo>
                  <a:lnTo>
                    <a:pt x="711" y="510"/>
                  </a:lnTo>
                  <a:lnTo>
                    <a:pt x="697" y="510"/>
                  </a:lnTo>
                  <a:lnTo>
                    <a:pt x="718" y="522"/>
                  </a:lnTo>
                  <a:lnTo>
                    <a:pt x="718" y="527"/>
                  </a:lnTo>
                  <a:lnTo>
                    <a:pt x="702" y="527"/>
                  </a:lnTo>
                  <a:lnTo>
                    <a:pt x="735" y="543"/>
                  </a:lnTo>
                  <a:lnTo>
                    <a:pt x="735" y="560"/>
                  </a:lnTo>
                  <a:lnTo>
                    <a:pt x="697" y="593"/>
                  </a:lnTo>
                  <a:lnTo>
                    <a:pt x="681" y="621"/>
                  </a:lnTo>
                  <a:lnTo>
                    <a:pt x="659" y="633"/>
                  </a:lnTo>
                  <a:lnTo>
                    <a:pt x="648" y="650"/>
                  </a:lnTo>
                  <a:lnTo>
                    <a:pt x="615" y="654"/>
                  </a:lnTo>
                  <a:lnTo>
                    <a:pt x="605" y="671"/>
                  </a:lnTo>
                  <a:lnTo>
                    <a:pt x="589" y="666"/>
                  </a:lnTo>
                  <a:lnTo>
                    <a:pt x="589" y="671"/>
                  </a:lnTo>
                  <a:lnTo>
                    <a:pt x="572" y="671"/>
                  </a:lnTo>
                  <a:lnTo>
                    <a:pt x="572" y="688"/>
                  </a:lnTo>
                  <a:lnTo>
                    <a:pt x="555" y="695"/>
                  </a:lnTo>
                  <a:lnTo>
                    <a:pt x="555" y="704"/>
                  </a:lnTo>
                  <a:lnTo>
                    <a:pt x="546" y="695"/>
                  </a:lnTo>
                  <a:lnTo>
                    <a:pt x="539" y="695"/>
                  </a:lnTo>
                  <a:lnTo>
                    <a:pt x="546" y="704"/>
                  </a:lnTo>
                  <a:lnTo>
                    <a:pt x="534" y="704"/>
                  </a:lnTo>
                  <a:lnTo>
                    <a:pt x="501" y="721"/>
                  </a:lnTo>
                  <a:lnTo>
                    <a:pt x="522" y="728"/>
                  </a:lnTo>
                  <a:lnTo>
                    <a:pt x="501" y="749"/>
                  </a:lnTo>
                  <a:lnTo>
                    <a:pt x="480" y="744"/>
                  </a:lnTo>
                  <a:lnTo>
                    <a:pt x="470" y="728"/>
                  </a:lnTo>
                  <a:lnTo>
                    <a:pt x="463" y="728"/>
                  </a:lnTo>
                  <a:lnTo>
                    <a:pt x="485" y="749"/>
                  </a:lnTo>
                  <a:lnTo>
                    <a:pt x="485" y="761"/>
                  </a:lnTo>
                  <a:lnTo>
                    <a:pt x="480" y="761"/>
                  </a:lnTo>
                  <a:lnTo>
                    <a:pt x="485" y="765"/>
                  </a:lnTo>
                  <a:lnTo>
                    <a:pt x="463" y="782"/>
                  </a:lnTo>
                  <a:lnTo>
                    <a:pt x="437" y="777"/>
                  </a:lnTo>
                  <a:lnTo>
                    <a:pt x="437" y="782"/>
                  </a:lnTo>
                  <a:lnTo>
                    <a:pt x="437" y="799"/>
                  </a:lnTo>
                  <a:lnTo>
                    <a:pt x="463" y="806"/>
                  </a:lnTo>
                  <a:lnTo>
                    <a:pt x="447" y="806"/>
                  </a:lnTo>
                  <a:lnTo>
                    <a:pt x="447" y="839"/>
                  </a:lnTo>
                  <a:lnTo>
                    <a:pt x="437" y="839"/>
                  </a:lnTo>
                  <a:lnTo>
                    <a:pt x="437" y="855"/>
                  </a:lnTo>
                  <a:lnTo>
                    <a:pt x="447" y="872"/>
                  </a:lnTo>
                  <a:lnTo>
                    <a:pt x="447" y="877"/>
                  </a:lnTo>
                  <a:lnTo>
                    <a:pt x="426" y="872"/>
                  </a:lnTo>
                  <a:lnTo>
                    <a:pt x="433" y="872"/>
                  </a:lnTo>
                  <a:lnTo>
                    <a:pt x="416" y="877"/>
                  </a:lnTo>
                  <a:lnTo>
                    <a:pt x="433" y="893"/>
                  </a:lnTo>
                  <a:lnTo>
                    <a:pt x="416" y="900"/>
                  </a:lnTo>
                  <a:lnTo>
                    <a:pt x="433" y="910"/>
                  </a:lnTo>
                  <a:lnTo>
                    <a:pt x="426" y="950"/>
                  </a:lnTo>
                  <a:lnTo>
                    <a:pt x="433" y="966"/>
                  </a:lnTo>
                  <a:lnTo>
                    <a:pt x="433" y="983"/>
                  </a:lnTo>
                  <a:lnTo>
                    <a:pt x="454" y="988"/>
                  </a:lnTo>
                  <a:lnTo>
                    <a:pt x="463" y="999"/>
                  </a:lnTo>
                  <a:lnTo>
                    <a:pt x="480" y="988"/>
                  </a:lnTo>
                  <a:lnTo>
                    <a:pt x="501" y="1021"/>
                  </a:lnTo>
                  <a:lnTo>
                    <a:pt x="518" y="1021"/>
                  </a:lnTo>
                  <a:lnTo>
                    <a:pt x="522" y="1028"/>
                  </a:lnTo>
                  <a:lnTo>
                    <a:pt x="508" y="1021"/>
                  </a:lnTo>
                  <a:lnTo>
                    <a:pt x="508" y="1037"/>
                  </a:lnTo>
                  <a:lnTo>
                    <a:pt x="539" y="1044"/>
                  </a:lnTo>
                  <a:lnTo>
                    <a:pt x="546" y="1061"/>
                  </a:lnTo>
                  <a:lnTo>
                    <a:pt x="555" y="1065"/>
                  </a:lnTo>
                  <a:lnTo>
                    <a:pt x="555" y="1077"/>
                  </a:lnTo>
                  <a:lnTo>
                    <a:pt x="546" y="1065"/>
                  </a:lnTo>
                  <a:lnTo>
                    <a:pt x="539" y="1077"/>
                  </a:lnTo>
                  <a:lnTo>
                    <a:pt x="555" y="1082"/>
                  </a:lnTo>
                  <a:lnTo>
                    <a:pt x="501" y="1110"/>
                  </a:lnTo>
                  <a:lnTo>
                    <a:pt x="508" y="1115"/>
                  </a:lnTo>
                  <a:lnTo>
                    <a:pt x="492" y="1115"/>
                  </a:lnTo>
                  <a:lnTo>
                    <a:pt x="485" y="1122"/>
                  </a:lnTo>
                  <a:lnTo>
                    <a:pt x="470" y="1115"/>
                  </a:lnTo>
                  <a:lnTo>
                    <a:pt x="470" y="1110"/>
                  </a:lnTo>
                  <a:lnTo>
                    <a:pt x="463" y="1094"/>
                  </a:lnTo>
                  <a:lnTo>
                    <a:pt x="454" y="1094"/>
                  </a:lnTo>
                  <a:lnTo>
                    <a:pt x="463" y="1082"/>
                  </a:lnTo>
                  <a:lnTo>
                    <a:pt x="454" y="1077"/>
                  </a:lnTo>
                  <a:lnTo>
                    <a:pt x="447" y="1094"/>
                  </a:lnTo>
                  <a:lnTo>
                    <a:pt x="454" y="1099"/>
                  </a:lnTo>
                  <a:lnTo>
                    <a:pt x="447" y="1082"/>
                  </a:lnTo>
                  <a:lnTo>
                    <a:pt x="454" y="1082"/>
                  </a:lnTo>
                  <a:lnTo>
                    <a:pt x="454" y="1094"/>
                  </a:lnTo>
                  <a:lnTo>
                    <a:pt x="470" y="1099"/>
                  </a:lnTo>
                  <a:lnTo>
                    <a:pt x="463" y="1115"/>
                  </a:lnTo>
                  <a:lnTo>
                    <a:pt x="454" y="1110"/>
                  </a:lnTo>
                  <a:lnTo>
                    <a:pt x="437" y="1094"/>
                  </a:lnTo>
                  <a:lnTo>
                    <a:pt x="437" y="1110"/>
                  </a:lnTo>
                  <a:lnTo>
                    <a:pt x="378" y="1099"/>
                  </a:lnTo>
                  <a:lnTo>
                    <a:pt x="378" y="1110"/>
                  </a:lnTo>
                  <a:lnTo>
                    <a:pt x="345" y="1110"/>
                  </a:lnTo>
                  <a:lnTo>
                    <a:pt x="395" y="1110"/>
                  </a:lnTo>
                  <a:lnTo>
                    <a:pt x="409" y="1122"/>
                  </a:lnTo>
                  <a:lnTo>
                    <a:pt x="395" y="1110"/>
                  </a:lnTo>
                  <a:lnTo>
                    <a:pt x="400" y="1110"/>
                  </a:lnTo>
                  <a:lnTo>
                    <a:pt x="433" y="1122"/>
                  </a:lnTo>
                  <a:lnTo>
                    <a:pt x="433" y="1132"/>
                  </a:lnTo>
                  <a:lnTo>
                    <a:pt x="437" y="1132"/>
                  </a:lnTo>
                  <a:lnTo>
                    <a:pt x="437" y="1122"/>
                  </a:lnTo>
                  <a:lnTo>
                    <a:pt x="470" y="1132"/>
                  </a:lnTo>
                  <a:lnTo>
                    <a:pt x="501" y="1122"/>
                  </a:lnTo>
                  <a:lnTo>
                    <a:pt x="518" y="1122"/>
                  </a:lnTo>
                  <a:lnTo>
                    <a:pt x="518" y="1115"/>
                  </a:lnTo>
                  <a:lnTo>
                    <a:pt x="534" y="1122"/>
                  </a:lnTo>
                  <a:lnTo>
                    <a:pt x="501" y="1132"/>
                  </a:lnTo>
                  <a:lnTo>
                    <a:pt x="501" y="1148"/>
                  </a:lnTo>
                  <a:lnTo>
                    <a:pt x="485" y="1155"/>
                  </a:lnTo>
                  <a:lnTo>
                    <a:pt x="480" y="1181"/>
                  </a:lnTo>
                  <a:lnTo>
                    <a:pt x="463" y="1139"/>
                  </a:lnTo>
                  <a:lnTo>
                    <a:pt x="454" y="1172"/>
                  </a:lnTo>
                  <a:lnTo>
                    <a:pt x="437" y="1188"/>
                  </a:lnTo>
                  <a:lnTo>
                    <a:pt x="416" y="1188"/>
                  </a:lnTo>
                  <a:lnTo>
                    <a:pt x="426" y="1193"/>
                  </a:lnTo>
                  <a:lnTo>
                    <a:pt x="409" y="1205"/>
                  </a:lnTo>
                  <a:lnTo>
                    <a:pt x="357" y="1205"/>
                  </a:lnTo>
                  <a:lnTo>
                    <a:pt x="383" y="1205"/>
                  </a:lnTo>
                  <a:lnTo>
                    <a:pt x="409" y="1221"/>
                  </a:lnTo>
                  <a:lnTo>
                    <a:pt x="371" y="1221"/>
                  </a:lnTo>
                  <a:lnTo>
                    <a:pt x="395" y="1226"/>
                  </a:lnTo>
                  <a:lnTo>
                    <a:pt x="400" y="1243"/>
                  </a:lnTo>
                  <a:lnTo>
                    <a:pt x="395" y="1266"/>
                  </a:lnTo>
                  <a:lnTo>
                    <a:pt x="383" y="1266"/>
                  </a:lnTo>
                  <a:lnTo>
                    <a:pt x="395" y="1283"/>
                  </a:lnTo>
                  <a:lnTo>
                    <a:pt x="378" y="1266"/>
                  </a:lnTo>
                  <a:lnTo>
                    <a:pt x="395" y="1292"/>
                  </a:lnTo>
                  <a:lnTo>
                    <a:pt x="371" y="1276"/>
                  </a:lnTo>
                  <a:lnTo>
                    <a:pt x="395" y="1299"/>
                  </a:lnTo>
                  <a:lnTo>
                    <a:pt x="383" y="1304"/>
                  </a:lnTo>
                  <a:lnTo>
                    <a:pt x="395" y="1321"/>
                  </a:lnTo>
                  <a:lnTo>
                    <a:pt x="378" y="1337"/>
                  </a:lnTo>
                  <a:lnTo>
                    <a:pt x="378" y="1354"/>
                  </a:lnTo>
                  <a:lnTo>
                    <a:pt x="383" y="1358"/>
                  </a:lnTo>
                  <a:lnTo>
                    <a:pt x="378" y="1370"/>
                  </a:lnTo>
                  <a:lnTo>
                    <a:pt x="371" y="1403"/>
                  </a:lnTo>
                  <a:lnTo>
                    <a:pt x="329" y="1465"/>
                  </a:lnTo>
                  <a:lnTo>
                    <a:pt x="319" y="1460"/>
                  </a:lnTo>
                  <a:lnTo>
                    <a:pt x="253" y="1460"/>
                  </a:lnTo>
                  <a:lnTo>
                    <a:pt x="253" y="1469"/>
                  </a:lnTo>
                  <a:lnTo>
                    <a:pt x="237" y="1465"/>
                  </a:lnTo>
                  <a:lnTo>
                    <a:pt x="215" y="1486"/>
                  </a:lnTo>
                  <a:lnTo>
                    <a:pt x="215" y="1505"/>
                  </a:lnTo>
                  <a:lnTo>
                    <a:pt x="232" y="1521"/>
                  </a:lnTo>
                  <a:lnTo>
                    <a:pt x="215" y="1538"/>
                  </a:lnTo>
                  <a:lnTo>
                    <a:pt x="182" y="1526"/>
                  </a:lnTo>
                  <a:lnTo>
                    <a:pt x="156" y="1538"/>
                  </a:lnTo>
                  <a:lnTo>
                    <a:pt x="130" y="1538"/>
                  </a:lnTo>
                  <a:lnTo>
                    <a:pt x="123" y="1521"/>
                  </a:lnTo>
                  <a:lnTo>
                    <a:pt x="140" y="1505"/>
                  </a:lnTo>
                  <a:lnTo>
                    <a:pt x="92" y="1443"/>
                  </a:lnTo>
                  <a:lnTo>
                    <a:pt x="123" y="1448"/>
                  </a:lnTo>
                  <a:lnTo>
                    <a:pt x="107" y="1432"/>
                  </a:lnTo>
                  <a:lnTo>
                    <a:pt x="123" y="1427"/>
                  </a:lnTo>
                  <a:lnTo>
                    <a:pt x="123" y="1410"/>
                  </a:lnTo>
                  <a:lnTo>
                    <a:pt x="114" y="1410"/>
                  </a:lnTo>
                  <a:lnTo>
                    <a:pt x="102" y="1387"/>
                  </a:lnTo>
                  <a:lnTo>
                    <a:pt x="85" y="1377"/>
                  </a:lnTo>
                  <a:lnTo>
                    <a:pt x="69" y="1349"/>
                  </a:lnTo>
                  <a:lnTo>
                    <a:pt x="69" y="1321"/>
                  </a:lnTo>
                  <a:lnTo>
                    <a:pt x="59" y="1321"/>
                  </a:lnTo>
                  <a:lnTo>
                    <a:pt x="59" y="1337"/>
                  </a:lnTo>
                  <a:lnTo>
                    <a:pt x="55" y="1332"/>
                  </a:lnTo>
                  <a:lnTo>
                    <a:pt x="55" y="1304"/>
                  </a:lnTo>
                  <a:lnTo>
                    <a:pt x="55" y="1299"/>
                  </a:lnTo>
                  <a:lnTo>
                    <a:pt x="55" y="1299"/>
                  </a:lnTo>
                  <a:lnTo>
                    <a:pt x="38" y="1299"/>
                  </a:lnTo>
                  <a:lnTo>
                    <a:pt x="38" y="1283"/>
                  </a:lnTo>
                  <a:lnTo>
                    <a:pt x="55" y="1243"/>
                  </a:lnTo>
                  <a:lnTo>
                    <a:pt x="48" y="1238"/>
                  </a:lnTo>
                  <a:lnTo>
                    <a:pt x="31" y="1243"/>
                  </a:lnTo>
                  <a:lnTo>
                    <a:pt x="5" y="1226"/>
                  </a:lnTo>
                  <a:lnTo>
                    <a:pt x="5" y="1181"/>
                  </a:lnTo>
                  <a:lnTo>
                    <a:pt x="0" y="1165"/>
                  </a:lnTo>
                  <a:lnTo>
                    <a:pt x="15" y="1148"/>
                  </a:lnTo>
                  <a:lnTo>
                    <a:pt x="22" y="1165"/>
                  </a:lnTo>
                  <a:lnTo>
                    <a:pt x="22" y="1172"/>
                  </a:lnTo>
                  <a:lnTo>
                    <a:pt x="31" y="1172"/>
                  </a:lnTo>
                  <a:lnTo>
                    <a:pt x="31" y="1172"/>
                  </a:lnTo>
                  <a:lnTo>
                    <a:pt x="31" y="1172"/>
                  </a:lnTo>
                  <a:close/>
                  <a:moveTo>
                    <a:pt x="485" y="761"/>
                  </a:moveTo>
                  <a:lnTo>
                    <a:pt x="485" y="749"/>
                  </a:lnTo>
                  <a:lnTo>
                    <a:pt x="492" y="749"/>
                  </a:lnTo>
                  <a:lnTo>
                    <a:pt x="485" y="761"/>
                  </a:lnTo>
                  <a:lnTo>
                    <a:pt x="485" y="761"/>
                  </a:lnTo>
                  <a:lnTo>
                    <a:pt x="485" y="761"/>
                  </a:lnTo>
                  <a:close/>
                  <a:moveTo>
                    <a:pt x="447" y="799"/>
                  </a:moveTo>
                  <a:lnTo>
                    <a:pt x="437" y="782"/>
                  </a:lnTo>
                  <a:lnTo>
                    <a:pt x="447" y="782"/>
                  </a:lnTo>
                  <a:lnTo>
                    <a:pt x="447" y="789"/>
                  </a:lnTo>
                  <a:lnTo>
                    <a:pt x="447" y="799"/>
                  </a:lnTo>
                  <a:lnTo>
                    <a:pt x="447" y="799"/>
                  </a:lnTo>
                  <a:lnTo>
                    <a:pt x="447" y="799"/>
                  </a:lnTo>
                  <a:close/>
                  <a:moveTo>
                    <a:pt x="522" y="1021"/>
                  </a:moveTo>
                  <a:lnTo>
                    <a:pt x="508" y="1011"/>
                  </a:lnTo>
                  <a:lnTo>
                    <a:pt x="508" y="999"/>
                  </a:lnTo>
                  <a:lnTo>
                    <a:pt x="522" y="1021"/>
                  </a:lnTo>
                  <a:lnTo>
                    <a:pt x="522" y="1021"/>
                  </a:lnTo>
                  <a:lnTo>
                    <a:pt x="522" y="1021"/>
                  </a:lnTo>
                  <a:close/>
                  <a:moveTo>
                    <a:pt x="522" y="1115"/>
                  </a:moveTo>
                  <a:lnTo>
                    <a:pt x="522" y="1110"/>
                  </a:lnTo>
                  <a:lnTo>
                    <a:pt x="534" y="1099"/>
                  </a:lnTo>
                  <a:lnTo>
                    <a:pt x="522" y="1115"/>
                  </a:lnTo>
                  <a:lnTo>
                    <a:pt x="522" y="1115"/>
                  </a:lnTo>
                  <a:lnTo>
                    <a:pt x="522" y="1115"/>
                  </a:lnTo>
                  <a:close/>
                  <a:moveTo>
                    <a:pt x="433" y="1122"/>
                  </a:moveTo>
                  <a:lnTo>
                    <a:pt x="416" y="1115"/>
                  </a:lnTo>
                  <a:lnTo>
                    <a:pt x="433" y="1115"/>
                  </a:lnTo>
                  <a:lnTo>
                    <a:pt x="433" y="1122"/>
                  </a:lnTo>
                  <a:lnTo>
                    <a:pt x="433" y="1122"/>
                  </a:lnTo>
                  <a:lnTo>
                    <a:pt x="433" y="1122"/>
                  </a:lnTo>
                  <a:close/>
                  <a:moveTo>
                    <a:pt x="470" y="1132"/>
                  </a:moveTo>
                  <a:lnTo>
                    <a:pt x="454" y="1132"/>
                  </a:lnTo>
                  <a:lnTo>
                    <a:pt x="447" y="1115"/>
                  </a:lnTo>
                  <a:lnTo>
                    <a:pt x="470" y="1132"/>
                  </a:lnTo>
                  <a:lnTo>
                    <a:pt x="470" y="1132"/>
                  </a:lnTo>
                  <a:lnTo>
                    <a:pt x="470" y="1132"/>
                  </a:lnTo>
                  <a:close/>
                  <a:moveTo>
                    <a:pt x="518" y="1139"/>
                  </a:moveTo>
                  <a:lnTo>
                    <a:pt x="508" y="1132"/>
                  </a:lnTo>
                  <a:lnTo>
                    <a:pt x="522" y="1132"/>
                  </a:lnTo>
                  <a:lnTo>
                    <a:pt x="518" y="1139"/>
                  </a:lnTo>
                  <a:lnTo>
                    <a:pt x="518" y="1139"/>
                  </a:lnTo>
                  <a:lnTo>
                    <a:pt x="518" y="1139"/>
                  </a:lnTo>
                  <a:close/>
                  <a:moveTo>
                    <a:pt x="572" y="1238"/>
                  </a:moveTo>
                  <a:lnTo>
                    <a:pt x="560" y="1226"/>
                  </a:lnTo>
                  <a:lnTo>
                    <a:pt x="577" y="1226"/>
                  </a:lnTo>
                  <a:lnTo>
                    <a:pt x="572" y="1238"/>
                  </a:lnTo>
                  <a:lnTo>
                    <a:pt x="572" y="1238"/>
                  </a:lnTo>
                  <a:lnTo>
                    <a:pt x="572" y="1238"/>
                  </a:lnTo>
                  <a:close/>
                  <a:moveTo>
                    <a:pt x="22" y="1259"/>
                  </a:moveTo>
                  <a:lnTo>
                    <a:pt x="22" y="1250"/>
                  </a:lnTo>
                  <a:lnTo>
                    <a:pt x="38" y="1238"/>
                  </a:lnTo>
                  <a:lnTo>
                    <a:pt x="48" y="1243"/>
                  </a:lnTo>
                  <a:lnTo>
                    <a:pt x="48" y="1250"/>
                  </a:lnTo>
                  <a:lnTo>
                    <a:pt x="22" y="1259"/>
                  </a:lnTo>
                  <a:lnTo>
                    <a:pt x="22" y="1259"/>
                  </a:lnTo>
                  <a:lnTo>
                    <a:pt x="22" y="1259"/>
                  </a:lnTo>
                  <a:close/>
                  <a:moveTo>
                    <a:pt x="48" y="1259"/>
                  </a:moveTo>
                  <a:lnTo>
                    <a:pt x="31" y="1276"/>
                  </a:lnTo>
                  <a:lnTo>
                    <a:pt x="31" y="1266"/>
                  </a:lnTo>
                  <a:lnTo>
                    <a:pt x="48" y="1259"/>
                  </a:lnTo>
                  <a:lnTo>
                    <a:pt x="48" y="1259"/>
                  </a:lnTo>
                  <a:lnTo>
                    <a:pt x="48" y="1259"/>
                  </a:lnTo>
                  <a:close/>
                  <a:moveTo>
                    <a:pt x="560" y="1283"/>
                  </a:moveTo>
                  <a:lnTo>
                    <a:pt x="555" y="1276"/>
                  </a:lnTo>
                  <a:lnTo>
                    <a:pt x="560" y="1266"/>
                  </a:lnTo>
                  <a:lnTo>
                    <a:pt x="577" y="1266"/>
                  </a:lnTo>
                  <a:lnTo>
                    <a:pt x="560" y="1276"/>
                  </a:lnTo>
                  <a:lnTo>
                    <a:pt x="560" y="1283"/>
                  </a:lnTo>
                  <a:lnTo>
                    <a:pt x="560" y="1283"/>
                  </a:lnTo>
                  <a:lnTo>
                    <a:pt x="560" y="1283"/>
                  </a:lnTo>
                  <a:close/>
                  <a:moveTo>
                    <a:pt x="555" y="1276"/>
                  </a:moveTo>
                  <a:lnTo>
                    <a:pt x="555" y="1283"/>
                  </a:lnTo>
                  <a:lnTo>
                    <a:pt x="539" y="1299"/>
                  </a:lnTo>
                  <a:lnTo>
                    <a:pt x="534" y="1349"/>
                  </a:lnTo>
                  <a:lnTo>
                    <a:pt x="508" y="1354"/>
                  </a:lnTo>
                  <a:lnTo>
                    <a:pt x="501" y="1377"/>
                  </a:lnTo>
                  <a:lnTo>
                    <a:pt x="492" y="1377"/>
                  </a:lnTo>
                  <a:lnTo>
                    <a:pt x="501" y="1370"/>
                  </a:lnTo>
                  <a:lnTo>
                    <a:pt x="492" y="1316"/>
                  </a:lnTo>
                  <a:lnTo>
                    <a:pt x="534" y="1276"/>
                  </a:lnTo>
                  <a:lnTo>
                    <a:pt x="555" y="1276"/>
                  </a:lnTo>
                  <a:lnTo>
                    <a:pt x="555" y="1276"/>
                  </a:lnTo>
                  <a:lnTo>
                    <a:pt x="555" y="1276"/>
                  </a:lnTo>
                  <a:close/>
                  <a:moveTo>
                    <a:pt x="371" y="1448"/>
                  </a:moveTo>
                  <a:lnTo>
                    <a:pt x="371" y="1410"/>
                  </a:lnTo>
                  <a:lnTo>
                    <a:pt x="409" y="1337"/>
                  </a:lnTo>
                  <a:lnTo>
                    <a:pt x="426" y="1337"/>
                  </a:lnTo>
                  <a:lnTo>
                    <a:pt x="371" y="1448"/>
                  </a:lnTo>
                  <a:lnTo>
                    <a:pt x="371" y="1448"/>
                  </a:lnTo>
                  <a:lnTo>
                    <a:pt x="371" y="144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1" name="Freeform 562">
              <a:extLst>
                <a:ext uri="{FF2B5EF4-FFF2-40B4-BE49-F238E27FC236}">
                  <a16:creationId xmlns:a16="http://schemas.microsoft.com/office/drawing/2014/main" id="{D0C7C51D-001D-4C28-BFD9-BFE0EBACBB8B}"/>
                </a:ext>
              </a:extLst>
            </p:cNvPr>
            <p:cNvSpPr>
              <a:spLocks noEditPoints="1"/>
            </p:cNvSpPr>
            <p:nvPr/>
          </p:nvSpPr>
          <p:spPr bwMode="gray">
            <a:xfrm>
              <a:off x="12869956" y="5527673"/>
              <a:ext cx="270020" cy="170194"/>
            </a:xfrm>
            <a:custGeom>
              <a:avLst/>
              <a:gdLst>
                <a:gd name="T0" fmla="*/ 81 w 825"/>
                <a:gd name="T1" fmla="*/ 33 h 520"/>
                <a:gd name="T2" fmla="*/ 64 w 825"/>
                <a:gd name="T3" fmla="*/ 29 h 520"/>
                <a:gd name="T4" fmla="*/ 50 w 825"/>
                <a:gd name="T5" fmla="*/ 29 h 520"/>
                <a:gd name="T6" fmla="*/ 50 w 825"/>
                <a:gd name="T7" fmla="*/ 17 h 520"/>
                <a:gd name="T8" fmla="*/ 55 w 825"/>
                <a:gd name="T9" fmla="*/ 17 h 520"/>
                <a:gd name="T10" fmla="*/ 33 w 825"/>
                <a:gd name="T11" fmla="*/ 17 h 520"/>
                <a:gd name="T12" fmla="*/ 26 w 825"/>
                <a:gd name="T13" fmla="*/ 10 h 520"/>
                <a:gd name="T14" fmla="*/ 33 w 825"/>
                <a:gd name="T15" fmla="*/ 10 h 520"/>
                <a:gd name="T16" fmla="*/ 0 w 825"/>
                <a:gd name="T17" fmla="*/ 0 h 520"/>
                <a:gd name="T18" fmla="*/ 102 w 825"/>
                <a:gd name="T19" fmla="*/ 10 h 520"/>
                <a:gd name="T20" fmla="*/ 102 w 825"/>
                <a:gd name="T21" fmla="*/ 29 h 520"/>
                <a:gd name="T22" fmla="*/ 102 w 825"/>
                <a:gd name="T23" fmla="*/ 29 h 520"/>
                <a:gd name="T24" fmla="*/ 109 w 825"/>
                <a:gd name="T25" fmla="*/ 29 h 520"/>
                <a:gd name="T26" fmla="*/ 123 w 825"/>
                <a:gd name="T27" fmla="*/ 45 h 520"/>
                <a:gd name="T28" fmla="*/ 118 w 825"/>
                <a:gd name="T29" fmla="*/ 29 h 520"/>
                <a:gd name="T30" fmla="*/ 123 w 825"/>
                <a:gd name="T31" fmla="*/ 29 h 520"/>
                <a:gd name="T32" fmla="*/ 140 w 825"/>
                <a:gd name="T33" fmla="*/ 55 h 520"/>
                <a:gd name="T34" fmla="*/ 161 w 825"/>
                <a:gd name="T35" fmla="*/ 83 h 520"/>
                <a:gd name="T36" fmla="*/ 140 w 825"/>
                <a:gd name="T37" fmla="*/ 83 h 520"/>
                <a:gd name="T38" fmla="*/ 147 w 825"/>
                <a:gd name="T39" fmla="*/ 90 h 520"/>
                <a:gd name="T40" fmla="*/ 140 w 825"/>
                <a:gd name="T41" fmla="*/ 90 h 520"/>
                <a:gd name="T42" fmla="*/ 109 w 825"/>
                <a:gd name="T43" fmla="*/ 55 h 520"/>
                <a:gd name="T44" fmla="*/ 81 w 825"/>
                <a:gd name="T45" fmla="*/ 33 h 520"/>
                <a:gd name="T46" fmla="*/ 81 w 825"/>
                <a:gd name="T47" fmla="*/ 33 h 520"/>
                <a:gd name="T48" fmla="*/ 81 w 825"/>
                <a:gd name="T49" fmla="*/ 33 h 520"/>
                <a:gd name="T50" fmla="*/ 766 w 825"/>
                <a:gd name="T51" fmla="*/ 279 h 520"/>
                <a:gd name="T52" fmla="*/ 766 w 825"/>
                <a:gd name="T53" fmla="*/ 274 h 520"/>
                <a:gd name="T54" fmla="*/ 770 w 825"/>
                <a:gd name="T55" fmla="*/ 274 h 520"/>
                <a:gd name="T56" fmla="*/ 766 w 825"/>
                <a:gd name="T57" fmla="*/ 279 h 520"/>
                <a:gd name="T58" fmla="*/ 766 w 825"/>
                <a:gd name="T59" fmla="*/ 279 h 520"/>
                <a:gd name="T60" fmla="*/ 766 w 825"/>
                <a:gd name="T61" fmla="*/ 279 h 520"/>
                <a:gd name="T62" fmla="*/ 820 w 825"/>
                <a:gd name="T63" fmla="*/ 397 h 520"/>
                <a:gd name="T64" fmla="*/ 808 w 825"/>
                <a:gd name="T65" fmla="*/ 385 h 520"/>
                <a:gd name="T66" fmla="*/ 820 w 825"/>
                <a:gd name="T67" fmla="*/ 385 h 520"/>
                <a:gd name="T68" fmla="*/ 820 w 825"/>
                <a:gd name="T69" fmla="*/ 397 h 520"/>
                <a:gd name="T70" fmla="*/ 820 w 825"/>
                <a:gd name="T71" fmla="*/ 397 h 520"/>
                <a:gd name="T72" fmla="*/ 820 w 825"/>
                <a:gd name="T73" fmla="*/ 397 h 520"/>
                <a:gd name="T74" fmla="*/ 825 w 825"/>
                <a:gd name="T75" fmla="*/ 463 h 520"/>
                <a:gd name="T76" fmla="*/ 808 w 825"/>
                <a:gd name="T77" fmla="*/ 459 h 520"/>
                <a:gd name="T78" fmla="*/ 825 w 825"/>
                <a:gd name="T79" fmla="*/ 451 h 520"/>
                <a:gd name="T80" fmla="*/ 825 w 825"/>
                <a:gd name="T81" fmla="*/ 463 h 520"/>
                <a:gd name="T82" fmla="*/ 825 w 825"/>
                <a:gd name="T83" fmla="*/ 463 h 520"/>
                <a:gd name="T84" fmla="*/ 825 w 825"/>
                <a:gd name="T85" fmla="*/ 463 h 520"/>
                <a:gd name="T86" fmla="*/ 803 w 825"/>
                <a:gd name="T87" fmla="*/ 520 h 520"/>
                <a:gd name="T88" fmla="*/ 803 w 825"/>
                <a:gd name="T89" fmla="*/ 520 h 520"/>
                <a:gd name="T90" fmla="*/ 808 w 825"/>
                <a:gd name="T91" fmla="*/ 520 h 520"/>
                <a:gd name="T92" fmla="*/ 803 w 825"/>
                <a:gd name="T93" fmla="*/ 520 h 520"/>
                <a:gd name="T94" fmla="*/ 803 w 825"/>
                <a:gd name="T95" fmla="*/ 520 h 520"/>
                <a:gd name="T96" fmla="*/ 803 w 825"/>
                <a:gd name="T97" fmla="*/ 52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5" h="520">
                  <a:moveTo>
                    <a:pt x="81" y="33"/>
                  </a:moveTo>
                  <a:lnTo>
                    <a:pt x="64" y="29"/>
                  </a:lnTo>
                  <a:lnTo>
                    <a:pt x="50" y="29"/>
                  </a:lnTo>
                  <a:lnTo>
                    <a:pt x="50" y="17"/>
                  </a:lnTo>
                  <a:lnTo>
                    <a:pt x="55" y="17"/>
                  </a:lnTo>
                  <a:lnTo>
                    <a:pt x="33" y="17"/>
                  </a:lnTo>
                  <a:lnTo>
                    <a:pt x="26" y="10"/>
                  </a:lnTo>
                  <a:lnTo>
                    <a:pt x="33" y="10"/>
                  </a:lnTo>
                  <a:lnTo>
                    <a:pt x="0" y="0"/>
                  </a:lnTo>
                  <a:lnTo>
                    <a:pt x="102" y="10"/>
                  </a:lnTo>
                  <a:lnTo>
                    <a:pt x="102" y="29"/>
                  </a:lnTo>
                  <a:lnTo>
                    <a:pt x="102" y="29"/>
                  </a:lnTo>
                  <a:lnTo>
                    <a:pt x="109" y="29"/>
                  </a:lnTo>
                  <a:lnTo>
                    <a:pt x="123" y="45"/>
                  </a:lnTo>
                  <a:lnTo>
                    <a:pt x="118" y="29"/>
                  </a:lnTo>
                  <a:lnTo>
                    <a:pt x="123" y="29"/>
                  </a:lnTo>
                  <a:lnTo>
                    <a:pt x="140" y="55"/>
                  </a:lnTo>
                  <a:lnTo>
                    <a:pt x="161" y="83"/>
                  </a:lnTo>
                  <a:lnTo>
                    <a:pt x="140" y="83"/>
                  </a:lnTo>
                  <a:lnTo>
                    <a:pt x="147" y="90"/>
                  </a:lnTo>
                  <a:lnTo>
                    <a:pt x="140" y="90"/>
                  </a:lnTo>
                  <a:lnTo>
                    <a:pt x="109" y="55"/>
                  </a:lnTo>
                  <a:lnTo>
                    <a:pt x="81" y="33"/>
                  </a:lnTo>
                  <a:lnTo>
                    <a:pt x="81" y="33"/>
                  </a:lnTo>
                  <a:lnTo>
                    <a:pt x="81" y="33"/>
                  </a:lnTo>
                  <a:close/>
                  <a:moveTo>
                    <a:pt x="766" y="279"/>
                  </a:moveTo>
                  <a:lnTo>
                    <a:pt x="766" y="274"/>
                  </a:lnTo>
                  <a:lnTo>
                    <a:pt x="770" y="274"/>
                  </a:lnTo>
                  <a:lnTo>
                    <a:pt x="766" y="279"/>
                  </a:lnTo>
                  <a:lnTo>
                    <a:pt x="766" y="279"/>
                  </a:lnTo>
                  <a:lnTo>
                    <a:pt x="766" y="279"/>
                  </a:lnTo>
                  <a:close/>
                  <a:moveTo>
                    <a:pt x="820" y="397"/>
                  </a:moveTo>
                  <a:lnTo>
                    <a:pt x="808" y="385"/>
                  </a:lnTo>
                  <a:lnTo>
                    <a:pt x="820" y="385"/>
                  </a:lnTo>
                  <a:lnTo>
                    <a:pt x="820" y="397"/>
                  </a:lnTo>
                  <a:lnTo>
                    <a:pt x="820" y="397"/>
                  </a:lnTo>
                  <a:lnTo>
                    <a:pt x="820" y="397"/>
                  </a:lnTo>
                  <a:close/>
                  <a:moveTo>
                    <a:pt x="825" y="463"/>
                  </a:moveTo>
                  <a:lnTo>
                    <a:pt x="808" y="459"/>
                  </a:lnTo>
                  <a:lnTo>
                    <a:pt x="825" y="451"/>
                  </a:lnTo>
                  <a:lnTo>
                    <a:pt x="825" y="463"/>
                  </a:lnTo>
                  <a:lnTo>
                    <a:pt x="825" y="463"/>
                  </a:lnTo>
                  <a:lnTo>
                    <a:pt x="825" y="463"/>
                  </a:lnTo>
                  <a:close/>
                  <a:moveTo>
                    <a:pt x="803" y="520"/>
                  </a:moveTo>
                  <a:lnTo>
                    <a:pt x="803" y="520"/>
                  </a:lnTo>
                  <a:lnTo>
                    <a:pt x="808" y="520"/>
                  </a:lnTo>
                  <a:lnTo>
                    <a:pt x="803" y="520"/>
                  </a:lnTo>
                  <a:lnTo>
                    <a:pt x="803" y="520"/>
                  </a:lnTo>
                  <a:lnTo>
                    <a:pt x="803" y="52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2" name="Freeform 563">
              <a:extLst>
                <a:ext uri="{FF2B5EF4-FFF2-40B4-BE49-F238E27FC236}">
                  <a16:creationId xmlns:a16="http://schemas.microsoft.com/office/drawing/2014/main" id="{CC9B5701-D20B-42CD-B624-6A6A86689806}"/>
                </a:ext>
              </a:extLst>
            </p:cNvPr>
            <p:cNvSpPr>
              <a:spLocks/>
            </p:cNvSpPr>
            <p:nvPr/>
          </p:nvSpPr>
          <p:spPr bwMode="gray">
            <a:xfrm>
              <a:off x="14562407" y="3192084"/>
              <a:ext cx="154484" cy="133210"/>
            </a:xfrm>
            <a:custGeom>
              <a:avLst/>
              <a:gdLst>
                <a:gd name="T0" fmla="*/ 0 w 472"/>
                <a:gd name="T1" fmla="*/ 333 h 407"/>
                <a:gd name="T2" fmla="*/ 0 w 472"/>
                <a:gd name="T3" fmla="*/ 333 h 407"/>
                <a:gd name="T4" fmla="*/ 28 w 472"/>
                <a:gd name="T5" fmla="*/ 300 h 407"/>
                <a:gd name="T6" fmla="*/ 21 w 472"/>
                <a:gd name="T7" fmla="*/ 300 h 407"/>
                <a:gd name="T8" fmla="*/ 28 w 472"/>
                <a:gd name="T9" fmla="*/ 284 h 407"/>
                <a:gd name="T10" fmla="*/ 54 w 472"/>
                <a:gd name="T11" fmla="*/ 284 h 407"/>
                <a:gd name="T12" fmla="*/ 43 w 472"/>
                <a:gd name="T13" fmla="*/ 279 h 407"/>
                <a:gd name="T14" fmla="*/ 71 w 472"/>
                <a:gd name="T15" fmla="*/ 251 h 407"/>
                <a:gd name="T16" fmla="*/ 59 w 472"/>
                <a:gd name="T17" fmla="*/ 239 h 407"/>
                <a:gd name="T18" fmla="*/ 43 w 472"/>
                <a:gd name="T19" fmla="*/ 229 h 407"/>
                <a:gd name="T20" fmla="*/ 54 w 472"/>
                <a:gd name="T21" fmla="*/ 222 h 407"/>
                <a:gd name="T22" fmla="*/ 21 w 472"/>
                <a:gd name="T23" fmla="*/ 222 h 407"/>
                <a:gd name="T24" fmla="*/ 17 w 472"/>
                <a:gd name="T25" fmla="*/ 194 h 407"/>
                <a:gd name="T26" fmla="*/ 21 w 472"/>
                <a:gd name="T27" fmla="*/ 173 h 407"/>
                <a:gd name="T28" fmla="*/ 21 w 472"/>
                <a:gd name="T29" fmla="*/ 156 h 407"/>
                <a:gd name="T30" fmla="*/ 5 w 472"/>
                <a:gd name="T31" fmla="*/ 140 h 407"/>
                <a:gd name="T32" fmla="*/ 21 w 472"/>
                <a:gd name="T33" fmla="*/ 111 h 407"/>
                <a:gd name="T34" fmla="*/ 38 w 472"/>
                <a:gd name="T35" fmla="*/ 128 h 407"/>
                <a:gd name="T36" fmla="*/ 38 w 472"/>
                <a:gd name="T37" fmla="*/ 111 h 407"/>
                <a:gd name="T38" fmla="*/ 54 w 472"/>
                <a:gd name="T39" fmla="*/ 111 h 407"/>
                <a:gd name="T40" fmla="*/ 54 w 472"/>
                <a:gd name="T41" fmla="*/ 83 h 407"/>
                <a:gd name="T42" fmla="*/ 76 w 472"/>
                <a:gd name="T43" fmla="*/ 83 h 407"/>
                <a:gd name="T44" fmla="*/ 59 w 472"/>
                <a:gd name="T45" fmla="*/ 71 h 407"/>
                <a:gd name="T46" fmla="*/ 71 w 472"/>
                <a:gd name="T47" fmla="*/ 38 h 407"/>
                <a:gd name="T48" fmla="*/ 109 w 472"/>
                <a:gd name="T49" fmla="*/ 55 h 407"/>
                <a:gd name="T50" fmla="*/ 125 w 472"/>
                <a:gd name="T51" fmla="*/ 55 h 407"/>
                <a:gd name="T52" fmla="*/ 184 w 472"/>
                <a:gd name="T53" fmla="*/ 26 h 407"/>
                <a:gd name="T54" fmla="*/ 201 w 472"/>
                <a:gd name="T55" fmla="*/ 38 h 407"/>
                <a:gd name="T56" fmla="*/ 217 w 472"/>
                <a:gd name="T57" fmla="*/ 43 h 407"/>
                <a:gd name="T58" fmla="*/ 255 w 472"/>
                <a:gd name="T59" fmla="*/ 55 h 407"/>
                <a:gd name="T60" fmla="*/ 293 w 472"/>
                <a:gd name="T61" fmla="*/ 43 h 407"/>
                <a:gd name="T62" fmla="*/ 364 w 472"/>
                <a:gd name="T63" fmla="*/ 17 h 407"/>
                <a:gd name="T64" fmla="*/ 418 w 472"/>
                <a:gd name="T65" fmla="*/ 17 h 407"/>
                <a:gd name="T66" fmla="*/ 451 w 472"/>
                <a:gd name="T67" fmla="*/ 5 h 407"/>
                <a:gd name="T68" fmla="*/ 456 w 472"/>
                <a:gd name="T69" fmla="*/ 0 h 407"/>
                <a:gd name="T70" fmla="*/ 472 w 472"/>
                <a:gd name="T71" fmla="*/ 5 h 407"/>
                <a:gd name="T72" fmla="*/ 472 w 472"/>
                <a:gd name="T73" fmla="*/ 17 h 407"/>
                <a:gd name="T74" fmla="*/ 435 w 472"/>
                <a:gd name="T75" fmla="*/ 55 h 407"/>
                <a:gd name="T76" fmla="*/ 402 w 472"/>
                <a:gd name="T77" fmla="*/ 62 h 407"/>
                <a:gd name="T78" fmla="*/ 397 w 472"/>
                <a:gd name="T79" fmla="*/ 78 h 407"/>
                <a:gd name="T80" fmla="*/ 397 w 472"/>
                <a:gd name="T81" fmla="*/ 99 h 407"/>
                <a:gd name="T82" fmla="*/ 402 w 472"/>
                <a:gd name="T83" fmla="*/ 116 h 407"/>
                <a:gd name="T84" fmla="*/ 402 w 472"/>
                <a:gd name="T85" fmla="*/ 140 h 407"/>
                <a:gd name="T86" fmla="*/ 397 w 472"/>
                <a:gd name="T87" fmla="*/ 173 h 407"/>
                <a:gd name="T88" fmla="*/ 397 w 472"/>
                <a:gd name="T89" fmla="*/ 206 h 407"/>
                <a:gd name="T90" fmla="*/ 380 w 472"/>
                <a:gd name="T91" fmla="*/ 239 h 407"/>
                <a:gd name="T92" fmla="*/ 222 w 472"/>
                <a:gd name="T93" fmla="*/ 324 h 407"/>
                <a:gd name="T94" fmla="*/ 83 w 472"/>
                <a:gd name="T95" fmla="*/ 407 h 407"/>
                <a:gd name="T96" fmla="*/ 54 w 472"/>
                <a:gd name="T97" fmla="*/ 407 h 407"/>
                <a:gd name="T98" fmla="*/ 28 w 472"/>
                <a:gd name="T99" fmla="*/ 390 h 407"/>
                <a:gd name="T100" fmla="*/ 21 w 472"/>
                <a:gd name="T101" fmla="*/ 373 h 407"/>
                <a:gd name="T102" fmla="*/ 0 w 472"/>
                <a:gd name="T103" fmla="*/ 378 h 407"/>
                <a:gd name="T104" fmla="*/ 0 w 472"/>
                <a:gd name="T105" fmla="*/ 333 h 407"/>
                <a:gd name="T106" fmla="*/ 0 w 472"/>
                <a:gd name="T107" fmla="*/ 333 h 407"/>
                <a:gd name="T108" fmla="*/ 0 w 472"/>
                <a:gd name="T109" fmla="*/ 333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2" h="407">
                  <a:moveTo>
                    <a:pt x="0" y="333"/>
                  </a:moveTo>
                  <a:lnTo>
                    <a:pt x="0" y="333"/>
                  </a:lnTo>
                  <a:lnTo>
                    <a:pt x="28" y="300"/>
                  </a:lnTo>
                  <a:lnTo>
                    <a:pt x="21" y="300"/>
                  </a:lnTo>
                  <a:lnTo>
                    <a:pt x="28" y="284"/>
                  </a:lnTo>
                  <a:lnTo>
                    <a:pt x="54" y="284"/>
                  </a:lnTo>
                  <a:lnTo>
                    <a:pt x="43" y="279"/>
                  </a:lnTo>
                  <a:lnTo>
                    <a:pt x="71" y="251"/>
                  </a:lnTo>
                  <a:lnTo>
                    <a:pt x="59" y="239"/>
                  </a:lnTo>
                  <a:lnTo>
                    <a:pt x="43" y="229"/>
                  </a:lnTo>
                  <a:lnTo>
                    <a:pt x="54" y="222"/>
                  </a:lnTo>
                  <a:lnTo>
                    <a:pt x="21" y="222"/>
                  </a:lnTo>
                  <a:lnTo>
                    <a:pt x="17" y="194"/>
                  </a:lnTo>
                  <a:lnTo>
                    <a:pt x="21" y="173"/>
                  </a:lnTo>
                  <a:lnTo>
                    <a:pt x="21" y="156"/>
                  </a:lnTo>
                  <a:lnTo>
                    <a:pt x="5" y="140"/>
                  </a:lnTo>
                  <a:lnTo>
                    <a:pt x="21" y="111"/>
                  </a:lnTo>
                  <a:lnTo>
                    <a:pt x="38" y="128"/>
                  </a:lnTo>
                  <a:lnTo>
                    <a:pt x="38" y="111"/>
                  </a:lnTo>
                  <a:lnTo>
                    <a:pt x="54" y="111"/>
                  </a:lnTo>
                  <a:lnTo>
                    <a:pt x="54" y="83"/>
                  </a:lnTo>
                  <a:lnTo>
                    <a:pt x="76" y="83"/>
                  </a:lnTo>
                  <a:lnTo>
                    <a:pt x="59" y="71"/>
                  </a:lnTo>
                  <a:lnTo>
                    <a:pt x="71" y="38"/>
                  </a:lnTo>
                  <a:lnTo>
                    <a:pt x="109" y="55"/>
                  </a:lnTo>
                  <a:lnTo>
                    <a:pt x="125" y="55"/>
                  </a:lnTo>
                  <a:lnTo>
                    <a:pt x="184" y="26"/>
                  </a:lnTo>
                  <a:lnTo>
                    <a:pt x="201" y="38"/>
                  </a:lnTo>
                  <a:lnTo>
                    <a:pt x="217" y="43"/>
                  </a:lnTo>
                  <a:lnTo>
                    <a:pt x="255" y="55"/>
                  </a:lnTo>
                  <a:lnTo>
                    <a:pt x="293" y="43"/>
                  </a:lnTo>
                  <a:lnTo>
                    <a:pt x="364" y="17"/>
                  </a:lnTo>
                  <a:lnTo>
                    <a:pt x="418" y="17"/>
                  </a:lnTo>
                  <a:lnTo>
                    <a:pt x="451" y="5"/>
                  </a:lnTo>
                  <a:lnTo>
                    <a:pt x="456" y="0"/>
                  </a:lnTo>
                  <a:lnTo>
                    <a:pt x="472" y="5"/>
                  </a:lnTo>
                  <a:lnTo>
                    <a:pt x="472" y="17"/>
                  </a:lnTo>
                  <a:lnTo>
                    <a:pt x="435" y="55"/>
                  </a:lnTo>
                  <a:lnTo>
                    <a:pt x="402" y="62"/>
                  </a:lnTo>
                  <a:lnTo>
                    <a:pt x="397" y="78"/>
                  </a:lnTo>
                  <a:lnTo>
                    <a:pt x="397" y="99"/>
                  </a:lnTo>
                  <a:lnTo>
                    <a:pt x="402" y="116"/>
                  </a:lnTo>
                  <a:lnTo>
                    <a:pt x="402" y="140"/>
                  </a:lnTo>
                  <a:lnTo>
                    <a:pt x="397" y="173"/>
                  </a:lnTo>
                  <a:lnTo>
                    <a:pt x="397" y="206"/>
                  </a:lnTo>
                  <a:lnTo>
                    <a:pt x="380" y="239"/>
                  </a:lnTo>
                  <a:lnTo>
                    <a:pt x="222" y="324"/>
                  </a:lnTo>
                  <a:lnTo>
                    <a:pt x="83" y="407"/>
                  </a:lnTo>
                  <a:lnTo>
                    <a:pt x="54" y="407"/>
                  </a:lnTo>
                  <a:lnTo>
                    <a:pt x="28" y="390"/>
                  </a:lnTo>
                  <a:lnTo>
                    <a:pt x="21" y="373"/>
                  </a:lnTo>
                  <a:lnTo>
                    <a:pt x="0" y="378"/>
                  </a:lnTo>
                  <a:lnTo>
                    <a:pt x="0" y="333"/>
                  </a:lnTo>
                  <a:lnTo>
                    <a:pt x="0" y="333"/>
                  </a:lnTo>
                  <a:lnTo>
                    <a:pt x="0" y="33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3" name="Freeform 564">
              <a:extLst>
                <a:ext uri="{FF2B5EF4-FFF2-40B4-BE49-F238E27FC236}">
                  <a16:creationId xmlns:a16="http://schemas.microsoft.com/office/drawing/2014/main" id="{951D66D7-5B9A-4308-A37A-D034B199B65F}"/>
                </a:ext>
              </a:extLst>
            </p:cNvPr>
            <p:cNvSpPr>
              <a:spLocks/>
            </p:cNvSpPr>
            <p:nvPr/>
          </p:nvSpPr>
          <p:spPr bwMode="gray">
            <a:xfrm>
              <a:off x="13881303" y="2892935"/>
              <a:ext cx="102771" cy="58913"/>
            </a:xfrm>
            <a:custGeom>
              <a:avLst/>
              <a:gdLst>
                <a:gd name="T0" fmla="*/ 38 w 314"/>
                <a:gd name="T1" fmla="*/ 90 h 180"/>
                <a:gd name="T2" fmla="*/ 71 w 314"/>
                <a:gd name="T3" fmla="*/ 50 h 180"/>
                <a:gd name="T4" fmla="*/ 76 w 314"/>
                <a:gd name="T5" fmla="*/ 38 h 180"/>
                <a:gd name="T6" fmla="*/ 71 w 314"/>
                <a:gd name="T7" fmla="*/ 38 h 180"/>
                <a:gd name="T8" fmla="*/ 76 w 314"/>
                <a:gd name="T9" fmla="*/ 28 h 180"/>
                <a:gd name="T10" fmla="*/ 97 w 314"/>
                <a:gd name="T11" fmla="*/ 33 h 180"/>
                <a:gd name="T12" fmla="*/ 113 w 314"/>
                <a:gd name="T13" fmla="*/ 17 h 180"/>
                <a:gd name="T14" fmla="*/ 184 w 314"/>
                <a:gd name="T15" fmla="*/ 17 h 180"/>
                <a:gd name="T16" fmla="*/ 184 w 314"/>
                <a:gd name="T17" fmla="*/ 10 h 180"/>
                <a:gd name="T18" fmla="*/ 168 w 314"/>
                <a:gd name="T19" fmla="*/ 10 h 180"/>
                <a:gd name="T20" fmla="*/ 184 w 314"/>
                <a:gd name="T21" fmla="*/ 0 h 180"/>
                <a:gd name="T22" fmla="*/ 194 w 314"/>
                <a:gd name="T23" fmla="*/ 0 h 180"/>
                <a:gd name="T24" fmla="*/ 194 w 314"/>
                <a:gd name="T25" fmla="*/ 10 h 180"/>
                <a:gd name="T26" fmla="*/ 231 w 314"/>
                <a:gd name="T27" fmla="*/ 10 h 180"/>
                <a:gd name="T28" fmla="*/ 253 w 314"/>
                <a:gd name="T29" fmla="*/ 28 h 180"/>
                <a:gd name="T30" fmla="*/ 260 w 314"/>
                <a:gd name="T31" fmla="*/ 33 h 180"/>
                <a:gd name="T32" fmla="*/ 253 w 314"/>
                <a:gd name="T33" fmla="*/ 50 h 180"/>
                <a:gd name="T34" fmla="*/ 248 w 314"/>
                <a:gd name="T35" fmla="*/ 66 h 180"/>
                <a:gd name="T36" fmla="*/ 253 w 314"/>
                <a:gd name="T37" fmla="*/ 66 h 180"/>
                <a:gd name="T38" fmla="*/ 276 w 314"/>
                <a:gd name="T39" fmla="*/ 73 h 180"/>
                <a:gd name="T40" fmla="*/ 276 w 314"/>
                <a:gd name="T41" fmla="*/ 83 h 180"/>
                <a:gd name="T42" fmla="*/ 293 w 314"/>
                <a:gd name="T43" fmla="*/ 90 h 180"/>
                <a:gd name="T44" fmla="*/ 307 w 314"/>
                <a:gd name="T45" fmla="*/ 73 h 180"/>
                <a:gd name="T46" fmla="*/ 314 w 314"/>
                <a:gd name="T47" fmla="*/ 83 h 180"/>
                <a:gd name="T48" fmla="*/ 314 w 314"/>
                <a:gd name="T49" fmla="*/ 111 h 180"/>
                <a:gd name="T50" fmla="*/ 302 w 314"/>
                <a:gd name="T51" fmla="*/ 106 h 180"/>
                <a:gd name="T52" fmla="*/ 286 w 314"/>
                <a:gd name="T53" fmla="*/ 111 h 180"/>
                <a:gd name="T54" fmla="*/ 286 w 314"/>
                <a:gd name="T55" fmla="*/ 123 h 180"/>
                <a:gd name="T56" fmla="*/ 293 w 314"/>
                <a:gd name="T57" fmla="*/ 128 h 180"/>
                <a:gd name="T58" fmla="*/ 293 w 314"/>
                <a:gd name="T59" fmla="*/ 147 h 180"/>
                <a:gd name="T60" fmla="*/ 276 w 314"/>
                <a:gd name="T61" fmla="*/ 128 h 180"/>
                <a:gd name="T62" fmla="*/ 253 w 314"/>
                <a:gd name="T63" fmla="*/ 139 h 180"/>
                <a:gd name="T64" fmla="*/ 248 w 314"/>
                <a:gd name="T65" fmla="*/ 123 h 180"/>
                <a:gd name="T66" fmla="*/ 231 w 314"/>
                <a:gd name="T67" fmla="*/ 123 h 180"/>
                <a:gd name="T68" fmla="*/ 231 w 314"/>
                <a:gd name="T69" fmla="*/ 139 h 180"/>
                <a:gd name="T70" fmla="*/ 215 w 314"/>
                <a:gd name="T71" fmla="*/ 168 h 180"/>
                <a:gd name="T72" fmla="*/ 222 w 314"/>
                <a:gd name="T73" fmla="*/ 168 h 180"/>
                <a:gd name="T74" fmla="*/ 215 w 314"/>
                <a:gd name="T75" fmla="*/ 180 h 180"/>
                <a:gd name="T76" fmla="*/ 201 w 314"/>
                <a:gd name="T77" fmla="*/ 163 h 180"/>
                <a:gd name="T78" fmla="*/ 201 w 314"/>
                <a:gd name="T79" fmla="*/ 151 h 180"/>
                <a:gd name="T80" fmla="*/ 177 w 314"/>
                <a:gd name="T81" fmla="*/ 147 h 180"/>
                <a:gd name="T82" fmla="*/ 177 w 314"/>
                <a:gd name="T83" fmla="*/ 123 h 180"/>
                <a:gd name="T84" fmla="*/ 163 w 314"/>
                <a:gd name="T85" fmla="*/ 123 h 180"/>
                <a:gd name="T86" fmla="*/ 151 w 314"/>
                <a:gd name="T87" fmla="*/ 151 h 180"/>
                <a:gd name="T88" fmla="*/ 130 w 314"/>
                <a:gd name="T89" fmla="*/ 168 h 180"/>
                <a:gd name="T90" fmla="*/ 125 w 314"/>
                <a:gd name="T91" fmla="*/ 168 h 180"/>
                <a:gd name="T92" fmla="*/ 87 w 314"/>
                <a:gd name="T93" fmla="*/ 180 h 180"/>
                <a:gd name="T94" fmla="*/ 76 w 314"/>
                <a:gd name="T95" fmla="*/ 168 h 180"/>
                <a:gd name="T96" fmla="*/ 59 w 314"/>
                <a:gd name="T97" fmla="*/ 151 h 180"/>
                <a:gd name="T98" fmla="*/ 59 w 314"/>
                <a:gd name="T99" fmla="*/ 128 h 180"/>
                <a:gd name="T100" fmla="*/ 54 w 314"/>
                <a:gd name="T101" fmla="*/ 123 h 180"/>
                <a:gd name="T102" fmla="*/ 21 w 314"/>
                <a:gd name="T103" fmla="*/ 128 h 180"/>
                <a:gd name="T104" fmla="*/ 21 w 314"/>
                <a:gd name="T105" fmla="*/ 147 h 180"/>
                <a:gd name="T106" fmla="*/ 5 w 314"/>
                <a:gd name="T107" fmla="*/ 151 h 180"/>
                <a:gd name="T108" fmla="*/ 0 w 314"/>
                <a:gd name="T109" fmla="*/ 147 h 180"/>
                <a:gd name="T110" fmla="*/ 16 w 314"/>
                <a:gd name="T111" fmla="*/ 139 h 180"/>
                <a:gd name="T112" fmla="*/ 16 w 314"/>
                <a:gd name="T113" fmla="*/ 128 h 180"/>
                <a:gd name="T114" fmla="*/ 5 w 314"/>
                <a:gd name="T115" fmla="*/ 123 h 180"/>
                <a:gd name="T116" fmla="*/ 16 w 314"/>
                <a:gd name="T117" fmla="*/ 111 h 180"/>
                <a:gd name="T118" fmla="*/ 33 w 314"/>
                <a:gd name="T119" fmla="*/ 95 h 180"/>
                <a:gd name="T120" fmla="*/ 38 w 314"/>
                <a:gd name="T121" fmla="*/ 90 h 180"/>
                <a:gd name="T122" fmla="*/ 38 w 314"/>
                <a:gd name="T123" fmla="*/ 90 h 180"/>
                <a:gd name="T124" fmla="*/ 38 w 314"/>
                <a:gd name="T125"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4" h="180">
                  <a:moveTo>
                    <a:pt x="38" y="90"/>
                  </a:moveTo>
                  <a:lnTo>
                    <a:pt x="71" y="50"/>
                  </a:lnTo>
                  <a:lnTo>
                    <a:pt x="76" y="38"/>
                  </a:lnTo>
                  <a:lnTo>
                    <a:pt x="71" y="38"/>
                  </a:lnTo>
                  <a:lnTo>
                    <a:pt x="76" y="28"/>
                  </a:lnTo>
                  <a:lnTo>
                    <a:pt x="97" y="33"/>
                  </a:lnTo>
                  <a:lnTo>
                    <a:pt x="113" y="17"/>
                  </a:lnTo>
                  <a:lnTo>
                    <a:pt x="184" y="17"/>
                  </a:lnTo>
                  <a:lnTo>
                    <a:pt x="184" y="10"/>
                  </a:lnTo>
                  <a:lnTo>
                    <a:pt x="168" y="10"/>
                  </a:lnTo>
                  <a:lnTo>
                    <a:pt x="184" y="0"/>
                  </a:lnTo>
                  <a:lnTo>
                    <a:pt x="194" y="0"/>
                  </a:lnTo>
                  <a:lnTo>
                    <a:pt x="194" y="10"/>
                  </a:lnTo>
                  <a:lnTo>
                    <a:pt x="231" y="10"/>
                  </a:lnTo>
                  <a:lnTo>
                    <a:pt x="253" y="28"/>
                  </a:lnTo>
                  <a:lnTo>
                    <a:pt x="260" y="33"/>
                  </a:lnTo>
                  <a:lnTo>
                    <a:pt x="253" y="50"/>
                  </a:lnTo>
                  <a:lnTo>
                    <a:pt x="248" y="66"/>
                  </a:lnTo>
                  <a:lnTo>
                    <a:pt x="253" y="66"/>
                  </a:lnTo>
                  <a:lnTo>
                    <a:pt x="276" y="73"/>
                  </a:lnTo>
                  <a:lnTo>
                    <a:pt x="276" y="83"/>
                  </a:lnTo>
                  <a:lnTo>
                    <a:pt x="293" y="90"/>
                  </a:lnTo>
                  <a:lnTo>
                    <a:pt x="307" y="73"/>
                  </a:lnTo>
                  <a:lnTo>
                    <a:pt x="314" y="83"/>
                  </a:lnTo>
                  <a:lnTo>
                    <a:pt x="314" y="111"/>
                  </a:lnTo>
                  <a:lnTo>
                    <a:pt x="302" y="106"/>
                  </a:lnTo>
                  <a:lnTo>
                    <a:pt x="286" y="111"/>
                  </a:lnTo>
                  <a:lnTo>
                    <a:pt x="286" y="123"/>
                  </a:lnTo>
                  <a:lnTo>
                    <a:pt x="293" y="128"/>
                  </a:lnTo>
                  <a:lnTo>
                    <a:pt x="293" y="147"/>
                  </a:lnTo>
                  <a:lnTo>
                    <a:pt x="276" y="128"/>
                  </a:lnTo>
                  <a:lnTo>
                    <a:pt x="253" y="139"/>
                  </a:lnTo>
                  <a:lnTo>
                    <a:pt x="248" y="123"/>
                  </a:lnTo>
                  <a:lnTo>
                    <a:pt x="231" y="123"/>
                  </a:lnTo>
                  <a:lnTo>
                    <a:pt x="231" y="139"/>
                  </a:lnTo>
                  <a:lnTo>
                    <a:pt x="215" y="168"/>
                  </a:lnTo>
                  <a:lnTo>
                    <a:pt x="222" y="168"/>
                  </a:lnTo>
                  <a:lnTo>
                    <a:pt x="215" y="180"/>
                  </a:lnTo>
                  <a:lnTo>
                    <a:pt x="201" y="163"/>
                  </a:lnTo>
                  <a:lnTo>
                    <a:pt x="201" y="151"/>
                  </a:lnTo>
                  <a:lnTo>
                    <a:pt x="177" y="147"/>
                  </a:lnTo>
                  <a:lnTo>
                    <a:pt x="177" y="123"/>
                  </a:lnTo>
                  <a:lnTo>
                    <a:pt x="163" y="123"/>
                  </a:lnTo>
                  <a:lnTo>
                    <a:pt x="151" y="151"/>
                  </a:lnTo>
                  <a:lnTo>
                    <a:pt x="130" y="168"/>
                  </a:lnTo>
                  <a:lnTo>
                    <a:pt x="125" y="168"/>
                  </a:lnTo>
                  <a:lnTo>
                    <a:pt x="87" y="180"/>
                  </a:lnTo>
                  <a:lnTo>
                    <a:pt x="76" y="168"/>
                  </a:lnTo>
                  <a:lnTo>
                    <a:pt x="59" y="151"/>
                  </a:lnTo>
                  <a:lnTo>
                    <a:pt x="59" y="128"/>
                  </a:lnTo>
                  <a:lnTo>
                    <a:pt x="54" y="123"/>
                  </a:lnTo>
                  <a:lnTo>
                    <a:pt x="21" y="128"/>
                  </a:lnTo>
                  <a:lnTo>
                    <a:pt x="21" y="147"/>
                  </a:lnTo>
                  <a:lnTo>
                    <a:pt x="5" y="151"/>
                  </a:lnTo>
                  <a:lnTo>
                    <a:pt x="0" y="147"/>
                  </a:lnTo>
                  <a:lnTo>
                    <a:pt x="16" y="139"/>
                  </a:lnTo>
                  <a:lnTo>
                    <a:pt x="16" y="128"/>
                  </a:lnTo>
                  <a:lnTo>
                    <a:pt x="5" y="123"/>
                  </a:lnTo>
                  <a:lnTo>
                    <a:pt x="16" y="111"/>
                  </a:lnTo>
                  <a:lnTo>
                    <a:pt x="33" y="95"/>
                  </a:lnTo>
                  <a:lnTo>
                    <a:pt x="38" y="90"/>
                  </a:lnTo>
                  <a:lnTo>
                    <a:pt x="38" y="90"/>
                  </a:lnTo>
                  <a:lnTo>
                    <a:pt x="38" y="9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4" name="Freeform 565">
              <a:extLst>
                <a:ext uri="{FF2B5EF4-FFF2-40B4-BE49-F238E27FC236}">
                  <a16:creationId xmlns:a16="http://schemas.microsoft.com/office/drawing/2014/main" id="{74503ACB-12F8-4B79-994A-9C67D7971DC8}"/>
                </a:ext>
              </a:extLst>
            </p:cNvPr>
            <p:cNvSpPr>
              <a:spLocks noEditPoints="1"/>
            </p:cNvSpPr>
            <p:nvPr/>
          </p:nvSpPr>
          <p:spPr bwMode="gray">
            <a:xfrm>
              <a:off x="14928979" y="3483705"/>
              <a:ext cx="106699" cy="85752"/>
            </a:xfrm>
            <a:custGeom>
              <a:avLst/>
              <a:gdLst>
                <a:gd name="T0" fmla="*/ 326 w 326"/>
                <a:gd name="T1" fmla="*/ 97 h 262"/>
                <a:gd name="T2" fmla="*/ 312 w 326"/>
                <a:gd name="T3" fmla="*/ 106 h 262"/>
                <a:gd name="T4" fmla="*/ 304 w 326"/>
                <a:gd name="T5" fmla="*/ 97 h 262"/>
                <a:gd name="T6" fmla="*/ 312 w 326"/>
                <a:gd name="T7" fmla="*/ 97 h 262"/>
                <a:gd name="T8" fmla="*/ 304 w 326"/>
                <a:gd name="T9" fmla="*/ 90 h 262"/>
                <a:gd name="T10" fmla="*/ 288 w 326"/>
                <a:gd name="T11" fmla="*/ 97 h 262"/>
                <a:gd name="T12" fmla="*/ 288 w 326"/>
                <a:gd name="T13" fmla="*/ 146 h 262"/>
                <a:gd name="T14" fmla="*/ 304 w 326"/>
                <a:gd name="T15" fmla="*/ 146 h 262"/>
                <a:gd name="T16" fmla="*/ 304 w 326"/>
                <a:gd name="T17" fmla="*/ 151 h 262"/>
                <a:gd name="T18" fmla="*/ 274 w 326"/>
                <a:gd name="T19" fmla="*/ 163 h 262"/>
                <a:gd name="T20" fmla="*/ 274 w 326"/>
                <a:gd name="T21" fmla="*/ 179 h 262"/>
                <a:gd name="T22" fmla="*/ 252 w 326"/>
                <a:gd name="T23" fmla="*/ 234 h 262"/>
                <a:gd name="T24" fmla="*/ 252 w 326"/>
                <a:gd name="T25" fmla="*/ 262 h 262"/>
                <a:gd name="T26" fmla="*/ 245 w 326"/>
                <a:gd name="T27" fmla="*/ 262 h 262"/>
                <a:gd name="T28" fmla="*/ 71 w 326"/>
                <a:gd name="T29" fmla="*/ 241 h 262"/>
                <a:gd name="T30" fmla="*/ 0 w 326"/>
                <a:gd name="T31" fmla="*/ 151 h 262"/>
                <a:gd name="T32" fmla="*/ 0 w 326"/>
                <a:gd name="T33" fmla="*/ 146 h 262"/>
                <a:gd name="T34" fmla="*/ 7 w 326"/>
                <a:gd name="T35" fmla="*/ 146 h 262"/>
                <a:gd name="T36" fmla="*/ 16 w 326"/>
                <a:gd name="T37" fmla="*/ 163 h 262"/>
                <a:gd name="T38" fmla="*/ 33 w 326"/>
                <a:gd name="T39" fmla="*/ 167 h 262"/>
                <a:gd name="T40" fmla="*/ 54 w 326"/>
                <a:gd name="T41" fmla="*/ 163 h 262"/>
                <a:gd name="T42" fmla="*/ 71 w 326"/>
                <a:gd name="T43" fmla="*/ 146 h 262"/>
                <a:gd name="T44" fmla="*/ 139 w 326"/>
                <a:gd name="T45" fmla="*/ 163 h 262"/>
                <a:gd name="T46" fmla="*/ 177 w 326"/>
                <a:gd name="T47" fmla="*/ 151 h 262"/>
                <a:gd name="T48" fmla="*/ 198 w 326"/>
                <a:gd name="T49" fmla="*/ 146 h 262"/>
                <a:gd name="T50" fmla="*/ 198 w 326"/>
                <a:gd name="T51" fmla="*/ 130 h 262"/>
                <a:gd name="T52" fmla="*/ 203 w 326"/>
                <a:gd name="T53" fmla="*/ 130 h 262"/>
                <a:gd name="T54" fmla="*/ 215 w 326"/>
                <a:gd name="T55" fmla="*/ 106 h 262"/>
                <a:gd name="T56" fmla="*/ 245 w 326"/>
                <a:gd name="T57" fmla="*/ 78 h 262"/>
                <a:gd name="T58" fmla="*/ 274 w 326"/>
                <a:gd name="T59" fmla="*/ 40 h 262"/>
                <a:gd name="T60" fmla="*/ 283 w 326"/>
                <a:gd name="T61" fmla="*/ 40 h 262"/>
                <a:gd name="T62" fmla="*/ 300 w 326"/>
                <a:gd name="T63" fmla="*/ 35 h 262"/>
                <a:gd name="T64" fmla="*/ 312 w 326"/>
                <a:gd name="T65" fmla="*/ 0 h 262"/>
                <a:gd name="T66" fmla="*/ 321 w 326"/>
                <a:gd name="T67" fmla="*/ 12 h 262"/>
                <a:gd name="T68" fmla="*/ 312 w 326"/>
                <a:gd name="T69" fmla="*/ 35 h 262"/>
                <a:gd name="T70" fmla="*/ 326 w 326"/>
                <a:gd name="T71" fmla="*/ 35 h 262"/>
                <a:gd name="T72" fmla="*/ 326 w 326"/>
                <a:gd name="T73" fmla="*/ 40 h 262"/>
                <a:gd name="T74" fmla="*/ 326 w 326"/>
                <a:gd name="T75" fmla="*/ 90 h 262"/>
                <a:gd name="T76" fmla="*/ 326 w 326"/>
                <a:gd name="T77" fmla="*/ 97 h 262"/>
                <a:gd name="T78" fmla="*/ 326 w 326"/>
                <a:gd name="T79" fmla="*/ 97 h 262"/>
                <a:gd name="T80" fmla="*/ 326 w 326"/>
                <a:gd name="T81" fmla="*/ 97 h 262"/>
                <a:gd name="T82" fmla="*/ 198 w 326"/>
                <a:gd name="T83" fmla="*/ 130 h 262"/>
                <a:gd name="T84" fmla="*/ 193 w 326"/>
                <a:gd name="T85" fmla="*/ 130 h 262"/>
                <a:gd name="T86" fmla="*/ 193 w 326"/>
                <a:gd name="T87" fmla="*/ 123 h 262"/>
                <a:gd name="T88" fmla="*/ 198 w 326"/>
                <a:gd name="T89" fmla="*/ 130 h 262"/>
                <a:gd name="T90" fmla="*/ 198 w 326"/>
                <a:gd name="T91" fmla="*/ 130 h 262"/>
                <a:gd name="T92" fmla="*/ 198 w 326"/>
                <a:gd name="T93" fmla="*/ 130 h 262"/>
                <a:gd name="T94" fmla="*/ 71 w 326"/>
                <a:gd name="T95" fmla="*/ 146 h 262"/>
                <a:gd name="T96" fmla="*/ 71 w 326"/>
                <a:gd name="T97" fmla="*/ 134 h 262"/>
                <a:gd name="T98" fmla="*/ 75 w 326"/>
                <a:gd name="T99" fmla="*/ 134 h 262"/>
                <a:gd name="T100" fmla="*/ 71 w 326"/>
                <a:gd name="T101" fmla="*/ 146 h 262"/>
                <a:gd name="T102" fmla="*/ 71 w 326"/>
                <a:gd name="T103" fmla="*/ 146 h 262"/>
                <a:gd name="T104" fmla="*/ 71 w 326"/>
                <a:gd name="T105" fmla="*/ 146 h 262"/>
                <a:gd name="T106" fmla="*/ 151 w 326"/>
                <a:gd name="T107" fmla="*/ 151 h 262"/>
                <a:gd name="T108" fmla="*/ 144 w 326"/>
                <a:gd name="T109" fmla="*/ 151 h 262"/>
                <a:gd name="T110" fmla="*/ 160 w 326"/>
                <a:gd name="T111" fmla="*/ 146 h 262"/>
                <a:gd name="T112" fmla="*/ 165 w 326"/>
                <a:gd name="T113" fmla="*/ 146 h 262"/>
                <a:gd name="T114" fmla="*/ 151 w 326"/>
                <a:gd name="T115" fmla="*/ 151 h 262"/>
                <a:gd name="T116" fmla="*/ 151 w 326"/>
                <a:gd name="T117" fmla="*/ 151 h 262"/>
                <a:gd name="T118" fmla="*/ 151 w 326"/>
                <a:gd name="T119" fmla="*/ 15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6" h="262">
                  <a:moveTo>
                    <a:pt x="326" y="97"/>
                  </a:moveTo>
                  <a:lnTo>
                    <a:pt x="312" y="106"/>
                  </a:lnTo>
                  <a:lnTo>
                    <a:pt x="304" y="97"/>
                  </a:lnTo>
                  <a:lnTo>
                    <a:pt x="312" y="97"/>
                  </a:lnTo>
                  <a:lnTo>
                    <a:pt x="304" y="90"/>
                  </a:lnTo>
                  <a:lnTo>
                    <a:pt x="288" y="97"/>
                  </a:lnTo>
                  <a:lnTo>
                    <a:pt x="288" y="146"/>
                  </a:lnTo>
                  <a:lnTo>
                    <a:pt x="304" y="146"/>
                  </a:lnTo>
                  <a:lnTo>
                    <a:pt x="304" y="151"/>
                  </a:lnTo>
                  <a:lnTo>
                    <a:pt x="274" y="163"/>
                  </a:lnTo>
                  <a:lnTo>
                    <a:pt x="274" y="179"/>
                  </a:lnTo>
                  <a:lnTo>
                    <a:pt x="252" y="234"/>
                  </a:lnTo>
                  <a:lnTo>
                    <a:pt x="252" y="262"/>
                  </a:lnTo>
                  <a:lnTo>
                    <a:pt x="245" y="262"/>
                  </a:lnTo>
                  <a:lnTo>
                    <a:pt x="71" y="241"/>
                  </a:lnTo>
                  <a:lnTo>
                    <a:pt x="0" y="151"/>
                  </a:lnTo>
                  <a:lnTo>
                    <a:pt x="0" y="146"/>
                  </a:lnTo>
                  <a:lnTo>
                    <a:pt x="7" y="146"/>
                  </a:lnTo>
                  <a:lnTo>
                    <a:pt x="16" y="163"/>
                  </a:lnTo>
                  <a:lnTo>
                    <a:pt x="33" y="167"/>
                  </a:lnTo>
                  <a:lnTo>
                    <a:pt x="54" y="163"/>
                  </a:lnTo>
                  <a:lnTo>
                    <a:pt x="71" y="146"/>
                  </a:lnTo>
                  <a:lnTo>
                    <a:pt x="139" y="163"/>
                  </a:lnTo>
                  <a:lnTo>
                    <a:pt x="177" y="151"/>
                  </a:lnTo>
                  <a:lnTo>
                    <a:pt x="198" y="146"/>
                  </a:lnTo>
                  <a:lnTo>
                    <a:pt x="198" y="130"/>
                  </a:lnTo>
                  <a:lnTo>
                    <a:pt x="203" y="130"/>
                  </a:lnTo>
                  <a:lnTo>
                    <a:pt x="215" y="106"/>
                  </a:lnTo>
                  <a:lnTo>
                    <a:pt x="245" y="78"/>
                  </a:lnTo>
                  <a:lnTo>
                    <a:pt x="274" y="40"/>
                  </a:lnTo>
                  <a:lnTo>
                    <a:pt x="283" y="40"/>
                  </a:lnTo>
                  <a:lnTo>
                    <a:pt x="300" y="35"/>
                  </a:lnTo>
                  <a:lnTo>
                    <a:pt x="312" y="0"/>
                  </a:lnTo>
                  <a:lnTo>
                    <a:pt x="321" y="12"/>
                  </a:lnTo>
                  <a:lnTo>
                    <a:pt x="312" y="35"/>
                  </a:lnTo>
                  <a:lnTo>
                    <a:pt x="326" y="35"/>
                  </a:lnTo>
                  <a:lnTo>
                    <a:pt x="326" y="40"/>
                  </a:lnTo>
                  <a:lnTo>
                    <a:pt x="326" y="90"/>
                  </a:lnTo>
                  <a:lnTo>
                    <a:pt x="326" y="97"/>
                  </a:lnTo>
                  <a:lnTo>
                    <a:pt x="326" y="97"/>
                  </a:lnTo>
                  <a:lnTo>
                    <a:pt x="326" y="97"/>
                  </a:lnTo>
                  <a:close/>
                  <a:moveTo>
                    <a:pt x="198" y="130"/>
                  </a:moveTo>
                  <a:lnTo>
                    <a:pt x="193" y="130"/>
                  </a:lnTo>
                  <a:lnTo>
                    <a:pt x="193" y="123"/>
                  </a:lnTo>
                  <a:lnTo>
                    <a:pt x="198" y="130"/>
                  </a:lnTo>
                  <a:lnTo>
                    <a:pt x="198" y="130"/>
                  </a:lnTo>
                  <a:lnTo>
                    <a:pt x="198" y="130"/>
                  </a:lnTo>
                  <a:close/>
                  <a:moveTo>
                    <a:pt x="71" y="146"/>
                  </a:moveTo>
                  <a:lnTo>
                    <a:pt x="71" y="134"/>
                  </a:lnTo>
                  <a:lnTo>
                    <a:pt x="75" y="134"/>
                  </a:lnTo>
                  <a:lnTo>
                    <a:pt x="71" y="146"/>
                  </a:lnTo>
                  <a:lnTo>
                    <a:pt x="71" y="146"/>
                  </a:lnTo>
                  <a:lnTo>
                    <a:pt x="71" y="146"/>
                  </a:lnTo>
                  <a:close/>
                  <a:moveTo>
                    <a:pt x="151" y="151"/>
                  </a:moveTo>
                  <a:lnTo>
                    <a:pt x="144" y="151"/>
                  </a:lnTo>
                  <a:lnTo>
                    <a:pt x="160" y="146"/>
                  </a:lnTo>
                  <a:lnTo>
                    <a:pt x="165" y="146"/>
                  </a:lnTo>
                  <a:lnTo>
                    <a:pt x="151" y="151"/>
                  </a:lnTo>
                  <a:lnTo>
                    <a:pt x="151" y="151"/>
                  </a:lnTo>
                  <a:lnTo>
                    <a:pt x="151" y="15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5" name="Freeform 566">
              <a:extLst>
                <a:ext uri="{FF2B5EF4-FFF2-40B4-BE49-F238E27FC236}">
                  <a16:creationId xmlns:a16="http://schemas.microsoft.com/office/drawing/2014/main" id="{CDBC9068-AC2E-4FF4-83AA-87E50026C7A8}"/>
                </a:ext>
              </a:extLst>
            </p:cNvPr>
            <p:cNvSpPr>
              <a:spLocks noEditPoints="1"/>
            </p:cNvSpPr>
            <p:nvPr/>
          </p:nvSpPr>
          <p:spPr bwMode="gray">
            <a:xfrm>
              <a:off x="12322716" y="3846350"/>
              <a:ext cx="33057" cy="30766"/>
            </a:xfrm>
            <a:custGeom>
              <a:avLst/>
              <a:gdLst>
                <a:gd name="T0" fmla="*/ 80 w 101"/>
                <a:gd name="T1" fmla="*/ 16 h 94"/>
                <a:gd name="T2" fmla="*/ 80 w 101"/>
                <a:gd name="T3" fmla="*/ 16 h 94"/>
                <a:gd name="T4" fmla="*/ 101 w 101"/>
                <a:gd name="T5" fmla="*/ 0 h 94"/>
                <a:gd name="T6" fmla="*/ 101 w 101"/>
                <a:gd name="T7" fmla="*/ 4 h 94"/>
                <a:gd name="T8" fmla="*/ 80 w 101"/>
                <a:gd name="T9" fmla="*/ 16 h 94"/>
                <a:gd name="T10" fmla="*/ 80 w 101"/>
                <a:gd name="T11" fmla="*/ 16 h 94"/>
                <a:gd name="T12" fmla="*/ 80 w 101"/>
                <a:gd name="T13" fmla="*/ 16 h 94"/>
                <a:gd name="T14" fmla="*/ 64 w 101"/>
                <a:gd name="T15" fmla="*/ 40 h 94"/>
                <a:gd name="T16" fmla="*/ 68 w 101"/>
                <a:gd name="T17" fmla="*/ 40 h 94"/>
                <a:gd name="T18" fmla="*/ 64 w 101"/>
                <a:gd name="T19" fmla="*/ 44 h 94"/>
                <a:gd name="T20" fmla="*/ 64 w 101"/>
                <a:gd name="T21" fmla="*/ 89 h 94"/>
                <a:gd name="T22" fmla="*/ 0 w 101"/>
                <a:gd name="T23" fmla="*/ 94 h 94"/>
                <a:gd name="T24" fmla="*/ 31 w 101"/>
                <a:gd name="T25" fmla="*/ 78 h 94"/>
                <a:gd name="T26" fmla="*/ 31 w 101"/>
                <a:gd name="T27" fmla="*/ 56 h 94"/>
                <a:gd name="T28" fmla="*/ 14 w 101"/>
                <a:gd name="T29" fmla="*/ 44 h 94"/>
                <a:gd name="T30" fmla="*/ 64 w 101"/>
                <a:gd name="T31" fmla="*/ 40 h 94"/>
                <a:gd name="T32" fmla="*/ 64 w 101"/>
                <a:gd name="T33" fmla="*/ 40 h 94"/>
                <a:gd name="T34" fmla="*/ 64 w 101"/>
                <a:gd name="T35" fmla="*/ 4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 h="94">
                  <a:moveTo>
                    <a:pt x="80" y="16"/>
                  </a:moveTo>
                  <a:lnTo>
                    <a:pt x="80" y="16"/>
                  </a:lnTo>
                  <a:lnTo>
                    <a:pt x="101" y="0"/>
                  </a:lnTo>
                  <a:lnTo>
                    <a:pt x="101" y="4"/>
                  </a:lnTo>
                  <a:lnTo>
                    <a:pt x="80" y="16"/>
                  </a:lnTo>
                  <a:lnTo>
                    <a:pt x="80" y="16"/>
                  </a:lnTo>
                  <a:lnTo>
                    <a:pt x="80" y="16"/>
                  </a:lnTo>
                  <a:close/>
                  <a:moveTo>
                    <a:pt x="64" y="40"/>
                  </a:moveTo>
                  <a:lnTo>
                    <a:pt x="68" y="40"/>
                  </a:lnTo>
                  <a:lnTo>
                    <a:pt x="64" y="44"/>
                  </a:lnTo>
                  <a:lnTo>
                    <a:pt x="64" y="89"/>
                  </a:lnTo>
                  <a:lnTo>
                    <a:pt x="0" y="94"/>
                  </a:lnTo>
                  <a:lnTo>
                    <a:pt x="31" y="78"/>
                  </a:lnTo>
                  <a:lnTo>
                    <a:pt x="31" y="56"/>
                  </a:lnTo>
                  <a:lnTo>
                    <a:pt x="14" y="44"/>
                  </a:lnTo>
                  <a:lnTo>
                    <a:pt x="64" y="40"/>
                  </a:lnTo>
                  <a:lnTo>
                    <a:pt x="64" y="40"/>
                  </a:lnTo>
                  <a:lnTo>
                    <a:pt x="64" y="4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6" name="Freeform 567">
              <a:extLst>
                <a:ext uri="{FF2B5EF4-FFF2-40B4-BE49-F238E27FC236}">
                  <a16:creationId xmlns:a16="http://schemas.microsoft.com/office/drawing/2014/main" id="{922898A4-39B2-4019-BCE3-E51BE7DBC848}"/>
                </a:ext>
              </a:extLst>
            </p:cNvPr>
            <p:cNvSpPr>
              <a:spLocks noEditPoints="1"/>
            </p:cNvSpPr>
            <p:nvPr/>
          </p:nvSpPr>
          <p:spPr bwMode="gray">
            <a:xfrm>
              <a:off x="15977965" y="3624443"/>
              <a:ext cx="190159" cy="355444"/>
            </a:xfrm>
            <a:custGeom>
              <a:avLst/>
              <a:gdLst>
                <a:gd name="T0" fmla="*/ 298 w 581"/>
                <a:gd name="T1" fmla="*/ 1070 h 1086"/>
                <a:gd name="T2" fmla="*/ 267 w 581"/>
                <a:gd name="T3" fmla="*/ 1046 h 1086"/>
                <a:gd name="T4" fmla="*/ 217 w 581"/>
                <a:gd name="T5" fmla="*/ 1025 h 1086"/>
                <a:gd name="T6" fmla="*/ 196 w 581"/>
                <a:gd name="T7" fmla="*/ 1025 h 1086"/>
                <a:gd name="T8" fmla="*/ 147 w 581"/>
                <a:gd name="T9" fmla="*/ 968 h 1086"/>
                <a:gd name="T10" fmla="*/ 121 w 581"/>
                <a:gd name="T11" fmla="*/ 930 h 1086"/>
                <a:gd name="T12" fmla="*/ 92 w 581"/>
                <a:gd name="T13" fmla="*/ 885 h 1086"/>
                <a:gd name="T14" fmla="*/ 66 w 581"/>
                <a:gd name="T15" fmla="*/ 881 h 1086"/>
                <a:gd name="T16" fmla="*/ 104 w 581"/>
                <a:gd name="T17" fmla="*/ 720 h 1086"/>
                <a:gd name="T18" fmla="*/ 147 w 581"/>
                <a:gd name="T19" fmla="*/ 588 h 1086"/>
                <a:gd name="T20" fmla="*/ 137 w 581"/>
                <a:gd name="T21" fmla="*/ 543 h 1086"/>
                <a:gd name="T22" fmla="*/ 71 w 581"/>
                <a:gd name="T23" fmla="*/ 432 h 1086"/>
                <a:gd name="T24" fmla="*/ 88 w 581"/>
                <a:gd name="T25" fmla="*/ 382 h 1086"/>
                <a:gd name="T26" fmla="*/ 109 w 581"/>
                <a:gd name="T27" fmla="*/ 304 h 1086"/>
                <a:gd name="T28" fmla="*/ 33 w 581"/>
                <a:gd name="T29" fmla="*/ 210 h 1086"/>
                <a:gd name="T30" fmla="*/ 12 w 581"/>
                <a:gd name="T31" fmla="*/ 156 h 1086"/>
                <a:gd name="T32" fmla="*/ 33 w 581"/>
                <a:gd name="T33" fmla="*/ 82 h 1086"/>
                <a:gd name="T34" fmla="*/ 66 w 581"/>
                <a:gd name="T35" fmla="*/ 56 h 1086"/>
                <a:gd name="T36" fmla="*/ 147 w 581"/>
                <a:gd name="T37" fmla="*/ 28 h 1086"/>
                <a:gd name="T38" fmla="*/ 191 w 581"/>
                <a:gd name="T39" fmla="*/ 0 h 1086"/>
                <a:gd name="T40" fmla="*/ 217 w 581"/>
                <a:gd name="T41" fmla="*/ 28 h 1086"/>
                <a:gd name="T42" fmla="*/ 243 w 581"/>
                <a:gd name="T43" fmla="*/ 73 h 1086"/>
                <a:gd name="T44" fmla="*/ 281 w 581"/>
                <a:gd name="T45" fmla="*/ 106 h 1086"/>
                <a:gd name="T46" fmla="*/ 272 w 581"/>
                <a:gd name="T47" fmla="*/ 160 h 1086"/>
                <a:gd name="T48" fmla="*/ 298 w 581"/>
                <a:gd name="T49" fmla="*/ 200 h 1086"/>
                <a:gd name="T50" fmla="*/ 359 w 581"/>
                <a:gd name="T51" fmla="*/ 182 h 1086"/>
                <a:gd name="T52" fmla="*/ 406 w 581"/>
                <a:gd name="T53" fmla="*/ 182 h 1086"/>
                <a:gd name="T54" fmla="*/ 428 w 581"/>
                <a:gd name="T55" fmla="*/ 156 h 1086"/>
                <a:gd name="T56" fmla="*/ 527 w 581"/>
                <a:gd name="T57" fmla="*/ 238 h 1086"/>
                <a:gd name="T58" fmla="*/ 569 w 581"/>
                <a:gd name="T59" fmla="*/ 345 h 1086"/>
                <a:gd name="T60" fmla="*/ 581 w 581"/>
                <a:gd name="T61" fmla="*/ 404 h 1086"/>
                <a:gd name="T62" fmla="*/ 543 w 581"/>
                <a:gd name="T63" fmla="*/ 453 h 1086"/>
                <a:gd name="T64" fmla="*/ 414 w 581"/>
                <a:gd name="T65" fmla="*/ 453 h 1086"/>
                <a:gd name="T66" fmla="*/ 373 w 581"/>
                <a:gd name="T67" fmla="*/ 510 h 1086"/>
                <a:gd name="T68" fmla="*/ 364 w 581"/>
                <a:gd name="T69" fmla="*/ 581 h 1086"/>
                <a:gd name="T70" fmla="*/ 373 w 581"/>
                <a:gd name="T71" fmla="*/ 609 h 1086"/>
                <a:gd name="T72" fmla="*/ 359 w 581"/>
                <a:gd name="T73" fmla="*/ 604 h 1086"/>
                <a:gd name="T74" fmla="*/ 310 w 581"/>
                <a:gd name="T75" fmla="*/ 571 h 1086"/>
                <a:gd name="T76" fmla="*/ 251 w 581"/>
                <a:gd name="T77" fmla="*/ 581 h 1086"/>
                <a:gd name="T78" fmla="*/ 191 w 581"/>
                <a:gd name="T79" fmla="*/ 531 h 1086"/>
                <a:gd name="T80" fmla="*/ 163 w 581"/>
                <a:gd name="T81" fmla="*/ 666 h 1086"/>
                <a:gd name="T82" fmla="*/ 142 w 581"/>
                <a:gd name="T83" fmla="*/ 819 h 1086"/>
                <a:gd name="T84" fmla="*/ 191 w 581"/>
                <a:gd name="T85" fmla="*/ 876 h 1086"/>
                <a:gd name="T86" fmla="*/ 201 w 581"/>
                <a:gd name="T87" fmla="*/ 885 h 1086"/>
                <a:gd name="T88" fmla="*/ 213 w 581"/>
                <a:gd name="T89" fmla="*/ 935 h 1086"/>
                <a:gd name="T90" fmla="*/ 217 w 581"/>
                <a:gd name="T91" fmla="*/ 975 h 1086"/>
                <a:gd name="T92" fmla="*/ 281 w 581"/>
                <a:gd name="T93" fmla="*/ 996 h 1086"/>
                <a:gd name="T94" fmla="*/ 336 w 581"/>
                <a:gd name="T95" fmla="*/ 1046 h 1086"/>
                <a:gd name="T96" fmla="*/ 352 w 581"/>
                <a:gd name="T97" fmla="*/ 626 h 1086"/>
                <a:gd name="T98" fmla="*/ 359 w 581"/>
                <a:gd name="T99" fmla="*/ 626 h 1086"/>
                <a:gd name="T100" fmla="*/ 364 w 581"/>
                <a:gd name="T101" fmla="*/ 642 h 1086"/>
                <a:gd name="T102" fmla="*/ 196 w 581"/>
                <a:gd name="T103" fmla="*/ 791 h 1086"/>
                <a:gd name="T104" fmla="*/ 191 w 581"/>
                <a:gd name="T105" fmla="*/ 786 h 1086"/>
                <a:gd name="T106" fmla="*/ 196 w 581"/>
                <a:gd name="T107" fmla="*/ 808 h 1086"/>
                <a:gd name="T108" fmla="*/ 66 w 581"/>
                <a:gd name="T109" fmla="*/ 843 h 1086"/>
                <a:gd name="T110" fmla="*/ 71 w 581"/>
                <a:gd name="T111" fmla="*/ 843 h 1086"/>
                <a:gd name="T112" fmla="*/ 66 w 581"/>
                <a:gd name="T113" fmla="*/ 902 h 1086"/>
                <a:gd name="T114" fmla="*/ 88 w 581"/>
                <a:gd name="T115" fmla="*/ 914 h 1086"/>
                <a:gd name="T116" fmla="*/ 88 w 581"/>
                <a:gd name="T117" fmla="*/ 914 h 1086"/>
                <a:gd name="T118" fmla="*/ 158 w 581"/>
                <a:gd name="T119" fmla="*/ 1025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1" h="1086">
                  <a:moveTo>
                    <a:pt x="336" y="1046"/>
                  </a:moveTo>
                  <a:lnTo>
                    <a:pt x="321" y="1079"/>
                  </a:lnTo>
                  <a:lnTo>
                    <a:pt x="305" y="1079"/>
                  </a:lnTo>
                  <a:lnTo>
                    <a:pt x="298" y="1070"/>
                  </a:lnTo>
                  <a:lnTo>
                    <a:pt x="267" y="1086"/>
                  </a:lnTo>
                  <a:lnTo>
                    <a:pt x="255" y="1079"/>
                  </a:lnTo>
                  <a:lnTo>
                    <a:pt x="267" y="1063"/>
                  </a:lnTo>
                  <a:lnTo>
                    <a:pt x="267" y="1046"/>
                  </a:lnTo>
                  <a:lnTo>
                    <a:pt x="251" y="1046"/>
                  </a:lnTo>
                  <a:lnTo>
                    <a:pt x="243" y="1025"/>
                  </a:lnTo>
                  <a:lnTo>
                    <a:pt x="234" y="1030"/>
                  </a:lnTo>
                  <a:lnTo>
                    <a:pt x="217" y="1025"/>
                  </a:lnTo>
                  <a:lnTo>
                    <a:pt x="213" y="1013"/>
                  </a:lnTo>
                  <a:lnTo>
                    <a:pt x="201" y="1013"/>
                  </a:lnTo>
                  <a:lnTo>
                    <a:pt x="196" y="1030"/>
                  </a:lnTo>
                  <a:lnTo>
                    <a:pt x="196" y="1025"/>
                  </a:lnTo>
                  <a:lnTo>
                    <a:pt x="163" y="996"/>
                  </a:lnTo>
                  <a:lnTo>
                    <a:pt x="175" y="987"/>
                  </a:lnTo>
                  <a:lnTo>
                    <a:pt x="158" y="987"/>
                  </a:lnTo>
                  <a:lnTo>
                    <a:pt x="147" y="968"/>
                  </a:lnTo>
                  <a:lnTo>
                    <a:pt x="137" y="942"/>
                  </a:lnTo>
                  <a:lnTo>
                    <a:pt x="125" y="935"/>
                  </a:lnTo>
                  <a:lnTo>
                    <a:pt x="121" y="935"/>
                  </a:lnTo>
                  <a:lnTo>
                    <a:pt x="121" y="930"/>
                  </a:lnTo>
                  <a:lnTo>
                    <a:pt x="104" y="919"/>
                  </a:lnTo>
                  <a:lnTo>
                    <a:pt x="92" y="897"/>
                  </a:lnTo>
                  <a:lnTo>
                    <a:pt x="92" y="897"/>
                  </a:lnTo>
                  <a:lnTo>
                    <a:pt x="92" y="885"/>
                  </a:lnTo>
                  <a:lnTo>
                    <a:pt x="83" y="897"/>
                  </a:lnTo>
                  <a:lnTo>
                    <a:pt x="83" y="902"/>
                  </a:lnTo>
                  <a:lnTo>
                    <a:pt x="66" y="897"/>
                  </a:lnTo>
                  <a:lnTo>
                    <a:pt x="66" y="881"/>
                  </a:lnTo>
                  <a:lnTo>
                    <a:pt x="71" y="831"/>
                  </a:lnTo>
                  <a:lnTo>
                    <a:pt x="104" y="748"/>
                  </a:lnTo>
                  <a:lnTo>
                    <a:pt x="104" y="737"/>
                  </a:lnTo>
                  <a:lnTo>
                    <a:pt x="104" y="720"/>
                  </a:lnTo>
                  <a:lnTo>
                    <a:pt x="137" y="699"/>
                  </a:lnTo>
                  <a:lnTo>
                    <a:pt x="163" y="642"/>
                  </a:lnTo>
                  <a:lnTo>
                    <a:pt x="147" y="604"/>
                  </a:lnTo>
                  <a:lnTo>
                    <a:pt x="147" y="588"/>
                  </a:lnTo>
                  <a:lnTo>
                    <a:pt x="137" y="571"/>
                  </a:lnTo>
                  <a:lnTo>
                    <a:pt x="125" y="548"/>
                  </a:lnTo>
                  <a:lnTo>
                    <a:pt x="125" y="543"/>
                  </a:lnTo>
                  <a:lnTo>
                    <a:pt x="137" y="543"/>
                  </a:lnTo>
                  <a:lnTo>
                    <a:pt x="137" y="498"/>
                  </a:lnTo>
                  <a:lnTo>
                    <a:pt x="121" y="477"/>
                  </a:lnTo>
                  <a:lnTo>
                    <a:pt x="92" y="460"/>
                  </a:lnTo>
                  <a:lnTo>
                    <a:pt x="71" y="432"/>
                  </a:lnTo>
                  <a:lnTo>
                    <a:pt x="66" y="404"/>
                  </a:lnTo>
                  <a:lnTo>
                    <a:pt x="66" y="387"/>
                  </a:lnTo>
                  <a:lnTo>
                    <a:pt x="83" y="382"/>
                  </a:lnTo>
                  <a:lnTo>
                    <a:pt x="88" y="382"/>
                  </a:lnTo>
                  <a:lnTo>
                    <a:pt x="92" y="333"/>
                  </a:lnTo>
                  <a:lnTo>
                    <a:pt x="109" y="326"/>
                  </a:lnTo>
                  <a:lnTo>
                    <a:pt x="109" y="304"/>
                  </a:lnTo>
                  <a:lnTo>
                    <a:pt x="109" y="304"/>
                  </a:lnTo>
                  <a:lnTo>
                    <a:pt x="92" y="309"/>
                  </a:lnTo>
                  <a:lnTo>
                    <a:pt x="83" y="276"/>
                  </a:lnTo>
                  <a:lnTo>
                    <a:pt x="88" y="267"/>
                  </a:lnTo>
                  <a:lnTo>
                    <a:pt x="33" y="210"/>
                  </a:lnTo>
                  <a:lnTo>
                    <a:pt x="29" y="165"/>
                  </a:lnTo>
                  <a:lnTo>
                    <a:pt x="12" y="165"/>
                  </a:lnTo>
                  <a:lnTo>
                    <a:pt x="0" y="144"/>
                  </a:lnTo>
                  <a:lnTo>
                    <a:pt x="12" y="156"/>
                  </a:lnTo>
                  <a:lnTo>
                    <a:pt x="33" y="144"/>
                  </a:lnTo>
                  <a:lnTo>
                    <a:pt x="29" y="111"/>
                  </a:lnTo>
                  <a:lnTo>
                    <a:pt x="33" y="106"/>
                  </a:lnTo>
                  <a:lnTo>
                    <a:pt x="33" y="82"/>
                  </a:lnTo>
                  <a:lnTo>
                    <a:pt x="38" y="66"/>
                  </a:lnTo>
                  <a:lnTo>
                    <a:pt x="50" y="66"/>
                  </a:lnTo>
                  <a:lnTo>
                    <a:pt x="50" y="49"/>
                  </a:lnTo>
                  <a:lnTo>
                    <a:pt x="66" y="56"/>
                  </a:lnTo>
                  <a:lnTo>
                    <a:pt x="109" y="49"/>
                  </a:lnTo>
                  <a:lnTo>
                    <a:pt x="121" y="49"/>
                  </a:lnTo>
                  <a:lnTo>
                    <a:pt x="125" y="33"/>
                  </a:lnTo>
                  <a:lnTo>
                    <a:pt x="147" y="28"/>
                  </a:lnTo>
                  <a:lnTo>
                    <a:pt x="158" y="28"/>
                  </a:lnTo>
                  <a:lnTo>
                    <a:pt x="158" y="11"/>
                  </a:lnTo>
                  <a:lnTo>
                    <a:pt x="175" y="11"/>
                  </a:lnTo>
                  <a:lnTo>
                    <a:pt x="191" y="0"/>
                  </a:lnTo>
                  <a:lnTo>
                    <a:pt x="196" y="11"/>
                  </a:lnTo>
                  <a:lnTo>
                    <a:pt x="201" y="16"/>
                  </a:lnTo>
                  <a:lnTo>
                    <a:pt x="213" y="11"/>
                  </a:lnTo>
                  <a:lnTo>
                    <a:pt x="217" y="28"/>
                  </a:lnTo>
                  <a:lnTo>
                    <a:pt x="229" y="28"/>
                  </a:lnTo>
                  <a:lnTo>
                    <a:pt x="217" y="56"/>
                  </a:lnTo>
                  <a:lnTo>
                    <a:pt x="229" y="73"/>
                  </a:lnTo>
                  <a:lnTo>
                    <a:pt x="243" y="73"/>
                  </a:lnTo>
                  <a:lnTo>
                    <a:pt x="251" y="66"/>
                  </a:lnTo>
                  <a:lnTo>
                    <a:pt x="281" y="73"/>
                  </a:lnTo>
                  <a:lnTo>
                    <a:pt x="272" y="82"/>
                  </a:lnTo>
                  <a:lnTo>
                    <a:pt x="281" y="106"/>
                  </a:lnTo>
                  <a:lnTo>
                    <a:pt x="272" y="123"/>
                  </a:lnTo>
                  <a:lnTo>
                    <a:pt x="281" y="139"/>
                  </a:lnTo>
                  <a:lnTo>
                    <a:pt x="267" y="156"/>
                  </a:lnTo>
                  <a:lnTo>
                    <a:pt x="272" y="160"/>
                  </a:lnTo>
                  <a:lnTo>
                    <a:pt x="272" y="177"/>
                  </a:lnTo>
                  <a:lnTo>
                    <a:pt x="255" y="217"/>
                  </a:lnTo>
                  <a:lnTo>
                    <a:pt x="272" y="222"/>
                  </a:lnTo>
                  <a:lnTo>
                    <a:pt x="298" y="200"/>
                  </a:lnTo>
                  <a:lnTo>
                    <a:pt x="310" y="182"/>
                  </a:lnTo>
                  <a:lnTo>
                    <a:pt x="321" y="182"/>
                  </a:lnTo>
                  <a:lnTo>
                    <a:pt x="336" y="165"/>
                  </a:lnTo>
                  <a:lnTo>
                    <a:pt x="359" y="182"/>
                  </a:lnTo>
                  <a:lnTo>
                    <a:pt x="373" y="193"/>
                  </a:lnTo>
                  <a:lnTo>
                    <a:pt x="373" y="200"/>
                  </a:lnTo>
                  <a:lnTo>
                    <a:pt x="390" y="182"/>
                  </a:lnTo>
                  <a:lnTo>
                    <a:pt x="406" y="182"/>
                  </a:lnTo>
                  <a:lnTo>
                    <a:pt x="406" y="177"/>
                  </a:lnTo>
                  <a:lnTo>
                    <a:pt x="418" y="165"/>
                  </a:lnTo>
                  <a:lnTo>
                    <a:pt x="418" y="160"/>
                  </a:lnTo>
                  <a:lnTo>
                    <a:pt x="428" y="156"/>
                  </a:lnTo>
                  <a:lnTo>
                    <a:pt x="466" y="160"/>
                  </a:lnTo>
                  <a:lnTo>
                    <a:pt x="489" y="200"/>
                  </a:lnTo>
                  <a:lnTo>
                    <a:pt x="520" y="222"/>
                  </a:lnTo>
                  <a:lnTo>
                    <a:pt x="527" y="238"/>
                  </a:lnTo>
                  <a:lnTo>
                    <a:pt x="520" y="293"/>
                  </a:lnTo>
                  <a:lnTo>
                    <a:pt x="543" y="326"/>
                  </a:lnTo>
                  <a:lnTo>
                    <a:pt x="569" y="333"/>
                  </a:lnTo>
                  <a:lnTo>
                    <a:pt x="569" y="345"/>
                  </a:lnTo>
                  <a:lnTo>
                    <a:pt x="569" y="349"/>
                  </a:lnTo>
                  <a:lnTo>
                    <a:pt x="581" y="361"/>
                  </a:lnTo>
                  <a:lnTo>
                    <a:pt x="574" y="399"/>
                  </a:lnTo>
                  <a:lnTo>
                    <a:pt x="581" y="404"/>
                  </a:lnTo>
                  <a:lnTo>
                    <a:pt x="574" y="437"/>
                  </a:lnTo>
                  <a:lnTo>
                    <a:pt x="553" y="453"/>
                  </a:lnTo>
                  <a:lnTo>
                    <a:pt x="543" y="470"/>
                  </a:lnTo>
                  <a:lnTo>
                    <a:pt x="543" y="453"/>
                  </a:lnTo>
                  <a:lnTo>
                    <a:pt x="527" y="444"/>
                  </a:lnTo>
                  <a:lnTo>
                    <a:pt x="466" y="453"/>
                  </a:lnTo>
                  <a:lnTo>
                    <a:pt x="444" y="444"/>
                  </a:lnTo>
                  <a:lnTo>
                    <a:pt x="414" y="453"/>
                  </a:lnTo>
                  <a:lnTo>
                    <a:pt x="397" y="470"/>
                  </a:lnTo>
                  <a:lnTo>
                    <a:pt x="380" y="498"/>
                  </a:lnTo>
                  <a:lnTo>
                    <a:pt x="364" y="498"/>
                  </a:lnTo>
                  <a:lnTo>
                    <a:pt x="373" y="510"/>
                  </a:lnTo>
                  <a:lnTo>
                    <a:pt x="359" y="510"/>
                  </a:lnTo>
                  <a:lnTo>
                    <a:pt x="352" y="531"/>
                  </a:lnTo>
                  <a:lnTo>
                    <a:pt x="364" y="555"/>
                  </a:lnTo>
                  <a:lnTo>
                    <a:pt x="364" y="581"/>
                  </a:lnTo>
                  <a:lnTo>
                    <a:pt x="380" y="597"/>
                  </a:lnTo>
                  <a:lnTo>
                    <a:pt x="380" y="621"/>
                  </a:lnTo>
                  <a:lnTo>
                    <a:pt x="397" y="654"/>
                  </a:lnTo>
                  <a:lnTo>
                    <a:pt x="373" y="609"/>
                  </a:lnTo>
                  <a:lnTo>
                    <a:pt x="364" y="609"/>
                  </a:lnTo>
                  <a:lnTo>
                    <a:pt x="364" y="621"/>
                  </a:lnTo>
                  <a:lnTo>
                    <a:pt x="352" y="609"/>
                  </a:lnTo>
                  <a:lnTo>
                    <a:pt x="359" y="604"/>
                  </a:lnTo>
                  <a:lnTo>
                    <a:pt x="343" y="604"/>
                  </a:lnTo>
                  <a:lnTo>
                    <a:pt x="336" y="588"/>
                  </a:lnTo>
                  <a:lnTo>
                    <a:pt x="326" y="588"/>
                  </a:lnTo>
                  <a:lnTo>
                    <a:pt x="310" y="571"/>
                  </a:lnTo>
                  <a:lnTo>
                    <a:pt x="288" y="581"/>
                  </a:lnTo>
                  <a:lnTo>
                    <a:pt x="267" y="581"/>
                  </a:lnTo>
                  <a:lnTo>
                    <a:pt x="255" y="588"/>
                  </a:lnTo>
                  <a:lnTo>
                    <a:pt x="251" y="581"/>
                  </a:lnTo>
                  <a:lnTo>
                    <a:pt x="255" y="515"/>
                  </a:lnTo>
                  <a:lnTo>
                    <a:pt x="229" y="515"/>
                  </a:lnTo>
                  <a:lnTo>
                    <a:pt x="196" y="526"/>
                  </a:lnTo>
                  <a:lnTo>
                    <a:pt x="191" y="531"/>
                  </a:lnTo>
                  <a:lnTo>
                    <a:pt x="196" y="548"/>
                  </a:lnTo>
                  <a:lnTo>
                    <a:pt x="191" y="581"/>
                  </a:lnTo>
                  <a:lnTo>
                    <a:pt x="191" y="609"/>
                  </a:lnTo>
                  <a:lnTo>
                    <a:pt x="163" y="666"/>
                  </a:lnTo>
                  <a:lnTo>
                    <a:pt x="158" y="708"/>
                  </a:lnTo>
                  <a:lnTo>
                    <a:pt x="125" y="748"/>
                  </a:lnTo>
                  <a:lnTo>
                    <a:pt x="125" y="791"/>
                  </a:lnTo>
                  <a:lnTo>
                    <a:pt x="142" y="819"/>
                  </a:lnTo>
                  <a:lnTo>
                    <a:pt x="137" y="826"/>
                  </a:lnTo>
                  <a:lnTo>
                    <a:pt x="147" y="831"/>
                  </a:lnTo>
                  <a:lnTo>
                    <a:pt x="180" y="826"/>
                  </a:lnTo>
                  <a:lnTo>
                    <a:pt x="191" y="876"/>
                  </a:lnTo>
                  <a:lnTo>
                    <a:pt x="196" y="885"/>
                  </a:lnTo>
                  <a:lnTo>
                    <a:pt x="201" y="885"/>
                  </a:lnTo>
                  <a:lnTo>
                    <a:pt x="196" y="881"/>
                  </a:lnTo>
                  <a:lnTo>
                    <a:pt x="201" y="885"/>
                  </a:lnTo>
                  <a:lnTo>
                    <a:pt x="217" y="959"/>
                  </a:lnTo>
                  <a:lnTo>
                    <a:pt x="229" y="975"/>
                  </a:lnTo>
                  <a:lnTo>
                    <a:pt x="217" y="968"/>
                  </a:lnTo>
                  <a:lnTo>
                    <a:pt x="213" y="935"/>
                  </a:lnTo>
                  <a:lnTo>
                    <a:pt x="201" y="935"/>
                  </a:lnTo>
                  <a:lnTo>
                    <a:pt x="196" y="935"/>
                  </a:lnTo>
                  <a:lnTo>
                    <a:pt x="201" y="952"/>
                  </a:lnTo>
                  <a:lnTo>
                    <a:pt x="217" y="975"/>
                  </a:lnTo>
                  <a:lnTo>
                    <a:pt x="234" y="975"/>
                  </a:lnTo>
                  <a:lnTo>
                    <a:pt x="243" y="992"/>
                  </a:lnTo>
                  <a:lnTo>
                    <a:pt x="255" y="996"/>
                  </a:lnTo>
                  <a:lnTo>
                    <a:pt x="281" y="996"/>
                  </a:lnTo>
                  <a:lnTo>
                    <a:pt x="281" y="992"/>
                  </a:lnTo>
                  <a:lnTo>
                    <a:pt x="298" y="996"/>
                  </a:lnTo>
                  <a:lnTo>
                    <a:pt x="310" y="1030"/>
                  </a:lnTo>
                  <a:lnTo>
                    <a:pt x="336" y="1046"/>
                  </a:lnTo>
                  <a:lnTo>
                    <a:pt x="336" y="1046"/>
                  </a:lnTo>
                  <a:lnTo>
                    <a:pt x="336" y="1046"/>
                  </a:lnTo>
                  <a:close/>
                  <a:moveTo>
                    <a:pt x="359" y="626"/>
                  </a:moveTo>
                  <a:lnTo>
                    <a:pt x="352" y="626"/>
                  </a:lnTo>
                  <a:lnTo>
                    <a:pt x="352" y="621"/>
                  </a:lnTo>
                  <a:lnTo>
                    <a:pt x="359" y="626"/>
                  </a:lnTo>
                  <a:lnTo>
                    <a:pt x="359" y="626"/>
                  </a:lnTo>
                  <a:lnTo>
                    <a:pt x="359" y="626"/>
                  </a:lnTo>
                  <a:close/>
                  <a:moveTo>
                    <a:pt x="364" y="642"/>
                  </a:moveTo>
                  <a:lnTo>
                    <a:pt x="373" y="659"/>
                  </a:lnTo>
                  <a:lnTo>
                    <a:pt x="364" y="659"/>
                  </a:lnTo>
                  <a:lnTo>
                    <a:pt x="364" y="642"/>
                  </a:lnTo>
                  <a:lnTo>
                    <a:pt x="364" y="642"/>
                  </a:lnTo>
                  <a:lnTo>
                    <a:pt x="364" y="642"/>
                  </a:lnTo>
                  <a:close/>
                  <a:moveTo>
                    <a:pt x="191" y="786"/>
                  </a:moveTo>
                  <a:lnTo>
                    <a:pt x="196" y="791"/>
                  </a:lnTo>
                  <a:lnTo>
                    <a:pt x="191" y="791"/>
                  </a:lnTo>
                  <a:lnTo>
                    <a:pt x="191" y="786"/>
                  </a:lnTo>
                  <a:lnTo>
                    <a:pt x="191" y="786"/>
                  </a:lnTo>
                  <a:lnTo>
                    <a:pt x="191" y="786"/>
                  </a:lnTo>
                  <a:close/>
                  <a:moveTo>
                    <a:pt x="196" y="808"/>
                  </a:moveTo>
                  <a:lnTo>
                    <a:pt x="191" y="819"/>
                  </a:lnTo>
                  <a:lnTo>
                    <a:pt x="191" y="808"/>
                  </a:lnTo>
                  <a:lnTo>
                    <a:pt x="196" y="808"/>
                  </a:lnTo>
                  <a:lnTo>
                    <a:pt x="196" y="808"/>
                  </a:lnTo>
                  <a:lnTo>
                    <a:pt x="196" y="808"/>
                  </a:lnTo>
                  <a:close/>
                  <a:moveTo>
                    <a:pt x="71" y="843"/>
                  </a:moveTo>
                  <a:lnTo>
                    <a:pt x="66" y="843"/>
                  </a:lnTo>
                  <a:lnTo>
                    <a:pt x="66" y="831"/>
                  </a:lnTo>
                  <a:lnTo>
                    <a:pt x="71" y="843"/>
                  </a:lnTo>
                  <a:lnTo>
                    <a:pt x="71" y="843"/>
                  </a:lnTo>
                  <a:lnTo>
                    <a:pt x="71" y="843"/>
                  </a:lnTo>
                  <a:close/>
                  <a:moveTo>
                    <a:pt x="71" y="902"/>
                  </a:moveTo>
                  <a:lnTo>
                    <a:pt x="83" y="930"/>
                  </a:lnTo>
                  <a:lnTo>
                    <a:pt x="71" y="935"/>
                  </a:lnTo>
                  <a:lnTo>
                    <a:pt x="66" y="902"/>
                  </a:lnTo>
                  <a:lnTo>
                    <a:pt x="71" y="902"/>
                  </a:lnTo>
                  <a:lnTo>
                    <a:pt x="71" y="902"/>
                  </a:lnTo>
                  <a:lnTo>
                    <a:pt x="71" y="902"/>
                  </a:lnTo>
                  <a:close/>
                  <a:moveTo>
                    <a:pt x="88" y="914"/>
                  </a:moveTo>
                  <a:lnTo>
                    <a:pt x="88" y="914"/>
                  </a:lnTo>
                  <a:lnTo>
                    <a:pt x="88" y="930"/>
                  </a:lnTo>
                  <a:lnTo>
                    <a:pt x="88" y="914"/>
                  </a:lnTo>
                  <a:lnTo>
                    <a:pt x="88" y="914"/>
                  </a:lnTo>
                  <a:lnTo>
                    <a:pt x="88" y="914"/>
                  </a:lnTo>
                  <a:close/>
                  <a:moveTo>
                    <a:pt x="163" y="1013"/>
                  </a:moveTo>
                  <a:lnTo>
                    <a:pt x="163" y="1030"/>
                  </a:lnTo>
                  <a:lnTo>
                    <a:pt x="158" y="1025"/>
                  </a:lnTo>
                  <a:lnTo>
                    <a:pt x="163" y="1013"/>
                  </a:lnTo>
                  <a:lnTo>
                    <a:pt x="163" y="1013"/>
                  </a:lnTo>
                  <a:lnTo>
                    <a:pt x="163" y="101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7" name="Freeform 568">
              <a:extLst>
                <a:ext uri="{FF2B5EF4-FFF2-40B4-BE49-F238E27FC236}">
                  <a16:creationId xmlns:a16="http://schemas.microsoft.com/office/drawing/2014/main" id="{7D143C91-084F-4B3E-A36F-C7BE8C2148FA}"/>
                </a:ext>
              </a:extLst>
            </p:cNvPr>
            <p:cNvSpPr>
              <a:spLocks/>
            </p:cNvSpPr>
            <p:nvPr/>
          </p:nvSpPr>
          <p:spPr bwMode="gray">
            <a:xfrm>
              <a:off x="15288351" y="3089313"/>
              <a:ext cx="182632" cy="120773"/>
            </a:xfrm>
            <a:custGeom>
              <a:avLst/>
              <a:gdLst>
                <a:gd name="T0" fmla="*/ 520 w 558"/>
                <a:gd name="T1" fmla="*/ 302 h 369"/>
                <a:gd name="T2" fmla="*/ 451 w 558"/>
                <a:gd name="T3" fmla="*/ 319 h 369"/>
                <a:gd name="T4" fmla="*/ 461 w 558"/>
                <a:gd name="T5" fmla="*/ 314 h 369"/>
                <a:gd name="T6" fmla="*/ 418 w 558"/>
                <a:gd name="T7" fmla="*/ 298 h 369"/>
                <a:gd name="T8" fmla="*/ 380 w 558"/>
                <a:gd name="T9" fmla="*/ 335 h 369"/>
                <a:gd name="T10" fmla="*/ 321 w 558"/>
                <a:gd name="T11" fmla="*/ 359 h 369"/>
                <a:gd name="T12" fmla="*/ 305 w 558"/>
                <a:gd name="T13" fmla="*/ 359 h 369"/>
                <a:gd name="T14" fmla="*/ 305 w 558"/>
                <a:gd name="T15" fmla="*/ 265 h 369"/>
                <a:gd name="T16" fmla="*/ 288 w 558"/>
                <a:gd name="T17" fmla="*/ 232 h 369"/>
                <a:gd name="T18" fmla="*/ 246 w 558"/>
                <a:gd name="T19" fmla="*/ 220 h 369"/>
                <a:gd name="T20" fmla="*/ 213 w 558"/>
                <a:gd name="T21" fmla="*/ 281 h 369"/>
                <a:gd name="T22" fmla="*/ 180 w 558"/>
                <a:gd name="T23" fmla="*/ 286 h 369"/>
                <a:gd name="T24" fmla="*/ 147 w 558"/>
                <a:gd name="T25" fmla="*/ 302 h 369"/>
                <a:gd name="T26" fmla="*/ 142 w 558"/>
                <a:gd name="T27" fmla="*/ 331 h 369"/>
                <a:gd name="T28" fmla="*/ 54 w 558"/>
                <a:gd name="T29" fmla="*/ 343 h 369"/>
                <a:gd name="T30" fmla="*/ 33 w 558"/>
                <a:gd name="T31" fmla="*/ 319 h 369"/>
                <a:gd name="T32" fmla="*/ 66 w 558"/>
                <a:gd name="T33" fmla="*/ 260 h 369"/>
                <a:gd name="T34" fmla="*/ 83 w 558"/>
                <a:gd name="T35" fmla="*/ 243 h 369"/>
                <a:gd name="T36" fmla="*/ 54 w 558"/>
                <a:gd name="T37" fmla="*/ 187 h 369"/>
                <a:gd name="T38" fmla="*/ 54 w 558"/>
                <a:gd name="T39" fmla="*/ 170 h 369"/>
                <a:gd name="T40" fmla="*/ 28 w 558"/>
                <a:gd name="T41" fmla="*/ 165 h 369"/>
                <a:gd name="T42" fmla="*/ 0 w 558"/>
                <a:gd name="T43" fmla="*/ 149 h 369"/>
                <a:gd name="T44" fmla="*/ 33 w 558"/>
                <a:gd name="T45" fmla="*/ 116 h 369"/>
                <a:gd name="T46" fmla="*/ 92 w 558"/>
                <a:gd name="T47" fmla="*/ 99 h 369"/>
                <a:gd name="T48" fmla="*/ 104 w 558"/>
                <a:gd name="T49" fmla="*/ 83 h 369"/>
                <a:gd name="T50" fmla="*/ 92 w 558"/>
                <a:gd name="T51" fmla="*/ 78 h 369"/>
                <a:gd name="T52" fmla="*/ 142 w 558"/>
                <a:gd name="T53" fmla="*/ 45 h 369"/>
                <a:gd name="T54" fmla="*/ 147 w 558"/>
                <a:gd name="T55" fmla="*/ 21 h 369"/>
                <a:gd name="T56" fmla="*/ 213 w 558"/>
                <a:gd name="T57" fmla="*/ 12 h 369"/>
                <a:gd name="T58" fmla="*/ 250 w 558"/>
                <a:gd name="T59" fmla="*/ 28 h 369"/>
                <a:gd name="T60" fmla="*/ 217 w 558"/>
                <a:gd name="T61" fmla="*/ 54 h 369"/>
                <a:gd name="T62" fmla="*/ 255 w 558"/>
                <a:gd name="T63" fmla="*/ 66 h 369"/>
                <a:gd name="T64" fmla="*/ 234 w 558"/>
                <a:gd name="T65" fmla="*/ 78 h 369"/>
                <a:gd name="T66" fmla="*/ 229 w 558"/>
                <a:gd name="T67" fmla="*/ 95 h 369"/>
                <a:gd name="T68" fmla="*/ 196 w 558"/>
                <a:gd name="T69" fmla="*/ 66 h 369"/>
                <a:gd name="T70" fmla="*/ 158 w 558"/>
                <a:gd name="T71" fmla="*/ 95 h 369"/>
                <a:gd name="T72" fmla="*/ 142 w 558"/>
                <a:gd name="T73" fmla="*/ 83 h 369"/>
                <a:gd name="T74" fmla="*/ 142 w 558"/>
                <a:gd name="T75" fmla="*/ 121 h 369"/>
                <a:gd name="T76" fmla="*/ 234 w 558"/>
                <a:gd name="T77" fmla="*/ 121 h 369"/>
                <a:gd name="T78" fmla="*/ 255 w 558"/>
                <a:gd name="T79" fmla="*/ 137 h 369"/>
                <a:gd name="T80" fmla="*/ 298 w 558"/>
                <a:gd name="T81" fmla="*/ 121 h 369"/>
                <a:gd name="T82" fmla="*/ 310 w 558"/>
                <a:gd name="T83" fmla="*/ 132 h 369"/>
                <a:gd name="T84" fmla="*/ 336 w 558"/>
                <a:gd name="T85" fmla="*/ 137 h 369"/>
                <a:gd name="T86" fmla="*/ 359 w 558"/>
                <a:gd name="T87" fmla="*/ 137 h 369"/>
                <a:gd name="T88" fmla="*/ 451 w 558"/>
                <a:gd name="T89" fmla="*/ 132 h 369"/>
                <a:gd name="T90" fmla="*/ 461 w 558"/>
                <a:gd name="T91" fmla="*/ 170 h 369"/>
                <a:gd name="T92" fmla="*/ 461 w 558"/>
                <a:gd name="T93" fmla="*/ 203 h 369"/>
                <a:gd name="T94" fmla="*/ 482 w 558"/>
                <a:gd name="T95" fmla="*/ 203 h 369"/>
                <a:gd name="T96" fmla="*/ 536 w 558"/>
                <a:gd name="T97" fmla="*/ 220 h 369"/>
                <a:gd name="T98" fmla="*/ 543 w 558"/>
                <a:gd name="T99" fmla="*/ 276 h 369"/>
                <a:gd name="T100" fmla="*/ 558 w 558"/>
                <a:gd name="T101" fmla="*/ 302 h 369"/>
                <a:gd name="T102" fmla="*/ 536 w 558"/>
                <a:gd name="T103" fmla="*/ 31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58" h="369">
                  <a:moveTo>
                    <a:pt x="536" y="319"/>
                  </a:moveTo>
                  <a:lnTo>
                    <a:pt x="520" y="302"/>
                  </a:lnTo>
                  <a:lnTo>
                    <a:pt x="489" y="302"/>
                  </a:lnTo>
                  <a:lnTo>
                    <a:pt x="451" y="319"/>
                  </a:lnTo>
                  <a:lnTo>
                    <a:pt x="444" y="314"/>
                  </a:lnTo>
                  <a:lnTo>
                    <a:pt x="461" y="314"/>
                  </a:lnTo>
                  <a:lnTo>
                    <a:pt x="461" y="302"/>
                  </a:lnTo>
                  <a:lnTo>
                    <a:pt x="418" y="298"/>
                  </a:lnTo>
                  <a:lnTo>
                    <a:pt x="390" y="319"/>
                  </a:lnTo>
                  <a:lnTo>
                    <a:pt x="380" y="335"/>
                  </a:lnTo>
                  <a:lnTo>
                    <a:pt x="352" y="335"/>
                  </a:lnTo>
                  <a:lnTo>
                    <a:pt x="321" y="359"/>
                  </a:lnTo>
                  <a:lnTo>
                    <a:pt x="310" y="369"/>
                  </a:lnTo>
                  <a:lnTo>
                    <a:pt x="305" y="359"/>
                  </a:lnTo>
                  <a:lnTo>
                    <a:pt x="288" y="331"/>
                  </a:lnTo>
                  <a:lnTo>
                    <a:pt x="305" y="265"/>
                  </a:lnTo>
                  <a:lnTo>
                    <a:pt x="284" y="265"/>
                  </a:lnTo>
                  <a:lnTo>
                    <a:pt x="288" y="232"/>
                  </a:lnTo>
                  <a:lnTo>
                    <a:pt x="255" y="220"/>
                  </a:lnTo>
                  <a:lnTo>
                    <a:pt x="246" y="220"/>
                  </a:lnTo>
                  <a:lnTo>
                    <a:pt x="201" y="260"/>
                  </a:lnTo>
                  <a:lnTo>
                    <a:pt x="213" y="281"/>
                  </a:lnTo>
                  <a:lnTo>
                    <a:pt x="201" y="298"/>
                  </a:lnTo>
                  <a:lnTo>
                    <a:pt x="180" y="286"/>
                  </a:lnTo>
                  <a:lnTo>
                    <a:pt x="158" y="286"/>
                  </a:lnTo>
                  <a:lnTo>
                    <a:pt x="147" y="302"/>
                  </a:lnTo>
                  <a:lnTo>
                    <a:pt x="147" y="319"/>
                  </a:lnTo>
                  <a:lnTo>
                    <a:pt x="142" y="331"/>
                  </a:lnTo>
                  <a:lnTo>
                    <a:pt x="109" y="314"/>
                  </a:lnTo>
                  <a:lnTo>
                    <a:pt x="54" y="343"/>
                  </a:lnTo>
                  <a:lnTo>
                    <a:pt x="33" y="331"/>
                  </a:lnTo>
                  <a:lnTo>
                    <a:pt x="33" y="319"/>
                  </a:lnTo>
                  <a:lnTo>
                    <a:pt x="38" y="298"/>
                  </a:lnTo>
                  <a:lnTo>
                    <a:pt x="66" y="260"/>
                  </a:lnTo>
                  <a:lnTo>
                    <a:pt x="71" y="260"/>
                  </a:lnTo>
                  <a:lnTo>
                    <a:pt x="83" y="243"/>
                  </a:lnTo>
                  <a:lnTo>
                    <a:pt x="54" y="210"/>
                  </a:lnTo>
                  <a:lnTo>
                    <a:pt x="54" y="187"/>
                  </a:lnTo>
                  <a:lnTo>
                    <a:pt x="66" y="187"/>
                  </a:lnTo>
                  <a:lnTo>
                    <a:pt x="54" y="170"/>
                  </a:lnTo>
                  <a:lnTo>
                    <a:pt x="33" y="170"/>
                  </a:lnTo>
                  <a:lnTo>
                    <a:pt x="28" y="165"/>
                  </a:lnTo>
                  <a:lnTo>
                    <a:pt x="12" y="154"/>
                  </a:lnTo>
                  <a:lnTo>
                    <a:pt x="0" y="149"/>
                  </a:lnTo>
                  <a:lnTo>
                    <a:pt x="12" y="132"/>
                  </a:lnTo>
                  <a:lnTo>
                    <a:pt x="33" y="116"/>
                  </a:lnTo>
                  <a:lnTo>
                    <a:pt x="88" y="121"/>
                  </a:lnTo>
                  <a:lnTo>
                    <a:pt x="92" y="99"/>
                  </a:lnTo>
                  <a:lnTo>
                    <a:pt x="109" y="99"/>
                  </a:lnTo>
                  <a:lnTo>
                    <a:pt x="104" y="83"/>
                  </a:lnTo>
                  <a:lnTo>
                    <a:pt x="121" y="78"/>
                  </a:lnTo>
                  <a:lnTo>
                    <a:pt x="92" y="78"/>
                  </a:lnTo>
                  <a:lnTo>
                    <a:pt x="142" y="66"/>
                  </a:lnTo>
                  <a:lnTo>
                    <a:pt x="142" y="45"/>
                  </a:lnTo>
                  <a:lnTo>
                    <a:pt x="147" y="21"/>
                  </a:lnTo>
                  <a:lnTo>
                    <a:pt x="147" y="21"/>
                  </a:lnTo>
                  <a:lnTo>
                    <a:pt x="175" y="38"/>
                  </a:lnTo>
                  <a:lnTo>
                    <a:pt x="213" y="12"/>
                  </a:lnTo>
                  <a:lnTo>
                    <a:pt x="217" y="0"/>
                  </a:lnTo>
                  <a:lnTo>
                    <a:pt x="250" y="28"/>
                  </a:lnTo>
                  <a:lnTo>
                    <a:pt x="217" y="54"/>
                  </a:lnTo>
                  <a:lnTo>
                    <a:pt x="217" y="54"/>
                  </a:lnTo>
                  <a:lnTo>
                    <a:pt x="234" y="66"/>
                  </a:lnTo>
                  <a:lnTo>
                    <a:pt x="255" y="66"/>
                  </a:lnTo>
                  <a:lnTo>
                    <a:pt x="255" y="78"/>
                  </a:lnTo>
                  <a:lnTo>
                    <a:pt x="234" y="78"/>
                  </a:lnTo>
                  <a:lnTo>
                    <a:pt x="234" y="95"/>
                  </a:lnTo>
                  <a:lnTo>
                    <a:pt x="229" y="95"/>
                  </a:lnTo>
                  <a:lnTo>
                    <a:pt x="229" y="83"/>
                  </a:lnTo>
                  <a:lnTo>
                    <a:pt x="196" y="66"/>
                  </a:lnTo>
                  <a:lnTo>
                    <a:pt x="158" y="78"/>
                  </a:lnTo>
                  <a:lnTo>
                    <a:pt x="158" y="95"/>
                  </a:lnTo>
                  <a:lnTo>
                    <a:pt x="147" y="95"/>
                  </a:lnTo>
                  <a:lnTo>
                    <a:pt x="142" y="83"/>
                  </a:lnTo>
                  <a:lnTo>
                    <a:pt x="142" y="99"/>
                  </a:lnTo>
                  <a:lnTo>
                    <a:pt x="142" y="121"/>
                  </a:lnTo>
                  <a:lnTo>
                    <a:pt x="229" y="121"/>
                  </a:lnTo>
                  <a:lnTo>
                    <a:pt x="234" y="121"/>
                  </a:lnTo>
                  <a:lnTo>
                    <a:pt x="246" y="137"/>
                  </a:lnTo>
                  <a:lnTo>
                    <a:pt x="255" y="137"/>
                  </a:lnTo>
                  <a:lnTo>
                    <a:pt x="267" y="132"/>
                  </a:lnTo>
                  <a:lnTo>
                    <a:pt x="298" y="121"/>
                  </a:lnTo>
                  <a:lnTo>
                    <a:pt x="298" y="132"/>
                  </a:lnTo>
                  <a:lnTo>
                    <a:pt x="310" y="132"/>
                  </a:lnTo>
                  <a:lnTo>
                    <a:pt x="310" y="149"/>
                  </a:lnTo>
                  <a:lnTo>
                    <a:pt x="336" y="137"/>
                  </a:lnTo>
                  <a:lnTo>
                    <a:pt x="352" y="154"/>
                  </a:lnTo>
                  <a:lnTo>
                    <a:pt x="359" y="137"/>
                  </a:lnTo>
                  <a:lnTo>
                    <a:pt x="413" y="137"/>
                  </a:lnTo>
                  <a:lnTo>
                    <a:pt x="451" y="132"/>
                  </a:lnTo>
                  <a:lnTo>
                    <a:pt x="444" y="154"/>
                  </a:lnTo>
                  <a:lnTo>
                    <a:pt x="461" y="170"/>
                  </a:lnTo>
                  <a:lnTo>
                    <a:pt x="451" y="177"/>
                  </a:lnTo>
                  <a:lnTo>
                    <a:pt x="461" y="203"/>
                  </a:lnTo>
                  <a:lnTo>
                    <a:pt x="473" y="210"/>
                  </a:lnTo>
                  <a:lnTo>
                    <a:pt x="482" y="203"/>
                  </a:lnTo>
                  <a:lnTo>
                    <a:pt x="499" y="203"/>
                  </a:lnTo>
                  <a:lnTo>
                    <a:pt x="536" y="220"/>
                  </a:lnTo>
                  <a:lnTo>
                    <a:pt x="527" y="248"/>
                  </a:lnTo>
                  <a:lnTo>
                    <a:pt x="543" y="276"/>
                  </a:lnTo>
                  <a:lnTo>
                    <a:pt x="536" y="281"/>
                  </a:lnTo>
                  <a:lnTo>
                    <a:pt x="558" y="302"/>
                  </a:lnTo>
                  <a:lnTo>
                    <a:pt x="536" y="319"/>
                  </a:lnTo>
                  <a:lnTo>
                    <a:pt x="536" y="319"/>
                  </a:lnTo>
                  <a:lnTo>
                    <a:pt x="536" y="31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8" name="Freeform 569">
              <a:extLst>
                <a:ext uri="{FF2B5EF4-FFF2-40B4-BE49-F238E27FC236}">
                  <a16:creationId xmlns:a16="http://schemas.microsoft.com/office/drawing/2014/main" id="{67D93393-674F-4D0D-8A30-90212F0BBBB3}"/>
                </a:ext>
              </a:extLst>
            </p:cNvPr>
            <p:cNvSpPr>
              <a:spLocks noEditPoints="1"/>
            </p:cNvSpPr>
            <p:nvPr/>
          </p:nvSpPr>
          <p:spPr bwMode="gray">
            <a:xfrm>
              <a:off x="12090663" y="3588113"/>
              <a:ext cx="8510" cy="5237"/>
            </a:xfrm>
            <a:custGeom>
              <a:avLst/>
              <a:gdLst>
                <a:gd name="T0" fmla="*/ 14 w 26"/>
                <a:gd name="T1" fmla="*/ 11 h 16"/>
                <a:gd name="T2" fmla="*/ 0 w 26"/>
                <a:gd name="T3" fmla="*/ 0 h 16"/>
                <a:gd name="T4" fmla="*/ 5 w 26"/>
                <a:gd name="T5" fmla="*/ 0 h 16"/>
                <a:gd name="T6" fmla="*/ 14 w 26"/>
                <a:gd name="T7" fmla="*/ 11 h 16"/>
                <a:gd name="T8" fmla="*/ 14 w 26"/>
                <a:gd name="T9" fmla="*/ 11 h 16"/>
                <a:gd name="T10" fmla="*/ 14 w 26"/>
                <a:gd name="T11" fmla="*/ 11 h 16"/>
                <a:gd name="T12" fmla="*/ 26 w 26"/>
                <a:gd name="T13" fmla="*/ 16 h 16"/>
                <a:gd name="T14" fmla="*/ 14 w 26"/>
                <a:gd name="T15" fmla="*/ 16 h 16"/>
                <a:gd name="T16" fmla="*/ 14 w 26"/>
                <a:gd name="T17" fmla="*/ 11 h 16"/>
                <a:gd name="T18" fmla="*/ 21 w 26"/>
                <a:gd name="T19" fmla="*/ 11 h 16"/>
                <a:gd name="T20" fmla="*/ 26 w 26"/>
                <a:gd name="T21" fmla="*/ 16 h 16"/>
                <a:gd name="T22" fmla="*/ 26 w 26"/>
                <a:gd name="T23" fmla="*/ 16 h 16"/>
                <a:gd name="T24" fmla="*/ 26 w 26"/>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6">
                  <a:moveTo>
                    <a:pt x="14" y="11"/>
                  </a:moveTo>
                  <a:lnTo>
                    <a:pt x="0" y="0"/>
                  </a:lnTo>
                  <a:lnTo>
                    <a:pt x="5" y="0"/>
                  </a:lnTo>
                  <a:lnTo>
                    <a:pt x="14" y="11"/>
                  </a:lnTo>
                  <a:lnTo>
                    <a:pt x="14" y="11"/>
                  </a:lnTo>
                  <a:lnTo>
                    <a:pt x="14" y="11"/>
                  </a:lnTo>
                  <a:close/>
                  <a:moveTo>
                    <a:pt x="26" y="16"/>
                  </a:moveTo>
                  <a:lnTo>
                    <a:pt x="14" y="16"/>
                  </a:lnTo>
                  <a:lnTo>
                    <a:pt x="14" y="11"/>
                  </a:lnTo>
                  <a:lnTo>
                    <a:pt x="21" y="11"/>
                  </a:lnTo>
                  <a:lnTo>
                    <a:pt x="26" y="16"/>
                  </a:lnTo>
                  <a:lnTo>
                    <a:pt x="26" y="16"/>
                  </a:lnTo>
                  <a:lnTo>
                    <a:pt x="26" y="1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9" name="Freeform 570">
              <a:extLst>
                <a:ext uri="{FF2B5EF4-FFF2-40B4-BE49-F238E27FC236}">
                  <a16:creationId xmlns:a16="http://schemas.microsoft.com/office/drawing/2014/main" id="{86B73BDD-FB92-4C3F-BD93-1E50F415FE1F}"/>
                </a:ext>
              </a:extLst>
            </p:cNvPr>
            <p:cNvSpPr>
              <a:spLocks noEditPoints="1"/>
            </p:cNvSpPr>
            <p:nvPr/>
          </p:nvSpPr>
          <p:spPr bwMode="gray">
            <a:xfrm>
              <a:off x="9718090" y="4555929"/>
              <a:ext cx="34039" cy="74296"/>
            </a:xfrm>
            <a:custGeom>
              <a:avLst/>
              <a:gdLst>
                <a:gd name="T0" fmla="*/ 104 w 104"/>
                <a:gd name="T1" fmla="*/ 0 h 227"/>
                <a:gd name="T2" fmla="*/ 104 w 104"/>
                <a:gd name="T3" fmla="*/ 10 h 227"/>
                <a:gd name="T4" fmla="*/ 92 w 104"/>
                <a:gd name="T5" fmla="*/ 10 h 227"/>
                <a:gd name="T6" fmla="*/ 104 w 104"/>
                <a:gd name="T7" fmla="*/ 0 h 227"/>
                <a:gd name="T8" fmla="*/ 104 w 104"/>
                <a:gd name="T9" fmla="*/ 0 h 227"/>
                <a:gd name="T10" fmla="*/ 104 w 104"/>
                <a:gd name="T11" fmla="*/ 0 h 227"/>
                <a:gd name="T12" fmla="*/ 16 w 104"/>
                <a:gd name="T13" fmla="*/ 210 h 227"/>
                <a:gd name="T14" fmla="*/ 0 w 104"/>
                <a:gd name="T15" fmla="*/ 198 h 227"/>
                <a:gd name="T16" fmla="*/ 0 w 104"/>
                <a:gd name="T17" fmla="*/ 194 h 227"/>
                <a:gd name="T18" fmla="*/ 16 w 104"/>
                <a:gd name="T19" fmla="*/ 198 h 227"/>
                <a:gd name="T20" fmla="*/ 23 w 104"/>
                <a:gd name="T21" fmla="*/ 198 h 227"/>
                <a:gd name="T22" fmla="*/ 16 w 104"/>
                <a:gd name="T23" fmla="*/ 210 h 227"/>
                <a:gd name="T24" fmla="*/ 16 w 104"/>
                <a:gd name="T25" fmla="*/ 210 h 227"/>
                <a:gd name="T26" fmla="*/ 16 w 104"/>
                <a:gd name="T27" fmla="*/ 210 h 227"/>
                <a:gd name="T28" fmla="*/ 33 w 104"/>
                <a:gd name="T29" fmla="*/ 227 h 227"/>
                <a:gd name="T30" fmla="*/ 23 w 104"/>
                <a:gd name="T31" fmla="*/ 215 h 227"/>
                <a:gd name="T32" fmla="*/ 33 w 104"/>
                <a:gd name="T33" fmla="*/ 210 h 227"/>
                <a:gd name="T34" fmla="*/ 33 w 104"/>
                <a:gd name="T35" fmla="*/ 227 h 227"/>
                <a:gd name="T36" fmla="*/ 33 w 104"/>
                <a:gd name="T37" fmla="*/ 227 h 227"/>
                <a:gd name="T38" fmla="*/ 33 w 104"/>
                <a:gd name="T39"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227">
                  <a:moveTo>
                    <a:pt x="104" y="0"/>
                  </a:moveTo>
                  <a:lnTo>
                    <a:pt x="104" y="10"/>
                  </a:lnTo>
                  <a:lnTo>
                    <a:pt x="92" y="10"/>
                  </a:lnTo>
                  <a:lnTo>
                    <a:pt x="104" y="0"/>
                  </a:lnTo>
                  <a:lnTo>
                    <a:pt x="104" y="0"/>
                  </a:lnTo>
                  <a:lnTo>
                    <a:pt x="104" y="0"/>
                  </a:lnTo>
                  <a:close/>
                  <a:moveTo>
                    <a:pt x="16" y="210"/>
                  </a:moveTo>
                  <a:lnTo>
                    <a:pt x="0" y="198"/>
                  </a:lnTo>
                  <a:lnTo>
                    <a:pt x="0" y="194"/>
                  </a:lnTo>
                  <a:lnTo>
                    <a:pt x="16" y="198"/>
                  </a:lnTo>
                  <a:lnTo>
                    <a:pt x="23" y="198"/>
                  </a:lnTo>
                  <a:lnTo>
                    <a:pt x="16" y="210"/>
                  </a:lnTo>
                  <a:lnTo>
                    <a:pt x="16" y="210"/>
                  </a:lnTo>
                  <a:lnTo>
                    <a:pt x="16" y="210"/>
                  </a:lnTo>
                  <a:close/>
                  <a:moveTo>
                    <a:pt x="33" y="227"/>
                  </a:moveTo>
                  <a:lnTo>
                    <a:pt x="23" y="215"/>
                  </a:lnTo>
                  <a:lnTo>
                    <a:pt x="33" y="210"/>
                  </a:lnTo>
                  <a:lnTo>
                    <a:pt x="33" y="227"/>
                  </a:lnTo>
                  <a:lnTo>
                    <a:pt x="33" y="227"/>
                  </a:lnTo>
                  <a:lnTo>
                    <a:pt x="33" y="22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0" name="Freeform 571">
              <a:extLst>
                <a:ext uri="{FF2B5EF4-FFF2-40B4-BE49-F238E27FC236}">
                  <a16:creationId xmlns:a16="http://schemas.microsoft.com/office/drawing/2014/main" id="{52FC3057-A693-4035-8A2F-5A39171FEC83}"/>
                </a:ext>
              </a:extLst>
            </p:cNvPr>
            <p:cNvSpPr>
              <a:spLocks/>
            </p:cNvSpPr>
            <p:nvPr/>
          </p:nvSpPr>
          <p:spPr bwMode="gray">
            <a:xfrm>
              <a:off x="13740565" y="3850932"/>
              <a:ext cx="45494" cy="117500"/>
            </a:xfrm>
            <a:custGeom>
              <a:avLst/>
              <a:gdLst>
                <a:gd name="T0" fmla="*/ 128 w 139"/>
                <a:gd name="T1" fmla="*/ 260 h 359"/>
                <a:gd name="T2" fmla="*/ 128 w 139"/>
                <a:gd name="T3" fmla="*/ 297 h 359"/>
                <a:gd name="T4" fmla="*/ 123 w 139"/>
                <a:gd name="T5" fmla="*/ 297 h 359"/>
                <a:gd name="T6" fmla="*/ 123 w 139"/>
                <a:gd name="T7" fmla="*/ 321 h 359"/>
                <a:gd name="T8" fmla="*/ 139 w 139"/>
                <a:gd name="T9" fmla="*/ 349 h 359"/>
                <a:gd name="T10" fmla="*/ 128 w 139"/>
                <a:gd name="T11" fmla="*/ 354 h 359"/>
                <a:gd name="T12" fmla="*/ 95 w 139"/>
                <a:gd name="T13" fmla="*/ 359 h 359"/>
                <a:gd name="T14" fmla="*/ 83 w 139"/>
                <a:gd name="T15" fmla="*/ 349 h 359"/>
                <a:gd name="T16" fmla="*/ 66 w 139"/>
                <a:gd name="T17" fmla="*/ 338 h 359"/>
                <a:gd name="T18" fmla="*/ 50 w 139"/>
                <a:gd name="T19" fmla="*/ 297 h 359"/>
                <a:gd name="T20" fmla="*/ 57 w 139"/>
                <a:gd name="T21" fmla="*/ 297 h 359"/>
                <a:gd name="T22" fmla="*/ 57 w 139"/>
                <a:gd name="T23" fmla="*/ 276 h 359"/>
                <a:gd name="T24" fmla="*/ 50 w 139"/>
                <a:gd name="T25" fmla="*/ 264 h 359"/>
                <a:gd name="T26" fmla="*/ 50 w 139"/>
                <a:gd name="T27" fmla="*/ 260 h 359"/>
                <a:gd name="T28" fmla="*/ 50 w 139"/>
                <a:gd name="T29" fmla="*/ 243 h 359"/>
                <a:gd name="T30" fmla="*/ 57 w 139"/>
                <a:gd name="T31" fmla="*/ 210 h 359"/>
                <a:gd name="T32" fmla="*/ 66 w 139"/>
                <a:gd name="T33" fmla="*/ 203 h 359"/>
                <a:gd name="T34" fmla="*/ 33 w 139"/>
                <a:gd name="T35" fmla="*/ 170 h 359"/>
                <a:gd name="T36" fmla="*/ 50 w 139"/>
                <a:gd name="T37" fmla="*/ 165 h 359"/>
                <a:gd name="T38" fmla="*/ 40 w 139"/>
                <a:gd name="T39" fmla="*/ 149 h 359"/>
                <a:gd name="T40" fmla="*/ 50 w 139"/>
                <a:gd name="T41" fmla="*/ 127 h 359"/>
                <a:gd name="T42" fmla="*/ 40 w 139"/>
                <a:gd name="T43" fmla="*/ 116 h 359"/>
                <a:gd name="T44" fmla="*/ 28 w 139"/>
                <a:gd name="T45" fmla="*/ 116 h 359"/>
                <a:gd name="T46" fmla="*/ 40 w 139"/>
                <a:gd name="T47" fmla="*/ 75 h 359"/>
                <a:gd name="T48" fmla="*/ 33 w 139"/>
                <a:gd name="T49" fmla="*/ 59 h 359"/>
                <a:gd name="T50" fmla="*/ 33 w 139"/>
                <a:gd name="T51" fmla="*/ 54 h 359"/>
                <a:gd name="T52" fmla="*/ 0 w 139"/>
                <a:gd name="T53" fmla="*/ 26 h 359"/>
                <a:gd name="T54" fmla="*/ 12 w 139"/>
                <a:gd name="T55" fmla="*/ 5 h 359"/>
                <a:gd name="T56" fmla="*/ 0 w 139"/>
                <a:gd name="T57" fmla="*/ 0 h 359"/>
                <a:gd name="T58" fmla="*/ 50 w 139"/>
                <a:gd name="T59" fmla="*/ 5 h 359"/>
                <a:gd name="T60" fmla="*/ 50 w 139"/>
                <a:gd name="T61" fmla="*/ 16 h 359"/>
                <a:gd name="T62" fmla="*/ 73 w 139"/>
                <a:gd name="T63" fmla="*/ 5 h 359"/>
                <a:gd name="T64" fmla="*/ 66 w 139"/>
                <a:gd name="T65" fmla="*/ 54 h 359"/>
                <a:gd name="T66" fmla="*/ 106 w 139"/>
                <a:gd name="T67" fmla="*/ 75 h 359"/>
                <a:gd name="T68" fmla="*/ 106 w 139"/>
                <a:gd name="T69" fmla="*/ 116 h 359"/>
                <a:gd name="T70" fmla="*/ 128 w 139"/>
                <a:gd name="T71" fmla="*/ 149 h 359"/>
                <a:gd name="T72" fmla="*/ 128 w 139"/>
                <a:gd name="T73" fmla="*/ 260 h 359"/>
                <a:gd name="T74" fmla="*/ 128 w 139"/>
                <a:gd name="T75" fmla="*/ 260 h 359"/>
                <a:gd name="T76" fmla="*/ 128 w 139"/>
                <a:gd name="T77" fmla="*/ 26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359">
                  <a:moveTo>
                    <a:pt x="128" y="260"/>
                  </a:moveTo>
                  <a:lnTo>
                    <a:pt x="128" y="297"/>
                  </a:lnTo>
                  <a:lnTo>
                    <a:pt x="123" y="297"/>
                  </a:lnTo>
                  <a:lnTo>
                    <a:pt x="123" y="321"/>
                  </a:lnTo>
                  <a:lnTo>
                    <a:pt x="139" y="349"/>
                  </a:lnTo>
                  <a:lnTo>
                    <a:pt x="128" y="354"/>
                  </a:lnTo>
                  <a:lnTo>
                    <a:pt x="95" y="359"/>
                  </a:lnTo>
                  <a:lnTo>
                    <a:pt x="83" y="349"/>
                  </a:lnTo>
                  <a:lnTo>
                    <a:pt x="66" y="338"/>
                  </a:lnTo>
                  <a:lnTo>
                    <a:pt x="50" y="297"/>
                  </a:lnTo>
                  <a:lnTo>
                    <a:pt x="57" y="297"/>
                  </a:lnTo>
                  <a:lnTo>
                    <a:pt x="57" y="276"/>
                  </a:lnTo>
                  <a:lnTo>
                    <a:pt x="50" y="264"/>
                  </a:lnTo>
                  <a:lnTo>
                    <a:pt x="50" y="260"/>
                  </a:lnTo>
                  <a:lnTo>
                    <a:pt x="50" y="243"/>
                  </a:lnTo>
                  <a:lnTo>
                    <a:pt x="57" y="210"/>
                  </a:lnTo>
                  <a:lnTo>
                    <a:pt x="66" y="203"/>
                  </a:lnTo>
                  <a:lnTo>
                    <a:pt x="33" y="170"/>
                  </a:lnTo>
                  <a:lnTo>
                    <a:pt x="50" y="165"/>
                  </a:lnTo>
                  <a:lnTo>
                    <a:pt x="40" y="149"/>
                  </a:lnTo>
                  <a:lnTo>
                    <a:pt x="50" y="127"/>
                  </a:lnTo>
                  <a:lnTo>
                    <a:pt x="40" y="116"/>
                  </a:lnTo>
                  <a:lnTo>
                    <a:pt x="28" y="116"/>
                  </a:lnTo>
                  <a:lnTo>
                    <a:pt x="40" y="75"/>
                  </a:lnTo>
                  <a:lnTo>
                    <a:pt x="33" y="59"/>
                  </a:lnTo>
                  <a:lnTo>
                    <a:pt x="33" y="54"/>
                  </a:lnTo>
                  <a:lnTo>
                    <a:pt x="0" y="26"/>
                  </a:lnTo>
                  <a:lnTo>
                    <a:pt x="12" y="5"/>
                  </a:lnTo>
                  <a:lnTo>
                    <a:pt x="0" y="0"/>
                  </a:lnTo>
                  <a:lnTo>
                    <a:pt x="50" y="5"/>
                  </a:lnTo>
                  <a:lnTo>
                    <a:pt x="50" y="16"/>
                  </a:lnTo>
                  <a:lnTo>
                    <a:pt x="73" y="5"/>
                  </a:lnTo>
                  <a:lnTo>
                    <a:pt x="66" y="54"/>
                  </a:lnTo>
                  <a:lnTo>
                    <a:pt x="106" y="75"/>
                  </a:lnTo>
                  <a:lnTo>
                    <a:pt x="106" y="116"/>
                  </a:lnTo>
                  <a:lnTo>
                    <a:pt x="128" y="149"/>
                  </a:lnTo>
                  <a:lnTo>
                    <a:pt x="128" y="260"/>
                  </a:lnTo>
                  <a:lnTo>
                    <a:pt x="128" y="260"/>
                  </a:lnTo>
                  <a:lnTo>
                    <a:pt x="128" y="26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1" name="Freeform 572">
              <a:extLst>
                <a:ext uri="{FF2B5EF4-FFF2-40B4-BE49-F238E27FC236}">
                  <a16:creationId xmlns:a16="http://schemas.microsoft.com/office/drawing/2014/main" id="{06AF2748-2013-489C-AB72-E6307A726D6C}"/>
                </a:ext>
              </a:extLst>
            </p:cNvPr>
            <p:cNvSpPr>
              <a:spLocks noEditPoints="1"/>
            </p:cNvSpPr>
            <p:nvPr/>
          </p:nvSpPr>
          <p:spPr bwMode="gray">
            <a:xfrm>
              <a:off x="13892758" y="4073494"/>
              <a:ext cx="23238" cy="39603"/>
            </a:xfrm>
            <a:custGeom>
              <a:avLst/>
              <a:gdLst>
                <a:gd name="T0" fmla="*/ 62 w 71"/>
                <a:gd name="T1" fmla="*/ 12 h 121"/>
                <a:gd name="T2" fmla="*/ 62 w 71"/>
                <a:gd name="T3" fmla="*/ 7 h 121"/>
                <a:gd name="T4" fmla="*/ 62 w 71"/>
                <a:gd name="T5" fmla="*/ 0 h 121"/>
                <a:gd name="T6" fmla="*/ 71 w 71"/>
                <a:gd name="T7" fmla="*/ 7 h 121"/>
                <a:gd name="T8" fmla="*/ 62 w 71"/>
                <a:gd name="T9" fmla="*/ 12 h 121"/>
                <a:gd name="T10" fmla="*/ 62 w 71"/>
                <a:gd name="T11" fmla="*/ 12 h 121"/>
                <a:gd name="T12" fmla="*/ 62 w 71"/>
                <a:gd name="T13" fmla="*/ 12 h 121"/>
                <a:gd name="T14" fmla="*/ 0 w 71"/>
                <a:gd name="T15" fmla="*/ 121 h 121"/>
                <a:gd name="T16" fmla="*/ 0 w 71"/>
                <a:gd name="T17" fmla="*/ 104 h 121"/>
                <a:gd name="T18" fmla="*/ 17 w 71"/>
                <a:gd name="T19" fmla="*/ 99 h 121"/>
                <a:gd name="T20" fmla="*/ 17 w 71"/>
                <a:gd name="T21" fmla="*/ 116 h 121"/>
                <a:gd name="T22" fmla="*/ 0 w 71"/>
                <a:gd name="T23" fmla="*/ 121 h 121"/>
                <a:gd name="T24" fmla="*/ 0 w 71"/>
                <a:gd name="T25" fmla="*/ 121 h 121"/>
                <a:gd name="T26" fmla="*/ 0 w 71"/>
                <a:gd name="T2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121">
                  <a:moveTo>
                    <a:pt x="62" y="12"/>
                  </a:moveTo>
                  <a:lnTo>
                    <a:pt x="62" y="7"/>
                  </a:lnTo>
                  <a:lnTo>
                    <a:pt x="62" y="0"/>
                  </a:lnTo>
                  <a:lnTo>
                    <a:pt x="71" y="7"/>
                  </a:lnTo>
                  <a:lnTo>
                    <a:pt x="62" y="12"/>
                  </a:lnTo>
                  <a:lnTo>
                    <a:pt x="62" y="12"/>
                  </a:lnTo>
                  <a:lnTo>
                    <a:pt x="62" y="12"/>
                  </a:lnTo>
                  <a:close/>
                  <a:moveTo>
                    <a:pt x="0" y="121"/>
                  </a:moveTo>
                  <a:lnTo>
                    <a:pt x="0" y="104"/>
                  </a:lnTo>
                  <a:lnTo>
                    <a:pt x="17" y="99"/>
                  </a:lnTo>
                  <a:lnTo>
                    <a:pt x="17" y="116"/>
                  </a:lnTo>
                  <a:lnTo>
                    <a:pt x="0" y="121"/>
                  </a:lnTo>
                  <a:lnTo>
                    <a:pt x="0" y="121"/>
                  </a:lnTo>
                  <a:lnTo>
                    <a:pt x="0" y="12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2" name="Freeform 573">
              <a:extLst>
                <a:ext uri="{FF2B5EF4-FFF2-40B4-BE49-F238E27FC236}">
                  <a16:creationId xmlns:a16="http://schemas.microsoft.com/office/drawing/2014/main" id="{D361BDEC-27A1-470D-B9D2-4DA3B9D09E6E}"/>
                </a:ext>
              </a:extLst>
            </p:cNvPr>
            <p:cNvSpPr>
              <a:spLocks noEditPoints="1"/>
            </p:cNvSpPr>
            <p:nvPr/>
          </p:nvSpPr>
          <p:spPr bwMode="gray">
            <a:xfrm>
              <a:off x="13915996" y="3192084"/>
              <a:ext cx="92952" cy="187868"/>
            </a:xfrm>
            <a:custGeom>
              <a:avLst/>
              <a:gdLst>
                <a:gd name="T0" fmla="*/ 24 w 284"/>
                <a:gd name="T1" fmla="*/ 251 h 574"/>
                <a:gd name="T2" fmla="*/ 55 w 284"/>
                <a:gd name="T3" fmla="*/ 222 h 574"/>
                <a:gd name="T4" fmla="*/ 59 w 284"/>
                <a:gd name="T5" fmla="*/ 156 h 574"/>
                <a:gd name="T6" fmla="*/ 55 w 284"/>
                <a:gd name="T7" fmla="*/ 116 h 574"/>
                <a:gd name="T8" fmla="*/ 45 w 284"/>
                <a:gd name="T9" fmla="*/ 62 h 574"/>
                <a:gd name="T10" fmla="*/ 76 w 284"/>
                <a:gd name="T11" fmla="*/ 26 h 574"/>
                <a:gd name="T12" fmla="*/ 168 w 284"/>
                <a:gd name="T13" fmla="*/ 0 h 574"/>
                <a:gd name="T14" fmla="*/ 161 w 284"/>
                <a:gd name="T15" fmla="*/ 17 h 574"/>
                <a:gd name="T16" fmla="*/ 168 w 284"/>
                <a:gd name="T17" fmla="*/ 5 h 574"/>
                <a:gd name="T18" fmla="*/ 194 w 284"/>
                <a:gd name="T19" fmla="*/ 5 h 574"/>
                <a:gd name="T20" fmla="*/ 194 w 284"/>
                <a:gd name="T21" fmla="*/ 17 h 574"/>
                <a:gd name="T22" fmla="*/ 199 w 284"/>
                <a:gd name="T23" fmla="*/ 38 h 574"/>
                <a:gd name="T24" fmla="*/ 199 w 284"/>
                <a:gd name="T25" fmla="*/ 43 h 574"/>
                <a:gd name="T26" fmla="*/ 253 w 284"/>
                <a:gd name="T27" fmla="*/ 26 h 574"/>
                <a:gd name="T28" fmla="*/ 215 w 284"/>
                <a:gd name="T29" fmla="*/ 78 h 574"/>
                <a:gd name="T30" fmla="*/ 220 w 284"/>
                <a:gd name="T31" fmla="*/ 128 h 574"/>
                <a:gd name="T32" fmla="*/ 248 w 284"/>
                <a:gd name="T33" fmla="*/ 156 h 574"/>
                <a:gd name="T34" fmla="*/ 232 w 284"/>
                <a:gd name="T35" fmla="*/ 210 h 574"/>
                <a:gd name="T36" fmla="*/ 177 w 284"/>
                <a:gd name="T37" fmla="*/ 251 h 574"/>
                <a:gd name="T38" fmla="*/ 199 w 284"/>
                <a:gd name="T39" fmla="*/ 296 h 574"/>
                <a:gd name="T40" fmla="*/ 220 w 284"/>
                <a:gd name="T41" fmla="*/ 296 h 574"/>
                <a:gd name="T42" fmla="*/ 232 w 284"/>
                <a:gd name="T43" fmla="*/ 317 h 574"/>
                <a:gd name="T44" fmla="*/ 236 w 284"/>
                <a:gd name="T45" fmla="*/ 300 h 574"/>
                <a:gd name="T46" fmla="*/ 258 w 284"/>
                <a:gd name="T47" fmla="*/ 333 h 574"/>
                <a:gd name="T48" fmla="*/ 274 w 284"/>
                <a:gd name="T49" fmla="*/ 378 h 574"/>
                <a:gd name="T50" fmla="*/ 236 w 284"/>
                <a:gd name="T51" fmla="*/ 418 h 574"/>
                <a:gd name="T52" fmla="*/ 199 w 284"/>
                <a:gd name="T53" fmla="*/ 463 h 574"/>
                <a:gd name="T54" fmla="*/ 199 w 284"/>
                <a:gd name="T55" fmla="*/ 518 h 574"/>
                <a:gd name="T56" fmla="*/ 168 w 284"/>
                <a:gd name="T57" fmla="*/ 562 h 574"/>
                <a:gd name="T58" fmla="*/ 109 w 284"/>
                <a:gd name="T59" fmla="*/ 430 h 574"/>
                <a:gd name="T60" fmla="*/ 59 w 284"/>
                <a:gd name="T61" fmla="*/ 362 h 574"/>
                <a:gd name="T62" fmla="*/ 17 w 284"/>
                <a:gd name="T63" fmla="*/ 333 h 574"/>
                <a:gd name="T64" fmla="*/ 0 w 284"/>
                <a:gd name="T65" fmla="*/ 262 h 574"/>
                <a:gd name="T66" fmla="*/ 0 w 284"/>
                <a:gd name="T67" fmla="*/ 262 h 574"/>
                <a:gd name="T68" fmla="*/ 258 w 284"/>
                <a:gd name="T69" fmla="*/ 206 h 574"/>
                <a:gd name="T70" fmla="*/ 253 w 284"/>
                <a:gd name="T71" fmla="*/ 210 h 574"/>
                <a:gd name="T72" fmla="*/ 253 w 284"/>
                <a:gd name="T73" fmla="*/ 210 h 574"/>
                <a:gd name="T74" fmla="*/ 232 w 284"/>
                <a:gd name="T75" fmla="*/ 296 h 574"/>
                <a:gd name="T76" fmla="*/ 232 w 284"/>
                <a:gd name="T77" fmla="*/ 279 h 574"/>
                <a:gd name="T78" fmla="*/ 236 w 284"/>
                <a:gd name="T79" fmla="*/ 300 h 574"/>
                <a:gd name="T80" fmla="*/ 236 w 284"/>
                <a:gd name="T81" fmla="*/ 30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574">
                  <a:moveTo>
                    <a:pt x="0" y="262"/>
                  </a:moveTo>
                  <a:lnTo>
                    <a:pt x="24" y="251"/>
                  </a:lnTo>
                  <a:lnTo>
                    <a:pt x="24" y="239"/>
                  </a:lnTo>
                  <a:lnTo>
                    <a:pt x="55" y="222"/>
                  </a:lnTo>
                  <a:lnTo>
                    <a:pt x="59" y="173"/>
                  </a:lnTo>
                  <a:lnTo>
                    <a:pt x="59" y="156"/>
                  </a:lnTo>
                  <a:lnTo>
                    <a:pt x="59" y="133"/>
                  </a:lnTo>
                  <a:lnTo>
                    <a:pt x="55" y="116"/>
                  </a:lnTo>
                  <a:lnTo>
                    <a:pt x="59" y="71"/>
                  </a:lnTo>
                  <a:lnTo>
                    <a:pt x="45" y="62"/>
                  </a:lnTo>
                  <a:lnTo>
                    <a:pt x="88" y="38"/>
                  </a:lnTo>
                  <a:lnTo>
                    <a:pt x="76" y="26"/>
                  </a:lnTo>
                  <a:lnTo>
                    <a:pt x="151" y="0"/>
                  </a:lnTo>
                  <a:lnTo>
                    <a:pt x="168" y="0"/>
                  </a:lnTo>
                  <a:lnTo>
                    <a:pt x="161" y="5"/>
                  </a:lnTo>
                  <a:lnTo>
                    <a:pt x="161" y="17"/>
                  </a:lnTo>
                  <a:lnTo>
                    <a:pt x="168" y="5"/>
                  </a:lnTo>
                  <a:lnTo>
                    <a:pt x="168" y="5"/>
                  </a:lnTo>
                  <a:lnTo>
                    <a:pt x="177" y="0"/>
                  </a:lnTo>
                  <a:lnTo>
                    <a:pt x="194" y="5"/>
                  </a:lnTo>
                  <a:lnTo>
                    <a:pt x="182" y="17"/>
                  </a:lnTo>
                  <a:lnTo>
                    <a:pt x="194" y="17"/>
                  </a:lnTo>
                  <a:lnTo>
                    <a:pt x="194" y="21"/>
                  </a:lnTo>
                  <a:lnTo>
                    <a:pt x="199" y="38"/>
                  </a:lnTo>
                  <a:lnTo>
                    <a:pt x="194" y="38"/>
                  </a:lnTo>
                  <a:lnTo>
                    <a:pt x="199" y="43"/>
                  </a:lnTo>
                  <a:lnTo>
                    <a:pt x="248" y="17"/>
                  </a:lnTo>
                  <a:lnTo>
                    <a:pt x="253" y="26"/>
                  </a:lnTo>
                  <a:lnTo>
                    <a:pt x="232" y="71"/>
                  </a:lnTo>
                  <a:lnTo>
                    <a:pt x="215" y="78"/>
                  </a:lnTo>
                  <a:lnTo>
                    <a:pt x="203" y="95"/>
                  </a:lnTo>
                  <a:lnTo>
                    <a:pt x="220" y="128"/>
                  </a:lnTo>
                  <a:lnTo>
                    <a:pt x="248" y="133"/>
                  </a:lnTo>
                  <a:lnTo>
                    <a:pt x="248" y="156"/>
                  </a:lnTo>
                  <a:lnTo>
                    <a:pt x="253" y="173"/>
                  </a:lnTo>
                  <a:lnTo>
                    <a:pt x="232" y="210"/>
                  </a:lnTo>
                  <a:lnTo>
                    <a:pt x="182" y="246"/>
                  </a:lnTo>
                  <a:lnTo>
                    <a:pt x="177" y="251"/>
                  </a:lnTo>
                  <a:lnTo>
                    <a:pt x="182" y="279"/>
                  </a:lnTo>
                  <a:lnTo>
                    <a:pt x="199" y="296"/>
                  </a:lnTo>
                  <a:lnTo>
                    <a:pt x="203" y="300"/>
                  </a:lnTo>
                  <a:lnTo>
                    <a:pt x="220" y="296"/>
                  </a:lnTo>
                  <a:lnTo>
                    <a:pt x="220" y="307"/>
                  </a:lnTo>
                  <a:lnTo>
                    <a:pt x="232" y="317"/>
                  </a:lnTo>
                  <a:lnTo>
                    <a:pt x="236" y="307"/>
                  </a:lnTo>
                  <a:lnTo>
                    <a:pt x="236" y="300"/>
                  </a:lnTo>
                  <a:lnTo>
                    <a:pt x="248" y="300"/>
                  </a:lnTo>
                  <a:lnTo>
                    <a:pt x="258" y="333"/>
                  </a:lnTo>
                  <a:lnTo>
                    <a:pt x="284" y="340"/>
                  </a:lnTo>
                  <a:lnTo>
                    <a:pt x="274" y="378"/>
                  </a:lnTo>
                  <a:lnTo>
                    <a:pt x="284" y="395"/>
                  </a:lnTo>
                  <a:lnTo>
                    <a:pt x="236" y="418"/>
                  </a:lnTo>
                  <a:lnTo>
                    <a:pt x="203" y="451"/>
                  </a:lnTo>
                  <a:lnTo>
                    <a:pt x="199" y="463"/>
                  </a:lnTo>
                  <a:lnTo>
                    <a:pt x="182" y="473"/>
                  </a:lnTo>
                  <a:lnTo>
                    <a:pt x="199" y="518"/>
                  </a:lnTo>
                  <a:lnTo>
                    <a:pt x="194" y="529"/>
                  </a:lnTo>
                  <a:lnTo>
                    <a:pt x="168" y="562"/>
                  </a:lnTo>
                  <a:lnTo>
                    <a:pt x="147" y="574"/>
                  </a:lnTo>
                  <a:lnTo>
                    <a:pt x="109" y="430"/>
                  </a:lnTo>
                  <a:lnTo>
                    <a:pt x="59" y="390"/>
                  </a:lnTo>
                  <a:lnTo>
                    <a:pt x="59" y="362"/>
                  </a:lnTo>
                  <a:lnTo>
                    <a:pt x="45" y="340"/>
                  </a:lnTo>
                  <a:lnTo>
                    <a:pt x="17" y="333"/>
                  </a:lnTo>
                  <a:lnTo>
                    <a:pt x="0" y="279"/>
                  </a:lnTo>
                  <a:lnTo>
                    <a:pt x="0" y="262"/>
                  </a:lnTo>
                  <a:lnTo>
                    <a:pt x="0" y="262"/>
                  </a:lnTo>
                  <a:lnTo>
                    <a:pt x="0" y="262"/>
                  </a:lnTo>
                  <a:close/>
                  <a:moveTo>
                    <a:pt x="253" y="210"/>
                  </a:moveTo>
                  <a:lnTo>
                    <a:pt x="258" y="206"/>
                  </a:lnTo>
                  <a:lnTo>
                    <a:pt x="270" y="206"/>
                  </a:lnTo>
                  <a:lnTo>
                    <a:pt x="253" y="210"/>
                  </a:lnTo>
                  <a:lnTo>
                    <a:pt x="253" y="210"/>
                  </a:lnTo>
                  <a:lnTo>
                    <a:pt x="253" y="210"/>
                  </a:lnTo>
                  <a:close/>
                  <a:moveTo>
                    <a:pt x="236" y="300"/>
                  </a:moveTo>
                  <a:lnTo>
                    <a:pt x="232" y="296"/>
                  </a:lnTo>
                  <a:lnTo>
                    <a:pt x="232" y="296"/>
                  </a:lnTo>
                  <a:lnTo>
                    <a:pt x="232" y="279"/>
                  </a:lnTo>
                  <a:lnTo>
                    <a:pt x="248" y="284"/>
                  </a:lnTo>
                  <a:lnTo>
                    <a:pt x="236" y="300"/>
                  </a:lnTo>
                  <a:lnTo>
                    <a:pt x="236" y="300"/>
                  </a:lnTo>
                  <a:lnTo>
                    <a:pt x="236" y="30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3" name="Freeform 574">
              <a:extLst>
                <a:ext uri="{FF2B5EF4-FFF2-40B4-BE49-F238E27FC236}">
                  <a16:creationId xmlns:a16="http://schemas.microsoft.com/office/drawing/2014/main" id="{FEA3145A-F936-4FCC-95E4-18AD742CBE39}"/>
                </a:ext>
              </a:extLst>
            </p:cNvPr>
            <p:cNvSpPr>
              <a:spLocks noEditPoints="1"/>
            </p:cNvSpPr>
            <p:nvPr/>
          </p:nvSpPr>
          <p:spPr bwMode="gray">
            <a:xfrm>
              <a:off x="14333627" y="3059856"/>
              <a:ext cx="438250" cy="174122"/>
            </a:xfrm>
            <a:custGeom>
              <a:avLst/>
              <a:gdLst>
                <a:gd name="T0" fmla="*/ 71 w 1339"/>
                <a:gd name="T1" fmla="*/ 62 h 532"/>
                <a:gd name="T2" fmla="*/ 59 w 1339"/>
                <a:gd name="T3" fmla="*/ 22 h 532"/>
                <a:gd name="T4" fmla="*/ 113 w 1339"/>
                <a:gd name="T5" fmla="*/ 0 h 532"/>
                <a:gd name="T6" fmla="*/ 168 w 1339"/>
                <a:gd name="T7" fmla="*/ 38 h 532"/>
                <a:gd name="T8" fmla="*/ 222 w 1339"/>
                <a:gd name="T9" fmla="*/ 95 h 532"/>
                <a:gd name="T10" fmla="*/ 177 w 1339"/>
                <a:gd name="T11" fmla="*/ 88 h 532"/>
                <a:gd name="T12" fmla="*/ 75 w 1339"/>
                <a:gd name="T13" fmla="*/ 144 h 532"/>
                <a:gd name="T14" fmla="*/ 80 w 1339"/>
                <a:gd name="T15" fmla="*/ 128 h 532"/>
                <a:gd name="T16" fmla="*/ 26 w 1339"/>
                <a:gd name="T17" fmla="*/ 116 h 532"/>
                <a:gd name="T18" fmla="*/ 1264 w 1339"/>
                <a:gd name="T19" fmla="*/ 409 h 532"/>
                <a:gd name="T20" fmla="*/ 1188 w 1339"/>
                <a:gd name="T21" fmla="*/ 421 h 532"/>
                <a:gd name="T22" fmla="*/ 1150 w 1339"/>
                <a:gd name="T23" fmla="*/ 409 h 532"/>
                <a:gd name="T24" fmla="*/ 957 w 1339"/>
                <a:gd name="T25" fmla="*/ 461 h 532"/>
                <a:gd name="T26" fmla="*/ 827 w 1339"/>
                <a:gd name="T27" fmla="*/ 461 h 532"/>
                <a:gd name="T28" fmla="*/ 777 w 1339"/>
                <a:gd name="T29" fmla="*/ 487 h 532"/>
                <a:gd name="T30" fmla="*/ 739 w 1339"/>
                <a:gd name="T31" fmla="*/ 532 h 532"/>
                <a:gd name="T32" fmla="*/ 739 w 1339"/>
                <a:gd name="T33" fmla="*/ 461 h 532"/>
                <a:gd name="T34" fmla="*/ 701 w 1339"/>
                <a:gd name="T35" fmla="*/ 461 h 532"/>
                <a:gd name="T36" fmla="*/ 583 w 1339"/>
                <a:gd name="T37" fmla="*/ 487 h 532"/>
                <a:gd name="T38" fmla="*/ 470 w 1339"/>
                <a:gd name="T39" fmla="*/ 499 h 532"/>
                <a:gd name="T40" fmla="*/ 340 w 1339"/>
                <a:gd name="T41" fmla="*/ 482 h 532"/>
                <a:gd name="T42" fmla="*/ 243 w 1339"/>
                <a:gd name="T43" fmla="*/ 482 h 532"/>
                <a:gd name="T44" fmla="*/ 231 w 1339"/>
                <a:gd name="T45" fmla="*/ 449 h 532"/>
                <a:gd name="T46" fmla="*/ 189 w 1339"/>
                <a:gd name="T47" fmla="*/ 444 h 532"/>
                <a:gd name="T48" fmla="*/ 168 w 1339"/>
                <a:gd name="T49" fmla="*/ 461 h 532"/>
                <a:gd name="T50" fmla="*/ 125 w 1339"/>
                <a:gd name="T51" fmla="*/ 461 h 532"/>
                <a:gd name="T52" fmla="*/ 113 w 1339"/>
                <a:gd name="T53" fmla="*/ 433 h 532"/>
                <a:gd name="T54" fmla="*/ 134 w 1339"/>
                <a:gd name="T55" fmla="*/ 409 h 532"/>
                <a:gd name="T56" fmla="*/ 113 w 1339"/>
                <a:gd name="T57" fmla="*/ 350 h 532"/>
                <a:gd name="T58" fmla="*/ 42 w 1339"/>
                <a:gd name="T59" fmla="*/ 322 h 532"/>
                <a:gd name="T60" fmla="*/ 54 w 1339"/>
                <a:gd name="T61" fmla="*/ 310 h 532"/>
                <a:gd name="T62" fmla="*/ 108 w 1339"/>
                <a:gd name="T63" fmla="*/ 310 h 532"/>
                <a:gd name="T64" fmla="*/ 97 w 1339"/>
                <a:gd name="T65" fmla="*/ 265 h 532"/>
                <a:gd name="T66" fmla="*/ 92 w 1339"/>
                <a:gd name="T67" fmla="*/ 222 h 532"/>
                <a:gd name="T68" fmla="*/ 75 w 1339"/>
                <a:gd name="T69" fmla="*/ 144 h 532"/>
                <a:gd name="T70" fmla="*/ 146 w 1339"/>
                <a:gd name="T71" fmla="*/ 133 h 532"/>
                <a:gd name="T72" fmla="*/ 163 w 1339"/>
                <a:gd name="T73" fmla="*/ 149 h 532"/>
                <a:gd name="T74" fmla="*/ 269 w 1339"/>
                <a:gd name="T75" fmla="*/ 116 h 532"/>
                <a:gd name="T76" fmla="*/ 238 w 1339"/>
                <a:gd name="T77" fmla="*/ 88 h 532"/>
                <a:gd name="T78" fmla="*/ 361 w 1339"/>
                <a:gd name="T79" fmla="*/ 88 h 532"/>
                <a:gd name="T80" fmla="*/ 541 w 1339"/>
                <a:gd name="T81" fmla="*/ 5 h 532"/>
                <a:gd name="T82" fmla="*/ 692 w 1339"/>
                <a:gd name="T83" fmla="*/ 38 h 532"/>
                <a:gd name="T84" fmla="*/ 756 w 1339"/>
                <a:gd name="T85" fmla="*/ 71 h 532"/>
                <a:gd name="T86" fmla="*/ 831 w 1339"/>
                <a:gd name="T87" fmla="*/ 88 h 532"/>
                <a:gd name="T88" fmla="*/ 961 w 1339"/>
                <a:gd name="T89" fmla="*/ 88 h 532"/>
                <a:gd name="T90" fmla="*/ 1134 w 1339"/>
                <a:gd name="T91" fmla="*/ 55 h 532"/>
                <a:gd name="T92" fmla="*/ 1205 w 1339"/>
                <a:gd name="T93" fmla="*/ 38 h 532"/>
                <a:gd name="T94" fmla="*/ 1268 w 1339"/>
                <a:gd name="T95" fmla="*/ 111 h 532"/>
                <a:gd name="T96" fmla="*/ 1280 w 1339"/>
                <a:gd name="T97" fmla="*/ 173 h 532"/>
                <a:gd name="T98" fmla="*/ 1334 w 1339"/>
                <a:gd name="T99" fmla="*/ 199 h 532"/>
                <a:gd name="T100" fmla="*/ 1301 w 1339"/>
                <a:gd name="T101" fmla="*/ 255 h 532"/>
                <a:gd name="T102" fmla="*/ 1318 w 1339"/>
                <a:gd name="T103" fmla="*/ 317 h 532"/>
                <a:gd name="T104" fmla="*/ 1339 w 1339"/>
                <a:gd name="T105" fmla="*/ 404 h 532"/>
                <a:gd name="T106" fmla="*/ 1301 w 1339"/>
                <a:gd name="T107" fmla="*/ 421 h 532"/>
                <a:gd name="T108" fmla="*/ 1297 w 1339"/>
                <a:gd name="T109" fmla="*/ 404 h 532"/>
                <a:gd name="T110" fmla="*/ 134 w 1339"/>
                <a:gd name="T111" fmla="*/ 128 h 532"/>
                <a:gd name="T112" fmla="*/ 0 w 1339"/>
                <a:gd name="T113" fmla="*/ 166 h 532"/>
                <a:gd name="T114" fmla="*/ 5 w 1339"/>
                <a:gd name="T115" fmla="*/ 166 h 532"/>
                <a:gd name="T116" fmla="*/ 21 w 1339"/>
                <a:gd name="T117" fmla="*/ 189 h 532"/>
                <a:gd name="T118" fmla="*/ 26 w 1339"/>
                <a:gd name="T119" fmla="*/ 199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39" h="532">
                  <a:moveTo>
                    <a:pt x="26" y="116"/>
                  </a:moveTo>
                  <a:lnTo>
                    <a:pt x="54" y="95"/>
                  </a:lnTo>
                  <a:lnTo>
                    <a:pt x="42" y="71"/>
                  </a:lnTo>
                  <a:lnTo>
                    <a:pt x="71" y="62"/>
                  </a:lnTo>
                  <a:lnTo>
                    <a:pt x="71" y="38"/>
                  </a:lnTo>
                  <a:lnTo>
                    <a:pt x="54" y="33"/>
                  </a:lnTo>
                  <a:lnTo>
                    <a:pt x="54" y="22"/>
                  </a:lnTo>
                  <a:lnTo>
                    <a:pt x="59" y="22"/>
                  </a:lnTo>
                  <a:lnTo>
                    <a:pt x="71" y="5"/>
                  </a:lnTo>
                  <a:lnTo>
                    <a:pt x="92" y="5"/>
                  </a:lnTo>
                  <a:lnTo>
                    <a:pt x="97" y="0"/>
                  </a:lnTo>
                  <a:lnTo>
                    <a:pt x="113" y="0"/>
                  </a:lnTo>
                  <a:lnTo>
                    <a:pt x="134" y="17"/>
                  </a:lnTo>
                  <a:lnTo>
                    <a:pt x="168" y="5"/>
                  </a:lnTo>
                  <a:lnTo>
                    <a:pt x="163" y="22"/>
                  </a:lnTo>
                  <a:lnTo>
                    <a:pt x="168" y="38"/>
                  </a:lnTo>
                  <a:lnTo>
                    <a:pt x="201" y="55"/>
                  </a:lnTo>
                  <a:lnTo>
                    <a:pt x="238" y="71"/>
                  </a:lnTo>
                  <a:lnTo>
                    <a:pt x="238" y="88"/>
                  </a:lnTo>
                  <a:lnTo>
                    <a:pt x="222" y="95"/>
                  </a:lnTo>
                  <a:lnTo>
                    <a:pt x="205" y="95"/>
                  </a:lnTo>
                  <a:lnTo>
                    <a:pt x="201" y="88"/>
                  </a:lnTo>
                  <a:lnTo>
                    <a:pt x="201" y="95"/>
                  </a:lnTo>
                  <a:lnTo>
                    <a:pt x="177" y="88"/>
                  </a:lnTo>
                  <a:lnTo>
                    <a:pt x="163" y="95"/>
                  </a:lnTo>
                  <a:lnTo>
                    <a:pt x="130" y="95"/>
                  </a:lnTo>
                  <a:lnTo>
                    <a:pt x="113" y="116"/>
                  </a:lnTo>
                  <a:lnTo>
                    <a:pt x="75" y="144"/>
                  </a:lnTo>
                  <a:lnTo>
                    <a:pt x="38" y="173"/>
                  </a:lnTo>
                  <a:lnTo>
                    <a:pt x="42" y="156"/>
                  </a:lnTo>
                  <a:lnTo>
                    <a:pt x="38" y="149"/>
                  </a:lnTo>
                  <a:lnTo>
                    <a:pt x="80" y="128"/>
                  </a:lnTo>
                  <a:lnTo>
                    <a:pt x="75" y="116"/>
                  </a:lnTo>
                  <a:lnTo>
                    <a:pt x="26" y="128"/>
                  </a:lnTo>
                  <a:lnTo>
                    <a:pt x="26" y="116"/>
                  </a:lnTo>
                  <a:lnTo>
                    <a:pt x="26" y="116"/>
                  </a:lnTo>
                  <a:lnTo>
                    <a:pt x="26" y="116"/>
                  </a:lnTo>
                  <a:close/>
                  <a:moveTo>
                    <a:pt x="1297" y="404"/>
                  </a:moveTo>
                  <a:lnTo>
                    <a:pt x="1280" y="409"/>
                  </a:lnTo>
                  <a:lnTo>
                    <a:pt x="1264" y="409"/>
                  </a:lnTo>
                  <a:lnTo>
                    <a:pt x="1226" y="392"/>
                  </a:lnTo>
                  <a:lnTo>
                    <a:pt x="1214" y="404"/>
                  </a:lnTo>
                  <a:lnTo>
                    <a:pt x="1205" y="392"/>
                  </a:lnTo>
                  <a:lnTo>
                    <a:pt x="1188" y="421"/>
                  </a:lnTo>
                  <a:lnTo>
                    <a:pt x="1171" y="421"/>
                  </a:lnTo>
                  <a:lnTo>
                    <a:pt x="1171" y="409"/>
                  </a:lnTo>
                  <a:lnTo>
                    <a:pt x="1155" y="404"/>
                  </a:lnTo>
                  <a:lnTo>
                    <a:pt x="1150" y="409"/>
                  </a:lnTo>
                  <a:lnTo>
                    <a:pt x="1117" y="421"/>
                  </a:lnTo>
                  <a:lnTo>
                    <a:pt x="1063" y="421"/>
                  </a:lnTo>
                  <a:lnTo>
                    <a:pt x="994" y="449"/>
                  </a:lnTo>
                  <a:lnTo>
                    <a:pt x="957" y="461"/>
                  </a:lnTo>
                  <a:lnTo>
                    <a:pt x="919" y="449"/>
                  </a:lnTo>
                  <a:lnTo>
                    <a:pt x="902" y="444"/>
                  </a:lnTo>
                  <a:lnTo>
                    <a:pt x="886" y="433"/>
                  </a:lnTo>
                  <a:lnTo>
                    <a:pt x="827" y="461"/>
                  </a:lnTo>
                  <a:lnTo>
                    <a:pt x="810" y="461"/>
                  </a:lnTo>
                  <a:lnTo>
                    <a:pt x="772" y="444"/>
                  </a:lnTo>
                  <a:lnTo>
                    <a:pt x="760" y="477"/>
                  </a:lnTo>
                  <a:lnTo>
                    <a:pt x="777" y="487"/>
                  </a:lnTo>
                  <a:lnTo>
                    <a:pt x="756" y="487"/>
                  </a:lnTo>
                  <a:lnTo>
                    <a:pt x="756" y="515"/>
                  </a:lnTo>
                  <a:lnTo>
                    <a:pt x="739" y="515"/>
                  </a:lnTo>
                  <a:lnTo>
                    <a:pt x="739" y="532"/>
                  </a:lnTo>
                  <a:lnTo>
                    <a:pt x="723" y="515"/>
                  </a:lnTo>
                  <a:lnTo>
                    <a:pt x="723" y="515"/>
                  </a:lnTo>
                  <a:lnTo>
                    <a:pt x="706" y="482"/>
                  </a:lnTo>
                  <a:lnTo>
                    <a:pt x="739" y="461"/>
                  </a:lnTo>
                  <a:lnTo>
                    <a:pt x="739" y="444"/>
                  </a:lnTo>
                  <a:lnTo>
                    <a:pt x="723" y="433"/>
                  </a:lnTo>
                  <a:lnTo>
                    <a:pt x="692" y="449"/>
                  </a:lnTo>
                  <a:lnTo>
                    <a:pt x="701" y="461"/>
                  </a:lnTo>
                  <a:lnTo>
                    <a:pt x="675" y="466"/>
                  </a:lnTo>
                  <a:lnTo>
                    <a:pt x="631" y="444"/>
                  </a:lnTo>
                  <a:lnTo>
                    <a:pt x="609" y="466"/>
                  </a:lnTo>
                  <a:lnTo>
                    <a:pt x="583" y="487"/>
                  </a:lnTo>
                  <a:lnTo>
                    <a:pt x="579" y="482"/>
                  </a:lnTo>
                  <a:lnTo>
                    <a:pt x="562" y="499"/>
                  </a:lnTo>
                  <a:lnTo>
                    <a:pt x="503" y="503"/>
                  </a:lnTo>
                  <a:lnTo>
                    <a:pt x="470" y="499"/>
                  </a:lnTo>
                  <a:lnTo>
                    <a:pt x="449" y="466"/>
                  </a:lnTo>
                  <a:lnTo>
                    <a:pt x="378" y="444"/>
                  </a:lnTo>
                  <a:lnTo>
                    <a:pt x="345" y="444"/>
                  </a:lnTo>
                  <a:lnTo>
                    <a:pt x="340" y="482"/>
                  </a:lnTo>
                  <a:lnTo>
                    <a:pt x="328" y="499"/>
                  </a:lnTo>
                  <a:lnTo>
                    <a:pt x="323" y="482"/>
                  </a:lnTo>
                  <a:lnTo>
                    <a:pt x="286" y="499"/>
                  </a:lnTo>
                  <a:lnTo>
                    <a:pt x="243" y="482"/>
                  </a:lnTo>
                  <a:lnTo>
                    <a:pt x="243" y="466"/>
                  </a:lnTo>
                  <a:lnTo>
                    <a:pt x="238" y="466"/>
                  </a:lnTo>
                  <a:lnTo>
                    <a:pt x="238" y="461"/>
                  </a:lnTo>
                  <a:lnTo>
                    <a:pt x="231" y="449"/>
                  </a:lnTo>
                  <a:lnTo>
                    <a:pt x="222" y="461"/>
                  </a:lnTo>
                  <a:lnTo>
                    <a:pt x="215" y="449"/>
                  </a:lnTo>
                  <a:lnTo>
                    <a:pt x="201" y="433"/>
                  </a:lnTo>
                  <a:lnTo>
                    <a:pt x="189" y="444"/>
                  </a:lnTo>
                  <a:lnTo>
                    <a:pt x="184" y="444"/>
                  </a:lnTo>
                  <a:lnTo>
                    <a:pt x="184" y="449"/>
                  </a:lnTo>
                  <a:lnTo>
                    <a:pt x="163" y="466"/>
                  </a:lnTo>
                  <a:lnTo>
                    <a:pt x="168" y="461"/>
                  </a:lnTo>
                  <a:lnTo>
                    <a:pt x="163" y="449"/>
                  </a:lnTo>
                  <a:lnTo>
                    <a:pt x="177" y="449"/>
                  </a:lnTo>
                  <a:lnTo>
                    <a:pt x="177" y="444"/>
                  </a:lnTo>
                  <a:lnTo>
                    <a:pt x="125" y="461"/>
                  </a:lnTo>
                  <a:lnTo>
                    <a:pt x="168" y="444"/>
                  </a:lnTo>
                  <a:lnTo>
                    <a:pt x="168" y="433"/>
                  </a:lnTo>
                  <a:lnTo>
                    <a:pt x="189" y="425"/>
                  </a:lnTo>
                  <a:lnTo>
                    <a:pt x="113" y="433"/>
                  </a:lnTo>
                  <a:lnTo>
                    <a:pt x="113" y="425"/>
                  </a:lnTo>
                  <a:lnTo>
                    <a:pt x="113" y="421"/>
                  </a:lnTo>
                  <a:lnTo>
                    <a:pt x="130" y="421"/>
                  </a:lnTo>
                  <a:lnTo>
                    <a:pt x="134" y="409"/>
                  </a:lnTo>
                  <a:lnTo>
                    <a:pt x="125" y="404"/>
                  </a:lnTo>
                  <a:lnTo>
                    <a:pt x="125" y="392"/>
                  </a:lnTo>
                  <a:lnTo>
                    <a:pt x="108" y="404"/>
                  </a:lnTo>
                  <a:lnTo>
                    <a:pt x="113" y="350"/>
                  </a:lnTo>
                  <a:lnTo>
                    <a:pt x="92" y="338"/>
                  </a:lnTo>
                  <a:lnTo>
                    <a:pt x="75" y="322"/>
                  </a:lnTo>
                  <a:lnTo>
                    <a:pt x="71" y="338"/>
                  </a:lnTo>
                  <a:lnTo>
                    <a:pt x="42" y="322"/>
                  </a:lnTo>
                  <a:lnTo>
                    <a:pt x="42" y="317"/>
                  </a:lnTo>
                  <a:lnTo>
                    <a:pt x="54" y="317"/>
                  </a:lnTo>
                  <a:lnTo>
                    <a:pt x="59" y="310"/>
                  </a:lnTo>
                  <a:lnTo>
                    <a:pt x="54" y="310"/>
                  </a:lnTo>
                  <a:lnTo>
                    <a:pt x="54" y="293"/>
                  </a:lnTo>
                  <a:lnTo>
                    <a:pt x="59" y="293"/>
                  </a:lnTo>
                  <a:lnTo>
                    <a:pt x="75" y="317"/>
                  </a:lnTo>
                  <a:lnTo>
                    <a:pt x="108" y="310"/>
                  </a:lnTo>
                  <a:lnTo>
                    <a:pt x="92" y="310"/>
                  </a:lnTo>
                  <a:lnTo>
                    <a:pt x="75" y="293"/>
                  </a:lnTo>
                  <a:lnTo>
                    <a:pt x="75" y="281"/>
                  </a:lnTo>
                  <a:lnTo>
                    <a:pt x="97" y="265"/>
                  </a:lnTo>
                  <a:lnTo>
                    <a:pt x="80" y="265"/>
                  </a:lnTo>
                  <a:lnTo>
                    <a:pt x="80" y="255"/>
                  </a:lnTo>
                  <a:lnTo>
                    <a:pt x="71" y="239"/>
                  </a:lnTo>
                  <a:lnTo>
                    <a:pt x="92" y="222"/>
                  </a:lnTo>
                  <a:lnTo>
                    <a:pt x="92" y="211"/>
                  </a:lnTo>
                  <a:lnTo>
                    <a:pt x="26" y="222"/>
                  </a:lnTo>
                  <a:lnTo>
                    <a:pt x="38" y="182"/>
                  </a:lnTo>
                  <a:lnTo>
                    <a:pt x="75" y="144"/>
                  </a:lnTo>
                  <a:lnTo>
                    <a:pt x="108" y="144"/>
                  </a:lnTo>
                  <a:lnTo>
                    <a:pt x="130" y="149"/>
                  </a:lnTo>
                  <a:lnTo>
                    <a:pt x="151" y="149"/>
                  </a:lnTo>
                  <a:lnTo>
                    <a:pt x="146" y="133"/>
                  </a:lnTo>
                  <a:lnTo>
                    <a:pt x="146" y="133"/>
                  </a:lnTo>
                  <a:lnTo>
                    <a:pt x="168" y="133"/>
                  </a:lnTo>
                  <a:lnTo>
                    <a:pt x="163" y="144"/>
                  </a:lnTo>
                  <a:lnTo>
                    <a:pt x="163" y="149"/>
                  </a:lnTo>
                  <a:lnTo>
                    <a:pt x="238" y="149"/>
                  </a:lnTo>
                  <a:lnTo>
                    <a:pt x="243" y="144"/>
                  </a:lnTo>
                  <a:lnTo>
                    <a:pt x="222" y="133"/>
                  </a:lnTo>
                  <a:lnTo>
                    <a:pt x="269" y="116"/>
                  </a:lnTo>
                  <a:lnTo>
                    <a:pt x="297" y="116"/>
                  </a:lnTo>
                  <a:lnTo>
                    <a:pt x="260" y="111"/>
                  </a:lnTo>
                  <a:lnTo>
                    <a:pt x="243" y="100"/>
                  </a:lnTo>
                  <a:lnTo>
                    <a:pt x="238" y="88"/>
                  </a:lnTo>
                  <a:lnTo>
                    <a:pt x="243" y="71"/>
                  </a:lnTo>
                  <a:lnTo>
                    <a:pt x="307" y="78"/>
                  </a:lnTo>
                  <a:lnTo>
                    <a:pt x="323" y="71"/>
                  </a:lnTo>
                  <a:lnTo>
                    <a:pt x="361" y="88"/>
                  </a:lnTo>
                  <a:lnTo>
                    <a:pt x="394" y="88"/>
                  </a:lnTo>
                  <a:lnTo>
                    <a:pt x="416" y="62"/>
                  </a:lnTo>
                  <a:lnTo>
                    <a:pt x="458" y="33"/>
                  </a:lnTo>
                  <a:lnTo>
                    <a:pt x="541" y="5"/>
                  </a:lnTo>
                  <a:lnTo>
                    <a:pt x="638" y="5"/>
                  </a:lnTo>
                  <a:lnTo>
                    <a:pt x="654" y="0"/>
                  </a:lnTo>
                  <a:lnTo>
                    <a:pt x="675" y="33"/>
                  </a:lnTo>
                  <a:lnTo>
                    <a:pt x="692" y="38"/>
                  </a:lnTo>
                  <a:lnTo>
                    <a:pt x="723" y="33"/>
                  </a:lnTo>
                  <a:lnTo>
                    <a:pt x="730" y="33"/>
                  </a:lnTo>
                  <a:lnTo>
                    <a:pt x="730" y="55"/>
                  </a:lnTo>
                  <a:lnTo>
                    <a:pt x="756" y="71"/>
                  </a:lnTo>
                  <a:lnTo>
                    <a:pt x="782" y="62"/>
                  </a:lnTo>
                  <a:lnTo>
                    <a:pt x="798" y="71"/>
                  </a:lnTo>
                  <a:lnTo>
                    <a:pt x="798" y="78"/>
                  </a:lnTo>
                  <a:lnTo>
                    <a:pt x="831" y="88"/>
                  </a:lnTo>
                  <a:lnTo>
                    <a:pt x="848" y="78"/>
                  </a:lnTo>
                  <a:lnTo>
                    <a:pt x="853" y="95"/>
                  </a:lnTo>
                  <a:lnTo>
                    <a:pt x="890" y="100"/>
                  </a:lnTo>
                  <a:lnTo>
                    <a:pt x="961" y="88"/>
                  </a:lnTo>
                  <a:lnTo>
                    <a:pt x="1016" y="100"/>
                  </a:lnTo>
                  <a:lnTo>
                    <a:pt x="1101" y="62"/>
                  </a:lnTo>
                  <a:lnTo>
                    <a:pt x="1117" y="45"/>
                  </a:lnTo>
                  <a:lnTo>
                    <a:pt x="1134" y="55"/>
                  </a:lnTo>
                  <a:lnTo>
                    <a:pt x="1150" y="45"/>
                  </a:lnTo>
                  <a:lnTo>
                    <a:pt x="1176" y="55"/>
                  </a:lnTo>
                  <a:lnTo>
                    <a:pt x="1188" y="38"/>
                  </a:lnTo>
                  <a:lnTo>
                    <a:pt x="1205" y="38"/>
                  </a:lnTo>
                  <a:lnTo>
                    <a:pt x="1231" y="78"/>
                  </a:lnTo>
                  <a:lnTo>
                    <a:pt x="1242" y="78"/>
                  </a:lnTo>
                  <a:lnTo>
                    <a:pt x="1247" y="78"/>
                  </a:lnTo>
                  <a:lnTo>
                    <a:pt x="1268" y="111"/>
                  </a:lnTo>
                  <a:lnTo>
                    <a:pt x="1259" y="144"/>
                  </a:lnTo>
                  <a:lnTo>
                    <a:pt x="1264" y="166"/>
                  </a:lnTo>
                  <a:lnTo>
                    <a:pt x="1264" y="166"/>
                  </a:lnTo>
                  <a:lnTo>
                    <a:pt x="1280" y="173"/>
                  </a:lnTo>
                  <a:lnTo>
                    <a:pt x="1311" y="173"/>
                  </a:lnTo>
                  <a:lnTo>
                    <a:pt x="1339" y="206"/>
                  </a:lnTo>
                  <a:lnTo>
                    <a:pt x="1339" y="206"/>
                  </a:lnTo>
                  <a:lnTo>
                    <a:pt x="1334" y="199"/>
                  </a:lnTo>
                  <a:lnTo>
                    <a:pt x="1318" y="206"/>
                  </a:lnTo>
                  <a:lnTo>
                    <a:pt x="1318" y="227"/>
                  </a:lnTo>
                  <a:lnTo>
                    <a:pt x="1285" y="227"/>
                  </a:lnTo>
                  <a:lnTo>
                    <a:pt x="1301" y="255"/>
                  </a:lnTo>
                  <a:lnTo>
                    <a:pt x="1301" y="265"/>
                  </a:lnTo>
                  <a:lnTo>
                    <a:pt x="1311" y="277"/>
                  </a:lnTo>
                  <a:lnTo>
                    <a:pt x="1311" y="317"/>
                  </a:lnTo>
                  <a:lnTo>
                    <a:pt x="1318" y="317"/>
                  </a:lnTo>
                  <a:lnTo>
                    <a:pt x="1301" y="355"/>
                  </a:lnTo>
                  <a:lnTo>
                    <a:pt x="1334" y="371"/>
                  </a:lnTo>
                  <a:lnTo>
                    <a:pt x="1323" y="392"/>
                  </a:lnTo>
                  <a:lnTo>
                    <a:pt x="1339" y="404"/>
                  </a:lnTo>
                  <a:lnTo>
                    <a:pt x="1339" y="421"/>
                  </a:lnTo>
                  <a:lnTo>
                    <a:pt x="1334" y="409"/>
                  </a:lnTo>
                  <a:lnTo>
                    <a:pt x="1311" y="433"/>
                  </a:lnTo>
                  <a:lnTo>
                    <a:pt x="1301" y="421"/>
                  </a:lnTo>
                  <a:lnTo>
                    <a:pt x="1301" y="409"/>
                  </a:lnTo>
                  <a:lnTo>
                    <a:pt x="1297" y="404"/>
                  </a:lnTo>
                  <a:lnTo>
                    <a:pt x="1297" y="404"/>
                  </a:lnTo>
                  <a:lnTo>
                    <a:pt x="1297" y="404"/>
                  </a:lnTo>
                  <a:close/>
                  <a:moveTo>
                    <a:pt x="134" y="128"/>
                  </a:moveTo>
                  <a:lnTo>
                    <a:pt x="130" y="128"/>
                  </a:lnTo>
                  <a:lnTo>
                    <a:pt x="146" y="128"/>
                  </a:lnTo>
                  <a:lnTo>
                    <a:pt x="134" y="128"/>
                  </a:lnTo>
                  <a:lnTo>
                    <a:pt x="134" y="128"/>
                  </a:lnTo>
                  <a:lnTo>
                    <a:pt x="134" y="128"/>
                  </a:lnTo>
                  <a:close/>
                  <a:moveTo>
                    <a:pt x="5" y="166"/>
                  </a:moveTo>
                  <a:lnTo>
                    <a:pt x="0" y="166"/>
                  </a:lnTo>
                  <a:lnTo>
                    <a:pt x="5" y="156"/>
                  </a:lnTo>
                  <a:lnTo>
                    <a:pt x="21" y="156"/>
                  </a:lnTo>
                  <a:lnTo>
                    <a:pt x="21" y="166"/>
                  </a:lnTo>
                  <a:lnTo>
                    <a:pt x="5" y="166"/>
                  </a:lnTo>
                  <a:lnTo>
                    <a:pt x="5" y="166"/>
                  </a:lnTo>
                  <a:lnTo>
                    <a:pt x="5" y="166"/>
                  </a:lnTo>
                  <a:close/>
                  <a:moveTo>
                    <a:pt x="26" y="199"/>
                  </a:moveTo>
                  <a:lnTo>
                    <a:pt x="21" y="189"/>
                  </a:lnTo>
                  <a:lnTo>
                    <a:pt x="26" y="189"/>
                  </a:lnTo>
                  <a:lnTo>
                    <a:pt x="26" y="199"/>
                  </a:lnTo>
                  <a:lnTo>
                    <a:pt x="26" y="199"/>
                  </a:lnTo>
                  <a:lnTo>
                    <a:pt x="26" y="19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4" name="Freeform 575">
              <a:extLst>
                <a:ext uri="{FF2B5EF4-FFF2-40B4-BE49-F238E27FC236}">
                  <a16:creationId xmlns:a16="http://schemas.microsoft.com/office/drawing/2014/main" id="{B969BA6A-5094-4F28-8AE1-0B6F1AE1BF76}"/>
                </a:ext>
              </a:extLst>
            </p:cNvPr>
            <p:cNvSpPr>
              <a:spLocks noEditPoints="1"/>
            </p:cNvSpPr>
            <p:nvPr/>
          </p:nvSpPr>
          <p:spPr bwMode="gray">
            <a:xfrm>
              <a:off x="16458764" y="3506943"/>
              <a:ext cx="85097" cy="81170"/>
            </a:xfrm>
            <a:custGeom>
              <a:avLst/>
              <a:gdLst>
                <a:gd name="T0" fmla="*/ 130 w 260"/>
                <a:gd name="T1" fmla="*/ 132 h 248"/>
                <a:gd name="T2" fmla="*/ 142 w 260"/>
                <a:gd name="T3" fmla="*/ 108 h 248"/>
                <a:gd name="T4" fmla="*/ 196 w 260"/>
                <a:gd name="T5" fmla="*/ 21 h 248"/>
                <a:gd name="T6" fmla="*/ 222 w 260"/>
                <a:gd name="T7" fmla="*/ 4 h 248"/>
                <a:gd name="T8" fmla="*/ 222 w 260"/>
                <a:gd name="T9" fmla="*/ 4 h 248"/>
                <a:gd name="T10" fmla="*/ 234 w 260"/>
                <a:gd name="T11" fmla="*/ 0 h 248"/>
                <a:gd name="T12" fmla="*/ 260 w 260"/>
                <a:gd name="T13" fmla="*/ 9 h 248"/>
                <a:gd name="T14" fmla="*/ 251 w 260"/>
                <a:gd name="T15" fmla="*/ 26 h 248"/>
                <a:gd name="T16" fmla="*/ 256 w 260"/>
                <a:gd name="T17" fmla="*/ 59 h 248"/>
                <a:gd name="T18" fmla="*/ 239 w 260"/>
                <a:gd name="T19" fmla="*/ 82 h 248"/>
                <a:gd name="T20" fmla="*/ 222 w 260"/>
                <a:gd name="T21" fmla="*/ 148 h 248"/>
                <a:gd name="T22" fmla="*/ 206 w 260"/>
                <a:gd name="T23" fmla="*/ 174 h 248"/>
                <a:gd name="T24" fmla="*/ 196 w 260"/>
                <a:gd name="T25" fmla="*/ 203 h 248"/>
                <a:gd name="T26" fmla="*/ 180 w 260"/>
                <a:gd name="T27" fmla="*/ 248 h 248"/>
                <a:gd name="T28" fmla="*/ 168 w 260"/>
                <a:gd name="T29" fmla="*/ 248 h 248"/>
                <a:gd name="T30" fmla="*/ 168 w 260"/>
                <a:gd name="T31" fmla="*/ 226 h 248"/>
                <a:gd name="T32" fmla="*/ 147 w 260"/>
                <a:gd name="T33" fmla="*/ 203 h 248"/>
                <a:gd name="T34" fmla="*/ 130 w 260"/>
                <a:gd name="T35" fmla="*/ 170 h 248"/>
                <a:gd name="T36" fmla="*/ 126 w 260"/>
                <a:gd name="T37" fmla="*/ 165 h 248"/>
                <a:gd name="T38" fmla="*/ 130 w 260"/>
                <a:gd name="T39" fmla="*/ 132 h 248"/>
                <a:gd name="T40" fmla="*/ 130 w 260"/>
                <a:gd name="T41" fmla="*/ 132 h 248"/>
                <a:gd name="T42" fmla="*/ 130 w 260"/>
                <a:gd name="T43" fmla="*/ 132 h 248"/>
                <a:gd name="T44" fmla="*/ 0 w 260"/>
                <a:gd name="T45" fmla="*/ 59 h 248"/>
                <a:gd name="T46" fmla="*/ 5 w 260"/>
                <a:gd name="T47" fmla="*/ 54 h 248"/>
                <a:gd name="T48" fmla="*/ 17 w 260"/>
                <a:gd name="T49" fmla="*/ 59 h 248"/>
                <a:gd name="T50" fmla="*/ 17 w 260"/>
                <a:gd name="T51" fmla="*/ 59 h 248"/>
                <a:gd name="T52" fmla="*/ 0 w 260"/>
                <a:gd name="T53" fmla="*/ 59 h 248"/>
                <a:gd name="T54" fmla="*/ 0 w 260"/>
                <a:gd name="T55" fmla="*/ 59 h 248"/>
                <a:gd name="T56" fmla="*/ 0 w 260"/>
                <a:gd name="T57" fmla="*/ 59 h 248"/>
                <a:gd name="T58" fmla="*/ 93 w 260"/>
                <a:gd name="T59" fmla="*/ 132 h 248"/>
                <a:gd name="T60" fmla="*/ 93 w 260"/>
                <a:gd name="T61" fmla="*/ 120 h 248"/>
                <a:gd name="T62" fmla="*/ 97 w 260"/>
                <a:gd name="T63" fmla="*/ 132 h 248"/>
                <a:gd name="T64" fmla="*/ 93 w 260"/>
                <a:gd name="T65" fmla="*/ 132 h 248"/>
                <a:gd name="T66" fmla="*/ 93 w 260"/>
                <a:gd name="T67" fmla="*/ 132 h 248"/>
                <a:gd name="T68" fmla="*/ 93 w 260"/>
                <a:gd name="T69" fmla="*/ 13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0" h="248">
                  <a:moveTo>
                    <a:pt x="130" y="132"/>
                  </a:moveTo>
                  <a:lnTo>
                    <a:pt x="142" y="108"/>
                  </a:lnTo>
                  <a:lnTo>
                    <a:pt x="196" y="21"/>
                  </a:lnTo>
                  <a:lnTo>
                    <a:pt x="222" y="4"/>
                  </a:lnTo>
                  <a:lnTo>
                    <a:pt x="222" y="4"/>
                  </a:lnTo>
                  <a:lnTo>
                    <a:pt x="234" y="0"/>
                  </a:lnTo>
                  <a:lnTo>
                    <a:pt x="260" y="9"/>
                  </a:lnTo>
                  <a:lnTo>
                    <a:pt x="251" y="26"/>
                  </a:lnTo>
                  <a:lnTo>
                    <a:pt x="256" y="59"/>
                  </a:lnTo>
                  <a:lnTo>
                    <a:pt x="239" y="82"/>
                  </a:lnTo>
                  <a:lnTo>
                    <a:pt x="222" y="148"/>
                  </a:lnTo>
                  <a:lnTo>
                    <a:pt x="206" y="174"/>
                  </a:lnTo>
                  <a:lnTo>
                    <a:pt x="196" y="203"/>
                  </a:lnTo>
                  <a:lnTo>
                    <a:pt x="180" y="248"/>
                  </a:lnTo>
                  <a:lnTo>
                    <a:pt x="168" y="248"/>
                  </a:lnTo>
                  <a:lnTo>
                    <a:pt x="168" y="226"/>
                  </a:lnTo>
                  <a:lnTo>
                    <a:pt x="147" y="203"/>
                  </a:lnTo>
                  <a:lnTo>
                    <a:pt x="130" y="170"/>
                  </a:lnTo>
                  <a:lnTo>
                    <a:pt x="126" y="165"/>
                  </a:lnTo>
                  <a:lnTo>
                    <a:pt x="130" y="132"/>
                  </a:lnTo>
                  <a:lnTo>
                    <a:pt x="130" y="132"/>
                  </a:lnTo>
                  <a:lnTo>
                    <a:pt x="130" y="132"/>
                  </a:lnTo>
                  <a:close/>
                  <a:moveTo>
                    <a:pt x="0" y="59"/>
                  </a:moveTo>
                  <a:lnTo>
                    <a:pt x="5" y="54"/>
                  </a:lnTo>
                  <a:lnTo>
                    <a:pt x="17" y="59"/>
                  </a:lnTo>
                  <a:lnTo>
                    <a:pt x="17" y="59"/>
                  </a:lnTo>
                  <a:lnTo>
                    <a:pt x="0" y="59"/>
                  </a:lnTo>
                  <a:lnTo>
                    <a:pt x="0" y="59"/>
                  </a:lnTo>
                  <a:lnTo>
                    <a:pt x="0" y="59"/>
                  </a:lnTo>
                  <a:close/>
                  <a:moveTo>
                    <a:pt x="93" y="132"/>
                  </a:moveTo>
                  <a:lnTo>
                    <a:pt x="93" y="120"/>
                  </a:lnTo>
                  <a:lnTo>
                    <a:pt x="97" y="132"/>
                  </a:lnTo>
                  <a:lnTo>
                    <a:pt x="93" y="132"/>
                  </a:lnTo>
                  <a:lnTo>
                    <a:pt x="93" y="132"/>
                  </a:lnTo>
                  <a:lnTo>
                    <a:pt x="93" y="13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5" name="Freeform 577">
              <a:extLst>
                <a:ext uri="{FF2B5EF4-FFF2-40B4-BE49-F238E27FC236}">
                  <a16:creationId xmlns:a16="http://schemas.microsoft.com/office/drawing/2014/main" id="{E6A7E087-0B5C-4F13-BDA6-B66BE81B07AA}"/>
                </a:ext>
              </a:extLst>
            </p:cNvPr>
            <p:cNvSpPr>
              <a:spLocks/>
            </p:cNvSpPr>
            <p:nvPr/>
          </p:nvSpPr>
          <p:spPr bwMode="gray">
            <a:xfrm>
              <a:off x="14948944" y="3039236"/>
              <a:ext cx="325660" cy="210124"/>
            </a:xfrm>
            <a:custGeom>
              <a:avLst/>
              <a:gdLst>
                <a:gd name="T0" fmla="*/ 926 w 995"/>
                <a:gd name="T1" fmla="*/ 453 h 642"/>
                <a:gd name="T2" fmla="*/ 860 w 995"/>
                <a:gd name="T3" fmla="*/ 486 h 642"/>
                <a:gd name="T4" fmla="*/ 806 w 995"/>
                <a:gd name="T5" fmla="*/ 571 h 642"/>
                <a:gd name="T6" fmla="*/ 747 w 995"/>
                <a:gd name="T7" fmla="*/ 609 h 642"/>
                <a:gd name="T8" fmla="*/ 699 w 995"/>
                <a:gd name="T9" fmla="*/ 637 h 642"/>
                <a:gd name="T10" fmla="*/ 640 w 995"/>
                <a:gd name="T11" fmla="*/ 621 h 642"/>
                <a:gd name="T12" fmla="*/ 607 w 995"/>
                <a:gd name="T13" fmla="*/ 526 h 642"/>
                <a:gd name="T14" fmla="*/ 494 w 995"/>
                <a:gd name="T15" fmla="*/ 477 h 642"/>
                <a:gd name="T16" fmla="*/ 409 w 995"/>
                <a:gd name="T17" fmla="*/ 437 h 642"/>
                <a:gd name="T18" fmla="*/ 333 w 995"/>
                <a:gd name="T19" fmla="*/ 387 h 642"/>
                <a:gd name="T20" fmla="*/ 279 w 995"/>
                <a:gd name="T21" fmla="*/ 387 h 642"/>
                <a:gd name="T22" fmla="*/ 262 w 995"/>
                <a:gd name="T23" fmla="*/ 403 h 642"/>
                <a:gd name="T24" fmla="*/ 161 w 995"/>
                <a:gd name="T25" fmla="*/ 453 h 642"/>
                <a:gd name="T26" fmla="*/ 102 w 995"/>
                <a:gd name="T27" fmla="*/ 470 h 642"/>
                <a:gd name="T28" fmla="*/ 106 w 995"/>
                <a:gd name="T29" fmla="*/ 333 h 642"/>
                <a:gd name="T30" fmla="*/ 47 w 995"/>
                <a:gd name="T31" fmla="*/ 292 h 642"/>
                <a:gd name="T32" fmla="*/ 52 w 995"/>
                <a:gd name="T33" fmla="*/ 271 h 642"/>
                <a:gd name="T34" fmla="*/ 90 w 995"/>
                <a:gd name="T35" fmla="*/ 288 h 642"/>
                <a:gd name="T36" fmla="*/ 31 w 995"/>
                <a:gd name="T37" fmla="*/ 248 h 642"/>
                <a:gd name="T38" fmla="*/ 17 w 995"/>
                <a:gd name="T39" fmla="*/ 210 h 642"/>
                <a:gd name="T40" fmla="*/ 47 w 995"/>
                <a:gd name="T41" fmla="*/ 177 h 642"/>
                <a:gd name="T42" fmla="*/ 90 w 995"/>
                <a:gd name="T43" fmla="*/ 193 h 642"/>
                <a:gd name="T44" fmla="*/ 135 w 995"/>
                <a:gd name="T45" fmla="*/ 160 h 642"/>
                <a:gd name="T46" fmla="*/ 161 w 995"/>
                <a:gd name="T47" fmla="*/ 153 h 642"/>
                <a:gd name="T48" fmla="*/ 90 w 995"/>
                <a:gd name="T49" fmla="*/ 54 h 642"/>
                <a:gd name="T50" fmla="*/ 26 w 995"/>
                <a:gd name="T51" fmla="*/ 99 h 642"/>
                <a:gd name="T52" fmla="*/ 31 w 995"/>
                <a:gd name="T53" fmla="*/ 153 h 642"/>
                <a:gd name="T54" fmla="*/ 10 w 995"/>
                <a:gd name="T55" fmla="*/ 103 h 642"/>
                <a:gd name="T56" fmla="*/ 69 w 995"/>
                <a:gd name="T57" fmla="*/ 49 h 642"/>
                <a:gd name="T58" fmla="*/ 177 w 995"/>
                <a:gd name="T59" fmla="*/ 87 h 642"/>
                <a:gd name="T60" fmla="*/ 321 w 995"/>
                <a:gd name="T61" fmla="*/ 137 h 642"/>
                <a:gd name="T62" fmla="*/ 317 w 995"/>
                <a:gd name="T63" fmla="*/ 82 h 642"/>
                <a:gd name="T64" fmla="*/ 392 w 995"/>
                <a:gd name="T65" fmla="*/ 26 h 642"/>
                <a:gd name="T66" fmla="*/ 425 w 995"/>
                <a:gd name="T67" fmla="*/ 49 h 642"/>
                <a:gd name="T68" fmla="*/ 425 w 995"/>
                <a:gd name="T69" fmla="*/ 16 h 642"/>
                <a:gd name="T70" fmla="*/ 468 w 995"/>
                <a:gd name="T71" fmla="*/ 26 h 642"/>
                <a:gd name="T72" fmla="*/ 532 w 995"/>
                <a:gd name="T73" fmla="*/ 49 h 642"/>
                <a:gd name="T74" fmla="*/ 532 w 995"/>
                <a:gd name="T75" fmla="*/ 87 h 642"/>
                <a:gd name="T76" fmla="*/ 539 w 995"/>
                <a:gd name="T77" fmla="*/ 127 h 642"/>
                <a:gd name="T78" fmla="*/ 619 w 995"/>
                <a:gd name="T79" fmla="*/ 144 h 642"/>
                <a:gd name="T80" fmla="*/ 678 w 995"/>
                <a:gd name="T81" fmla="*/ 193 h 642"/>
                <a:gd name="T82" fmla="*/ 780 w 995"/>
                <a:gd name="T83" fmla="*/ 292 h 642"/>
                <a:gd name="T84" fmla="*/ 834 w 995"/>
                <a:gd name="T85" fmla="*/ 326 h 642"/>
                <a:gd name="T86" fmla="*/ 995 w 995"/>
                <a:gd name="T87" fmla="*/ 415 h 642"/>
                <a:gd name="T88" fmla="*/ 985 w 995"/>
                <a:gd name="T89" fmla="*/ 460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5" h="642">
                  <a:moveTo>
                    <a:pt x="985" y="460"/>
                  </a:moveTo>
                  <a:lnTo>
                    <a:pt x="969" y="470"/>
                  </a:lnTo>
                  <a:lnTo>
                    <a:pt x="926" y="453"/>
                  </a:lnTo>
                  <a:lnTo>
                    <a:pt x="914" y="477"/>
                  </a:lnTo>
                  <a:lnTo>
                    <a:pt x="888" y="477"/>
                  </a:lnTo>
                  <a:lnTo>
                    <a:pt x="860" y="486"/>
                  </a:lnTo>
                  <a:lnTo>
                    <a:pt x="860" y="498"/>
                  </a:lnTo>
                  <a:lnTo>
                    <a:pt x="839" y="552"/>
                  </a:lnTo>
                  <a:lnTo>
                    <a:pt x="806" y="571"/>
                  </a:lnTo>
                  <a:lnTo>
                    <a:pt x="747" y="588"/>
                  </a:lnTo>
                  <a:lnTo>
                    <a:pt x="747" y="604"/>
                  </a:lnTo>
                  <a:lnTo>
                    <a:pt x="747" y="609"/>
                  </a:lnTo>
                  <a:lnTo>
                    <a:pt x="747" y="621"/>
                  </a:lnTo>
                  <a:lnTo>
                    <a:pt x="716" y="637"/>
                  </a:lnTo>
                  <a:lnTo>
                    <a:pt x="699" y="637"/>
                  </a:lnTo>
                  <a:lnTo>
                    <a:pt x="683" y="642"/>
                  </a:lnTo>
                  <a:lnTo>
                    <a:pt x="671" y="621"/>
                  </a:lnTo>
                  <a:lnTo>
                    <a:pt x="640" y="621"/>
                  </a:lnTo>
                  <a:lnTo>
                    <a:pt x="624" y="604"/>
                  </a:lnTo>
                  <a:lnTo>
                    <a:pt x="619" y="609"/>
                  </a:lnTo>
                  <a:lnTo>
                    <a:pt x="607" y="526"/>
                  </a:lnTo>
                  <a:lnTo>
                    <a:pt x="548" y="526"/>
                  </a:lnTo>
                  <a:lnTo>
                    <a:pt x="532" y="493"/>
                  </a:lnTo>
                  <a:lnTo>
                    <a:pt x="494" y="477"/>
                  </a:lnTo>
                  <a:lnTo>
                    <a:pt x="477" y="453"/>
                  </a:lnTo>
                  <a:lnTo>
                    <a:pt x="456" y="437"/>
                  </a:lnTo>
                  <a:lnTo>
                    <a:pt x="409" y="437"/>
                  </a:lnTo>
                  <a:lnTo>
                    <a:pt x="404" y="432"/>
                  </a:lnTo>
                  <a:lnTo>
                    <a:pt x="350" y="415"/>
                  </a:lnTo>
                  <a:lnTo>
                    <a:pt x="333" y="387"/>
                  </a:lnTo>
                  <a:lnTo>
                    <a:pt x="321" y="399"/>
                  </a:lnTo>
                  <a:lnTo>
                    <a:pt x="300" y="387"/>
                  </a:lnTo>
                  <a:lnTo>
                    <a:pt x="279" y="387"/>
                  </a:lnTo>
                  <a:lnTo>
                    <a:pt x="269" y="399"/>
                  </a:lnTo>
                  <a:lnTo>
                    <a:pt x="269" y="403"/>
                  </a:lnTo>
                  <a:lnTo>
                    <a:pt x="262" y="403"/>
                  </a:lnTo>
                  <a:lnTo>
                    <a:pt x="210" y="403"/>
                  </a:lnTo>
                  <a:lnTo>
                    <a:pt x="173" y="432"/>
                  </a:lnTo>
                  <a:lnTo>
                    <a:pt x="161" y="453"/>
                  </a:lnTo>
                  <a:lnTo>
                    <a:pt x="156" y="460"/>
                  </a:lnTo>
                  <a:lnTo>
                    <a:pt x="123" y="470"/>
                  </a:lnTo>
                  <a:lnTo>
                    <a:pt x="102" y="470"/>
                  </a:lnTo>
                  <a:lnTo>
                    <a:pt x="90" y="420"/>
                  </a:lnTo>
                  <a:lnTo>
                    <a:pt x="90" y="366"/>
                  </a:lnTo>
                  <a:lnTo>
                    <a:pt x="106" y="333"/>
                  </a:lnTo>
                  <a:lnTo>
                    <a:pt x="85" y="321"/>
                  </a:lnTo>
                  <a:lnTo>
                    <a:pt x="80" y="304"/>
                  </a:lnTo>
                  <a:lnTo>
                    <a:pt x="47" y="292"/>
                  </a:lnTo>
                  <a:lnTo>
                    <a:pt x="47" y="309"/>
                  </a:lnTo>
                  <a:lnTo>
                    <a:pt x="47" y="288"/>
                  </a:lnTo>
                  <a:lnTo>
                    <a:pt x="52" y="271"/>
                  </a:lnTo>
                  <a:lnTo>
                    <a:pt x="52" y="288"/>
                  </a:lnTo>
                  <a:lnTo>
                    <a:pt x="80" y="288"/>
                  </a:lnTo>
                  <a:lnTo>
                    <a:pt x="90" y="288"/>
                  </a:lnTo>
                  <a:lnTo>
                    <a:pt x="69" y="271"/>
                  </a:lnTo>
                  <a:lnTo>
                    <a:pt x="80" y="248"/>
                  </a:lnTo>
                  <a:lnTo>
                    <a:pt x="31" y="248"/>
                  </a:lnTo>
                  <a:lnTo>
                    <a:pt x="38" y="264"/>
                  </a:lnTo>
                  <a:lnTo>
                    <a:pt x="17" y="238"/>
                  </a:lnTo>
                  <a:lnTo>
                    <a:pt x="17" y="210"/>
                  </a:lnTo>
                  <a:lnTo>
                    <a:pt x="31" y="181"/>
                  </a:lnTo>
                  <a:lnTo>
                    <a:pt x="31" y="153"/>
                  </a:lnTo>
                  <a:lnTo>
                    <a:pt x="47" y="177"/>
                  </a:lnTo>
                  <a:lnTo>
                    <a:pt x="69" y="181"/>
                  </a:lnTo>
                  <a:lnTo>
                    <a:pt x="80" y="165"/>
                  </a:lnTo>
                  <a:lnTo>
                    <a:pt x="90" y="193"/>
                  </a:lnTo>
                  <a:lnTo>
                    <a:pt x="139" y="181"/>
                  </a:lnTo>
                  <a:lnTo>
                    <a:pt x="123" y="165"/>
                  </a:lnTo>
                  <a:lnTo>
                    <a:pt x="135" y="160"/>
                  </a:lnTo>
                  <a:lnTo>
                    <a:pt x="139" y="177"/>
                  </a:lnTo>
                  <a:lnTo>
                    <a:pt x="156" y="165"/>
                  </a:lnTo>
                  <a:lnTo>
                    <a:pt x="161" y="153"/>
                  </a:lnTo>
                  <a:lnTo>
                    <a:pt x="118" y="120"/>
                  </a:lnTo>
                  <a:lnTo>
                    <a:pt x="102" y="66"/>
                  </a:lnTo>
                  <a:lnTo>
                    <a:pt x="90" y="54"/>
                  </a:lnTo>
                  <a:lnTo>
                    <a:pt x="47" y="66"/>
                  </a:lnTo>
                  <a:lnTo>
                    <a:pt x="31" y="70"/>
                  </a:lnTo>
                  <a:lnTo>
                    <a:pt x="26" y="99"/>
                  </a:lnTo>
                  <a:lnTo>
                    <a:pt x="31" y="99"/>
                  </a:lnTo>
                  <a:lnTo>
                    <a:pt x="26" y="120"/>
                  </a:lnTo>
                  <a:lnTo>
                    <a:pt x="31" y="153"/>
                  </a:lnTo>
                  <a:lnTo>
                    <a:pt x="26" y="127"/>
                  </a:lnTo>
                  <a:lnTo>
                    <a:pt x="10" y="111"/>
                  </a:lnTo>
                  <a:lnTo>
                    <a:pt x="10" y="103"/>
                  </a:lnTo>
                  <a:lnTo>
                    <a:pt x="0" y="99"/>
                  </a:lnTo>
                  <a:lnTo>
                    <a:pt x="38" y="54"/>
                  </a:lnTo>
                  <a:lnTo>
                    <a:pt x="69" y="49"/>
                  </a:lnTo>
                  <a:lnTo>
                    <a:pt x="123" y="37"/>
                  </a:lnTo>
                  <a:lnTo>
                    <a:pt x="177" y="82"/>
                  </a:lnTo>
                  <a:lnTo>
                    <a:pt x="177" y="87"/>
                  </a:lnTo>
                  <a:lnTo>
                    <a:pt x="210" y="137"/>
                  </a:lnTo>
                  <a:lnTo>
                    <a:pt x="246" y="127"/>
                  </a:lnTo>
                  <a:lnTo>
                    <a:pt x="321" y="137"/>
                  </a:lnTo>
                  <a:lnTo>
                    <a:pt x="321" y="127"/>
                  </a:lnTo>
                  <a:lnTo>
                    <a:pt x="317" y="99"/>
                  </a:lnTo>
                  <a:lnTo>
                    <a:pt x="317" y="82"/>
                  </a:lnTo>
                  <a:lnTo>
                    <a:pt x="350" y="54"/>
                  </a:lnTo>
                  <a:lnTo>
                    <a:pt x="376" y="54"/>
                  </a:lnTo>
                  <a:lnTo>
                    <a:pt x="392" y="26"/>
                  </a:lnTo>
                  <a:lnTo>
                    <a:pt x="409" y="33"/>
                  </a:lnTo>
                  <a:lnTo>
                    <a:pt x="413" y="49"/>
                  </a:lnTo>
                  <a:lnTo>
                    <a:pt x="425" y="49"/>
                  </a:lnTo>
                  <a:lnTo>
                    <a:pt x="404" y="16"/>
                  </a:lnTo>
                  <a:lnTo>
                    <a:pt x="409" y="9"/>
                  </a:lnTo>
                  <a:lnTo>
                    <a:pt x="425" y="16"/>
                  </a:lnTo>
                  <a:lnTo>
                    <a:pt x="430" y="0"/>
                  </a:lnTo>
                  <a:lnTo>
                    <a:pt x="456" y="26"/>
                  </a:lnTo>
                  <a:lnTo>
                    <a:pt x="468" y="26"/>
                  </a:lnTo>
                  <a:lnTo>
                    <a:pt x="477" y="37"/>
                  </a:lnTo>
                  <a:lnTo>
                    <a:pt x="515" y="37"/>
                  </a:lnTo>
                  <a:lnTo>
                    <a:pt x="532" y="49"/>
                  </a:lnTo>
                  <a:lnTo>
                    <a:pt x="532" y="66"/>
                  </a:lnTo>
                  <a:lnTo>
                    <a:pt x="548" y="87"/>
                  </a:lnTo>
                  <a:lnTo>
                    <a:pt x="532" y="87"/>
                  </a:lnTo>
                  <a:lnTo>
                    <a:pt x="539" y="103"/>
                  </a:lnTo>
                  <a:lnTo>
                    <a:pt x="532" y="120"/>
                  </a:lnTo>
                  <a:lnTo>
                    <a:pt x="539" y="127"/>
                  </a:lnTo>
                  <a:lnTo>
                    <a:pt x="565" y="137"/>
                  </a:lnTo>
                  <a:lnTo>
                    <a:pt x="591" y="137"/>
                  </a:lnTo>
                  <a:lnTo>
                    <a:pt x="619" y="144"/>
                  </a:lnTo>
                  <a:lnTo>
                    <a:pt x="628" y="127"/>
                  </a:lnTo>
                  <a:lnTo>
                    <a:pt x="662" y="144"/>
                  </a:lnTo>
                  <a:lnTo>
                    <a:pt x="678" y="193"/>
                  </a:lnTo>
                  <a:lnTo>
                    <a:pt x="695" y="210"/>
                  </a:lnTo>
                  <a:lnTo>
                    <a:pt x="699" y="238"/>
                  </a:lnTo>
                  <a:lnTo>
                    <a:pt x="780" y="292"/>
                  </a:lnTo>
                  <a:lnTo>
                    <a:pt x="784" y="309"/>
                  </a:lnTo>
                  <a:lnTo>
                    <a:pt x="817" y="333"/>
                  </a:lnTo>
                  <a:lnTo>
                    <a:pt x="834" y="326"/>
                  </a:lnTo>
                  <a:lnTo>
                    <a:pt x="914" y="387"/>
                  </a:lnTo>
                  <a:lnTo>
                    <a:pt x="940" y="387"/>
                  </a:lnTo>
                  <a:lnTo>
                    <a:pt x="995" y="415"/>
                  </a:lnTo>
                  <a:lnTo>
                    <a:pt x="985" y="432"/>
                  </a:lnTo>
                  <a:lnTo>
                    <a:pt x="985" y="460"/>
                  </a:lnTo>
                  <a:lnTo>
                    <a:pt x="985" y="460"/>
                  </a:lnTo>
                  <a:lnTo>
                    <a:pt x="985" y="46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6" name="Freeform 578">
              <a:extLst>
                <a:ext uri="{FF2B5EF4-FFF2-40B4-BE49-F238E27FC236}">
                  <a16:creationId xmlns:a16="http://schemas.microsoft.com/office/drawing/2014/main" id="{479C464A-ECEF-4BB5-9368-8038C886948E}"/>
                </a:ext>
              </a:extLst>
            </p:cNvPr>
            <p:cNvSpPr>
              <a:spLocks noEditPoints="1"/>
            </p:cNvSpPr>
            <p:nvPr/>
          </p:nvSpPr>
          <p:spPr bwMode="gray">
            <a:xfrm>
              <a:off x="14417742" y="4138298"/>
              <a:ext cx="256928" cy="254637"/>
            </a:xfrm>
            <a:custGeom>
              <a:avLst/>
              <a:gdLst>
                <a:gd name="T0" fmla="*/ 612 w 785"/>
                <a:gd name="T1" fmla="*/ 737 h 778"/>
                <a:gd name="T2" fmla="*/ 596 w 785"/>
                <a:gd name="T3" fmla="*/ 766 h 778"/>
                <a:gd name="T4" fmla="*/ 525 w 785"/>
                <a:gd name="T5" fmla="*/ 766 h 778"/>
                <a:gd name="T6" fmla="*/ 482 w 785"/>
                <a:gd name="T7" fmla="*/ 778 h 778"/>
                <a:gd name="T8" fmla="*/ 461 w 785"/>
                <a:gd name="T9" fmla="*/ 754 h 778"/>
                <a:gd name="T10" fmla="*/ 395 w 785"/>
                <a:gd name="T11" fmla="*/ 766 h 778"/>
                <a:gd name="T12" fmla="*/ 374 w 785"/>
                <a:gd name="T13" fmla="*/ 712 h 778"/>
                <a:gd name="T14" fmla="*/ 352 w 785"/>
                <a:gd name="T15" fmla="*/ 626 h 778"/>
                <a:gd name="T16" fmla="*/ 319 w 785"/>
                <a:gd name="T17" fmla="*/ 626 h 778"/>
                <a:gd name="T18" fmla="*/ 288 w 785"/>
                <a:gd name="T19" fmla="*/ 622 h 778"/>
                <a:gd name="T20" fmla="*/ 248 w 785"/>
                <a:gd name="T21" fmla="*/ 605 h 778"/>
                <a:gd name="T22" fmla="*/ 218 w 785"/>
                <a:gd name="T23" fmla="*/ 589 h 778"/>
                <a:gd name="T24" fmla="*/ 189 w 785"/>
                <a:gd name="T25" fmla="*/ 572 h 778"/>
                <a:gd name="T26" fmla="*/ 147 w 785"/>
                <a:gd name="T27" fmla="*/ 551 h 778"/>
                <a:gd name="T28" fmla="*/ 104 w 785"/>
                <a:gd name="T29" fmla="*/ 515 h 778"/>
                <a:gd name="T30" fmla="*/ 50 w 785"/>
                <a:gd name="T31" fmla="*/ 423 h 778"/>
                <a:gd name="T32" fmla="*/ 17 w 785"/>
                <a:gd name="T33" fmla="*/ 383 h 778"/>
                <a:gd name="T34" fmla="*/ 17 w 785"/>
                <a:gd name="T35" fmla="*/ 345 h 778"/>
                <a:gd name="T36" fmla="*/ 0 w 785"/>
                <a:gd name="T37" fmla="*/ 251 h 778"/>
                <a:gd name="T38" fmla="*/ 50 w 785"/>
                <a:gd name="T39" fmla="*/ 234 h 778"/>
                <a:gd name="T40" fmla="*/ 71 w 785"/>
                <a:gd name="T41" fmla="*/ 201 h 778"/>
                <a:gd name="T42" fmla="*/ 104 w 785"/>
                <a:gd name="T43" fmla="*/ 161 h 778"/>
                <a:gd name="T44" fmla="*/ 88 w 785"/>
                <a:gd name="T45" fmla="*/ 140 h 778"/>
                <a:gd name="T46" fmla="*/ 81 w 785"/>
                <a:gd name="T47" fmla="*/ 140 h 778"/>
                <a:gd name="T48" fmla="*/ 104 w 785"/>
                <a:gd name="T49" fmla="*/ 100 h 778"/>
                <a:gd name="T50" fmla="*/ 104 w 785"/>
                <a:gd name="T51" fmla="*/ 67 h 778"/>
                <a:gd name="T52" fmla="*/ 92 w 785"/>
                <a:gd name="T53" fmla="*/ 34 h 778"/>
                <a:gd name="T54" fmla="*/ 81 w 785"/>
                <a:gd name="T55" fmla="*/ 0 h 778"/>
                <a:gd name="T56" fmla="*/ 248 w 785"/>
                <a:gd name="T57" fmla="*/ 0 h 778"/>
                <a:gd name="T58" fmla="*/ 579 w 785"/>
                <a:gd name="T59" fmla="*/ 145 h 778"/>
                <a:gd name="T60" fmla="*/ 579 w 785"/>
                <a:gd name="T61" fmla="*/ 178 h 778"/>
                <a:gd name="T62" fmla="*/ 700 w 785"/>
                <a:gd name="T63" fmla="*/ 277 h 778"/>
                <a:gd name="T64" fmla="*/ 688 w 785"/>
                <a:gd name="T65" fmla="*/ 277 h 778"/>
                <a:gd name="T66" fmla="*/ 678 w 785"/>
                <a:gd name="T67" fmla="*/ 388 h 778"/>
                <a:gd name="T68" fmla="*/ 721 w 785"/>
                <a:gd name="T69" fmla="*/ 433 h 778"/>
                <a:gd name="T70" fmla="*/ 700 w 785"/>
                <a:gd name="T71" fmla="*/ 489 h 778"/>
                <a:gd name="T72" fmla="*/ 716 w 785"/>
                <a:gd name="T73" fmla="*/ 499 h 778"/>
                <a:gd name="T74" fmla="*/ 704 w 785"/>
                <a:gd name="T75" fmla="*/ 556 h 778"/>
                <a:gd name="T76" fmla="*/ 704 w 785"/>
                <a:gd name="T77" fmla="*/ 572 h 778"/>
                <a:gd name="T78" fmla="*/ 737 w 785"/>
                <a:gd name="T79" fmla="*/ 655 h 778"/>
                <a:gd name="T80" fmla="*/ 754 w 785"/>
                <a:gd name="T81" fmla="*/ 662 h 778"/>
                <a:gd name="T82" fmla="*/ 770 w 785"/>
                <a:gd name="T83" fmla="*/ 667 h 778"/>
                <a:gd name="T84" fmla="*/ 700 w 785"/>
                <a:gd name="T85" fmla="*/ 737 h 778"/>
                <a:gd name="T86" fmla="*/ 645 w 785"/>
                <a:gd name="T87" fmla="*/ 754 h 778"/>
                <a:gd name="T88" fmla="*/ 645 w 785"/>
                <a:gd name="T89" fmla="*/ 754 h 778"/>
                <a:gd name="T90" fmla="*/ 733 w 785"/>
                <a:gd name="T91" fmla="*/ 277 h 778"/>
                <a:gd name="T92" fmla="*/ 737 w 785"/>
                <a:gd name="T93" fmla="*/ 305 h 778"/>
                <a:gd name="T94" fmla="*/ 721 w 785"/>
                <a:gd name="T95" fmla="*/ 322 h 778"/>
                <a:gd name="T96" fmla="*/ 733 w 785"/>
                <a:gd name="T97" fmla="*/ 305 h 778"/>
                <a:gd name="T98" fmla="*/ 704 w 785"/>
                <a:gd name="T99" fmla="*/ 362 h 778"/>
                <a:gd name="T100" fmla="*/ 716 w 785"/>
                <a:gd name="T101" fmla="*/ 367 h 778"/>
                <a:gd name="T102" fmla="*/ 721 w 785"/>
                <a:gd name="T103" fmla="*/ 388 h 778"/>
                <a:gd name="T104" fmla="*/ 688 w 785"/>
                <a:gd name="T105" fmla="*/ 378 h 778"/>
                <a:gd name="T106" fmla="*/ 700 w 785"/>
                <a:gd name="T107" fmla="*/ 345 h 778"/>
                <a:gd name="T108" fmla="*/ 704 w 785"/>
                <a:gd name="T109" fmla="*/ 362 h 778"/>
                <a:gd name="T110" fmla="*/ 721 w 785"/>
                <a:gd name="T111" fmla="*/ 499 h 778"/>
                <a:gd name="T112" fmla="*/ 742 w 785"/>
                <a:gd name="T113" fmla="*/ 478 h 778"/>
                <a:gd name="T114" fmla="*/ 721 w 785"/>
                <a:gd name="T115" fmla="*/ 499 h 778"/>
                <a:gd name="T116" fmla="*/ 721 w 785"/>
                <a:gd name="T117" fmla="*/ 499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5" h="778">
                  <a:moveTo>
                    <a:pt x="645" y="754"/>
                  </a:moveTo>
                  <a:lnTo>
                    <a:pt x="612" y="737"/>
                  </a:lnTo>
                  <a:lnTo>
                    <a:pt x="607" y="749"/>
                  </a:lnTo>
                  <a:lnTo>
                    <a:pt x="596" y="766"/>
                  </a:lnTo>
                  <a:lnTo>
                    <a:pt x="574" y="778"/>
                  </a:lnTo>
                  <a:lnTo>
                    <a:pt x="525" y="766"/>
                  </a:lnTo>
                  <a:lnTo>
                    <a:pt x="503" y="778"/>
                  </a:lnTo>
                  <a:lnTo>
                    <a:pt x="482" y="778"/>
                  </a:lnTo>
                  <a:lnTo>
                    <a:pt x="482" y="766"/>
                  </a:lnTo>
                  <a:lnTo>
                    <a:pt x="461" y="754"/>
                  </a:lnTo>
                  <a:lnTo>
                    <a:pt x="433" y="771"/>
                  </a:lnTo>
                  <a:lnTo>
                    <a:pt x="395" y="766"/>
                  </a:lnTo>
                  <a:lnTo>
                    <a:pt x="374" y="733"/>
                  </a:lnTo>
                  <a:lnTo>
                    <a:pt x="374" y="712"/>
                  </a:lnTo>
                  <a:lnTo>
                    <a:pt x="364" y="655"/>
                  </a:lnTo>
                  <a:lnTo>
                    <a:pt x="352" y="626"/>
                  </a:lnTo>
                  <a:lnTo>
                    <a:pt x="326" y="610"/>
                  </a:lnTo>
                  <a:lnTo>
                    <a:pt x="319" y="626"/>
                  </a:lnTo>
                  <a:lnTo>
                    <a:pt x="310" y="622"/>
                  </a:lnTo>
                  <a:lnTo>
                    <a:pt x="288" y="622"/>
                  </a:lnTo>
                  <a:lnTo>
                    <a:pt x="281" y="610"/>
                  </a:lnTo>
                  <a:lnTo>
                    <a:pt x="248" y="605"/>
                  </a:lnTo>
                  <a:lnTo>
                    <a:pt x="227" y="600"/>
                  </a:lnTo>
                  <a:lnTo>
                    <a:pt x="218" y="589"/>
                  </a:lnTo>
                  <a:lnTo>
                    <a:pt x="189" y="584"/>
                  </a:lnTo>
                  <a:lnTo>
                    <a:pt x="189" y="572"/>
                  </a:lnTo>
                  <a:lnTo>
                    <a:pt x="163" y="572"/>
                  </a:lnTo>
                  <a:lnTo>
                    <a:pt x="147" y="551"/>
                  </a:lnTo>
                  <a:lnTo>
                    <a:pt x="118" y="551"/>
                  </a:lnTo>
                  <a:lnTo>
                    <a:pt x="104" y="515"/>
                  </a:lnTo>
                  <a:lnTo>
                    <a:pt x="71" y="445"/>
                  </a:lnTo>
                  <a:lnTo>
                    <a:pt x="50" y="423"/>
                  </a:lnTo>
                  <a:lnTo>
                    <a:pt x="26" y="404"/>
                  </a:lnTo>
                  <a:lnTo>
                    <a:pt x="17" y="383"/>
                  </a:lnTo>
                  <a:lnTo>
                    <a:pt x="12" y="362"/>
                  </a:lnTo>
                  <a:lnTo>
                    <a:pt x="17" y="345"/>
                  </a:lnTo>
                  <a:lnTo>
                    <a:pt x="0" y="289"/>
                  </a:lnTo>
                  <a:lnTo>
                    <a:pt x="0" y="251"/>
                  </a:lnTo>
                  <a:lnTo>
                    <a:pt x="33" y="251"/>
                  </a:lnTo>
                  <a:lnTo>
                    <a:pt x="50" y="234"/>
                  </a:lnTo>
                  <a:lnTo>
                    <a:pt x="71" y="201"/>
                  </a:lnTo>
                  <a:lnTo>
                    <a:pt x="71" y="201"/>
                  </a:lnTo>
                  <a:lnTo>
                    <a:pt x="81" y="185"/>
                  </a:lnTo>
                  <a:lnTo>
                    <a:pt x="104" y="161"/>
                  </a:lnTo>
                  <a:lnTo>
                    <a:pt x="104" y="145"/>
                  </a:lnTo>
                  <a:lnTo>
                    <a:pt x="88" y="140"/>
                  </a:lnTo>
                  <a:lnTo>
                    <a:pt x="81" y="140"/>
                  </a:lnTo>
                  <a:lnTo>
                    <a:pt x="81" y="140"/>
                  </a:lnTo>
                  <a:lnTo>
                    <a:pt x="88" y="100"/>
                  </a:lnTo>
                  <a:lnTo>
                    <a:pt x="104" y="100"/>
                  </a:lnTo>
                  <a:lnTo>
                    <a:pt x="109" y="74"/>
                  </a:lnTo>
                  <a:lnTo>
                    <a:pt x="104" y="67"/>
                  </a:lnTo>
                  <a:lnTo>
                    <a:pt x="104" y="50"/>
                  </a:lnTo>
                  <a:lnTo>
                    <a:pt x="92" y="34"/>
                  </a:lnTo>
                  <a:lnTo>
                    <a:pt x="88" y="29"/>
                  </a:lnTo>
                  <a:lnTo>
                    <a:pt x="81" y="0"/>
                  </a:lnTo>
                  <a:lnTo>
                    <a:pt x="104" y="0"/>
                  </a:lnTo>
                  <a:lnTo>
                    <a:pt x="248" y="0"/>
                  </a:lnTo>
                  <a:lnTo>
                    <a:pt x="319" y="0"/>
                  </a:lnTo>
                  <a:lnTo>
                    <a:pt x="579" y="145"/>
                  </a:lnTo>
                  <a:lnTo>
                    <a:pt x="591" y="166"/>
                  </a:lnTo>
                  <a:lnTo>
                    <a:pt x="579" y="178"/>
                  </a:lnTo>
                  <a:lnTo>
                    <a:pt x="688" y="267"/>
                  </a:lnTo>
                  <a:lnTo>
                    <a:pt x="700" y="277"/>
                  </a:lnTo>
                  <a:lnTo>
                    <a:pt x="688" y="289"/>
                  </a:lnTo>
                  <a:lnTo>
                    <a:pt x="688" y="277"/>
                  </a:lnTo>
                  <a:lnTo>
                    <a:pt x="666" y="367"/>
                  </a:lnTo>
                  <a:lnTo>
                    <a:pt x="678" y="388"/>
                  </a:lnTo>
                  <a:lnTo>
                    <a:pt x="683" y="400"/>
                  </a:lnTo>
                  <a:lnTo>
                    <a:pt x="721" y="433"/>
                  </a:lnTo>
                  <a:lnTo>
                    <a:pt x="700" y="478"/>
                  </a:lnTo>
                  <a:lnTo>
                    <a:pt x="700" y="489"/>
                  </a:lnTo>
                  <a:lnTo>
                    <a:pt x="716" y="494"/>
                  </a:lnTo>
                  <a:lnTo>
                    <a:pt x="716" y="499"/>
                  </a:lnTo>
                  <a:lnTo>
                    <a:pt x="700" y="527"/>
                  </a:lnTo>
                  <a:lnTo>
                    <a:pt x="704" y="556"/>
                  </a:lnTo>
                  <a:lnTo>
                    <a:pt x="716" y="572"/>
                  </a:lnTo>
                  <a:lnTo>
                    <a:pt x="704" y="572"/>
                  </a:lnTo>
                  <a:lnTo>
                    <a:pt x="721" y="589"/>
                  </a:lnTo>
                  <a:lnTo>
                    <a:pt x="737" y="655"/>
                  </a:lnTo>
                  <a:lnTo>
                    <a:pt x="754" y="667"/>
                  </a:lnTo>
                  <a:lnTo>
                    <a:pt x="754" y="662"/>
                  </a:lnTo>
                  <a:lnTo>
                    <a:pt x="770" y="678"/>
                  </a:lnTo>
                  <a:lnTo>
                    <a:pt x="770" y="667"/>
                  </a:lnTo>
                  <a:lnTo>
                    <a:pt x="785" y="683"/>
                  </a:lnTo>
                  <a:lnTo>
                    <a:pt x="700" y="737"/>
                  </a:lnTo>
                  <a:lnTo>
                    <a:pt x="678" y="737"/>
                  </a:lnTo>
                  <a:lnTo>
                    <a:pt x="645" y="754"/>
                  </a:lnTo>
                  <a:lnTo>
                    <a:pt x="645" y="754"/>
                  </a:lnTo>
                  <a:lnTo>
                    <a:pt x="645" y="754"/>
                  </a:lnTo>
                  <a:close/>
                  <a:moveTo>
                    <a:pt x="733" y="305"/>
                  </a:moveTo>
                  <a:lnTo>
                    <a:pt x="733" y="277"/>
                  </a:lnTo>
                  <a:lnTo>
                    <a:pt x="737" y="277"/>
                  </a:lnTo>
                  <a:lnTo>
                    <a:pt x="737" y="305"/>
                  </a:lnTo>
                  <a:lnTo>
                    <a:pt x="733" y="322"/>
                  </a:lnTo>
                  <a:lnTo>
                    <a:pt x="721" y="322"/>
                  </a:lnTo>
                  <a:lnTo>
                    <a:pt x="733" y="305"/>
                  </a:lnTo>
                  <a:lnTo>
                    <a:pt x="733" y="305"/>
                  </a:lnTo>
                  <a:lnTo>
                    <a:pt x="733" y="305"/>
                  </a:lnTo>
                  <a:close/>
                  <a:moveTo>
                    <a:pt x="704" y="362"/>
                  </a:moveTo>
                  <a:lnTo>
                    <a:pt x="716" y="378"/>
                  </a:lnTo>
                  <a:lnTo>
                    <a:pt x="716" y="367"/>
                  </a:lnTo>
                  <a:lnTo>
                    <a:pt x="716" y="378"/>
                  </a:lnTo>
                  <a:lnTo>
                    <a:pt x="721" y="388"/>
                  </a:lnTo>
                  <a:lnTo>
                    <a:pt x="716" y="400"/>
                  </a:lnTo>
                  <a:lnTo>
                    <a:pt x="688" y="378"/>
                  </a:lnTo>
                  <a:lnTo>
                    <a:pt x="688" y="362"/>
                  </a:lnTo>
                  <a:lnTo>
                    <a:pt x="700" y="345"/>
                  </a:lnTo>
                  <a:lnTo>
                    <a:pt x="704" y="362"/>
                  </a:lnTo>
                  <a:lnTo>
                    <a:pt x="704" y="362"/>
                  </a:lnTo>
                  <a:lnTo>
                    <a:pt x="704" y="362"/>
                  </a:lnTo>
                  <a:close/>
                  <a:moveTo>
                    <a:pt x="721" y="499"/>
                  </a:moveTo>
                  <a:lnTo>
                    <a:pt x="721" y="499"/>
                  </a:lnTo>
                  <a:lnTo>
                    <a:pt x="742" y="478"/>
                  </a:lnTo>
                  <a:lnTo>
                    <a:pt x="737" y="499"/>
                  </a:lnTo>
                  <a:lnTo>
                    <a:pt x="721" y="499"/>
                  </a:lnTo>
                  <a:lnTo>
                    <a:pt x="721" y="499"/>
                  </a:lnTo>
                  <a:lnTo>
                    <a:pt x="721" y="49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7" name="Freeform 579">
              <a:extLst>
                <a:ext uri="{FF2B5EF4-FFF2-40B4-BE49-F238E27FC236}">
                  <a16:creationId xmlns:a16="http://schemas.microsoft.com/office/drawing/2014/main" id="{6EFD6683-D91B-4A61-B570-931D60ADB75C}"/>
                </a:ext>
              </a:extLst>
            </p:cNvPr>
            <p:cNvSpPr>
              <a:spLocks/>
            </p:cNvSpPr>
            <p:nvPr/>
          </p:nvSpPr>
          <p:spPr bwMode="gray">
            <a:xfrm>
              <a:off x="14423306" y="4014908"/>
              <a:ext cx="123718" cy="133537"/>
            </a:xfrm>
            <a:custGeom>
              <a:avLst/>
              <a:gdLst>
                <a:gd name="T0" fmla="*/ 231 w 378"/>
                <a:gd name="T1" fmla="*/ 375 h 408"/>
                <a:gd name="T2" fmla="*/ 87 w 378"/>
                <a:gd name="T3" fmla="*/ 375 h 408"/>
                <a:gd name="T4" fmla="*/ 66 w 378"/>
                <a:gd name="T5" fmla="*/ 375 h 408"/>
                <a:gd name="T6" fmla="*/ 54 w 378"/>
                <a:gd name="T7" fmla="*/ 375 h 408"/>
                <a:gd name="T8" fmla="*/ 33 w 378"/>
                <a:gd name="T9" fmla="*/ 408 h 408"/>
                <a:gd name="T10" fmla="*/ 16 w 378"/>
                <a:gd name="T11" fmla="*/ 401 h 408"/>
                <a:gd name="T12" fmla="*/ 0 w 378"/>
                <a:gd name="T13" fmla="*/ 401 h 408"/>
                <a:gd name="T14" fmla="*/ 0 w 378"/>
                <a:gd name="T15" fmla="*/ 368 h 408"/>
                <a:gd name="T16" fmla="*/ 12 w 378"/>
                <a:gd name="T17" fmla="*/ 297 h 408"/>
                <a:gd name="T18" fmla="*/ 21 w 378"/>
                <a:gd name="T19" fmla="*/ 264 h 408"/>
                <a:gd name="T20" fmla="*/ 21 w 378"/>
                <a:gd name="T21" fmla="*/ 243 h 408"/>
                <a:gd name="T22" fmla="*/ 38 w 378"/>
                <a:gd name="T23" fmla="*/ 236 h 408"/>
                <a:gd name="T24" fmla="*/ 49 w 378"/>
                <a:gd name="T25" fmla="*/ 219 h 408"/>
                <a:gd name="T26" fmla="*/ 66 w 378"/>
                <a:gd name="T27" fmla="*/ 219 h 408"/>
                <a:gd name="T28" fmla="*/ 125 w 378"/>
                <a:gd name="T29" fmla="*/ 148 h 408"/>
                <a:gd name="T30" fmla="*/ 104 w 378"/>
                <a:gd name="T31" fmla="*/ 132 h 408"/>
                <a:gd name="T32" fmla="*/ 92 w 378"/>
                <a:gd name="T33" fmla="*/ 132 h 408"/>
                <a:gd name="T34" fmla="*/ 75 w 378"/>
                <a:gd name="T35" fmla="*/ 127 h 408"/>
                <a:gd name="T36" fmla="*/ 92 w 378"/>
                <a:gd name="T37" fmla="*/ 99 h 408"/>
                <a:gd name="T38" fmla="*/ 87 w 378"/>
                <a:gd name="T39" fmla="*/ 82 h 408"/>
                <a:gd name="T40" fmla="*/ 92 w 378"/>
                <a:gd name="T41" fmla="*/ 61 h 408"/>
                <a:gd name="T42" fmla="*/ 92 w 378"/>
                <a:gd name="T43" fmla="*/ 54 h 408"/>
                <a:gd name="T44" fmla="*/ 92 w 378"/>
                <a:gd name="T45" fmla="*/ 54 h 408"/>
                <a:gd name="T46" fmla="*/ 104 w 378"/>
                <a:gd name="T47" fmla="*/ 37 h 408"/>
                <a:gd name="T48" fmla="*/ 108 w 378"/>
                <a:gd name="T49" fmla="*/ 28 h 408"/>
                <a:gd name="T50" fmla="*/ 142 w 378"/>
                <a:gd name="T51" fmla="*/ 37 h 408"/>
                <a:gd name="T52" fmla="*/ 156 w 378"/>
                <a:gd name="T53" fmla="*/ 28 h 408"/>
                <a:gd name="T54" fmla="*/ 163 w 378"/>
                <a:gd name="T55" fmla="*/ 44 h 408"/>
                <a:gd name="T56" fmla="*/ 184 w 378"/>
                <a:gd name="T57" fmla="*/ 54 h 408"/>
                <a:gd name="T58" fmla="*/ 184 w 378"/>
                <a:gd name="T59" fmla="*/ 44 h 408"/>
                <a:gd name="T60" fmla="*/ 201 w 378"/>
                <a:gd name="T61" fmla="*/ 37 h 408"/>
                <a:gd name="T62" fmla="*/ 217 w 378"/>
                <a:gd name="T63" fmla="*/ 28 h 408"/>
                <a:gd name="T64" fmla="*/ 238 w 378"/>
                <a:gd name="T65" fmla="*/ 21 h 408"/>
                <a:gd name="T66" fmla="*/ 255 w 378"/>
                <a:gd name="T67" fmla="*/ 28 h 408"/>
                <a:gd name="T68" fmla="*/ 281 w 378"/>
                <a:gd name="T69" fmla="*/ 28 h 408"/>
                <a:gd name="T70" fmla="*/ 307 w 378"/>
                <a:gd name="T71" fmla="*/ 0 h 408"/>
                <a:gd name="T72" fmla="*/ 323 w 378"/>
                <a:gd name="T73" fmla="*/ 28 h 408"/>
                <a:gd name="T74" fmla="*/ 340 w 378"/>
                <a:gd name="T75" fmla="*/ 37 h 408"/>
                <a:gd name="T76" fmla="*/ 340 w 378"/>
                <a:gd name="T77" fmla="*/ 61 h 408"/>
                <a:gd name="T78" fmla="*/ 345 w 378"/>
                <a:gd name="T79" fmla="*/ 94 h 408"/>
                <a:gd name="T80" fmla="*/ 361 w 378"/>
                <a:gd name="T81" fmla="*/ 99 h 408"/>
                <a:gd name="T82" fmla="*/ 373 w 378"/>
                <a:gd name="T83" fmla="*/ 127 h 408"/>
                <a:gd name="T84" fmla="*/ 378 w 378"/>
                <a:gd name="T85" fmla="*/ 165 h 408"/>
                <a:gd name="T86" fmla="*/ 378 w 378"/>
                <a:gd name="T87" fmla="*/ 181 h 408"/>
                <a:gd name="T88" fmla="*/ 361 w 378"/>
                <a:gd name="T89" fmla="*/ 203 h 408"/>
                <a:gd name="T90" fmla="*/ 373 w 378"/>
                <a:gd name="T91" fmla="*/ 210 h 408"/>
                <a:gd name="T92" fmla="*/ 345 w 378"/>
                <a:gd name="T93" fmla="*/ 219 h 408"/>
                <a:gd name="T94" fmla="*/ 340 w 378"/>
                <a:gd name="T95" fmla="*/ 243 h 408"/>
                <a:gd name="T96" fmla="*/ 323 w 378"/>
                <a:gd name="T97" fmla="*/ 259 h 408"/>
                <a:gd name="T98" fmla="*/ 302 w 378"/>
                <a:gd name="T99" fmla="*/ 297 h 408"/>
                <a:gd name="T100" fmla="*/ 307 w 378"/>
                <a:gd name="T101" fmla="*/ 314 h 408"/>
                <a:gd name="T102" fmla="*/ 302 w 378"/>
                <a:gd name="T103" fmla="*/ 375 h 408"/>
                <a:gd name="T104" fmla="*/ 231 w 378"/>
                <a:gd name="T105" fmla="*/ 375 h 408"/>
                <a:gd name="T106" fmla="*/ 231 w 378"/>
                <a:gd name="T107" fmla="*/ 375 h 408"/>
                <a:gd name="T108" fmla="*/ 231 w 378"/>
                <a:gd name="T109" fmla="*/ 375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8" h="408">
                  <a:moveTo>
                    <a:pt x="231" y="375"/>
                  </a:moveTo>
                  <a:lnTo>
                    <a:pt x="87" y="375"/>
                  </a:lnTo>
                  <a:lnTo>
                    <a:pt x="66" y="375"/>
                  </a:lnTo>
                  <a:lnTo>
                    <a:pt x="54" y="375"/>
                  </a:lnTo>
                  <a:lnTo>
                    <a:pt x="33" y="408"/>
                  </a:lnTo>
                  <a:lnTo>
                    <a:pt x="16" y="401"/>
                  </a:lnTo>
                  <a:lnTo>
                    <a:pt x="0" y="401"/>
                  </a:lnTo>
                  <a:lnTo>
                    <a:pt x="0" y="368"/>
                  </a:lnTo>
                  <a:lnTo>
                    <a:pt x="12" y="297"/>
                  </a:lnTo>
                  <a:lnTo>
                    <a:pt x="21" y="264"/>
                  </a:lnTo>
                  <a:lnTo>
                    <a:pt x="21" y="243"/>
                  </a:lnTo>
                  <a:lnTo>
                    <a:pt x="38" y="236"/>
                  </a:lnTo>
                  <a:lnTo>
                    <a:pt x="49" y="219"/>
                  </a:lnTo>
                  <a:lnTo>
                    <a:pt x="66" y="219"/>
                  </a:lnTo>
                  <a:lnTo>
                    <a:pt x="125" y="148"/>
                  </a:lnTo>
                  <a:lnTo>
                    <a:pt x="104" y="132"/>
                  </a:lnTo>
                  <a:lnTo>
                    <a:pt x="92" y="132"/>
                  </a:lnTo>
                  <a:lnTo>
                    <a:pt x="75" y="127"/>
                  </a:lnTo>
                  <a:lnTo>
                    <a:pt x="92" y="99"/>
                  </a:lnTo>
                  <a:lnTo>
                    <a:pt x="87" y="82"/>
                  </a:lnTo>
                  <a:lnTo>
                    <a:pt x="92" y="61"/>
                  </a:lnTo>
                  <a:lnTo>
                    <a:pt x="92" y="54"/>
                  </a:lnTo>
                  <a:lnTo>
                    <a:pt x="92" y="54"/>
                  </a:lnTo>
                  <a:lnTo>
                    <a:pt x="104" y="37"/>
                  </a:lnTo>
                  <a:lnTo>
                    <a:pt x="108" y="28"/>
                  </a:lnTo>
                  <a:lnTo>
                    <a:pt x="142" y="37"/>
                  </a:lnTo>
                  <a:lnTo>
                    <a:pt x="156" y="28"/>
                  </a:lnTo>
                  <a:lnTo>
                    <a:pt x="163" y="44"/>
                  </a:lnTo>
                  <a:lnTo>
                    <a:pt x="184" y="54"/>
                  </a:lnTo>
                  <a:lnTo>
                    <a:pt x="184" y="44"/>
                  </a:lnTo>
                  <a:lnTo>
                    <a:pt x="201" y="37"/>
                  </a:lnTo>
                  <a:lnTo>
                    <a:pt x="217" y="28"/>
                  </a:lnTo>
                  <a:lnTo>
                    <a:pt x="238" y="21"/>
                  </a:lnTo>
                  <a:lnTo>
                    <a:pt x="255" y="28"/>
                  </a:lnTo>
                  <a:lnTo>
                    <a:pt x="281" y="28"/>
                  </a:lnTo>
                  <a:lnTo>
                    <a:pt x="307" y="0"/>
                  </a:lnTo>
                  <a:lnTo>
                    <a:pt x="323" y="28"/>
                  </a:lnTo>
                  <a:lnTo>
                    <a:pt x="340" y="37"/>
                  </a:lnTo>
                  <a:lnTo>
                    <a:pt x="340" y="61"/>
                  </a:lnTo>
                  <a:lnTo>
                    <a:pt x="345" y="94"/>
                  </a:lnTo>
                  <a:lnTo>
                    <a:pt x="361" y="99"/>
                  </a:lnTo>
                  <a:lnTo>
                    <a:pt x="373" y="127"/>
                  </a:lnTo>
                  <a:lnTo>
                    <a:pt x="378" y="165"/>
                  </a:lnTo>
                  <a:lnTo>
                    <a:pt x="378" y="181"/>
                  </a:lnTo>
                  <a:lnTo>
                    <a:pt x="361" y="203"/>
                  </a:lnTo>
                  <a:lnTo>
                    <a:pt x="373" y="210"/>
                  </a:lnTo>
                  <a:lnTo>
                    <a:pt x="345" y="219"/>
                  </a:lnTo>
                  <a:lnTo>
                    <a:pt x="340" y="243"/>
                  </a:lnTo>
                  <a:lnTo>
                    <a:pt x="323" y="259"/>
                  </a:lnTo>
                  <a:lnTo>
                    <a:pt x="302" y="297"/>
                  </a:lnTo>
                  <a:lnTo>
                    <a:pt x="307" y="314"/>
                  </a:lnTo>
                  <a:lnTo>
                    <a:pt x="302" y="375"/>
                  </a:lnTo>
                  <a:lnTo>
                    <a:pt x="231" y="375"/>
                  </a:lnTo>
                  <a:lnTo>
                    <a:pt x="231" y="375"/>
                  </a:lnTo>
                  <a:lnTo>
                    <a:pt x="231" y="37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8" name="Freeform 580">
              <a:extLst>
                <a:ext uri="{FF2B5EF4-FFF2-40B4-BE49-F238E27FC236}">
                  <a16:creationId xmlns:a16="http://schemas.microsoft.com/office/drawing/2014/main" id="{40A6C34A-3D85-4083-8FB9-E9FC9310BBBC}"/>
                </a:ext>
              </a:extLst>
            </p:cNvPr>
            <p:cNvSpPr>
              <a:spLocks noEditPoints="1"/>
            </p:cNvSpPr>
            <p:nvPr/>
          </p:nvSpPr>
          <p:spPr bwMode="gray">
            <a:xfrm>
              <a:off x="13556625" y="2468431"/>
              <a:ext cx="229435" cy="356426"/>
            </a:xfrm>
            <a:custGeom>
              <a:avLst/>
              <a:gdLst>
                <a:gd name="T0" fmla="*/ 494 w 701"/>
                <a:gd name="T1" fmla="*/ 38 h 1089"/>
                <a:gd name="T2" fmla="*/ 494 w 701"/>
                <a:gd name="T3" fmla="*/ 71 h 1089"/>
                <a:gd name="T4" fmla="*/ 472 w 701"/>
                <a:gd name="T5" fmla="*/ 71 h 1089"/>
                <a:gd name="T6" fmla="*/ 489 w 701"/>
                <a:gd name="T7" fmla="*/ 62 h 1089"/>
                <a:gd name="T8" fmla="*/ 375 w 701"/>
                <a:gd name="T9" fmla="*/ 206 h 1089"/>
                <a:gd name="T10" fmla="*/ 347 w 701"/>
                <a:gd name="T11" fmla="*/ 222 h 1089"/>
                <a:gd name="T12" fmla="*/ 375 w 701"/>
                <a:gd name="T13" fmla="*/ 215 h 1089"/>
                <a:gd name="T14" fmla="*/ 201 w 701"/>
                <a:gd name="T15" fmla="*/ 907 h 1089"/>
                <a:gd name="T16" fmla="*/ 342 w 701"/>
                <a:gd name="T17" fmla="*/ 770 h 1089"/>
                <a:gd name="T18" fmla="*/ 375 w 701"/>
                <a:gd name="T19" fmla="*/ 737 h 1089"/>
                <a:gd name="T20" fmla="*/ 359 w 701"/>
                <a:gd name="T21" fmla="*/ 610 h 1089"/>
                <a:gd name="T22" fmla="*/ 234 w 701"/>
                <a:gd name="T23" fmla="*/ 643 h 1089"/>
                <a:gd name="T24" fmla="*/ 234 w 701"/>
                <a:gd name="T25" fmla="*/ 503 h 1089"/>
                <a:gd name="T26" fmla="*/ 217 w 701"/>
                <a:gd name="T27" fmla="*/ 482 h 1089"/>
                <a:gd name="T28" fmla="*/ 179 w 701"/>
                <a:gd name="T29" fmla="*/ 499 h 1089"/>
                <a:gd name="T30" fmla="*/ 196 w 701"/>
                <a:gd name="T31" fmla="*/ 459 h 1089"/>
                <a:gd name="T32" fmla="*/ 163 w 701"/>
                <a:gd name="T33" fmla="*/ 425 h 1089"/>
                <a:gd name="T34" fmla="*/ 170 w 701"/>
                <a:gd name="T35" fmla="*/ 392 h 1089"/>
                <a:gd name="T36" fmla="*/ 163 w 701"/>
                <a:gd name="T37" fmla="*/ 350 h 1089"/>
                <a:gd name="T38" fmla="*/ 184 w 701"/>
                <a:gd name="T39" fmla="*/ 293 h 1089"/>
                <a:gd name="T40" fmla="*/ 250 w 701"/>
                <a:gd name="T41" fmla="*/ 239 h 1089"/>
                <a:gd name="T42" fmla="*/ 288 w 701"/>
                <a:gd name="T43" fmla="*/ 317 h 1089"/>
                <a:gd name="T44" fmla="*/ 430 w 701"/>
                <a:gd name="T45" fmla="*/ 333 h 1089"/>
                <a:gd name="T46" fmla="*/ 375 w 701"/>
                <a:gd name="T47" fmla="*/ 459 h 1089"/>
                <a:gd name="T48" fmla="*/ 456 w 701"/>
                <a:gd name="T49" fmla="*/ 548 h 1089"/>
                <a:gd name="T50" fmla="*/ 581 w 701"/>
                <a:gd name="T51" fmla="*/ 754 h 1089"/>
                <a:gd name="T52" fmla="*/ 614 w 701"/>
                <a:gd name="T53" fmla="*/ 808 h 1089"/>
                <a:gd name="T54" fmla="*/ 668 w 701"/>
                <a:gd name="T55" fmla="*/ 907 h 1089"/>
                <a:gd name="T56" fmla="*/ 614 w 701"/>
                <a:gd name="T57" fmla="*/ 957 h 1089"/>
                <a:gd name="T58" fmla="*/ 522 w 701"/>
                <a:gd name="T59" fmla="*/ 1018 h 1089"/>
                <a:gd name="T60" fmla="*/ 364 w 701"/>
                <a:gd name="T61" fmla="*/ 1018 h 1089"/>
                <a:gd name="T62" fmla="*/ 212 w 701"/>
                <a:gd name="T63" fmla="*/ 1089 h 1089"/>
                <a:gd name="T64" fmla="*/ 255 w 701"/>
                <a:gd name="T65" fmla="*/ 1018 h 1089"/>
                <a:gd name="T66" fmla="*/ 342 w 701"/>
                <a:gd name="T67" fmla="*/ 957 h 1089"/>
                <a:gd name="T68" fmla="*/ 217 w 701"/>
                <a:gd name="T69" fmla="*/ 936 h 1089"/>
                <a:gd name="T70" fmla="*/ 104 w 701"/>
                <a:gd name="T71" fmla="*/ 317 h 1089"/>
                <a:gd name="T72" fmla="*/ 87 w 701"/>
                <a:gd name="T73" fmla="*/ 277 h 1089"/>
                <a:gd name="T74" fmla="*/ 142 w 701"/>
                <a:gd name="T75" fmla="*/ 277 h 1089"/>
                <a:gd name="T76" fmla="*/ 38 w 701"/>
                <a:gd name="T77" fmla="*/ 338 h 1089"/>
                <a:gd name="T78" fmla="*/ 146 w 701"/>
                <a:gd name="T79" fmla="*/ 388 h 1089"/>
                <a:gd name="T80" fmla="*/ 108 w 701"/>
                <a:gd name="T81" fmla="*/ 338 h 1089"/>
                <a:gd name="T82" fmla="*/ 163 w 701"/>
                <a:gd name="T83" fmla="*/ 392 h 1089"/>
                <a:gd name="T84" fmla="*/ 61 w 701"/>
                <a:gd name="T85" fmla="*/ 392 h 1089"/>
                <a:gd name="T86" fmla="*/ 49 w 701"/>
                <a:gd name="T87" fmla="*/ 409 h 1089"/>
                <a:gd name="T88" fmla="*/ 116 w 701"/>
                <a:gd name="T89" fmla="*/ 404 h 1089"/>
                <a:gd name="T90" fmla="*/ 142 w 701"/>
                <a:gd name="T91" fmla="*/ 421 h 1089"/>
                <a:gd name="T92" fmla="*/ 146 w 701"/>
                <a:gd name="T93" fmla="*/ 466 h 1089"/>
                <a:gd name="T94" fmla="*/ 78 w 701"/>
                <a:gd name="T95" fmla="*/ 459 h 1089"/>
                <a:gd name="T96" fmla="*/ 170 w 701"/>
                <a:gd name="T97" fmla="*/ 492 h 1089"/>
                <a:gd name="T98" fmla="*/ 142 w 701"/>
                <a:gd name="T99" fmla="*/ 503 h 1089"/>
                <a:gd name="T100" fmla="*/ 130 w 701"/>
                <a:gd name="T101" fmla="*/ 548 h 1089"/>
                <a:gd name="T102" fmla="*/ 217 w 701"/>
                <a:gd name="T103" fmla="*/ 536 h 1089"/>
                <a:gd name="T104" fmla="*/ 212 w 701"/>
                <a:gd name="T105" fmla="*/ 560 h 1089"/>
                <a:gd name="T106" fmla="*/ 38 w 701"/>
                <a:gd name="T107" fmla="*/ 631 h 1089"/>
                <a:gd name="T108" fmla="*/ 158 w 701"/>
                <a:gd name="T109" fmla="*/ 647 h 1089"/>
                <a:gd name="T110" fmla="*/ 158 w 701"/>
                <a:gd name="T111" fmla="*/ 697 h 1089"/>
                <a:gd name="T112" fmla="*/ 250 w 701"/>
                <a:gd name="T113" fmla="*/ 770 h 1089"/>
                <a:gd name="T114" fmla="*/ 635 w 701"/>
                <a:gd name="T115" fmla="*/ 957 h 1089"/>
                <a:gd name="T116" fmla="*/ 484 w 701"/>
                <a:gd name="T117" fmla="*/ 1035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1" h="1089">
                  <a:moveTo>
                    <a:pt x="510" y="17"/>
                  </a:moveTo>
                  <a:lnTo>
                    <a:pt x="505" y="17"/>
                  </a:lnTo>
                  <a:lnTo>
                    <a:pt x="510" y="0"/>
                  </a:lnTo>
                  <a:lnTo>
                    <a:pt x="522" y="0"/>
                  </a:lnTo>
                  <a:lnTo>
                    <a:pt x="510" y="17"/>
                  </a:lnTo>
                  <a:lnTo>
                    <a:pt x="510" y="17"/>
                  </a:lnTo>
                  <a:lnTo>
                    <a:pt x="510" y="17"/>
                  </a:lnTo>
                  <a:close/>
                  <a:moveTo>
                    <a:pt x="494" y="38"/>
                  </a:moveTo>
                  <a:lnTo>
                    <a:pt x="489" y="22"/>
                  </a:lnTo>
                  <a:lnTo>
                    <a:pt x="505" y="5"/>
                  </a:lnTo>
                  <a:lnTo>
                    <a:pt x="505" y="33"/>
                  </a:lnTo>
                  <a:lnTo>
                    <a:pt x="494" y="38"/>
                  </a:lnTo>
                  <a:lnTo>
                    <a:pt x="494" y="38"/>
                  </a:lnTo>
                  <a:lnTo>
                    <a:pt x="494" y="38"/>
                  </a:lnTo>
                  <a:close/>
                  <a:moveTo>
                    <a:pt x="489" y="62"/>
                  </a:moveTo>
                  <a:lnTo>
                    <a:pt x="494" y="71"/>
                  </a:lnTo>
                  <a:lnTo>
                    <a:pt x="489" y="78"/>
                  </a:lnTo>
                  <a:lnTo>
                    <a:pt x="484" y="99"/>
                  </a:lnTo>
                  <a:lnTo>
                    <a:pt x="472" y="99"/>
                  </a:lnTo>
                  <a:lnTo>
                    <a:pt x="489" y="78"/>
                  </a:lnTo>
                  <a:lnTo>
                    <a:pt x="484" y="62"/>
                  </a:lnTo>
                  <a:lnTo>
                    <a:pt x="472" y="62"/>
                  </a:lnTo>
                  <a:lnTo>
                    <a:pt x="484" y="71"/>
                  </a:lnTo>
                  <a:lnTo>
                    <a:pt x="472" y="71"/>
                  </a:lnTo>
                  <a:lnTo>
                    <a:pt x="456" y="55"/>
                  </a:lnTo>
                  <a:lnTo>
                    <a:pt x="484" y="45"/>
                  </a:lnTo>
                  <a:lnTo>
                    <a:pt x="456" y="38"/>
                  </a:lnTo>
                  <a:lnTo>
                    <a:pt x="484" y="22"/>
                  </a:lnTo>
                  <a:lnTo>
                    <a:pt x="484" y="38"/>
                  </a:lnTo>
                  <a:lnTo>
                    <a:pt x="505" y="38"/>
                  </a:lnTo>
                  <a:lnTo>
                    <a:pt x="489" y="62"/>
                  </a:lnTo>
                  <a:lnTo>
                    <a:pt x="489" y="62"/>
                  </a:lnTo>
                  <a:lnTo>
                    <a:pt x="489" y="62"/>
                  </a:lnTo>
                  <a:close/>
                  <a:moveTo>
                    <a:pt x="385" y="173"/>
                  </a:moveTo>
                  <a:lnTo>
                    <a:pt x="385" y="166"/>
                  </a:lnTo>
                  <a:lnTo>
                    <a:pt x="401" y="166"/>
                  </a:lnTo>
                  <a:lnTo>
                    <a:pt x="385" y="173"/>
                  </a:lnTo>
                  <a:lnTo>
                    <a:pt x="385" y="173"/>
                  </a:lnTo>
                  <a:lnTo>
                    <a:pt x="385" y="173"/>
                  </a:lnTo>
                  <a:close/>
                  <a:moveTo>
                    <a:pt x="375" y="206"/>
                  </a:moveTo>
                  <a:lnTo>
                    <a:pt x="342" y="199"/>
                  </a:lnTo>
                  <a:lnTo>
                    <a:pt x="342" y="182"/>
                  </a:lnTo>
                  <a:lnTo>
                    <a:pt x="359" y="182"/>
                  </a:lnTo>
                  <a:lnTo>
                    <a:pt x="380" y="206"/>
                  </a:lnTo>
                  <a:lnTo>
                    <a:pt x="375" y="206"/>
                  </a:lnTo>
                  <a:lnTo>
                    <a:pt x="375" y="206"/>
                  </a:lnTo>
                  <a:lnTo>
                    <a:pt x="375" y="206"/>
                  </a:lnTo>
                  <a:close/>
                  <a:moveTo>
                    <a:pt x="347" y="222"/>
                  </a:moveTo>
                  <a:lnTo>
                    <a:pt x="331" y="206"/>
                  </a:lnTo>
                  <a:lnTo>
                    <a:pt x="347" y="215"/>
                  </a:lnTo>
                  <a:lnTo>
                    <a:pt x="347" y="222"/>
                  </a:lnTo>
                  <a:lnTo>
                    <a:pt x="347" y="222"/>
                  </a:lnTo>
                  <a:lnTo>
                    <a:pt x="347" y="222"/>
                  </a:lnTo>
                  <a:close/>
                  <a:moveTo>
                    <a:pt x="364" y="222"/>
                  </a:moveTo>
                  <a:lnTo>
                    <a:pt x="359" y="215"/>
                  </a:lnTo>
                  <a:lnTo>
                    <a:pt x="375" y="215"/>
                  </a:lnTo>
                  <a:lnTo>
                    <a:pt x="364" y="222"/>
                  </a:lnTo>
                  <a:lnTo>
                    <a:pt x="364" y="222"/>
                  </a:lnTo>
                  <a:lnTo>
                    <a:pt x="364" y="222"/>
                  </a:lnTo>
                  <a:close/>
                  <a:moveTo>
                    <a:pt x="217" y="936"/>
                  </a:moveTo>
                  <a:lnTo>
                    <a:pt x="234" y="924"/>
                  </a:lnTo>
                  <a:lnTo>
                    <a:pt x="201" y="924"/>
                  </a:lnTo>
                  <a:lnTo>
                    <a:pt x="217" y="924"/>
                  </a:lnTo>
                  <a:lnTo>
                    <a:pt x="201" y="907"/>
                  </a:lnTo>
                  <a:lnTo>
                    <a:pt x="276" y="879"/>
                  </a:lnTo>
                  <a:lnTo>
                    <a:pt x="288" y="853"/>
                  </a:lnTo>
                  <a:lnTo>
                    <a:pt x="276" y="813"/>
                  </a:lnTo>
                  <a:lnTo>
                    <a:pt x="255" y="825"/>
                  </a:lnTo>
                  <a:lnTo>
                    <a:pt x="238" y="825"/>
                  </a:lnTo>
                  <a:lnTo>
                    <a:pt x="238" y="825"/>
                  </a:lnTo>
                  <a:lnTo>
                    <a:pt x="276" y="780"/>
                  </a:lnTo>
                  <a:lnTo>
                    <a:pt x="342" y="770"/>
                  </a:lnTo>
                  <a:lnTo>
                    <a:pt x="359" y="780"/>
                  </a:lnTo>
                  <a:lnTo>
                    <a:pt x="347" y="770"/>
                  </a:lnTo>
                  <a:lnTo>
                    <a:pt x="359" y="770"/>
                  </a:lnTo>
                  <a:lnTo>
                    <a:pt x="375" y="775"/>
                  </a:lnTo>
                  <a:lnTo>
                    <a:pt x="380" y="770"/>
                  </a:lnTo>
                  <a:lnTo>
                    <a:pt x="364" y="770"/>
                  </a:lnTo>
                  <a:lnTo>
                    <a:pt x="359" y="754"/>
                  </a:lnTo>
                  <a:lnTo>
                    <a:pt x="375" y="737"/>
                  </a:lnTo>
                  <a:lnTo>
                    <a:pt x="359" y="725"/>
                  </a:lnTo>
                  <a:lnTo>
                    <a:pt x="359" y="714"/>
                  </a:lnTo>
                  <a:lnTo>
                    <a:pt x="364" y="714"/>
                  </a:lnTo>
                  <a:lnTo>
                    <a:pt x="375" y="681"/>
                  </a:lnTo>
                  <a:lnTo>
                    <a:pt x="347" y="697"/>
                  </a:lnTo>
                  <a:lnTo>
                    <a:pt x="321" y="659"/>
                  </a:lnTo>
                  <a:lnTo>
                    <a:pt x="331" y="614"/>
                  </a:lnTo>
                  <a:lnTo>
                    <a:pt x="359" y="610"/>
                  </a:lnTo>
                  <a:lnTo>
                    <a:pt x="326" y="610"/>
                  </a:lnTo>
                  <a:lnTo>
                    <a:pt x="321" y="614"/>
                  </a:lnTo>
                  <a:lnTo>
                    <a:pt x="293" y="631"/>
                  </a:lnTo>
                  <a:lnTo>
                    <a:pt x="267" y="614"/>
                  </a:lnTo>
                  <a:lnTo>
                    <a:pt x="267" y="643"/>
                  </a:lnTo>
                  <a:lnTo>
                    <a:pt x="234" y="614"/>
                  </a:lnTo>
                  <a:lnTo>
                    <a:pt x="222" y="626"/>
                  </a:lnTo>
                  <a:lnTo>
                    <a:pt x="234" y="643"/>
                  </a:lnTo>
                  <a:lnTo>
                    <a:pt x="222" y="643"/>
                  </a:lnTo>
                  <a:lnTo>
                    <a:pt x="212" y="614"/>
                  </a:lnTo>
                  <a:lnTo>
                    <a:pt x="212" y="610"/>
                  </a:lnTo>
                  <a:lnTo>
                    <a:pt x="250" y="553"/>
                  </a:lnTo>
                  <a:lnTo>
                    <a:pt x="222" y="536"/>
                  </a:lnTo>
                  <a:lnTo>
                    <a:pt x="234" y="515"/>
                  </a:lnTo>
                  <a:lnTo>
                    <a:pt x="255" y="515"/>
                  </a:lnTo>
                  <a:lnTo>
                    <a:pt x="234" y="503"/>
                  </a:lnTo>
                  <a:lnTo>
                    <a:pt x="234" y="492"/>
                  </a:lnTo>
                  <a:lnTo>
                    <a:pt x="222" y="520"/>
                  </a:lnTo>
                  <a:lnTo>
                    <a:pt x="212" y="515"/>
                  </a:lnTo>
                  <a:lnTo>
                    <a:pt x="212" y="520"/>
                  </a:lnTo>
                  <a:lnTo>
                    <a:pt x="201" y="520"/>
                  </a:lnTo>
                  <a:lnTo>
                    <a:pt x="201" y="503"/>
                  </a:lnTo>
                  <a:lnTo>
                    <a:pt x="222" y="482"/>
                  </a:lnTo>
                  <a:lnTo>
                    <a:pt x="217" y="482"/>
                  </a:lnTo>
                  <a:lnTo>
                    <a:pt x="196" y="503"/>
                  </a:lnTo>
                  <a:lnTo>
                    <a:pt x="196" y="532"/>
                  </a:lnTo>
                  <a:lnTo>
                    <a:pt x="184" y="548"/>
                  </a:lnTo>
                  <a:lnTo>
                    <a:pt x="184" y="570"/>
                  </a:lnTo>
                  <a:lnTo>
                    <a:pt x="163" y="577"/>
                  </a:lnTo>
                  <a:lnTo>
                    <a:pt x="179" y="532"/>
                  </a:lnTo>
                  <a:lnTo>
                    <a:pt x="170" y="515"/>
                  </a:lnTo>
                  <a:lnTo>
                    <a:pt x="179" y="499"/>
                  </a:lnTo>
                  <a:lnTo>
                    <a:pt x="170" y="503"/>
                  </a:lnTo>
                  <a:lnTo>
                    <a:pt x="184" y="492"/>
                  </a:lnTo>
                  <a:lnTo>
                    <a:pt x="179" y="492"/>
                  </a:lnTo>
                  <a:lnTo>
                    <a:pt x="179" y="475"/>
                  </a:lnTo>
                  <a:lnTo>
                    <a:pt x="217" y="449"/>
                  </a:lnTo>
                  <a:lnTo>
                    <a:pt x="217" y="449"/>
                  </a:lnTo>
                  <a:lnTo>
                    <a:pt x="212" y="459"/>
                  </a:lnTo>
                  <a:lnTo>
                    <a:pt x="196" y="459"/>
                  </a:lnTo>
                  <a:lnTo>
                    <a:pt x="201" y="449"/>
                  </a:lnTo>
                  <a:lnTo>
                    <a:pt x="196" y="442"/>
                  </a:lnTo>
                  <a:lnTo>
                    <a:pt x="212" y="421"/>
                  </a:lnTo>
                  <a:lnTo>
                    <a:pt x="170" y="459"/>
                  </a:lnTo>
                  <a:lnTo>
                    <a:pt x="146" y="442"/>
                  </a:lnTo>
                  <a:lnTo>
                    <a:pt x="184" y="437"/>
                  </a:lnTo>
                  <a:lnTo>
                    <a:pt x="130" y="437"/>
                  </a:lnTo>
                  <a:lnTo>
                    <a:pt x="163" y="425"/>
                  </a:lnTo>
                  <a:lnTo>
                    <a:pt x="163" y="425"/>
                  </a:lnTo>
                  <a:lnTo>
                    <a:pt x="163" y="421"/>
                  </a:lnTo>
                  <a:lnTo>
                    <a:pt x="179" y="421"/>
                  </a:lnTo>
                  <a:lnTo>
                    <a:pt x="158" y="409"/>
                  </a:lnTo>
                  <a:lnTo>
                    <a:pt x="163" y="404"/>
                  </a:lnTo>
                  <a:lnTo>
                    <a:pt x="184" y="404"/>
                  </a:lnTo>
                  <a:lnTo>
                    <a:pt x="163" y="392"/>
                  </a:lnTo>
                  <a:lnTo>
                    <a:pt x="170" y="392"/>
                  </a:lnTo>
                  <a:lnTo>
                    <a:pt x="196" y="392"/>
                  </a:lnTo>
                  <a:lnTo>
                    <a:pt x="179" y="388"/>
                  </a:lnTo>
                  <a:lnTo>
                    <a:pt x="179" y="383"/>
                  </a:lnTo>
                  <a:lnTo>
                    <a:pt x="196" y="383"/>
                  </a:lnTo>
                  <a:lnTo>
                    <a:pt x="179" y="371"/>
                  </a:lnTo>
                  <a:lnTo>
                    <a:pt x="184" y="366"/>
                  </a:lnTo>
                  <a:lnTo>
                    <a:pt x="163" y="366"/>
                  </a:lnTo>
                  <a:lnTo>
                    <a:pt x="163" y="350"/>
                  </a:lnTo>
                  <a:lnTo>
                    <a:pt x="184" y="350"/>
                  </a:lnTo>
                  <a:lnTo>
                    <a:pt x="163" y="338"/>
                  </a:lnTo>
                  <a:lnTo>
                    <a:pt x="163" y="317"/>
                  </a:lnTo>
                  <a:lnTo>
                    <a:pt x="170" y="317"/>
                  </a:lnTo>
                  <a:lnTo>
                    <a:pt x="179" y="326"/>
                  </a:lnTo>
                  <a:lnTo>
                    <a:pt x="179" y="310"/>
                  </a:lnTo>
                  <a:lnTo>
                    <a:pt x="217" y="317"/>
                  </a:lnTo>
                  <a:lnTo>
                    <a:pt x="184" y="293"/>
                  </a:lnTo>
                  <a:lnTo>
                    <a:pt x="201" y="293"/>
                  </a:lnTo>
                  <a:lnTo>
                    <a:pt x="196" y="277"/>
                  </a:lnTo>
                  <a:lnTo>
                    <a:pt x="217" y="277"/>
                  </a:lnTo>
                  <a:lnTo>
                    <a:pt x="212" y="260"/>
                  </a:lnTo>
                  <a:lnTo>
                    <a:pt x="222" y="239"/>
                  </a:lnTo>
                  <a:lnTo>
                    <a:pt x="238" y="244"/>
                  </a:lnTo>
                  <a:lnTo>
                    <a:pt x="238" y="255"/>
                  </a:lnTo>
                  <a:lnTo>
                    <a:pt x="250" y="239"/>
                  </a:lnTo>
                  <a:lnTo>
                    <a:pt x="271" y="244"/>
                  </a:lnTo>
                  <a:lnTo>
                    <a:pt x="359" y="227"/>
                  </a:lnTo>
                  <a:lnTo>
                    <a:pt x="359" y="255"/>
                  </a:lnTo>
                  <a:lnTo>
                    <a:pt x="347" y="272"/>
                  </a:lnTo>
                  <a:lnTo>
                    <a:pt x="293" y="310"/>
                  </a:lnTo>
                  <a:lnTo>
                    <a:pt x="288" y="317"/>
                  </a:lnTo>
                  <a:lnTo>
                    <a:pt x="267" y="310"/>
                  </a:lnTo>
                  <a:lnTo>
                    <a:pt x="288" y="317"/>
                  </a:lnTo>
                  <a:lnTo>
                    <a:pt x="309" y="317"/>
                  </a:lnTo>
                  <a:lnTo>
                    <a:pt x="293" y="333"/>
                  </a:lnTo>
                  <a:lnTo>
                    <a:pt x="271" y="333"/>
                  </a:lnTo>
                  <a:lnTo>
                    <a:pt x="267" y="350"/>
                  </a:lnTo>
                  <a:lnTo>
                    <a:pt x="288" y="338"/>
                  </a:lnTo>
                  <a:lnTo>
                    <a:pt x="276" y="355"/>
                  </a:lnTo>
                  <a:lnTo>
                    <a:pt x="326" y="333"/>
                  </a:lnTo>
                  <a:lnTo>
                    <a:pt x="430" y="333"/>
                  </a:lnTo>
                  <a:lnTo>
                    <a:pt x="439" y="333"/>
                  </a:lnTo>
                  <a:lnTo>
                    <a:pt x="451" y="355"/>
                  </a:lnTo>
                  <a:lnTo>
                    <a:pt x="434" y="371"/>
                  </a:lnTo>
                  <a:lnTo>
                    <a:pt x="418" y="421"/>
                  </a:lnTo>
                  <a:lnTo>
                    <a:pt x="397" y="437"/>
                  </a:lnTo>
                  <a:lnTo>
                    <a:pt x="397" y="449"/>
                  </a:lnTo>
                  <a:lnTo>
                    <a:pt x="342" y="466"/>
                  </a:lnTo>
                  <a:lnTo>
                    <a:pt x="375" y="459"/>
                  </a:lnTo>
                  <a:lnTo>
                    <a:pt x="397" y="482"/>
                  </a:lnTo>
                  <a:lnTo>
                    <a:pt x="331" y="503"/>
                  </a:lnTo>
                  <a:lnTo>
                    <a:pt x="309" y="503"/>
                  </a:lnTo>
                  <a:lnTo>
                    <a:pt x="359" y="515"/>
                  </a:lnTo>
                  <a:lnTo>
                    <a:pt x="385" y="499"/>
                  </a:lnTo>
                  <a:lnTo>
                    <a:pt x="430" y="520"/>
                  </a:lnTo>
                  <a:lnTo>
                    <a:pt x="439" y="548"/>
                  </a:lnTo>
                  <a:lnTo>
                    <a:pt x="456" y="548"/>
                  </a:lnTo>
                  <a:lnTo>
                    <a:pt x="484" y="631"/>
                  </a:lnTo>
                  <a:lnTo>
                    <a:pt x="489" y="643"/>
                  </a:lnTo>
                  <a:lnTo>
                    <a:pt x="538" y="659"/>
                  </a:lnTo>
                  <a:lnTo>
                    <a:pt x="548" y="681"/>
                  </a:lnTo>
                  <a:lnTo>
                    <a:pt x="564" y="697"/>
                  </a:lnTo>
                  <a:lnTo>
                    <a:pt x="560" y="702"/>
                  </a:lnTo>
                  <a:lnTo>
                    <a:pt x="581" y="742"/>
                  </a:lnTo>
                  <a:lnTo>
                    <a:pt x="581" y="754"/>
                  </a:lnTo>
                  <a:lnTo>
                    <a:pt x="560" y="737"/>
                  </a:lnTo>
                  <a:lnTo>
                    <a:pt x="522" y="737"/>
                  </a:lnTo>
                  <a:lnTo>
                    <a:pt x="548" y="737"/>
                  </a:lnTo>
                  <a:lnTo>
                    <a:pt x="593" y="770"/>
                  </a:lnTo>
                  <a:lnTo>
                    <a:pt x="597" y="792"/>
                  </a:lnTo>
                  <a:lnTo>
                    <a:pt x="576" y="813"/>
                  </a:lnTo>
                  <a:lnTo>
                    <a:pt x="597" y="825"/>
                  </a:lnTo>
                  <a:lnTo>
                    <a:pt x="614" y="808"/>
                  </a:lnTo>
                  <a:lnTo>
                    <a:pt x="635" y="808"/>
                  </a:lnTo>
                  <a:lnTo>
                    <a:pt x="668" y="813"/>
                  </a:lnTo>
                  <a:lnTo>
                    <a:pt x="690" y="829"/>
                  </a:lnTo>
                  <a:lnTo>
                    <a:pt x="701" y="853"/>
                  </a:lnTo>
                  <a:lnTo>
                    <a:pt x="685" y="891"/>
                  </a:lnTo>
                  <a:lnTo>
                    <a:pt x="668" y="907"/>
                  </a:lnTo>
                  <a:lnTo>
                    <a:pt x="657" y="903"/>
                  </a:lnTo>
                  <a:lnTo>
                    <a:pt x="668" y="907"/>
                  </a:lnTo>
                  <a:lnTo>
                    <a:pt x="657" y="919"/>
                  </a:lnTo>
                  <a:lnTo>
                    <a:pt x="647" y="919"/>
                  </a:lnTo>
                  <a:lnTo>
                    <a:pt x="619" y="924"/>
                  </a:lnTo>
                  <a:lnTo>
                    <a:pt x="635" y="924"/>
                  </a:lnTo>
                  <a:lnTo>
                    <a:pt x="647" y="940"/>
                  </a:lnTo>
                  <a:lnTo>
                    <a:pt x="597" y="957"/>
                  </a:lnTo>
                  <a:lnTo>
                    <a:pt x="619" y="947"/>
                  </a:lnTo>
                  <a:lnTo>
                    <a:pt x="614" y="957"/>
                  </a:lnTo>
                  <a:lnTo>
                    <a:pt x="635" y="964"/>
                  </a:lnTo>
                  <a:lnTo>
                    <a:pt x="673" y="957"/>
                  </a:lnTo>
                  <a:lnTo>
                    <a:pt x="673" y="981"/>
                  </a:lnTo>
                  <a:lnTo>
                    <a:pt x="647" y="990"/>
                  </a:lnTo>
                  <a:lnTo>
                    <a:pt x="647" y="1002"/>
                  </a:lnTo>
                  <a:lnTo>
                    <a:pt x="593" y="1018"/>
                  </a:lnTo>
                  <a:lnTo>
                    <a:pt x="560" y="1014"/>
                  </a:lnTo>
                  <a:lnTo>
                    <a:pt x="522" y="1018"/>
                  </a:lnTo>
                  <a:lnTo>
                    <a:pt x="510" y="1014"/>
                  </a:lnTo>
                  <a:lnTo>
                    <a:pt x="494" y="1014"/>
                  </a:lnTo>
                  <a:lnTo>
                    <a:pt x="494" y="1018"/>
                  </a:lnTo>
                  <a:lnTo>
                    <a:pt x="430" y="1018"/>
                  </a:lnTo>
                  <a:lnTo>
                    <a:pt x="434" y="1035"/>
                  </a:lnTo>
                  <a:lnTo>
                    <a:pt x="401" y="1030"/>
                  </a:lnTo>
                  <a:lnTo>
                    <a:pt x="401" y="1035"/>
                  </a:lnTo>
                  <a:lnTo>
                    <a:pt x="364" y="1018"/>
                  </a:lnTo>
                  <a:lnTo>
                    <a:pt x="331" y="1035"/>
                  </a:lnTo>
                  <a:lnTo>
                    <a:pt x="309" y="1068"/>
                  </a:lnTo>
                  <a:lnTo>
                    <a:pt x="276" y="1051"/>
                  </a:lnTo>
                  <a:lnTo>
                    <a:pt x="267" y="1056"/>
                  </a:lnTo>
                  <a:lnTo>
                    <a:pt x="238" y="1056"/>
                  </a:lnTo>
                  <a:lnTo>
                    <a:pt x="217" y="1073"/>
                  </a:lnTo>
                  <a:lnTo>
                    <a:pt x="217" y="1084"/>
                  </a:lnTo>
                  <a:lnTo>
                    <a:pt x="212" y="1089"/>
                  </a:lnTo>
                  <a:lnTo>
                    <a:pt x="184" y="1073"/>
                  </a:lnTo>
                  <a:lnTo>
                    <a:pt x="170" y="1084"/>
                  </a:lnTo>
                  <a:lnTo>
                    <a:pt x="170" y="1073"/>
                  </a:lnTo>
                  <a:lnTo>
                    <a:pt x="196" y="1073"/>
                  </a:lnTo>
                  <a:lnTo>
                    <a:pt x="217" y="1051"/>
                  </a:lnTo>
                  <a:lnTo>
                    <a:pt x="217" y="1035"/>
                  </a:lnTo>
                  <a:lnTo>
                    <a:pt x="238" y="1035"/>
                  </a:lnTo>
                  <a:lnTo>
                    <a:pt x="255" y="1018"/>
                  </a:lnTo>
                  <a:lnTo>
                    <a:pt x="255" y="997"/>
                  </a:lnTo>
                  <a:lnTo>
                    <a:pt x="271" y="997"/>
                  </a:lnTo>
                  <a:lnTo>
                    <a:pt x="276" y="990"/>
                  </a:lnTo>
                  <a:lnTo>
                    <a:pt x="276" y="981"/>
                  </a:lnTo>
                  <a:lnTo>
                    <a:pt x="359" y="973"/>
                  </a:lnTo>
                  <a:lnTo>
                    <a:pt x="364" y="957"/>
                  </a:lnTo>
                  <a:lnTo>
                    <a:pt x="401" y="924"/>
                  </a:lnTo>
                  <a:lnTo>
                    <a:pt x="342" y="957"/>
                  </a:lnTo>
                  <a:lnTo>
                    <a:pt x="326" y="957"/>
                  </a:lnTo>
                  <a:lnTo>
                    <a:pt x="305" y="936"/>
                  </a:lnTo>
                  <a:lnTo>
                    <a:pt x="276" y="947"/>
                  </a:lnTo>
                  <a:lnTo>
                    <a:pt x="271" y="940"/>
                  </a:lnTo>
                  <a:lnTo>
                    <a:pt x="288" y="936"/>
                  </a:lnTo>
                  <a:lnTo>
                    <a:pt x="267" y="924"/>
                  </a:lnTo>
                  <a:lnTo>
                    <a:pt x="217" y="936"/>
                  </a:lnTo>
                  <a:lnTo>
                    <a:pt x="217" y="936"/>
                  </a:lnTo>
                  <a:lnTo>
                    <a:pt x="217" y="936"/>
                  </a:lnTo>
                  <a:close/>
                  <a:moveTo>
                    <a:pt x="116" y="310"/>
                  </a:moveTo>
                  <a:lnTo>
                    <a:pt x="104" y="310"/>
                  </a:lnTo>
                  <a:lnTo>
                    <a:pt x="104" y="298"/>
                  </a:lnTo>
                  <a:lnTo>
                    <a:pt x="108" y="293"/>
                  </a:lnTo>
                  <a:lnTo>
                    <a:pt x="104" y="293"/>
                  </a:lnTo>
                  <a:lnTo>
                    <a:pt x="104" y="298"/>
                  </a:lnTo>
                  <a:lnTo>
                    <a:pt x="104" y="317"/>
                  </a:lnTo>
                  <a:lnTo>
                    <a:pt x="87" y="333"/>
                  </a:lnTo>
                  <a:lnTo>
                    <a:pt x="71" y="317"/>
                  </a:lnTo>
                  <a:lnTo>
                    <a:pt x="92" y="310"/>
                  </a:lnTo>
                  <a:lnTo>
                    <a:pt x="71" y="298"/>
                  </a:lnTo>
                  <a:lnTo>
                    <a:pt x="78" y="298"/>
                  </a:lnTo>
                  <a:lnTo>
                    <a:pt x="71" y="281"/>
                  </a:lnTo>
                  <a:lnTo>
                    <a:pt x="78" y="277"/>
                  </a:lnTo>
                  <a:lnTo>
                    <a:pt x="87" y="277"/>
                  </a:lnTo>
                  <a:lnTo>
                    <a:pt x="92" y="293"/>
                  </a:lnTo>
                  <a:lnTo>
                    <a:pt x="92" y="281"/>
                  </a:lnTo>
                  <a:lnTo>
                    <a:pt x="104" y="277"/>
                  </a:lnTo>
                  <a:lnTo>
                    <a:pt x="92" y="272"/>
                  </a:lnTo>
                  <a:lnTo>
                    <a:pt x="130" y="244"/>
                  </a:lnTo>
                  <a:lnTo>
                    <a:pt x="142" y="255"/>
                  </a:lnTo>
                  <a:lnTo>
                    <a:pt x="125" y="277"/>
                  </a:lnTo>
                  <a:lnTo>
                    <a:pt x="142" y="277"/>
                  </a:lnTo>
                  <a:lnTo>
                    <a:pt x="108" y="293"/>
                  </a:lnTo>
                  <a:lnTo>
                    <a:pt x="125" y="293"/>
                  </a:lnTo>
                  <a:lnTo>
                    <a:pt x="125" y="298"/>
                  </a:lnTo>
                  <a:lnTo>
                    <a:pt x="116" y="310"/>
                  </a:lnTo>
                  <a:lnTo>
                    <a:pt x="116" y="310"/>
                  </a:lnTo>
                  <a:lnTo>
                    <a:pt x="116" y="310"/>
                  </a:lnTo>
                  <a:close/>
                  <a:moveTo>
                    <a:pt x="61" y="350"/>
                  </a:moveTo>
                  <a:lnTo>
                    <a:pt x="38" y="338"/>
                  </a:lnTo>
                  <a:lnTo>
                    <a:pt x="71" y="333"/>
                  </a:lnTo>
                  <a:lnTo>
                    <a:pt x="78" y="338"/>
                  </a:lnTo>
                  <a:lnTo>
                    <a:pt x="61" y="350"/>
                  </a:lnTo>
                  <a:lnTo>
                    <a:pt x="61" y="350"/>
                  </a:lnTo>
                  <a:lnTo>
                    <a:pt x="61" y="350"/>
                  </a:lnTo>
                  <a:close/>
                  <a:moveTo>
                    <a:pt x="163" y="392"/>
                  </a:moveTo>
                  <a:lnTo>
                    <a:pt x="146" y="404"/>
                  </a:lnTo>
                  <a:lnTo>
                    <a:pt x="146" y="388"/>
                  </a:lnTo>
                  <a:lnTo>
                    <a:pt x="130" y="388"/>
                  </a:lnTo>
                  <a:lnTo>
                    <a:pt x="116" y="371"/>
                  </a:lnTo>
                  <a:lnTo>
                    <a:pt x="130" y="371"/>
                  </a:lnTo>
                  <a:lnTo>
                    <a:pt x="116" y="366"/>
                  </a:lnTo>
                  <a:lnTo>
                    <a:pt x="108" y="371"/>
                  </a:lnTo>
                  <a:lnTo>
                    <a:pt x="104" y="366"/>
                  </a:lnTo>
                  <a:lnTo>
                    <a:pt x="92" y="355"/>
                  </a:lnTo>
                  <a:lnTo>
                    <a:pt x="108" y="338"/>
                  </a:lnTo>
                  <a:lnTo>
                    <a:pt x="125" y="350"/>
                  </a:lnTo>
                  <a:lnTo>
                    <a:pt x="125" y="338"/>
                  </a:lnTo>
                  <a:lnTo>
                    <a:pt x="130" y="333"/>
                  </a:lnTo>
                  <a:lnTo>
                    <a:pt x="142" y="350"/>
                  </a:lnTo>
                  <a:lnTo>
                    <a:pt x="142" y="371"/>
                  </a:lnTo>
                  <a:lnTo>
                    <a:pt x="179" y="383"/>
                  </a:lnTo>
                  <a:lnTo>
                    <a:pt x="163" y="392"/>
                  </a:lnTo>
                  <a:lnTo>
                    <a:pt x="163" y="392"/>
                  </a:lnTo>
                  <a:lnTo>
                    <a:pt x="163" y="392"/>
                  </a:lnTo>
                  <a:close/>
                  <a:moveTo>
                    <a:pt x="61" y="366"/>
                  </a:moveTo>
                  <a:lnTo>
                    <a:pt x="54" y="355"/>
                  </a:lnTo>
                  <a:lnTo>
                    <a:pt x="61" y="355"/>
                  </a:lnTo>
                  <a:lnTo>
                    <a:pt x="61" y="366"/>
                  </a:lnTo>
                  <a:lnTo>
                    <a:pt x="61" y="366"/>
                  </a:lnTo>
                  <a:lnTo>
                    <a:pt x="61" y="366"/>
                  </a:lnTo>
                  <a:close/>
                  <a:moveTo>
                    <a:pt x="61" y="392"/>
                  </a:moveTo>
                  <a:lnTo>
                    <a:pt x="54" y="392"/>
                  </a:lnTo>
                  <a:lnTo>
                    <a:pt x="54" y="366"/>
                  </a:lnTo>
                  <a:lnTo>
                    <a:pt x="61" y="371"/>
                  </a:lnTo>
                  <a:lnTo>
                    <a:pt x="61" y="371"/>
                  </a:lnTo>
                  <a:lnTo>
                    <a:pt x="61" y="392"/>
                  </a:lnTo>
                  <a:lnTo>
                    <a:pt x="61" y="392"/>
                  </a:lnTo>
                  <a:lnTo>
                    <a:pt x="61" y="392"/>
                  </a:lnTo>
                  <a:close/>
                  <a:moveTo>
                    <a:pt x="49" y="409"/>
                  </a:moveTo>
                  <a:lnTo>
                    <a:pt x="38" y="409"/>
                  </a:lnTo>
                  <a:lnTo>
                    <a:pt x="49" y="392"/>
                  </a:lnTo>
                  <a:lnTo>
                    <a:pt x="54" y="404"/>
                  </a:lnTo>
                  <a:lnTo>
                    <a:pt x="49" y="409"/>
                  </a:lnTo>
                  <a:lnTo>
                    <a:pt x="49" y="409"/>
                  </a:lnTo>
                  <a:lnTo>
                    <a:pt x="49" y="409"/>
                  </a:lnTo>
                  <a:close/>
                  <a:moveTo>
                    <a:pt x="130" y="409"/>
                  </a:moveTo>
                  <a:lnTo>
                    <a:pt x="116" y="404"/>
                  </a:lnTo>
                  <a:lnTo>
                    <a:pt x="130" y="404"/>
                  </a:lnTo>
                  <a:lnTo>
                    <a:pt x="130" y="409"/>
                  </a:lnTo>
                  <a:lnTo>
                    <a:pt x="130" y="409"/>
                  </a:lnTo>
                  <a:lnTo>
                    <a:pt x="130" y="409"/>
                  </a:lnTo>
                  <a:close/>
                  <a:moveTo>
                    <a:pt x="142" y="421"/>
                  </a:moveTo>
                  <a:lnTo>
                    <a:pt x="142" y="409"/>
                  </a:lnTo>
                  <a:lnTo>
                    <a:pt x="142" y="409"/>
                  </a:lnTo>
                  <a:lnTo>
                    <a:pt x="142" y="421"/>
                  </a:lnTo>
                  <a:lnTo>
                    <a:pt x="142" y="421"/>
                  </a:lnTo>
                  <a:lnTo>
                    <a:pt x="142" y="421"/>
                  </a:lnTo>
                  <a:close/>
                  <a:moveTo>
                    <a:pt x="142" y="442"/>
                  </a:moveTo>
                  <a:lnTo>
                    <a:pt x="179" y="466"/>
                  </a:lnTo>
                  <a:lnTo>
                    <a:pt x="163" y="475"/>
                  </a:lnTo>
                  <a:lnTo>
                    <a:pt x="130" y="482"/>
                  </a:lnTo>
                  <a:lnTo>
                    <a:pt x="125" y="475"/>
                  </a:lnTo>
                  <a:lnTo>
                    <a:pt x="146" y="466"/>
                  </a:lnTo>
                  <a:lnTo>
                    <a:pt x="142" y="466"/>
                  </a:lnTo>
                  <a:lnTo>
                    <a:pt x="146" y="459"/>
                  </a:lnTo>
                  <a:lnTo>
                    <a:pt x="125" y="449"/>
                  </a:lnTo>
                  <a:lnTo>
                    <a:pt x="142" y="442"/>
                  </a:lnTo>
                  <a:lnTo>
                    <a:pt x="142" y="442"/>
                  </a:lnTo>
                  <a:lnTo>
                    <a:pt x="142" y="442"/>
                  </a:lnTo>
                  <a:close/>
                  <a:moveTo>
                    <a:pt x="87" y="459"/>
                  </a:moveTo>
                  <a:lnTo>
                    <a:pt x="78" y="459"/>
                  </a:lnTo>
                  <a:lnTo>
                    <a:pt x="104" y="449"/>
                  </a:lnTo>
                  <a:lnTo>
                    <a:pt x="87" y="459"/>
                  </a:lnTo>
                  <a:lnTo>
                    <a:pt x="87" y="459"/>
                  </a:lnTo>
                  <a:lnTo>
                    <a:pt x="87" y="459"/>
                  </a:lnTo>
                  <a:close/>
                  <a:moveTo>
                    <a:pt x="158" y="532"/>
                  </a:moveTo>
                  <a:lnTo>
                    <a:pt x="146" y="520"/>
                  </a:lnTo>
                  <a:lnTo>
                    <a:pt x="146" y="515"/>
                  </a:lnTo>
                  <a:lnTo>
                    <a:pt x="170" y="492"/>
                  </a:lnTo>
                  <a:lnTo>
                    <a:pt x="158" y="532"/>
                  </a:lnTo>
                  <a:lnTo>
                    <a:pt x="158" y="532"/>
                  </a:lnTo>
                  <a:lnTo>
                    <a:pt x="158" y="532"/>
                  </a:lnTo>
                  <a:close/>
                  <a:moveTo>
                    <a:pt x="142" y="503"/>
                  </a:moveTo>
                  <a:lnTo>
                    <a:pt x="130" y="499"/>
                  </a:lnTo>
                  <a:lnTo>
                    <a:pt x="142" y="492"/>
                  </a:lnTo>
                  <a:lnTo>
                    <a:pt x="142" y="503"/>
                  </a:lnTo>
                  <a:lnTo>
                    <a:pt x="142" y="503"/>
                  </a:lnTo>
                  <a:lnTo>
                    <a:pt x="142" y="503"/>
                  </a:lnTo>
                  <a:close/>
                  <a:moveTo>
                    <a:pt x="130" y="548"/>
                  </a:moveTo>
                  <a:lnTo>
                    <a:pt x="130" y="532"/>
                  </a:lnTo>
                  <a:lnTo>
                    <a:pt x="116" y="536"/>
                  </a:lnTo>
                  <a:lnTo>
                    <a:pt x="116" y="520"/>
                  </a:lnTo>
                  <a:lnTo>
                    <a:pt x="142" y="515"/>
                  </a:lnTo>
                  <a:lnTo>
                    <a:pt x="146" y="536"/>
                  </a:lnTo>
                  <a:lnTo>
                    <a:pt x="130" y="548"/>
                  </a:lnTo>
                  <a:lnTo>
                    <a:pt x="130" y="548"/>
                  </a:lnTo>
                  <a:lnTo>
                    <a:pt x="130" y="548"/>
                  </a:lnTo>
                  <a:close/>
                  <a:moveTo>
                    <a:pt x="217" y="536"/>
                  </a:moveTo>
                  <a:lnTo>
                    <a:pt x="212" y="515"/>
                  </a:lnTo>
                  <a:lnTo>
                    <a:pt x="217" y="520"/>
                  </a:lnTo>
                  <a:lnTo>
                    <a:pt x="217" y="536"/>
                  </a:lnTo>
                  <a:lnTo>
                    <a:pt x="217" y="536"/>
                  </a:lnTo>
                  <a:lnTo>
                    <a:pt x="217" y="536"/>
                  </a:lnTo>
                  <a:close/>
                  <a:moveTo>
                    <a:pt x="212" y="560"/>
                  </a:moveTo>
                  <a:lnTo>
                    <a:pt x="196" y="560"/>
                  </a:lnTo>
                  <a:lnTo>
                    <a:pt x="196" y="536"/>
                  </a:lnTo>
                  <a:lnTo>
                    <a:pt x="212" y="536"/>
                  </a:lnTo>
                  <a:lnTo>
                    <a:pt x="217" y="560"/>
                  </a:lnTo>
                  <a:lnTo>
                    <a:pt x="212" y="560"/>
                  </a:lnTo>
                  <a:lnTo>
                    <a:pt x="212" y="560"/>
                  </a:lnTo>
                  <a:lnTo>
                    <a:pt x="212" y="560"/>
                  </a:lnTo>
                  <a:close/>
                  <a:moveTo>
                    <a:pt x="108" y="702"/>
                  </a:moveTo>
                  <a:lnTo>
                    <a:pt x="78" y="664"/>
                  </a:lnTo>
                  <a:lnTo>
                    <a:pt x="61" y="697"/>
                  </a:lnTo>
                  <a:lnTo>
                    <a:pt x="23" y="685"/>
                  </a:lnTo>
                  <a:lnTo>
                    <a:pt x="0" y="664"/>
                  </a:lnTo>
                  <a:lnTo>
                    <a:pt x="33" y="647"/>
                  </a:lnTo>
                  <a:lnTo>
                    <a:pt x="16" y="643"/>
                  </a:lnTo>
                  <a:lnTo>
                    <a:pt x="38" y="631"/>
                  </a:lnTo>
                  <a:lnTo>
                    <a:pt x="61" y="603"/>
                  </a:lnTo>
                  <a:lnTo>
                    <a:pt x="78" y="603"/>
                  </a:lnTo>
                  <a:lnTo>
                    <a:pt x="87" y="593"/>
                  </a:lnTo>
                  <a:lnTo>
                    <a:pt x="116" y="586"/>
                  </a:lnTo>
                  <a:lnTo>
                    <a:pt x="146" y="586"/>
                  </a:lnTo>
                  <a:lnTo>
                    <a:pt x="146" y="603"/>
                  </a:lnTo>
                  <a:lnTo>
                    <a:pt x="170" y="626"/>
                  </a:lnTo>
                  <a:lnTo>
                    <a:pt x="158" y="647"/>
                  </a:lnTo>
                  <a:lnTo>
                    <a:pt x="179" y="643"/>
                  </a:lnTo>
                  <a:lnTo>
                    <a:pt x="196" y="659"/>
                  </a:lnTo>
                  <a:lnTo>
                    <a:pt x="184" y="669"/>
                  </a:lnTo>
                  <a:lnTo>
                    <a:pt x="179" y="659"/>
                  </a:lnTo>
                  <a:lnTo>
                    <a:pt x="170" y="647"/>
                  </a:lnTo>
                  <a:lnTo>
                    <a:pt x="179" y="681"/>
                  </a:lnTo>
                  <a:lnTo>
                    <a:pt x="163" y="681"/>
                  </a:lnTo>
                  <a:lnTo>
                    <a:pt x="158" y="697"/>
                  </a:lnTo>
                  <a:lnTo>
                    <a:pt x="146" y="702"/>
                  </a:lnTo>
                  <a:lnTo>
                    <a:pt x="130" y="697"/>
                  </a:lnTo>
                  <a:lnTo>
                    <a:pt x="108" y="702"/>
                  </a:lnTo>
                  <a:lnTo>
                    <a:pt x="108" y="702"/>
                  </a:lnTo>
                  <a:lnTo>
                    <a:pt x="108" y="702"/>
                  </a:lnTo>
                  <a:close/>
                  <a:moveTo>
                    <a:pt x="267" y="792"/>
                  </a:moveTo>
                  <a:lnTo>
                    <a:pt x="250" y="775"/>
                  </a:lnTo>
                  <a:lnTo>
                    <a:pt x="250" y="770"/>
                  </a:lnTo>
                  <a:lnTo>
                    <a:pt x="271" y="770"/>
                  </a:lnTo>
                  <a:lnTo>
                    <a:pt x="288" y="775"/>
                  </a:lnTo>
                  <a:lnTo>
                    <a:pt x="267" y="792"/>
                  </a:lnTo>
                  <a:lnTo>
                    <a:pt x="267" y="792"/>
                  </a:lnTo>
                  <a:lnTo>
                    <a:pt x="267" y="792"/>
                  </a:lnTo>
                  <a:close/>
                  <a:moveTo>
                    <a:pt x="635" y="964"/>
                  </a:moveTo>
                  <a:lnTo>
                    <a:pt x="631" y="957"/>
                  </a:lnTo>
                  <a:lnTo>
                    <a:pt x="635" y="957"/>
                  </a:lnTo>
                  <a:lnTo>
                    <a:pt x="635" y="964"/>
                  </a:lnTo>
                  <a:lnTo>
                    <a:pt x="635" y="964"/>
                  </a:lnTo>
                  <a:lnTo>
                    <a:pt x="635" y="964"/>
                  </a:lnTo>
                  <a:close/>
                  <a:moveTo>
                    <a:pt x="484" y="1035"/>
                  </a:moveTo>
                  <a:lnTo>
                    <a:pt x="468" y="1030"/>
                  </a:lnTo>
                  <a:lnTo>
                    <a:pt x="484" y="1018"/>
                  </a:lnTo>
                  <a:lnTo>
                    <a:pt x="494" y="1030"/>
                  </a:lnTo>
                  <a:lnTo>
                    <a:pt x="484" y="1035"/>
                  </a:lnTo>
                  <a:lnTo>
                    <a:pt x="484" y="1035"/>
                  </a:lnTo>
                  <a:lnTo>
                    <a:pt x="484" y="103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9" name="Freeform 581">
              <a:extLst>
                <a:ext uri="{FF2B5EF4-FFF2-40B4-BE49-F238E27FC236}">
                  <a16:creationId xmlns:a16="http://schemas.microsoft.com/office/drawing/2014/main" id="{E2A65B76-246A-455A-8EF8-393B4F1873D9}"/>
                </a:ext>
              </a:extLst>
            </p:cNvPr>
            <p:cNvSpPr>
              <a:spLocks noEditPoints="1"/>
            </p:cNvSpPr>
            <p:nvPr/>
          </p:nvSpPr>
          <p:spPr bwMode="gray">
            <a:xfrm>
              <a:off x="14252457" y="2750561"/>
              <a:ext cx="412721" cy="244491"/>
            </a:xfrm>
            <a:custGeom>
              <a:avLst/>
              <a:gdLst>
                <a:gd name="T0" fmla="*/ 463 w 1261"/>
                <a:gd name="T1" fmla="*/ 669 h 747"/>
                <a:gd name="T2" fmla="*/ 446 w 1261"/>
                <a:gd name="T3" fmla="*/ 641 h 747"/>
                <a:gd name="T4" fmla="*/ 479 w 1261"/>
                <a:gd name="T5" fmla="*/ 598 h 747"/>
                <a:gd name="T6" fmla="*/ 489 w 1261"/>
                <a:gd name="T7" fmla="*/ 546 h 747"/>
                <a:gd name="T8" fmla="*/ 534 w 1261"/>
                <a:gd name="T9" fmla="*/ 558 h 747"/>
                <a:gd name="T10" fmla="*/ 543 w 1261"/>
                <a:gd name="T11" fmla="*/ 546 h 747"/>
                <a:gd name="T12" fmla="*/ 505 w 1261"/>
                <a:gd name="T13" fmla="*/ 485 h 747"/>
                <a:gd name="T14" fmla="*/ 489 w 1261"/>
                <a:gd name="T15" fmla="*/ 419 h 747"/>
                <a:gd name="T16" fmla="*/ 413 w 1261"/>
                <a:gd name="T17" fmla="*/ 390 h 747"/>
                <a:gd name="T18" fmla="*/ 290 w 1261"/>
                <a:gd name="T19" fmla="*/ 397 h 747"/>
                <a:gd name="T20" fmla="*/ 165 w 1261"/>
                <a:gd name="T21" fmla="*/ 419 h 747"/>
                <a:gd name="T22" fmla="*/ 52 w 1261"/>
                <a:gd name="T23" fmla="*/ 419 h 747"/>
                <a:gd name="T24" fmla="*/ 0 w 1261"/>
                <a:gd name="T25" fmla="*/ 381 h 747"/>
                <a:gd name="T26" fmla="*/ 52 w 1261"/>
                <a:gd name="T27" fmla="*/ 324 h 747"/>
                <a:gd name="T28" fmla="*/ 38 w 1261"/>
                <a:gd name="T29" fmla="*/ 267 h 747"/>
                <a:gd name="T30" fmla="*/ 139 w 1261"/>
                <a:gd name="T31" fmla="*/ 173 h 747"/>
                <a:gd name="T32" fmla="*/ 106 w 1261"/>
                <a:gd name="T33" fmla="*/ 85 h 747"/>
                <a:gd name="T34" fmla="*/ 253 w 1261"/>
                <a:gd name="T35" fmla="*/ 45 h 747"/>
                <a:gd name="T36" fmla="*/ 392 w 1261"/>
                <a:gd name="T37" fmla="*/ 85 h 747"/>
                <a:gd name="T38" fmla="*/ 430 w 1261"/>
                <a:gd name="T39" fmla="*/ 74 h 747"/>
                <a:gd name="T40" fmla="*/ 468 w 1261"/>
                <a:gd name="T41" fmla="*/ 78 h 747"/>
                <a:gd name="T42" fmla="*/ 538 w 1261"/>
                <a:gd name="T43" fmla="*/ 95 h 747"/>
                <a:gd name="T44" fmla="*/ 593 w 1261"/>
                <a:gd name="T45" fmla="*/ 74 h 747"/>
                <a:gd name="T46" fmla="*/ 678 w 1261"/>
                <a:gd name="T47" fmla="*/ 29 h 747"/>
                <a:gd name="T48" fmla="*/ 775 w 1261"/>
                <a:gd name="T49" fmla="*/ 0 h 747"/>
                <a:gd name="T50" fmla="*/ 862 w 1261"/>
                <a:gd name="T51" fmla="*/ 57 h 747"/>
                <a:gd name="T52" fmla="*/ 883 w 1261"/>
                <a:gd name="T53" fmla="*/ 119 h 747"/>
                <a:gd name="T54" fmla="*/ 921 w 1261"/>
                <a:gd name="T55" fmla="*/ 135 h 747"/>
                <a:gd name="T56" fmla="*/ 985 w 1261"/>
                <a:gd name="T57" fmla="*/ 189 h 747"/>
                <a:gd name="T58" fmla="*/ 1093 w 1261"/>
                <a:gd name="T59" fmla="*/ 225 h 747"/>
                <a:gd name="T60" fmla="*/ 1179 w 1261"/>
                <a:gd name="T61" fmla="*/ 246 h 747"/>
                <a:gd name="T62" fmla="*/ 1240 w 1261"/>
                <a:gd name="T63" fmla="*/ 267 h 747"/>
                <a:gd name="T64" fmla="*/ 1245 w 1261"/>
                <a:gd name="T65" fmla="*/ 319 h 747"/>
                <a:gd name="T66" fmla="*/ 1254 w 1261"/>
                <a:gd name="T67" fmla="*/ 341 h 747"/>
                <a:gd name="T68" fmla="*/ 1254 w 1261"/>
                <a:gd name="T69" fmla="*/ 390 h 747"/>
                <a:gd name="T70" fmla="*/ 1164 w 1261"/>
                <a:gd name="T71" fmla="*/ 447 h 747"/>
                <a:gd name="T72" fmla="*/ 1060 w 1261"/>
                <a:gd name="T73" fmla="*/ 520 h 747"/>
                <a:gd name="T74" fmla="*/ 900 w 1261"/>
                <a:gd name="T75" fmla="*/ 586 h 747"/>
                <a:gd name="T76" fmla="*/ 879 w 1261"/>
                <a:gd name="T77" fmla="*/ 579 h 747"/>
                <a:gd name="T78" fmla="*/ 867 w 1261"/>
                <a:gd name="T79" fmla="*/ 579 h 747"/>
                <a:gd name="T80" fmla="*/ 829 w 1261"/>
                <a:gd name="T81" fmla="*/ 579 h 747"/>
                <a:gd name="T82" fmla="*/ 824 w 1261"/>
                <a:gd name="T83" fmla="*/ 598 h 747"/>
                <a:gd name="T84" fmla="*/ 857 w 1261"/>
                <a:gd name="T85" fmla="*/ 598 h 747"/>
                <a:gd name="T86" fmla="*/ 862 w 1261"/>
                <a:gd name="T87" fmla="*/ 619 h 747"/>
                <a:gd name="T88" fmla="*/ 900 w 1261"/>
                <a:gd name="T89" fmla="*/ 652 h 747"/>
                <a:gd name="T90" fmla="*/ 895 w 1261"/>
                <a:gd name="T91" fmla="*/ 598 h 747"/>
                <a:gd name="T92" fmla="*/ 968 w 1261"/>
                <a:gd name="T93" fmla="*/ 659 h 747"/>
                <a:gd name="T94" fmla="*/ 1001 w 1261"/>
                <a:gd name="T95" fmla="*/ 685 h 747"/>
                <a:gd name="T96" fmla="*/ 900 w 1261"/>
                <a:gd name="T97" fmla="*/ 697 h 747"/>
                <a:gd name="T98" fmla="*/ 808 w 1261"/>
                <a:gd name="T99" fmla="*/ 742 h 747"/>
                <a:gd name="T100" fmla="*/ 808 w 1261"/>
                <a:gd name="T101" fmla="*/ 697 h 747"/>
                <a:gd name="T102" fmla="*/ 732 w 1261"/>
                <a:gd name="T103" fmla="*/ 659 h 747"/>
                <a:gd name="T104" fmla="*/ 808 w 1261"/>
                <a:gd name="T105" fmla="*/ 598 h 747"/>
                <a:gd name="T106" fmla="*/ 732 w 1261"/>
                <a:gd name="T107" fmla="*/ 586 h 747"/>
                <a:gd name="T108" fmla="*/ 652 w 1261"/>
                <a:gd name="T109" fmla="*/ 546 h 747"/>
                <a:gd name="T110" fmla="*/ 694 w 1261"/>
                <a:gd name="T111" fmla="*/ 541 h 747"/>
                <a:gd name="T112" fmla="*/ 685 w 1261"/>
                <a:gd name="T113" fmla="*/ 501 h 747"/>
                <a:gd name="T114" fmla="*/ 685 w 1261"/>
                <a:gd name="T115" fmla="*/ 541 h 747"/>
                <a:gd name="T116" fmla="*/ 609 w 1261"/>
                <a:gd name="T117" fmla="*/ 546 h 747"/>
                <a:gd name="T118" fmla="*/ 534 w 1261"/>
                <a:gd name="T119" fmla="*/ 636 h 747"/>
                <a:gd name="T120" fmla="*/ 534 w 1261"/>
                <a:gd name="T121" fmla="*/ 669 h 747"/>
                <a:gd name="T122" fmla="*/ 699 w 1261"/>
                <a:gd name="T123" fmla="*/ 586 h 747"/>
                <a:gd name="T124" fmla="*/ 699 w 1261"/>
                <a:gd name="T125" fmla="*/ 586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1" h="747">
                  <a:moveTo>
                    <a:pt x="534" y="669"/>
                  </a:moveTo>
                  <a:lnTo>
                    <a:pt x="522" y="659"/>
                  </a:lnTo>
                  <a:lnTo>
                    <a:pt x="505" y="652"/>
                  </a:lnTo>
                  <a:lnTo>
                    <a:pt x="463" y="669"/>
                  </a:lnTo>
                  <a:lnTo>
                    <a:pt x="437" y="659"/>
                  </a:lnTo>
                  <a:lnTo>
                    <a:pt x="425" y="652"/>
                  </a:lnTo>
                  <a:lnTo>
                    <a:pt x="430" y="641"/>
                  </a:lnTo>
                  <a:lnTo>
                    <a:pt x="446" y="641"/>
                  </a:lnTo>
                  <a:lnTo>
                    <a:pt x="446" y="631"/>
                  </a:lnTo>
                  <a:lnTo>
                    <a:pt x="463" y="615"/>
                  </a:lnTo>
                  <a:lnTo>
                    <a:pt x="463" y="603"/>
                  </a:lnTo>
                  <a:lnTo>
                    <a:pt x="479" y="598"/>
                  </a:lnTo>
                  <a:lnTo>
                    <a:pt x="484" y="579"/>
                  </a:lnTo>
                  <a:lnTo>
                    <a:pt x="479" y="574"/>
                  </a:lnTo>
                  <a:lnTo>
                    <a:pt x="484" y="558"/>
                  </a:lnTo>
                  <a:lnTo>
                    <a:pt x="489" y="546"/>
                  </a:lnTo>
                  <a:lnTo>
                    <a:pt x="501" y="563"/>
                  </a:lnTo>
                  <a:lnTo>
                    <a:pt x="517" y="558"/>
                  </a:lnTo>
                  <a:lnTo>
                    <a:pt x="522" y="563"/>
                  </a:lnTo>
                  <a:lnTo>
                    <a:pt x="534" y="558"/>
                  </a:lnTo>
                  <a:lnTo>
                    <a:pt x="543" y="563"/>
                  </a:lnTo>
                  <a:lnTo>
                    <a:pt x="560" y="563"/>
                  </a:lnTo>
                  <a:lnTo>
                    <a:pt x="543" y="546"/>
                  </a:lnTo>
                  <a:lnTo>
                    <a:pt x="543" y="546"/>
                  </a:lnTo>
                  <a:lnTo>
                    <a:pt x="543" y="525"/>
                  </a:lnTo>
                  <a:lnTo>
                    <a:pt x="522" y="520"/>
                  </a:lnTo>
                  <a:lnTo>
                    <a:pt x="522" y="475"/>
                  </a:lnTo>
                  <a:lnTo>
                    <a:pt x="505" y="485"/>
                  </a:lnTo>
                  <a:lnTo>
                    <a:pt x="489" y="468"/>
                  </a:lnTo>
                  <a:lnTo>
                    <a:pt x="489" y="463"/>
                  </a:lnTo>
                  <a:lnTo>
                    <a:pt x="501" y="435"/>
                  </a:lnTo>
                  <a:lnTo>
                    <a:pt x="489" y="419"/>
                  </a:lnTo>
                  <a:lnTo>
                    <a:pt x="484" y="419"/>
                  </a:lnTo>
                  <a:lnTo>
                    <a:pt x="468" y="407"/>
                  </a:lnTo>
                  <a:lnTo>
                    <a:pt x="413" y="397"/>
                  </a:lnTo>
                  <a:lnTo>
                    <a:pt x="413" y="390"/>
                  </a:lnTo>
                  <a:lnTo>
                    <a:pt x="392" y="374"/>
                  </a:lnTo>
                  <a:lnTo>
                    <a:pt x="323" y="381"/>
                  </a:lnTo>
                  <a:lnTo>
                    <a:pt x="316" y="390"/>
                  </a:lnTo>
                  <a:lnTo>
                    <a:pt x="290" y="397"/>
                  </a:lnTo>
                  <a:lnTo>
                    <a:pt x="286" y="419"/>
                  </a:lnTo>
                  <a:lnTo>
                    <a:pt x="219" y="419"/>
                  </a:lnTo>
                  <a:lnTo>
                    <a:pt x="198" y="447"/>
                  </a:lnTo>
                  <a:lnTo>
                    <a:pt x="165" y="419"/>
                  </a:lnTo>
                  <a:lnTo>
                    <a:pt x="144" y="419"/>
                  </a:lnTo>
                  <a:lnTo>
                    <a:pt x="90" y="419"/>
                  </a:lnTo>
                  <a:lnTo>
                    <a:pt x="75" y="407"/>
                  </a:lnTo>
                  <a:lnTo>
                    <a:pt x="52" y="419"/>
                  </a:lnTo>
                  <a:lnTo>
                    <a:pt x="47" y="407"/>
                  </a:lnTo>
                  <a:lnTo>
                    <a:pt x="38" y="407"/>
                  </a:lnTo>
                  <a:lnTo>
                    <a:pt x="5" y="381"/>
                  </a:lnTo>
                  <a:lnTo>
                    <a:pt x="0" y="381"/>
                  </a:lnTo>
                  <a:lnTo>
                    <a:pt x="0" y="362"/>
                  </a:lnTo>
                  <a:lnTo>
                    <a:pt x="14" y="352"/>
                  </a:lnTo>
                  <a:lnTo>
                    <a:pt x="31" y="319"/>
                  </a:lnTo>
                  <a:lnTo>
                    <a:pt x="52" y="324"/>
                  </a:lnTo>
                  <a:lnTo>
                    <a:pt x="52" y="319"/>
                  </a:lnTo>
                  <a:lnTo>
                    <a:pt x="38" y="308"/>
                  </a:lnTo>
                  <a:lnTo>
                    <a:pt x="47" y="296"/>
                  </a:lnTo>
                  <a:lnTo>
                    <a:pt x="38" y="267"/>
                  </a:lnTo>
                  <a:lnTo>
                    <a:pt x="85" y="225"/>
                  </a:lnTo>
                  <a:lnTo>
                    <a:pt x="113" y="189"/>
                  </a:lnTo>
                  <a:lnTo>
                    <a:pt x="127" y="189"/>
                  </a:lnTo>
                  <a:lnTo>
                    <a:pt x="139" y="173"/>
                  </a:lnTo>
                  <a:lnTo>
                    <a:pt x="127" y="152"/>
                  </a:lnTo>
                  <a:lnTo>
                    <a:pt x="139" y="152"/>
                  </a:lnTo>
                  <a:lnTo>
                    <a:pt x="113" y="111"/>
                  </a:lnTo>
                  <a:lnTo>
                    <a:pt x="106" y="85"/>
                  </a:lnTo>
                  <a:lnTo>
                    <a:pt x="106" y="74"/>
                  </a:lnTo>
                  <a:lnTo>
                    <a:pt x="139" y="78"/>
                  </a:lnTo>
                  <a:lnTo>
                    <a:pt x="160" y="45"/>
                  </a:lnTo>
                  <a:lnTo>
                    <a:pt x="253" y="45"/>
                  </a:lnTo>
                  <a:lnTo>
                    <a:pt x="354" y="62"/>
                  </a:lnTo>
                  <a:lnTo>
                    <a:pt x="361" y="78"/>
                  </a:lnTo>
                  <a:lnTo>
                    <a:pt x="392" y="78"/>
                  </a:lnTo>
                  <a:lnTo>
                    <a:pt x="392" y="85"/>
                  </a:lnTo>
                  <a:lnTo>
                    <a:pt x="392" y="85"/>
                  </a:lnTo>
                  <a:lnTo>
                    <a:pt x="399" y="74"/>
                  </a:lnTo>
                  <a:lnTo>
                    <a:pt x="413" y="78"/>
                  </a:lnTo>
                  <a:lnTo>
                    <a:pt x="430" y="74"/>
                  </a:lnTo>
                  <a:lnTo>
                    <a:pt x="430" y="78"/>
                  </a:lnTo>
                  <a:lnTo>
                    <a:pt x="451" y="78"/>
                  </a:lnTo>
                  <a:lnTo>
                    <a:pt x="463" y="95"/>
                  </a:lnTo>
                  <a:lnTo>
                    <a:pt x="468" y="78"/>
                  </a:lnTo>
                  <a:lnTo>
                    <a:pt x="489" y="74"/>
                  </a:lnTo>
                  <a:lnTo>
                    <a:pt x="505" y="95"/>
                  </a:lnTo>
                  <a:lnTo>
                    <a:pt x="534" y="85"/>
                  </a:lnTo>
                  <a:lnTo>
                    <a:pt x="538" y="95"/>
                  </a:lnTo>
                  <a:lnTo>
                    <a:pt x="560" y="85"/>
                  </a:lnTo>
                  <a:lnTo>
                    <a:pt x="593" y="111"/>
                  </a:lnTo>
                  <a:lnTo>
                    <a:pt x="597" y="102"/>
                  </a:lnTo>
                  <a:lnTo>
                    <a:pt x="593" y="74"/>
                  </a:lnTo>
                  <a:lnTo>
                    <a:pt x="597" y="57"/>
                  </a:lnTo>
                  <a:lnTo>
                    <a:pt x="614" y="41"/>
                  </a:lnTo>
                  <a:lnTo>
                    <a:pt x="614" y="29"/>
                  </a:lnTo>
                  <a:lnTo>
                    <a:pt x="678" y="29"/>
                  </a:lnTo>
                  <a:lnTo>
                    <a:pt x="706" y="29"/>
                  </a:lnTo>
                  <a:lnTo>
                    <a:pt x="716" y="8"/>
                  </a:lnTo>
                  <a:lnTo>
                    <a:pt x="753" y="17"/>
                  </a:lnTo>
                  <a:lnTo>
                    <a:pt x="775" y="0"/>
                  </a:lnTo>
                  <a:lnTo>
                    <a:pt x="824" y="0"/>
                  </a:lnTo>
                  <a:lnTo>
                    <a:pt x="841" y="24"/>
                  </a:lnTo>
                  <a:lnTo>
                    <a:pt x="841" y="41"/>
                  </a:lnTo>
                  <a:lnTo>
                    <a:pt x="862" y="57"/>
                  </a:lnTo>
                  <a:lnTo>
                    <a:pt x="862" y="62"/>
                  </a:lnTo>
                  <a:lnTo>
                    <a:pt x="841" y="74"/>
                  </a:lnTo>
                  <a:lnTo>
                    <a:pt x="862" y="111"/>
                  </a:lnTo>
                  <a:lnTo>
                    <a:pt x="883" y="119"/>
                  </a:lnTo>
                  <a:lnTo>
                    <a:pt x="909" y="111"/>
                  </a:lnTo>
                  <a:lnTo>
                    <a:pt x="916" y="128"/>
                  </a:lnTo>
                  <a:lnTo>
                    <a:pt x="933" y="128"/>
                  </a:lnTo>
                  <a:lnTo>
                    <a:pt x="921" y="135"/>
                  </a:lnTo>
                  <a:lnTo>
                    <a:pt x="938" y="168"/>
                  </a:lnTo>
                  <a:lnTo>
                    <a:pt x="933" y="168"/>
                  </a:lnTo>
                  <a:lnTo>
                    <a:pt x="947" y="189"/>
                  </a:lnTo>
                  <a:lnTo>
                    <a:pt x="985" y="189"/>
                  </a:lnTo>
                  <a:lnTo>
                    <a:pt x="992" y="197"/>
                  </a:lnTo>
                  <a:lnTo>
                    <a:pt x="1018" y="206"/>
                  </a:lnTo>
                  <a:lnTo>
                    <a:pt x="1077" y="189"/>
                  </a:lnTo>
                  <a:lnTo>
                    <a:pt x="1093" y="225"/>
                  </a:lnTo>
                  <a:lnTo>
                    <a:pt x="1115" y="241"/>
                  </a:lnTo>
                  <a:lnTo>
                    <a:pt x="1127" y="225"/>
                  </a:lnTo>
                  <a:lnTo>
                    <a:pt x="1131" y="225"/>
                  </a:lnTo>
                  <a:lnTo>
                    <a:pt x="1179" y="246"/>
                  </a:lnTo>
                  <a:lnTo>
                    <a:pt x="1190" y="241"/>
                  </a:lnTo>
                  <a:lnTo>
                    <a:pt x="1202" y="251"/>
                  </a:lnTo>
                  <a:lnTo>
                    <a:pt x="1223" y="251"/>
                  </a:lnTo>
                  <a:lnTo>
                    <a:pt x="1240" y="267"/>
                  </a:lnTo>
                  <a:lnTo>
                    <a:pt x="1261" y="267"/>
                  </a:lnTo>
                  <a:lnTo>
                    <a:pt x="1254" y="279"/>
                  </a:lnTo>
                  <a:lnTo>
                    <a:pt x="1261" y="303"/>
                  </a:lnTo>
                  <a:lnTo>
                    <a:pt x="1245" y="319"/>
                  </a:lnTo>
                  <a:lnTo>
                    <a:pt x="1233" y="324"/>
                  </a:lnTo>
                  <a:lnTo>
                    <a:pt x="1240" y="336"/>
                  </a:lnTo>
                  <a:lnTo>
                    <a:pt x="1254" y="336"/>
                  </a:lnTo>
                  <a:lnTo>
                    <a:pt x="1254" y="341"/>
                  </a:lnTo>
                  <a:lnTo>
                    <a:pt x="1240" y="341"/>
                  </a:lnTo>
                  <a:lnTo>
                    <a:pt x="1233" y="357"/>
                  </a:lnTo>
                  <a:lnTo>
                    <a:pt x="1240" y="362"/>
                  </a:lnTo>
                  <a:lnTo>
                    <a:pt x="1254" y="390"/>
                  </a:lnTo>
                  <a:lnTo>
                    <a:pt x="1240" y="414"/>
                  </a:lnTo>
                  <a:lnTo>
                    <a:pt x="1240" y="430"/>
                  </a:lnTo>
                  <a:lnTo>
                    <a:pt x="1169" y="430"/>
                  </a:lnTo>
                  <a:lnTo>
                    <a:pt x="1164" y="447"/>
                  </a:lnTo>
                  <a:lnTo>
                    <a:pt x="1131" y="452"/>
                  </a:lnTo>
                  <a:lnTo>
                    <a:pt x="1131" y="501"/>
                  </a:lnTo>
                  <a:lnTo>
                    <a:pt x="1077" y="501"/>
                  </a:lnTo>
                  <a:lnTo>
                    <a:pt x="1060" y="520"/>
                  </a:lnTo>
                  <a:lnTo>
                    <a:pt x="1056" y="520"/>
                  </a:lnTo>
                  <a:lnTo>
                    <a:pt x="985" y="541"/>
                  </a:lnTo>
                  <a:lnTo>
                    <a:pt x="964" y="541"/>
                  </a:lnTo>
                  <a:lnTo>
                    <a:pt x="900" y="586"/>
                  </a:lnTo>
                  <a:lnTo>
                    <a:pt x="921" y="574"/>
                  </a:lnTo>
                  <a:lnTo>
                    <a:pt x="916" y="558"/>
                  </a:lnTo>
                  <a:lnTo>
                    <a:pt x="909" y="574"/>
                  </a:lnTo>
                  <a:lnTo>
                    <a:pt x="879" y="579"/>
                  </a:lnTo>
                  <a:lnTo>
                    <a:pt x="867" y="598"/>
                  </a:lnTo>
                  <a:lnTo>
                    <a:pt x="862" y="598"/>
                  </a:lnTo>
                  <a:lnTo>
                    <a:pt x="867" y="586"/>
                  </a:lnTo>
                  <a:lnTo>
                    <a:pt x="867" y="579"/>
                  </a:lnTo>
                  <a:lnTo>
                    <a:pt x="857" y="579"/>
                  </a:lnTo>
                  <a:lnTo>
                    <a:pt x="845" y="574"/>
                  </a:lnTo>
                  <a:lnTo>
                    <a:pt x="841" y="586"/>
                  </a:lnTo>
                  <a:lnTo>
                    <a:pt x="829" y="579"/>
                  </a:lnTo>
                  <a:lnTo>
                    <a:pt x="808" y="579"/>
                  </a:lnTo>
                  <a:lnTo>
                    <a:pt x="812" y="586"/>
                  </a:lnTo>
                  <a:lnTo>
                    <a:pt x="824" y="579"/>
                  </a:lnTo>
                  <a:lnTo>
                    <a:pt x="824" y="598"/>
                  </a:lnTo>
                  <a:lnTo>
                    <a:pt x="829" y="586"/>
                  </a:lnTo>
                  <a:lnTo>
                    <a:pt x="841" y="603"/>
                  </a:lnTo>
                  <a:lnTo>
                    <a:pt x="845" y="598"/>
                  </a:lnTo>
                  <a:lnTo>
                    <a:pt x="857" y="598"/>
                  </a:lnTo>
                  <a:lnTo>
                    <a:pt x="862" y="603"/>
                  </a:lnTo>
                  <a:lnTo>
                    <a:pt x="857" y="615"/>
                  </a:lnTo>
                  <a:lnTo>
                    <a:pt x="879" y="603"/>
                  </a:lnTo>
                  <a:lnTo>
                    <a:pt x="862" y="619"/>
                  </a:lnTo>
                  <a:lnTo>
                    <a:pt x="879" y="619"/>
                  </a:lnTo>
                  <a:lnTo>
                    <a:pt x="900" y="631"/>
                  </a:lnTo>
                  <a:lnTo>
                    <a:pt x="909" y="641"/>
                  </a:lnTo>
                  <a:lnTo>
                    <a:pt x="900" y="652"/>
                  </a:lnTo>
                  <a:lnTo>
                    <a:pt x="909" y="659"/>
                  </a:lnTo>
                  <a:lnTo>
                    <a:pt x="921" y="659"/>
                  </a:lnTo>
                  <a:lnTo>
                    <a:pt x="879" y="586"/>
                  </a:lnTo>
                  <a:lnTo>
                    <a:pt x="895" y="598"/>
                  </a:lnTo>
                  <a:lnTo>
                    <a:pt x="909" y="631"/>
                  </a:lnTo>
                  <a:lnTo>
                    <a:pt x="938" y="659"/>
                  </a:lnTo>
                  <a:lnTo>
                    <a:pt x="964" y="652"/>
                  </a:lnTo>
                  <a:lnTo>
                    <a:pt x="968" y="659"/>
                  </a:lnTo>
                  <a:lnTo>
                    <a:pt x="985" y="641"/>
                  </a:lnTo>
                  <a:lnTo>
                    <a:pt x="1018" y="652"/>
                  </a:lnTo>
                  <a:lnTo>
                    <a:pt x="1001" y="659"/>
                  </a:lnTo>
                  <a:lnTo>
                    <a:pt x="1001" y="685"/>
                  </a:lnTo>
                  <a:lnTo>
                    <a:pt x="964" y="693"/>
                  </a:lnTo>
                  <a:lnTo>
                    <a:pt x="938" y="676"/>
                  </a:lnTo>
                  <a:lnTo>
                    <a:pt x="909" y="709"/>
                  </a:lnTo>
                  <a:lnTo>
                    <a:pt x="900" y="697"/>
                  </a:lnTo>
                  <a:lnTo>
                    <a:pt x="867" y="709"/>
                  </a:lnTo>
                  <a:lnTo>
                    <a:pt x="857" y="730"/>
                  </a:lnTo>
                  <a:lnTo>
                    <a:pt x="829" y="747"/>
                  </a:lnTo>
                  <a:lnTo>
                    <a:pt x="808" y="742"/>
                  </a:lnTo>
                  <a:lnTo>
                    <a:pt x="786" y="726"/>
                  </a:lnTo>
                  <a:lnTo>
                    <a:pt x="803" y="726"/>
                  </a:lnTo>
                  <a:lnTo>
                    <a:pt x="803" y="709"/>
                  </a:lnTo>
                  <a:lnTo>
                    <a:pt x="808" y="697"/>
                  </a:lnTo>
                  <a:lnTo>
                    <a:pt x="803" y="676"/>
                  </a:lnTo>
                  <a:lnTo>
                    <a:pt x="775" y="676"/>
                  </a:lnTo>
                  <a:lnTo>
                    <a:pt x="753" y="659"/>
                  </a:lnTo>
                  <a:lnTo>
                    <a:pt x="732" y="659"/>
                  </a:lnTo>
                  <a:lnTo>
                    <a:pt x="720" y="652"/>
                  </a:lnTo>
                  <a:lnTo>
                    <a:pt x="753" y="631"/>
                  </a:lnTo>
                  <a:lnTo>
                    <a:pt x="812" y="603"/>
                  </a:lnTo>
                  <a:lnTo>
                    <a:pt x="808" y="598"/>
                  </a:lnTo>
                  <a:lnTo>
                    <a:pt x="808" y="586"/>
                  </a:lnTo>
                  <a:lnTo>
                    <a:pt x="791" y="598"/>
                  </a:lnTo>
                  <a:lnTo>
                    <a:pt x="775" y="579"/>
                  </a:lnTo>
                  <a:lnTo>
                    <a:pt x="732" y="586"/>
                  </a:lnTo>
                  <a:lnTo>
                    <a:pt x="678" y="574"/>
                  </a:lnTo>
                  <a:lnTo>
                    <a:pt x="694" y="563"/>
                  </a:lnTo>
                  <a:lnTo>
                    <a:pt x="668" y="558"/>
                  </a:lnTo>
                  <a:lnTo>
                    <a:pt x="652" y="546"/>
                  </a:lnTo>
                  <a:lnTo>
                    <a:pt x="716" y="558"/>
                  </a:lnTo>
                  <a:lnTo>
                    <a:pt x="737" y="541"/>
                  </a:lnTo>
                  <a:lnTo>
                    <a:pt x="716" y="546"/>
                  </a:lnTo>
                  <a:lnTo>
                    <a:pt x="694" y="541"/>
                  </a:lnTo>
                  <a:lnTo>
                    <a:pt x="685" y="530"/>
                  </a:lnTo>
                  <a:lnTo>
                    <a:pt x="694" y="508"/>
                  </a:lnTo>
                  <a:lnTo>
                    <a:pt x="678" y="485"/>
                  </a:lnTo>
                  <a:lnTo>
                    <a:pt x="685" y="501"/>
                  </a:lnTo>
                  <a:lnTo>
                    <a:pt x="685" y="508"/>
                  </a:lnTo>
                  <a:lnTo>
                    <a:pt x="694" y="520"/>
                  </a:lnTo>
                  <a:lnTo>
                    <a:pt x="685" y="525"/>
                  </a:lnTo>
                  <a:lnTo>
                    <a:pt x="685" y="541"/>
                  </a:lnTo>
                  <a:lnTo>
                    <a:pt x="652" y="541"/>
                  </a:lnTo>
                  <a:lnTo>
                    <a:pt x="661" y="525"/>
                  </a:lnTo>
                  <a:lnTo>
                    <a:pt x="652" y="541"/>
                  </a:lnTo>
                  <a:lnTo>
                    <a:pt x="609" y="546"/>
                  </a:lnTo>
                  <a:lnTo>
                    <a:pt x="609" y="563"/>
                  </a:lnTo>
                  <a:lnTo>
                    <a:pt x="571" y="615"/>
                  </a:lnTo>
                  <a:lnTo>
                    <a:pt x="543" y="615"/>
                  </a:lnTo>
                  <a:lnTo>
                    <a:pt x="534" y="636"/>
                  </a:lnTo>
                  <a:lnTo>
                    <a:pt x="522" y="615"/>
                  </a:lnTo>
                  <a:lnTo>
                    <a:pt x="522" y="636"/>
                  </a:lnTo>
                  <a:lnTo>
                    <a:pt x="538" y="652"/>
                  </a:lnTo>
                  <a:lnTo>
                    <a:pt x="534" y="669"/>
                  </a:lnTo>
                  <a:lnTo>
                    <a:pt x="534" y="669"/>
                  </a:lnTo>
                  <a:lnTo>
                    <a:pt x="534" y="669"/>
                  </a:lnTo>
                  <a:lnTo>
                    <a:pt x="534" y="669"/>
                  </a:lnTo>
                  <a:close/>
                  <a:moveTo>
                    <a:pt x="699" y="586"/>
                  </a:moveTo>
                  <a:lnTo>
                    <a:pt x="661" y="574"/>
                  </a:lnTo>
                  <a:lnTo>
                    <a:pt x="652" y="563"/>
                  </a:lnTo>
                  <a:lnTo>
                    <a:pt x="661" y="574"/>
                  </a:lnTo>
                  <a:lnTo>
                    <a:pt x="699" y="586"/>
                  </a:lnTo>
                  <a:lnTo>
                    <a:pt x="699" y="586"/>
                  </a:lnTo>
                  <a:lnTo>
                    <a:pt x="699" y="58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0" name="Freeform 582">
              <a:extLst>
                <a:ext uri="{FF2B5EF4-FFF2-40B4-BE49-F238E27FC236}">
                  <a16:creationId xmlns:a16="http://schemas.microsoft.com/office/drawing/2014/main" id="{66734188-265A-4051-8DB6-508F346FCB95}"/>
                </a:ext>
              </a:extLst>
            </p:cNvPr>
            <p:cNvSpPr>
              <a:spLocks noEditPoints="1"/>
            </p:cNvSpPr>
            <p:nvPr/>
          </p:nvSpPr>
          <p:spPr bwMode="gray">
            <a:xfrm>
              <a:off x="9635283" y="2057347"/>
              <a:ext cx="8236093" cy="1606372"/>
            </a:xfrm>
            <a:custGeom>
              <a:avLst/>
              <a:gdLst>
                <a:gd name="T0" fmla="*/ 3387 w 25164"/>
                <a:gd name="T1" fmla="*/ 1889 h 4908"/>
                <a:gd name="T2" fmla="*/ 3186 w 25164"/>
                <a:gd name="T3" fmla="*/ 1606 h 4908"/>
                <a:gd name="T4" fmla="*/ 2948 w 25164"/>
                <a:gd name="T5" fmla="*/ 1462 h 4908"/>
                <a:gd name="T6" fmla="*/ 2615 w 25164"/>
                <a:gd name="T7" fmla="*/ 1351 h 4908"/>
                <a:gd name="T8" fmla="*/ 2154 w 25164"/>
                <a:gd name="T9" fmla="*/ 1263 h 4908"/>
                <a:gd name="T10" fmla="*/ 1939 w 25164"/>
                <a:gd name="T11" fmla="*/ 1301 h 4908"/>
                <a:gd name="T12" fmla="*/ 1734 w 25164"/>
                <a:gd name="T13" fmla="*/ 1445 h 4908"/>
                <a:gd name="T14" fmla="*/ 1427 w 25164"/>
                <a:gd name="T15" fmla="*/ 1755 h 4908"/>
                <a:gd name="T16" fmla="*/ 1103 w 25164"/>
                <a:gd name="T17" fmla="*/ 1866 h 4908"/>
                <a:gd name="T18" fmla="*/ 1420 w 25164"/>
                <a:gd name="T19" fmla="*/ 1462 h 4908"/>
                <a:gd name="T20" fmla="*/ 978 w 25164"/>
                <a:gd name="T21" fmla="*/ 1289 h 4908"/>
                <a:gd name="T22" fmla="*/ 935 w 25164"/>
                <a:gd name="T23" fmla="*/ 1145 h 4908"/>
                <a:gd name="T24" fmla="*/ 1117 w 25164"/>
                <a:gd name="T25" fmla="*/ 848 h 4908"/>
                <a:gd name="T26" fmla="*/ 1205 w 25164"/>
                <a:gd name="T27" fmla="*/ 670 h 4908"/>
                <a:gd name="T28" fmla="*/ 1103 w 25164"/>
                <a:gd name="T29" fmla="*/ 243 h 4908"/>
                <a:gd name="T30" fmla="*/ 1696 w 25164"/>
                <a:gd name="T31" fmla="*/ 26 h 4908"/>
                <a:gd name="T32" fmla="*/ 520 w 25164"/>
                <a:gd name="T33" fmla="*/ 980 h 4908"/>
                <a:gd name="T34" fmla="*/ 2183 w 25164"/>
                <a:gd name="T35" fmla="*/ 1263 h 4908"/>
                <a:gd name="T36" fmla="*/ 2268 w 25164"/>
                <a:gd name="T37" fmla="*/ 1296 h 4908"/>
                <a:gd name="T38" fmla="*/ 2154 w 25164"/>
                <a:gd name="T39" fmla="*/ 1346 h 4908"/>
                <a:gd name="T40" fmla="*/ 1868 w 25164"/>
                <a:gd name="T41" fmla="*/ 1533 h 4908"/>
                <a:gd name="T42" fmla="*/ 3061 w 25164"/>
                <a:gd name="T43" fmla="*/ 1589 h 4908"/>
                <a:gd name="T44" fmla="*/ 2993 w 25164"/>
                <a:gd name="T45" fmla="*/ 1556 h 4908"/>
                <a:gd name="T46" fmla="*/ 1724 w 25164"/>
                <a:gd name="T47" fmla="*/ 1651 h 4908"/>
                <a:gd name="T48" fmla="*/ 3085 w 25164"/>
                <a:gd name="T49" fmla="*/ 1622 h 4908"/>
                <a:gd name="T50" fmla="*/ 3182 w 25164"/>
                <a:gd name="T51" fmla="*/ 1677 h 4908"/>
                <a:gd name="T52" fmla="*/ 3241 w 25164"/>
                <a:gd name="T53" fmla="*/ 1684 h 4908"/>
                <a:gd name="T54" fmla="*/ 3262 w 25164"/>
                <a:gd name="T55" fmla="*/ 1722 h 4908"/>
                <a:gd name="T56" fmla="*/ 3203 w 25164"/>
                <a:gd name="T57" fmla="*/ 1804 h 4908"/>
                <a:gd name="T58" fmla="*/ 3342 w 25164"/>
                <a:gd name="T59" fmla="*/ 1833 h 4908"/>
                <a:gd name="T60" fmla="*/ 3203 w 25164"/>
                <a:gd name="T61" fmla="*/ 1811 h 4908"/>
                <a:gd name="T62" fmla="*/ 1301 w 25164"/>
                <a:gd name="T63" fmla="*/ 1828 h 4908"/>
                <a:gd name="T64" fmla="*/ 3246 w 25164"/>
                <a:gd name="T65" fmla="*/ 1861 h 4908"/>
                <a:gd name="T66" fmla="*/ 3349 w 25164"/>
                <a:gd name="T67" fmla="*/ 1866 h 4908"/>
                <a:gd name="T68" fmla="*/ 957 w 25164"/>
                <a:gd name="T69" fmla="*/ 1960 h 4908"/>
                <a:gd name="T70" fmla="*/ 789 w 25164"/>
                <a:gd name="T71" fmla="*/ 2017 h 4908"/>
                <a:gd name="T72" fmla="*/ 324 w 25164"/>
                <a:gd name="T73" fmla="*/ 2149 h 4908"/>
                <a:gd name="T74" fmla="*/ 201 w 25164"/>
                <a:gd name="T75" fmla="*/ 2161 h 4908"/>
                <a:gd name="T76" fmla="*/ 75 w 25164"/>
                <a:gd name="T77" fmla="*/ 2199 h 4908"/>
                <a:gd name="T78" fmla="*/ 5882 w 25164"/>
                <a:gd name="T79" fmla="*/ 2404 h 4908"/>
                <a:gd name="T80" fmla="*/ 7004 w 25164"/>
                <a:gd name="T81" fmla="*/ 2974 h 4908"/>
                <a:gd name="T82" fmla="*/ 7743 w 25164"/>
                <a:gd name="T83" fmla="*/ 2863 h 4908"/>
                <a:gd name="T84" fmla="*/ 7561 w 25164"/>
                <a:gd name="T85" fmla="*/ 3118 h 4908"/>
                <a:gd name="T86" fmla="*/ 7231 w 25164"/>
                <a:gd name="T87" fmla="*/ 3413 h 4908"/>
                <a:gd name="T88" fmla="*/ 7150 w 25164"/>
                <a:gd name="T89" fmla="*/ 3373 h 4908"/>
                <a:gd name="T90" fmla="*/ 7200 w 25164"/>
                <a:gd name="T91" fmla="*/ 3562 h 4908"/>
                <a:gd name="T92" fmla="*/ 7086 w 25164"/>
                <a:gd name="T93" fmla="*/ 3727 h 4908"/>
                <a:gd name="T94" fmla="*/ 6890 w 25164"/>
                <a:gd name="T95" fmla="*/ 4155 h 4908"/>
                <a:gd name="T96" fmla="*/ 6638 w 25164"/>
                <a:gd name="T97" fmla="*/ 4065 h 4908"/>
                <a:gd name="T98" fmla="*/ 6281 w 25164"/>
                <a:gd name="T99" fmla="*/ 4077 h 4908"/>
                <a:gd name="T100" fmla="*/ 5908 w 25164"/>
                <a:gd name="T101" fmla="*/ 4077 h 4908"/>
                <a:gd name="T102" fmla="*/ 5530 w 25164"/>
                <a:gd name="T103" fmla="*/ 4204 h 4908"/>
                <a:gd name="T104" fmla="*/ 4013 w 25164"/>
                <a:gd name="T105" fmla="*/ 3496 h 4908"/>
                <a:gd name="T106" fmla="*/ 3841 w 25164"/>
                <a:gd name="T107" fmla="*/ 2940 h 4908"/>
                <a:gd name="T108" fmla="*/ 3947 w 25164"/>
                <a:gd name="T109" fmla="*/ 2581 h 4908"/>
                <a:gd name="T110" fmla="*/ 3938 w 25164"/>
                <a:gd name="T111" fmla="*/ 2492 h 4908"/>
                <a:gd name="T112" fmla="*/ 7738 w 25164"/>
                <a:gd name="T113" fmla="*/ 2870 h 4908"/>
                <a:gd name="T114" fmla="*/ 7344 w 25164"/>
                <a:gd name="T115" fmla="*/ 3196 h 4908"/>
                <a:gd name="T116" fmla="*/ 4245 w 25164"/>
                <a:gd name="T117" fmla="*/ 3784 h 4908"/>
                <a:gd name="T118" fmla="*/ 5903 w 25164"/>
                <a:gd name="T119" fmla="*/ 4117 h 4908"/>
                <a:gd name="T120" fmla="*/ 1356 w 25164"/>
                <a:gd name="T121" fmla="*/ 4653 h 4908"/>
                <a:gd name="T122" fmla="*/ 1549 w 25164"/>
                <a:gd name="T123" fmla="*/ 4764 h 4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164" h="4908">
                  <a:moveTo>
                    <a:pt x="2662" y="222"/>
                  </a:moveTo>
                  <a:lnTo>
                    <a:pt x="2662" y="1313"/>
                  </a:lnTo>
                  <a:lnTo>
                    <a:pt x="2700" y="1318"/>
                  </a:lnTo>
                  <a:lnTo>
                    <a:pt x="2700" y="1313"/>
                  </a:lnTo>
                  <a:lnTo>
                    <a:pt x="2733" y="1329"/>
                  </a:lnTo>
                  <a:lnTo>
                    <a:pt x="2754" y="1313"/>
                  </a:lnTo>
                  <a:lnTo>
                    <a:pt x="2804" y="1301"/>
                  </a:lnTo>
                  <a:lnTo>
                    <a:pt x="2792" y="1334"/>
                  </a:lnTo>
                  <a:lnTo>
                    <a:pt x="2825" y="1351"/>
                  </a:lnTo>
                  <a:lnTo>
                    <a:pt x="2830" y="1367"/>
                  </a:lnTo>
                  <a:lnTo>
                    <a:pt x="2901" y="1424"/>
                  </a:lnTo>
                  <a:lnTo>
                    <a:pt x="2910" y="1462"/>
                  </a:lnTo>
                  <a:lnTo>
                    <a:pt x="2955" y="1429"/>
                  </a:lnTo>
                  <a:lnTo>
                    <a:pt x="2972" y="1429"/>
                  </a:lnTo>
                  <a:lnTo>
                    <a:pt x="2976" y="1424"/>
                  </a:lnTo>
                  <a:lnTo>
                    <a:pt x="2976" y="1400"/>
                  </a:lnTo>
                  <a:lnTo>
                    <a:pt x="2993" y="1400"/>
                  </a:lnTo>
                  <a:lnTo>
                    <a:pt x="2986" y="1389"/>
                  </a:lnTo>
                  <a:lnTo>
                    <a:pt x="3047" y="1367"/>
                  </a:lnTo>
                  <a:lnTo>
                    <a:pt x="3085" y="1389"/>
                  </a:lnTo>
                  <a:lnTo>
                    <a:pt x="3078" y="1407"/>
                  </a:lnTo>
                  <a:lnTo>
                    <a:pt x="3085" y="1424"/>
                  </a:lnTo>
                  <a:lnTo>
                    <a:pt x="3127" y="1441"/>
                  </a:lnTo>
                  <a:lnTo>
                    <a:pt x="3137" y="1474"/>
                  </a:lnTo>
                  <a:lnTo>
                    <a:pt x="3165" y="1478"/>
                  </a:lnTo>
                  <a:lnTo>
                    <a:pt x="3191" y="1511"/>
                  </a:lnTo>
                  <a:lnTo>
                    <a:pt x="3203" y="1528"/>
                  </a:lnTo>
                  <a:lnTo>
                    <a:pt x="3279" y="1639"/>
                  </a:lnTo>
                  <a:lnTo>
                    <a:pt x="3274" y="1651"/>
                  </a:lnTo>
                  <a:lnTo>
                    <a:pt x="3295" y="1660"/>
                  </a:lnTo>
                  <a:lnTo>
                    <a:pt x="3288" y="1677"/>
                  </a:lnTo>
                  <a:lnTo>
                    <a:pt x="3300" y="1684"/>
                  </a:lnTo>
                  <a:lnTo>
                    <a:pt x="3312" y="1700"/>
                  </a:lnTo>
                  <a:lnTo>
                    <a:pt x="3326" y="1700"/>
                  </a:lnTo>
                  <a:lnTo>
                    <a:pt x="3380" y="1722"/>
                  </a:lnTo>
                  <a:lnTo>
                    <a:pt x="3409" y="1750"/>
                  </a:lnTo>
                  <a:lnTo>
                    <a:pt x="3425" y="1750"/>
                  </a:lnTo>
                  <a:lnTo>
                    <a:pt x="3434" y="1771"/>
                  </a:lnTo>
                  <a:lnTo>
                    <a:pt x="3425" y="1788"/>
                  </a:lnTo>
                  <a:lnTo>
                    <a:pt x="3434" y="1833"/>
                  </a:lnTo>
                  <a:lnTo>
                    <a:pt x="3409" y="1873"/>
                  </a:lnTo>
                  <a:lnTo>
                    <a:pt x="3387" y="1889"/>
                  </a:lnTo>
                  <a:lnTo>
                    <a:pt x="3380" y="1866"/>
                  </a:lnTo>
                  <a:lnTo>
                    <a:pt x="3380" y="1882"/>
                  </a:lnTo>
                  <a:lnTo>
                    <a:pt x="3371" y="1889"/>
                  </a:lnTo>
                  <a:lnTo>
                    <a:pt x="3364" y="1866"/>
                  </a:lnTo>
                  <a:lnTo>
                    <a:pt x="3387" y="1849"/>
                  </a:lnTo>
                  <a:lnTo>
                    <a:pt x="3401" y="1833"/>
                  </a:lnTo>
                  <a:lnTo>
                    <a:pt x="3387" y="1849"/>
                  </a:lnTo>
                  <a:lnTo>
                    <a:pt x="3364" y="1849"/>
                  </a:lnTo>
                  <a:lnTo>
                    <a:pt x="3371" y="1833"/>
                  </a:lnTo>
                  <a:lnTo>
                    <a:pt x="3397" y="1833"/>
                  </a:lnTo>
                  <a:lnTo>
                    <a:pt x="3371" y="1833"/>
                  </a:lnTo>
                  <a:lnTo>
                    <a:pt x="3371" y="1795"/>
                  </a:lnTo>
                  <a:lnTo>
                    <a:pt x="3354" y="1771"/>
                  </a:lnTo>
                  <a:lnTo>
                    <a:pt x="3364" y="1755"/>
                  </a:lnTo>
                  <a:lnTo>
                    <a:pt x="3300" y="1778"/>
                  </a:lnTo>
                  <a:lnTo>
                    <a:pt x="3312" y="1778"/>
                  </a:lnTo>
                  <a:lnTo>
                    <a:pt x="3295" y="1811"/>
                  </a:lnTo>
                  <a:lnTo>
                    <a:pt x="3288" y="1804"/>
                  </a:lnTo>
                  <a:lnTo>
                    <a:pt x="3279" y="1788"/>
                  </a:lnTo>
                  <a:lnTo>
                    <a:pt x="3295" y="1762"/>
                  </a:lnTo>
                  <a:lnTo>
                    <a:pt x="3295" y="1750"/>
                  </a:lnTo>
                  <a:lnTo>
                    <a:pt x="3312" y="1738"/>
                  </a:lnTo>
                  <a:lnTo>
                    <a:pt x="3274" y="1705"/>
                  </a:lnTo>
                  <a:lnTo>
                    <a:pt x="3274" y="1700"/>
                  </a:lnTo>
                  <a:lnTo>
                    <a:pt x="3257" y="1700"/>
                  </a:lnTo>
                  <a:lnTo>
                    <a:pt x="3274" y="1677"/>
                  </a:lnTo>
                  <a:lnTo>
                    <a:pt x="3257" y="1684"/>
                  </a:lnTo>
                  <a:lnTo>
                    <a:pt x="3241" y="1677"/>
                  </a:lnTo>
                  <a:lnTo>
                    <a:pt x="3236" y="1667"/>
                  </a:lnTo>
                  <a:lnTo>
                    <a:pt x="3241" y="1660"/>
                  </a:lnTo>
                  <a:lnTo>
                    <a:pt x="3241" y="1651"/>
                  </a:lnTo>
                  <a:lnTo>
                    <a:pt x="3236" y="1660"/>
                  </a:lnTo>
                  <a:lnTo>
                    <a:pt x="3220" y="1651"/>
                  </a:lnTo>
                  <a:lnTo>
                    <a:pt x="3208" y="1644"/>
                  </a:lnTo>
                  <a:lnTo>
                    <a:pt x="3203" y="1651"/>
                  </a:lnTo>
                  <a:lnTo>
                    <a:pt x="3186" y="1644"/>
                  </a:lnTo>
                  <a:lnTo>
                    <a:pt x="3191" y="1627"/>
                  </a:lnTo>
                  <a:lnTo>
                    <a:pt x="3220" y="1622"/>
                  </a:lnTo>
                  <a:lnTo>
                    <a:pt x="3191" y="1627"/>
                  </a:lnTo>
                  <a:lnTo>
                    <a:pt x="3186" y="1611"/>
                  </a:lnTo>
                  <a:lnTo>
                    <a:pt x="3203" y="1594"/>
                  </a:lnTo>
                  <a:lnTo>
                    <a:pt x="3186" y="1606"/>
                  </a:lnTo>
                  <a:lnTo>
                    <a:pt x="3182" y="1589"/>
                  </a:lnTo>
                  <a:lnTo>
                    <a:pt x="3224" y="1606"/>
                  </a:lnTo>
                  <a:lnTo>
                    <a:pt x="3186" y="1585"/>
                  </a:lnTo>
                  <a:lnTo>
                    <a:pt x="3186" y="1568"/>
                  </a:lnTo>
                  <a:lnTo>
                    <a:pt x="3220" y="1573"/>
                  </a:lnTo>
                  <a:lnTo>
                    <a:pt x="3186" y="1568"/>
                  </a:lnTo>
                  <a:lnTo>
                    <a:pt x="3182" y="1585"/>
                  </a:lnTo>
                  <a:lnTo>
                    <a:pt x="3170" y="1556"/>
                  </a:lnTo>
                  <a:lnTo>
                    <a:pt x="3182" y="1540"/>
                  </a:lnTo>
                  <a:lnTo>
                    <a:pt x="3165" y="1556"/>
                  </a:lnTo>
                  <a:lnTo>
                    <a:pt x="3149" y="1552"/>
                  </a:lnTo>
                  <a:lnTo>
                    <a:pt x="3153" y="1516"/>
                  </a:lnTo>
                  <a:lnTo>
                    <a:pt x="3170" y="1500"/>
                  </a:lnTo>
                  <a:lnTo>
                    <a:pt x="3153" y="1500"/>
                  </a:lnTo>
                  <a:lnTo>
                    <a:pt x="3137" y="1533"/>
                  </a:lnTo>
                  <a:lnTo>
                    <a:pt x="3099" y="1516"/>
                  </a:lnTo>
                  <a:lnTo>
                    <a:pt x="3085" y="1483"/>
                  </a:lnTo>
                  <a:lnTo>
                    <a:pt x="3085" y="1474"/>
                  </a:lnTo>
                  <a:lnTo>
                    <a:pt x="3078" y="1478"/>
                  </a:lnTo>
                  <a:lnTo>
                    <a:pt x="3073" y="1474"/>
                  </a:lnTo>
                  <a:lnTo>
                    <a:pt x="3057" y="1424"/>
                  </a:lnTo>
                  <a:lnTo>
                    <a:pt x="3061" y="1400"/>
                  </a:lnTo>
                  <a:lnTo>
                    <a:pt x="3057" y="1424"/>
                  </a:lnTo>
                  <a:lnTo>
                    <a:pt x="3061" y="1445"/>
                  </a:lnTo>
                  <a:lnTo>
                    <a:pt x="3047" y="1429"/>
                  </a:lnTo>
                  <a:lnTo>
                    <a:pt x="3073" y="1483"/>
                  </a:lnTo>
                  <a:lnTo>
                    <a:pt x="3078" y="1516"/>
                  </a:lnTo>
                  <a:lnTo>
                    <a:pt x="3078" y="1533"/>
                  </a:lnTo>
                  <a:lnTo>
                    <a:pt x="3061" y="1533"/>
                  </a:lnTo>
                  <a:lnTo>
                    <a:pt x="3047" y="1511"/>
                  </a:lnTo>
                  <a:lnTo>
                    <a:pt x="3019" y="1516"/>
                  </a:lnTo>
                  <a:lnTo>
                    <a:pt x="3023" y="1500"/>
                  </a:lnTo>
                  <a:lnTo>
                    <a:pt x="3009" y="1474"/>
                  </a:lnTo>
                  <a:lnTo>
                    <a:pt x="3031" y="1462"/>
                  </a:lnTo>
                  <a:lnTo>
                    <a:pt x="3009" y="1462"/>
                  </a:lnTo>
                  <a:lnTo>
                    <a:pt x="3002" y="1445"/>
                  </a:lnTo>
                  <a:lnTo>
                    <a:pt x="3009" y="1474"/>
                  </a:lnTo>
                  <a:lnTo>
                    <a:pt x="2993" y="1478"/>
                  </a:lnTo>
                  <a:lnTo>
                    <a:pt x="2972" y="1457"/>
                  </a:lnTo>
                  <a:lnTo>
                    <a:pt x="2964" y="1462"/>
                  </a:lnTo>
                  <a:lnTo>
                    <a:pt x="2938" y="1445"/>
                  </a:lnTo>
                  <a:lnTo>
                    <a:pt x="2948" y="1462"/>
                  </a:lnTo>
                  <a:lnTo>
                    <a:pt x="2934" y="1474"/>
                  </a:lnTo>
                  <a:lnTo>
                    <a:pt x="2948" y="1462"/>
                  </a:lnTo>
                  <a:lnTo>
                    <a:pt x="2972" y="1474"/>
                  </a:lnTo>
                  <a:lnTo>
                    <a:pt x="2976" y="1474"/>
                  </a:lnTo>
                  <a:lnTo>
                    <a:pt x="2972" y="1474"/>
                  </a:lnTo>
                  <a:lnTo>
                    <a:pt x="2993" y="1483"/>
                  </a:lnTo>
                  <a:lnTo>
                    <a:pt x="2976" y="1495"/>
                  </a:lnTo>
                  <a:lnTo>
                    <a:pt x="2993" y="1483"/>
                  </a:lnTo>
                  <a:lnTo>
                    <a:pt x="3009" y="1516"/>
                  </a:lnTo>
                  <a:lnTo>
                    <a:pt x="2993" y="1528"/>
                  </a:lnTo>
                  <a:lnTo>
                    <a:pt x="2976" y="1511"/>
                  </a:lnTo>
                  <a:lnTo>
                    <a:pt x="2976" y="1516"/>
                  </a:lnTo>
                  <a:lnTo>
                    <a:pt x="2986" y="1528"/>
                  </a:lnTo>
                  <a:lnTo>
                    <a:pt x="2972" y="1516"/>
                  </a:lnTo>
                  <a:lnTo>
                    <a:pt x="2976" y="1528"/>
                  </a:lnTo>
                  <a:lnTo>
                    <a:pt x="2972" y="1533"/>
                  </a:lnTo>
                  <a:lnTo>
                    <a:pt x="2955" y="1516"/>
                  </a:lnTo>
                  <a:lnTo>
                    <a:pt x="2901" y="1495"/>
                  </a:lnTo>
                  <a:lnTo>
                    <a:pt x="2910" y="1483"/>
                  </a:lnTo>
                  <a:lnTo>
                    <a:pt x="2896" y="1483"/>
                  </a:lnTo>
                  <a:lnTo>
                    <a:pt x="2863" y="1445"/>
                  </a:lnTo>
                  <a:lnTo>
                    <a:pt x="2830" y="1441"/>
                  </a:lnTo>
                  <a:lnTo>
                    <a:pt x="2842" y="1429"/>
                  </a:lnTo>
                  <a:lnTo>
                    <a:pt x="2830" y="1441"/>
                  </a:lnTo>
                  <a:lnTo>
                    <a:pt x="2754" y="1400"/>
                  </a:lnTo>
                  <a:lnTo>
                    <a:pt x="2771" y="1384"/>
                  </a:lnTo>
                  <a:lnTo>
                    <a:pt x="2759" y="1355"/>
                  </a:lnTo>
                  <a:lnTo>
                    <a:pt x="2771" y="1346"/>
                  </a:lnTo>
                  <a:lnTo>
                    <a:pt x="2775" y="1355"/>
                  </a:lnTo>
                  <a:lnTo>
                    <a:pt x="2787" y="1389"/>
                  </a:lnTo>
                  <a:lnTo>
                    <a:pt x="2787" y="1384"/>
                  </a:lnTo>
                  <a:lnTo>
                    <a:pt x="2787" y="1367"/>
                  </a:lnTo>
                  <a:lnTo>
                    <a:pt x="2809" y="1367"/>
                  </a:lnTo>
                  <a:lnTo>
                    <a:pt x="2771" y="1346"/>
                  </a:lnTo>
                  <a:lnTo>
                    <a:pt x="2738" y="1367"/>
                  </a:lnTo>
                  <a:lnTo>
                    <a:pt x="2707" y="1372"/>
                  </a:lnTo>
                  <a:lnTo>
                    <a:pt x="2641" y="1355"/>
                  </a:lnTo>
                  <a:lnTo>
                    <a:pt x="2646" y="1346"/>
                  </a:lnTo>
                  <a:lnTo>
                    <a:pt x="2641" y="1329"/>
                  </a:lnTo>
                  <a:lnTo>
                    <a:pt x="2631" y="1334"/>
                  </a:lnTo>
                  <a:lnTo>
                    <a:pt x="2641" y="1346"/>
                  </a:lnTo>
                  <a:lnTo>
                    <a:pt x="2615" y="1351"/>
                  </a:lnTo>
                  <a:lnTo>
                    <a:pt x="2544" y="1334"/>
                  </a:lnTo>
                  <a:lnTo>
                    <a:pt x="2464" y="1346"/>
                  </a:lnTo>
                  <a:lnTo>
                    <a:pt x="2435" y="1329"/>
                  </a:lnTo>
                  <a:lnTo>
                    <a:pt x="2414" y="1329"/>
                  </a:lnTo>
                  <a:lnTo>
                    <a:pt x="2381" y="1313"/>
                  </a:lnTo>
                  <a:lnTo>
                    <a:pt x="2398" y="1280"/>
                  </a:lnTo>
                  <a:lnTo>
                    <a:pt x="2409" y="1263"/>
                  </a:lnTo>
                  <a:lnTo>
                    <a:pt x="2360" y="1301"/>
                  </a:lnTo>
                  <a:lnTo>
                    <a:pt x="2322" y="1289"/>
                  </a:lnTo>
                  <a:lnTo>
                    <a:pt x="2338" y="1273"/>
                  </a:lnTo>
                  <a:lnTo>
                    <a:pt x="2291" y="1273"/>
                  </a:lnTo>
                  <a:lnTo>
                    <a:pt x="2317" y="1263"/>
                  </a:lnTo>
                  <a:lnTo>
                    <a:pt x="2305" y="1256"/>
                  </a:lnTo>
                  <a:lnTo>
                    <a:pt x="2268" y="1273"/>
                  </a:lnTo>
                  <a:lnTo>
                    <a:pt x="2263" y="1263"/>
                  </a:lnTo>
                  <a:lnTo>
                    <a:pt x="2305" y="1256"/>
                  </a:lnTo>
                  <a:lnTo>
                    <a:pt x="2301" y="1244"/>
                  </a:lnTo>
                  <a:lnTo>
                    <a:pt x="2275" y="1256"/>
                  </a:lnTo>
                  <a:lnTo>
                    <a:pt x="2263" y="1240"/>
                  </a:lnTo>
                  <a:lnTo>
                    <a:pt x="2268" y="1223"/>
                  </a:lnTo>
                  <a:lnTo>
                    <a:pt x="2301" y="1223"/>
                  </a:lnTo>
                  <a:lnTo>
                    <a:pt x="2291" y="1223"/>
                  </a:lnTo>
                  <a:lnTo>
                    <a:pt x="2268" y="1223"/>
                  </a:lnTo>
                  <a:lnTo>
                    <a:pt x="2246" y="1240"/>
                  </a:lnTo>
                  <a:lnTo>
                    <a:pt x="2237" y="1235"/>
                  </a:lnTo>
                  <a:lnTo>
                    <a:pt x="2216" y="1244"/>
                  </a:lnTo>
                  <a:lnTo>
                    <a:pt x="2209" y="1244"/>
                  </a:lnTo>
                  <a:lnTo>
                    <a:pt x="2209" y="1218"/>
                  </a:lnTo>
                  <a:lnTo>
                    <a:pt x="2199" y="1244"/>
                  </a:lnTo>
                  <a:lnTo>
                    <a:pt x="2183" y="1256"/>
                  </a:lnTo>
                  <a:lnTo>
                    <a:pt x="2166" y="1240"/>
                  </a:lnTo>
                  <a:lnTo>
                    <a:pt x="2192" y="1207"/>
                  </a:lnTo>
                  <a:lnTo>
                    <a:pt x="2166" y="1235"/>
                  </a:lnTo>
                  <a:lnTo>
                    <a:pt x="2161" y="1223"/>
                  </a:lnTo>
                  <a:lnTo>
                    <a:pt x="2145" y="1235"/>
                  </a:lnTo>
                  <a:lnTo>
                    <a:pt x="2140" y="1240"/>
                  </a:lnTo>
                  <a:lnTo>
                    <a:pt x="2161" y="1235"/>
                  </a:lnTo>
                  <a:lnTo>
                    <a:pt x="2145" y="1256"/>
                  </a:lnTo>
                  <a:lnTo>
                    <a:pt x="2123" y="1256"/>
                  </a:lnTo>
                  <a:lnTo>
                    <a:pt x="2140" y="1256"/>
                  </a:lnTo>
                  <a:lnTo>
                    <a:pt x="2123" y="1273"/>
                  </a:lnTo>
                  <a:lnTo>
                    <a:pt x="2154" y="1263"/>
                  </a:lnTo>
                  <a:lnTo>
                    <a:pt x="2161" y="1280"/>
                  </a:lnTo>
                  <a:lnTo>
                    <a:pt x="2123" y="1296"/>
                  </a:lnTo>
                  <a:lnTo>
                    <a:pt x="2140" y="1289"/>
                  </a:lnTo>
                  <a:lnTo>
                    <a:pt x="2154" y="1296"/>
                  </a:lnTo>
                  <a:lnTo>
                    <a:pt x="2166" y="1280"/>
                  </a:lnTo>
                  <a:lnTo>
                    <a:pt x="2178" y="1296"/>
                  </a:lnTo>
                  <a:lnTo>
                    <a:pt x="2145" y="1329"/>
                  </a:lnTo>
                  <a:lnTo>
                    <a:pt x="2166" y="1318"/>
                  </a:lnTo>
                  <a:lnTo>
                    <a:pt x="2154" y="1334"/>
                  </a:lnTo>
                  <a:lnTo>
                    <a:pt x="2154" y="1329"/>
                  </a:lnTo>
                  <a:lnTo>
                    <a:pt x="2145" y="1351"/>
                  </a:lnTo>
                  <a:lnTo>
                    <a:pt x="2102" y="1351"/>
                  </a:lnTo>
                  <a:lnTo>
                    <a:pt x="2102" y="1334"/>
                  </a:lnTo>
                  <a:lnTo>
                    <a:pt x="2086" y="1355"/>
                  </a:lnTo>
                  <a:lnTo>
                    <a:pt x="2086" y="1346"/>
                  </a:lnTo>
                  <a:lnTo>
                    <a:pt x="2074" y="1334"/>
                  </a:lnTo>
                  <a:lnTo>
                    <a:pt x="2057" y="1367"/>
                  </a:lnTo>
                  <a:lnTo>
                    <a:pt x="2069" y="1372"/>
                  </a:lnTo>
                  <a:lnTo>
                    <a:pt x="2053" y="1351"/>
                  </a:lnTo>
                  <a:lnTo>
                    <a:pt x="2053" y="1384"/>
                  </a:lnTo>
                  <a:lnTo>
                    <a:pt x="2031" y="1367"/>
                  </a:lnTo>
                  <a:lnTo>
                    <a:pt x="2036" y="1372"/>
                  </a:lnTo>
                  <a:lnTo>
                    <a:pt x="2031" y="1384"/>
                  </a:lnTo>
                  <a:lnTo>
                    <a:pt x="2003" y="1400"/>
                  </a:lnTo>
                  <a:lnTo>
                    <a:pt x="2015" y="1372"/>
                  </a:lnTo>
                  <a:lnTo>
                    <a:pt x="1998" y="1400"/>
                  </a:lnTo>
                  <a:lnTo>
                    <a:pt x="1994" y="1389"/>
                  </a:lnTo>
                  <a:lnTo>
                    <a:pt x="1994" y="1400"/>
                  </a:lnTo>
                  <a:lnTo>
                    <a:pt x="1994" y="1407"/>
                  </a:lnTo>
                  <a:lnTo>
                    <a:pt x="1965" y="1424"/>
                  </a:lnTo>
                  <a:lnTo>
                    <a:pt x="1951" y="1424"/>
                  </a:lnTo>
                  <a:lnTo>
                    <a:pt x="1951" y="1429"/>
                  </a:lnTo>
                  <a:lnTo>
                    <a:pt x="1927" y="1424"/>
                  </a:lnTo>
                  <a:lnTo>
                    <a:pt x="1913" y="1441"/>
                  </a:lnTo>
                  <a:lnTo>
                    <a:pt x="1890" y="1424"/>
                  </a:lnTo>
                  <a:lnTo>
                    <a:pt x="1897" y="1407"/>
                  </a:lnTo>
                  <a:lnTo>
                    <a:pt x="1927" y="1400"/>
                  </a:lnTo>
                  <a:lnTo>
                    <a:pt x="1961" y="1367"/>
                  </a:lnTo>
                  <a:lnTo>
                    <a:pt x="1927" y="1384"/>
                  </a:lnTo>
                  <a:lnTo>
                    <a:pt x="1897" y="1372"/>
                  </a:lnTo>
                  <a:lnTo>
                    <a:pt x="1913" y="1346"/>
                  </a:lnTo>
                  <a:lnTo>
                    <a:pt x="1939" y="1301"/>
                  </a:lnTo>
                  <a:lnTo>
                    <a:pt x="1944" y="1289"/>
                  </a:lnTo>
                  <a:lnTo>
                    <a:pt x="1939" y="1263"/>
                  </a:lnTo>
                  <a:lnTo>
                    <a:pt x="2003" y="1235"/>
                  </a:lnTo>
                  <a:lnTo>
                    <a:pt x="2015" y="1240"/>
                  </a:lnTo>
                  <a:lnTo>
                    <a:pt x="2048" y="1240"/>
                  </a:lnTo>
                  <a:lnTo>
                    <a:pt x="2102" y="1256"/>
                  </a:lnTo>
                  <a:lnTo>
                    <a:pt x="2090" y="1240"/>
                  </a:lnTo>
                  <a:lnTo>
                    <a:pt x="2057" y="1240"/>
                  </a:lnTo>
                  <a:lnTo>
                    <a:pt x="2031" y="1218"/>
                  </a:lnTo>
                  <a:lnTo>
                    <a:pt x="2053" y="1190"/>
                  </a:lnTo>
                  <a:lnTo>
                    <a:pt x="2086" y="1185"/>
                  </a:lnTo>
                  <a:lnTo>
                    <a:pt x="2074" y="1178"/>
                  </a:lnTo>
                  <a:lnTo>
                    <a:pt x="2053" y="1185"/>
                  </a:lnTo>
                  <a:lnTo>
                    <a:pt x="2031" y="1207"/>
                  </a:lnTo>
                  <a:lnTo>
                    <a:pt x="1994" y="1207"/>
                  </a:lnTo>
                  <a:lnTo>
                    <a:pt x="1961" y="1218"/>
                  </a:lnTo>
                  <a:lnTo>
                    <a:pt x="1951" y="1235"/>
                  </a:lnTo>
                  <a:lnTo>
                    <a:pt x="1923" y="1240"/>
                  </a:lnTo>
                  <a:lnTo>
                    <a:pt x="1906" y="1256"/>
                  </a:lnTo>
                  <a:lnTo>
                    <a:pt x="1913" y="1263"/>
                  </a:lnTo>
                  <a:lnTo>
                    <a:pt x="1897" y="1263"/>
                  </a:lnTo>
                  <a:lnTo>
                    <a:pt x="1875" y="1289"/>
                  </a:lnTo>
                  <a:lnTo>
                    <a:pt x="1859" y="1313"/>
                  </a:lnTo>
                  <a:lnTo>
                    <a:pt x="1842" y="1318"/>
                  </a:lnTo>
                  <a:lnTo>
                    <a:pt x="1814" y="1313"/>
                  </a:lnTo>
                  <a:lnTo>
                    <a:pt x="1831" y="1313"/>
                  </a:lnTo>
                  <a:lnTo>
                    <a:pt x="1852" y="1334"/>
                  </a:lnTo>
                  <a:lnTo>
                    <a:pt x="1842" y="1351"/>
                  </a:lnTo>
                  <a:lnTo>
                    <a:pt x="1805" y="1367"/>
                  </a:lnTo>
                  <a:lnTo>
                    <a:pt x="1821" y="1367"/>
                  </a:lnTo>
                  <a:lnTo>
                    <a:pt x="1821" y="1372"/>
                  </a:lnTo>
                  <a:lnTo>
                    <a:pt x="1800" y="1384"/>
                  </a:lnTo>
                  <a:lnTo>
                    <a:pt x="1788" y="1384"/>
                  </a:lnTo>
                  <a:lnTo>
                    <a:pt x="1800" y="1372"/>
                  </a:lnTo>
                  <a:lnTo>
                    <a:pt x="1788" y="1367"/>
                  </a:lnTo>
                  <a:lnTo>
                    <a:pt x="1783" y="1389"/>
                  </a:lnTo>
                  <a:lnTo>
                    <a:pt x="1767" y="1400"/>
                  </a:lnTo>
                  <a:lnTo>
                    <a:pt x="1767" y="1407"/>
                  </a:lnTo>
                  <a:lnTo>
                    <a:pt x="1746" y="1412"/>
                  </a:lnTo>
                  <a:lnTo>
                    <a:pt x="1750" y="1412"/>
                  </a:lnTo>
                  <a:lnTo>
                    <a:pt x="1734" y="1441"/>
                  </a:lnTo>
                  <a:lnTo>
                    <a:pt x="1734" y="1445"/>
                  </a:lnTo>
                  <a:lnTo>
                    <a:pt x="1776" y="1445"/>
                  </a:lnTo>
                  <a:lnTo>
                    <a:pt x="1805" y="1474"/>
                  </a:lnTo>
                  <a:lnTo>
                    <a:pt x="1783" y="1495"/>
                  </a:lnTo>
                  <a:lnTo>
                    <a:pt x="1746" y="1511"/>
                  </a:lnTo>
                  <a:lnTo>
                    <a:pt x="1750" y="1516"/>
                  </a:lnTo>
                  <a:lnTo>
                    <a:pt x="1729" y="1528"/>
                  </a:lnTo>
                  <a:lnTo>
                    <a:pt x="1746" y="1528"/>
                  </a:lnTo>
                  <a:lnTo>
                    <a:pt x="1734" y="1540"/>
                  </a:lnTo>
                  <a:lnTo>
                    <a:pt x="1724" y="1540"/>
                  </a:lnTo>
                  <a:lnTo>
                    <a:pt x="1712" y="1556"/>
                  </a:lnTo>
                  <a:lnTo>
                    <a:pt x="1679" y="1556"/>
                  </a:lnTo>
                  <a:lnTo>
                    <a:pt x="1675" y="1568"/>
                  </a:lnTo>
                  <a:lnTo>
                    <a:pt x="1658" y="1585"/>
                  </a:lnTo>
                  <a:lnTo>
                    <a:pt x="1637" y="1585"/>
                  </a:lnTo>
                  <a:lnTo>
                    <a:pt x="1625" y="1606"/>
                  </a:lnTo>
                  <a:lnTo>
                    <a:pt x="1604" y="1606"/>
                  </a:lnTo>
                  <a:lnTo>
                    <a:pt x="1604" y="1611"/>
                  </a:lnTo>
                  <a:lnTo>
                    <a:pt x="1599" y="1611"/>
                  </a:lnTo>
                  <a:lnTo>
                    <a:pt x="1571" y="1627"/>
                  </a:lnTo>
                  <a:lnTo>
                    <a:pt x="1587" y="1627"/>
                  </a:lnTo>
                  <a:lnTo>
                    <a:pt x="1587" y="1644"/>
                  </a:lnTo>
                  <a:lnTo>
                    <a:pt x="1571" y="1660"/>
                  </a:lnTo>
                  <a:lnTo>
                    <a:pt x="1545" y="1660"/>
                  </a:lnTo>
                  <a:lnTo>
                    <a:pt x="1528" y="1684"/>
                  </a:lnTo>
                  <a:lnTo>
                    <a:pt x="1512" y="1677"/>
                  </a:lnTo>
                  <a:lnTo>
                    <a:pt x="1495" y="1693"/>
                  </a:lnTo>
                  <a:lnTo>
                    <a:pt x="1502" y="1700"/>
                  </a:lnTo>
                  <a:lnTo>
                    <a:pt x="1490" y="1693"/>
                  </a:lnTo>
                  <a:lnTo>
                    <a:pt x="1457" y="1705"/>
                  </a:lnTo>
                  <a:lnTo>
                    <a:pt x="1481" y="1705"/>
                  </a:lnTo>
                  <a:lnTo>
                    <a:pt x="1481" y="1717"/>
                  </a:lnTo>
                  <a:lnTo>
                    <a:pt x="1457" y="1705"/>
                  </a:lnTo>
                  <a:lnTo>
                    <a:pt x="1443" y="1717"/>
                  </a:lnTo>
                  <a:lnTo>
                    <a:pt x="1427" y="1738"/>
                  </a:lnTo>
                  <a:lnTo>
                    <a:pt x="1436" y="1738"/>
                  </a:lnTo>
                  <a:lnTo>
                    <a:pt x="1443" y="1733"/>
                  </a:lnTo>
                  <a:lnTo>
                    <a:pt x="1457" y="1733"/>
                  </a:lnTo>
                  <a:lnTo>
                    <a:pt x="1448" y="1750"/>
                  </a:lnTo>
                  <a:lnTo>
                    <a:pt x="1464" y="1738"/>
                  </a:lnTo>
                  <a:lnTo>
                    <a:pt x="1443" y="1750"/>
                  </a:lnTo>
                  <a:lnTo>
                    <a:pt x="1436" y="1762"/>
                  </a:lnTo>
                  <a:lnTo>
                    <a:pt x="1427" y="1755"/>
                  </a:lnTo>
                  <a:lnTo>
                    <a:pt x="1436" y="1750"/>
                  </a:lnTo>
                  <a:lnTo>
                    <a:pt x="1427" y="1750"/>
                  </a:lnTo>
                  <a:lnTo>
                    <a:pt x="1427" y="1771"/>
                  </a:lnTo>
                  <a:lnTo>
                    <a:pt x="1410" y="1762"/>
                  </a:lnTo>
                  <a:lnTo>
                    <a:pt x="1405" y="1771"/>
                  </a:lnTo>
                  <a:lnTo>
                    <a:pt x="1372" y="1778"/>
                  </a:lnTo>
                  <a:lnTo>
                    <a:pt x="1351" y="1804"/>
                  </a:lnTo>
                  <a:lnTo>
                    <a:pt x="1356" y="1778"/>
                  </a:lnTo>
                  <a:lnTo>
                    <a:pt x="1339" y="1778"/>
                  </a:lnTo>
                  <a:lnTo>
                    <a:pt x="1318" y="1795"/>
                  </a:lnTo>
                  <a:lnTo>
                    <a:pt x="1301" y="1804"/>
                  </a:lnTo>
                  <a:lnTo>
                    <a:pt x="1297" y="1816"/>
                  </a:lnTo>
                  <a:lnTo>
                    <a:pt x="1285" y="1811"/>
                  </a:lnTo>
                  <a:lnTo>
                    <a:pt x="1280" y="1811"/>
                  </a:lnTo>
                  <a:lnTo>
                    <a:pt x="1280" y="1816"/>
                  </a:lnTo>
                  <a:lnTo>
                    <a:pt x="1264" y="1811"/>
                  </a:lnTo>
                  <a:lnTo>
                    <a:pt x="1242" y="1828"/>
                  </a:lnTo>
                  <a:lnTo>
                    <a:pt x="1226" y="1828"/>
                  </a:lnTo>
                  <a:lnTo>
                    <a:pt x="1226" y="1816"/>
                  </a:lnTo>
                  <a:lnTo>
                    <a:pt x="1231" y="1804"/>
                  </a:lnTo>
                  <a:lnTo>
                    <a:pt x="1247" y="1811"/>
                  </a:lnTo>
                  <a:lnTo>
                    <a:pt x="1221" y="1804"/>
                  </a:lnTo>
                  <a:lnTo>
                    <a:pt x="1205" y="1833"/>
                  </a:lnTo>
                  <a:lnTo>
                    <a:pt x="1188" y="1844"/>
                  </a:lnTo>
                  <a:lnTo>
                    <a:pt x="1193" y="1849"/>
                  </a:lnTo>
                  <a:lnTo>
                    <a:pt x="1179" y="1861"/>
                  </a:lnTo>
                  <a:lnTo>
                    <a:pt x="1179" y="1849"/>
                  </a:lnTo>
                  <a:lnTo>
                    <a:pt x="1172" y="1849"/>
                  </a:lnTo>
                  <a:lnTo>
                    <a:pt x="1172" y="1861"/>
                  </a:lnTo>
                  <a:lnTo>
                    <a:pt x="1155" y="1861"/>
                  </a:lnTo>
                  <a:lnTo>
                    <a:pt x="1150" y="1833"/>
                  </a:lnTo>
                  <a:lnTo>
                    <a:pt x="1141" y="1844"/>
                  </a:lnTo>
                  <a:lnTo>
                    <a:pt x="1150" y="1849"/>
                  </a:lnTo>
                  <a:lnTo>
                    <a:pt x="1150" y="1866"/>
                  </a:lnTo>
                  <a:lnTo>
                    <a:pt x="1141" y="1866"/>
                  </a:lnTo>
                  <a:lnTo>
                    <a:pt x="1124" y="1873"/>
                  </a:lnTo>
                  <a:lnTo>
                    <a:pt x="1103" y="1849"/>
                  </a:lnTo>
                  <a:lnTo>
                    <a:pt x="1103" y="1861"/>
                  </a:lnTo>
                  <a:lnTo>
                    <a:pt x="1117" y="1866"/>
                  </a:lnTo>
                  <a:lnTo>
                    <a:pt x="1096" y="1882"/>
                  </a:lnTo>
                  <a:lnTo>
                    <a:pt x="1096" y="1873"/>
                  </a:lnTo>
                  <a:lnTo>
                    <a:pt x="1103" y="1866"/>
                  </a:lnTo>
                  <a:lnTo>
                    <a:pt x="1096" y="1849"/>
                  </a:lnTo>
                  <a:lnTo>
                    <a:pt x="1117" y="1849"/>
                  </a:lnTo>
                  <a:lnTo>
                    <a:pt x="1124" y="1833"/>
                  </a:lnTo>
                  <a:lnTo>
                    <a:pt x="1150" y="1828"/>
                  </a:lnTo>
                  <a:lnTo>
                    <a:pt x="1155" y="1828"/>
                  </a:lnTo>
                  <a:lnTo>
                    <a:pt x="1150" y="1816"/>
                  </a:lnTo>
                  <a:lnTo>
                    <a:pt x="1172" y="1795"/>
                  </a:lnTo>
                  <a:lnTo>
                    <a:pt x="1205" y="1771"/>
                  </a:lnTo>
                  <a:lnTo>
                    <a:pt x="1259" y="1771"/>
                  </a:lnTo>
                  <a:lnTo>
                    <a:pt x="1280" y="1795"/>
                  </a:lnTo>
                  <a:lnTo>
                    <a:pt x="1275" y="1778"/>
                  </a:lnTo>
                  <a:lnTo>
                    <a:pt x="1313" y="1788"/>
                  </a:lnTo>
                  <a:lnTo>
                    <a:pt x="1313" y="1778"/>
                  </a:lnTo>
                  <a:lnTo>
                    <a:pt x="1285" y="1762"/>
                  </a:lnTo>
                  <a:lnTo>
                    <a:pt x="1301" y="1733"/>
                  </a:lnTo>
                  <a:lnTo>
                    <a:pt x="1394" y="1684"/>
                  </a:lnTo>
                  <a:lnTo>
                    <a:pt x="1427" y="1684"/>
                  </a:lnTo>
                  <a:lnTo>
                    <a:pt x="1427" y="1651"/>
                  </a:lnTo>
                  <a:lnTo>
                    <a:pt x="1474" y="1611"/>
                  </a:lnTo>
                  <a:lnTo>
                    <a:pt x="1490" y="1606"/>
                  </a:lnTo>
                  <a:lnTo>
                    <a:pt x="1495" y="1611"/>
                  </a:lnTo>
                  <a:lnTo>
                    <a:pt x="1512" y="1611"/>
                  </a:lnTo>
                  <a:lnTo>
                    <a:pt x="1512" y="1606"/>
                  </a:lnTo>
                  <a:lnTo>
                    <a:pt x="1502" y="1611"/>
                  </a:lnTo>
                  <a:lnTo>
                    <a:pt x="1490" y="1594"/>
                  </a:lnTo>
                  <a:lnTo>
                    <a:pt x="1495" y="1552"/>
                  </a:lnTo>
                  <a:lnTo>
                    <a:pt x="1512" y="1533"/>
                  </a:lnTo>
                  <a:lnTo>
                    <a:pt x="1528" y="1540"/>
                  </a:lnTo>
                  <a:lnTo>
                    <a:pt x="1502" y="1533"/>
                  </a:lnTo>
                  <a:lnTo>
                    <a:pt x="1502" y="1516"/>
                  </a:lnTo>
                  <a:lnTo>
                    <a:pt x="1533" y="1478"/>
                  </a:lnTo>
                  <a:lnTo>
                    <a:pt x="1557" y="1441"/>
                  </a:lnTo>
                  <a:lnTo>
                    <a:pt x="1533" y="1462"/>
                  </a:lnTo>
                  <a:lnTo>
                    <a:pt x="1457" y="1495"/>
                  </a:lnTo>
                  <a:lnTo>
                    <a:pt x="1427" y="1474"/>
                  </a:lnTo>
                  <a:lnTo>
                    <a:pt x="1436" y="1457"/>
                  </a:lnTo>
                  <a:lnTo>
                    <a:pt x="1457" y="1457"/>
                  </a:lnTo>
                  <a:lnTo>
                    <a:pt x="1474" y="1462"/>
                  </a:lnTo>
                  <a:lnTo>
                    <a:pt x="1436" y="1429"/>
                  </a:lnTo>
                  <a:lnTo>
                    <a:pt x="1436" y="1445"/>
                  </a:lnTo>
                  <a:lnTo>
                    <a:pt x="1427" y="1462"/>
                  </a:lnTo>
                  <a:lnTo>
                    <a:pt x="1420" y="1462"/>
                  </a:lnTo>
                  <a:lnTo>
                    <a:pt x="1420" y="1457"/>
                  </a:lnTo>
                  <a:lnTo>
                    <a:pt x="1410" y="1457"/>
                  </a:lnTo>
                  <a:lnTo>
                    <a:pt x="1420" y="1478"/>
                  </a:lnTo>
                  <a:lnTo>
                    <a:pt x="1410" y="1478"/>
                  </a:lnTo>
                  <a:lnTo>
                    <a:pt x="1410" y="1474"/>
                  </a:lnTo>
                  <a:lnTo>
                    <a:pt x="1405" y="1478"/>
                  </a:lnTo>
                  <a:lnTo>
                    <a:pt x="1420" y="1500"/>
                  </a:lnTo>
                  <a:lnTo>
                    <a:pt x="1405" y="1516"/>
                  </a:lnTo>
                  <a:lnTo>
                    <a:pt x="1394" y="1511"/>
                  </a:lnTo>
                  <a:lnTo>
                    <a:pt x="1356" y="1457"/>
                  </a:lnTo>
                  <a:lnTo>
                    <a:pt x="1335" y="1478"/>
                  </a:lnTo>
                  <a:lnTo>
                    <a:pt x="1313" y="1457"/>
                  </a:lnTo>
                  <a:lnTo>
                    <a:pt x="1301" y="1445"/>
                  </a:lnTo>
                  <a:lnTo>
                    <a:pt x="1221" y="1495"/>
                  </a:lnTo>
                  <a:lnTo>
                    <a:pt x="1179" y="1483"/>
                  </a:lnTo>
                  <a:lnTo>
                    <a:pt x="1193" y="1483"/>
                  </a:lnTo>
                  <a:lnTo>
                    <a:pt x="1209" y="1478"/>
                  </a:lnTo>
                  <a:lnTo>
                    <a:pt x="1205" y="1462"/>
                  </a:lnTo>
                  <a:lnTo>
                    <a:pt x="1205" y="1445"/>
                  </a:lnTo>
                  <a:lnTo>
                    <a:pt x="1221" y="1441"/>
                  </a:lnTo>
                  <a:lnTo>
                    <a:pt x="1193" y="1445"/>
                  </a:lnTo>
                  <a:lnTo>
                    <a:pt x="1188" y="1441"/>
                  </a:lnTo>
                  <a:lnTo>
                    <a:pt x="1193" y="1412"/>
                  </a:lnTo>
                  <a:lnTo>
                    <a:pt x="1209" y="1400"/>
                  </a:lnTo>
                  <a:lnTo>
                    <a:pt x="1172" y="1334"/>
                  </a:lnTo>
                  <a:lnTo>
                    <a:pt x="1179" y="1318"/>
                  </a:lnTo>
                  <a:lnTo>
                    <a:pt x="1167" y="1329"/>
                  </a:lnTo>
                  <a:lnTo>
                    <a:pt x="1167" y="1313"/>
                  </a:lnTo>
                  <a:lnTo>
                    <a:pt x="1172" y="1280"/>
                  </a:lnTo>
                  <a:lnTo>
                    <a:pt x="1193" y="1273"/>
                  </a:lnTo>
                  <a:lnTo>
                    <a:pt x="1172" y="1280"/>
                  </a:lnTo>
                  <a:lnTo>
                    <a:pt x="1150" y="1313"/>
                  </a:lnTo>
                  <a:lnTo>
                    <a:pt x="1155" y="1329"/>
                  </a:lnTo>
                  <a:lnTo>
                    <a:pt x="1155" y="1346"/>
                  </a:lnTo>
                  <a:lnTo>
                    <a:pt x="1096" y="1367"/>
                  </a:lnTo>
                  <a:lnTo>
                    <a:pt x="1042" y="1367"/>
                  </a:lnTo>
                  <a:lnTo>
                    <a:pt x="1032" y="1351"/>
                  </a:lnTo>
                  <a:lnTo>
                    <a:pt x="1042" y="1346"/>
                  </a:lnTo>
                  <a:lnTo>
                    <a:pt x="1016" y="1334"/>
                  </a:lnTo>
                  <a:lnTo>
                    <a:pt x="1004" y="1313"/>
                  </a:lnTo>
                  <a:lnTo>
                    <a:pt x="973" y="1296"/>
                  </a:lnTo>
                  <a:lnTo>
                    <a:pt x="978" y="1289"/>
                  </a:lnTo>
                  <a:lnTo>
                    <a:pt x="952" y="1289"/>
                  </a:lnTo>
                  <a:lnTo>
                    <a:pt x="1004" y="1244"/>
                  </a:lnTo>
                  <a:lnTo>
                    <a:pt x="1004" y="1256"/>
                  </a:lnTo>
                  <a:lnTo>
                    <a:pt x="1032" y="1263"/>
                  </a:lnTo>
                  <a:lnTo>
                    <a:pt x="1032" y="1273"/>
                  </a:lnTo>
                  <a:lnTo>
                    <a:pt x="1016" y="1289"/>
                  </a:lnTo>
                  <a:lnTo>
                    <a:pt x="1049" y="1263"/>
                  </a:lnTo>
                  <a:lnTo>
                    <a:pt x="1065" y="1263"/>
                  </a:lnTo>
                  <a:lnTo>
                    <a:pt x="1065" y="1280"/>
                  </a:lnTo>
                  <a:lnTo>
                    <a:pt x="1070" y="1280"/>
                  </a:lnTo>
                  <a:lnTo>
                    <a:pt x="1086" y="1263"/>
                  </a:lnTo>
                  <a:lnTo>
                    <a:pt x="1058" y="1256"/>
                  </a:lnTo>
                  <a:lnTo>
                    <a:pt x="1079" y="1244"/>
                  </a:lnTo>
                  <a:lnTo>
                    <a:pt x="1065" y="1240"/>
                  </a:lnTo>
                  <a:lnTo>
                    <a:pt x="1049" y="1256"/>
                  </a:lnTo>
                  <a:lnTo>
                    <a:pt x="973" y="1244"/>
                  </a:lnTo>
                  <a:lnTo>
                    <a:pt x="961" y="1240"/>
                  </a:lnTo>
                  <a:lnTo>
                    <a:pt x="994" y="1223"/>
                  </a:lnTo>
                  <a:lnTo>
                    <a:pt x="973" y="1223"/>
                  </a:lnTo>
                  <a:lnTo>
                    <a:pt x="973" y="1207"/>
                  </a:lnTo>
                  <a:lnTo>
                    <a:pt x="961" y="1218"/>
                  </a:lnTo>
                  <a:lnTo>
                    <a:pt x="957" y="1218"/>
                  </a:lnTo>
                  <a:lnTo>
                    <a:pt x="973" y="1190"/>
                  </a:lnTo>
                  <a:lnTo>
                    <a:pt x="990" y="1185"/>
                  </a:lnTo>
                  <a:lnTo>
                    <a:pt x="1004" y="1169"/>
                  </a:lnTo>
                  <a:lnTo>
                    <a:pt x="957" y="1202"/>
                  </a:lnTo>
                  <a:lnTo>
                    <a:pt x="952" y="1218"/>
                  </a:lnTo>
                  <a:lnTo>
                    <a:pt x="957" y="1218"/>
                  </a:lnTo>
                  <a:lnTo>
                    <a:pt x="952" y="1235"/>
                  </a:lnTo>
                  <a:lnTo>
                    <a:pt x="935" y="1223"/>
                  </a:lnTo>
                  <a:lnTo>
                    <a:pt x="935" y="1207"/>
                  </a:lnTo>
                  <a:lnTo>
                    <a:pt x="919" y="1202"/>
                  </a:lnTo>
                  <a:lnTo>
                    <a:pt x="919" y="1190"/>
                  </a:lnTo>
                  <a:lnTo>
                    <a:pt x="924" y="1185"/>
                  </a:lnTo>
                  <a:lnTo>
                    <a:pt x="924" y="1178"/>
                  </a:lnTo>
                  <a:lnTo>
                    <a:pt x="902" y="1185"/>
                  </a:lnTo>
                  <a:lnTo>
                    <a:pt x="898" y="1169"/>
                  </a:lnTo>
                  <a:lnTo>
                    <a:pt x="898" y="1162"/>
                  </a:lnTo>
                  <a:lnTo>
                    <a:pt x="902" y="1169"/>
                  </a:lnTo>
                  <a:lnTo>
                    <a:pt x="924" y="1162"/>
                  </a:lnTo>
                  <a:lnTo>
                    <a:pt x="902" y="1145"/>
                  </a:lnTo>
                  <a:lnTo>
                    <a:pt x="935" y="1145"/>
                  </a:lnTo>
                  <a:lnTo>
                    <a:pt x="924" y="1129"/>
                  </a:lnTo>
                  <a:lnTo>
                    <a:pt x="935" y="1112"/>
                  </a:lnTo>
                  <a:lnTo>
                    <a:pt x="961" y="1074"/>
                  </a:lnTo>
                  <a:lnTo>
                    <a:pt x="978" y="1067"/>
                  </a:lnTo>
                  <a:lnTo>
                    <a:pt x="1004" y="1079"/>
                  </a:lnTo>
                  <a:lnTo>
                    <a:pt x="990" y="1067"/>
                  </a:lnTo>
                  <a:lnTo>
                    <a:pt x="1016" y="1041"/>
                  </a:lnTo>
                  <a:lnTo>
                    <a:pt x="994" y="1051"/>
                  </a:lnTo>
                  <a:lnTo>
                    <a:pt x="990" y="1034"/>
                  </a:lnTo>
                  <a:lnTo>
                    <a:pt x="1004" y="1013"/>
                  </a:lnTo>
                  <a:lnTo>
                    <a:pt x="1027" y="1013"/>
                  </a:lnTo>
                  <a:lnTo>
                    <a:pt x="1011" y="1001"/>
                  </a:lnTo>
                  <a:lnTo>
                    <a:pt x="1016" y="985"/>
                  </a:lnTo>
                  <a:lnTo>
                    <a:pt x="1049" y="985"/>
                  </a:lnTo>
                  <a:lnTo>
                    <a:pt x="1096" y="1013"/>
                  </a:lnTo>
                  <a:lnTo>
                    <a:pt x="1112" y="1013"/>
                  </a:lnTo>
                  <a:lnTo>
                    <a:pt x="1150" y="985"/>
                  </a:lnTo>
                  <a:lnTo>
                    <a:pt x="1167" y="959"/>
                  </a:lnTo>
                  <a:lnTo>
                    <a:pt x="1188" y="959"/>
                  </a:lnTo>
                  <a:lnTo>
                    <a:pt x="1179" y="963"/>
                  </a:lnTo>
                  <a:lnTo>
                    <a:pt x="1247" y="959"/>
                  </a:lnTo>
                  <a:lnTo>
                    <a:pt x="1275" y="930"/>
                  </a:lnTo>
                  <a:lnTo>
                    <a:pt x="1275" y="914"/>
                  </a:lnTo>
                  <a:lnTo>
                    <a:pt x="1264" y="874"/>
                  </a:lnTo>
                  <a:lnTo>
                    <a:pt x="1247" y="852"/>
                  </a:lnTo>
                  <a:lnTo>
                    <a:pt x="1226" y="852"/>
                  </a:lnTo>
                  <a:lnTo>
                    <a:pt x="1231" y="836"/>
                  </a:lnTo>
                  <a:lnTo>
                    <a:pt x="1259" y="848"/>
                  </a:lnTo>
                  <a:lnTo>
                    <a:pt x="1275" y="831"/>
                  </a:lnTo>
                  <a:lnTo>
                    <a:pt x="1275" y="819"/>
                  </a:lnTo>
                  <a:lnTo>
                    <a:pt x="1247" y="796"/>
                  </a:lnTo>
                  <a:lnTo>
                    <a:pt x="1259" y="791"/>
                  </a:lnTo>
                  <a:lnTo>
                    <a:pt x="1247" y="791"/>
                  </a:lnTo>
                  <a:lnTo>
                    <a:pt x="1226" y="815"/>
                  </a:lnTo>
                  <a:lnTo>
                    <a:pt x="1179" y="819"/>
                  </a:lnTo>
                  <a:lnTo>
                    <a:pt x="1150" y="848"/>
                  </a:lnTo>
                  <a:lnTo>
                    <a:pt x="1150" y="852"/>
                  </a:lnTo>
                  <a:lnTo>
                    <a:pt x="1134" y="857"/>
                  </a:lnTo>
                  <a:lnTo>
                    <a:pt x="1124" y="848"/>
                  </a:lnTo>
                  <a:lnTo>
                    <a:pt x="1112" y="819"/>
                  </a:lnTo>
                  <a:lnTo>
                    <a:pt x="1096" y="836"/>
                  </a:lnTo>
                  <a:lnTo>
                    <a:pt x="1117" y="848"/>
                  </a:lnTo>
                  <a:lnTo>
                    <a:pt x="1112" y="852"/>
                  </a:lnTo>
                  <a:lnTo>
                    <a:pt x="1086" y="836"/>
                  </a:lnTo>
                  <a:lnTo>
                    <a:pt x="1065" y="831"/>
                  </a:lnTo>
                  <a:lnTo>
                    <a:pt x="990" y="836"/>
                  </a:lnTo>
                  <a:lnTo>
                    <a:pt x="990" y="848"/>
                  </a:lnTo>
                  <a:lnTo>
                    <a:pt x="994" y="848"/>
                  </a:lnTo>
                  <a:lnTo>
                    <a:pt x="978" y="852"/>
                  </a:lnTo>
                  <a:lnTo>
                    <a:pt x="902" y="836"/>
                  </a:lnTo>
                  <a:lnTo>
                    <a:pt x="881" y="819"/>
                  </a:lnTo>
                  <a:lnTo>
                    <a:pt x="869" y="815"/>
                  </a:lnTo>
                  <a:lnTo>
                    <a:pt x="881" y="796"/>
                  </a:lnTo>
                  <a:lnTo>
                    <a:pt x="843" y="763"/>
                  </a:lnTo>
                  <a:lnTo>
                    <a:pt x="848" y="746"/>
                  </a:lnTo>
                  <a:lnTo>
                    <a:pt x="843" y="763"/>
                  </a:lnTo>
                  <a:lnTo>
                    <a:pt x="864" y="774"/>
                  </a:lnTo>
                  <a:lnTo>
                    <a:pt x="881" y="746"/>
                  </a:lnTo>
                  <a:lnTo>
                    <a:pt x="902" y="758"/>
                  </a:lnTo>
                  <a:lnTo>
                    <a:pt x="810" y="737"/>
                  </a:lnTo>
                  <a:lnTo>
                    <a:pt x="756" y="708"/>
                  </a:lnTo>
                  <a:lnTo>
                    <a:pt x="777" y="692"/>
                  </a:lnTo>
                  <a:lnTo>
                    <a:pt x="763" y="708"/>
                  </a:lnTo>
                  <a:lnTo>
                    <a:pt x="801" y="704"/>
                  </a:lnTo>
                  <a:lnTo>
                    <a:pt x="801" y="692"/>
                  </a:lnTo>
                  <a:lnTo>
                    <a:pt x="801" y="687"/>
                  </a:lnTo>
                  <a:lnTo>
                    <a:pt x="831" y="680"/>
                  </a:lnTo>
                  <a:lnTo>
                    <a:pt x="848" y="680"/>
                  </a:lnTo>
                  <a:lnTo>
                    <a:pt x="843" y="670"/>
                  </a:lnTo>
                  <a:lnTo>
                    <a:pt x="886" y="647"/>
                  </a:lnTo>
                  <a:lnTo>
                    <a:pt x="924" y="654"/>
                  </a:lnTo>
                  <a:lnTo>
                    <a:pt x="940" y="647"/>
                  </a:lnTo>
                  <a:lnTo>
                    <a:pt x="919" y="635"/>
                  </a:lnTo>
                  <a:lnTo>
                    <a:pt x="935" y="626"/>
                  </a:lnTo>
                  <a:lnTo>
                    <a:pt x="1027" y="597"/>
                  </a:lnTo>
                  <a:lnTo>
                    <a:pt x="1070" y="597"/>
                  </a:lnTo>
                  <a:lnTo>
                    <a:pt x="1058" y="597"/>
                  </a:lnTo>
                  <a:lnTo>
                    <a:pt x="1065" y="609"/>
                  </a:lnTo>
                  <a:lnTo>
                    <a:pt x="1058" y="626"/>
                  </a:lnTo>
                  <a:lnTo>
                    <a:pt x="1058" y="630"/>
                  </a:lnTo>
                  <a:lnTo>
                    <a:pt x="1032" y="647"/>
                  </a:lnTo>
                  <a:lnTo>
                    <a:pt x="1070" y="663"/>
                  </a:lnTo>
                  <a:lnTo>
                    <a:pt x="1188" y="663"/>
                  </a:lnTo>
                  <a:lnTo>
                    <a:pt x="1205" y="670"/>
                  </a:lnTo>
                  <a:lnTo>
                    <a:pt x="1226" y="635"/>
                  </a:lnTo>
                  <a:lnTo>
                    <a:pt x="1259" y="635"/>
                  </a:lnTo>
                  <a:lnTo>
                    <a:pt x="1247" y="654"/>
                  </a:lnTo>
                  <a:lnTo>
                    <a:pt x="1259" y="635"/>
                  </a:lnTo>
                  <a:lnTo>
                    <a:pt x="1247" y="626"/>
                  </a:lnTo>
                  <a:lnTo>
                    <a:pt x="1226" y="614"/>
                  </a:lnTo>
                  <a:lnTo>
                    <a:pt x="1193" y="626"/>
                  </a:lnTo>
                  <a:lnTo>
                    <a:pt x="1193" y="630"/>
                  </a:lnTo>
                  <a:lnTo>
                    <a:pt x="1193" y="597"/>
                  </a:lnTo>
                  <a:lnTo>
                    <a:pt x="1172" y="581"/>
                  </a:lnTo>
                  <a:lnTo>
                    <a:pt x="1155" y="576"/>
                  </a:lnTo>
                  <a:lnTo>
                    <a:pt x="1141" y="559"/>
                  </a:lnTo>
                  <a:lnTo>
                    <a:pt x="1167" y="552"/>
                  </a:lnTo>
                  <a:lnTo>
                    <a:pt x="1179" y="569"/>
                  </a:lnTo>
                  <a:lnTo>
                    <a:pt x="1188" y="593"/>
                  </a:lnTo>
                  <a:lnTo>
                    <a:pt x="1221" y="614"/>
                  </a:lnTo>
                  <a:lnTo>
                    <a:pt x="1247" y="597"/>
                  </a:lnTo>
                  <a:lnTo>
                    <a:pt x="1275" y="626"/>
                  </a:lnTo>
                  <a:lnTo>
                    <a:pt x="1313" y="626"/>
                  </a:lnTo>
                  <a:lnTo>
                    <a:pt x="1313" y="593"/>
                  </a:lnTo>
                  <a:lnTo>
                    <a:pt x="1285" y="597"/>
                  </a:lnTo>
                  <a:lnTo>
                    <a:pt x="1247" y="593"/>
                  </a:lnTo>
                  <a:lnTo>
                    <a:pt x="1242" y="597"/>
                  </a:lnTo>
                  <a:lnTo>
                    <a:pt x="1226" y="597"/>
                  </a:lnTo>
                  <a:lnTo>
                    <a:pt x="1193" y="581"/>
                  </a:lnTo>
                  <a:lnTo>
                    <a:pt x="1209" y="552"/>
                  </a:lnTo>
                  <a:lnTo>
                    <a:pt x="1226" y="552"/>
                  </a:lnTo>
                  <a:lnTo>
                    <a:pt x="1193" y="543"/>
                  </a:lnTo>
                  <a:lnTo>
                    <a:pt x="1155" y="543"/>
                  </a:lnTo>
                  <a:lnTo>
                    <a:pt x="1167" y="526"/>
                  </a:lnTo>
                  <a:lnTo>
                    <a:pt x="1150" y="543"/>
                  </a:lnTo>
                  <a:lnTo>
                    <a:pt x="1065" y="536"/>
                  </a:lnTo>
                  <a:lnTo>
                    <a:pt x="1065" y="503"/>
                  </a:lnTo>
                  <a:lnTo>
                    <a:pt x="1042" y="470"/>
                  </a:lnTo>
                  <a:lnTo>
                    <a:pt x="952" y="415"/>
                  </a:lnTo>
                  <a:lnTo>
                    <a:pt x="848" y="375"/>
                  </a:lnTo>
                  <a:lnTo>
                    <a:pt x="886" y="370"/>
                  </a:lnTo>
                  <a:lnTo>
                    <a:pt x="898" y="354"/>
                  </a:lnTo>
                  <a:lnTo>
                    <a:pt x="898" y="314"/>
                  </a:lnTo>
                  <a:lnTo>
                    <a:pt x="1027" y="304"/>
                  </a:lnTo>
                  <a:lnTo>
                    <a:pt x="1070" y="281"/>
                  </a:lnTo>
                  <a:lnTo>
                    <a:pt x="1103" y="243"/>
                  </a:lnTo>
                  <a:lnTo>
                    <a:pt x="1103" y="259"/>
                  </a:lnTo>
                  <a:lnTo>
                    <a:pt x="1112" y="248"/>
                  </a:lnTo>
                  <a:lnTo>
                    <a:pt x="1124" y="210"/>
                  </a:lnTo>
                  <a:lnTo>
                    <a:pt x="1117" y="205"/>
                  </a:lnTo>
                  <a:lnTo>
                    <a:pt x="1193" y="132"/>
                  </a:lnTo>
                  <a:lnTo>
                    <a:pt x="1205" y="137"/>
                  </a:lnTo>
                  <a:lnTo>
                    <a:pt x="1179" y="153"/>
                  </a:lnTo>
                  <a:lnTo>
                    <a:pt x="1247" y="137"/>
                  </a:lnTo>
                  <a:lnTo>
                    <a:pt x="1335" y="94"/>
                  </a:lnTo>
                  <a:lnTo>
                    <a:pt x="1335" y="111"/>
                  </a:lnTo>
                  <a:lnTo>
                    <a:pt x="1318" y="111"/>
                  </a:lnTo>
                  <a:lnTo>
                    <a:pt x="1330" y="111"/>
                  </a:lnTo>
                  <a:lnTo>
                    <a:pt x="1339" y="137"/>
                  </a:lnTo>
                  <a:lnTo>
                    <a:pt x="1335" y="127"/>
                  </a:lnTo>
                  <a:lnTo>
                    <a:pt x="1339" y="111"/>
                  </a:lnTo>
                  <a:lnTo>
                    <a:pt x="1382" y="99"/>
                  </a:lnTo>
                  <a:lnTo>
                    <a:pt x="1351" y="111"/>
                  </a:lnTo>
                  <a:lnTo>
                    <a:pt x="1335" y="94"/>
                  </a:lnTo>
                  <a:lnTo>
                    <a:pt x="1318" y="94"/>
                  </a:lnTo>
                  <a:lnTo>
                    <a:pt x="1389" y="61"/>
                  </a:lnTo>
                  <a:lnTo>
                    <a:pt x="1372" y="61"/>
                  </a:lnTo>
                  <a:lnTo>
                    <a:pt x="1389" y="61"/>
                  </a:lnTo>
                  <a:lnTo>
                    <a:pt x="1368" y="70"/>
                  </a:lnTo>
                  <a:lnTo>
                    <a:pt x="1382" y="78"/>
                  </a:lnTo>
                  <a:lnTo>
                    <a:pt x="1405" y="70"/>
                  </a:lnTo>
                  <a:lnTo>
                    <a:pt x="1481" y="61"/>
                  </a:lnTo>
                  <a:lnTo>
                    <a:pt x="1566" y="0"/>
                  </a:lnTo>
                  <a:lnTo>
                    <a:pt x="1583" y="4"/>
                  </a:lnTo>
                  <a:lnTo>
                    <a:pt x="1637" y="21"/>
                  </a:lnTo>
                  <a:lnTo>
                    <a:pt x="1642" y="26"/>
                  </a:lnTo>
                  <a:lnTo>
                    <a:pt x="1625" y="42"/>
                  </a:lnTo>
                  <a:lnTo>
                    <a:pt x="1599" y="54"/>
                  </a:lnTo>
                  <a:lnTo>
                    <a:pt x="1611" y="54"/>
                  </a:lnTo>
                  <a:lnTo>
                    <a:pt x="1611" y="78"/>
                  </a:lnTo>
                  <a:lnTo>
                    <a:pt x="1637" y="61"/>
                  </a:lnTo>
                  <a:lnTo>
                    <a:pt x="1653" y="42"/>
                  </a:lnTo>
                  <a:lnTo>
                    <a:pt x="1670" y="42"/>
                  </a:lnTo>
                  <a:lnTo>
                    <a:pt x="1658" y="26"/>
                  </a:lnTo>
                  <a:lnTo>
                    <a:pt x="1675" y="21"/>
                  </a:lnTo>
                  <a:lnTo>
                    <a:pt x="1675" y="37"/>
                  </a:lnTo>
                  <a:lnTo>
                    <a:pt x="1679" y="26"/>
                  </a:lnTo>
                  <a:lnTo>
                    <a:pt x="1696" y="26"/>
                  </a:lnTo>
                  <a:lnTo>
                    <a:pt x="1712" y="42"/>
                  </a:lnTo>
                  <a:lnTo>
                    <a:pt x="1708" y="54"/>
                  </a:lnTo>
                  <a:lnTo>
                    <a:pt x="1708" y="61"/>
                  </a:lnTo>
                  <a:lnTo>
                    <a:pt x="1734" y="70"/>
                  </a:lnTo>
                  <a:lnTo>
                    <a:pt x="1762" y="54"/>
                  </a:lnTo>
                  <a:lnTo>
                    <a:pt x="1805" y="54"/>
                  </a:lnTo>
                  <a:lnTo>
                    <a:pt x="1875" y="61"/>
                  </a:lnTo>
                  <a:lnTo>
                    <a:pt x="1859" y="82"/>
                  </a:lnTo>
                  <a:lnTo>
                    <a:pt x="1885" y="99"/>
                  </a:lnTo>
                  <a:lnTo>
                    <a:pt x="1842" y="99"/>
                  </a:lnTo>
                  <a:lnTo>
                    <a:pt x="1913" y="99"/>
                  </a:lnTo>
                  <a:lnTo>
                    <a:pt x="1890" y="115"/>
                  </a:lnTo>
                  <a:lnTo>
                    <a:pt x="1944" y="127"/>
                  </a:lnTo>
                  <a:lnTo>
                    <a:pt x="1951" y="115"/>
                  </a:lnTo>
                  <a:lnTo>
                    <a:pt x="1977" y="111"/>
                  </a:lnTo>
                  <a:lnTo>
                    <a:pt x="2003" y="111"/>
                  </a:lnTo>
                  <a:lnTo>
                    <a:pt x="2003" y="115"/>
                  </a:lnTo>
                  <a:lnTo>
                    <a:pt x="2036" y="111"/>
                  </a:lnTo>
                  <a:lnTo>
                    <a:pt x="2090" y="111"/>
                  </a:lnTo>
                  <a:lnTo>
                    <a:pt x="2140" y="132"/>
                  </a:lnTo>
                  <a:lnTo>
                    <a:pt x="2161" y="127"/>
                  </a:lnTo>
                  <a:lnTo>
                    <a:pt x="2192" y="148"/>
                  </a:lnTo>
                  <a:lnTo>
                    <a:pt x="2322" y="153"/>
                  </a:lnTo>
                  <a:lnTo>
                    <a:pt x="2381" y="181"/>
                  </a:lnTo>
                  <a:lnTo>
                    <a:pt x="2501" y="153"/>
                  </a:lnTo>
                  <a:lnTo>
                    <a:pt x="2544" y="170"/>
                  </a:lnTo>
                  <a:lnTo>
                    <a:pt x="2641" y="222"/>
                  </a:lnTo>
                  <a:lnTo>
                    <a:pt x="2662" y="222"/>
                  </a:lnTo>
                  <a:lnTo>
                    <a:pt x="2662" y="222"/>
                  </a:lnTo>
                  <a:lnTo>
                    <a:pt x="2662" y="222"/>
                  </a:lnTo>
                  <a:close/>
                  <a:moveTo>
                    <a:pt x="709" y="996"/>
                  </a:moveTo>
                  <a:lnTo>
                    <a:pt x="680" y="996"/>
                  </a:lnTo>
                  <a:lnTo>
                    <a:pt x="654" y="1018"/>
                  </a:lnTo>
                  <a:lnTo>
                    <a:pt x="649" y="1018"/>
                  </a:lnTo>
                  <a:lnTo>
                    <a:pt x="638" y="1001"/>
                  </a:lnTo>
                  <a:lnTo>
                    <a:pt x="612" y="996"/>
                  </a:lnTo>
                  <a:lnTo>
                    <a:pt x="612" y="980"/>
                  </a:lnTo>
                  <a:lnTo>
                    <a:pt x="595" y="968"/>
                  </a:lnTo>
                  <a:lnTo>
                    <a:pt x="557" y="963"/>
                  </a:lnTo>
                  <a:lnTo>
                    <a:pt x="612" y="985"/>
                  </a:lnTo>
                  <a:lnTo>
                    <a:pt x="562" y="963"/>
                  </a:lnTo>
                  <a:lnTo>
                    <a:pt x="520" y="980"/>
                  </a:lnTo>
                  <a:lnTo>
                    <a:pt x="503" y="968"/>
                  </a:lnTo>
                  <a:lnTo>
                    <a:pt x="503" y="959"/>
                  </a:lnTo>
                  <a:lnTo>
                    <a:pt x="508" y="923"/>
                  </a:lnTo>
                  <a:lnTo>
                    <a:pt x="524" y="947"/>
                  </a:lnTo>
                  <a:lnTo>
                    <a:pt x="562" y="947"/>
                  </a:lnTo>
                  <a:lnTo>
                    <a:pt x="612" y="930"/>
                  </a:lnTo>
                  <a:lnTo>
                    <a:pt x="664" y="968"/>
                  </a:lnTo>
                  <a:lnTo>
                    <a:pt x="718" y="980"/>
                  </a:lnTo>
                  <a:lnTo>
                    <a:pt x="709" y="996"/>
                  </a:lnTo>
                  <a:lnTo>
                    <a:pt x="709" y="996"/>
                  </a:lnTo>
                  <a:lnTo>
                    <a:pt x="709" y="996"/>
                  </a:lnTo>
                  <a:close/>
                  <a:moveTo>
                    <a:pt x="1167" y="947"/>
                  </a:moveTo>
                  <a:lnTo>
                    <a:pt x="1141" y="947"/>
                  </a:lnTo>
                  <a:lnTo>
                    <a:pt x="1150" y="940"/>
                  </a:lnTo>
                  <a:lnTo>
                    <a:pt x="1167" y="947"/>
                  </a:lnTo>
                  <a:lnTo>
                    <a:pt x="1167" y="947"/>
                  </a:lnTo>
                  <a:lnTo>
                    <a:pt x="1167" y="947"/>
                  </a:lnTo>
                  <a:close/>
                  <a:moveTo>
                    <a:pt x="2166" y="1244"/>
                  </a:moveTo>
                  <a:lnTo>
                    <a:pt x="2178" y="1256"/>
                  </a:lnTo>
                  <a:lnTo>
                    <a:pt x="2161" y="1256"/>
                  </a:lnTo>
                  <a:lnTo>
                    <a:pt x="2166" y="1244"/>
                  </a:lnTo>
                  <a:lnTo>
                    <a:pt x="2166" y="1244"/>
                  </a:lnTo>
                  <a:lnTo>
                    <a:pt x="2166" y="1244"/>
                  </a:lnTo>
                  <a:close/>
                  <a:moveTo>
                    <a:pt x="2263" y="1244"/>
                  </a:moveTo>
                  <a:lnTo>
                    <a:pt x="2263" y="1256"/>
                  </a:lnTo>
                  <a:lnTo>
                    <a:pt x="2253" y="1256"/>
                  </a:lnTo>
                  <a:lnTo>
                    <a:pt x="2263" y="1244"/>
                  </a:lnTo>
                  <a:lnTo>
                    <a:pt x="2263" y="1244"/>
                  </a:lnTo>
                  <a:lnTo>
                    <a:pt x="2263" y="1244"/>
                  </a:lnTo>
                  <a:close/>
                  <a:moveTo>
                    <a:pt x="978" y="1244"/>
                  </a:moveTo>
                  <a:lnTo>
                    <a:pt x="990" y="1256"/>
                  </a:lnTo>
                  <a:lnTo>
                    <a:pt x="978" y="1256"/>
                  </a:lnTo>
                  <a:lnTo>
                    <a:pt x="978" y="1244"/>
                  </a:lnTo>
                  <a:lnTo>
                    <a:pt x="978" y="1244"/>
                  </a:lnTo>
                  <a:lnTo>
                    <a:pt x="978" y="1244"/>
                  </a:lnTo>
                  <a:close/>
                  <a:moveTo>
                    <a:pt x="2161" y="1263"/>
                  </a:moveTo>
                  <a:lnTo>
                    <a:pt x="2161" y="1273"/>
                  </a:lnTo>
                  <a:lnTo>
                    <a:pt x="2154" y="1263"/>
                  </a:lnTo>
                  <a:lnTo>
                    <a:pt x="2161" y="1263"/>
                  </a:lnTo>
                  <a:lnTo>
                    <a:pt x="2161" y="1263"/>
                  </a:lnTo>
                  <a:lnTo>
                    <a:pt x="2161" y="1263"/>
                  </a:lnTo>
                  <a:close/>
                  <a:moveTo>
                    <a:pt x="2183" y="1263"/>
                  </a:moveTo>
                  <a:lnTo>
                    <a:pt x="2183" y="1273"/>
                  </a:lnTo>
                  <a:lnTo>
                    <a:pt x="2178" y="1273"/>
                  </a:lnTo>
                  <a:lnTo>
                    <a:pt x="2166" y="1263"/>
                  </a:lnTo>
                  <a:lnTo>
                    <a:pt x="2183" y="1263"/>
                  </a:lnTo>
                  <a:lnTo>
                    <a:pt x="2183" y="1263"/>
                  </a:lnTo>
                  <a:lnTo>
                    <a:pt x="2183" y="1263"/>
                  </a:lnTo>
                  <a:close/>
                  <a:moveTo>
                    <a:pt x="2216" y="1273"/>
                  </a:moveTo>
                  <a:lnTo>
                    <a:pt x="2220" y="1273"/>
                  </a:lnTo>
                  <a:lnTo>
                    <a:pt x="2209" y="1280"/>
                  </a:lnTo>
                  <a:lnTo>
                    <a:pt x="2216" y="1273"/>
                  </a:lnTo>
                  <a:lnTo>
                    <a:pt x="2216" y="1273"/>
                  </a:lnTo>
                  <a:lnTo>
                    <a:pt x="2216" y="1273"/>
                  </a:lnTo>
                  <a:close/>
                  <a:moveTo>
                    <a:pt x="470" y="1313"/>
                  </a:moveTo>
                  <a:lnTo>
                    <a:pt x="449" y="1313"/>
                  </a:lnTo>
                  <a:lnTo>
                    <a:pt x="416" y="1289"/>
                  </a:lnTo>
                  <a:lnTo>
                    <a:pt x="423" y="1280"/>
                  </a:lnTo>
                  <a:lnTo>
                    <a:pt x="432" y="1296"/>
                  </a:lnTo>
                  <a:lnTo>
                    <a:pt x="470" y="1313"/>
                  </a:lnTo>
                  <a:lnTo>
                    <a:pt x="470" y="1313"/>
                  </a:lnTo>
                  <a:lnTo>
                    <a:pt x="470" y="1313"/>
                  </a:lnTo>
                  <a:close/>
                  <a:moveTo>
                    <a:pt x="1897" y="1296"/>
                  </a:moveTo>
                  <a:lnTo>
                    <a:pt x="1890" y="1301"/>
                  </a:lnTo>
                  <a:lnTo>
                    <a:pt x="1897" y="1289"/>
                  </a:lnTo>
                  <a:lnTo>
                    <a:pt x="1897" y="1296"/>
                  </a:lnTo>
                  <a:lnTo>
                    <a:pt x="1897" y="1296"/>
                  </a:lnTo>
                  <a:lnTo>
                    <a:pt x="1897" y="1296"/>
                  </a:lnTo>
                  <a:close/>
                  <a:moveTo>
                    <a:pt x="2199" y="1296"/>
                  </a:moveTo>
                  <a:lnTo>
                    <a:pt x="2192" y="1301"/>
                  </a:lnTo>
                  <a:lnTo>
                    <a:pt x="2199" y="1301"/>
                  </a:lnTo>
                  <a:lnTo>
                    <a:pt x="2192" y="1329"/>
                  </a:lnTo>
                  <a:lnTo>
                    <a:pt x="2178" y="1318"/>
                  </a:lnTo>
                  <a:lnTo>
                    <a:pt x="2192" y="1296"/>
                  </a:lnTo>
                  <a:lnTo>
                    <a:pt x="2192" y="1289"/>
                  </a:lnTo>
                  <a:lnTo>
                    <a:pt x="2199" y="1296"/>
                  </a:lnTo>
                  <a:lnTo>
                    <a:pt x="2199" y="1296"/>
                  </a:lnTo>
                  <a:lnTo>
                    <a:pt x="2199" y="1296"/>
                  </a:lnTo>
                  <a:close/>
                  <a:moveTo>
                    <a:pt x="2305" y="1301"/>
                  </a:moveTo>
                  <a:lnTo>
                    <a:pt x="2268" y="1318"/>
                  </a:lnTo>
                  <a:lnTo>
                    <a:pt x="2268" y="1313"/>
                  </a:lnTo>
                  <a:lnTo>
                    <a:pt x="2275" y="1301"/>
                  </a:lnTo>
                  <a:lnTo>
                    <a:pt x="2263" y="1301"/>
                  </a:lnTo>
                  <a:lnTo>
                    <a:pt x="2268" y="1296"/>
                  </a:lnTo>
                  <a:lnTo>
                    <a:pt x="2305" y="1301"/>
                  </a:lnTo>
                  <a:lnTo>
                    <a:pt x="2305" y="1301"/>
                  </a:lnTo>
                  <a:lnTo>
                    <a:pt x="2305" y="1301"/>
                  </a:lnTo>
                  <a:close/>
                  <a:moveTo>
                    <a:pt x="902" y="1301"/>
                  </a:moveTo>
                  <a:lnTo>
                    <a:pt x="902" y="1313"/>
                  </a:lnTo>
                  <a:lnTo>
                    <a:pt x="935" y="1313"/>
                  </a:lnTo>
                  <a:lnTo>
                    <a:pt x="935" y="1334"/>
                  </a:lnTo>
                  <a:lnTo>
                    <a:pt x="940" y="1351"/>
                  </a:lnTo>
                  <a:lnTo>
                    <a:pt x="898" y="1355"/>
                  </a:lnTo>
                  <a:lnTo>
                    <a:pt x="902" y="1367"/>
                  </a:lnTo>
                  <a:lnTo>
                    <a:pt x="898" y="1372"/>
                  </a:lnTo>
                  <a:lnTo>
                    <a:pt x="831" y="1346"/>
                  </a:lnTo>
                  <a:lnTo>
                    <a:pt x="810" y="1329"/>
                  </a:lnTo>
                  <a:lnTo>
                    <a:pt x="848" y="1318"/>
                  </a:lnTo>
                  <a:lnTo>
                    <a:pt x="869" y="1301"/>
                  </a:lnTo>
                  <a:lnTo>
                    <a:pt x="902" y="1301"/>
                  </a:lnTo>
                  <a:lnTo>
                    <a:pt x="902" y="1301"/>
                  </a:lnTo>
                  <a:lnTo>
                    <a:pt x="902" y="1301"/>
                  </a:lnTo>
                  <a:close/>
                  <a:moveTo>
                    <a:pt x="2376" y="1301"/>
                  </a:moveTo>
                  <a:lnTo>
                    <a:pt x="2376" y="1313"/>
                  </a:lnTo>
                  <a:lnTo>
                    <a:pt x="2360" y="1313"/>
                  </a:lnTo>
                  <a:lnTo>
                    <a:pt x="2376" y="1301"/>
                  </a:lnTo>
                  <a:lnTo>
                    <a:pt x="2376" y="1301"/>
                  </a:lnTo>
                  <a:lnTo>
                    <a:pt x="2376" y="1301"/>
                  </a:lnTo>
                  <a:close/>
                  <a:moveTo>
                    <a:pt x="2178" y="1301"/>
                  </a:moveTo>
                  <a:lnTo>
                    <a:pt x="2166" y="1313"/>
                  </a:lnTo>
                  <a:lnTo>
                    <a:pt x="2161" y="1313"/>
                  </a:lnTo>
                  <a:lnTo>
                    <a:pt x="2178" y="1301"/>
                  </a:lnTo>
                  <a:lnTo>
                    <a:pt x="2178" y="1301"/>
                  </a:lnTo>
                  <a:lnTo>
                    <a:pt x="2178" y="1301"/>
                  </a:lnTo>
                  <a:close/>
                  <a:moveTo>
                    <a:pt x="2246" y="1313"/>
                  </a:moveTo>
                  <a:lnTo>
                    <a:pt x="2209" y="1355"/>
                  </a:lnTo>
                  <a:lnTo>
                    <a:pt x="2178" y="1367"/>
                  </a:lnTo>
                  <a:lnTo>
                    <a:pt x="2183" y="1351"/>
                  </a:lnTo>
                  <a:lnTo>
                    <a:pt x="2216" y="1334"/>
                  </a:lnTo>
                  <a:lnTo>
                    <a:pt x="2230" y="1301"/>
                  </a:lnTo>
                  <a:lnTo>
                    <a:pt x="2246" y="1313"/>
                  </a:lnTo>
                  <a:lnTo>
                    <a:pt x="2246" y="1313"/>
                  </a:lnTo>
                  <a:lnTo>
                    <a:pt x="2246" y="1313"/>
                  </a:lnTo>
                  <a:close/>
                  <a:moveTo>
                    <a:pt x="2166" y="1329"/>
                  </a:moveTo>
                  <a:lnTo>
                    <a:pt x="2161" y="1346"/>
                  </a:lnTo>
                  <a:lnTo>
                    <a:pt x="2154" y="1346"/>
                  </a:lnTo>
                  <a:lnTo>
                    <a:pt x="2166" y="1329"/>
                  </a:lnTo>
                  <a:lnTo>
                    <a:pt x="2166" y="1329"/>
                  </a:lnTo>
                  <a:lnTo>
                    <a:pt x="2166" y="1329"/>
                  </a:lnTo>
                  <a:close/>
                  <a:moveTo>
                    <a:pt x="2183" y="1334"/>
                  </a:moveTo>
                  <a:lnTo>
                    <a:pt x="2161" y="1346"/>
                  </a:lnTo>
                  <a:lnTo>
                    <a:pt x="2178" y="1329"/>
                  </a:lnTo>
                  <a:lnTo>
                    <a:pt x="2183" y="1334"/>
                  </a:lnTo>
                  <a:lnTo>
                    <a:pt x="2183" y="1334"/>
                  </a:lnTo>
                  <a:lnTo>
                    <a:pt x="2183" y="1334"/>
                  </a:lnTo>
                  <a:close/>
                  <a:moveTo>
                    <a:pt x="1788" y="1407"/>
                  </a:moveTo>
                  <a:lnTo>
                    <a:pt x="1800" y="1412"/>
                  </a:lnTo>
                  <a:lnTo>
                    <a:pt x="1783" y="1412"/>
                  </a:lnTo>
                  <a:lnTo>
                    <a:pt x="1788" y="1407"/>
                  </a:lnTo>
                  <a:lnTo>
                    <a:pt x="1788" y="1407"/>
                  </a:lnTo>
                  <a:lnTo>
                    <a:pt x="1788" y="1407"/>
                  </a:lnTo>
                  <a:close/>
                  <a:moveTo>
                    <a:pt x="1247" y="1483"/>
                  </a:moveTo>
                  <a:lnTo>
                    <a:pt x="1280" y="1474"/>
                  </a:lnTo>
                  <a:lnTo>
                    <a:pt x="1264" y="1495"/>
                  </a:lnTo>
                  <a:lnTo>
                    <a:pt x="1259" y="1500"/>
                  </a:lnTo>
                  <a:lnTo>
                    <a:pt x="1247" y="1483"/>
                  </a:lnTo>
                  <a:lnTo>
                    <a:pt x="1247" y="1483"/>
                  </a:lnTo>
                  <a:lnTo>
                    <a:pt x="1247" y="1483"/>
                  </a:lnTo>
                  <a:close/>
                  <a:moveTo>
                    <a:pt x="1868" y="1495"/>
                  </a:moveTo>
                  <a:lnTo>
                    <a:pt x="1859" y="1511"/>
                  </a:lnTo>
                  <a:lnTo>
                    <a:pt x="1842" y="1500"/>
                  </a:lnTo>
                  <a:lnTo>
                    <a:pt x="1868" y="1495"/>
                  </a:lnTo>
                  <a:lnTo>
                    <a:pt x="1868" y="1495"/>
                  </a:lnTo>
                  <a:lnTo>
                    <a:pt x="1868" y="1495"/>
                  </a:lnTo>
                  <a:close/>
                  <a:moveTo>
                    <a:pt x="1842" y="1552"/>
                  </a:moveTo>
                  <a:lnTo>
                    <a:pt x="1831" y="1556"/>
                  </a:lnTo>
                  <a:lnTo>
                    <a:pt x="1805" y="1540"/>
                  </a:lnTo>
                  <a:lnTo>
                    <a:pt x="1831" y="1540"/>
                  </a:lnTo>
                  <a:lnTo>
                    <a:pt x="1814" y="1533"/>
                  </a:lnTo>
                  <a:lnTo>
                    <a:pt x="1838" y="1528"/>
                  </a:lnTo>
                  <a:lnTo>
                    <a:pt x="1838" y="1516"/>
                  </a:lnTo>
                  <a:lnTo>
                    <a:pt x="1842" y="1511"/>
                  </a:lnTo>
                  <a:lnTo>
                    <a:pt x="1859" y="1516"/>
                  </a:lnTo>
                  <a:lnTo>
                    <a:pt x="1868" y="1511"/>
                  </a:lnTo>
                  <a:lnTo>
                    <a:pt x="1890" y="1528"/>
                  </a:lnTo>
                  <a:lnTo>
                    <a:pt x="1885" y="1540"/>
                  </a:lnTo>
                  <a:lnTo>
                    <a:pt x="1875" y="1528"/>
                  </a:lnTo>
                  <a:lnTo>
                    <a:pt x="1868" y="1533"/>
                  </a:lnTo>
                  <a:lnTo>
                    <a:pt x="1875" y="1540"/>
                  </a:lnTo>
                  <a:lnTo>
                    <a:pt x="1852" y="1540"/>
                  </a:lnTo>
                  <a:lnTo>
                    <a:pt x="1842" y="1552"/>
                  </a:lnTo>
                  <a:lnTo>
                    <a:pt x="1842" y="1552"/>
                  </a:lnTo>
                  <a:lnTo>
                    <a:pt x="1842" y="1552"/>
                  </a:lnTo>
                  <a:close/>
                  <a:moveTo>
                    <a:pt x="3116" y="1606"/>
                  </a:moveTo>
                  <a:lnTo>
                    <a:pt x="3085" y="1516"/>
                  </a:lnTo>
                  <a:lnTo>
                    <a:pt x="3111" y="1540"/>
                  </a:lnTo>
                  <a:lnTo>
                    <a:pt x="3137" y="1540"/>
                  </a:lnTo>
                  <a:lnTo>
                    <a:pt x="3165" y="1589"/>
                  </a:lnTo>
                  <a:lnTo>
                    <a:pt x="3132" y="1552"/>
                  </a:lnTo>
                  <a:lnTo>
                    <a:pt x="3132" y="1573"/>
                  </a:lnTo>
                  <a:lnTo>
                    <a:pt x="3165" y="1611"/>
                  </a:lnTo>
                  <a:lnTo>
                    <a:pt x="3149" y="1611"/>
                  </a:lnTo>
                  <a:lnTo>
                    <a:pt x="3165" y="1622"/>
                  </a:lnTo>
                  <a:lnTo>
                    <a:pt x="3153" y="1627"/>
                  </a:lnTo>
                  <a:lnTo>
                    <a:pt x="3137" y="1622"/>
                  </a:lnTo>
                  <a:lnTo>
                    <a:pt x="3149" y="1639"/>
                  </a:lnTo>
                  <a:lnTo>
                    <a:pt x="3116" y="1660"/>
                  </a:lnTo>
                  <a:lnTo>
                    <a:pt x="3111" y="1639"/>
                  </a:lnTo>
                  <a:lnTo>
                    <a:pt x="3116" y="1622"/>
                  </a:lnTo>
                  <a:lnTo>
                    <a:pt x="3132" y="1627"/>
                  </a:lnTo>
                  <a:lnTo>
                    <a:pt x="3116" y="1611"/>
                  </a:lnTo>
                  <a:lnTo>
                    <a:pt x="3132" y="1606"/>
                  </a:lnTo>
                  <a:lnTo>
                    <a:pt x="3116" y="1606"/>
                  </a:lnTo>
                  <a:lnTo>
                    <a:pt x="3116" y="1606"/>
                  </a:lnTo>
                  <a:lnTo>
                    <a:pt x="3116" y="1606"/>
                  </a:lnTo>
                  <a:close/>
                  <a:moveTo>
                    <a:pt x="3040" y="1516"/>
                  </a:moveTo>
                  <a:lnTo>
                    <a:pt x="3047" y="1516"/>
                  </a:lnTo>
                  <a:lnTo>
                    <a:pt x="3031" y="1516"/>
                  </a:lnTo>
                  <a:lnTo>
                    <a:pt x="3040" y="1516"/>
                  </a:lnTo>
                  <a:lnTo>
                    <a:pt x="3040" y="1516"/>
                  </a:lnTo>
                  <a:lnTo>
                    <a:pt x="3040" y="1516"/>
                  </a:lnTo>
                  <a:close/>
                  <a:moveTo>
                    <a:pt x="3116" y="1516"/>
                  </a:moveTo>
                  <a:lnTo>
                    <a:pt x="3132" y="1533"/>
                  </a:lnTo>
                  <a:lnTo>
                    <a:pt x="3111" y="1528"/>
                  </a:lnTo>
                  <a:lnTo>
                    <a:pt x="3116" y="1516"/>
                  </a:lnTo>
                  <a:lnTo>
                    <a:pt x="3116" y="1516"/>
                  </a:lnTo>
                  <a:lnTo>
                    <a:pt x="3116" y="1516"/>
                  </a:lnTo>
                  <a:close/>
                  <a:moveTo>
                    <a:pt x="3078" y="1585"/>
                  </a:moveTo>
                  <a:lnTo>
                    <a:pt x="3023" y="1556"/>
                  </a:lnTo>
                  <a:lnTo>
                    <a:pt x="3061" y="1589"/>
                  </a:lnTo>
                  <a:lnTo>
                    <a:pt x="3085" y="1585"/>
                  </a:lnTo>
                  <a:lnTo>
                    <a:pt x="3094" y="1594"/>
                  </a:lnTo>
                  <a:lnTo>
                    <a:pt x="3094" y="1611"/>
                  </a:lnTo>
                  <a:lnTo>
                    <a:pt x="3078" y="1611"/>
                  </a:lnTo>
                  <a:lnTo>
                    <a:pt x="3023" y="1585"/>
                  </a:lnTo>
                  <a:lnTo>
                    <a:pt x="3047" y="1594"/>
                  </a:lnTo>
                  <a:lnTo>
                    <a:pt x="3047" y="1611"/>
                  </a:lnTo>
                  <a:lnTo>
                    <a:pt x="3031" y="1622"/>
                  </a:lnTo>
                  <a:lnTo>
                    <a:pt x="3023" y="1622"/>
                  </a:lnTo>
                  <a:lnTo>
                    <a:pt x="3019" y="1606"/>
                  </a:lnTo>
                  <a:lnTo>
                    <a:pt x="3031" y="1611"/>
                  </a:lnTo>
                  <a:lnTo>
                    <a:pt x="3009" y="1594"/>
                  </a:lnTo>
                  <a:lnTo>
                    <a:pt x="3019" y="1594"/>
                  </a:lnTo>
                  <a:lnTo>
                    <a:pt x="2986" y="1573"/>
                  </a:lnTo>
                  <a:lnTo>
                    <a:pt x="2993" y="1556"/>
                  </a:lnTo>
                  <a:lnTo>
                    <a:pt x="3009" y="1573"/>
                  </a:lnTo>
                  <a:lnTo>
                    <a:pt x="2986" y="1540"/>
                  </a:lnTo>
                  <a:lnTo>
                    <a:pt x="2986" y="1533"/>
                  </a:lnTo>
                  <a:lnTo>
                    <a:pt x="3002" y="1552"/>
                  </a:lnTo>
                  <a:lnTo>
                    <a:pt x="3002" y="1533"/>
                  </a:lnTo>
                  <a:lnTo>
                    <a:pt x="3031" y="1528"/>
                  </a:lnTo>
                  <a:lnTo>
                    <a:pt x="3047" y="1540"/>
                  </a:lnTo>
                  <a:lnTo>
                    <a:pt x="3040" y="1552"/>
                  </a:lnTo>
                  <a:lnTo>
                    <a:pt x="3031" y="1552"/>
                  </a:lnTo>
                  <a:lnTo>
                    <a:pt x="3031" y="1556"/>
                  </a:lnTo>
                  <a:lnTo>
                    <a:pt x="3040" y="1556"/>
                  </a:lnTo>
                  <a:lnTo>
                    <a:pt x="3057" y="1540"/>
                  </a:lnTo>
                  <a:lnTo>
                    <a:pt x="3085" y="1556"/>
                  </a:lnTo>
                  <a:lnTo>
                    <a:pt x="3085" y="1573"/>
                  </a:lnTo>
                  <a:lnTo>
                    <a:pt x="3073" y="1568"/>
                  </a:lnTo>
                  <a:lnTo>
                    <a:pt x="3085" y="1573"/>
                  </a:lnTo>
                  <a:lnTo>
                    <a:pt x="3078" y="1585"/>
                  </a:lnTo>
                  <a:lnTo>
                    <a:pt x="3078" y="1585"/>
                  </a:lnTo>
                  <a:lnTo>
                    <a:pt x="3078" y="1585"/>
                  </a:lnTo>
                  <a:close/>
                  <a:moveTo>
                    <a:pt x="1805" y="1540"/>
                  </a:moveTo>
                  <a:lnTo>
                    <a:pt x="1831" y="1556"/>
                  </a:lnTo>
                  <a:lnTo>
                    <a:pt x="1788" y="1552"/>
                  </a:lnTo>
                  <a:lnTo>
                    <a:pt x="1805" y="1540"/>
                  </a:lnTo>
                  <a:lnTo>
                    <a:pt x="1805" y="1540"/>
                  </a:lnTo>
                  <a:lnTo>
                    <a:pt x="1805" y="1540"/>
                  </a:lnTo>
                  <a:close/>
                  <a:moveTo>
                    <a:pt x="2976" y="1552"/>
                  </a:moveTo>
                  <a:lnTo>
                    <a:pt x="2993" y="1556"/>
                  </a:lnTo>
                  <a:lnTo>
                    <a:pt x="2986" y="1573"/>
                  </a:lnTo>
                  <a:lnTo>
                    <a:pt x="2976" y="1556"/>
                  </a:lnTo>
                  <a:lnTo>
                    <a:pt x="2976" y="1552"/>
                  </a:lnTo>
                  <a:lnTo>
                    <a:pt x="2976" y="1552"/>
                  </a:lnTo>
                  <a:lnTo>
                    <a:pt x="2976" y="1552"/>
                  </a:lnTo>
                  <a:close/>
                  <a:moveTo>
                    <a:pt x="1783" y="1594"/>
                  </a:moveTo>
                  <a:lnTo>
                    <a:pt x="1762" y="1589"/>
                  </a:lnTo>
                  <a:lnTo>
                    <a:pt x="1762" y="1573"/>
                  </a:lnTo>
                  <a:lnTo>
                    <a:pt x="1767" y="1568"/>
                  </a:lnTo>
                  <a:lnTo>
                    <a:pt x="1783" y="1573"/>
                  </a:lnTo>
                  <a:lnTo>
                    <a:pt x="1788" y="1594"/>
                  </a:lnTo>
                  <a:lnTo>
                    <a:pt x="1800" y="1589"/>
                  </a:lnTo>
                  <a:lnTo>
                    <a:pt x="1788" y="1573"/>
                  </a:lnTo>
                  <a:lnTo>
                    <a:pt x="1821" y="1573"/>
                  </a:lnTo>
                  <a:lnTo>
                    <a:pt x="1805" y="1556"/>
                  </a:lnTo>
                  <a:lnTo>
                    <a:pt x="1838" y="1568"/>
                  </a:lnTo>
                  <a:lnTo>
                    <a:pt x="1831" y="1573"/>
                  </a:lnTo>
                  <a:lnTo>
                    <a:pt x="1831" y="1589"/>
                  </a:lnTo>
                  <a:lnTo>
                    <a:pt x="1838" y="1573"/>
                  </a:lnTo>
                  <a:lnTo>
                    <a:pt x="1859" y="1568"/>
                  </a:lnTo>
                  <a:lnTo>
                    <a:pt x="1868" y="1573"/>
                  </a:lnTo>
                  <a:lnTo>
                    <a:pt x="1852" y="1589"/>
                  </a:lnTo>
                  <a:lnTo>
                    <a:pt x="1859" y="1594"/>
                  </a:lnTo>
                  <a:lnTo>
                    <a:pt x="1885" y="1594"/>
                  </a:lnTo>
                  <a:lnTo>
                    <a:pt x="1868" y="1622"/>
                  </a:lnTo>
                  <a:lnTo>
                    <a:pt x="1838" y="1606"/>
                  </a:lnTo>
                  <a:lnTo>
                    <a:pt x="1821" y="1611"/>
                  </a:lnTo>
                  <a:lnTo>
                    <a:pt x="1852" y="1622"/>
                  </a:lnTo>
                  <a:lnTo>
                    <a:pt x="1842" y="1627"/>
                  </a:lnTo>
                  <a:lnTo>
                    <a:pt x="1814" y="1627"/>
                  </a:lnTo>
                  <a:lnTo>
                    <a:pt x="1821" y="1639"/>
                  </a:lnTo>
                  <a:lnTo>
                    <a:pt x="1767" y="1651"/>
                  </a:lnTo>
                  <a:lnTo>
                    <a:pt x="1783" y="1660"/>
                  </a:lnTo>
                  <a:lnTo>
                    <a:pt x="1750" y="1684"/>
                  </a:lnTo>
                  <a:lnTo>
                    <a:pt x="1746" y="1684"/>
                  </a:lnTo>
                  <a:lnTo>
                    <a:pt x="1767" y="1660"/>
                  </a:lnTo>
                  <a:lnTo>
                    <a:pt x="1750" y="1667"/>
                  </a:lnTo>
                  <a:lnTo>
                    <a:pt x="1767" y="1644"/>
                  </a:lnTo>
                  <a:lnTo>
                    <a:pt x="1746" y="1667"/>
                  </a:lnTo>
                  <a:lnTo>
                    <a:pt x="1750" y="1651"/>
                  </a:lnTo>
                  <a:lnTo>
                    <a:pt x="1724" y="1644"/>
                  </a:lnTo>
                  <a:lnTo>
                    <a:pt x="1724" y="1651"/>
                  </a:lnTo>
                  <a:lnTo>
                    <a:pt x="1746" y="1651"/>
                  </a:lnTo>
                  <a:lnTo>
                    <a:pt x="1729" y="1677"/>
                  </a:lnTo>
                  <a:lnTo>
                    <a:pt x="1712" y="1660"/>
                  </a:lnTo>
                  <a:lnTo>
                    <a:pt x="1708" y="1639"/>
                  </a:lnTo>
                  <a:lnTo>
                    <a:pt x="1696" y="1627"/>
                  </a:lnTo>
                  <a:lnTo>
                    <a:pt x="1708" y="1606"/>
                  </a:lnTo>
                  <a:lnTo>
                    <a:pt x="1734" y="1589"/>
                  </a:lnTo>
                  <a:lnTo>
                    <a:pt x="1750" y="1594"/>
                  </a:lnTo>
                  <a:lnTo>
                    <a:pt x="1762" y="1622"/>
                  </a:lnTo>
                  <a:lnTo>
                    <a:pt x="1776" y="1639"/>
                  </a:lnTo>
                  <a:lnTo>
                    <a:pt x="1767" y="1622"/>
                  </a:lnTo>
                  <a:lnTo>
                    <a:pt x="1762" y="1594"/>
                  </a:lnTo>
                  <a:lnTo>
                    <a:pt x="1783" y="1594"/>
                  </a:lnTo>
                  <a:lnTo>
                    <a:pt x="1783" y="1594"/>
                  </a:lnTo>
                  <a:lnTo>
                    <a:pt x="1783" y="1594"/>
                  </a:lnTo>
                  <a:close/>
                  <a:moveTo>
                    <a:pt x="1868" y="1568"/>
                  </a:moveTo>
                  <a:lnTo>
                    <a:pt x="1859" y="1568"/>
                  </a:lnTo>
                  <a:lnTo>
                    <a:pt x="1868" y="1568"/>
                  </a:lnTo>
                  <a:lnTo>
                    <a:pt x="1868" y="1568"/>
                  </a:lnTo>
                  <a:lnTo>
                    <a:pt x="1868" y="1568"/>
                  </a:lnTo>
                  <a:close/>
                  <a:moveTo>
                    <a:pt x="1788" y="1556"/>
                  </a:moveTo>
                  <a:lnTo>
                    <a:pt x="1805" y="1573"/>
                  </a:lnTo>
                  <a:lnTo>
                    <a:pt x="1783" y="1568"/>
                  </a:lnTo>
                  <a:lnTo>
                    <a:pt x="1788" y="1556"/>
                  </a:lnTo>
                  <a:lnTo>
                    <a:pt x="1788" y="1556"/>
                  </a:lnTo>
                  <a:lnTo>
                    <a:pt x="1788" y="1556"/>
                  </a:lnTo>
                  <a:close/>
                  <a:moveTo>
                    <a:pt x="3111" y="1705"/>
                  </a:moveTo>
                  <a:lnTo>
                    <a:pt x="3111" y="1750"/>
                  </a:lnTo>
                  <a:lnTo>
                    <a:pt x="3078" y="1705"/>
                  </a:lnTo>
                  <a:lnTo>
                    <a:pt x="3094" y="1693"/>
                  </a:lnTo>
                  <a:lnTo>
                    <a:pt x="3078" y="1700"/>
                  </a:lnTo>
                  <a:lnTo>
                    <a:pt x="3073" y="1693"/>
                  </a:lnTo>
                  <a:lnTo>
                    <a:pt x="3078" y="1677"/>
                  </a:lnTo>
                  <a:lnTo>
                    <a:pt x="3057" y="1677"/>
                  </a:lnTo>
                  <a:lnTo>
                    <a:pt x="3057" y="1644"/>
                  </a:lnTo>
                  <a:lnTo>
                    <a:pt x="3061" y="1639"/>
                  </a:lnTo>
                  <a:lnTo>
                    <a:pt x="3047" y="1639"/>
                  </a:lnTo>
                  <a:lnTo>
                    <a:pt x="3040" y="1622"/>
                  </a:lnTo>
                  <a:lnTo>
                    <a:pt x="3047" y="1622"/>
                  </a:lnTo>
                  <a:lnTo>
                    <a:pt x="3047" y="1606"/>
                  </a:lnTo>
                  <a:lnTo>
                    <a:pt x="3057" y="1606"/>
                  </a:lnTo>
                  <a:lnTo>
                    <a:pt x="3085" y="1622"/>
                  </a:lnTo>
                  <a:lnTo>
                    <a:pt x="3099" y="1644"/>
                  </a:lnTo>
                  <a:lnTo>
                    <a:pt x="3111" y="1705"/>
                  </a:lnTo>
                  <a:lnTo>
                    <a:pt x="3111" y="1705"/>
                  </a:lnTo>
                  <a:lnTo>
                    <a:pt x="3111" y="1705"/>
                  </a:lnTo>
                  <a:close/>
                  <a:moveTo>
                    <a:pt x="3094" y="1622"/>
                  </a:moveTo>
                  <a:lnTo>
                    <a:pt x="3099" y="1627"/>
                  </a:lnTo>
                  <a:lnTo>
                    <a:pt x="3085" y="1622"/>
                  </a:lnTo>
                  <a:lnTo>
                    <a:pt x="3094" y="1622"/>
                  </a:lnTo>
                  <a:lnTo>
                    <a:pt x="3094" y="1622"/>
                  </a:lnTo>
                  <a:lnTo>
                    <a:pt x="3094" y="1622"/>
                  </a:lnTo>
                  <a:close/>
                  <a:moveTo>
                    <a:pt x="3031" y="1627"/>
                  </a:moveTo>
                  <a:lnTo>
                    <a:pt x="3047" y="1639"/>
                  </a:lnTo>
                  <a:lnTo>
                    <a:pt x="3047" y="1644"/>
                  </a:lnTo>
                  <a:lnTo>
                    <a:pt x="3040" y="1660"/>
                  </a:lnTo>
                  <a:lnTo>
                    <a:pt x="3023" y="1660"/>
                  </a:lnTo>
                  <a:lnTo>
                    <a:pt x="3031" y="1644"/>
                  </a:lnTo>
                  <a:lnTo>
                    <a:pt x="3023" y="1644"/>
                  </a:lnTo>
                  <a:lnTo>
                    <a:pt x="3023" y="1627"/>
                  </a:lnTo>
                  <a:lnTo>
                    <a:pt x="3031" y="1627"/>
                  </a:lnTo>
                  <a:lnTo>
                    <a:pt x="3031" y="1627"/>
                  </a:lnTo>
                  <a:lnTo>
                    <a:pt x="3031" y="1627"/>
                  </a:lnTo>
                  <a:close/>
                  <a:moveTo>
                    <a:pt x="612" y="1651"/>
                  </a:moveTo>
                  <a:lnTo>
                    <a:pt x="600" y="1644"/>
                  </a:lnTo>
                  <a:lnTo>
                    <a:pt x="616" y="1639"/>
                  </a:lnTo>
                  <a:lnTo>
                    <a:pt x="612" y="1651"/>
                  </a:lnTo>
                  <a:lnTo>
                    <a:pt x="612" y="1651"/>
                  </a:lnTo>
                  <a:lnTo>
                    <a:pt x="612" y="1651"/>
                  </a:lnTo>
                  <a:close/>
                  <a:moveTo>
                    <a:pt x="1831" y="1644"/>
                  </a:moveTo>
                  <a:lnTo>
                    <a:pt x="1800" y="1660"/>
                  </a:lnTo>
                  <a:lnTo>
                    <a:pt x="1788" y="1651"/>
                  </a:lnTo>
                  <a:lnTo>
                    <a:pt x="1805" y="1639"/>
                  </a:lnTo>
                  <a:lnTo>
                    <a:pt x="1831" y="1644"/>
                  </a:lnTo>
                  <a:lnTo>
                    <a:pt x="1831" y="1644"/>
                  </a:lnTo>
                  <a:lnTo>
                    <a:pt x="1831" y="1644"/>
                  </a:lnTo>
                  <a:close/>
                  <a:moveTo>
                    <a:pt x="3220" y="1660"/>
                  </a:moveTo>
                  <a:lnTo>
                    <a:pt x="3236" y="1677"/>
                  </a:lnTo>
                  <a:lnTo>
                    <a:pt x="3224" y="1700"/>
                  </a:lnTo>
                  <a:lnTo>
                    <a:pt x="3203" y="1677"/>
                  </a:lnTo>
                  <a:lnTo>
                    <a:pt x="3220" y="1705"/>
                  </a:lnTo>
                  <a:lnTo>
                    <a:pt x="3186" y="1717"/>
                  </a:lnTo>
                  <a:lnTo>
                    <a:pt x="3182" y="1717"/>
                  </a:lnTo>
                  <a:lnTo>
                    <a:pt x="3182" y="1677"/>
                  </a:lnTo>
                  <a:lnTo>
                    <a:pt x="3165" y="1667"/>
                  </a:lnTo>
                  <a:lnTo>
                    <a:pt x="3170" y="1667"/>
                  </a:lnTo>
                  <a:lnTo>
                    <a:pt x="3153" y="1660"/>
                  </a:lnTo>
                  <a:lnTo>
                    <a:pt x="3165" y="1651"/>
                  </a:lnTo>
                  <a:lnTo>
                    <a:pt x="3220" y="1660"/>
                  </a:lnTo>
                  <a:lnTo>
                    <a:pt x="3220" y="1660"/>
                  </a:lnTo>
                  <a:lnTo>
                    <a:pt x="3220" y="1660"/>
                  </a:lnTo>
                  <a:close/>
                  <a:moveTo>
                    <a:pt x="3137" y="1733"/>
                  </a:moveTo>
                  <a:lnTo>
                    <a:pt x="3132" y="1722"/>
                  </a:lnTo>
                  <a:lnTo>
                    <a:pt x="3137" y="1722"/>
                  </a:lnTo>
                  <a:lnTo>
                    <a:pt x="3149" y="1722"/>
                  </a:lnTo>
                  <a:lnTo>
                    <a:pt x="3149" y="1705"/>
                  </a:lnTo>
                  <a:lnTo>
                    <a:pt x="3132" y="1705"/>
                  </a:lnTo>
                  <a:lnTo>
                    <a:pt x="3127" y="1677"/>
                  </a:lnTo>
                  <a:lnTo>
                    <a:pt x="3149" y="1677"/>
                  </a:lnTo>
                  <a:lnTo>
                    <a:pt x="3132" y="1667"/>
                  </a:lnTo>
                  <a:lnTo>
                    <a:pt x="3153" y="1677"/>
                  </a:lnTo>
                  <a:lnTo>
                    <a:pt x="3165" y="1684"/>
                  </a:lnTo>
                  <a:lnTo>
                    <a:pt x="3153" y="1700"/>
                  </a:lnTo>
                  <a:lnTo>
                    <a:pt x="3165" y="1684"/>
                  </a:lnTo>
                  <a:lnTo>
                    <a:pt x="3170" y="1684"/>
                  </a:lnTo>
                  <a:lnTo>
                    <a:pt x="3182" y="1700"/>
                  </a:lnTo>
                  <a:lnTo>
                    <a:pt x="3165" y="1700"/>
                  </a:lnTo>
                  <a:lnTo>
                    <a:pt x="3165" y="1733"/>
                  </a:lnTo>
                  <a:lnTo>
                    <a:pt x="3153" y="1722"/>
                  </a:lnTo>
                  <a:lnTo>
                    <a:pt x="3153" y="1738"/>
                  </a:lnTo>
                  <a:lnTo>
                    <a:pt x="3165" y="1738"/>
                  </a:lnTo>
                  <a:lnTo>
                    <a:pt x="3153" y="1755"/>
                  </a:lnTo>
                  <a:lnTo>
                    <a:pt x="3149" y="1755"/>
                  </a:lnTo>
                  <a:lnTo>
                    <a:pt x="3149" y="1733"/>
                  </a:lnTo>
                  <a:lnTo>
                    <a:pt x="3149" y="1762"/>
                  </a:lnTo>
                  <a:lnTo>
                    <a:pt x="3137" y="1762"/>
                  </a:lnTo>
                  <a:lnTo>
                    <a:pt x="3137" y="1733"/>
                  </a:lnTo>
                  <a:lnTo>
                    <a:pt x="3137" y="1733"/>
                  </a:lnTo>
                  <a:lnTo>
                    <a:pt x="3137" y="1733"/>
                  </a:lnTo>
                  <a:close/>
                  <a:moveTo>
                    <a:pt x="3241" y="1684"/>
                  </a:moveTo>
                  <a:lnTo>
                    <a:pt x="3257" y="1705"/>
                  </a:lnTo>
                  <a:lnTo>
                    <a:pt x="3224" y="1705"/>
                  </a:lnTo>
                  <a:lnTo>
                    <a:pt x="3236" y="1684"/>
                  </a:lnTo>
                  <a:lnTo>
                    <a:pt x="3241" y="1684"/>
                  </a:lnTo>
                  <a:lnTo>
                    <a:pt x="3241" y="1684"/>
                  </a:lnTo>
                  <a:lnTo>
                    <a:pt x="3241" y="1684"/>
                  </a:lnTo>
                  <a:close/>
                  <a:moveTo>
                    <a:pt x="654" y="1705"/>
                  </a:moveTo>
                  <a:lnTo>
                    <a:pt x="638" y="1700"/>
                  </a:lnTo>
                  <a:lnTo>
                    <a:pt x="664" y="1700"/>
                  </a:lnTo>
                  <a:lnTo>
                    <a:pt x="654" y="1705"/>
                  </a:lnTo>
                  <a:lnTo>
                    <a:pt x="654" y="1705"/>
                  </a:lnTo>
                  <a:lnTo>
                    <a:pt x="654" y="1705"/>
                  </a:lnTo>
                  <a:close/>
                  <a:moveTo>
                    <a:pt x="1746" y="1700"/>
                  </a:moveTo>
                  <a:lnTo>
                    <a:pt x="1734" y="1717"/>
                  </a:lnTo>
                  <a:lnTo>
                    <a:pt x="1729" y="1705"/>
                  </a:lnTo>
                  <a:lnTo>
                    <a:pt x="1746" y="1700"/>
                  </a:lnTo>
                  <a:lnTo>
                    <a:pt x="1746" y="1700"/>
                  </a:lnTo>
                  <a:lnTo>
                    <a:pt x="1746" y="1700"/>
                  </a:lnTo>
                  <a:close/>
                  <a:moveTo>
                    <a:pt x="1724" y="1700"/>
                  </a:moveTo>
                  <a:lnTo>
                    <a:pt x="1696" y="1722"/>
                  </a:lnTo>
                  <a:lnTo>
                    <a:pt x="1696" y="1705"/>
                  </a:lnTo>
                  <a:lnTo>
                    <a:pt x="1724" y="1700"/>
                  </a:lnTo>
                  <a:lnTo>
                    <a:pt x="1724" y="1700"/>
                  </a:lnTo>
                  <a:lnTo>
                    <a:pt x="1724" y="1700"/>
                  </a:lnTo>
                  <a:close/>
                  <a:moveTo>
                    <a:pt x="1528" y="1700"/>
                  </a:moveTo>
                  <a:lnTo>
                    <a:pt x="1545" y="1705"/>
                  </a:lnTo>
                  <a:lnTo>
                    <a:pt x="1519" y="1705"/>
                  </a:lnTo>
                  <a:lnTo>
                    <a:pt x="1528" y="1700"/>
                  </a:lnTo>
                  <a:lnTo>
                    <a:pt x="1528" y="1700"/>
                  </a:lnTo>
                  <a:lnTo>
                    <a:pt x="1528" y="1700"/>
                  </a:lnTo>
                  <a:close/>
                  <a:moveTo>
                    <a:pt x="3288" y="1755"/>
                  </a:moveTo>
                  <a:lnTo>
                    <a:pt x="3274" y="1733"/>
                  </a:lnTo>
                  <a:lnTo>
                    <a:pt x="3274" y="1717"/>
                  </a:lnTo>
                  <a:lnTo>
                    <a:pt x="3295" y="1733"/>
                  </a:lnTo>
                  <a:lnTo>
                    <a:pt x="3295" y="1738"/>
                  </a:lnTo>
                  <a:lnTo>
                    <a:pt x="3288" y="1755"/>
                  </a:lnTo>
                  <a:lnTo>
                    <a:pt x="3288" y="1755"/>
                  </a:lnTo>
                  <a:lnTo>
                    <a:pt x="3288" y="1755"/>
                  </a:lnTo>
                  <a:close/>
                  <a:moveTo>
                    <a:pt x="3236" y="1738"/>
                  </a:moveTo>
                  <a:lnTo>
                    <a:pt x="3220" y="1733"/>
                  </a:lnTo>
                  <a:lnTo>
                    <a:pt x="3236" y="1717"/>
                  </a:lnTo>
                  <a:lnTo>
                    <a:pt x="3246" y="1717"/>
                  </a:lnTo>
                  <a:lnTo>
                    <a:pt x="3246" y="1733"/>
                  </a:lnTo>
                  <a:lnTo>
                    <a:pt x="3236" y="1738"/>
                  </a:lnTo>
                  <a:lnTo>
                    <a:pt x="3236" y="1738"/>
                  </a:lnTo>
                  <a:lnTo>
                    <a:pt x="3236" y="1738"/>
                  </a:lnTo>
                  <a:close/>
                  <a:moveTo>
                    <a:pt x="3262" y="1717"/>
                  </a:moveTo>
                  <a:lnTo>
                    <a:pt x="3262" y="1722"/>
                  </a:lnTo>
                  <a:lnTo>
                    <a:pt x="3257" y="1722"/>
                  </a:lnTo>
                  <a:lnTo>
                    <a:pt x="3262" y="1717"/>
                  </a:lnTo>
                  <a:lnTo>
                    <a:pt x="3262" y="1717"/>
                  </a:lnTo>
                  <a:lnTo>
                    <a:pt x="3262" y="1717"/>
                  </a:lnTo>
                  <a:close/>
                  <a:moveTo>
                    <a:pt x="3274" y="1771"/>
                  </a:moveTo>
                  <a:lnTo>
                    <a:pt x="3262" y="1755"/>
                  </a:lnTo>
                  <a:lnTo>
                    <a:pt x="3246" y="1755"/>
                  </a:lnTo>
                  <a:lnTo>
                    <a:pt x="3246" y="1738"/>
                  </a:lnTo>
                  <a:lnTo>
                    <a:pt x="3262" y="1722"/>
                  </a:lnTo>
                  <a:lnTo>
                    <a:pt x="3262" y="1738"/>
                  </a:lnTo>
                  <a:lnTo>
                    <a:pt x="3288" y="1755"/>
                  </a:lnTo>
                  <a:lnTo>
                    <a:pt x="3288" y="1771"/>
                  </a:lnTo>
                  <a:lnTo>
                    <a:pt x="3274" y="1771"/>
                  </a:lnTo>
                  <a:lnTo>
                    <a:pt x="3274" y="1771"/>
                  </a:lnTo>
                  <a:lnTo>
                    <a:pt x="3274" y="1771"/>
                  </a:lnTo>
                  <a:close/>
                  <a:moveTo>
                    <a:pt x="3288" y="1816"/>
                  </a:moveTo>
                  <a:lnTo>
                    <a:pt x="3257" y="1804"/>
                  </a:lnTo>
                  <a:lnTo>
                    <a:pt x="3257" y="1811"/>
                  </a:lnTo>
                  <a:lnTo>
                    <a:pt x="3279" y="1816"/>
                  </a:lnTo>
                  <a:lnTo>
                    <a:pt x="3288" y="1833"/>
                  </a:lnTo>
                  <a:lnTo>
                    <a:pt x="3279" y="1844"/>
                  </a:lnTo>
                  <a:lnTo>
                    <a:pt x="3295" y="1833"/>
                  </a:lnTo>
                  <a:lnTo>
                    <a:pt x="3295" y="1849"/>
                  </a:lnTo>
                  <a:lnTo>
                    <a:pt x="3279" y="1866"/>
                  </a:lnTo>
                  <a:lnTo>
                    <a:pt x="3295" y="1861"/>
                  </a:lnTo>
                  <a:lnTo>
                    <a:pt x="3295" y="1899"/>
                  </a:lnTo>
                  <a:lnTo>
                    <a:pt x="3274" y="1889"/>
                  </a:lnTo>
                  <a:lnTo>
                    <a:pt x="3279" y="1882"/>
                  </a:lnTo>
                  <a:lnTo>
                    <a:pt x="3262" y="1866"/>
                  </a:lnTo>
                  <a:lnTo>
                    <a:pt x="3257" y="1866"/>
                  </a:lnTo>
                  <a:lnTo>
                    <a:pt x="3257" y="1849"/>
                  </a:lnTo>
                  <a:lnTo>
                    <a:pt x="3246" y="1833"/>
                  </a:lnTo>
                  <a:lnTo>
                    <a:pt x="3246" y="1849"/>
                  </a:lnTo>
                  <a:lnTo>
                    <a:pt x="3241" y="1844"/>
                  </a:lnTo>
                  <a:lnTo>
                    <a:pt x="3224" y="1844"/>
                  </a:lnTo>
                  <a:lnTo>
                    <a:pt x="3236" y="1833"/>
                  </a:lnTo>
                  <a:lnTo>
                    <a:pt x="3208" y="1833"/>
                  </a:lnTo>
                  <a:lnTo>
                    <a:pt x="3208" y="1828"/>
                  </a:lnTo>
                  <a:lnTo>
                    <a:pt x="3236" y="1828"/>
                  </a:lnTo>
                  <a:lnTo>
                    <a:pt x="3220" y="1811"/>
                  </a:lnTo>
                  <a:lnTo>
                    <a:pt x="3236" y="1804"/>
                  </a:lnTo>
                  <a:lnTo>
                    <a:pt x="3203" y="1804"/>
                  </a:lnTo>
                  <a:lnTo>
                    <a:pt x="3203" y="1788"/>
                  </a:lnTo>
                  <a:lnTo>
                    <a:pt x="3208" y="1788"/>
                  </a:lnTo>
                  <a:lnTo>
                    <a:pt x="3220" y="1771"/>
                  </a:lnTo>
                  <a:lnTo>
                    <a:pt x="3208" y="1771"/>
                  </a:lnTo>
                  <a:lnTo>
                    <a:pt x="3208" y="1750"/>
                  </a:lnTo>
                  <a:lnTo>
                    <a:pt x="3182" y="1738"/>
                  </a:lnTo>
                  <a:lnTo>
                    <a:pt x="3182" y="1733"/>
                  </a:lnTo>
                  <a:lnTo>
                    <a:pt x="3208" y="1733"/>
                  </a:lnTo>
                  <a:lnTo>
                    <a:pt x="3224" y="1750"/>
                  </a:lnTo>
                  <a:lnTo>
                    <a:pt x="3220" y="1750"/>
                  </a:lnTo>
                  <a:lnTo>
                    <a:pt x="3220" y="1755"/>
                  </a:lnTo>
                  <a:lnTo>
                    <a:pt x="3246" y="1771"/>
                  </a:lnTo>
                  <a:lnTo>
                    <a:pt x="3288" y="1816"/>
                  </a:lnTo>
                  <a:lnTo>
                    <a:pt x="3288" y="1816"/>
                  </a:lnTo>
                  <a:lnTo>
                    <a:pt x="3288" y="1816"/>
                  </a:lnTo>
                  <a:close/>
                  <a:moveTo>
                    <a:pt x="3203" y="1750"/>
                  </a:moveTo>
                  <a:lnTo>
                    <a:pt x="3203" y="1762"/>
                  </a:lnTo>
                  <a:lnTo>
                    <a:pt x="3170" y="1771"/>
                  </a:lnTo>
                  <a:lnTo>
                    <a:pt x="3186" y="1750"/>
                  </a:lnTo>
                  <a:lnTo>
                    <a:pt x="3203" y="1750"/>
                  </a:lnTo>
                  <a:lnTo>
                    <a:pt x="3203" y="1750"/>
                  </a:lnTo>
                  <a:lnTo>
                    <a:pt x="3203" y="1750"/>
                  </a:lnTo>
                  <a:close/>
                  <a:moveTo>
                    <a:pt x="3342" y="1833"/>
                  </a:moveTo>
                  <a:lnTo>
                    <a:pt x="3333" y="1833"/>
                  </a:lnTo>
                  <a:lnTo>
                    <a:pt x="3349" y="1816"/>
                  </a:lnTo>
                  <a:lnTo>
                    <a:pt x="3342" y="1804"/>
                  </a:lnTo>
                  <a:lnTo>
                    <a:pt x="3342" y="1816"/>
                  </a:lnTo>
                  <a:lnTo>
                    <a:pt x="3333" y="1833"/>
                  </a:lnTo>
                  <a:lnTo>
                    <a:pt x="3333" y="1811"/>
                  </a:lnTo>
                  <a:lnTo>
                    <a:pt x="3326" y="1833"/>
                  </a:lnTo>
                  <a:lnTo>
                    <a:pt x="3312" y="1816"/>
                  </a:lnTo>
                  <a:lnTo>
                    <a:pt x="3316" y="1811"/>
                  </a:lnTo>
                  <a:lnTo>
                    <a:pt x="3316" y="1788"/>
                  </a:lnTo>
                  <a:lnTo>
                    <a:pt x="3316" y="1778"/>
                  </a:lnTo>
                  <a:lnTo>
                    <a:pt x="3349" y="1762"/>
                  </a:lnTo>
                  <a:lnTo>
                    <a:pt x="3371" y="1804"/>
                  </a:lnTo>
                  <a:lnTo>
                    <a:pt x="3364" y="1828"/>
                  </a:lnTo>
                  <a:lnTo>
                    <a:pt x="3354" y="1844"/>
                  </a:lnTo>
                  <a:lnTo>
                    <a:pt x="3349" y="1844"/>
                  </a:lnTo>
                  <a:lnTo>
                    <a:pt x="3349" y="1828"/>
                  </a:lnTo>
                  <a:lnTo>
                    <a:pt x="3342" y="1833"/>
                  </a:lnTo>
                  <a:lnTo>
                    <a:pt x="3342" y="1833"/>
                  </a:lnTo>
                  <a:lnTo>
                    <a:pt x="3342" y="1833"/>
                  </a:lnTo>
                  <a:close/>
                  <a:moveTo>
                    <a:pt x="3165" y="1771"/>
                  </a:moveTo>
                  <a:lnTo>
                    <a:pt x="3165" y="1778"/>
                  </a:lnTo>
                  <a:lnTo>
                    <a:pt x="3153" y="1778"/>
                  </a:lnTo>
                  <a:lnTo>
                    <a:pt x="3165" y="1771"/>
                  </a:lnTo>
                  <a:lnTo>
                    <a:pt x="3165" y="1771"/>
                  </a:lnTo>
                  <a:lnTo>
                    <a:pt x="3165" y="1771"/>
                  </a:lnTo>
                  <a:close/>
                  <a:moveTo>
                    <a:pt x="3149" y="1771"/>
                  </a:moveTo>
                  <a:lnTo>
                    <a:pt x="3132" y="1778"/>
                  </a:lnTo>
                  <a:lnTo>
                    <a:pt x="3132" y="1771"/>
                  </a:lnTo>
                  <a:lnTo>
                    <a:pt x="3149" y="1771"/>
                  </a:lnTo>
                  <a:lnTo>
                    <a:pt x="3149" y="1771"/>
                  </a:lnTo>
                  <a:lnTo>
                    <a:pt x="3149" y="1771"/>
                  </a:lnTo>
                  <a:close/>
                  <a:moveTo>
                    <a:pt x="1642" y="1771"/>
                  </a:moveTo>
                  <a:lnTo>
                    <a:pt x="1642" y="1788"/>
                  </a:lnTo>
                  <a:lnTo>
                    <a:pt x="1625" y="1788"/>
                  </a:lnTo>
                  <a:lnTo>
                    <a:pt x="1642" y="1771"/>
                  </a:lnTo>
                  <a:lnTo>
                    <a:pt x="1642" y="1771"/>
                  </a:lnTo>
                  <a:lnTo>
                    <a:pt x="1642" y="1771"/>
                  </a:lnTo>
                  <a:close/>
                  <a:moveTo>
                    <a:pt x="3208" y="1778"/>
                  </a:moveTo>
                  <a:lnTo>
                    <a:pt x="3208" y="1788"/>
                  </a:lnTo>
                  <a:lnTo>
                    <a:pt x="3203" y="1778"/>
                  </a:lnTo>
                  <a:lnTo>
                    <a:pt x="3208" y="1778"/>
                  </a:lnTo>
                  <a:lnTo>
                    <a:pt x="3208" y="1778"/>
                  </a:lnTo>
                  <a:lnTo>
                    <a:pt x="3208" y="1778"/>
                  </a:lnTo>
                  <a:close/>
                  <a:moveTo>
                    <a:pt x="1410" y="1771"/>
                  </a:moveTo>
                  <a:lnTo>
                    <a:pt x="1420" y="1778"/>
                  </a:lnTo>
                  <a:lnTo>
                    <a:pt x="1405" y="1778"/>
                  </a:lnTo>
                  <a:lnTo>
                    <a:pt x="1410" y="1771"/>
                  </a:lnTo>
                  <a:lnTo>
                    <a:pt x="1410" y="1771"/>
                  </a:lnTo>
                  <a:lnTo>
                    <a:pt x="1410" y="1771"/>
                  </a:lnTo>
                  <a:close/>
                  <a:moveTo>
                    <a:pt x="3203" y="1788"/>
                  </a:moveTo>
                  <a:lnTo>
                    <a:pt x="3186" y="1795"/>
                  </a:lnTo>
                  <a:lnTo>
                    <a:pt x="3182" y="1788"/>
                  </a:lnTo>
                  <a:lnTo>
                    <a:pt x="3203" y="1788"/>
                  </a:lnTo>
                  <a:lnTo>
                    <a:pt x="3203" y="1788"/>
                  </a:lnTo>
                  <a:lnTo>
                    <a:pt x="3203" y="1788"/>
                  </a:lnTo>
                  <a:close/>
                  <a:moveTo>
                    <a:pt x="3203" y="1811"/>
                  </a:moveTo>
                  <a:lnTo>
                    <a:pt x="3203" y="1816"/>
                  </a:lnTo>
                  <a:lnTo>
                    <a:pt x="3191" y="1811"/>
                  </a:lnTo>
                  <a:lnTo>
                    <a:pt x="3203" y="1811"/>
                  </a:lnTo>
                  <a:lnTo>
                    <a:pt x="3203" y="1811"/>
                  </a:lnTo>
                  <a:lnTo>
                    <a:pt x="3203" y="1811"/>
                  </a:lnTo>
                  <a:close/>
                  <a:moveTo>
                    <a:pt x="3182" y="1816"/>
                  </a:moveTo>
                  <a:lnTo>
                    <a:pt x="3170" y="1816"/>
                  </a:lnTo>
                  <a:lnTo>
                    <a:pt x="3170" y="1811"/>
                  </a:lnTo>
                  <a:lnTo>
                    <a:pt x="3186" y="1811"/>
                  </a:lnTo>
                  <a:lnTo>
                    <a:pt x="3182" y="1816"/>
                  </a:lnTo>
                  <a:lnTo>
                    <a:pt x="3182" y="1816"/>
                  </a:lnTo>
                  <a:lnTo>
                    <a:pt x="3182" y="1816"/>
                  </a:lnTo>
                  <a:close/>
                  <a:moveTo>
                    <a:pt x="3191" y="1811"/>
                  </a:moveTo>
                  <a:lnTo>
                    <a:pt x="3191" y="1816"/>
                  </a:lnTo>
                  <a:lnTo>
                    <a:pt x="3182" y="1816"/>
                  </a:lnTo>
                  <a:lnTo>
                    <a:pt x="3191" y="1811"/>
                  </a:lnTo>
                  <a:lnTo>
                    <a:pt x="3191" y="1811"/>
                  </a:lnTo>
                  <a:lnTo>
                    <a:pt x="3191" y="1811"/>
                  </a:lnTo>
                  <a:close/>
                  <a:moveTo>
                    <a:pt x="3312" y="1816"/>
                  </a:moveTo>
                  <a:lnTo>
                    <a:pt x="3316" y="1833"/>
                  </a:lnTo>
                  <a:lnTo>
                    <a:pt x="3312" y="1849"/>
                  </a:lnTo>
                  <a:lnTo>
                    <a:pt x="3312" y="1844"/>
                  </a:lnTo>
                  <a:lnTo>
                    <a:pt x="3312" y="1816"/>
                  </a:lnTo>
                  <a:lnTo>
                    <a:pt x="3312" y="1816"/>
                  </a:lnTo>
                  <a:lnTo>
                    <a:pt x="3312" y="1816"/>
                  </a:lnTo>
                  <a:close/>
                  <a:moveTo>
                    <a:pt x="3191" y="1828"/>
                  </a:moveTo>
                  <a:lnTo>
                    <a:pt x="3182" y="1844"/>
                  </a:lnTo>
                  <a:lnTo>
                    <a:pt x="3182" y="1833"/>
                  </a:lnTo>
                  <a:lnTo>
                    <a:pt x="3186" y="1816"/>
                  </a:lnTo>
                  <a:lnTo>
                    <a:pt x="3191" y="1828"/>
                  </a:lnTo>
                  <a:lnTo>
                    <a:pt x="3191" y="1828"/>
                  </a:lnTo>
                  <a:lnTo>
                    <a:pt x="3191" y="1828"/>
                  </a:lnTo>
                  <a:close/>
                  <a:moveTo>
                    <a:pt x="1280" y="1828"/>
                  </a:moveTo>
                  <a:lnTo>
                    <a:pt x="1285" y="1828"/>
                  </a:lnTo>
                  <a:lnTo>
                    <a:pt x="1285" y="1844"/>
                  </a:lnTo>
                  <a:lnTo>
                    <a:pt x="1297" y="1844"/>
                  </a:lnTo>
                  <a:lnTo>
                    <a:pt x="1275" y="1849"/>
                  </a:lnTo>
                  <a:lnTo>
                    <a:pt x="1275" y="1833"/>
                  </a:lnTo>
                  <a:lnTo>
                    <a:pt x="1280" y="1828"/>
                  </a:lnTo>
                  <a:lnTo>
                    <a:pt x="1280" y="1828"/>
                  </a:lnTo>
                  <a:lnTo>
                    <a:pt x="1280" y="1828"/>
                  </a:lnTo>
                  <a:close/>
                  <a:moveTo>
                    <a:pt x="1301" y="1828"/>
                  </a:moveTo>
                  <a:lnTo>
                    <a:pt x="1301" y="1844"/>
                  </a:lnTo>
                  <a:lnTo>
                    <a:pt x="1297" y="1833"/>
                  </a:lnTo>
                  <a:lnTo>
                    <a:pt x="1301" y="1828"/>
                  </a:lnTo>
                  <a:lnTo>
                    <a:pt x="1301" y="1828"/>
                  </a:lnTo>
                  <a:lnTo>
                    <a:pt x="1301" y="1828"/>
                  </a:lnTo>
                  <a:close/>
                  <a:moveTo>
                    <a:pt x="3203" y="1833"/>
                  </a:moveTo>
                  <a:lnTo>
                    <a:pt x="3208" y="1844"/>
                  </a:lnTo>
                  <a:lnTo>
                    <a:pt x="3191" y="1844"/>
                  </a:lnTo>
                  <a:lnTo>
                    <a:pt x="3191" y="1833"/>
                  </a:lnTo>
                  <a:lnTo>
                    <a:pt x="3203" y="1833"/>
                  </a:lnTo>
                  <a:lnTo>
                    <a:pt x="3203" y="1833"/>
                  </a:lnTo>
                  <a:lnTo>
                    <a:pt x="3203" y="1833"/>
                  </a:lnTo>
                  <a:close/>
                  <a:moveTo>
                    <a:pt x="1339" y="1833"/>
                  </a:moveTo>
                  <a:lnTo>
                    <a:pt x="1339" y="1849"/>
                  </a:lnTo>
                  <a:lnTo>
                    <a:pt x="1313" y="1873"/>
                  </a:lnTo>
                  <a:lnTo>
                    <a:pt x="1318" y="1861"/>
                  </a:lnTo>
                  <a:lnTo>
                    <a:pt x="1318" y="1849"/>
                  </a:lnTo>
                  <a:lnTo>
                    <a:pt x="1330" y="1849"/>
                  </a:lnTo>
                  <a:lnTo>
                    <a:pt x="1339" y="1833"/>
                  </a:lnTo>
                  <a:lnTo>
                    <a:pt x="1339" y="1833"/>
                  </a:lnTo>
                  <a:lnTo>
                    <a:pt x="1339" y="1833"/>
                  </a:lnTo>
                  <a:close/>
                  <a:moveTo>
                    <a:pt x="3333" y="1844"/>
                  </a:moveTo>
                  <a:lnTo>
                    <a:pt x="3342" y="1844"/>
                  </a:lnTo>
                  <a:lnTo>
                    <a:pt x="3342" y="1861"/>
                  </a:lnTo>
                  <a:lnTo>
                    <a:pt x="3326" y="1866"/>
                  </a:lnTo>
                  <a:lnTo>
                    <a:pt x="3326" y="1833"/>
                  </a:lnTo>
                  <a:lnTo>
                    <a:pt x="3333" y="1844"/>
                  </a:lnTo>
                  <a:lnTo>
                    <a:pt x="3333" y="1844"/>
                  </a:lnTo>
                  <a:lnTo>
                    <a:pt x="3333" y="1844"/>
                  </a:lnTo>
                  <a:close/>
                  <a:moveTo>
                    <a:pt x="3220" y="1844"/>
                  </a:moveTo>
                  <a:lnTo>
                    <a:pt x="3246" y="1899"/>
                  </a:lnTo>
                  <a:lnTo>
                    <a:pt x="3236" y="1899"/>
                  </a:lnTo>
                  <a:lnTo>
                    <a:pt x="3220" y="1866"/>
                  </a:lnTo>
                  <a:lnTo>
                    <a:pt x="3208" y="1861"/>
                  </a:lnTo>
                  <a:lnTo>
                    <a:pt x="3208" y="1844"/>
                  </a:lnTo>
                  <a:lnTo>
                    <a:pt x="3220" y="1844"/>
                  </a:lnTo>
                  <a:lnTo>
                    <a:pt x="3220" y="1844"/>
                  </a:lnTo>
                  <a:lnTo>
                    <a:pt x="3220" y="1844"/>
                  </a:lnTo>
                  <a:close/>
                  <a:moveTo>
                    <a:pt x="1368" y="1844"/>
                  </a:moveTo>
                  <a:lnTo>
                    <a:pt x="1368" y="1861"/>
                  </a:lnTo>
                  <a:lnTo>
                    <a:pt x="1356" y="1861"/>
                  </a:lnTo>
                  <a:lnTo>
                    <a:pt x="1368" y="1844"/>
                  </a:lnTo>
                  <a:lnTo>
                    <a:pt x="1368" y="1844"/>
                  </a:lnTo>
                  <a:lnTo>
                    <a:pt x="1368" y="1844"/>
                  </a:lnTo>
                  <a:close/>
                  <a:moveTo>
                    <a:pt x="3241" y="1844"/>
                  </a:moveTo>
                  <a:lnTo>
                    <a:pt x="3246" y="1861"/>
                  </a:lnTo>
                  <a:lnTo>
                    <a:pt x="3236" y="1861"/>
                  </a:lnTo>
                  <a:lnTo>
                    <a:pt x="3241" y="1844"/>
                  </a:lnTo>
                  <a:lnTo>
                    <a:pt x="3241" y="1844"/>
                  </a:lnTo>
                  <a:lnTo>
                    <a:pt x="3241" y="1844"/>
                  </a:lnTo>
                  <a:close/>
                  <a:moveTo>
                    <a:pt x="1209" y="1849"/>
                  </a:moveTo>
                  <a:lnTo>
                    <a:pt x="1221" y="1849"/>
                  </a:lnTo>
                  <a:lnTo>
                    <a:pt x="1205" y="1861"/>
                  </a:lnTo>
                  <a:lnTo>
                    <a:pt x="1193" y="1849"/>
                  </a:lnTo>
                  <a:lnTo>
                    <a:pt x="1209" y="1849"/>
                  </a:lnTo>
                  <a:lnTo>
                    <a:pt x="1209" y="1849"/>
                  </a:lnTo>
                  <a:lnTo>
                    <a:pt x="1209" y="1849"/>
                  </a:lnTo>
                  <a:close/>
                  <a:moveTo>
                    <a:pt x="1032" y="1906"/>
                  </a:moveTo>
                  <a:lnTo>
                    <a:pt x="1027" y="1922"/>
                  </a:lnTo>
                  <a:lnTo>
                    <a:pt x="1004" y="1922"/>
                  </a:lnTo>
                  <a:lnTo>
                    <a:pt x="990" y="1922"/>
                  </a:lnTo>
                  <a:lnTo>
                    <a:pt x="978" y="1906"/>
                  </a:lnTo>
                  <a:lnTo>
                    <a:pt x="1004" y="1899"/>
                  </a:lnTo>
                  <a:lnTo>
                    <a:pt x="1016" y="1873"/>
                  </a:lnTo>
                  <a:lnTo>
                    <a:pt x="1032" y="1873"/>
                  </a:lnTo>
                  <a:lnTo>
                    <a:pt x="1065" y="1861"/>
                  </a:lnTo>
                  <a:lnTo>
                    <a:pt x="1079" y="1861"/>
                  </a:lnTo>
                  <a:lnTo>
                    <a:pt x="1096" y="1882"/>
                  </a:lnTo>
                  <a:lnTo>
                    <a:pt x="1112" y="1889"/>
                  </a:lnTo>
                  <a:lnTo>
                    <a:pt x="1117" y="1899"/>
                  </a:lnTo>
                  <a:lnTo>
                    <a:pt x="1096" y="1889"/>
                  </a:lnTo>
                  <a:lnTo>
                    <a:pt x="1079" y="1906"/>
                  </a:lnTo>
                  <a:lnTo>
                    <a:pt x="1032" y="1906"/>
                  </a:lnTo>
                  <a:lnTo>
                    <a:pt x="1032" y="1906"/>
                  </a:lnTo>
                  <a:lnTo>
                    <a:pt x="1032" y="1906"/>
                  </a:lnTo>
                  <a:close/>
                  <a:moveTo>
                    <a:pt x="1372" y="1861"/>
                  </a:moveTo>
                  <a:lnTo>
                    <a:pt x="1372" y="1866"/>
                  </a:lnTo>
                  <a:lnTo>
                    <a:pt x="1368" y="1866"/>
                  </a:lnTo>
                  <a:lnTo>
                    <a:pt x="1368" y="1861"/>
                  </a:lnTo>
                  <a:lnTo>
                    <a:pt x="1372" y="1861"/>
                  </a:lnTo>
                  <a:lnTo>
                    <a:pt x="1372" y="1861"/>
                  </a:lnTo>
                  <a:lnTo>
                    <a:pt x="1372" y="1861"/>
                  </a:lnTo>
                  <a:close/>
                  <a:moveTo>
                    <a:pt x="3349" y="1866"/>
                  </a:moveTo>
                  <a:lnTo>
                    <a:pt x="3349" y="1873"/>
                  </a:lnTo>
                  <a:lnTo>
                    <a:pt x="3333" y="1873"/>
                  </a:lnTo>
                  <a:lnTo>
                    <a:pt x="3349" y="1866"/>
                  </a:lnTo>
                  <a:lnTo>
                    <a:pt x="3349" y="1866"/>
                  </a:lnTo>
                  <a:lnTo>
                    <a:pt x="3349" y="1866"/>
                  </a:lnTo>
                  <a:close/>
                  <a:moveTo>
                    <a:pt x="1172" y="1866"/>
                  </a:moveTo>
                  <a:lnTo>
                    <a:pt x="1167" y="1882"/>
                  </a:lnTo>
                  <a:lnTo>
                    <a:pt x="1155" y="1873"/>
                  </a:lnTo>
                  <a:lnTo>
                    <a:pt x="1172" y="1866"/>
                  </a:lnTo>
                  <a:lnTo>
                    <a:pt x="1172" y="1866"/>
                  </a:lnTo>
                  <a:lnTo>
                    <a:pt x="1172" y="1866"/>
                  </a:lnTo>
                  <a:close/>
                  <a:moveTo>
                    <a:pt x="1382" y="1866"/>
                  </a:moveTo>
                  <a:lnTo>
                    <a:pt x="1389" y="1873"/>
                  </a:lnTo>
                  <a:lnTo>
                    <a:pt x="1382" y="1873"/>
                  </a:lnTo>
                  <a:lnTo>
                    <a:pt x="1382" y="1866"/>
                  </a:lnTo>
                  <a:lnTo>
                    <a:pt x="1382" y="1866"/>
                  </a:lnTo>
                  <a:lnTo>
                    <a:pt x="1382" y="1866"/>
                  </a:lnTo>
                  <a:close/>
                  <a:moveTo>
                    <a:pt x="3246" y="1873"/>
                  </a:moveTo>
                  <a:lnTo>
                    <a:pt x="3246" y="1889"/>
                  </a:lnTo>
                  <a:lnTo>
                    <a:pt x="3241" y="1873"/>
                  </a:lnTo>
                  <a:lnTo>
                    <a:pt x="3246" y="1873"/>
                  </a:lnTo>
                  <a:lnTo>
                    <a:pt x="3246" y="1873"/>
                  </a:lnTo>
                  <a:lnTo>
                    <a:pt x="3246" y="1873"/>
                  </a:lnTo>
                  <a:close/>
                  <a:moveTo>
                    <a:pt x="1134" y="1915"/>
                  </a:moveTo>
                  <a:lnTo>
                    <a:pt x="1150" y="1927"/>
                  </a:lnTo>
                  <a:lnTo>
                    <a:pt x="1134" y="1922"/>
                  </a:lnTo>
                  <a:lnTo>
                    <a:pt x="1134" y="1915"/>
                  </a:lnTo>
                  <a:lnTo>
                    <a:pt x="1134" y="1915"/>
                  </a:lnTo>
                  <a:lnTo>
                    <a:pt x="1134" y="1915"/>
                  </a:lnTo>
                  <a:close/>
                  <a:moveTo>
                    <a:pt x="940" y="1955"/>
                  </a:moveTo>
                  <a:lnTo>
                    <a:pt x="935" y="1939"/>
                  </a:lnTo>
                  <a:lnTo>
                    <a:pt x="952" y="1939"/>
                  </a:lnTo>
                  <a:lnTo>
                    <a:pt x="940" y="1955"/>
                  </a:lnTo>
                  <a:lnTo>
                    <a:pt x="940" y="1955"/>
                  </a:lnTo>
                  <a:lnTo>
                    <a:pt x="940" y="1955"/>
                  </a:lnTo>
                  <a:close/>
                  <a:moveTo>
                    <a:pt x="919" y="1960"/>
                  </a:moveTo>
                  <a:lnTo>
                    <a:pt x="902" y="1955"/>
                  </a:lnTo>
                  <a:lnTo>
                    <a:pt x="907" y="1939"/>
                  </a:lnTo>
                  <a:lnTo>
                    <a:pt x="935" y="1955"/>
                  </a:lnTo>
                  <a:lnTo>
                    <a:pt x="919" y="1960"/>
                  </a:lnTo>
                  <a:lnTo>
                    <a:pt x="919" y="1960"/>
                  </a:lnTo>
                  <a:lnTo>
                    <a:pt x="919" y="1960"/>
                  </a:lnTo>
                  <a:close/>
                  <a:moveTo>
                    <a:pt x="957" y="1960"/>
                  </a:moveTo>
                  <a:lnTo>
                    <a:pt x="952" y="1955"/>
                  </a:lnTo>
                  <a:lnTo>
                    <a:pt x="961" y="1955"/>
                  </a:lnTo>
                  <a:lnTo>
                    <a:pt x="957" y="1960"/>
                  </a:lnTo>
                  <a:lnTo>
                    <a:pt x="957" y="1960"/>
                  </a:lnTo>
                  <a:lnTo>
                    <a:pt x="957" y="1960"/>
                  </a:lnTo>
                  <a:close/>
                  <a:moveTo>
                    <a:pt x="831" y="2000"/>
                  </a:moveTo>
                  <a:lnTo>
                    <a:pt x="843" y="1993"/>
                  </a:lnTo>
                  <a:lnTo>
                    <a:pt x="853" y="1993"/>
                  </a:lnTo>
                  <a:lnTo>
                    <a:pt x="827" y="1981"/>
                  </a:lnTo>
                  <a:lnTo>
                    <a:pt x="843" y="1972"/>
                  </a:lnTo>
                  <a:lnTo>
                    <a:pt x="864" y="1960"/>
                  </a:lnTo>
                  <a:lnTo>
                    <a:pt x="864" y="1977"/>
                  </a:lnTo>
                  <a:lnTo>
                    <a:pt x="886" y="1960"/>
                  </a:lnTo>
                  <a:lnTo>
                    <a:pt x="898" y="1972"/>
                  </a:lnTo>
                  <a:lnTo>
                    <a:pt x="869" y="1993"/>
                  </a:lnTo>
                  <a:lnTo>
                    <a:pt x="886" y="1981"/>
                  </a:lnTo>
                  <a:lnTo>
                    <a:pt x="886" y="1993"/>
                  </a:lnTo>
                  <a:lnTo>
                    <a:pt x="869" y="2000"/>
                  </a:lnTo>
                  <a:lnTo>
                    <a:pt x="853" y="2017"/>
                  </a:lnTo>
                  <a:lnTo>
                    <a:pt x="794" y="2038"/>
                  </a:lnTo>
                  <a:lnTo>
                    <a:pt x="777" y="2033"/>
                  </a:lnTo>
                  <a:lnTo>
                    <a:pt x="827" y="2017"/>
                  </a:lnTo>
                  <a:lnTo>
                    <a:pt x="831" y="2010"/>
                  </a:lnTo>
                  <a:lnTo>
                    <a:pt x="827" y="2000"/>
                  </a:lnTo>
                  <a:lnTo>
                    <a:pt x="831" y="2000"/>
                  </a:lnTo>
                  <a:lnTo>
                    <a:pt x="831" y="2000"/>
                  </a:lnTo>
                  <a:lnTo>
                    <a:pt x="831" y="2000"/>
                  </a:lnTo>
                  <a:close/>
                  <a:moveTo>
                    <a:pt x="898" y="1993"/>
                  </a:moveTo>
                  <a:lnTo>
                    <a:pt x="886" y="1981"/>
                  </a:lnTo>
                  <a:lnTo>
                    <a:pt x="902" y="1977"/>
                  </a:lnTo>
                  <a:lnTo>
                    <a:pt x="898" y="1993"/>
                  </a:lnTo>
                  <a:lnTo>
                    <a:pt x="898" y="1993"/>
                  </a:lnTo>
                  <a:lnTo>
                    <a:pt x="898" y="1993"/>
                  </a:lnTo>
                  <a:close/>
                  <a:moveTo>
                    <a:pt x="789" y="2017"/>
                  </a:moveTo>
                  <a:lnTo>
                    <a:pt x="777" y="2026"/>
                  </a:lnTo>
                  <a:lnTo>
                    <a:pt x="746" y="2038"/>
                  </a:lnTo>
                  <a:lnTo>
                    <a:pt x="735" y="2055"/>
                  </a:lnTo>
                  <a:lnTo>
                    <a:pt x="692" y="2083"/>
                  </a:lnTo>
                  <a:lnTo>
                    <a:pt x="709" y="2066"/>
                  </a:lnTo>
                  <a:lnTo>
                    <a:pt x="709" y="2050"/>
                  </a:lnTo>
                  <a:lnTo>
                    <a:pt x="725" y="2033"/>
                  </a:lnTo>
                  <a:lnTo>
                    <a:pt x="739" y="2033"/>
                  </a:lnTo>
                  <a:lnTo>
                    <a:pt x="739" y="2026"/>
                  </a:lnTo>
                  <a:lnTo>
                    <a:pt x="739" y="2017"/>
                  </a:lnTo>
                  <a:lnTo>
                    <a:pt x="772" y="2010"/>
                  </a:lnTo>
                  <a:lnTo>
                    <a:pt x="789" y="2017"/>
                  </a:lnTo>
                  <a:lnTo>
                    <a:pt x="789" y="2017"/>
                  </a:lnTo>
                  <a:lnTo>
                    <a:pt x="789" y="2017"/>
                  </a:lnTo>
                  <a:close/>
                  <a:moveTo>
                    <a:pt x="649" y="2066"/>
                  </a:moveTo>
                  <a:lnTo>
                    <a:pt x="649" y="2055"/>
                  </a:lnTo>
                  <a:lnTo>
                    <a:pt x="649" y="2066"/>
                  </a:lnTo>
                  <a:lnTo>
                    <a:pt x="649" y="2066"/>
                  </a:lnTo>
                  <a:lnTo>
                    <a:pt x="649" y="2066"/>
                  </a:lnTo>
                  <a:close/>
                  <a:moveTo>
                    <a:pt x="24685" y="2088"/>
                  </a:moveTo>
                  <a:lnTo>
                    <a:pt x="24678" y="2071"/>
                  </a:lnTo>
                  <a:lnTo>
                    <a:pt x="24652" y="2071"/>
                  </a:lnTo>
                  <a:lnTo>
                    <a:pt x="24668" y="2066"/>
                  </a:lnTo>
                  <a:lnTo>
                    <a:pt x="24701" y="2066"/>
                  </a:lnTo>
                  <a:lnTo>
                    <a:pt x="24722" y="2071"/>
                  </a:lnTo>
                  <a:lnTo>
                    <a:pt x="24685" y="2088"/>
                  </a:lnTo>
                  <a:lnTo>
                    <a:pt x="24685" y="2088"/>
                  </a:lnTo>
                  <a:lnTo>
                    <a:pt x="24685" y="2088"/>
                  </a:lnTo>
                  <a:close/>
                  <a:moveTo>
                    <a:pt x="633" y="2083"/>
                  </a:moveTo>
                  <a:lnTo>
                    <a:pt x="649" y="2071"/>
                  </a:lnTo>
                  <a:lnTo>
                    <a:pt x="649" y="2083"/>
                  </a:lnTo>
                  <a:lnTo>
                    <a:pt x="633" y="2083"/>
                  </a:lnTo>
                  <a:lnTo>
                    <a:pt x="633" y="2083"/>
                  </a:lnTo>
                  <a:lnTo>
                    <a:pt x="633" y="2083"/>
                  </a:lnTo>
                  <a:close/>
                  <a:moveTo>
                    <a:pt x="616" y="2088"/>
                  </a:moveTo>
                  <a:lnTo>
                    <a:pt x="616" y="2083"/>
                  </a:lnTo>
                  <a:lnTo>
                    <a:pt x="626" y="2088"/>
                  </a:lnTo>
                  <a:lnTo>
                    <a:pt x="616" y="2088"/>
                  </a:lnTo>
                  <a:lnTo>
                    <a:pt x="616" y="2088"/>
                  </a:lnTo>
                  <a:lnTo>
                    <a:pt x="616" y="2088"/>
                  </a:lnTo>
                  <a:close/>
                  <a:moveTo>
                    <a:pt x="574" y="2104"/>
                  </a:moveTo>
                  <a:lnTo>
                    <a:pt x="579" y="2092"/>
                  </a:lnTo>
                  <a:lnTo>
                    <a:pt x="583" y="2092"/>
                  </a:lnTo>
                  <a:lnTo>
                    <a:pt x="574" y="2104"/>
                  </a:lnTo>
                  <a:lnTo>
                    <a:pt x="574" y="2104"/>
                  </a:lnTo>
                  <a:lnTo>
                    <a:pt x="574" y="2104"/>
                  </a:lnTo>
                  <a:close/>
                  <a:moveTo>
                    <a:pt x="24739" y="2126"/>
                  </a:moveTo>
                  <a:lnTo>
                    <a:pt x="24715" y="2121"/>
                  </a:lnTo>
                  <a:lnTo>
                    <a:pt x="24744" y="2109"/>
                  </a:lnTo>
                  <a:lnTo>
                    <a:pt x="24744" y="2126"/>
                  </a:lnTo>
                  <a:lnTo>
                    <a:pt x="24739" y="2126"/>
                  </a:lnTo>
                  <a:lnTo>
                    <a:pt x="24739" y="2126"/>
                  </a:lnTo>
                  <a:lnTo>
                    <a:pt x="24739" y="2126"/>
                  </a:lnTo>
                  <a:close/>
                  <a:moveTo>
                    <a:pt x="324" y="2149"/>
                  </a:moveTo>
                  <a:lnTo>
                    <a:pt x="255" y="2161"/>
                  </a:lnTo>
                  <a:lnTo>
                    <a:pt x="331" y="2137"/>
                  </a:lnTo>
                  <a:lnTo>
                    <a:pt x="314" y="2126"/>
                  </a:lnTo>
                  <a:lnTo>
                    <a:pt x="331" y="2121"/>
                  </a:lnTo>
                  <a:lnTo>
                    <a:pt x="347" y="2126"/>
                  </a:lnTo>
                  <a:lnTo>
                    <a:pt x="340" y="2142"/>
                  </a:lnTo>
                  <a:lnTo>
                    <a:pt x="324" y="2149"/>
                  </a:lnTo>
                  <a:lnTo>
                    <a:pt x="324" y="2149"/>
                  </a:lnTo>
                  <a:lnTo>
                    <a:pt x="324" y="2149"/>
                  </a:lnTo>
                  <a:close/>
                  <a:moveTo>
                    <a:pt x="453" y="2137"/>
                  </a:moveTo>
                  <a:lnTo>
                    <a:pt x="449" y="2137"/>
                  </a:lnTo>
                  <a:lnTo>
                    <a:pt x="453" y="2121"/>
                  </a:lnTo>
                  <a:lnTo>
                    <a:pt x="470" y="2126"/>
                  </a:lnTo>
                  <a:lnTo>
                    <a:pt x="453" y="2137"/>
                  </a:lnTo>
                  <a:lnTo>
                    <a:pt x="453" y="2137"/>
                  </a:lnTo>
                  <a:lnTo>
                    <a:pt x="453" y="2137"/>
                  </a:lnTo>
                  <a:close/>
                  <a:moveTo>
                    <a:pt x="24895" y="2126"/>
                  </a:moveTo>
                  <a:lnTo>
                    <a:pt x="24895" y="2121"/>
                  </a:lnTo>
                  <a:lnTo>
                    <a:pt x="24900" y="2126"/>
                  </a:lnTo>
                  <a:lnTo>
                    <a:pt x="24895" y="2126"/>
                  </a:lnTo>
                  <a:lnTo>
                    <a:pt x="24895" y="2126"/>
                  </a:lnTo>
                  <a:lnTo>
                    <a:pt x="24895" y="2126"/>
                  </a:lnTo>
                  <a:close/>
                  <a:moveTo>
                    <a:pt x="385" y="2161"/>
                  </a:moveTo>
                  <a:lnTo>
                    <a:pt x="347" y="2142"/>
                  </a:lnTo>
                  <a:lnTo>
                    <a:pt x="423" y="2149"/>
                  </a:lnTo>
                  <a:lnTo>
                    <a:pt x="385" y="2161"/>
                  </a:lnTo>
                  <a:lnTo>
                    <a:pt x="385" y="2161"/>
                  </a:lnTo>
                  <a:lnTo>
                    <a:pt x="385" y="2161"/>
                  </a:lnTo>
                  <a:close/>
                  <a:moveTo>
                    <a:pt x="24992" y="2178"/>
                  </a:moveTo>
                  <a:lnTo>
                    <a:pt x="24987" y="2166"/>
                  </a:lnTo>
                  <a:lnTo>
                    <a:pt x="25008" y="2149"/>
                  </a:lnTo>
                  <a:lnTo>
                    <a:pt x="25013" y="2149"/>
                  </a:lnTo>
                  <a:lnTo>
                    <a:pt x="25013" y="2166"/>
                  </a:lnTo>
                  <a:lnTo>
                    <a:pt x="25003" y="2166"/>
                  </a:lnTo>
                  <a:lnTo>
                    <a:pt x="24992" y="2178"/>
                  </a:lnTo>
                  <a:lnTo>
                    <a:pt x="24992" y="2178"/>
                  </a:lnTo>
                  <a:lnTo>
                    <a:pt x="24992" y="2178"/>
                  </a:lnTo>
                  <a:close/>
                  <a:moveTo>
                    <a:pt x="201" y="2161"/>
                  </a:moveTo>
                  <a:lnTo>
                    <a:pt x="196" y="2161"/>
                  </a:lnTo>
                  <a:lnTo>
                    <a:pt x="201" y="2149"/>
                  </a:lnTo>
                  <a:lnTo>
                    <a:pt x="205" y="2149"/>
                  </a:lnTo>
                  <a:lnTo>
                    <a:pt x="201" y="2161"/>
                  </a:lnTo>
                  <a:lnTo>
                    <a:pt x="201" y="2161"/>
                  </a:lnTo>
                  <a:lnTo>
                    <a:pt x="201" y="2161"/>
                  </a:lnTo>
                  <a:close/>
                  <a:moveTo>
                    <a:pt x="25155" y="2166"/>
                  </a:moveTo>
                  <a:lnTo>
                    <a:pt x="25148" y="2161"/>
                  </a:lnTo>
                  <a:lnTo>
                    <a:pt x="25155" y="2161"/>
                  </a:lnTo>
                  <a:lnTo>
                    <a:pt x="25164" y="2161"/>
                  </a:lnTo>
                  <a:lnTo>
                    <a:pt x="25155" y="2166"/>
                  </a:lnTo>
                  <a:lnTo>
                    <a:pt x="25155" y="2166"/>
                  </a:lnTo>
                  <a:lnTo>
                    <a:pt x="25155" y="2166"/>
                  </a:lnTo>
                  <a:close/>
                  <a:moveTo>
                    <a:pt x="217" y="2161"/>
                  </a:moveTo>
                  <a:lnTo>
                    <a:pt x="205" y="2161"/>
                  </a:lnTo>
                  <a:lnTo>
                    <a:pt x="222" y="2161"/>
                  </a:lnTo>
                  <a:lnTo>
                    <a:pt x="217" y="2161"/>
                  </a:lnTo>
                  <a:lnTo>
                    <a:pt x="217" y="2161"/>
                  </a:lnTo>
                  <a:lnTo>
                    <a:pt x="217" y="2161"/>
                  </a:lnTo>
                  <a:close/>
                  <a:moveTo>
                    <a:pt x="25079" y="2166"/>
                  </a:moveTo>
                  <a:lnTo>
                    <a:pt x="25067" y="2161"/>
                  </a:lnTo>
                  <a:lnTo>
                    <a:pt x="25084" y="2166"/>
                  </a:lnTo>
                  <a:lnTo>
                    <a:pt x="25079" y="2166"/>
                  </a:lnTo>
                  <a:lnTo>
                    <a:pt x="25079" y="2166"/>
                  </a:lnTo>
                  <a:lnTo>
                    <a:pt x="25079" y="2166"/>
                  </a:lnTo>
                  <a:close/>
                  <a:moveTo>
                    <a:pt x="142" y="2199"/>
                  </a:moveTo>
                  <a:lnTo>
                    <a:pt x="142" y="2194"/>
                  </a:lnTo>
                  <a:lnTo>
                    <a:pt x="151" y="2178"/>
                  </a:lnTo>
                  <a:lnTo>
                    <a:pt x="151" y="2166"/>
                  </a:lnTo>
                  <a:lnTo>
                    <a:pt x="168" y="2161"/>
                  </a:lnTo>
                  <a:lnTo>
                    <a:pt x="163" y="2178"/>
                  </a:lnTo>
                  <a:lnTo>
                    <a:pt x="179" y="2178"/>
                  </a:lnTo>
                  <a:lnTo>
                    <a:pt x="179" y="2182"/>
                  </a:lnTo>
                  <a:lnTo>
                    <a:pt x="142" y="2199"/>
                  </a:lnTo>
                  <a:lnTo>
                    <a:pt x="142" y="2199"/>
                  </a:lnTo>
                  <a:lnTo>
                    <a:pt x="142" y="2199"/>
                  </a:lnTo>
                  <a:close/>
                  <a:moveTo>
                    <a:pt x="92" y="2194"/>
                  </a:moveTo>
                  <a:lnTo>
                    <a:pt x="87" y="2194"/>
                  </a:lnTo>
                  <a:lnTo>
                    <a:pt x="125" y="2178"/>
                  </a:lnTo>
                  <a:lnTo>
                    <a:pt x="125" y="2166"/>
                  </a:lnTo>
                  <a:lnTo>
                    <a:pt x="130" y="2166"/>
                  </a:lnTo>
                  <a:lnTo>
                    <a:pt x="125" y="2194"/>
                  </a:lnTo>
                  <a:lnTo>
                    <a:pt x="92" y="2194"/>
                  </a:lnTo>
                  <a:lnTo>
                    <a:pt x="92" y="2194"/>
                  </a:lnTo>
                  <a:lnTo>
                    <a:pt x="92" y="2194"/>
                  </a:lnTo>
                  <a:close/>
                  <a:moveTo>
                    <a:pt x="75" y="2199"/>
                  </a:moveTo>
                  <a:lnTo>
                    <a:pt x="59" y="2194"/>
                  </a:lnTo>
                  <a:lnTo>
                    <a:pt x="71" y="2182"/>
                  </a:lnTo>
                  <a:lnTo>
                    <a:pt x="54" y="2166"/>
                  </a:lnTo>
                  <a:lnTo>
                    <a:pt x="71" y="2166"/>
                  </a:lnTo>
                  <a:lnTo>
                    <a:pt x="75" y="2178"/>
                  </a:lnTo>
                  <a:lnTo>
                    <a:pt x="75" y="2199"/>
                  </a:lnTo>
                  <a:lnTo>
                    <a:pt x="75" y="2199"/>
                  </a:lnTo>
                  <a:lnTo>
                    <a:pt x="75" y="2199"/>
                  </a:lnTo>
                  <a:close/>
                  <a:moveTo>
                    <a:pt x="201" y="2182"/>
                  </a:moveTo>
                  <a:lnTo>
                    <a:pt x="196" y="2166"/>
                  </a:lnTo>
                  <a:lnTo>
                    <a:pt x="205" y="2178"/>
                  </a:lnTo>
                  <a:lnTo>
                    <a:pt x="201" y="2182"/>
                  </a:lnTo>
                  <a:lnTo>
                    <a:pt x="201" y="2182"/>
                  </a:lnTo>
                  <a:lnTo>
                    <a:pt x="201" y="2182"/>
                  </a:lnTo>
                  <a:close/>
                  <a:moveTo>
                    <a:pt x="184" y="2182"/>
                  </a:moveTo>
                  <a:lnTo>
                    <a:pt x="179" y="2178"/>
                  </a:lnTo>
                  <a:lnTo>
                    <a:pt x="184" y="2178"/>
                  </a:lnTo>
                  <a:lnTo>
                    <a:pt x="184" y="2182"/>
                  </a:lnTo>
                  <a:lnTo>
                    <a:pt x="184" y="2182"/>
                  </a:lnTo>
                  <a:lnTo>
                    <a:pt x="184" y="2182"/>
                  </a:lnTo>
                  <a:close/>
                  <a:moveTo>
                    <a:pt x="16" y="2182"/>
                  </a:moveTo>
                  <a:lnTo>
                    <a:pt x="7" y="2178"/>
                  </a:lnTo>
                  <a:lnTo>
                    <a:pt x="16" y="2182"/>
                  </a:lnTo>
                  <a:lnTo>
                    <a:pt x="16" y="2182"/>
                  </a:lnTo>
                  <a:lnTo>
                    <a:pt x="16" y="2182"/>
                  </a:lnTo>
                  <a:close/>
                  <a:moveTo>
                    <a:pt x="25131" y="2220"/>
                  </a:moveTo>
                  <a:lnTo>
                    <a:pt x="25084" y="2194"/>
                  </a:lnTo>
                  <a:lnTo>
                    <a:pt x="25100" y="2199"/>
                  </a:lnTo>
                  <a:lnTo>
                    <a:pt x="25131" y="2215"/>
                  </a:lnTo>
                  <a:lnTo>
                    <a:pt x="25148" y="2215"/>
                  </a:lnTo>
                  <a:lnTo>
                    <a:pt x="25131" y="2220"/>
                  </a:lnTo>
                  <a:lnTo>
                    <a:pt x="25131" y="2220"/>
                  </a:lnTo>
                  <a:lnTo>
                    <a:pt x="25131" y="2220"/>
                  </a:lnTo>
                  <a:close/>
                  <a:moveTo>
                    <a:pt x="0" y="2220"/>
                  </a:moveTo>
                  <a:lnTo>
                    <a:pt x="0" y="2215"/>
                  </a:lnTo>
                  <a:lnTo>
                    <a:pt x="7" y="2220"/>
                  </a:lnTo>
                  <a:lnTo>
                    <a:pt x="0" y="2220"/>
                  </a:lnTo>
                  <a:lnTo>
                    <a:pt x="0" y="2220"/>
                  </a:lnTo>
                  <a:lnTo>
                    <a:pt x="0" y="2220"/>
                  </a:lnTo>
                  <a:close/>
                  <a:moveTo>
                    <a:pt x="3942" y="2442"/>
                  </a:moveTo>
                  <a:lnTo>
                    <a:pt x="5882" y="2442"/>
                  </a:lnTo>
                  <a:lnTo>
                    <a:pt x="5882" y="2404"/>
                  </a:lnTo>
                  <a:lnTo>
                    <a:pt x="5903" y="2414"/>
                  </a:lnTo>
                  <a:lnTo>
                    <a:pt x="5908" y="2459"/>
                  </a:lnTo>
                  <a:lnTo>
                    <a:pt x="5920" y="2470"/>
                  </a:lnTo>
                  <a:lnTo>
                    <a:pt x="5974" y="2475"/>
                  </a:lnTo>
                  <a:lnTo>
                    <a:pt x="5974" y="2482"/>
                  </a:lnTo>
                  <a:lnTo>
                    <a:pt x="6012" y="2475"/>
                  </a:lnTo>
                  <a:lnTo>
                    <a:pt x="6033" y="2475"/>
                  </a:lnTo>
                  <a:lnTo>
                    <a:pt x="6071" y="2499"/>
                  </a:lnTo>
                  <a:lnTo>
                    <a:pt x="6071" y="2515"/>
                  </a:lnTo>
                  <a:lnTo>
                    <a:pt x="6080" y="2499"/>
                  </a:lnTo>
                  <a:lnTo>
                    <a:pt x="6097" y="2499"/>
                  </a:lnTo>
                  <a:lnTo>
                    <a:pt x="6101" y="2515"/>
                  </a:lnTo>
                  <a:lnTo>
                    <a:pt x="6139" y="2532"/>
                  </a:lnTo>
                  <a:lnTo>
                    <a:pt x="6177" y="2515"/>
                  </a:lnTo>
                  <a:lnTo>
                    <a:pt x="6189" y="2525"/>
                  </a:lnTo>
                  <a:lnTo>
                    <a:pt x="6227" y="2525"/>
                  </a:lnTo>
                  <a:lnTo>
                    <a:pt x="6248" y="2532"/>
                  </a:lnTo>
                  <a:lnTo>
                    <a:pt x="6286" y="2537"/>
                  </a:lnTo>
                  <a:lnTo>
                    <a:pt x="6357" y="2508"/>
                  </a:lnTo>
                  <a:lnTo>
                    <a:pt x="6605" y="2636"/>
                  </a:lnTo>
                  <a:lnTo>
                    <a:pt x="6605" y="2659"/>
                  </a:lnTo>
                  <a:lnTo>
                    <a:pt x="6621" y="2676"/>
                  </a:lnTo>
                  <a:lnTo>
                    <a:pt x="6654" y="2664"/>
                  </a:lnTo>
                  <a:lnTo>
                    <a:pt x="6654" y="2692"/>
                  </a:lnTo>
                  <a:lnTo>
                    <a:pt x="6664" y="2702"/>
                  </a:lnTo>
                  <a:lnTo>
                    <a:pt x="6692" y="2702"/>
                  </a:lnTo>
                  <a:lnTo>
                    <a:pt x="6697" y="2714"/>
                  </a:lnTo>
                  <a:lnTo>
                    <a:pt x="6692" y="2730"/>
                  </a:lnTo>
                  <a:lnTo>
                    <a:pt x="6768" y="2775"/>
                  </a:lnTo>
                  <a:lnTo>
                    <a:pt x="6789" y="2924"/>
                  </a:lnTo>
                  <a:lnTo>
                    <a:pt x="6772" y="2981"/>
                  </a:lnTo>
                  <a:lnTo>
                    <a:pt x="6768" y="3014"/>
                  </a:lnTo>
                  <a:lnTo>
                    <a:pt x="6730" y="3047"/>
                  </a:lnTo>
                  <a:lnTo>
                    <a:pt x="6718" y="3063"/>
                  </a:lnTo>
                  <a:lnTo>
                    <a:pt x="6730" y="3080"/>
                  </a:lnTo>
                  <a:lnTo>
                    <a:pt x="6751" y="3096"/>
                  </a:lnTo>
                  <a:lnTo>
                    <a:pt x="6772" y="3096"/>
                  </a:lnTo>
                  <a:lnTo>
                    <a:pt x="6853" y="3047"/>
                  </a:lnTo>
                  <a:lnTo>
                    <a:pt x="6935" y="3030"/>
                  </a:lnTo>
                  <a:lnTo>
                    <a:pt x="7016" y="2997"/>
                  </a:lnTo>
                  <a:lnTo>
                    <a:pt x="7020" y="2990"/>
                  </a:lnTo>
                  <a:lnTo>
                    <a:pt x="7004" y="2974"/>
                  </a:lnTo>
                  <a:lnTo>
                    <a:pt x="7004" y="2957"/>
                  </a:lnTo>
                  <a:lnTo>
                    <a:pt x="6999" y="2940"/>
                  </a:lnTo>
                  <a:lnTo>
                    <a:pt x="7032" y="2924"/>
                  </a:lnTo>
                  <a:lnTo>
                    <a:pt x="7167" y="2924"/>
                  </a:lnTo>
                  <a:lnTo>
                    <a:pt x="7193" y="2886"/>
                  </a:lnTo>
                  <a:lnTo>
                    <a:pt x="7290" y="2808"/>
                  </a:lnTo>
                  <a:lnTo>
                    <a:pt x="7540" y="2803"/>
                  </a:lnTo>
                  <a:lnTo>
                    <a:pt x="7545" y="2787"/>
                  </a:lnTo>
                  <a:lnTo>
                    <a:pt x="7554" y="2775"/>
                  </a:lnTo>
                  <a:lnTo>
                    <a:pt x="7561" y="2787"/>
                  </a:lnTo>
                  <a:lnTo>
                    <a:pt x="7571" y="2775"/>
                  </a:lnTo>
                  <a:lnTo>
                    <a:pt x="7582" y="2787"/>
                  </a:lnTo>
                  <a:lnTo>
                    <a:pt x="7592" y="2759"/>
                  </a:lnTo>
                  <a:lnTo>
                    <a:pt x="7592" y="2754"/>
                  </a:lnTo>
                  <a:lnTo>
                    <a:pt x="7625" y="2718"/>
                  </a:lnTo>
                  <a:lnTo>
                    <a:pt x="7625" y="2697"/>
                  </a:lnTo>
                  <a:lnTo>
                    <a:pt x="7637" y="2676"/>
                  </a:lnTo>
                  <a:lnTo>
                    <a:pt x="7646" y="2648"/>
                  </a:lnTo>
                  <a:lnTo>
                    <a:pt x="7701" y="2581"/>
                  </a:lnTo>
                  <a:lnTo>
                    <a:pt x="7705" y="2586"/>
                  </a:lnTo>
                  <a:lnTo>
                    <a:pt x="7705" y="2603"/>
                  </a:lnTo>
                  <a:lnTo>
                    <a:pt x="7722" y="2610"/>
                  </a:lnTo>
                  <a:lnTo>
                    <a:pt x="7760" y="2591"/>
                  </a:lnTo>
                  <a:lnTo>
                    <a:pt x="7805" y="2619"/>
                  </a:lnTo>
                  <a:lnTo>
                    <a:pt x="7805" y="2747"/>
                  </a:lnTo>
                  <a:lnTo>
                    <a:pt x="7826" y="2754"/>
                  </a:lnTo>
                  <a:lnTo>
                    <a:pt x="7814" y="2759"/>
                  </a:lnTo>
                  <a:lnTo>
                    <a:pt x="7826" y="2775"/>
                  </a:lnTo>
                  <a:lnTo>
                    <a:pt x="7831" y="2792"/>
                  </a:lnTo>
                  <a:lnTo>
                    <a:pt x="7842" y="2792"/>
                  </a:lnTo>
                  <a:lnTo>
                    <a:pt x="7856" y="2808"/>
                  </a:lnTo>
                  <a:lnTo>
                    <a:pt x="7842" y="2813"/>
                  </a:lnTo>
                  <a:lnTo>
                    <a:pt x="7856" y="2813"/>
                  </a:lnTo>
                  <a:lnTo>
                    <a:pt x="7842" y="2829"/>
                  </a:lnTo>
                  <a:lnTo>
                    <a:pt x="7814" y="2829"/>
                  </a:lnTo>
                  <a:lnTo>
                    <a:pt x="7814" y="2846"/>
                  </a:lnTo>
                  <a:lnTo>
                    <a:pt x="7805" y="2846"/>
                  </a:lnTo>
                  <a:lnTo>
                    <a:pt x="7776" y="2863"/>
                  </a:lnTo>
                  <a:lnTo>
                    <a:pt x="7776" y="2858"/>
                  </a:lnTo>
                  <a:lnTo>
                    <a:pt x="7760" y="2858"/>
                  </a:lnTo>
                  <a:lnTo>
                    <a:pt x="7743" y="2858"/>
                  </a:lnTo>
                  <a:lnTo>
                    <a:pt x="7743" y="2863"/>
                  </a:lnTo>
                  <a:lnTo>
                    <a:pt x="7738" y="2863"/>
                  </a:lnTo>
                  <a:lnTo>
                    <a:pt x="7722" y="2863"/>
                  </a:lnTo>
                  <a:lnTo>
                    <a:pt x="7734" y="2841"/>
                  </a:lnTo>
                  <a:lnTo>
                    <a:pt x="7717" y="2858"/>
                  </a:lnTo>
                  <a:lnTo>
                    <a:pt x="7705" y="2886"/>
                  </a:lnTo>
                  <a:lnTo>
                    <a:pt x="7691" y="2898"/>
                  </a:lnTo>
                  <a:lnTo>
                    <a:pt x="7684" y="2886"/>
                  </a:lnTo>
                  <a:lnTo>
                    <a:pt x="7679" y="2903"/>
                  </a:lnTo>
                  <a:lnTo>
                    <a:pt x="7679" y="2886"/>
                  </a:lnTo>
                  <a:lnTo>
                    <a:pt x="7668" y="2903"/>
                  </a:lnTo>
                  <a:lnTo>
                    <a:pt x="7668" y="2886"/>
                  </a:lnTo>
                  <a:lnTo>
                    <a:pt x="7663" y="2914"/>
                  </a:lnTo>
                  <a:lnTo>
                    <a:pt x="7663" y="2886"/>
                  </a:lnTo>
                  <a:lnTo>
                    <a:pt x="7653" y="2898"/>
                  </a:lnTo>
                  <a:lnTo>
                    <a:pt x="7653" y="2919"/>
                  </a:lnTo>
                  <a:lnTo>
                    <a:pt x="7646" y="2903"/>
                  </a:lnTo>
                  <a:lnTo>
                    <a:pt x="7630" y="2914"/>
                  </a:lnTo>
                  <a:lnTo>
                    <a:pt x="7625" y="2924"/>
                  </a:lnTo>
                  <a:lnTo>
                    <a:pt x="7630" y="2936"/>
                  </a:lnTo>
                  <a:lnTo>
                    <a:pt x="7608" y="2952"/>
                  </a:lnTo>
                  <a:lnTo>
                    <a:pt x="7599" y="2974"/>
                  </a:lnTo>
                  <a:lnTo>
                    <a:pt x="7592" y="2969"/>
                  </a:lnTo>
                  <a:lnTo>
                    <a:pt x="7582" y="3007"/>
                  </a:lnTo>
                  <a:lnTo>
                    <a:pt x="7599" y="3014"/>
                  </a:lnTo>
                  <a:lnTo>
                    <a:pt x="7582" y="3023"/>
                  </a:lnTo>
                  <a:lnTo>
                    <a:pt x="7571" y="3035"/>
                  </a:lnTo>
                  <a:lnTo>
                    <a:pt x="7592" y="3047"/>
                  </a:lnTo>
                  <a:lnTo>
                    <a:pt x="7592" y="3068"/>
                  </a:lnTo>
                  <a:lnTo>
                    <a:pt x="7608" y="3080"/>
                  </a:lnTo>
                  <a:lnTo>
                    <a:pt x="7608" y="3085"/>
                  </a:lnTo>
                  <a:lnTo>
                    <a:pt x="7625" y="3096"/>
                  </a:lnTo>
                  <a:lnTo>
                    <a:pt x="7646" y="3085"/>
                  </a:lnTo>
                  <a:lnTo>
                    <a:pt x="7646" y="3080"/>
                  </a:lnTo>
                  <a:lnTo>
                    <a:pt x="7625" y="3063"/>
                  </a:lnTo>
                  <a:lnTo>
                    <a:pt x="7637" y="3063"/>
                  </a:lnTo>
                  <a:lnTo>
                    <a:pt x="7646" y="3080"/>
                  </a:lnTo>
                  <a:lnTo>
                    <a:pt x="7646" y="3096"/>
                  </a:lnTo>
                  <a:lnTo>
                    <a:pt x="7616" y="3101"/>
                  </a:lnTo>
                  <a:lnTo>
                    <a:pt x="7599" y="3108"/>
                  </a:lnTo>
                  <a:lnTo>
                    <a:pt x="7599" y="3096"/>
                  </a:lnTo>
                  <a:lnTo>
                    <a:pt x="7592" y="3096"/>
                  </a:lnTo>
                  <a:lnTo>
                    <a:pt x="7561" y="3118"/>
                  </a:lnTo>
                  <a:lnTo>
                    <a:pt x="7561" y="3101"/>
                  </a:lnTo>
                  <a:lnTo>
                    <a:pt x="7571" y="3085"/>
                  </a:lnTo>
                  <a:lnTo>
                    <a:pt x="7554" y="3101"/>
                  </a:lnTo>
                  <a:lnTo>
                    <a:pt x="7545" y="3085"/>
                  </a:lnTo>
                  <a:lnTo>
                    <a:pt x="7540" y="3125"/>
                  </a:lnTo>
                  <a:lnTo>
                    <a:pt x="7436" y="3134"/>
                  </a:lnTo>
                  <a:lnTo>
                    <a:pt x="7393" y="3158"/>
                  </a:lnTo>
                  <a:lnTo>
                    <a:pt x="7360" y="3179"/>
                  </a:lnTo>
                  <a:lnTo>
                    <a:pt x="7377" y="3151"/>
                  </a:lnTo>
                  <a:lnTo>
                    <a:pt x="7365" y="3125"/>
                  </a:lnTo>
                  <a:lnTo>
                    <a:pt x="7365" y="3158"/>
                  </a:lnTo>
                  <a:lnTo>
                    <a:pt x="7344" y="3196"/>
                  </a:lnTo>
                  <a:lnTo>
                    <a:pt x="7360" y="3196"/>
                  </a:lnTo>
                  <a:lnTo>
                    <a:pt x="7365" y="3212"/>
                  </a:lnTo>
                  <a:lnTo>
                    <a:pt x="7360" y="3262"/>
                  </a:lnTo>
                  <a:lnTo>
                    <a:pt x="7360" y="3236"/>
                  </a:lnTo>
                  <a:lnTo>
                    <a:pt x="7356" y="3269"/>
                  </a:lnTo>
                  <a:lnTo>
                    <a:pt x="7339" y="3285"/>
                  </a:lnTo>
                  <a:lnTo>
                    <a:pt x="7327" y="3290"/>
                  </a:lnTo>
                  <a:lnTo>
                    <a:pt x="7313" y="3302"/>
                  </a:lnTo>
                  <a:lnTo>
                    <a:pt x="7323" y="3302"/>
                  </a:lnTo>
                  <a:lnTo>
                    <a:pt x="7313" y="3318"/>
                  </a:lnTo>
                  <a:lnTo>
                    <a:pt x="7301" y="3328"/>
                  </a:lnTo>
                  <a:lnTo>
                    <a:pt x="7301" y="3307"/>
                  </a:lnTo>
                  <a:lnTo>
                    <a:pt x="7259" y="3290"/>
                  </a:lnTo>
                  <a:lnTo>
                    <a:pt x="7252" y="3274"/>
                  </a:lnTo>
                  <a:lnTo>
                    <a:pt x="7290" y="3236"/>
                  </a:lnTo>
                  <a:lnTo>
                    <a:pt x="7252" y="3269"/>
                  </a:lnTo>
                  <a:lnTo>
                    <a:pt x="7252" y="3285"/>
                  </a:lnTo>
                  <a:lnTo>
                    <a:pt x="7285" y="3347"/>
                  </a:lnTo>
                  <a:lnTo>
                    <a:pt x="7275" y="3356"/>
                  </a:lnTo>
                  <a:lnTo>
                    <a:pt x="7290" y="3363"/>
                  </a:lnTo>
                  <a:lnTo>
                    <a:pt x="7290" y="3373"/>
                  </a:lnTo>
                  <a:lnTo>
                    <a:pt x="7268" y="3401"/>
                  </a:lnTo>
                  <a:lnTo>
                    <a:pt x="7252" y="3439"/>
                  </a:lnTo>
                  <a:lnTo>
                    <a:pt x="7247" y="3451"/>
                  </a:lnTo>
                  <a:lnTo>
                    <a:pt x="7221" y="3484"/>
                  </a:lnTo>
                  <a:lnTo>
                    <a:pt x="7221" y="3467"/>
                  </a:lnTo>
                  <a:lnTo>
                    <a:pt x="7231" y="3439"/>
                  </a:lnTo>
                  <a:lnTo>
                    <a:pt x="7247" y="3418"/>
                  </a:lnTo>
                  <a:lnTo>
                    <a:pt x="7247" y="3413"/>
                  </a:lnTo>
                  <a:lnTo>
                    <a:pt x="7231" y="3413"/>
                  </a:lnTo>
                  <a:lnTo>
                    <a:pt x="7238" y="3373"/>
                  </a:lnTo>
                  <a:lnTo>
                    <a:pt x="7221" y="3385"/>
                  </a:lnTo>
                  <a:lnTo>
                    <a:pt x="7205" y="3380"/>
                  </a:lnTo>
                  <a:lnTo>
                    <a:pt x="7200" y="3373"/>
                  </a:lnTo>
                  <a:lnTo>
                    <a:pt x="7214" y="3363"/>
                  </a:lnTo>
                  <a:lnTo>
                    <a:pt x="7205" y="3363"/>
                  </a:lnTo>
                  <a:lnTo>
                    <a:pt x="7205" y="3356"/>
                  </a:lnTo>
                  <a:lnTo>
                    <a:pt x="7221" y="3363"/>
                  </a:lnTo>
                  <a:lnTo>
                    <a:pt x="7221" y="3356"/>
                  </a:lnTo>
                  <a:lnTo>
                    <a:pt x="7205" y="3347"/>
                  </a:lnTo>
                  <a:lnTo>
                    <a:pt x="7200" y="3347"/>
                  </a:lnTo>
                  <a:lnTo>
                    <a:pt x="7205" y="3340"/>
                  </a:lnTo>
                  <a:lnTo>
                    <a:pt x="7214" y="3340"/>
                  </a:lnTo>
                  <a:lnTo>
                    <a:pt x="7205" y="3323"/>
                  </a:lnTo>
                  <a:lnTo>
                    <a:pt x="7200" y="3340"/>
                  </a:lnTo>
                  <a:lnTo>
                    <a:pt x="7200" y="3323"/>
                  </a:lnTo>
                  <a:lnTo>
                    <a:pt x="7205" y="3323"/>
                  </a:lnTo>
                  <a:lnTo>
                    <a:pt x="7221" y="3318"/>
                  </a:lnTo>
                  <a:lnTo>
                    <a:pt x="7205" y="3323"/>
                  </a:lnTo>
                  <a:lnTo>
                    <a:pt x="7205" y="3307"/>
                  </a:lnTo>
                  <a:lnTo>
                    <a:pt x="7214" y="3302"/>
                  </a:lnTo>
                  <a:lnTo>
                    <a:pt x="7221" y="3290"/>
                  </a:lnTo>
                  <a:lnTo>
                    <a:pt x="7238" y="3274"/>
                  </a:lnTo>
                  <a:lnTo>
                    <a:pt x="7214" y="3274"/>
                  </a:lnTo>
                  <a:lnTo>
                    <a:pt x="7221" y="3285"/>
                  </a:lnTo>
                  <a:lnTo>
                    <a:pt x="7205" y="3290"/>
                  </a:lnTo>
                  <a:lnTo>
                    <a:pt x="7205" y="3285"/>
                  </a:lnTo>
                  <a:lnTo>
                    <a:pt x="7200" y="3290"/>
                  </a:lnTo>
                  <a:lnTo>
                    <a:pt x="7193" y="3302"/>
                  </a:lnTo>
                  <a:lnTo>
                    <a:pt x="7193" y="3307"/>
                  </a:lnTo>
                  <a:lnTo>
                    <a:pt x="7176" y="3302"/>
                  </a:lnTo>
                  <a:lnTo>
                    <a:pt x="7193" y="3323"/>
                  </a:lnTo>
                  <a:lnTo>
                    <a:pt x="7183" y="3347"/>
                  </a:lnTo>
                  <a:lnTo>
                    <a:pt x="7200" y="3380"/>
                  </a:lnTo>
                  <a:lnTo>
                    <a:pt x="7176" y="3373"/>
                  </a:lnTo>
                  <a:lnTo>
                    <a:pt x="7176" y="3356"/>
                  </a:lnTo>
                  <a:lnTo>
                    <a:pt x="7176" y="3373"/>
                  </a:lnTo>
                  <a:lnTo>
                    <a:pt x="7200" y="3385"/>
                  </a:lnTo>
                  <a:lnTo>
                    <a:pt x="7200" y="3401"/>
                  </a:lnTo>
                  <a:lnTo>
                    <a:pt x="7183" y="3385"/>
                  </a:lnTo>
                  <a:lnTo>
                    <a:pt x="7162" y="3385"/>
                  </a:lnTo>
                  <a:lnTo>
                    <a:pt x="7150" y="3373"/>
                  </a:lnTo>
                  <a:lnTo>
                    <a:pt x="7138" y="3373"/>
                  </a:lnTo>
                  <a:lnTo>
                    <a:pt x="7138" y="3363"/>
                  </a:lnTo>
                  <a:lnTo>
                    <a:pt x="7150" y="3347"/>
                  </a:lnTo>
                  <a:lnTo>
                    <a:pt x="7145" y="3328"/>
                  </a:lnTo>
                  <a:lnTo>
                    <a:pt x="7150" y="3347"/>
                  </a:lnTo>
                  <a:lnTo>
                    <a:pt x="7138" y="3356"/>
                  </a:lnTo>
                  <a:lnTo>
                    <a:pt x="7129" y="3380"/>
                  </a:lnTo>
                  <a:lnTo>
                    <a:pt x="7145" y="3380"/>
                  </a:lnTo>
                  <a:lnTo>
                    <a:pt x="7162" y="3396"/>
                  </a:lnTo>
                  <a:lnTo>
                    <a:pt x="7183" y="3396"/>
                  </a:lnTo>
                  <a:lnTo>
                    <a:pt x="7205" y="3418"/>
                  </a:lnTo>
                  <a:lnTo>
                    <a:pt x="7200" y="3439"/>
                  </a:lnTo>
                  <a:lnTo>
                    <a:pt x="7145" y="3396"/>
                  </a:lnTo>
                  <a:lnTo>
                    <a:pt x="7162" y="3401"/>
                  </a:lnTo>
                  <a:lnTo>
                    <a:pt x="7183" y="3439"/>
                  </a:lnTo>
                  <a:lnTo>
                    <a:pt x="7200" y="3439"/>
                  </a:lnTo>
                  <a:lnTo>
                    <a:pt x="7205" y="3455"/>
                  </a:lnTo>
                  <a:lnTo>
                    <a:pt x="7200" y="3455"/>
                  </a:lnTo>
                  <a:lnTo>
                    <a:pt x="7200" y="3467"/>
                  </a:lnTo>
                  <a:lnTo>
                    <a:pt x="7176" y="3455"/>
                  </a:lnTo>
                  <a:lnTo>
                    <a:pt x="7205" y="3484"/>
                  </a:lnTo>
                  <a:lnTo>
                    <a:pt x="7200" y="3496"/>
                  </a:lnTo>
                  <a:lnTo>
                    <a:pt x="7176" y="3472"/>
                  </a:lnTo>
                  <a:lnTo>
                    <a:pt x="7138" y="3467"/>
                  </a:lnTo>
                  <a:lnTo>
                    <a:pt x="7176" y="3484"/>
                  </a:lnTo>
                  <a:lnTo>
                    <a:pt x="7193" y="3496"/>
                  </a:lnTo>
                  <a:lnTo>
                    <a:pt x="7200" y="3507"/>
                  </a:lnTo>
                  <a:lnTo>
                    <a:pt x="7200" y="3496"/>
                  </a:lnTo>
                  <a:lnTo>
                    <a:pt x="7221" y="3496"/>
                  </a:lnTo>
                  <a:lnTo>
                    <a:pt x="7252" y="3595"/>
                  </a:lnTo>
                  <a:lnTo>
                    <a:pt x="7247" y="3566"/>
                  </a:lnTo>
                  <a:lnTo>
                    <a:pt x="7231" y="3512"/>
                  </a:lnTo>
                  <a:lnTo>
                    <a:pt x="7221" y="3529"/>
                  </a:lnTo>
                  <a:lnTo>
                    <a:pt x="7231" y="3540"/>
                  </a:lnTo>
                  <a:lnTo>
                    <a:pt x="7221" y="3529"/>
                  </a:lnTo>
                  <a:lnTo>
                    <a:pt x="7238" y="3566"/>
                  </a:lnTo>
                  <a:lnTo>
                    <a:pt x="7221" y="3545"/>
                  </a:lnTo>
                  <a:lnTo>
                    <a:pt x="7231" y="3562"/>
                  </a:lnTo>
                  <a:lnTo>
                    <a:pt x="7205" y="3545"/>
                  </a:lnTo>
                  <a:lnTo>
                    <a:pt x="7221" y="3562"/>
                  </a:lnTo>
                  <a:lnTo>
                    <a:pt x="7205" y="3566"/>
                  </a:lnTo>
                  <a:lnTo>
                    <a:pt x="7200" y="3562"/>
                  </a:lnTo>
                  <a:lnTo>
                    <a:pt x="7193" y="3578"/>
                  </a:lnTo>
                  <a:lnTo>
                    <a:pt x="7176" y="3566"/>
                  </a:lnTo>
                  <a:lnTo>
                    <a:pt x="7176" y="3550"/>
                  </a:lnTo>
                  <a:lnTo>
                    <a:pt x="7167" y="3578"/>
                  </a:lnTo>
                  <a:lnTo>
                    <a:pt x="7193" y="3578"/>
                  </a:lnTo>
                  <a:lnTo>
                    <a:pt x="7205" y="3578"/>
                  </a:lnTo>
                  <a:lnTo>
                    <a:pt x="7214" y="3578"/>
                  </a:lnTo>
                  <a:lnTo>
                    <a:pt x="7221" y="3600"/>
                  </a:lnTo>
                  <a:lnTo>
                    <a:pt x="7214" y="3600"/>
                  </a:lnTo>
                  <a:lnTo>
                    <a:pt x="7221" y="3600"/>
                  </a:lnTo>
                  <a:lnTo>
                    <a:pt x="7221" y="3583"/>
                  </a:lnTo>
                  <a:lnTo>
                    <a:pt x="7231" y="3578"/>
                  </a:lnTo>
                  <a:lnTo>
                    <a:pt x="7247" y="3595"/>
                  </a:lnTo>
                  <a:lnTo>
                    <a:pt x="7238" y="3607"/>
                  </a:lnTo>
                  <a:lnTo>
                    <a:pt x="7221" y="3616"/>
                  </a:lnTo>
                  <a:lnTo>
                    <a:pt x="7214" y="3623"/>
                  </a:lnTo>
                  <a:lnTo>
                    <a:pt x="7193" y="3623"/>
                  </a:lnTo>
                  <a:lnTo>
                    <a:pt x="7183" y="3607"/>
                  </a:lnTo>
                  <a:lnTo>
                    <a:pt x="7176" y="3623"/>
                  </a:lnTo>
                  <a:lnTo>
                    <a:pt x="7150" y="3607"/>
                  </a:lnTo>
                  <a:lnTo>
                    <a:pt x="7193" y="3633"/>
                  </a:lnTo>
                  <a:lnTo>
                    <a:pt x="7176" y="3640"/>
                  </a:lnTo>
                  <a:lnTo>
                    <a:pt x="7183" y="3651"/>
                  </a:lnTo>
                  <a:lnTo>
                    <a:pt x="7167" y="3656"/>
                  </a:lnTo>
                  <a:lnTo>
                    <a:pt x="7145" y="3640"/>
                  </a:lnTo>
                  <a:lnTo>
                    <a:pt x="7150" y="3656"/>
                  </a:lnTo>
                  <a:lnTo>
                    <a:pt x="7167" y="3661"/>
                  </a:lnTo>
                  <a:lnTo>
                    <a:pt x="7193" y="3651"/>
                  </a:lnTo>
                  <a:lnTo>
                    <a:pt x="7193" y="3661"/>
                  </a:lnTo>
                  <a:lnTo>
                    <a:pt x="7200" y="3656"/>
                  </a:lnTo>
                  <a:lnTo>
                    <a:pt x="7205" y="3656"/>
                  </a:lnTo>
                  <a:lnTo>
                    <a:pt x="7200" y="3661"/>
                  </a:lnTo>
                  <a:lnTo>
                    <a:pt x="7183" y="3677"/>
                  </a:lnTo>
                  <a:lnTo>
                    <a:pt x="7176" y="3677"/>
                  </a:lnTo>
                  <a:lnTo>
                    <a:pt x="7176" y="3673"/>
                  </a:lnTo>
                  <a:lnTo>
                    <a:pt x="7145" y="3677"/>
                  </a:lnTo>
                  <a:lnTo>
                    <a:pt x="7129" y="3689"/>
                  </a:lnTo>
                  <a:lnTo>
                    <a:pt x="7124" y="3677"/>
                  </a:lnTo>
                  <a:lnTo>
                    <a:pt x="7129" y="3694"/>
                  </a:lnTo>
                  <a:lnTo>
                    <a:pt x="7108" y="3711"/>
                  </a:lnTo>
                  <a:lnTo>
                    <a:pt x="7091" y="3744"/>
                  </a:lnTo>
                  <a:lnTo>
                    <a:pt x="7086" y="3727"/>
                  </a:lnTo>
                  <a:lnTo>
                    <a:pt x="7086" y="3744"/>
                  </a:lnTo>
                  <a:lnTo>
                    <a:pt x="7042" y="3744"/>
                  </a:lnTo>
                  <a:lnTo>
                    <a:pt x="7020" y="3760"/>
                  </a:lnTo>
                  <a:lnTo>
                    <a:pt x="6999" y="3800"/>
                  </a:lnTo>
                  <a:lnTo>
                    <a:pt x="6987" y="3788"/>
                  </a:lnTo>
                  <a:lnTo>
                    <a:pt x="6999" y="3784"/>
                  </a:lnTo>
                  <a:lnTo>
                    <a:pt x="6987" y="3788"/>
                  </a:lnTo>
                  <a:lnTo>
                    <a:pt x="6999" y="3805"/>
                  </a:lnTo>
                  <a:lnTo>
                    <a:pt x="6982" y="3817"/>
                  </a:lnTo>
                  <a:lnTo>
                    <a:pt x="6978" y="3817"/>
                  </a:lnTo>
                  <a:lnTo>
                    <a:pt x="6949" y="3838"/>
                  </a:lnTo>
                  <a:lnTo>
                    <a:pt x="6945" y="3829"/>
                  </a:lnTo>
                  <a:lnTo>
                    <a:pt x="6949" y="3845"/>
                  </a:lnTo>
                  <a:lnTo>
                    <a:pt x="6923" y="3862"/>
                  </a:lnTo>
                  <a:lnTo>
                    <a:pt x="6897" y="3855"/>
                  </a:lnTo>
                  <a:lnTo>
                    <a:pt x="6907" y="3862"/>
                  </a:lnTo>
                  <a:lnTo>
                    <a:pt x="6907" y="3871"/>
                  </a:lnTo>
                  <a:lnTo>
                    <a:pt x="6897" y="3878"/>
                  </a:lnTo>
                  <a:lnTo>
                    <a:pt x="6897" y="3862"/>
                  </a:lnTo>
                  <a:lnTo>
                    <a:pt x="6890" y="3871"/>
                  </a:lnTo>
                  <a:lnTo>
                    <a:pt x="6881" y="3855"/>
                  </a:lnTo>
                  <a:lnTo>
                    <a:pt x="6897" y="3878"/>
                  </a:lnTo>
                  <a:lnTo>
                    <a:pt x="6881" y="3883"/>
                  </a:lnTo>
                  <a:lnTo>
                    <a:pt x="6881" y="3895"/>
                  </a:lnTo>
                  <a:lnTo>
                    <a:pt x="6881" y="3900"/>
                  </a:lnTo>
                  <a:lnTo>
                    <a:pt x="6869" y="3916"/>
                  </a:lnTo>
                  <a:lnTo>
                    <a:pt x="6860" y="3933"/>
                  </a:lnTo>
                  <a:lnTo>
                    <a:pt x="6853" y="3933"/>
                  </a:lnTo>
                  <a:lnTo>
                    <a:pt x="6860" y="3937"/>
                  </a:lnTo>
                  <a:lnTo>
                    <a:pt x="6853" y="3956"/>
                  </a:lnTo>
                  <a:lnTo>
                    <a:pt x="6836" y="3966"/>
                  </a:lnTo>
                  <a:lnTo>
                    <a:pt x="6843" y="3973"/>
                  </a:lnTo>
                  <a:lnTo>
                    <a:pt x="6836" y="3989"/>
                  </a:lnTo>
                  <a:lnTo>
                    <a:pt x="6853" y="4077"/>
                  </a:lnTo>
                  <a:lnTo>
                    <a:pt x="6874" y="4122"/>
                  </a:lnTo>
                  <a:lnTo>
                    <a:pt x="6907" y="4171"/>
                  </a:lnTo>
                  <a:lnTo>
                    <a:pt x="6897" y="4192"/>
                  </a:lnTo>
                  <a:lnTo>
                    <a:pt x="6912" y="4225"/>
                  </a:lnTo>
                  <a:lnTo>
                    <a:pt x="6897" y="4192"/>
                  </a:lnTo>
                  <a:lnTo>
                    <a:pt x="6897" y="4159"/>
                  </a:lnTo>
                  <a:lnTo>
                    <a:pt x="6890" y="4159"/>
                  </a:lnTo>
                  <a:lnTo>
                    <a:pt x="6890" y="4155"/>
                  </a:lnTo>
                  <a:lnTo>
                    <a:pt x="6881" y="4155"/>
                  </a:lnTo>
                  <a:lnTo>
                    <a:pt x="6890" y="4176"/>
                  </a:lnTo>
                  <a:lnTo>
                    <a:pt x="6935" y="4303"/>
                  </a:lnTo>
                  <a:lnTo>
                    <a:pt x="6928" y="4377"/>
                  </a:lnTo>
                  <a:lnTo>
                    <a:pt x="6923" y="4398"/>
                  </a:lnTo>
                  <a:lnTo>
                    <a:pt x="6912" y="4431"/>
                  </a:lnTo>
                  <a:lnTo>
                    <a:pt x="6907" y="4426"/>
                  </a:lnTo>
                  <a:lnTo>
                    <a:pt x="6869" y="4431"/>
                  </a:lnTo>
                  <a:lnTo>
                    <a:pt x="6860" y="4426"/>
                  </a:lnTo>
                  <a:lnTo>
                    <a:pt x="6874" y="4431"/>
                  </a:lnTo>
                  <a:lnTo>
                    <a:pt x="6874" y="4426"/>
                  </a:lnTo>
                  <a:lnTo>
                    <a:pt x="6860" y="4414"/>
                  </a:lnTo>
                  <a:lnTo>
                    <a:pt x="6853" y="4381"/>
                  </a:lnTo>
                  <a:lnTo>
                    <a:pt x="6822" y="4370"/>
                  </a:lnTo>
                  <a:lnTo>
                    <a:pt x="6815" y="4327"/>
                  </a:lnTo>
                  <a:lnTo>
                    <a:pt x="6805" y="4327"/>
                  </a:lnTo>
                  <a:lnTo>
                    <a:pt x="6822" y="4315"/>
                  </a:lnTo>
                  <a:lnTo>
                    <a:pt x="6805" y="4327"/>
                  </a:lnTo>
                  <a:lnTo>
                    <a:pt x="6798" y="4327"/>
                  </a:lnTo>
                  <a:lnTo>
                    <a:pt x="6798" y="4299"/>
                  </a:lnTo>
                  <a:lnTo>
                    <a:pt x="6789" y="4299"/>
                  </a:lnTo>
                  <a:lnTo>
                    <a:pt x="6789" y="4303"/>
                  </a:lnTo>
                  <a:lnTo>
                    <a:pt x="6784" y="4303"/>
                  </a:lnTo>
                  <a:lnTo>
                    <a:pt x="6760" y="4261"/>
                  </a:lnTo>
                  <a:lnTo>
                    <a:pt x="6772" y="4225"/>
                  </a:lnTo>
                  <a:lnTo>
                    <a:pt x="6772" y="4216"/>
                  </a:lnTo>
                  <a:lnTo>
                    <a:pt x="6751" y="4209"/>
                  </a:lnTo>
                  <a:lnTo>
                    <a:pt x="6751" y="4216"/>
                  </a:lnTo>
                  <a:lnTo>
                    <a:pt x="6760" y="4225"/>
                  </a:lnTo>
                  <a:lnTo>
                    <a:pt x="6751" y="4244"/>
                  </a:lnTo>
                  <a:lnTo>
                    <a:pt x="6746" y="4225"/>
                  </a:lnTo>
                  <a:lnTo>
                    <a:pt x="6760" y="4176"/>
                  </a:lnTo>
                  <a:lnTo>
                    <a:pt x="6760" y="4150"/>
                  </a:lnTo>
                  <a:lnTo>
                    <a:pt x="6746" y="4122"/>
                  </a:lnTo>
                  <a:lnTo>
                    <a:pt x="6730" y="4117"/>
                  </a:lnTo>
                  <a:lnTo>
                    <a:pt x="6708" y="4093"/>
                  </a:lnTo>
                  <a:lnTo>
                    <a:pt x="6708" y="4081"/>
                  </a:lnTo>
                  <a:lnTo>
                    <a:pt x="6680" y="4060"/>
                  </a:lnTo>
                  <a:lnTo>
                    <a:pt x="6659" y="4048"/>
                  </a:lnTo>
                  <a:lnTo>
                    <a:pt x="6642" y="4048"/>
                  </a:lnTo>
                  <a:lnTo>
                    <a:pt x="6626" y="4060"/>
                  </a:lnTo>
                  <a:lnTo>
                    <a:pt x="6638" y="4065"/>
                  </a:lnTo>
                  <a:lnTo>
                    <a:pt x="6626" y="4060"/>
                  </a:lnTo>
                  <a:lnTo>
                    <a:pt x="6600" y="4077"/>
                  </a:lnTo>
                  <a:lnTo>
                    <a:pt x="6567" y="4081"/>
                  </a:lnTo>
                  <a:lnTo>
                    <a:pt x="6567" y="4065"/>
                  </a:lnTo>
                  <a:lnTo>
                    <a:pt x="6567" y="4081"/>
                  </a:lnTo>
                  <a:lnTo>
                    <a:pt x="6567" y="4065"/>
                  </a:lnTo>
                  <a:lnTo>
                    <a:pt x="6545" y="4048"/>
                  </a:lnTo>
                  <a:lnTo>
                    <a:pt x="6567" y="4048"/>
                  </a:lnTo>
                  <a:lnTo>
                    <a:pt x="6545" y="4044"/>
                  </a:lnTo>
                  <a:lnTo>
                    <a:pt x="6534" y="4039"/>
                  </a:lnTo>
                  <a:lnTo>
                    <a:pt x="6545" y="4044"/>
                  </a:lnTo>
                  <a:lnTo>
                    <a:pt x="6496" y="4027"/>
                  </a:lnTo>
                  <a:lnTo>
                    <a:pt x="6512" y="4027"/>
                  </a:lnTo>
                  <a:lnTo>
                    <a:pt x="6503" y="4022"/>
                  </a:lnTo>
                  <a:lnTo>
                    <a:pt x="6437" y="4027"/>
                  </a:lnTo>
                  <a:lnTo>
                    <a:pt x="6458" y="4022"/>
                  </a:lnTo>
                  <a:lnTo>
                    <a:pt x="6442" y="4011"/>
                  </a:lnTo>
                  <a:lnTo>
                    <a:pt x="6427" y="4027"/>
                  </a:lnTo>
                  <a:lnTo>
                    <a:pt x="6411" y="4039"/>
                  </a:lnTo>
                  <a:lnTo>
                    <a:pt x="6427" y="4022"/>
                  </a:lnTo>
                  <a:lnTo>
                    <a:pt x="6420" y="4022"/>
                  </a:lnTo>
                  <a:lnTo>
                    <a:pt x="6411" y="4039"/>
                  </a:lnTo>
                  <a:lnTo>
                    <a:pt x="6382" y="4039"/>
                  </a:lnTo>
                  <a:lnTo>
                    <a:pt x="6394" y="4039"/>
                  </a:lnTo>
                  <a:lnTo>
                    <a:pt x="6390" y="4022"/>
                  </a:lnTo>
                  <a:lnTo>
                    <a:pt x="6390" y="4006"/>
                  </a:lnTo>
                  <a:lnTo>
                    <a:pt x="6382" y="4006"/>
                  </a:lnTo>
                  <a:lnTo>
                    <a:pt x="6373" y="4027"/>
                  </a:lnTo>
                  <a:lnTo>
                    <a:pt x="6357" y="4027"/>
                  </a:lnTo>
                  <a:lnTo>
                    <a:pt x="6352" y="4027"/>
                  </a:lnTo>
                  <a:lnTo>
                    <a:pt x="6314" y="4022"/>
                  </a:lnTo>
                  <a:lnTo>
                    <a:pt x="6276" y="4044"/>
                  </a:lnTo>
                  <a:lnTo>
                    <a:pt x="6227" y="4027"/>
                  </a:lnTo>
                  <a:lnTo>
                    <a:pt x="6210" y="4044"/>
                  </a:lnTo>
                  <a:lnTo>
                    <a:pt x="6210" y="4048"/>
                  </a:lnTo>
                  <a:lnTo>
                    <a:pt x="6227" y="4048"/>
                  </a:lnTo>
                  <a:lnTo>
                    <a:pt x="6264" y="4044"/>
                  </a:lnTo>
                  <a:lnTo>
                    <a:pt x="6248" y="4048"/>
                  </a:lnTo>
                  <a:lnTo>
                    <a:pt x="6264" y="4065"/>
                  </a:lnTo>
                  <a:lnTo>
                    <a:pt x="6281" y="4048"/>
                  </a:lnTo>
                  <a:lnTo>
                    <a:pt x="6286" y="4065"/>
                  </a:lnTo>
                  <a:lnTo>
                    <a:pt x="6281" y="4077"/>
                  </a:lnTo>
                  <a:lnTo>
                    <a:pt x="6281" y="4065"/>
                  </a:lnTo>
                  <a:lnTo>
                    <a:pt x="6260" y="4081"/>
                  </a:lnTo>
                  <a:lnTo>
                    <a:pt x="6314" y="4122"/>
                  </a:lnTo>
                  <a:lnTo>
                    <a:pt x="6302" y="4133"/>
                  </a:lnTo>
                  <a:lnTo>
                    <a:pt x="6297" y="4133"/>
                  </a:lnTo>
                  <a:lnTo>
                    <a:pt x="6281" y="4138"/>
                  </a:lnTo>
                  <a:lnTo>
                    <a:pt x="6286" y="4122"/>
                  </a:lnTo>
                  <a:lnTo>
                    <a:pt x="6281" y="4133"/>
                  </a:lnTo>
                  <a:lnTo>
                    <a:pt x="6281" y="4117"/>
                  </a:lnTo>
                  <a:lnTo>
                    <a:pt x="6260" y="4105"/>
                  </a:lnTo>
                  <a:lnTo>
                    <a:pt x="6260" y="4100"/>
                  </a:lnTo>
                  <a:lnTo>
                    <a:pt x="6227" y="4093"/>
                  </a:lnTo>
                  <a:lnTo>
                    <a:pt x="6227" y="4100"/>
                  </a:lnTo>
                  <a:lnTo>
                    <a:pt x="6243" y="4100"/>
                  </a:lnTo>
                  <a:lnTo>
                    <a:pt x="6231" y="4122"/>
                  </a:lnTo>
                  <a:lnTo>
                    <a:pt x="6227" y="4133"/>
                  </a:lnTo>
                  <a:lnTo>
                    <a:pt x="6222" y="4117"/>
                  </a:lnTo>
                  <a:lnTo>
                    <a:pt x="6210" y="4105"/>
                  </a:lnTo>
                  <a:lnTo>
                    <a:pt x="6189" y="4122"/>
                  </a:lnTo>
                  <a:lnTo>
                    <a:pt x="6151" y="4117"/>
                  </a:lnTo>
                  <a:lnTo>
                    <a:pt x="6151" y="4105"/>
                  </a:lnTo>
                  <a:lnTo>
                    <a:pt x="6156" y="4105"/>
                  </a:lnTo>
                  <a:lnTo>
                    <a:pt x="6156" y="4117"/>
                  </a:lnTo>
                  <a:lnTo>
                    <a:pt x="6168" y="4105"/>
                  </a:lnTo>
                  <a:lnTo>
                    <a:pt x="6134" y="4093"/>
                  </a:lnTo>
                  <a:lnTo>
                    <a:pt x="6125" y="4077"/>
                  </a:lnTo>
                  <a:lnTo>
                    <a:pt x="6113" y="4065"/>
                  </a:lnTo>
                  <a:lnTo>
                    <a:pt x="6087" y="4077"/>
                  </a:lnTo>
                  <a:lnTo>
                    <a:pt x="6097" y="4081"/>
                  </a:lnTo>
                  <a:lnTo>
                    <a:pt x="6080" y="4093"/>
                  </a:lnTo>
                  <a:lnTo>
                    <a:pt x="6012" y="4077"/>
                  </a:lnTo>
                  <a:lnTo>
                    <a:pt x="5974" y="4077"/>
                  </a:lnTo>
                  <a:lnTo>
                    <a:pt x="5962" y="4065"/>
                  </a:lnTo>
                  <a:lnTo>
                    <a:pt x="5979" y="4060"/>
                  </a:lnTo>
                  <a:lnTo>
                    <a:pt x="5974" y="4060"/>
                  </a:lnTo>
                  <a:lnTo>
                    <a:pt x="5962" y="4065"/>
                  </a:lnTo>
                  <a:lnTo>
                    <a:pt x="5974" y="4081"/>
                  </a:lnTo>
                  <a:lnTo>
                    <a:pt x="5950" y="4081"/>
                  </a:lnTo>
                  <a:lnTo>
                    <a:pt x="5903" y="4105"/>
                  </a:lnTo>
                  <a:lnTo>
                    <a:pt x="5924" y="4093"/>
                  </a:lnTo>
                  <a:lnTo>
                    <a:pt x="5903" y="4093"/>
                  </a:lnTo>
                  <a:lnTo>
                    <a:pt x="5908" y="4077"/>
                  </a:lnTo>
                  <a:lnTo>
                    <a:pt x="5886" y="4077"/>
                  </a:lnTo>
                  <a:lnTo>
                    <a:pt x="5898" y="4105"/>
                  </a:lnTo>
                  <a:lnTo>
                    <a:pt x="5882" y="4133"/>
                  </a:lnTo>
                  <a:lnTo>
                    <a:pt x="5799" y="4176"/>
                  </a:lnTo>
                  <a:lnTo>
                    <a:pt x="5816" y="4159"/>
                  </a:lnTo>
                  <a:lnTo>
                    <a:pt x="5799" y="4171"/>
                  </a:lnTo>
                  <a:lnTo>
                    <a:pt x="5811" y="4159"/>
                  </a:lnTo>
                  <a:lnTo>
                    <a:pt x="5790" y="4155"/>
                  </a:lnTo>
                  <a:lnTo>
                    <a:pt x="5794" y="4159"/>
                  </a:lnTo>
                  <a:lnTo>
                    <a:pt x="5790" y="4159"/>
                  </a:lnTo>
                  <a:lnTo>
                    <a:pt x="5773" y="4155"/>
                  </a:lnTo>
                  <a:lnTo>
                    <a:pt x="5778" y="4171"/>
                  </a:lnTo>
                  <a:lnTo>
                    <a:pt x="5794" y="4176"/>
                  </a:lnTo>
                  <a:lnTo>
                    <a:pt x="5773" y="4188"/>
                  </a:lnTo>
                  <a:lnTo>
                    <a:pt x="5761" y="4176"/>
                  </a:lnTo>
                  <a:lnTo>
                    <a:pt x="5761" y="4192"/>
                  </a:lnTo>
                  <a:lnTo>
                    <a:pt x="5757" y="4204"/>
                  </a:lnTo>
                  <a:lnTo>
                    <a:pt x="5740" y="4204"/>
                  </a:lnTo>
                  <a:lnTo>
                    <a:pt x="5735" y="4209"/>
                  </a:lnTo>
                  <a:lnTo>
                    <a:pt x="5747" y="4209"/>
                  </a:lnTo>
                  <a:lnTo>
                    <a:pt x="5740" y="4225"/>
                  </a:lnTo>
                  <a:lnTo>
                    <a:pt x="5709" y="4225"/>
                  </a:lnTo>
                  <a:lnTo>
                    <a:pt x="5735" y="4244"/>
                  </a:lnTo>
                  <a:lnTo>
                    <a:pt x="5719" y="4266"/>
                  </a:lnTo>
                  <a:lnTo>
                    <a:pt x="5709" y="4266"/>
                  </a:lnTo>
                  <a:lnTo>
                    <a:pt x="5693" y="4261"/>
                  </a:lnTo>
                  <a:lnTo>
                    <a:pt x="5702" y="4270"/>
                  </a:lnTo>
                  <a:lnTo>
                    <a:pt x="5719" y="4266"/>
                  </a:lnTo>
                  <a:lnTo>
                    <a:pt x="5709" y="4303"/>
                  </a:lnTo>
                  <a:lnTo>
                    <a:pt x="5735" y="4370"/>
                  </a:lnTo>
                  <a:lnTo>
                    <a:pt x="5740" y="4360"/>
                  </a:lnTo>
                  <a:lnTo>
                    <a:pt x="5740" y="4370"/>
                  </a:lnTo>
                  <a:lnTo>
                    <a:pt x="5719" y="4377"/>
                  </a:lnTo>
                  <a:lnTo>
                    <a:pt x="5702" y="4370"/>
                  </a:lnTo>
                  <a:lnTo>
                    <a:pt x="5664" y="4360"/>
                  </a:lnTo>
                  <a:lnTo>
                    <a:pt x="5648" y="4353"/>
                  </a:lnTo>
                  <a:lnTo>
                    <a:pt x="5601" y="4337"/>
                  </a:lnTo>
                  <a:lnTo>
                    <a:pt x="5596" y="4303"/>
                  </a:lnTo>
                  <a:lnTo>
                    <a:pt x="5579" y="4287"/>
                  </a:lnTo>
                  <a:lnTo>
                    <a:pt x="5572" y="4249"/>
                  </a:lnTo>
                  <a:lnTo>
                    <a:pt x="5546" y="4233"/>
                  </a:lnTo>
                  <a:lnTo>
                    <a:pt x="5530" y="4204"/>
                  </a:lnTo>
                  <a:lnTo>
                    <a:pt x="5520" y="4192"/>
                  </a:lnTo>
                  <a:lnTo>
                    <a:pt x="5492" y="4122"/>
                  </a:lnTo>
                  <a:lnTo>
                    <a:pt x="5449" y="4081"/>
                  </a:lnTo>
                  <a:lnTo>
                    <a:pt x="5438" y="4077"/>
                  </a:lnTo>
                  <a:lnTo>
                    <a:pt x="5395" y="4077"/>
                  </a:lnTo>
                  <a:lnTo>
                    <a:pt x="5379" y="4065"/>
                  </a:lnTo>
                  <a:lnTo>
                    <a:pt x="5357" y="4077"/>
                  </a:lnTo>
                  <a:lnTo>
                    <a:pt x="5341" y="4117"/>
                  </a:lnTo>
                  <a:lnTo>
                    <a:pt x="5315" y="4138"/>
                  </a:lnTo>
                  <a:lnTo>
                    <a:pt x="5303" y="4133"/>
                  </a:lnTo>
                  <a:lnTo>
                    <a:pt x="5256" y="4105"/>
                  </a:lnTo>
                  <a:lnTo>
                    <a:pt x="5223" y="4081"/>
                  </a:lnTo>
                  <a:lnTo>
                    <a:pt x="5206" y="4060"/>
                  </a:lnTo>
                  <a:lnTo>
                    <a:pt x="5206" y="4044"/>
                  </a:lnTo>
                  <a:lnTo>
                    <a:pt x="5194" y="4011"/>
                  </a:lnTo>
                  <a:lnTo>
                    <a:pt x="5097" y="3937"/>
                  </a:lnTo>
                  <a:lnTo>
                    <a:pt x="5093" y="3916"/>
                  </a:lnTo>
                  <a:lnTo>
                    <a:pt x="4963" y="3916"/>
                  </a:lnTo>
                  <a:lnTo>
                    <a:pt x="4963" y="3949"/>
                  </a:lnTo>
                  <a:lnTo>
                    <a:pt x="4764" y="3949"/>
                  </a:lnTo>
                  <a:lnTo>
                    <a:pt x="4500" y="3855"/>
                  </a:lnTo>
                  <a:lnTo>
                    <a:pt x="4505" y="3838"/>
                  </a:lnTo>
                  <a:lnTo>
                    <a:pt x="4337" y="3855"/>
                  </a:lnTo>
                  <a:lnTo>
                    <a:pt x="4325" y="3838"/>
                  </a:lnTo>
                  <a:lnTo>
                    <a:pt x="4337" y="3845"/>
                  </a:lnTo>
                  <a:lnTo>
                    <a:pt x="4325" y="3845"/>
                  </a:lnTo>
                  <a:lnTo>
                    <a:pt x="4325" y="3822"/>
                  </a:lnTo>
                  <a:lnTo>
                    <a:pt x="4316" y="3788"/>
                  </a:lnTo>
                  <a:lnTo>
                    <a:pt x="4266" y="3760"/>
                  </a:lnTo>
                  <a:lnTo>
                    <a:pt x="4249" y="3760"/>
                  </a:lnTo>
                  <a:lnTo>
                    <a:pt x="4235" y="3734"/>
                  </a:lnTo>
                  <a:lnTo>
                    <a:pt x="4197" y="3727"/>
                  </a:lnTo>
                  <a:lnTo>
                    <a:pt x="4164" y="3706"/>
                  </a:lnTo>
                  <a:lnTo>
                    <a:pt x="4105" y="3706"/>
                  </a:lnTo>
                  <a:lnTo>
                    <a:pt x="4089" y="3689"/>
                  </a:lnTo>
                  <a:lnTo>
                    <a:pt x="4098" y="3651"/>
                  </a:lnTo>
                  <a:lnTo>
                    <a:pt x="4072" y="3640"/>
                  </a:lnTo>
                  <a:lnTo>
                    <a:pt x="4072" y="3616"/>
                  </a:lnTo>
                  <a:lnTo>
                    <a:pt x="4001" y="3545"/>
                  </a:lnTo>
                  <a:lnTo>
                    <a:pt x="3997" y="3524"/>
                  </a:lnTo>
                  <a:lnTo>
                    <a:pt x="4013" y="3524"/>
                  </a:lnTo>
                  <a:lnTo>
                    <a:pt x="4013" y="3496"/>
                  </a:lnTo>
                  <a:lnTo>
                    <a:pt x="4001" y="3488"/>
                  </a:lnTo>
                  <a:lnTo>
                    <a:pt x="3980" y="3488"/>
                  </a:lnTo>
                  <a:lnTo>
                    <a:pt x="3964" y="3472"/>
                  </a:lnTo>
                  <a:lnTo>
                    <a:pt x="3964" y="3455"/>
                  </a:lnTo>
                  <a:lnTo>
                    <a:pt x="3959" y="3451"/>
                  </a:lnTo>
                  <a:lnTo>
                    <a:pt x="3959" y="3429"/>
                  </a:lnTo>
                  <a:lnTo>
                    <a:pt x="3964" y="3429"/>
                  </a:lnTo>
                  <a:lnTo>
                    <a:pt x="3975" y="3439"/>
                  </a:lnTo>
                  <a:lnTo>
                    <a:pt x="3997" y="3451"/>
                  </a:lnTo>
                  <a:lnTo>
                    <a:pt x="3964" y="3413"/>
                  </a:lnTo>
                  <a:lnTo>
                    <a:pt x="3980" y="3401"/>
                  </a:lnTo>
                  <a:lnTo>
                    <a:pt x="4018" y="3413"/>
                  </a:lnTo>
                  <a:lnTo>
                    <a:pt x="4030" y="3401"/>
                  </a:lnTo>
                  <a:lnTo>
                    <a:pt x="4034" y="3413"/>
                  </a:lnTo>
                  <a:lnTo>
                    <a:pt x="4030" y="3401"/>
                  </a:lnTo>
                  <a:lnTo>
                    <a:pt x="4013" y="3401"/>
                  </a:lnTo>
                  <a:lnTo>
                    <a:pt x="3997" y="3396"/>
                  </a:lnTo>
                  <a:lnTo>
                    <a:pt x="3992" y="3401"/>
                  </a:lnTo>
                  <a:lnTo>
                    <a:pt x="3975" y="3396"/>
                  </a:lnTo>
                  <a:lnTo>
                    <a:pt x="3964" y="3396"/>
                  </a:lnTo>
                  <a:lnTo>
                    <a:pt x="3964" y="3418"/>
                  </a:lnTo>
                  <a:lnTo>
                    <a:pt x="3959" y="3429"/>
                  </a:lnTo>
                  <a:lnTo>
                    <a:pt x="3938" y="3401"/>
                  </a:lnTo>
                  <a:lnTo>
                    <a:pt x="3926" y="3413"/>
                  </a:lnTo>
                  <a:lnTo>
                    <a:pt x="3926" y="3385"/>
                  </a:lnTo>
                  <a:lnTo>
                    <a:pt x="3942" y="3401"/>
                  </a:lnTo>
                  <a:lnTo>
                    <a:pt x="3921" y="3373"/>
                  </a:lnTo>
                  <a:lnTo>
                    <a:pt x="3871" y="3328"/>
                  </a:lnTo>
                  <a:lnTo>
                    <a:pt x="3871" y="3262"/>
                  </a:lnTo>
                  <a:lnTo>
                    <a:pt x="3850" y="3229"/>
                  </a:lnTo>
                  <a:lnTo>
                    <a:pt x="3834" y="3219"/>
                  </a:lnTo>
                  <a:lnTo>
                    <a:pt x="3829" y="3207"/>
                  </a:lnTo>
                  <a:lnTo>
                    <a:pt x="3841" y="3174"/>
                  </a:lnTo>
                  <a:lnTo>
                    <a:pt x="3850" y="3118"/>
                  </a:lnTo>
                  <a:lnTo>
                    <a:pt x="3841" y="3085"/>
                  </a:lnTo>
                  <a:lnTo>
                    <a:pt x="3841" y="3068"/>
                  </a:lnTo>
                  <a:lnTo>
                    <a:pt x="3829" y="3047"/>
                  </a:lnTo>
                  <a:lnTo>
                    <a:pt x="3829" y="3014"/>
                  </a:lnTo>
                  <a:lnTo>
                    <a:pt x="3817" y="2990"/>
                  </a:lnTo>
                  <a:lnTo>
                    <a:pt x="3829" y="2952"/>
                  </a:lnTo>
                  <a:lnTo>
                    <a:pt x="3841" y="2952"/>
                  </a:lnTo>
                  <a:lnTo>
                    <a:pt x="3841" y="2940"/>
                  </a:lnTo>
                  <a:lnTo>
                    <a:pt x="3834" y="2940"/>
                  </a:lnTo>
                  <a:lnTo>
                    <a:pt x="3850" y="2919"/>
                  </a:lnTo>
                  <a:lnTo>
                    <a:pt x="3850" y="2813"/>
                  </a:lnTo>
                  <a:lnTo>
                    <a:pt x="3855" y="2792"/>
                  </a:lnTo>
                  <a:lnTo>
                    <a:pt x="3855" y="2759"/>
                  </a:lnTo>
                  <a:lnTo>
                    <a:pt x="3867" y="2759"/>
                  </a:lnTo>
                  <a:lnTo>
                    <a:pt x="3855" y="2697"/>
                  </a:lnTo>
                  <a:lnTo>
                    <a:pt x="3888" y="2692"/>
                  </a:lnTo>
                  <a:lnTo>
                    <a:pt x="3905" y="2702"/>
                  </a:lnTo>
                  <a:lnTo>
                    <a:pt x="3909" y="2697"/>
                  </a:lnTo>
                  <a:lnTo>
                    <a:pt x="3855" y="2692"/>
                  </a:lnTo>
                  <a:lnTo>
                    <a:pt x="3850" y="2659"/>
                  </a:lnTo>
                  <a:lnTo>
                    <a:pt x="3855" y="2681"/>
                  </a:lnTo>
                  <a:lnTo>
                    <a:pt x="3867" y="2664"/>
                  </a:lnTo>
                  <a:lnTo>
                    <a:pt x="3855" y="2659"/>
                  </a:lnTo>
                  <a:lnTo>
                    <a:pt x="3871" y="2648"/>
                  </a:lnTo>
                  <a:lnTo>
                    <a:pt x="3850" y="2648"/>
                  </a:lnTo>
                  <a:lnTo>
                    <a:pt x="3850" y="2643"/>
                  </a:lnTo>
                  <a:lnTo>
                    <a:pt x="3871" y="2626"/>
                  </a:lnTo>
                  <a:lnTo>
                    <a:pt x="3850" y="2619"/>
                  </a:lnTo>
                  <a:lnTo>
                    <a:pt x="3841" y="2636"/>
                  </a:lnTo>
                  <a:lnTo>
                    <a:pt x="3829" y="2565"/>
                  </a:lnTo>
                  <a:lnTo>
                    <a:pt x="3812" y="2532"/>
                  </a:lnTo>
                  <a:lnTo>
                    <a:pt x="3803" y="2499"/>
                  </a:lnTo>
                  <a:lnTo>
                    <a:pt x="3855" y="2515"/>
                  </a:lnTo>
                  <a:lnTo>
                    <a:pt x="3905" y="2525"/>
                  </a:lnTo>
                  <a:lnTo>
                    <a:pt x="3921" y="2515"/>
                  </a:lnTo>
                  <a:lnTo>
                    <a:pt x="3938" y="2525"/>
                  </a:lnTo>
                  <a:lnTo>
                    <a:pt x="3942" y="2515"/>
                  </a:lnTo>
                  <a:lnTo>
                    <a:pt x="3942" y="2525"/>
                  </a:lnTo>
                  <a:lnTo>
                    <a:pt x="3947" y="2537"/>
                  </a:lnTo>
                  <a:lnTo>
                    <a:pt x="3942" y="2553"/>
                  </a:lnTo>
                  <a:lnTo>
                    <a:pt x="3938" y="2548"/>
                  </a:lnTo>
                  <a:lnTo>
                    <a:pt x="3909" y="2591"/>
                  </a:lnTo>
                  <a:lnTo>
                    <a:pt x="3938" y="2586"/>
                  </a:lnTo>
                  <a:lnTo>
                    <a:pt x="3921" y="2586"/>
                  </a:lnTo>
                  <a:lnTo>
                    <a:pt x="3959" y="2537"/>
                  </a:lnTo>
                  <a:lnTo>
                    <a:pt x="3964" y="2553"/>
                  </a:lnTo>
                  <a:lnTo>
                    <a:pt x="3947" y="2565"/>
                  </a:lnTo>
                  <a:lnTo>
                    <a:pt x="3947" y="2570"/>
                  </a:lnTo>
                  <a:lnTo>
                    <a:pt x="3947" y="2565"/>
                  </a:lnTo>
                  <a:lnTo>
                    <a:pt x="3947" y="2581"/>
                  </a:lnTo>
                  <a:lnTo>
                    <a:pt x="3959" y="2570"/>
                  </a:lnTo>
                  <a:lnTo>
                    <a:pt x="3959" y="2603"/>
                  </a:lnTo>
                  <a:lnTo>
                    <a:pt x="3947" y="2591"/>
                  </a:lnTo>
                  <a:lnTo>
                    <a:pt x="3947" y="2586"/>
                  </a:lnTo>
                  <a:lnTo>
                    <a:pt x="3942" y="2610"/>
                  </a:lnTo>
                  <a:lnTo>
                    <a:pt x="3942" y="2586"/>
                  </a:lnTo>
                  <a:lnTo>
                    <a:pt x="3921" y="2610"/>
                  </a:lnTo>
                  <a:lnTo>
                    <a:pt x="3938" y="2619"/>
                  </a:lnTo>
                  <a:lnTo>
                    <a:pt x="3938" y="2610"/>
                  </a:lnTo>
                  <a:lnTo>
                    <a:pt x="3942" y="2619"/>
                  </a:lnTo>
                  <a:lnTo>
                    <a:pt x="3975" y="2586"/>
                  </a:lnTo>
                  <a:lnTo>
                    <a:pt x="3964" y="2565"/>
                  </a:lnTo>
                  <a:lnTo>
                    <a:pt x="3975" y="2537"/>
                  </a:lnTo>
                  <a:lnTo>
                    <a:pt x="3975" y="2532"/>
                  </a:lnTo>
                  <a:lnTo>
                    <a:pt x="3964" y="2515"/>
                  </a:lnTo>
                  <a:lnTo>
                    <a:pt x="3964" y="2525"/>
                  </a:lnTo>
                  <a:lnTo>
                    <a:pt x="3959" y="2515"/>
                  </a:lnTo>
                  <a:lnTo>
                    <a:pt x="3964" y="2508"/>
                  </a:lnTo>
                  <a:lnTo>
                    <a:pt x="3942" y="2492"/>
                  </a:lnTo>
                  <a:lnTo>
                    <a:pt x="3959" y="2492"/>
                  </a:lnTo>
                  <a:lnTo>
                    <a:pt x="3964" y="2475"/>
                  </a:lnTo>
                  <a:lnTo>
                    <a:pt x="3959" y="2470"/>
                  </a:lnTo>
                  <a:lnTo>
                    <a:pt x="3947" y="2459"/>
                  </a:lnTo>
                  <a:lnTo>
                    <a:pt x="3942" y="2454"/>
                  </a:lnTo>
                  <a:lnTo>
                    <a:pt x="3942" y="2442"/>
                  </a:lnTo>
                  <a:lnTo>
                    <a:pt x="3942" y="2442"/>
                  </a:lnTo>
                  <a:lnTo>
                    <a:pt x="3942" y="2442"/>
                  </a:lnTo>
                  <a:close/>
                  <a:moveTo>
                    <a:pt x="3938" y="2470"/>
                  </a:moveTo>
                  <a:lnTo>
                    <a:pt x="3942" y="2475"/>
                  </a:lnTo>
                  <a:lnTo>
                    <a:pt x="3926" y="2475"/>
                  </a:lnTo>
                  <a:lnTo>
                    <a:pt x="3938" y="2470"/>
                  </a:lnTo>
                  <a:lnTo>
                    <a:pt x="3938" y="2470"/>
                  </a:lnTo>
                  <a:lnTo>
                    <a:pt x="3938" y="2470"/>
                  </a:lnTo>
                  <a:close/>
                  <a:moveTo>
                    <a:pt x="3921" y="2475"/>
                  </a:moveTo>
                  <a:lnTo>
                    <a:pt x="3926" y="2492"/>
                  </a:lnTo>
                  <a:lnTo>
                    <a:pt x="3909" y="2492"/>
                  </a:lnTo>
                  <a:lnTo>
                    <a:pt x="3909" y="2475"/>
                  </a:lnTo>
                  <a:lnTo>
                    <a:pt x="3921" y="2475"/>
                  </a:lnTo>
                  <a:lnTo>
                    <a:pt x="3921" y="2475"/>
                  </a:lnTo>
                  <a:lnTo>
                    <a:pt x="3921" y="2475"/>
                  </a:lnTo>
                  <a:close/>
                  <a:moveTo>
                    <a:pt x="3938" y="2482"/>
                  </a:moveTo>
                  <a:lnTo>
                    <a:pt x="3938" y="2492"/>
                  </a:lnTo>
                  <a:lnTo>
                    <a:pt x="3926" y="2492"/>
                  </a:lnTo>
                  <a:lnTo>
                    <a:pt x="3938" y="2482"/>
                  </a:lnTo>
                  <a:lnTo>
                    <a:pt x="3938" y="2482"/>
                  </a:lnTo>
                  <a:lnTo>
                    <a:pt x="3938" y="2482"/>
                  </a:lnTo>
                  <a:close/>
                  <a:moveTo>
                    <a:pt x="3959" y="2499"/>
                  </a:moveTo>
                  <a:lnTo>
                    <a:pt x="3959" y="2508"/>
                  </a:lnTo>
                  <a:lnTo>
                    <a:pt x="3947" y="2515"/>
                  </a:lnTo>
                  <a:lnTo>
                    <a:pt x="3975" y="2532"/>
                  </a:lnTo>
                  <a:lnTo>
                    <a:pt x="3964" y="2537"/>
                  </a:lnTo>
                  <a:lnTo>
                    <a:pt x="3942" y="2515"/>
                  </a:lnTo>
                  <a:lnTo>
                    <a:pt x="3959" y="2499"/>
                  </a:lnTo>
                  <a:lnTo>
                    <a:pt x="3959" y="2499"/>
                  </a:lnTo>
                  <a:lnTo>
                    <a:pt x="3959" y="2499"/>
                  </a:lnTo>
                  <a:close/>
                  <a:moveTo>
                    <a:pt x="3959" y="2565"/>
                  </a:moveTo>
                  <a:lnTo>
                    <a:pt x="3959" y="2570"/>
                  </a:lnTo>
                  <a:lnTo>
                    <a:pt x="3959" y="2565"/>
                  </a:lnTo>
                  <a:lnTo>
                    <a:pt x="3959" y="2565"/>
                  </a:lnTo>
                  <a:lnTo>
                    <a:pt x="3959" y="2565"/>
                  </a:lnTo>
                  <a:close/>
                  <a:moveTo>
                    <a:pt x="3964" y="2586"/>
                  </a:moveTo>
                  <a:lnTo>
                    <a:pt x="3959" y="2591"/>
                  </a:lnTo>
                  <a:lnTo>
                    <a:pt x="3964" y="2581"/>
                  </a:lnTo>
                  <a:lnTo>
                    <a:pt x="3964" y="2586"/>
                  </a:lnTo>
                  <a:lnTo>
                    <a:pt x="3964" y="2586"/>
                  </a:lnTo>
                  <a:lnTo>
                    <a:pt x="3964" y="2586"/>
                  </a:lnTo>
                  <a:close/>
                  <a:moveTo>
                    <a:pt x="3938" y="2603"/>
                  </a:moveTo>
                  <a:lnTo>
                    <a:pt x="3938" y="2610"/>
                  </a:lnTo>
                  <a:lnTo>
                    <a:pt x="3938" y="2603"/>
                  </a:lnTo>
                  <a:lnTo>
                    <a:pt x="3938" y="2603"/>
                  </a:lnTo>
                  <a:lnTo>
                    <a:pt x="3938" y="2603"/>
                  </a:lnTo>
                  <a:close/>
                  <a:moveTo>
                    <a:pt x="7771" y="2858"/>
                  </a:moveTo>
                  <a:lnTo>
                    <a:pt x="7771" y="2863"/>
                  </a:lnTo>
                  <a:lnTo>
                    <a:pt x="7760" y="2870"/>
                  </a:lnTo>
                  <a:lnTo>
                    <a:pt x="7755" y="2870"/>
                  </a:lnTo>
                  <a:lnTo>
                    <a:pt x="7755" y="2858"/>
                  </a:lnTo>
                  <a:lnTo>
                    <a:pt x="7771" y="2858"/>
                  </a:lnTo>
                  <a:lnTo>
                    <a:pt x="7771" y="2858"/>
                  </a:lnTo>
                  <a:lnTo>
                    <a:pt x="7771" y="2858"/>
                  </a:lnTo>
                  <a:close/>
                  <a:moveTo>
                    <a:pt x="7738" y="2870"/>
                  </a:moveTo>
                  <a:lnTo>
                    <a:pt x="7738" y="2879"/>
                  </a:lnTo>
                  <a:lnTo>
                    <a:pt x="7734" y="2879"/>
                  </a:lnTo>
                  <a:lnTo>
                    <a:pt x="7738" y="2870"/>
                  </a:lnTo>
                  <a:lnTo>
                    <a:pt x="7738" y="2870"/>
                  </a:lnTo>
                  <a:lnTo>
                    <a:pt x="7738" y="2870"/>
                  </a:lnTo>
                  <a:close/>
                  <a:moveTo>
                    <a:pt x="7734" y="2886"/>
                  </a:moveTo>
                  <a:lnTo>
                    <a:pt x="7722" y="2886"/>
                  </a:lnTo>
                  <a:lnTo>
                    <a:pt x="7722" y="2879"/>
                  </a:lnTo>
                  <a:lnTo>
                    <a:pt x="7734" y="2886"/>
                  </a:lnTo>
                  <a:lnTo>
                    <a:pt x="7734" y="2886"/>
                  </a:lnTo>
                  <a:lnTo>
                    <a:pt x="7734" y="2886"/>
                  </a:lnTo>
                  <a:close/>
                  <a:moveTo>
                    <a:pt x="7561" y="3101"/>
                  </a:moveTo>
                  <a:lnTo>
                    <a:pt x="7554" y="3108"/>
                  </a:lnTo>
                  <a:lnTo>
                    <a:pt x="7545" y="3118"/>
                  </a:lnTo>
                  <a:lnTo>
                    <a:pt x="7561" y="3101"/>
                  </a:lnTo>
                  <a:lnTo>
                    <a:pt x="7561" y="3101"/>
                  </a:lnTo>
                  <a:lnTo>
                    <a:pt x="7561" y="3101"/>
                  </a:lnTo>
                  <a:close/>
                  <a:moveTo>
                    <a:pt x="7608" y="3118"/>
                  </a:moveTo>
                  <a:lnTo>
                    <a:pt x="7608" y="3125"/>
                  </a:lnTo>
                  <a:lnTo>
                    <a:pt x="7582" y="3125"/>
                  </a:lnTo>
                  <a:lnTo>
                    <a:pt x="7608" y="3118"/>
                  </a:lnTo>
                  <a:lnTo>
                    <a:pt x="7608" y="3118"/>
                  </a:lnTo>
                  <a:lnTo>
                    <a:pt x="7608" y="3118"/>
                  </a:lnTo>
                  <a:close/>
                  <a:moveTo>
                    <a:pt x="7637" y="3125"/>
                  </a:moveTo>
                  <a:lnTo>
                    <a:pt x="7646" y="3134"/>
                  </a:lnTo>
                  <a:lnTo>
                    <a:pt x="7630" y="3134"/>
                  </a:lnTo>
                  <a:lnTo>
                    <a:pt x="7637" y="3125"/>
                  </a:lnTo>
                  <a:lnTo>
                    <a:pt x="7637" y="3125"/>
                  </a:lnTo>
                  <a:lnTo>
                    <a:pt x="7637" y="3125"/>
                  </a:lnTo>
                  <a:close/>
                  <a:moveTo>
                    <a:pt x="7448" y="3174"/>
                  </a:moveTo>
                  <a:lnTo>
                    <a:pt x="7382" y="3191"/>
                  </a:lnTo>
                  <a:lnTo>
                    <a:pt x="7393" y="3191"/>
                  </a:lnTo>
                  <a:lnTo>
                    <a:pt x="7365" y="3191"/>
                  </a:lnTo>
                  <a:lnTo>
                    <a:pt x="7377" y="3191"/>
                  </a:lnTo>
                  <a:lnTo>
                    <a:pt x="7360" y="3191"/>
                  </a:lnTo>
                  <a:lnTo>
                    <a:pt x="7365" y="3174"/>
                  </a:lnTo>
                  <a:lnTo>
                    <a:pt x="7393" y="3163"/>
                  </a:lnTo>
                  <a:lnTo>
                    <a:pt x="7464" y="3158"/>
                  </a:lnTo>
                  <a:lnTo>
                    <a:pt x="7486" y="3141"/>
                  </a:lnTo>
                  <a:lnTo>
                    <a:pt x="7464" y="3163"/>
                  </a:lnTo>
                  <a:lnTo>
                    <a:pt x="7516" y="3151"/>
                  </a:lnTo>
                  <a:lnTo>
                    <a:pt x="7448" y="3174"/>
                  </a:lnTo>
                  <a:lnTo>
                    <a:pt x="7448" y="3174"/>
                  </a:lnTo>
                  <a:lnTo>
                    <a:pt x="7448" y="3174"/>
                  </a:lnTo>
                  <a:close/>
                  <a:moveTo>
                    <a:pt x="7360" y="3191"/>
                  </a:moveTo>
                  <a:lnTo>
                    <a:pt x="7344" y="3196"/>
                  </a:lnTo>
                  <a:lnTo>
                    <a:pt x="7356" y="3191"/>
                  </a:lnTo>
                  <a:lnTo>
                    <a:pt x="7360" y="3191"/>
                  </a:lnTo>
                  <a:lnTo>
                    <a:pt x="7360" y="3191"/>
                  </a:lnTo>
                  <a:lnTo>
                    <a:pt x="7360" y="3191"/>
                  </a:lnTo>
                  <a:close/>
                  <a:moveTo>
                    <a:pt x="7339" y="3290"/>
                  </a:moveTo>
                  <a:lnTo>
                    <a:pt x="7327" y="3290"/>
                  </a:lnTo>
                  <a:lnTo>
                    <a:pt x="7344" y="3285"/>
                  </a:lnTo>
                  <a:lnTo>
                    <a:pt x="7339" y="3290"/>
                  </a:lnTo>
                  <a:lnTo>
                    <a:pt x="7339" y="3290"/>
                  </a:lnTo>
                  <a:lnTo>
                    <a:pt x="7339" y="3290"/>
                  </a:lnTo>
                  <a:close/>
                  <a:moveTo>
                    <a:pt x="7275" y="3401"/>
                  </a:moveTo>
                  <a:lnTo>
                    <a:pt x="7268" y="3418"/>
                  </a:lnTo>
                  <a:lnTo>
                    <a:pt x="7285" y="3385"/>
                  </a:lnTo>
                  <a:lnTo>
                    <a:pt x="7275" y="3401"/>
                  </a:lnTo>
                  <a:lnTo>
                    <a:pt x="7275" y="3401"/>
                  </a:lnTo>
                  <a:lnTo>
                    <a:pt x="7275" y="3401"/>
                  </a:lnTo>
                  <a:close/>
                  <a:moveTo>
                    <a:pt x="7252" y="3640"/>
                  </a:moveTo>
                  <a:lnTo>
                    <a:pt x="7247" y="3640"/>
                  </a:lnTo>
                  <a:lnTo>
                    <a:pt x="7259" y="3633"/>
                  </a:lnTo>
                  <a:lnTo>
                    <a:pt x="7259" y="3595"/>
                  </a:lnTo>
                  <a:lnTo>
                    <a:pt x="7259" y="3607"/>
                  </a:lnTo>
                  <a:lnTo>
                    <a:pt x="7252" y="3640"/>
                  </a:lnTo>
                  <a:lnTo>
                    <a:pt x="7252" y="3640"/>
                  </a:lnTo>
                  <a:lnTo>
                    <a:pt x="7252" y="3640"/>
                  </a:lnTo>
                  <a:close/>
                  <a:moveTo>
                    <a:pt x="4143" y="3727"/>
                  </a:moveTo>
                  <a:lnTo>
                    <a:pt x="4174" y="3734"/>
                  </a:lnTo>
                  <a:lnTo>
                    <a:pt x="4153" y="3744"/>
                  </a:lnTo>
                  <a:lnTo>
                    <a:pt x="4143" y="3734"/>
                  </a:lnTo>
                  <a:lnTo>
                    <a:pt x="4143" y="3727"/>
                  </a:lnTo>
                  <a:lnTo>
                    <a:pt x="4143" y="3727"/>
                  </a:lnTo>
                  <a:lnTo>
                    <a:pt x="4143" y="3727"/>
                  </a:lnTo>
                  <a:close/>
                  <a:moveTo>
                    <a:pt x="4136" y="3734"/>
                  </a:moveTo>
                  <a:lnTo>
                    <a:pt x="4127" y="3744"/>
                  </a:lnTo>
                  <a:lnTo>
                    <a:pt x="4122" y="3734"/>
                  </a:lnTo>
                  <a:lnTo>
                    <a:pt x="4136" y="3734"/>
                  </a:lnTo>
                  <a:lnTo>
                    <a:pt x="4136" y="3734"/>
                  </a:lnTo>
                  <a:lnTo>
                    <a:pt x="4136" y="3734"/>
                  </a:lnTo>
                  <a:close/>
                  <a:moveTo>
                    <a:pt x="4245" y="3784"/>
                  </a:moveTo>
                  <a:lnTo>
                    <a:pt x="4261" y="3788"/>
                  </a:lnTo>
                  <a:lnTo>
                    <a:pt x="4245" y="3788"/>
                  </a:lnTo>
                  <a:lnTo>
                    <a:pt x="4235" y="3772"/>
                  </a:lnTo>
                  <a:lnTo>
                    <a:pt x="4245" y="3784"/>
                  </a:lnTo>
                  <a:lnTo>
                    <a:pt x="4245" y="3784"/>
                  </a:lnTo>
                  <a:lnTo>
                    <a:pt x="4245" y="3784"/>
                  </a:lnTo>
                  <a:close/>
                  <a:moveTo>
                    <a:pt x="4174" y="3800"/>
                  </a:moveTo>
                  <a:lnTo>
                    <a:pt x="4164" y="3800"/>
                  </a:lnTo>
                  <a:lnTo>
                    <a:pt x="4174" y="3800"/>
                  </a:lnTo>
                  <a:lnTo>
                    <a:pt x="4174" y="3800"/>
                  </a:lnTo>
                  <a:lnTo>
                    <a:pt x="4174" y="3800"/>
                  </a:lnTo>
                  <a:close/>
                  <a:moveTo>
                    <a:pt x="4235" y="3817"/>
                  </a:moveTo>
                  <a:lnTo>
                    <a:pt x="4249" y="3829"/>
                  </a:lnTo>
                  <a:lnTo>
                    <a:pt x="4245" y="3829"/>
                  </a:lnTo>
                  <a:lnTo>
                    <a:pt x="4235" y="3817"/>
                  </a:lnTo>
                  <a:lnTo>
                    <a:pt x="4235" y="3817"/>
                  </a:lnTo>
                  <a:lnTo>
                    <a:pt x="4235" y="3817"/>
                  </a:lnTo>
                  <a:close/>
                  <a:moveTo>
                    <a:pt x="6843" y="3982"/>
                  </a:moveTo>
                  <a:lnTo>
                    <a:pt x="6836" y="3994"/>
                  </a:lnTo>
                  <a:lnTo>
                    <a:pt x="6836" y="3989"/>
                  </a:lnTo>
                  <a:lnTo>
                    <a:pt x="6843" y="3982"/>
                  </a:lnTo>
                  <a:lnTo>
                    <a:pt x="6843" y="3982"/>
                  </a:lnTo>
                  <a:lnTo>
                    <a:pt x="6843" y="3982"/>
                  </a:lnTo>
                  <a:close/>
                  <a:moveTo>
                    <a:pt x="6297" y="4044"/>
                  </a:moveTo>
                  <a:lnTo>
                    <a:pt x="6286" y="4048"/>
                  </a:lnTo>
                  <a:lnTo>
                    <a:pt x="6297" y="4044"/>
                  </a:lnTo>
                  <a:lnTo>
                    <a:pt x="6297" y="4044"/>
                  </a:lnTo>
                  <a:lnTo>
                    <a:pt x="6297" y="4044"/>
                  </a:lnTo>
                  <a:close/>
                  <a:moveTo>
                    <a:pt x="6319" y="4077"/>
                  </a:moveTo>
                  <a:lnTo>
                    <a:pt x="6319" y="4048"/>
                  </a:lnTo>
                  <a:lnTo>
                    <a:pt x="6328" y="4060"/>
                  </a:lnTo>
                  <a:lnTo>
                    <a:pt x="6319" y="4077"/>
                  </a:lnTo>
                  <a:lnTo>
                    <a:pt x="6319" y="4077"/>
                  </a:lnTo>
                  <a:lnTo>
                    <a:pt x="6319" y="4077"/>
                  </a:lnTo>
                  <a:close/>
                  <a:moveTo>
                    <a:pt x="6118" y="4093"/>
                  </a:moveTo>
                  <a:lnTo>
                    <a:pt x="6113" y="4100"/>
                  </a:lnTo>
                  <a:lnTo>
                    <a:pt x="6097" y="4093"/>
                  </a:lnTo>
                  <a:lnTo>
                    <a:pt x="6101" y="4081"/>
                  </a:lnTo>
                  <a:lnTo>
                    <a:pt x="6118" y="4093"/>
                  </a:lnTo>
                  <a:lnTo>
                    <a:pt x="6118" y="4093"/>
                  </a:lnTo>
                  <a:lnTo>
                    <a:pt x="6118" y="4093"/>
                  </a:lnTo>
                  <a:close/>
                  <a:moveTo>
                    <a:pt x="5903" y="4117"/>
                  </a:moveTo>
                  <a:lnTo>
                    <a:pt x="5882" y="4122"/>
                  </a:lnTo>
                  <a:lnTo>
                    <a:pt x="5903" y="4105"/>
                  </a:lnTo>
                  <a:lnTo>
                    <a:pt x="5903" y="4117"/>
                  </a:lnTo>
                  <a:lnTo>
                    <a:pt x="5903" y="4117"/>
                  </a:lnTo>
                  <a:lnTo>
                    <a:pt x="5903" y="4117"/>
                  </a:lnTo>
                  <a:close/>
                  <a:moveTo>
                    <a:pt x="6897" y="4188"/>
                  </a:moveTo>
                  <a:lnTo>
                    <a:pt x="6897" y="4192"/>
                  </a:lnTo>
                  <a:lnTo>
                    <a:pt x="6890" y="4176"/>
                  </a:lnTo>
                  <a:lnTo>
                    <a:pt x="6897" y="4159"/>
                  </a:lnTo>
                  <a:lnTo>
                    <a:pt x="6897" y="4188"/>
                  </a:lnTo>
                  <a:lnTo>
                    <a:pt x="6897" y="4188"/>
                  </a:lnTo>
                  <a:lnTo>
                    <a:pt x="6897" y="4188"/>
                  </a:lnTo>
                  <a:close/>
                  <a:moveTo>
                    <a:pt x="5761" y="4192"/>
                  </a:moveTo>
                  <a:lnTo>
                    <a:pt x="5794" y="4176"/>
                  </a:lnTo>
                  <a:lnTo>
                    <a:pt x="5761" y="4204"/>
                  </a:lnTo>
                  <a:lnTo>
                    <a:pt x="5761" y="4192"/>
                  </a:lnTo>
                  <a:lnTo>
                    <a:pt x="5761" y="4192"/>
                  </a:lnTo>
                  <a:lnTo>
                    <a:pt x="5761" y="4192"/>
                  </a:lnTo>
                  <a:close/>
                  <a:moveTo>
                    <a:pt x="5735" y="4249"/>
                  </a:moveTo>
                  <a:lnTo>
                    <a:pt x="5723" y="4270"/>
                  </a:lnTo>
                  <a:lnTo>
                    <a:pt x="5723" y="4249"/>
                  </a:lnTo>
                  <a:lnTo>
                    <a:pt x="5747" y="4225"/>
                  </a:lnTo>
                  <a:lnTo>
                    <a:pt x="5735" y="4249"/>
                  </a:lnTo>
                  <a:lnTo>
                    <a:pt x="5735" y="4249"/>
                  </a:lnTo>
                  <a:lnTo>
                    <a:pt x="5735" y="4249"/>
                  </a:lnTo>
                  <a:close/>
                  <a:moveTo>
                    <a:pt x="5723" y="4315"/>
                  </a:moveTo>
                  <a:lnTo>
                    <a:pt x="5723" y="4270"/>
                  </a:lnTo>
                  <a:lnTo>
                    <a:pt x="5740" y="4360"/>
                  </a:lnTo>
                  <a:lnTo>
                    <a:pt x="5723" y="4315"/>
                  </a:lnTo>
                  <a:lnTo>
                    <a:pt x="5723" y="4315"/>
                  </a:lnTo>
                  <a:lnTo>
                    <a:pt x="5723" y="4315"/>
                  </a:lnTo>
                  <a:close/>
                  <a:moveTo>
                    <a:pt x="6912" y="4431"/>
                  </a:moveTo>
                  <a:lnTo>
                    <a:pt x="6923" y="4414"/>
                  </a:lnTo>
                  <a:lnTo>
                    <a:pt x="6897" y="4448"/>
                  </a:lnTo>
                  <a:lnTo>
                    <a:pt x="6912" y="4431"/>
                  </a:lnTo>
                  <a:lnTo>
                    <a:pt x="6912" y="4431"/>
                  </a:lnTo>
                  <a:lnTo>
                    <a:pt x="6912" y="4431"/>
                  </a:lnTo>
                  <a:close/>
                  <a:moveTo>
                    <a:pt x="6836" y="4471"/>
                  </a:moveTo>
                  <a:lnTo>
                    <a:pt x="6827" y="4481"/>
                  </a:lnTo>
                  <a:lnTo>
                    <a:pt x="6836" y="4471"/>
                  </a:lnTo>
                  <a:lnTo>
                    <a:pt x="6836" y="4471"/>
                  </a:lnTo>
                  <a:lnTo>
                    <a:pt x="6836" y="4471"/>
                  </a:lnTo>
                  <a:close/>
                  <a:moveTo>
                    <a:pt x="1368" y="4686"/>
                  </a:moveTo>
                  <a:lnTo>
                    <a:pt x="1351" y="4674"/>
                  </a:lnTo>
                  <a:lnTo>
                    <a:pt x="1351" y="4665"/>
                  </a:lnTo>
                  <a:lnTo>
                    <a:pt x="1356" y="4653"/>
                  </a:lnTo>
                  <a:lnTo>
                    <a:pt x="1382" y="4653"/>
                  </a:lnTo>
                  <a:lnTo>
                    <a:pt x="1372" y="4674"/>
                  </a:lnTo>
                  <a:lnTo>
                    <a:pt x="1368" y="4686"/>
                  </a:lnTo>
                  <a:lnTo>
                    <a:pt x="1368" y="4686"/>
                  </a:lnTo>
                  <a:lnTo>
                    <a:pt x="1368" y="4686"/>
                  </a:lnTo>
                  <a:close/>
                  <a:moveTo>
                    <a:pt x="1318" y="4686"/>
                  </a:moveTo>
                  <a:lnTo>
                    <a:pt x="1313" y="4674"/>
                  </a:lnTo>
                  <a:lnTo>
                    <a:pt x="1330" y="4670"/>
                  </a:lnTo>
                  <a:lnTo>
                    <a:pt x="1318" y="4686"/>
                  </a:lnTo>
                  <a:lnTo>
                    <a:pt x="1318" y="4686"/>
                  </a:lnTo>
                  <a:lnTo>
                    <a:pt x="1318" y="4686"/>
                  </a:lnTo>
                  <a:close/>
                  <a:moveTo>
                    <a:pt x="1481" y="4726"/>
                  </a:moveTo>
                  <a:lnTo>
                    <a:pt x="1464" y="4726"/>
                  </a:lnTo>
                  <a:lnTo>
                    <a:pt x="1448" y="4703"/>
                  </a:lnTo>
                  <a:lnTo>
                    <a:pt x="1474" y="4693"/>
                  </a:lnTo>
                  <a:lnTo>
                    <a:pt x="1495" y="4726"/>
                  </a:lnTo>
                  <a:lnTo>
                    <a:pt x="1481" y="4726"/>
                  </a:lnTo>
                  <a:lnTo>
                    <a:pt x="1481" y="4726"/>
                  </a:lnTo>
                  <a:lnTo>
                    <a:pt x="1481" y="4726"/>
                  </a:lnTo>
                  <a:close/>
                  <a:moveTo>
                    <a:pt x="1549" y="4743"/>
                  </a:moveTo>
                  <a:lnTo>
                    <a:pt x="1519" y="4743"/>
                  </a:lnTo>
                  <a:lnTo>
                    <a:pt x="1528" y="4731"/>
                  </a:lnTo>
                  <a:lnTo>
                    <a:pt x="1557" y="4731"/>
                  </a:lnTo>
                  <a:lnTo>
                    <a:pt x="1549" y="4743"/>
                  </a:lnTo>
                  <a:lnTo>
                    <a:pt x="1549" y="4743"/>
                  </a:lnTo>
                  <a:lnTo>
                    <a:pt x="1549" y="4743"/>
                  </a:lnTo>
                  <a:close/>
                  <a:moveTo>
                    <a:pt x="1583" y="4781"/>
                  </a:moveTo>
                  <a:lnTo>
                    <a:pt x="1571" y="4764"/>
                  </a:lnTo>
                  <a:lnTo>
                    <a:pt x="1566" y="4759"/>
                  </a:lnTo>
                  <a:lnTo>
                    <a:pt x="1566" y="4743"/>
                  </a:lnTo>
                  <a:lnTo>
                    <a:pt x="1583" y="4759"/>
                  </a:lnTo>
                  <a:lnTo>
                    <a:pt x="1599" y="4748"/>
                  </a:lnTo>
                  <a:lnTo>
                    <a:pt x="1611" y="4764"/>
                  </a:lnTo>
                  <a:lnTo>
                    <a:pt x="1604" y="4776"/>
                  </a:lnTo>
                  <a:lnTo>
                    <a:pt x="1583" y="4781"/>
                  </a:lnTo>
                  <a:lnTo>
                    <a:pt x="1583" y="4781"/>
                  </a:lnTo>
                  <a:lnTo>
                    <a:pt x="1583" y="4781"/>
                  </a:lnTo>
                  <a:close/>
                  <a:moveTo>
                    <a:pt x="1549" y="4764"/>
                  </a:moveTo>
                  <a:lnTo>
                    <a:pt x="1533" y="4759"/>
                  </a:lnTo>
                  <a:lnTo>
                    <a:pt x="1549" y="4759"/>
                  </a:lnTo>
                  <a:lnTo>
                    <a:pt x="1549" y="4764"/>
                  </a:lnTo>
                  <a:lnTo>
                    <a:pt x="1549" y="4764"/>
                  </a:lnTo>
                  <a:lnTo>
                    <a:pt x="1549" y="4764"/>
                  </a:lnTo>
                  <a:close/>
                  <a:moveTo>
                    <a:pt x="1566" y="4785"/>
                  </a:moveTo>
                  <a:lnTo>
                    <a:pt x="1571" y="4781"/>
                  </a:lnTo>
                  <a:lnTo>
                    <a:pt x="1566" y="4785"/>
                  </a:lnTo>
                  <a:lnTo>
                    <a:pt x="1566" y="4785"/>
                  </a:lnTo>
                  <a:lnTo>
                    <a:pt x="1566" y="4785"/>
                  </a:lnTo>
                  <a:close/>
                  <a:moveTo>
                    <a:pt x="1620" y="4802"/>
                  </a:moveTo>
                  <a:lnTo>
                    <a:pt x="1670" y="4818"/>
                  </a:lnTo>
                  <a:lnTo>
                    <a:pt x="1679" y="4854"/>
                  </a:lnTo>
                  <a:lnTo>
                    <a:pt x="1696" y="4859"/>
                  </a:lnTo>
                  <a:lnTo>
                    <a:pt x="1679" y="4875"/>
                  </a:lnTo>
                  <a:lnTo>
                    <a:pt x="1658" y="4875"/>
                  </a:lnTo>
                  <a:lnTo>
                    <a:pt x="1642" y="4892"/>
                  </a:lnTo>
                  <a:lnTo>
                    <a:pt x="1637" y="4908"/>
                  </a:lnTo>
                  <a:lnTo>
                    <a:pt x="1620" y="4892"/>
                  </a:lnTo>
                  <a:lnTo>
                    <a:pt x="1620" y="4870"/>
                  </a:lnTo>
                  <a:lnTo>
                    <a:pt x="1604" y="4842"/>
                  </a:lnTo>
                  <a:lnTo>
                    <a:pt x="1620" y="4818"/>
                  </a:lnTo>
                  <a:lnTo>
                    <a:pt x="1620" y="4814"/>
                  </a:lnTo>
                  <a:lnTo>
                    <a:pt x="1620" y="4802"/>
                  </a:lnTo>
                  <a:lnTo>
                    <a:pt x="1620" y="4802"/>
                  </a:lnTo>
                  <a:lnTo>
                    <a:pt x="1620" y="480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1" name="Freeform 583">
              <a:extLst>
                <a:ext uri="{FF2B5EF4-FFF2-40B4-BE49-F238E27FC236}">
                  <a16:creationId xmlns:a16="http://schemas.microsoft.com/office/drawing/2014/main" id="{B67F347B-6156-4D83-9BAD-DBF2044AB0E5}"/>
                </a:ext>
              </a:extLst>
            </p:cNvPr>
            <p:cNvSpPr>
              <a:spLocks/>
            </p:cNvSpPr>
            <p:nvPr/>
          </p:nvSpPr>
          <p:spPr bwMode="gray">
            <a:xfrm>
              <a:off x="13617502" y="3756671"/>
              <a:ext cx="182632" cy="135828"/>
            </a:xfrm>
            <a:custGeom>
              <a:avLst/>
              <a:gdLst>
                <a:gd name="T0" fmla="*/ 428 w 558"/>
                <a:gd name="T1" fmla="*/ 304 h 415"/>
                <a:gd name="T2" fmla="*/ 378 w 558"/>
                <a:gd name="T3" fmla="*/ 288 h 415"/>
                <a:gd name="T4" fmla="*/ 341 w 558"/>
                <a:gd name="T5" fmla="*/ 304 h 415"/>
                <a:gd name="T6" fmla="*/ 319 w 558"/>
                <a:gd name="T7" fmla="*/ 293 h 415"/>
                <a:gd name="T8" fmla="*/ 178 w 558"/>
                <a:gd name="T9" fmla="*/ 316 h 415"/>
                <a:gd name="T10" fmla="*/ 194 w 558"/>
                <a:gd name="T11" fmla="*/ 399 h 415"/>
                <a:gd name="T12" fmla="*/ 194 w 558"/>
                <a:gd name="T13" fmla="*/ 415 h 415"/>
                <a:gd name="T14" fmla="*/ 135 w 558"/>
                <a:gd name="T15" fmla="*/ 370 h 415"/>
                <a:gd name="T16" fmla="*/ 85 w 558"/>
                <a:gd name="T17" fmla="*/ 399 h 415"/>
                <a:gd name="T18" fmla="*/ 38 w 558"/>
                <a:gd name="T19" fmla="*/ 370 h 415"/>
                <a:gd name="T20" fmla="*/ 10 w 558"/>
                <a:gd name="T21" fmla="*/ 349 h 415"/>
                <a:gd name="T22" fmla="*/ 10 w 558"/>
                <a:gd name="T23" fmla="*/ 309 h 415"/>
                <a:gd name="T24" fmla="*/ 15 w 558"/>
                <a:gd name="T25" fmla="*/ 288 h 415"/>
                <a:gd name="T26" fmla="*/ 15 w 558"/>
                <a:gd name="T27" fmla="*/ 233 h 415"/>
                <a:gd name="T28" fmla="*/ 64 w 558"/>
                <a:gd name="T29" fmla="*/ 217 h 415"/>
                <a:gd name="T30" fmla="*/ 81 w 558"/>
                <a:gd name="T31" fmla="*/ 181 h 415"/>
                <a:gd name="T32" fmla="*/ 85 w 558"/>
                <a:gd name="T33" fmla="*/ 165 h 415"/>
                <a:gd name="T34" fmla="*/ 85 w 558"/>
                <a:gd name="T35" fmla="*/ 144 h 415"/>
                <a:gd name="T36" fmla="*/ 145 w 558"/>
                <a:gd name="T37" fmla="*/ 139 h 415"/>
                <a:gd name="T38" fmla="*/ 161 w 558"/>
                <a:gd name="T39" fmla="*/ 127 h 415"/>
                <a:gd name="T40" fmla="*/ 189 w 558"/>
                <a:gd name="T41" fmla="*/ 106 h 415"/>
                <a:gd name="T42" fmla="*/ 215 w 558"/>
                <a:gd name="T43" fmla="*/ 54 h 415"/>
                <a:gd name="T44" fmla="*/ 248 w 558"/>
                <a:gd name="T45" fmla="*/ 66 h 415"/>
                <a:gd name="T46" fmla="*/ 270 w 558"/>
                <a:gd name="T47" fmla="*/ 37 h 415"/>
                <a:gd name="T48" fmla="*/ 308 w 558"/>
                <a:gd name="T49" fmla="*/ 16 h 415"/>
                <a:gd name="T50" fmla="*/ 357 w 558"/>
                <a:gd name="T51" fmla="*/ 0 h 415"/>
                <a:gd name="T52" fmla="*/ 374 w 558"/>
                <a:gd name="T53" fmla="*/ 0 h 415"/>
                <a:gd name="T54" fmla="*/ 395 w 558"/>
                <a:gd name="T55" fmla="*/ 37 h 415"/>
                <a:gd name="T56" fmla="*/ 411 w 558"/>
                <a:gd name="T57" fmla="*/ 66 h 415"/>
                <a:gd name="T58" fmla="*/ 459 w 558"/>
                <a:gd name="T59" fmla="*/ 111 h 415"/>
                <a:gd name="T60" fmla="*/ 482 w 558"/>
                <a:gd name="T61" fmla="*/ 127 h 415"/>
                <a:gd name="T62" fmla="*/ 459 w 558"/>
                <a:gd name="T63" fmla="*/ 144 h 415"/>
                <a:gd name="T64" fmla="*/ 534 w 558"/>
                <a:gd name="T65" fmla="*/ 177 h 415"/>
                <a:gd name="T66" fmla="*/ 534 w 558"/>
                <a:gd name="T67" fmla="*/ 198 h 415"/>
                <a:gd name="T68" fmla="*/ 551 w 558"/>
                <a:gd name="T69" fmla="*/ 250 h 415"/>
                <a:gd name="T70" fmla="*/ 504 w 558"/>
                <a:gd name="T71" fmla="*/ 271 h 415"/>
                <a:gd name="T72" fmla="*/ 482 w 558"/>
                <a:gd name="T73" fmla="*/ 271 h 415"/>
                <a:gd name="T74" fmla="*/ 449 w 558"/>
                <a:gd name="T75" fmla="*/ 293 h 415"/>
                <a:gd name="T76" fmla="*/ 449 w 558"/>
                <a:gd name="T77" fmla="*/ 293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8" h="415">
                  <a:moveTo>
                    <a:pt x="449" y="293"/>
                  </a:moveTo>
                  <a:lnTo>
                    <a:pt x="428" y="304"/>
                  </a:lnTo>
                  <a:lnTo>
                    <a:pt x="428" y="293"/>
                  </a:lnTo>
                  <a:lnTo>
                    <a:pt x="378" y="288"/>
                  </a:lnTo>
                  <a:lnTo>
                    <a:pt x="362" y="288"/>
                  </a:lnTo>
                  <a:lnTo>
                    <a:pt x="341" y="304"/>
                  </a:lnTo>
                  <a:lnTo>
                    <a:pt x="341" y="293"/>
                  </a:lnTo>
                  <a:lnTo>
                    <a:pt x="319" y="293"/>
                  </a:lnTo>
                  <a:lnTo>
                    <a:pt x="189" y="293"/>
                  </a:lnTo>
                  <a:lnTo>
                    <a:pt x="178" y="316"/>
                  </a:lnTo>
                  <a:lnTo>
                    <a:pt x="194" y="349"/>
                  </a:lnTo>
                  <a:lnTo>
                    <a:pt x="194" y="399"/>
                  </a:lnTo>
                  <a:lnTo>
                    <a:pt x="199" y="404"/>
                  </a:lnTo>
                  <a:lnTo>
                    <a:pt x="194" y="415"/>
                  </a:lnTo>
                  <a:lnTo>
                    <a:pt x="161" y="370"/>
                  </a:lnTo>
                  <a:lnTo>
                    <a:pt x="135" y="370"/>
                  </a:lnTo>
                  <a:lnTo>
                    <a:pt x="90" y="382"/>
                  </a:lnTo>
                  <a:lnTo>
                    <a:pt x="85" y="399"/>
                  </a:lnTo>
                  <a:lnTo>
                    <a:pt x="52" y="387"/>
                  </a:lnTo>
                  <a:lnTo>
                    <a:pt x="38" y="370"/>
                  </a:lnTo>
                  <a:lnTo>
                    <a:pt x="26" y="349"/>
                  </a:lnTo>
                  <a:lnTo>
                    <a:pt x="10" y="349"/>
                  </a:lnTo>
                  <a:lnTo>
                    <a:pt x="0" y="333"/>
                  </a:lnTo>
                  <a:lnTo>
                    <a:pt x="10" y="309"/>
                  </a:lnTo>
                  <a:lnTo>
                    <a:pt x="0" y="293"/>
                  </a:lnTo>
                  <a:lnTo>
                    <a:pt x="15" y="288"/>
                  </a:lnTo>
                  <a:lnTo>
                    <a:pt x="26" y="259"/>
                  </a:lnTo>
                  <a:lnTo>
                    <a:pt x="15" y="233"/>
                  </a:lnTo>
                  <a:lnTo>
                    <a:pt x="26" y="222"/>
                  </a:lnTo>
                  <a:lnTo>
                    <a:pt x="64" y="217"/>
                  </a:lnTo>
                  <a:lnTo>
                    <a:pt x="81" y="198"/>
                  </a:lnTo>
                  <a:lnTo>
                    <a:pt x="81" y="181"/>
                  </a:lnTo>
                  <a:lnTo>
                    <a:pt x="69" y="165"/>
                  </a:lnTo>
                  <a:lnTo>
                    <a:pt x="85" y="165"/>
                  </a:lnTo>
                  <a:lnTo>
                    <a:pt x="90" y="160"/>
                  </a:lnTo>
                  <a:lnTo>
                    <a:pt x="85" y="144"/>
                  </a:lnTo>
                  <a:lnTo>
                    <a:pt x="107" y="111"/>
                  </a:lnTo>
                  <a:lnTo>
                    <a:pt x="145" y="139"/>
                  </a:lnTo>
                  <a:lnTo>
                    <a:pt x="145" y="127"/>
                  </a:lnTo>
                  <a:lnTo>
                    <a:pt x="161" y="127"/>
                  </a:lnTo>
                  <a:lnTo>
                    <a:pt x="156" y="94"/>
                  </a:lnTo>
                  <a:lnTo>
                    <a:pt x="189" y="106"/>
                  </a:lnTo>
                  <a:lnTo>
                    <a:pt x="189" y="70"/>
                  </a:lnTo>
                  <a:lnTo>
                    <a:pt x="215" y="54"/>
                  </a:lnTo>
                  <a:lnTo>
                    <a:pt x="244" y="66"/>
                  </a:lnTo>
                  <a:lnTo>
                    <a:pt x="248" y="66"/>
                  </a:lnTo>
                  <a:lnTo>
                    <a:pt x="248" y="37"/>
                  </a:lnTo>
                  <a:lnTo>
                    <a:pt x="270" y="37"/>
                  </a:lnTo>
                  <a:lnTo>
                    <a:pt x="298" y="28"/>
                  </a:lnTo>
                  <a:lnTo>
                    <a:pt x="308" y="16"/>
                  </a:lnTo>
                  <a:lnTo>
                    <a:pt x="336" y="0"/>
                  </a:lnTo>
                  <a:lnTo>
                    <a:pt x="357" y="0"/>
                  </a:lnTo>
                  <a:lnTo>
                    <a:pt x="362" y="0"/>
                  </a:lnTo>
                  <a:lnTo>
                    <a:pt x="374" y="0"/>
                  </a:lnTo>
                  <a:lnTo>
                    <a:pt x="404" y="11"/>
                  </a:lnTo>
                  <a:lnTo>
                    <a:pt x="395" y="37"/>
                  </a:lnTo>
                  <a:lnTo>
                    <a:pt x="416" y="54"/>
                  </a:lnTo>
                  <a:lnTo>
                    <a:pt x="411" y="66"/>
                  </a:lnTo>
                  <a:lnTo>
                    <a:pt x="428" y="94"/>
                  </a:lnTo>
                  <a:lnTo>
                    <a:pt x="459" y="111"/>
                  </a:lnTo>
                  <a:lnTo>
                    <a:pt x="459" y="111"/>
                  </a:lnTo>
                  <a:lnTo>
                    <a:pt x="482" y="127"/>
                  </a:lnTo>
                  <a:lnTo>
                    <a:pt x="459" y="122"/>
                  </a:lnTo>
                  <a:lnTo>
                    <a:pt x="459" y="144"/>
                  </a:lnTo>
                  <a:lnTo>
                    <a:pt x="497" y="177"/>
                  </a:lnTo>
                  <a:lnTo>
                    <a:pt x="534" y="177"/>
                  </a:lnTo>
                  <a:lnTo>
                    <a:pt x="541" y="193"/>
                  </a:lnTo>
                  <a:lnTo>
                    <a:pt x="534" y="198"/>
                  </a:lnTo>
                  <a:lnTo>
                    <a:pt x="558" y="233"/>
                  </a:lnTo>
                  <a:lnTo>
                    <a:pt x="551" y="250"/>
                  </a:lnTo>
                  <a:lnTo>
                    <a:pt x="525" y="259"/>
                  </a:lnTo>
                  <a:lnTo>
                    <a:pt x="504" y="271"/>
                  </a:lnTo>
                  <a:lnTo>
                    <a:pt x="487" y="259"/>
                  </a:lnTo>
                  <a:lnTo>
                    <a:pt x="482" y="271"/>
                  </a:lnTo>
                  <a:lnTo>
                    <a:pt x="471" y="276"/>
                  </a:lnTo>
                  <a:lnTo>
                    <a:pt x="449" y="293"/>
                  </a:lnTo>
                  <a:lnTo>
                    <a:pt x="449" y="293"/>
                  </a:lnTo>
                  <a:lnTo>
                    <a:pt x="449" y="29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2" name="Freeform 584">
              <a:extLst>
                <a:ext uri="{FF2B5EF4-FFF2-40B4-BE49-F238E27FC236}">
                  <a16:creationId xmlns:a16="http://schemas.microsoft.com/office/drawing/2014/main" id="{FAD453B8-F9DF-4C3B-89DA-416C3AE4A28E}"/>
                </a:ext>
              </a:extLst>
            </p:cNvPr>
            <p:cNvSpPr>
              <a:spLocks/>
            </p:cNvSpPr>
            <p:nvPr/>
          </p:nvSpPr>
          <p:spPr bwMode="gray">
            <a:xfrm>
              <a:off x="12403886" y="4847550"/>
              <a:ext cx="122082" cy="126664"/>
            </a:xfrm>
            <a:custGeom>
              <a:avLst/>
              <a:gdLst>
                <a:gd name="T0" fmla="*/ 16 w 373"/>
                <a:gd name="T1" fmla="*/ 177 h 387"/>
                <a:gd name="T2" fmla="*/ 21 w 373"/>
                <a:gd name="T3" fmla="*/ 172 h 387"/>
                <a:gd name="T4" fmla="*/ 16 w 373"/>
                <a:gd name="T5" fmla="*/ 139 h 387"/>
                <a:gd name="T6" fmla="*/ 21 w 373"/>
                <a:gd name="T7" fmla="*/ 122 h 387"/>
                <a:gd name="T8" fmla="*/ 33 w 373"/>
                <a:gd name="T9" fmla="*/ 111 h 387"/>
                <a:gd name="T10" fmla="*/ 21 w 373"/>
                <a:gd name="T11" fmla="*/ 99 h 387"/>
                <a:gd name="T12" fmla="*/ 33 w 373"/>
                <a:gd name="T13" fmla="*/ 82 h 387"/>
                <a:gd name="T14" fmla="*/ 49 w 373"/>
                <a:gd name="T15" fmla="*/ 56 h 387"/>
                <a:gd name="T16" fmla="*/ 38 w 373"/>
                <a:gd name="T17" fmla="*/ 28 h 387"/>
                <a:gd name="T18" fmla="*/ 54 w 373"/>
                <a:gd name="T19" fmla="*/ 11 h 387"/>
                <a:gd name="T20" fmla="*/ 54 w 373"/>
                <a:gd name="T21" fmla="*/ 7 h 387"/>
                <a:gd name="T22" fmla="*/ 59 w 373"/>
                <a:gd name="T23" fmla="*/ 7 h 387"/>
                <a:gd name="T24" fmla="*/ 87 w 373"/>
                <a:gd name="T25" fmla="*/ 11 h 387"/>
                <a:gd name="T26" fmla="*/ 92 w 373"/>
                <a:gd name="T27" fmla="*/ 0 h 387"/>
                <a:gd name="T28" fmla="*/ 113 w 373"/>
                <a:gd name="T29" fmla="*/ 0 h 387"/>
                <a:gd name="T30" fmla="*/ 168 w 373"/>
                <a:gd name="T31" fmla="*/ 56 h 387"/>
                <a:gd name="T32" fmla="*/ 168 w 373"/>
                <a:gd name="T33" fmla="*/ 66 h 387"/>
                <a:gd name="T34" fmla="*/ 177 w 373"/>
                <a:gd name="T35" fmla="*/ 66 h 387"/>
                <a:gd name="T36" fmla="*/ 201 w 373"/>
                <a:gd name="T37" fmla="*/ 56 h 387"/>
                <a:gd name="T38" fmla="*/ 222 w 373"/>
                <a:gd name="T39" fmla="*/ 82 h 387"/>
                <a:gd name="T40" fmla="*/ 269 w 373"/>
                <a:gd name="T41" fmla="*/ 99 h 387"/>
                <a:gd name="T42" fmla="*/ 286 w 373"/>
                <a:gd name="T43" fmla="*/ 132 h 387"/>
                <a:gd name="T44" fmla="*/ 319 w 373"/>
                <a:gd name="T45" fmla="*/ 139 h 387"/>
                <a:gd name="T46" fmla="*/ 340 w 373"/>
                <a:gd name="T47" fmla="*/ 177 h 387"/>
                <a:gd name="T48" fmla="*/ 373 w 373"/>
                <a:gd name="T49" fmla="*/ 205 h 387"/>
                <a:gd name="T50" fmla="*/ 340 w 373"/>
                <a:gd name="T51" fmla="*/ 233 h 387"/>
                <a:gd name="T52" fmla="*/ 340 w 373"/>
                <a:gd name="T53" fmla="*/ 283 h 387"/>
                <a:gd name="T54" fmla="*/ 357 w 373"/>
                <a:gd name="T55" fmla="*/ 283 h 387"/>
                <a:gd name="T56" fmla="*/ 340 w 373"/>
                <a:gd name="T57" fmla="*/ 316 h 387"/>
                <a:gd name="T58" fmla="*/ 302 w 373"/>
                <a:gd name="T59" fmla="*/ 359 h 387"/>
                <a:gd name="T60" fmla="*/ 286 w 373"/>
                <a:gd name="T61" fmla="*/ 354 h 387"/>
                <a:gd name="T62" fmla="*/ 286 w 373"/>
                <a:gd name="T63" fmla="*/ 359 h 387"/>
                <a:gd name="T64" fmla="*/ 248 w 373"/>
                <a:gd name="T65" fmla="*/ 387 h 387"/>
                <a:gd name="T66" fmla="*/ 194 w 373"/>
                <a:gd name="T67" fmla="*/ 370 h 387"/>
                <a:gd name="T68" fmla="*/ 146 w 373"/>
                <a:gd name="T69" fmla="*/ 375 h 387"/>
                <a:gd name="T70" fmla="*/ 139 w 373"/>
                <a:gd name="T71" fmla="*/ 375 h 387"/>
                <a:gd name="T72" fmla="*/ 146 w 373"/>
                <a:gd name="T73" fmla="*/ 370 h 387"/>
                <a:gd name="T74" fmla="*/ 108 w 373"/>
                <a:gd name="T75" fmla="*/ 359 h 387"/>
                <a:gd name="T76" fmla="*/ 92 w 373"/>
                <a:gd name="T77" fmla="*/ 342 h 387"/>
                <a:gd name="T78" fmla="*/ 38 w 373"/>
                <a:gd name="T79" fmla="*/ 342 h 387"/>
                <a:gd name="T80" fmla="*/ 0 w 373"/>
                <a:gd name="T81" fmla="*/ 300 h 387"/>
                <a:gd name="T82" fmla="*/ 0 w 373"/>
                <a:gd name="T83" fmla="*/ 267 h 387"/>
                <a:gd name="T84" fmla="*/ 0 w 373"/>
                <a:gd name="T85" fmla="*/ 233 h 387"/>
                <a:gd name="T86" fmla="*/ 16 w 373"/>
                <a:gd name="T87" fmla="*/ 233 h 387"/>
                <a:gd name="T88" fmla="*/ 21 w 373"/>
                <a:gd name="T89" fmla="*/ 222 h 387"/>
                <a:gd name="T90" fmla="*/ 16 w 373"/>
                <a:gd name="T91" fmla="*/ 177 h 387"/>
                <a:gd name="T92" fmla="*/ 16 w 373"/>
                <a:gd name="T93" fmla="*/ 177 h 387"/>
                <a:gd name="T94" fmla="*/ 16 w 373"/>
                <a:gd name="T95" fmla="*/ 17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87">
                  <a:moveTo>
                    <a:pt x="16" y="177"/>
                  </a:moveTo>
                  <a:lnTo>
                    <a:pt x="21" y="172"/>
                  </a:lnTo>
                  <a:lnTo>
                    <a:pt x="16" y="139"/>
                  </a:lnTo>
                  <a:lnTo>
                    <a:pt x="21" y="122"/>
                  </a:lnTo>
                  <a:lnTo>
                    <a:pt x="33" y="111"/>
                  </a:lnTo>
                  <a:lnTo>
                    <a:pt x="21" y="99"/>
                  </a:lnTo>
                  <a:lnTo>
                    <a:pt x="33" y="82"/>
                  </a:lnTo>
                  <a:lnTo>
                    <a:pt x="49" y="56"/>
                  </a:lnTo>
                  <a:lnTo>
                    <a:pt x="38" y="28"/>
                  </a:lnTo>
                  <a:lnTo>
                    <a:pt x="54" y="11"/>
                  </a:lnTo>
                  <a:lnTo>
                    <a:pt x="54" y="7"/>
                  </a:lnTo>
                  <a:lnTo>
                    <a:pt x="59" y="7"/>
                  </a:lnTo>
                  <a:lnTo>
                    <a:pt x="87" y="11"/>
                  </a:lnTo>
                  <a:lnTo>
                    <a:pt x="92" y="0"/>
                  </a:lnTo>
                  <a:lnTo>
                    <a:pt x="113" y="0"/>
                  </a:lnTo>
                  <a:lnTo>
                    <a:pt x="168" y="56"/>
                  </a:lnTo>
                  <a:lnTo>
                    <a:pt x="168" y="66"/>
                  </a:lnTo>
                  <a:lnTo>
                    <a:pt x="177" y="66"/>
                  </a:lnTo>
                  <a:lnTo>
                    <a:pt x="201" y="56"/>
                  </a:lnTo>
                  <a:lnTo>
                    <a:pt x="222" y="82"/>
                  </a:lnTo>
                  <a:lnTo>
                    <a:pt x="269" y="99"/>
                  </a:lnTo>
                  <a:lnTo>
                    <a:pt x="286" y="132"/>
                  </a:lnTo>
                  <a:lnTo>
                    <a:pt x="319" y="139"/>
                  </a:lnTo>
                  <a:lnTo>
                    <a:pt x="340" y="177"/>
                  </a:lnTo>
                  <a:lnTo>
                    <a:pt x="373" y="205"/>
                  </a:lnTo>
                  <a:lnTo>
                    <a:pt x="340" y="233"/>
                  </a:lnTo>
                  <a:lnTo>
                    <a:pt x="340" y="283"/>
                  </a:lnTo>
                  <a:lnTo>
                    <a:pt x="357" y="283"/>
                  </a:lnTo>
                  <a:lnTo>
                    <a:pt x="340" y="316"/>
                  </a:lnTo>
                  <a:lnTo>
                    <a:pt x="302" y="359"/>
                  </a:lnTo>
                  <a:lnTo>
                    <a:pt x="286" y="354"/>
                  </a:lnTo>
                  <a:lnTo>
                    <a:pt x="286" y="359"/>
                  </a:lnTo>
                  <a:lnTo>
                    <a:pt x="248" y="387"/>
                  </a:lnTo>
                  <a:lnTo>
                    <a:pt x="194" y="370"/>
                  </a:lnTo>
                  <a:lnTo>
                    <a:pt x="146" y="375"/>
                  </a:lnTo>
                  <a:lnTo>
                    <a:pt x="139" y="375"/>
                  </a:lnTo>
                  <a:lnTo>
                    <a:pt x="146" y="370"/>
                  </a:lnTo>
                  <a:lnTo>
                    <a:pt x="108" y="359"/>
                  </a:lnTo>
                  <a:lnTo>
                    <a:pt x="92" y="342"/>
                  </a:lnTo>
                  <a:lnTo>
                    <a:pt x="38" y="342"/>
                  </a:lnTo>
                  <a:lnTo>
                    <a:pt x="0" y="300"/>
                  </a:lnTo>
                  <a:lnTo>
                    <a:pt x="0" y="267"/>
                  </a:lnTo>
                  <a:lnTo>
                    <a:pt x="0" y="233"/>
                  </a:lnTo>
                  <a:lnTo>
                    <a:pt x="16" y="233"/>
                  </a:lnTo>
                  <a:lnTo>
                    <a:pt x="21" y="222"/>
                  </a:lnTo>
                  <a:lnTo>
                    <a:pt x="16" y="177"/>
                  </a:lnTo>
                  <a:lnTo>
                    <a:pt x="16" y="177"/>
                  </a:lnTo>
                  <a:lnTo>
                    <a:pt x="16" y="17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3" name="Freeform 585">
              <a:extLst>
                <a:ext uri="{FF2B5EF4-FFF2-40B4-BE49-F238E27FC236}">
                  <a16:creationId xmlns:a16="http://schemas.microsoft.com/office/drawing/2014/main" id="{A3089DB8-350F-4979-B40C-76C782B61DC4}"/>
                </a:ext>
              </a:extLst>
            </p:cNvPr>
            <p:cNvSpPr>
              <a:spLocks/>
            </p:cNvSpPr>
            <p:nvPr/>
          </p:nvSpPr>
          <p:spPr bwMode="gray">
            <a:xfrm>
              <a:off x="15028477" y="2958721"/>
              <a:ext cx="395047" cy="235654"/>
            </a:xfrm>
            <a:custGeom>
              <a:avLst/>
              <a:gdLst>
                <a:gd name="T0" fmla="*/ 827 w 1207"/>
                <a:gd name="T1" fmla="*/ 515 h 720"/>
                <a:gd name="T2" fmla="*/ 806 w 1207"/>
                <a:gd name="T3" fmla="*/ 555 h 720"/>
                <a:gd name="T4" fmla="*/ 851 w 1207"/>
                <a:gd name="T5" fmla="*/ 572 h 720"/>
                <a:gd name="T6" fmla="*/ 851 w 1207"/>
                <a:gd name="T7" fmla="*/ 609 h 720"/>
                <a:gd name="T8" fmla="*/ 860 w 1207"/>
                <a:gd name="T9" fmla="*/ 659 h 720"/>
                <a:gd name="T10" fmla="*/ 813 w 1207"/>
                <a:gd name="T11" fmla="*/ 716 h 720"/>
                <a:gd name="T12" fmla="*/ 742 w 1207"/>
                <a:gd name="T13" fmla="*/ 704 h 720"/>
                <a:gd name="T14" fmla="*/ 700 w 1207"/>
                <a:gd name="T15" fmla="*/ 633 h 720"/>
                <a:gd name="T16" fmla="*/ 574 w 1207"/>
                <a:gd name="T17" fmla="*/ 576 h 720"/>
                <a:gd name="T18" fmla="*/ 456 w 1207"/>
                <a:gd name="T19" fmla="*/ 482 h 720"/>
                <a:gd name="T20" fmla="*/ 419 w 1207"/>
                <a:gd name="T21" fmla="*/ 387 h 720"/>
                <a:gd name="T22" fmla="*/ 348 w 1207"/>
                <a:gd name="T23" fmla="*/ 383 h 720"/>
                <a:gd name="T24" fmla="*/ 289 w 1207"/>
                <a:gd name="T25" fmla="*/ 366 h 720"/>
                <a:gd name="T26" fmla="*/ 303 w 1207"/>
                <a:gd name="T27" fmla="*/ 333 h 720"/>
                <a:gd name="T28" fmla="*/ 272 w 1207"/>
                <a:gd name="T29" fmla="*/ 283 h 720"/>
                <a:gd name="T30" fmla="*/ 213 w 1207"/>
                <a:gd name="T31" fmla="*/ 272 h 720"/>
                <a:gd name="T32" fmla="*/ 163 w 1207"/>
                <a:gd name="T33" fmla="*/ 255 h 720"/>
                <a:gd name="T34" fmla="*/ 168 w 1207"/>
                <a:gd name="T35" fmla="*/ 293 h 720"/>
                <a:gd name="T36" fmla="*/ 130 w 1207"/>
                <a:gd name="T37" fmla="*/ 300 h 720"/>
                <a:gd name="T38" fmla="*/ 71 w 1207"/>
                <a:gd name="T39" fmla="*/ 345 h 720"/>
                <a:gd name="T40" fmla="*/ 0 w 1207"/>
                <a:gd name="T41" fmla="*/ 371 h 720"/>
                <a:gd name="T42" fmla="*/ 364 w 1207"/>
                <a:gd name="T43" fmla="*/ 116 h 720"/>
                <a:gd name="T44" fmla="*/ 596 w 1207"/>
                <a:gd name="T45" fmla="*/ 182 h 720"/>
                <a:gd name="T46" fmla="*/ 671 w 1207"/>
                <a:gd name="T47" fmla="*/ 201 h 720"/>
                <a:gd name="T48" fmla="*/ 704 w 1207"/>
                <a:gd name="T49" fmla="*/ 316 h 720"/>
                <a:gd name="T50" fmla="*/ 844 w 1207"/>
                <a:gd name="T51" fmla="*/ 387 h 720"/>
                <a:gd name="T52" fmla="*/ 877 w 1207"/>
                <a:gd name="T53" fmla="*/ 437 h 720"/>
                <a:gd name="T54" fmla="*/ 919 w 1207"/>
                <a:gd name="T55" fmla="*/ 383 h 720"/>
                <a:gd name="T56" fmla="*/ 985 w 1207"/>
                <a:gd name="T57" fmla="*/ 345 h 720"/>
                <a:gd name="T58" fmla="*/ 1040 w 1207"/>
                <a:gd name="T59" fmla="*/ 300 h 720"/>
                <a:gd name="T60" fmla="*/ 1078 w 1207"/>
                <a:gd name="T61" fmla="*/ 300 h 720"/>
                <a:gd name="T62" fmla="*/ 1040 w 1207"/>
                <a:gd name="T63" fmla="*/ 328 h 720"/>
                <a:gd name="T64" fmla="*/ 1040 w 1207"/>
                <a:gd name="T65" fmla="*/ 366 h 720"/>
                <a:gd name="T66" fmla="*/ 1082 w 1207"/>
                <a:gd name="T67" fmla="*/ 371 h 720"/>
                <a:gd name="T68" fmla="*/ 1120 w 1207"/>
                <a:gd name="T69" fmla="*/ 371 h 720"/>
                <a:gd name="T70" fmla="*/ 1137 w 1207"/>
                <a:gd name="T71" fmla="*/ 404 h 720"/>
                <a:gd name="T72" fmla="*/ 1207 w 1207"/>
                <a:gd name="T73" fmla="*/ 420 h 720"/>
                <a:gd name="T74" fmla="*/ 1153 w 1207"/>
                <a:gd name="T75" fmla="*/ 437 h 720"/>
                <a:gd name="T76" fmla="*/ 1132 w 1207"/>
                <a:gd name="T77" fmla="*/ 460 h 720"/>
                <a:gd name="T78" fmla="*/ 1082 w 1207"/>
                <a:gd name="T79" fmla="*/ 460 h 720"/>
                <a:gd name="T80" fmla="*/ 1011 w 1207"/>
                <a:gd name="T81" fmla="*/ 456 h 720"/>
                <a:gd name="T82" fmla="*/ 1011 w 1207"/>
                <a:gd name="T83" fmla="*/ 399 h 720"/>
                <a:gd name="T84" fmla="*/ 943 w 1207"/>
                <a:gd name="T85" fmla="*/ 420 h 720"/>
                <a:gd name="T86" fmla="*/ 936 w 1207"/>
                <a:gd name="T87" fmla="*/ 465 h 720"/>
                <a:gd name="T88" fmla="*/ 898 w 1207"/>
                <a:gd name="T89" fmla="*/ 482 h 720"/>
                <a:gd name="T90" fmla="*/ 889 w 1207"/>
                <a:gd name="T91" fmla="*/ 49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07" h="720">
                  <a:moveTo>
                    <a:pt x="889" y="498"/>
                  </a:moveTo>
                  <a:lnTo>
                    <a:pt x="882" y="522"/>
                  </a:lnTo>
                  <a:lnTo>
                    <a:pt x="827" y="515"/>
                  </a:lnTo>
                  <a:lnTo>
                    <a:pt x="806" y="531"/>
                  </a:lnTo>
                  <a:lnTo>
                    <a:pt x="796" y="548"/>
                  </a:lnTo>
                  <a:lnTo>
                    <a:pt x="806" y="555"/>
                  </a:lnTo>
                  <a:lnTo>
                    <a:pt x="822" y="564"/>
                  </a:lnTo>
                  <a:lnTo>
                    <a:pt x="827" y="572"/>
                  </a:lnTo>
                  <a:lnTo>
                    <a:pt x="851" y="572"/>
                  </a:lnTo>
                  <a:lnTo>
                    <a:pt x="860" y="588"/>
                  </a:lnTo>
                  <a:lnTo>
                    <a:pt x="851" y="588"/>
                  </a:lnTo>
                  <a:lnTo>
                    <a:pt x="851" y="609"/>
                  </a:lnTo>
                  <a:lnTo>
                    <a:pt x="877" y="642"/>
                  </a:lnTo>
                  <a:lnTo>
                    <a:pt x="867" y="659"/>
                  </a:lnTo>
                  <a:lnTo>
                    <a:pt x="860" y="659"/>
                  </a:lnTo>
                  <a:lnTo>
                    <a:pt x="834" y="699"/>
                  </a:lnTo>
                  <a:lnTo>
                    <a:pt x="827" y="720"/>
                  </a:lnTo>
                  <a:lnTo>
                    <a:pt x="813" y="716"/>
                  </a:lnTo>
                  <a:lnTo>
                    <a:pt x="789" y="720"/>
                  </a:lnTo>
                  <a:lnTo>
                    <a:pt x="775" y="704"/>
                  </a:lnTo>
                  <a:lnTo>
                    <a:pt x="742" y="704"/>
                  </a:lnTo>
                  <a:lnTo>
                    <a:pt x="742" y="675"/>
                  </a:lnTo>
                  <a:lnTo>
                    <a:pt x="752" y="659"/>
                  </a:lnTo>
                  <a:lnTo>
                    <a:pt x="700" y="633"/>
                  </a:lnTo>
                  <a:lnTo>
                    <a:pt x="671" y="633"/>
                  </a:lnTo>
                  <a:lnTo>
                    <a:pt x="591" y="572"/>
                  </a:lnTo>
                  <a:lnTo>
                    <a:pt x="574" y="576"/>
                  </a:lnTo>
                  <a:lnTo>
                    <a:pt x="541" y="555"/>
                  </a:lnTo>
                  <a:lnTo>
                    <a:pt x="537" y="538"/>
                  </a:lnTo>
                  <a:lnTo>
                    <a:pt x="456" y="482"/>
                  </a:lnTo>
                  <a:lnTo>
                    <a:pt x="449" y="456"/>
                  </a:lnTo>
                  <a:lnTo>
                    <a:pt x="433" y="437"/>
                  </a:lnTo>
                  <a:lnTo>
                    <a:pt x="419" y="387"/>
                  </a:lnTo>
                  <a:lnTo>
                    <a:pt x="385" y="371"/>
                  </a:lnTo>
                  <a:lnTo>
                    <a:pt x="374" y="387"/>
                  </a:lnTo>
                  <a:lnTo>
                    <a:pt x="348" y="383"/>
                  </a:lnTo>
                  <a:lnTo>
                    <a:pt x="319" y="383"/>
                  </a:lnTo>
                  <a:lnTo>
                    <a:pt x="293" y="371"/>
                  </a:lnTo>
                  <a:lnTo>
                    <a:pt x="289" y="366"/>
                  </a:lnTo>
                  <a:lnTo>
                    <a:pt x="293" y="349"/>
                  </a:lnTo>
                  <a:lnTo>
                    <a:pt x="289" y="333"/>
                  </a:lnTo>
                  <a:lnTo>
                    <a:pt x="303" y="333"/>
                  </a:lnTo>
                  <a:lnTo>
                    <a:pt x="289" y="309"/>
                  </a:lnTo>
                  <a:lnTo>
                    <a:pt x="289" y="293"/>
                  </a:lnTo>
                  <a:lnTo>
                    <a:pt x="272" y="283"/>
                  </a:lnTo>
                  <a:lnTo>
                    <a:pt x="234" y="283"/>
                  </a:lnTo>
                  <a:lnTo>
                    <a:pt x="222" y="272"/>
                  </a:lnTo>
                  <a:lnTo>
                    <a:pt x="213" y="272"/>
                  </a:lnTo>
                  <a:lnTo>
                    <a:pt x="185" y="243"/>
                  </a:lnTo>
                  <a:lnTo>
                    <a:pt x="180" y="260"/>
                  </a:lnTo>
                  <a:lnTo>
                    <a:pt x="163" y="255"/>
                  </a:lnTo>
                  <a:lnTo>
                    <a:pt x="159" y="260"/>
                  </a:lnTo>
                  <a:lnTo>
                    <a:pt x="180" y="293"/>
                  </a:lnTo>
                  <a:lnTo>
                    <a:pt x="168" y="293"/>
                  </a:lnTo>
                  <a:lnTo>
                    <a:pt x="163" y="276"/>
                  </a:lnTo>
                  <a:lnTo>
                    <a:pt x="147" y="272"/>
                  </a:lnTo>
                  <a:lnTo>
                    <a:pt x="130" y="300"/>
                  </a:lnTo>
                  <a:lnTo>
                    <a:pt x="104" y="300"/>
                  </a:lnTo>
                  <a:lnTo>
                    <a:pt x="71" y="328"/>
                  </a:lnTo>
                  <a:lnTo>
                    <a:pt x="71" y="345"/>
                  </a:lnTo>
                  <a:lnTo>
                    <a:pt x="76" y="371"/>
                  </a:lnTo>
                  <a:lnTo>
                    <a:pt x="76" y="383"/>
                  </a:lnTo>
                  <a:lnTo>
                    <a:pt x="0" y="371"/>
                  </a:lnTo>
                  <a:lnTo>
                    <a:pt x="0" y="54"/>
                  </a:lnTo>
                  <a:lnTo>
                    <a:pt x="180" y="0"/>
                  </a:lnTo>
                  <a:lnTo>
                    <a:pt x="364" y="116"/>
                  </a:lnTo>
                  <a:lnTo>
                    <a:pt x="428" y="182"/>
                  </a:lnTo>
                  <a:lnTo>
                    <a:pt x="508" y="172"/>
                  </a:lnTo>
                  <a:lnTo>
                    <a:pt x="596" y="182"/>
                  </a:lnTo>
                  <a:lnTo>
                    <a:pt x="629" y="165"/>
                  </a:lnTo>
                  <a:lnTo>
                    <a:pt x="650" y="189"/>
                  </a:lnTo>
                  <a:lnTo>
                    <a:pt x="671" y="201"/>
                  </a:lnTo>
                  <a:lnTo>
                    <a:pt x="688" y="238"/>
                  </a:lnTo>
                  <a:lnTo>
                    <a:pt x="714" y="227"/>
                  </a:lnTo>
                  <a:lnTo>
                    <a:pt x="704" y="316"/>
                  </a:lnTo>
                  <a:lnTo>
                    <a:pt x="742" y="316"/>
                  </a:lnTo>
                  <a:lnTo>
                    <a:pt x="759" y="387"/>
                  </a:lnTo>
                  <a:lnTo>
                    <a:pt x="844" y="387"/>
                  </a:lnTo>
                  <a:lnTo>
                    <a:pt x="860" y="399"/>
                  </a:lnTo>
                  <a:lnTo>
                    <a:pt x="851" y="420"/>
                  </a:lnTo>
                  <a:lnTo>
                    <a:pt x="877" y="437"/>
                  </a:lnTo>
                  <a:lnTo>
                    <a:pt x="889" y="437"/>
                  </a:lnTo>
                  <a:lnTo>
                    <a:pt x="889" y="411"/>
                  </a:lnTo>
                  <a:lnTo>
                    <a:pt x="919" y="383"/>
                  </a:lnTo>
                  <a:lnTo>
                    <a:pt x="919" y="371"/>
                  </a:lnTo>
                  <a:lnTo>
                    <a:pt x="957" y="345"/>
                  </a:lnTo>
                  <a:lnTo>
                    <a:pt x="985" y="345"/>
                  </a:lnTo>
                  <a:lnTo>
                    <a:pt x="1011" y="309"/>
                  </a:lnTo>
                  <a:lnTo>
                    <a:pt x="1028" y="316"/>
                  </a:lnTo>
                  <a:lnTo>
                    <a:pt x="1040" y="300"/>
                  </a:lnTo>
                  <a:lnTo>
                    <a:pt x="1049" y="293"/>
                  </a:lnTo>
                  <a:lnTo>
                    <a:pt x="1061" y="283"/>
                  </a:lnTo>
                  <a:lnTo>
                    <a:pt x="1078" y="300"/>
                  </a:lnTo>
                  <a:lnTo>
                    <a:pt x="1044" y="309"/>
                  </a:lnTo>
                  <a:lnTo>
                    <a:pt x="1044" y="328"/>
                  </a:lnTo>
                  <a:lnTo>
                    <a:pt x="1040" y="328"/>
                  </a:lnTo>
                  <a:lnTo>
                    <a:pt x="995" y="354"/>
                  </a:lnTo>
                  <a:lnTo>
                    <a:pt x="1023" y="366"/>
                  </a:lnTo>
                  <a:lnTo>
                    <a:pt x="1040" y="366"/>
                  </a:lnTo>
                  <a:lnTo>
                    <a:pt x="1044" y="383"/>
                  </a:lnTo>
                  <a:lnTo>
                    <a:pt x="1082" y="387"/>
                  </a:lnTo>
                  <a:lnTo>
                    <a:pt x="1082" y="371"/>
                  </a:lnTo>
                  <a:lnTo>
                    <a:pt x="1099" y="371"/>
                  </a:lnTo>
                  <a:lnTo>
                    <a:pt x="1104" y="354"/>
                  </a:lnTo>
                  <a:lnTo>
                    <a:pt x="1120" y="371"/>
                  </a:lnTo>
                  <a:lnTo>
                    <a:pt x="1120" y="387"/>
                  </a:lnTo>
                  <a:lnTo>
                    <a:pt x="1137" y="387"/>
                  </a:lnTo>
                  <a:lnTo>
                    <a:pt x="1137" y="404"/>
                  </a:lnTo>
                  <a:lnTo>
                    <a:pt x="1153" y="399"/>
                  </a:lnTo>
                  <a:lnTo>
                    <a:pt x="1170" y="411"/>
                  </a:lnTo>
                  <a:lnTo>
                    <a:pt x="1207" y="420"/>
                  </a:lnTo>
                  <a:lnTo>
                    <a:pt x="1186" y="427"/>
                  </a:lnTo>
                  <a:lnTo>
                    <a:pt x="1170" y="444"/>
                  </a:lnTo>
                  <a:lnTo>
                    <a:pt x="1153" y="437"/>
                  </a:lnTo>
                  <a:lnTo>
                    <a:pt x="1153" y="456"/>
                  </a:lnTo>
                  <a:lnTo>
                    <a:pt x="1137" y="456"/>
                  </a:lnTo>
                  <a:lnTo>
                    <a:pt x="1132" y="460"/>
                  </a:lnTo>
                  <a:lnTo>
                    <a:pt x="1132" y="465"/>
                  </a:lnTo>
                  <a:lnTo>
                    <a:pt x="1104" y="477"/>
                  </a:lnTo>
                  <a:lnTo>
                    <a:pt x="1082" y="460"/>
                  </a:lnTo>
                  <a:lnTo>
                    <a:pt x="1049" y="465"/>
                  </a:lnTo>
                  <a:lnTo>
                    <a:pt x="1028" y="465"/>
                  </a:lnTo>
                  <a:lnTo>
                    <a:pt x="1011" y="456"/>
                  </a:lnTo>
                  <a:lnTo>
                    <a:pt x="1011" y="456"/>
                  </a:lnTo>
                  <a:lnTo>
                    <a:pt x="1044" y="427"/>
                  </a:lnTo>
                  <a:lnTo>
                    <a:pt x="1011" y="399"/>
                  </a:lnTo>
                  <a:lnTo>
                    <a:pt x="1007" y="411"/>
                  </a:lnTo>
                  <a:lnTo>
                    <a:pt x="969" y="437"/>
                  </a:lnTo>
                  <a:lnTo>
                    <a:pt x="943" y="420"/>
                  </a:lnTo>
                  <a:lnTo>
                    <a:pt x="943" y="420"/>
                  </a:lnTo>
                  <a:lnTo>
                    <a:pt x="936" y="444"/>
                  </a:lnTo>
                  <a:lnTo>
                    <a:pt x="936" y="465"/>
                  </a:lnTo>
                  <a:lnTo>
                    <a:pt x="889" y="477"/>
                  </a:lnTo>
                  <a:lnTo>
                    <a:pt x="915" y="477"/>
                  </a:lnTo>
                  <a:lnTo>
                    <a:pt x="898" y="482"/>
                  </a:lnTo>
                  <a:lnTo>
                    <a:pt x="905" y="498"/>
                  </a:lnTo>
                  <a:lnTo>
                    <a:pt x="889" y="498"/>
                  </a:lnTo>
                  <a:lnTo>
                    <a:pt x="889" y="498"/>
                  </a:lnTo>
                  <a:lnTo>
                    <a:pt x="889" y="49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4" name="Freeform 586">
              <a:extLst>
                <a:ext uri="{FF2B5EF4-FFF2-40B4-BE49-F238E27FC236}">
                  <a16:creationId xmlns:a16="http://schemas.microsoft.com/office/drawing/2014/main" id="{D301722F-3DF0-4CA4-991B-30AE2741E3D0}"/>
                </a:ext>
              </a:extLst>
            </p:cNvPr>
            <p:cNvSpPr>
              <a:spLocks/>
            </p:cNvSpPr>
            <p:nvPr/>
          </p:nvSpPr>
          <p:spPr bwMode="gray">
            <a:xfrm>
              <a:off x="12338099" y="3797583"/>
              <a:ext cx="655" cy="6873"/>
            </a:xfrm>
            <a:custGeom>
              <a:avLst/>
              <a:gdLst>
                <a:gd name="T0" fmla="*/ 2 w 2"/>
                <a:gd name="T1" fmla="*/ 21 h 21"/>
                <a:gd name="T2" fmla="*/ 0 w 2"/>
                <a:gd name="T3" fmla="*/ 14 h 21"/>
                <a:gd name="T4" fmla="*/ 2 w 2"/>
                <a:gd name="T5" fmla="*/ 0 h 21"/>
                <a:gd name="T6" fmla="*/ 2 w 2"/>
                <a:gd name="T7" fmla="*/ 5 h 21"/>
                <a:gd name="T8" fmla="*/ 2 w 2"/>
                <a:gd name="T9" fmla="*/ 21 h 21"/>
                <a:gd name="T10" fmla="*/ 2 w 2"/>
                <a:gd name="T11" fmla="*/ 21 h 21"/>
                <a:gd name="T12" fmla="*/ 2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2" y="21"/>
                  </a:moveTo>
                  <a:lnTo>
                    <a:pt x="0" y="14"/>
                  </a:lnTo>
                  <a:lnTo>
                    <a:pt x="2" y="0"/>
                  </a:lnTo>
                  <a:lnTo>
                    <a:pt x="2" y="5"/>
                  </a:lnTo>
                  <a:lnTo>
                    <a:pt x="2" y="21"/>
                  </a:lnTo>
                  <a:lnTo>
                    <a:pt x="2" y="21"/>
                  </a:lnTo>
                  <a:lnTo>
                    <a:pt x="2" y="2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5" name="Freeform 587">
              <a:extLst>
                <a:ext uri="{FF2B5EF4-FFF2-40B4-BE49-F238E27FC236}">
                  <a16:creationId xmlns:a16="http://schemas.microsoft.com/office/drawing/2014/main" id="{E073A62F-D116-43B9-8166-792F8B5E765F}"/>
                </a:ext>
              </a:extLst>
            </p:cNvPr>
            <p:cNvSpPr>
              <a:spLocks noEditPoints="1"/>
            </p:cNvSpPr>
            <p:nvPr/>
          </p:nvSpPr>
          <p:spPr bwMode="gray">
            <a:xfrm>
              <a:off x="12061206" y="3823767"/>
              <a:ext cx="308641" cy="276893"/>
            </a:xfrm>
            <a:custGeom>
              <a:avLst/>
              <a:gdLst>
                <a:gd name="T0" fmla="*/ 900 w 943"/>
                <a:gd name="T1" fmla="*/ 324 h 846"/>
                <a:gd name="T2" fmla="*/ 905 w 943"/>
                <a:gd name="T3" fmla="*/ 366 h 846"/>
                <a:gd name="T4" fmla="*/ 851 w 943"/>
                <a:gd name="T5" fmla="*/ 439 h 846"/>
                <a:gd name="T6" fmla="*/ 879 w 943"/>
                <a:gd name="T7" fmla="*/ 550 h 846"/>
                <a:gd name="T8" fmla="*/ 813 w 943"/>
                <a:gd name="T9" fmla="*/ 584 h 846"/>
                <a:gd name="T10" fmla="*/ 744 w 943"/>
                <a:gd name="T11" fmla="*/ 600 h 846"/>
                <a:gd name="T12" fmla="*/ 669 w 943"/>
                <a:gd name="T13" fmla="*/ 607 h 846"/>
                <a:gd name="T14" fmla="*/ 610 w 943"/>
                <a:gd name="T15" fmla="*/ 600 h 846"/>
                <a:gd name="T16" fmla="*/ 702 w 943"/>
                <a:gd name="T17" fmla="*/ 718 h 846"/>
                <a:gd name="T18" fmla="*/ 631 w 943"/>
                <a:gd name="T19" fmla="*/ 780 h 846"/>
                <a:gd name="T20" fmla="*/ 560 w 943"/>
                <a:gd name="T21" fmla="*/ 824 h 846"/>
                <a:gd name="T22" fmla="*/ 527 w 943"/>
                <a:gd name="T23" fmla="*/ 824 h 846"/>
                <a:gd name="T24" fmla="*/ 430 w 943"/>
                <a:gd name="T25" fmla="*/ 718 h 846"/>
                <a:gd name="T26" fmla="*/ 400 w 943"/>
                <a:gd name="T27" fmla="*/ 612 h 846"/>
                <a:gd name="T28" fmla="*/ 414 w 943"/>
                <a:gd name="T29" fmla="*/ 456 h 846"/>
                <a:gd name="T30" fmla="*/ 296 w 943"/>
                <a:gd name="T31" fmla="*/ 439 h 846"/>
                <a:gd name="T32" fmla="*/ 215 w 943"/>
                <a:gd name="T33" fmla="*/ 385 h 846"/>
                <a:gd name="T34" fmla="*/ 81 w 943"/>
                <a:gd name="T35" fmla="*/ 362 h 846"/>
                <a:gd name="T36" fmla="*/ 43 w 943"/>
                <a:gd name="T37" fmla="*/ 267 h 846"/>
                <a:gd name="T38" fmla="*/ 22 w 943"/>
                <a:gd name="T39" fmla="*/ 184 h 846"/>
                <a:gd name="T40" fmla="*/ 144 w 943"/>
                <a:gd name="T41" fmla="*/ 28 h 846"/>
                <a:gd name="T42" fmla="*/ 81 w 943"/>
                <a:gd name="T43" fmla="*/ 177 h 846"/>
                <a:gd name="T44" fmla="*/ 161 w 943"/>
                <a:gd name="T45" fmla="*/ 213 h 846"/>
                <a:gd name="T46" fmla="*/ 199 w 943"/>
                <a:gd name="T47" fmla="*/ 73 h 846"/>
                <a:gd name="T48" fmla="*/ 241 w 943"/>
                <a:gd name="T49" fmla="*/ 45 h 846"/>
                <a:gd name="T50" fmla="*/ 241 w 943"/>
                <a:gd name="T51" fmla="*/ 12 h 846"/>
                <a:gd name="T52" fmla="*/ 362 w 943"/>
                <a:gd name="T53" fmla="*/ 99 h 846"/>
                <a:gd name="T54" fmla="*/ 506 w 943"/>
                <a:gd name="T55" fmla="*/ 123 h 846"/>
                <a:gd name="T56" fmla="*/ 636 w 943"/>
                <a:gd name="T57" fmla="*/ 128 h 846"/>
                <a:gd name="T58" fmla="*/ 685 w 943"/>
                <a:gd name="T59" fmla="*/ 123 h 846"/>
                <a:gd name="T60" fmla="*/ 770 w 943"/>
                <a:gd name="T61" fmla="*/ 128 h 846"/>
                <a:gd name="T62" fmla="*/ 723 w 943"/>
                <a:gd name="T63" fmla="*/ 139 h 846"/>
                <a:gd name="T64" fmla="*/ 754 w 943"/>
                <a:gd name="T65" fmla="*/ 156 h 846"/>
                <a:gd name="T66" fmla="*/ 770 w 943"/>
                <a:gd name="T67" fmla="*/ 184 h 846"/>
                <a:gd name="T68" fmla="*/ 792 w 943"/>
                <a:gd name="T69" fmla="*/ 177 h 846"/>
                <a:gd name="T70" fmla="*/ 808 w 943"/>
                <a:gd name="T71" fmla="*/ 177 h 846"/>
                <a:gd name="T72" fmla="*/ 879 w 943"/>
                <a:gd name="T73" fmla="*/ 213 h 846"/>
                <a:gd name="T74" fmla="*/ 851 w 943"/>
                <a:gd name="T75" fmla="*/ 267 h 846"/>
                <a:gd name="T76" fmla="*/ 863 w 943"/>
                <a:gd name="T77" fmla="*/ 279 h 846"/>
                <a:gd name="T78" fmla="*/ 938 w 943"/>
                <a:gd name="T79" fmla="*/ 272 h 846"/>
                <a:gd name="T80" fmla="*/ 506 w 943"/>
                <a:gd name="T81" fmla="*/ 33 h 846"/>
                <a:gd name="T82" fmla="*/ 648 w 943"/>
                <a:gd name="T83" fmla="*/ 99 h 846"/>
                <a:gd name="T84" fmla="*/ 664 w 943"/>
                <a:gd name="T85" fmla="*/ 83 h 846"/>
                <a:gd name="T86" fmla="*/ 565 w 943"/>
                <a:gd name="T87" fmla="*/ 99 h 846"/>
                <a:gd name="T88" fmla="*/ 565 w 943"/>
                <a:gd name="T89" fmla="*/ 99 h 846"/>
                <a:gd name="T90" fmla="*/ 879 w 943"/>
                <a:gd name="T91" fmla="*/ 234 h 846"/>
                <a:gd name="T92" fmla="*/ 867 w 943"/>
                <a:gd name="T93" fmla="*/ 250 h 846"/>
                <a:gd name="T94" fmla="*/ 879 w 943"/>
                <a:gd name="T95" fmla="*/ 250 h 846"/>
                <a:gd name="T96" fmla="*/ 867 w 943"/>
                <a:gd name="T97" fmla="*/ 267 h 846"/>
                <a:gd name="T98" fmla="*/ 867 w 943"/>
                <a:gd name="T99" fmla="*/ 267 h 846"/>
                <a:gd name="T100" fmla="*/ 863 w 943"/>
                <a:gd name="T101" fmla="*/ 267 h 846"/>
                <a:gd name="T102" fmla="*/ 851 w 943"/>
                <a:gd name="T103" fmla="*/ 272 h 846"/>
                <a:gd name="T104" fmla="*/ 867 w 943"/>
                <a:gd name="T105" fmla="*/ 267 h 846"/>
                <a:gd name="T106" fmla="*/ 825 w 943"/>
                <a:gd name="T107" fmla="*/ 272 h 846"/>
                <a:gd name="T108" fmla="*/ 846 w 943"/>
                <a:gd name="T109" fmla="*/ 272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3" h="846">
                  <a:moveTo>
                    <a:pt x="938" y="272"/>
                  </a:moveTo>
                  <a:lnTo>
                    <a:pt x="943" y="295"/>
                  </a:lnTo>
                  <a:lnTo>
                    <a:pt x="938" y="295"/>
                  </a:lnTo>
                  <a:lnTo>
                    <a:pt x="933" y="307"/>
                  </a:lnTo>
                  <a:lnTo>
                    <a:pt x="900" y="324"/>
                  </a:lnTo>
                  <a:lnTo>
                    <a:pt x="884" y="345"/>
                  </a:lnTo>
                  <a:lnTo>
                    <a:pt x="889" y="362"/>
                  </a:lnTo>
                  <a:lnTo>
                    <a:pt x="889" y="366"/>
                  </a:lnTo>
                  <a:lnTo>
                    <a:pt x="900" y="378"/>
                  </a:lnTo>
                  <a:lnTo>
                    <a:pt x="905" y="366"/>
                  </a:lnTo>
                  <a:lnTo>
                    <a:pt x="917" y="378"/>
                  </a:lnTo>
                  <a:lnTo>
                    <a:pt x="884" y="402"/>
                  </a:lnTo>
                  <a:lnTo>
                    <a:pt x="851" y="402"/>
                  </a:lnTo>
                  <a:lnTo>
                    <a:pt x="851" y="418"/>
                  </a:lnTo>
                  <a:lnTo>
                    <a:pt x="851" y="439"/>
                  </a:lnTo>
                  <a:lnTo>
                    <a:pt x="837" y="463"/>
                  </a:lnTo>
                  <a:lnTo>
                    <a:pt x="884" y="513"/>
                  </a:lnTo>
                  <a:lnTo>
                    <a:pt x="889" y="517"/>
                  </a:lnTo>
                  <a:lnTo>
                    <a:pt x="889" y="534"/>
                  </a:lnTo>
                  <a:lnTo>
                    <a:pt x="879" y="550"/>
                  </a:lnTo>
                  <a:lnTo>
                    <a:pt x="867" y="558"/>
                  </a:lnTo>
                  <a:lnTo>
                    <a:pt x="846" y="567"/>
                  </a:lnTo>
                  <a:lnTo>
                    <a:pt x="830" y="574"/>
                  </a:lnTo>
                  <a:lnTo>
                    <a:pt x="825" y="584"/>
                  </a:lnTo>
                  <a:lnTo>
                    <a:pt x="813" y="584"/>
                  </a:lnTo>
                  <a:lnTo>
                    <a:pt x="808" y="591"/>
                  </a:lnTo>
                  <a:lnTo>
                    <a:pt x="782" y="591"/>
                  </a:lnTo>
                  <a:lnTo>
                    <a:pt x="761" y="591"/>
                  </a:lnTo>
                  <a:lnTo>
                    <a:pt x="754" y="600"/>
                  </a:lnTo>
                  <a:lnTo>
                    <a:pt x="744" y="600"/>
                  </a:lnTo>
                  <a:lnTo>
                    <a:pt x="744" y="624"/>
                  </a:lnTo>
                  <a:lnTo>
                    <a:pt x="728" y="628"/>
                  </a:lnTo>
                  <a:lnTo>
                    <a:pt x="702" y="607"/>
                  </a:lnTo>
                  <a:lnTo>
                    <a:pt x="690" y="612"/>
                  </a:lnTo>
                  <a:lnTo>
                    <a:pt x="669" y="607"/>
                  </a:lnTo>
                  <a:lnTo>
                    <a:pt x="652" y="607"/>
                  </a:lnTo>
                  <a:lnTo>
                    <a:pt x="648" y="591"/>
                  </a:lnTo>
                  <a:lnTo>
                    <a:pt x="615" y="591"/>
                  </a:lnTo>
                  <a:lnTo>
                    <a:pt x="598" y="584"/>
                  </a:lnTo>
                  <a:lnTo>
                    <a:pt x="610" y="600"/>
                  </a:lnTo>
                  <a:lnTo>
                    <a:pt x="636" y="628"/>
                  </a:lnTo>
                  <a:lnTo>
                    <a:pt x="636" y="662"/>
                  </a:lnTo>
                  <a:lnTo>
                    <a:pt x="652" y="695"/>
                  </a:lnTo>
                  <a:lnTo>
                    <a:pt x="652" y="711"/>
                  </a:lnTo>
                  <a:lnTo>
                    <a:pt x="702" y="718"/>
                  </a:lnTo>
                  <a:lnTo>
                    <a:pt x="702" y="735"/>
                  </a:lnTo>
                  <a:lnTo>
                    <a:pt x="652" y="751"/>
                  </a:lnTo>
                  <a:lnTo>
                    <a:pt x="648" y="773"/>
                  </a:lnTo>
                  <a:lnTo>
                    <a:pt x="636" y="780"/>
                  </a:lnTo>
                  <a:lnTo>
                    <a:pt x="631" y="780"/>
                  </a:lnTo>
                  <a:lnTo>
                    <a:pt x="610" y="796"/>
                  </a:lnTo>
                  <a:lnTo>
                    <a:pt x="598" y="796"/>
                  </a:lnTo>
                  <a:lnTo>
                    <a:pt x="577" y="806"/>
                  </a:lnTo>
                  <a:lnTo>
                    <a:pt x="565" y="824"/>
                  </a:lnTo>
                  <a:lnTo>
                    <a:pt x="560" y="824"/>
                  </a:lnTo>
                  <a:lnTo>
                    <a:pt x="544" y="846"/>
                  </a:lnTo>
                  <a:lnTo>
                    <a:pt x="544" y="841"/>
                  </a:lnTo>
                  <a:lnTo>
                    <a:pt x="544" y="824"/>
                  </a:lnTo>
                  <a:lnTo>
                    <a:pt x="544" y="824"/>
                  </a:lnTo>
                  <a:lnTo>
                    <a:pt x="527" y="824"/>
                  </a:lnTo>
                  <a:lnTo>
                    <a:pt x="506" y="841"/>
                  </a:lnTo>
                  <a:lnTo>
                    <a:pt x="489" y="841"/>
                  </a:lnTo>
                  <a:lnTo>
                    <a:pt x="452" y="806"/>
                  </a:lnTo>
                  <a:lnTo>
                    <a:pt x="430" y="723"/>
                  </a:lnTo>
                  <a:lnTo>
                    <a:pt x="430" y="718"/>
                  </a:lnTo>
                  <a:lnTo>
                    <a:pt x="400" y="685"/>
                  </a:lnTo>
                  <a:lnTo>
                    <a:pt x="383" y="685"/>
                  </a:lnTo>
                  <a:lnTo>
                    <a:pt x="421" y="645"/>
                  </a:lnTo>
                  <a:lnTo>
                    <a:pt x="404" y="624"/>
                  </a:lnTo>
                  <a:lnTo>
                    <a:pt x="400" y="612"/>
                  </a:lnTo>
                  <a:lnTo>
                    <a:pt x="383" y="558"/>
                  </a:lnTo>
                  <a:lnTo>
                    <a:pt x="383" y="501"/>
                  </a:lnTo>
                  <a:lnTo>
                    <a:pt x="400" y="489"/>
                  </a:lnTo>
                  <a:lnTo>
                    <a:pt x="400" y="473"/>
                  </a:lnTo>
                  <a:lnTo>
                    <a:pt x="414" y="456"/>
                  </a:lnTo>
                  <a:lnTo>
                    <a:pt x="414" y="439"/>
                  </a:lnTo>
                  <a:lnTo>
                    <a:pt x="383" y="435"/>
                  </a:lnTo>
                  <a:lnTo>
                    <a:pt x="378" y="439"/>
                  </a:lnTo>
                  <a:lnTo>
                    <a:pt x="329" y="444"/>
                  </a:lnTo>
                  <a:lnTo>
                    <a:pt x="296" y="439"/>
                  </a:lnTo>
                  <a:lnTo>
                    <a:pt x="291" y="444"/>
                  </a:lnTo>
                  <a:lnTo>
                    <a:pt x="279" y="444"/>
                  </a:lnTo>
                  <a:lnTo>
                    <a:pt x="274" y="444"/>
                  </a:lnTo>
                  <a:lnTo>
                    <a:pt x="227" y="385"/>
                  </a:lnTo>
                  <a:lnTo>
                    <a:pt x="215" y="385"/>
                  </a:lnTo>
                  <a:lnTo>
                    <a:pt x="182" y="378"/>
                  </a:lnTo>
                  <a:lnTo>
                    <a:pt x="152" y="385"/>
                  </a:lnTo>
                  <a:lnTo>
                    <a:pt x="119" y="378"/>
                  </a:lnTo>
                  <a:lnTo>
                    <a:pt x="90" y="385"/>
                  </a:lnTo>
                  <a:lnTo>
                    <a:pt x="81" y="362"/>
                  </a:lnTo>
                  <a:lnTo>
                    <a:pt x="59" y="345"/>
                  </a:lnTo>
                  <a:lnTo>
                    <a:pt x="59" y="312"/>
                  </a:lnTo>
                  <a:lnTo>
                    <a:pt x="64" y="307"/>
                  </a:lnTo>
                  <a:lnTo>
                    <a:pt x="64" y="279"/>
                  </a:lnTo>
                  <a:lnTo>
                    <a:pt x="43" y="267"/>
                  </a:lnTo>
                  <a:lnTo>
                    <a:pt x="38" y="234"/>
                  </a:lnTo>
                  <a:lnTo>
                    <a:pt x="26" y="222"/>
                  </a:lnTo>
                  <a:lnTo>
                    <a:pt x="22" y="217"/>
                  </a:lnTo>
                  <a:lnTo>
                    <a:pt x="0" y="222"/>
                  </a:lnTo>
                  <a:lnTo>
                    <a:pt x="22" y="184"/>
                  </a:lnTo>
                  <a:lnTo>
                    <a:pt x="26" y="128"/>
                  </a:lnTo>
                  <a:lnTo>
                    <a:pt x="59" y="83"/>
                  </a:lnTo>
                  <a:lnTo>
                    <a:pt x="81" y="73"/>
                  </a:lnTo>
                  <a:lnTo>
                    <a:pt x="97" y="45"/>
                  </a:lnTo>
                  <a:lnTo>
                    <a:pt x="144" y="28"/>
                  </a:lnTo>
                  <a:lnTo>
                    <a:pt x="135" y="33"/>
                  </a:lnTo>
                  <a:lnTo>
                    <a:pt x="97" y="50"/>
                  </a:lnTo>
                  <a:lnTo>
                    <a:pt x="119" y="111"/>
                  </a:lnTo>
                  <a:lnTo>
                    <a:pt x="119" y="128"/>
                  </a:lnTo>
                  <a:lnTo>
                    <a:pt x="81" y="177"/>
                  </a:lnTo>
                  <a:lnTo>
                    <a:pt x="114" y="213"/>
                  </a:lnTo>
                  <a:lnTo>
                    <a:pt x="114" y="222"/>
                  </a:lnTo>
                  <a:lnTo>
                    <a:pt x="119" y="234"/>
                  </a:lnTo>
                  <a:lnTo>
                    <a:pt x="144" y="222"/>
                  </a:lnTo>
                  <a:lnTo>
                    <a:pt x="161" y="213"/>
                  </a:lnTo>
                  <a:lnTo>
                    <a:pt x="161" y="177"/>
                  </a:lnTo>
                  <a:lnTo>
                    <a:pt x="128" y="123"/>
                  </a:lnTo>
                  <a:lnTo>
                    <a:pt x="128" y="106"/>
                  </a:lnTo>
                  <a:lnTo>
                    <a:pt x="128" y="99"/>
                  </a:lnTo>
                  <a:lnTo>
                    <a:pt x="199" y="73"/>
                  </a:lnTo>
                  <a:lnTo>
                    <a:pt x="227" y="57"/>
                  </a:lnTo>
                  <a:lnTo>
                    <a:pt x="227" y="50"/>
                  </a:lnTo>
                  <a:lnTo>
                    <a:pt x="241" y="57"/>
                  </a:lnTo>
                  <a:lnTo>
                    <a:pt x="253" y="57"/>
                  </a:lnTo>
                  <a:lnTo>
                    <a:pt x="241" y="45"/>
                  </a:lnTo>
                  <a:lnTo>
                    <a:pt x="215" y="45"/>
                  </a:lnTo>
                  <a:lnTo>
                    <a:pt x="215" y="28"/>
                  </a:lnTo>
                  <a:lnTo>
                    <a:pt x="220" y="12"/>
                  </a:lnTo>
                  <a:lnTo>
                    <a:pt x="237" y="0"/>
                  </a:lnTo>
                  <a:lnTo>
                    <a:pt x="241" y="12"/>
                  </a:lnTo>
                  <a:lnTo>
                    <a:pt x="258" y="57"/>
                  </a:lnTo>
                  <a:lnTo>
                    <a:pt x="279" y="50"/>
                  </a:lnTo>
                  <a:lnTo>
                    <a:pt x="312" y="57"/>
                  </a:lnTo>
                  <a:lnTo>
                    <a:pt x="345" y="83"/>
                  </a:lnTo>
                  <a:lnTo>
                    <a:pt x="362" y="99"/>
                  </a:lnTo>
                  <a:lnTo>
                    <a:pt x="350" y="106"/>
                  </a:lnTo>
                  <a:lnTo>
                    <a:pt x="350" y="123"/>
                  </a:lnTo>
                  <a:lnTo>
                    <a:pt x="367" y="128"/>
                  </a:lnTo>
                  <a:lnTo>
                    <a:pt x="501" y="123"/>
                  </a:lnTo>
                  <a:lnTo>
                    <a:pt x="506" y="123"/>
                  </a:lnTo>
                  <a:lnTo>
                    <a:pt x="506" y="128"/>
                  </a:lnTo>
                  <a:lnTo>
                    <a:pt x="527" y="144"/>
                  </a:lnTo>
                  <a:lnTo>
                    <a:pt x="577" y="161"/>
                  </a:lnTo>
                  <a:lnTo>
                    <a:pt x="598" y="161"/>
                  </a:lnTo>
                  <a:lnTo>
                    <a:pt x="636" y="128"/>
                  </a:lnTo>
                  <a:lnTo>
                    <a:pt x="674" y="128"/>
                  </a:lnTo>
                  <a:lnTo>
                    <a:pt x="652" y="123"/>
                  </a:lnTo>
                  <a:lnTo>
                    <a:pt x="636" y="128"/>
                  </a:lnTo>
                  <a:lnTo>
                    <a:pt x="636" y="111"/>
                  </a:lnTo>
                  <a:lnTo>
                    <a:pt x="685" y="123"/>
                  </a:lnTo>
                  <a:lnTo>
                    <a:pt x="716" y="111"/>
                  </a:lnTo>
                  <a:lnTo>
                    <a:pt x="799" y="111"/>
                  </a:lnTo>
                  <a:lnTo>
                    <a:pt x="799" y="111"/>
                  </a:lnTo>
                  <a:lnTo>
                    <a:pt x="778" y="123"/>
                  </a:lnTo>
                  <a:lnTo>
                    <a:pt x="770" y="128"/>
                  </a:lnTo>
                  <a:lnTo>
                    <a:pt x="728" y="128"/>
                  </a:lnTo>
                  <a:lnTo>
                    <a:pt x="723" y="128"/>
                  </a:lnTo>
                  <a:lnTo>
                    <a:pt x="740" y="128"/>
                  </a:lnTo>
                  <a:lnTo>
                    <a:pt x="740" y="139"/>
                  </a:lnTo>
                  <a:lnTo>
                    <a:pt x="723" y="139"/>
                  </a:lnTo>
                  <a:lnTo>
                    <a:pt x="723" y="144"/>
                  </a:lnTo>
                  <a:lnTo>
                    <a:pt x="728" y="144"/>
                  </a:lnTo>
                  <a:lnTo>
                    <a:pt x="728" y="139"/>
                  </a:lnTo>
                  <a:lnTo>
                    <a:pt x="740" y="139"/>
                  </a:lnTo>
                  <a:lnTo>
                    <a:pt x="754" y="156"/>
                  </a:lnTo>
                  <a:lnTo>
                    <a:pt x="723" y="161"/>
                  </a:lnTo>
                  <a:lnTo>
                    <a:pt x="740" y="161"/>
                  </a:lnTo>
                  <a:lnTo>
                    <a:pt x="754" y="161"/>
                  </a:lnTo>
                  <a:lnTo>
                    <a:pt x="754" y="144"/>
                  </a:lnTo>
                  <a:lnTo>
                    <a:pt x="770" y="184"/>
                  </a:lnTo>
                  <a:lnTo>
                    <a:pt x="778" y="168"/>
                  </a:lnTo>
                  <a:lnTo>
                    <a:pt x="778" y="168"/>
                  </a:lnTo>
                  <a:lnTo>
                    <a:pt x="778" y="194"/>
                  </a:lnTo>
                  <a:lnTo>
                    <a:pt x="782" y="177"/>
                  </a:lnTo>
                  <a:lnTo>
                    <a:pt x="792" y="177"/>
                  </a:lnTo>
                  <a:lnTo>
                    <a:pt x="778" y="168"/>
                  </a:lnTo>
                  <a:lnTo>
                    <a:pt x="782" y="161"/>
                  </a:lnTo>
                  <a:lnTo>
                    <a:pt x="799" y="168"/>
                  </a:lnTo>
                  <a:lnTo>
                    <a:pt x="813" y="194"/>
                  </a:lnTo>
                  <a:lnTo>
                    <a:pt x="808" y="177"/>
                  </a:lnTo>
                  <a:lnTo>
                    <a:pt x="825" y="177"/>
                  </a:lnTo>
                  <a:lnTo>
                    <a:pt x="825" y="168"/>
                  </a:lnTo>
                  <a:lnTo>
                    <a:pt x="846" y="194"/>
                  </a:lnTo>
                  <a:lnTo>
                    <a:pt x="863" y="194"/>
                  </a:lnTo>
                  <a:lnTo>
                    <a:pt x="879" y="213"/>
                  </a:lnTo>
                  <a:lnTo>
                    <a:pt x="879" y="217"/>
                  </a:lnTo>
                  <a:lnTo>
                    <a:pt x="863" y="234"/>
                  </a:lnTo>
                  <a:lnTo>
                    <a:pt x="863" y="234"/>
                  </a:lnTo>
                  <a:lnTo>
                    <a:pt x="867" y="222"/>
                  </a:lnTo>
                  <a:lnTo>
                    <a:pt x="851" y="267"/>
                  </a:lnTo>
                  <a:lnTo>
                    <a:pt x="825" y="267"/>
                  </a:lnTo>
                  <a:lnTo>
                    <a:pt x="825" y="272"/>
                  </a:lnTo>
                  <a:lnTo>
                    <a:pt x="837" y="279"/>
                  </a:lnTo>
                  <a:lnTo>
                    <a:pt x="863" y="272"/>
                  </a:lnTo>
                  <a:lnTo>
                    <a:pt x="863" y="279"/>
                  </a:lnTo>
                  <a:lnTo>
                    <a:pt x="867" y="267"/>
                  </a:lnTo>
                  <a:lnTo>
                    <a:pt x="900" y="272"/>
                  </a:lnTo>
                  <a:lnTo>
                    <a:pt x="905" y="267"/>
                  </a:lnTo>
                  <a:lnTo>
                    <a:pt x="917" y="267"/>
                  </a:lnTo>
                  <a:lnTo>
                    <a:pt x="938" y="272"/>
                  </a:lnTo>
                  <a:lnTo>
                    <a:pt x="938" y="272"/>
                  </a:lnTo>
                  <a:lnTo>
                    <a:pt x="938" y="272"/>
                  </a:lnTo>
                  <a:close/>
                  <a:moveTo>
                    <a:pt x="506" y="33"/>
                  </a:moveTo>
                  <a:lnTo>
                    <a:pt x="501" y="33"/>
                  </a:lnTo>
                  <a:lnTo>
                    <a:pt x="506" y="33"/>
                  </a:lnTo>
                  <a:lnTo>
                    <a:pt x="506" y="33"/>
                  </a:lnTo>
                  <a:lnTo>
                    <a:pt x="506" y="33"/>
                  </a:lnTo>
                  <a:lnTo>
                    <a:pt x="506" y="33"/>
                  </a:lnTo>
                  <a:close/>
                  <a:moveTo>
                    <a:pt x="652" y="106"/>
                  </a:moveTo>
                  <a:lnTo>
                    <a:pt x="648" y="99"/>
                  </a:lnTo>
                  <a:lnTo>
                    <a:pt x="631" y="99"/>
                  </a:lnTo>
                  <a:lnTo>
                    <a:pt x="631" y="90"/>
                  </a:lnTo>
                  <a:lnTo>
                    <a:pt x="636" y="83"/>
                  </a:lnTo>
                  <a:lnTo>
                    <a:pt x="652" y="90"/>
                  </a:lnTo>
                  <a:lnTo>
                    <a:pt x="664" y="83"/>
                  </a:lnTo>
                  <a:lnTo>
                    <a:pt x="669" y="90"/>
                  </a:lnTo>
                  <a:lnTo>
                    <a:pt x="652" y="106"/>
                  </a:lnTo>
                  <a:lnTo>
                    <a:pt x="652" y="106"/>
                  </a:lnTo>
                  <a:lnTo>
                    <a:pt x="652" y="106"/>
                  </a:lnTo>
                  <a:close/>
                  <a:moveTo>
                    <a:pt x="565" y="99"/>
                  </a:moveTo>
                  <a:lnTo>
                    <a:pt x="556" y="99"/>
                  </a:lnTo>
                  <a:lnTo>
                    <a:pt x="565" y="99"/>
                  </a:lnTo>
                  <a:lnTo>
                    <a:pt x="565" y="99"/>
                  </a:lnTo>
                  <a:lnTo>
                    <a:pt x="565" y="99"/>
                  </a:lnTo>
                  <a:lnTo>
                    <a:pt x="565" y="99"/>
                  </a:lnTo>
                  <a:close/>
                  <a:moveTo>
                    <a:pt x="879" y="234"/>
                  </a:moveTo>
                  <a:lnTo>
                    <a:pt x="867" y="234"/>
                  </a:lnTo>
                  <a:lnTo>
                    <a:pt x="879" y="222"/>
                  </a:lnTo>
                  <a:lnTo>
                    <a:pt x="879" y="234"/>
                  </a:lnTo>
                  <a:lnTo>
                    <a:pt x="879" y="234"/>
                  </a:lnTo>
                  <a:lnTo>
                    <a:pt x="879" y="234"/>
                  </a:lnTo>
                  <a:close/>
                  <a:moveTo>
                    <a:pt x="867" y="250"/>
                  </a:moveTo>
                  <a:lnTo>
                    <a:pt x="863" y="250"/>
                  </a:lnTo>
                  <a:lnTo>
                    <a:pt x="879" y="234"/>
                  </a:lnTo>
                  <a:lnTo>
                    <a:pt x="867" y="250"/>
                  </a:lnTo>
                  <a:lnTo>
                    <a:pt x="867" y="250"/>
                  </a:lnTo>
                  <a:lnTo>
                    <a:pt x="867" y="250"/>
                  </a:lnTo>
                  <a:close/>
                  <a:moveTo>
                    <a:pt x="851" y="255"/>
                  </a:moveTo>
                  <a:lnTo>
                    <a:pt x="863" y="250"/>
                  </a:lnTo>
                  <a:lnTo>
                    <a:pt x="879" y="250"/>
                  </a:lnTo>
                  <a:lnTo>
                    <a:pt x="867" y="255"/>
                  </a:lnTo>
                  <a:lnTo>
                    <a:pt x="851" y="255"/>
                  </a:lnTo>
                  <a:lnTo>
                    <a:pt x="851" y="255"/>
                  </a:lnTo>
                  <a:lnTo>
                    <a:pt x="851" y="255"/>
                  </a:lnTo>
                  <a:close/>
                  <a:moveTo>
                    <a:pt x="867" y="267"/>
                  </a:moveTo>
                  <a:lnTo>
                    <a:pt x="867" y="267"/>
                  </a:lnTo>
                  <a:lnTo>
                    <a:pt x="879" y="255"/>
                  </a:lnTo>
                  <a:lnTo>
                    <a:pt x="867" y="267"/>
                  </a:lnTo>
                  <a:lnTo>
                    <a:pt x="867" y="267"/>
                  </a:lnTo>
                  <a:lnTo>
                    <a:pt x="867" y="267"/>
                  </a:lnTo>
                  <a:close/>
                  <a:moveTo>
                    <a:pt x="863" y="267"/>
                  </a:moveTo>
                  <a:lnTo>
                    <a:pt x="851" y="267"/>
                  </a:lnTo>
                  <a:lnTo>
                    <a:pt x="867" y="255"/>
                  </a:lnTo>
                  <a:lnTo>
                    <a:pt x="863" y="267"/>
                  </a:lnTo>
                  <a:lnTo>
                    <a:pt x="863" y="267"/>
                  </a:lnTo>
                  <a:lnTo>
                    <a:pt x="863" y="267"/>
                  </a:lnTo>
                  <a:close/>
                  <a:moveTo>
                    <a:pt x="851" y="272"/>
                  </a:moveTo>
                  <a:lnTo>
                    <a:pt x="851" y="267"/>
                  </a:lnTo>
                  <a:lnTo>
                    <a:pt x="863" y="267"/>
                  </a:lnTo>
                  <a:lnTo>
                    <a:pt x="851" y="272"/>
                  </a:lnTo>
                  <a:lnTo>
                    <a:pt x="851" y="272"/>
                  </a:lnTo>
                  <a:lnTo>
                    <a:pt x="851" y="272"/>
                  </a:lnTo>
                  <a:close/>
                  <a:moveTo>
                    <a:pt x="851" y="272"/>
                  </a:moveTo>
                  <a:lnTo>
                    <a:pt x="846" y="272"/>
                  </a:lnTo>
                  <a:lnTo>
                    <a:pt x="867" y="267"/>
                  </a:lnTo>
                  <a:lnTo>
                    <a:pt x="851" y="272"/>
                  </a:lnTo>
                  <a:lnTo>
                    <a:pt x="851" y="272"/>
                  </a:lnTo>
                  <a:lnTo>
                    <a:pt x="851" y="272"/>
                  </a:lnTo>
                  <a:close/>
                  <a:moveTo>
                    <a:pt x="846" y="272"/>
                  </a:moveTo>
                  <a:lnTo>
                    <a:pt x="825" y="272"/>
                  </a:lnTo>
                  <a:lnTo>
                    <a:pt x="846" y="272"/>
                  </a:lnTo>
                  <a:lnTo>
                    <a:pt x="851" y="272"/>
                  </a:lnTo>
                  <a:lnTo>
                    <a:pt x="846" y="272"/>
                  </a:lnTo>
                  <a:lnTo>
                    <a:pt x="846" y="272"/>
                  </a:lnTo>
                  <a:lnTo>
                    <a:pt x="846" y="27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6" name="Freeform 588">
              <a:extLst>
                <a:ext uri="{FF2B5EF4-FFF2-40B4-BE49-F238E27FC236}">
                  <a16:creationId xmlns:a16="http://schemas.microsoft.com/office/drawing/2014/main" id="{3C948BCA-A8AF-427B-BDE4-3E9FED90A1F1}"/>
                </a:ext>
              </a:extLst>
            </p:cNvPr>
            <p:cNvSpPr>
              <a:spLocks noEditPoints="1"/>
            </p:cNvSpPr>
            <p:nvPr/>
          </p:nvSpPr>
          <p:spPr bwMode="gray">
            <a:xfrm>
              <a:off x="16089246" y="3555383"/>
              <a:ext cx="168558" cy="355772"/>
            </a:xfrm>
            <a:custGeom>
              <a:avLst/>
              <a:gdLst>
                <a:gd name="T0" fmla="*/ 374 w 515"/>
                <a:gd name="T1" fmla="*/ 615 h 1087"/>
                <a:gd name="T2" fmla="*/ 364 w 515"/>
                <a:gd name="T3" fmla="*/ 556 h 1087"/>
                <a:gd name="T4" fmla="*/ 340 w 515"/>
                <a:gd name="T5" fmla="*/ 522 h 1087"/>
                <a:gd name="T6" fmla="*/ 310 w 515"/>
                <a:gd name="T7" fmla="*/ 499 h 1087"/>
                <a:gd name="T8" fmla="*/ 248 w 515"/>
                <a:gd name="T9" fmla="*/ 421 h 1087"/>
                <a:gd name="T10" fmla="*/ 211 w 515"/>
                <a:gd name="T11" fmla="*/ 367 h 1087"/>
                <a:gd name="T12" fmla="*/ 118 w 515"/>
                <a:gd name="T13" fmla="*/ 300 h 1087"/>
                <a:gd name="T14" fmla="*/ 185 w 515"/>
                <a:gd name="T15" fmla="*/ 260 h 1087"/>
                <a:gd name="T16" fmla="*/ 173 w 515"/>
                <a:gd name="T17" fmla="*/ 211 h 1087"/>
                <a:gd name="T18" fmla="*/ 118 w 515"/>
                <a:gd name="T19" fmla="*/ 182 h 1087"/>
                <a:gd name="T20" fmla="*/ 55 w 515"/>
                <a:gd name="T21" fmla="*/ 116 h 1087"/>
                <a:gd name="T22" fmla="*/ 22 w 515"/>
                <a:gd name="T23" fmla="*/ 41 h 1087"/>
                <a:gd name="T24" fmla="*/ 102 w 515"/>
                <a:gd name="T25" fmla="*/ 41 h 1087"/>
                <a:gd name="T26" fmla="*/ 147 w 515"/>
                <a:gd name="T27" fmla="*/ 41 h 1087"/>
                <a:gd name="T28" fmla="*/ 194 w 515"/>
                <a:gd name="T29" fmla="*/ 5 h 1087"/>
                <a:gd name="T30" fmla="*/ 281 w 515"/>
                <a:gd name="T31" fmla="*/ 22 h 1087"/>
                <a:gd name="T32" fmla="*/ 326 w 515"/>
                <a:gd name="T33" fmla="*/ 41 h 1087"/>
                <a:gd name="T34" fmla="*/ 340 w 515"/>
                <a:gd name="T35" fmla="*/ 100 h 1087"/>
                <a:gd name="T36" fmla="*/ 395 w 515"/>
                <a:gd name="T37" fmla="*/ 128 h 1087"/>
                <a:gd name="T38" fmla="*/ 395 w 515"/>
                <a:gd name="T39" fmla="*/ 133 h 1087"/>
                <a:gd name="T40" fmla="*/ 348 w 515"/>
                <a:gd name="T41" fmla="*/ 182 h 1087"/>
                <a:gd name="T42" fmla="*/ 336 w 515"/>
                <a:gd name="T43" fmla="*/ 173 h 1087"/>
                <a:gd name="T44" fmla="*/ 310 w 515"/>
                <a:gd name="T45" fmla="*/ 173 h 1087"/>
                <a:gd name="T46" fmla="*/ 310 w 515"/>
                <a:gd name="T47" fmla="*/ 201 h 1087"/>
                <a:gd name="T48" fmla="*/ 265 w 515"/>
                <a:gd name="T49" fmla="*/ 256 h 1087"/>
                <a:gd name="T50" fmla="*/ 265 w 515"/>
                <a:gd name="T51" fmla="*/ 367 h 1087"/>
                <a:gd name="T52" fmla="*/ 348 w 515"/>
                <a:gd name="T53" fmla="*/ 466 h 1087"/>
                <a:gd name="T54" fmla="*/ 390 w 515"/>
                <a:gd name="T55" fmla="*/ 504 h 1087"/>
                <a:gd name="T56" fmla="*/ 418 w 515"/>
                <a:gd name="T57" fmla="*/ 539 h 1087"/>
                <a:gd name="T58" fmla="*/ 428 w 515"/>
                <a:gd name="T59" fmla="*/ 539 h 1087"/>
                <a:gd name="T60" fmla="*/ 503 w 515"/>
                <a:gd name="T61" fmla="*/ 704 h 1087"/>
                <a:gd name="T62" fmla="*/ 499 w 515"/>
                <a:gd name="T63" fmla="*/ 737 h 1087"/>
                <a:gd name="T64" fmla="*/ 487 w 515"/>
                <a:gd name="T65" fmla="*/ 808 h 1087"/>
                <a:gd name="T66" fmla="*/ 487 w 515"/>
                <a:gd name="T67" fmla="*/ 848 h 1087"/>
                <a:gd name="T68" fmla="*/ 482 w 515"/>
                <a:gd name="T69" fmla="*/ 886 h 1087"/>
                <a:gd name="T70" fmla="*/ 395 w 515"/>
                <a:gd name="T71" fmla="*/ 931 h 1087"/>
                <a:gd name="T72" fmla="*/ 336 w 515"/>
                <a:gd name="T73" fmla="*/ 948 h 1087"/>
                <a:gd name="T74" fmla="*/ 310 w 515"/>
                <a:gd name="T75" fmla="*/ 948 h 1087"/>
                <a:gd name="T76" fmla="*/ 326 w 515"/>
                <a:gd name="T77" fmla="*/ 976 h 1087"/>
                <a:gd name="T78" fmla="*/ 319 w 515"/>
                <a:gd name="T79" fmla="*/ 988 h 1087"/>
                <a:gd name="T80" fmla="*/ 310 w 515"/>
                <a:gd name="T81" fmla="*/ 1014 h 1087"/>
                <a:gd name="T82" fmla="*/ 281 w 515"/>
                <a:gd name="T83" fmla="*/ 1030 h 1087"/>
                <a:gd name="T84" fmla="*/ 180 w 515"/>
                <a:gd name="T85" fmla="*/ 1087 h 1087"/>
                <a:gd name="T86" fmla="*/ 201 w 515"/>
                <a:gd name="T87" fmla="*/ 988 h 1087"/>
                <a:gd name="T88" fmla="*/ 173 w 515"/>
                <a:gd name="T89" fmla="*/ 976 h 1087"/>
                <a:gd name="T90" fmla="*/ 201 w 515"/>
                <a:gd name="T91" fmla="*/ 931 h 1087"/>
                <a:gd name="T92" fmla="*/ 234 w 515"/>
                <a:gd name="T93" fmla="*/ 919 h 1087"/>
                <a:gd name="T94" fmla="*/ 255 w 515"/>
                <a:gd name="T95" fmla="*/ 893 h 1087"/>
                <a:gd name="T96" fmla="*/ 303 w 515"/>
                <a:gd name="T97" fmla="*/ 865 h 1087"/>
                <a:gd name="T98" fmla="*/ 364 w 515"/>
                <a:gd name="T99" fmla="*/ 815 h 1087"/>
                <a:gd name="T100" fmla="*/ 374 w 515"/>
                <a:gd name="T101" fmla="*/ 766 h 1087"/>
                <a:gd name="T102" fmla="*/ 374 w 515"/>
                <a:gd name="T103" fmla="*/ 700 h 1087"/>
                <a:gd name="T104" fmla="*/ 364 w 515"/>
                <a:gd name="T105" fmla="*/ 166 h 1087"/>
                <a:gd name="T106" fmla="*/ 378 w 515"/>
                <a:gd name="T107" fmla="*/ 173 h 1087"/>
                <a:gd name="T108" fmla="*/ 378 w 515"/>
                <a:gd name="T109" fmla="*/ 173 h 1087"/>
                <a:gd name="T110" fmla="*/ 336 w 515"/>
                <a:gd name="T111" fmla="*/ 189 h 1087"/>
                <a:gd name="T112" fmla="*/ 336 w 515"/>
                <a:gd name="T113" fmla="*/ 182 h 1087"/>
                <a:gd name="T114" fmla="*/ 336 w 515"/>
                <a:gd name="T115" fmla="*/ 182 h 1087"/>
                <a:gd name="T116" fmla="*/ 326 w 515"/>
                <a:gd name="T117" fmla="*/ 959 h 1087"/>
                <a:gd name="T118" fmla="*/ 326 w 515"/>
                <a:gd name="T119" fmla="*/ 931 h 1087"/>
                <a:gd name="T120" fmla="*/ 336 w 515"/>
                <a:gd name="T121" fmla="*/ 948 h 1087"/>
                <a:gd name="T122" fmla="*/ 130 w 515"/>
                <a:gd name="T123" fmla="*/ 959 h 1087"/>
                <a:gd name="T124" fmla="*/ 130 w 515"/>
                <a:gd name="T125" fmla="*/ 948 h 1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5" h="1087">
                  <a:moveTo>
                    <a:pt x="374" y="700"/>
                  </a:moveTo>
                  <a:lnTo>
                    <a:pt x="364" y="683"/>
                  </a:lnTo>
                  <a:lnTo>
                    <a:pt x="378" y="643"/>
                  </a:lnTo>
                  <a:lnTo>
                    <a:pt x="374" y="615"/>
                  </a:lnTo>
                  <a:lnTo>
                    <a:pt x="378" y="615"/>
                  </a:lnTo>
                  <a:lnTo>
                    <a:pt x="390" y="598"/>
                  </a:lnTo>
                  <a:lnTo>
                    <a:pt x="348" y="560"/>
                  </a:lnTo>
                  <a:lnTo>
                    <a:pt x="364" y="556"/>
                  </a:lnTo>
                  <a:lnTo>
                    <a:pt x="374" y="539"/>
                  </a:lnTo>
                  <a:lnTo>
                    <a:pt x="364" y="539"/>
                  </a:lnTo>
                  <a:lnTo>
                    <a:pt x="348" y="522"/>
                  </a:lnTo>
                  <a:lnTo>
                    <a:pt x="340" y="522"/>
                  </a:lnTo>
                  <a:lnTo>
                    <a:pt x="336" y="504"/>
                  </a:lnTo>
                  <a:lnTo>
                    <a:pt x="326" y="515"/>
                  </a:lnTo>
                  <a:lnTo>
                    <a:pt x="319" y="515"/>
                  </a:lnTo>
                  <a:lnTo>
                    <a:pt x="310" y="499"/>
                  </a:lnTo>
                  <a:lnTo>
                    <a:pt x="310" y="478"/>
                  </a:lnTo>
                  <a:lnTo>
                    <a:pt x="303" y="478"/>
                  </a:lnTo>
                  <a:lnTo>
                    <a:pt x="293" y="461"/>
                  </a:lnTo>
                  <a:lnTo>
                    <a:pt x="248" y="421"/>
                  </a:lnTo>
                  <a:lnTo>
                    <a:pt x="234" y="388"/>
                  </a:lnTo>
                  <a:lnTo>
                    <a:pt x="227" y="388"/>
                  </a:lnTo>
                  <a:lnTo>
                    <a:pt x="211" y="371"/>
                  </a:lnTo>
                  <a:lnTo>
                    <a:pt x="211" y="367"/>
                  </a:lnTo>
                  <a:lnTo>
                    <a:pt x="211" y="350"/>
                  </a:lnTo>
                  <a:lnTo>
                    <a:pt x="180" y="338"/>
                  </a:lnTo>
                  <a:lnTo>
                    <a:pt x="140" y="310"/>
                  </a:lnTo>
                  <a:lnTo>
                    <a:pt x="118" y="300"/>
                  </a:lnTo>
                  <a:lnTo>
                    <a:pt x="130" y="284"/>
                  </a:lnTo>
                  <a:lnTo>
                    <a:pt x="130" y="267"/>
                  </a:lnTo>
                  <a:lnTo>
                    <a:pt x="173" y="277"/>
                  </a:lnTo>
                  <a:lnTo>
                    <a:pt x="185" y="260"/>
                  </a:lnTo>
                  <a:lnTo>
                    <a:pt x="185" y="256"/>
                  </a:lnTo>
                  <a:lnTo>
                    <a:pt x="194" y="244"/>
                  </a:lnTo>
                  <a:lnTo>
                    <a:pt x="194" y="239"/>
                  </a:lnTo>
                  <a:lnTo>
                    <a:pt x="173" y="211"/>
                  </a:lnTo>
                  <a:lnTo>
                    <a:pt x="156" y="211"/>
                  </a:lnTo>
                  <a:lnTo>
                    <a:pt x="173" y="201"/>
                  </a:lnTo>
                  <a:lnTo>
                    <a:pt x="130" y="173"/>
                  </a:lnTo>
                  <a:lnTo>
                    <a:pt x="118" y="182"/>
                  </a:lnTo>
                  <a:lnTo>
                    <a:pt x="109" y="201"/>
                  </a:lnTo>
                  <a:lnTo>
                    <a:pt x="71" y="182"/>
                  </a:lnTo>
                  <a:lnTo>
                    <a:pt x="48" y="149"/>
                  </a:lnTo>
                  <a:lnTo>
                    <a:pt x="55" y="116"/>
                  </a:lnTo>
                  <a:lnTo>
                    <a:pt x="33" y="128"/>
                  </a:lnTo>
                  <a:lnTo>
                    <a:pt x="33" y="100"/>
                  </a:lnTo>
                  <a:lnTo>
                    <a:pt x="0" y="74"/>
                  </a:lnTo>
                  <a:lnTo>
                    <a:pt x="22" y="41"/>
                  </a:lnTo>
                  <a:lnTo>
                    <a:pt x="64" y="62"/>
                  </a:lnTo>
                  <a:lnTo>
                    <a:pt x="76" y="41"/>
                  </a:lnTo>
                  <a:lnTo>
                    <a:pt x="92" y="57"/>
                  </a:lnTo>
                  <a:lnTo>
                    <a:pt x="102" y="41"/>
                  </a:lnTo>
                  <a:lnTo>
                    <a:pt x="126" y="62"/>
                  </a:lnTo>
                  <a:lnTo>
                    <a:pt x="130" y="41"/>
                  </a:lnTo>
                  <a:lnTo>
                    <a:pt x="147" y="29"/>
                  </a:lnTo>
                  <a:lnTo>
                    <a:pt x="147" y="41"/>
                  </a:lnTo>
                  <a:lnTo>
                    <a:pt x="156" y="45"/>
                  </a:lnTo>
                  <a:lnTo>
                    <a:pt x="173" y="29"/>
                  </a:lnTo>
                  <a:lnTo>
                    <a:pt x="180" y="41"/>
                  </a:lnTo>
                  <a:lnTo>
                    <a:pt x="194" y="5"/>
                  </a:lnTo>
                  <a:lnTo>
                    <a:pt x="227" y="0"/>
                  </a:lnTo>
                  <a:lnTo>
                    <a:pt x="239" y="17"/>
                  </a:lnTo>
                  <a:lnTo>
                    <a:pt x="255" y="29"/>
                  </a:lnTo>
                  <a:lnTo>
                    <a:pt x="281" y="22"/>
                  </a:lnTo>
                  <a:lnTo>
                    <a:pt x="286" y="29"/>
                  </a:lnTo>
                  <a:lnTo>
                    <a:pt x="303" y="22"/>
                  </a:lnTo>
                  <a:lnTo>
                    <a:pt x="319" y="29"/>
                  </a:lnTo>
                  <a:lnTo>
                    <a:pt x="326" y="41"/>
                  </a:lnTo>
                  <a:lnTo>
                    <a:pt x="310" y="62"/>
                  </a:lnTo>
                  <a:lnTo>
                    <a:pt x="319" y="78"/>
                  </a:lnTo>
                  <a:lnTo>
                    <a:pt x="319" y="95"/>
                  </a:lnTo>
                  <a:lnTo>
                    <a:pt x="340" y="100"/>
                  </a:lnTo>
                  <a:lnTo>
                    <a:pt x="340" y="111"/>
                  </a:lnTo>
                  <a:lnTo>
                    <a:pt x="357" y="116"/>
                  </a:lnTo>
                  <a:lnTo>
                    <a:pt x="364" y="128"/>
                  </a:lnTo>
                  <a:lnTo>
                    <a:pt x="395" y="128"/>
                  </a:lnTo>
                  <a:lnTo>
                    <a:pt x="411" y="133"/>
                  </a:lnTo>
                  <a:lnTo>
                    <a:pt x="411" y="133"/>
                  </a:lnTo>
                  <a:lnTo>
                    <a:pt x="407" y="145"/>
                  </a:lnTo>
                  <a:lnTo>
                    <a:pt x="395" y="133"/>
                  </a:lnTo>
                  <a:lnTo>
                    <a:pt x="378" y="149"/>
                  </a:lnTo>
                  <a:lnTo>
                    <a:pt x="374" y="149"/>
                  </a:lnTo>
                  <a:lnTo>
                    <a:pt x="364" y="173"/>
                  </a:lnTo>
                  <a:lnTo>
                    <a:pt x="348" y="182"/>
                  </a:lnTo>
                  <a:lnTo>
                    <a:pt x="340" y="173"/>
                  </a:lnTo>
                  <a:lnTo>
                    <a:pt x="348" y="173"/>
                  </a:lnTo>
                  <a:lnTo>
                    <a:pt x="340" y="173"/>
                  </a:lnTo>
                  <a:lnTo>
                    <a:pt x="336" y="173"/>
                  </a:lnTo>
                  <a:lnTo>
                    <a:pt x="336" y="182"/>
                  </a:lnTo>
                  <a:lnTo>
                    <a:pt x="326" y="182"/>
                  </a:lnTo>
                  <a:lnTo>
                    <a:pt x="326" y="173"/>
                  </a:lnTo>
                  <a:lnTo>
                    <a:pt x="310" y="173"/>
                  </a:lnTo>
                  <a:lnTo>
                    <a:pt x="326" y="182"/>
                  </a:lnTo>
                  <a:lnTo>
                    <a:pt x="319" y="182"/>
                  </a:lnTo>
                  <a:lnTo>
                    <a:pt x="326" y="201"/>
                  </a:lnTo>
                  <a:lnTo>
                    <a:pt x="310" y="201"/>
                  </a:lnTo>
                  <a:lnTo>
                    <a:pt x="310" y="227"/>
                  </a:lnTo>
                  <a:lnTo>
                    <a:pt x="303" y="227"/>
                  </a:lnTo>
                  <a:lnTo>
                    <a:pt x="310" y="227"/>
                  </a:lnTo>
                  <a:lnTo>
                    <a:pt x="265" y="256"/>
                  </a:lnTo>
                  <a:lnTo>
                    <a:pt x="255" y="277"/>
                  </a:lnTo>
                  <a:lnTo>
                    <a:pt x="255" y="300"/>
                  </a:lnTo>
                  <a:lnTo>
                    <a:pt x="239" y="322"/>
                  </a:lnTo>
                  <a:lnTo>
                    <a:pt x="265" y="367"/>
                  </a:lnTo>
                  <a:lnTo>
                    <a:pt x="303" y="404"/>
                  </a:lnTo>
                  <a:lnTo>
                    <a:pt x="293" y="421"/>
                  </a:lnTo>
                  <a:lnTo>
                    <a:pt x="319" y="445"/>
                  </a:lnTo>
                  <a:lnTo>
                    <a:pt x="348" y="466"/>
                  </a:lnTo>
                  <a:lnTo>
                    <a:pt x="348" y="482"/>
                  </a:lnTo>
                  <a:lnTo>
                    <a:pt x="378" y="499"/>
                  </a:lnTo>
                  <a:lnTo>
                    <a:pt x="374" y="499"/>
                  </a:lnTo>
                  <a:lnTo>
                    <a:pt x="390" y="504"/>
                  </a:lnTo>
                  <a:lnTo>
                    <a:pt x="395" y="522"/>
                  </a:lnTo>
                  <a:lnTo>
                    <a:pt x="411" y="522"/>
                  </a:lnTo>
                  <a:lnTo>
                    <a:pt x="428" y="532"/>
                  </a:lnTo>
                  <a:lnTo>
                    <a:pt x="418" y="539"/>
                  </a:lnTo>
                  <a:lnTo>
                    <a:pt x="428" y="544"/>
                  </a:lnTo>
                  <a:lnTo>
                    <a:pt x="428" y="532"/>
                  </a:lnTo>
                  <a:lnTo>
                    <a:pt x="433" y="539"/>
                  </a:lnTo>
                  <a:lnTo>
                    <a:pt x="428" y="539"/>
                  </a:lnTo>
                  <a:lnTo>
                    <a:pt x="433" y="544"/>
                  </a:lnTo>
                  <a:lnTo>
                    <a:pt x="461" y="589"/>
                  </a:lnTo>
                  <a:lnTo>
                    <a:pt x="466" y="589"/>
                  </a:lnTo>
                  <a:lnTo>
                    <a:pt x="503" y="704"/>
                  </a:lnTo>
                  <a:lnTo>
                    <a:pt x="503" y="709"/>
                  </a:lnTo>
                  <a:lnTo>
                    <a:pt x="499" y="704"/>
                  </a:lnTo>
                  <a:lnTo>
                    <a:pt x="499" y="704"/>
                  </a:lnTo>
                  <a:lnTo>
                    <a:pt x="499" y="737"/>
                  </a:lnTo>
                  <a:lnTo>
                    <a:pt x="515" y="775"/>
                  </a:lnTo>
                  <a:lnTo>
                    <a:pt x="499" y="792"/>
                  </a:lnTo>
                  <a:lnTo>
                    <a:pt x="503" y="815"/>
                  </a:lnTo>
                  <a:lnTo>
                    <a:pt x="487" y="808"/>
                  </a:lnTo>
                  <a:lnTo>
                    <a:pt x="499" y="848"/>
                  </a:lnTo>
                  <a:lnTo>
                    <a:pt x="499" y="832"/>
                  </a:lnTo>
                  <a:lnTo>
                    <a:pt x="499" y="837"/>
                  </a:lnTo>
                  <a:lnTo>
                    <a:pt x="487" y="848"/>
                  </a:lnTo>
                  <a:lnTo>
                    <a:pt x="499" y="853"/>
                  </a:lnTo>
                  <a:lnTo>
                    <a:pt x="487" y="870"/>
                  </a:lnTo>
                  <a:lnTo>
                    <a:pt x="482" y="870"/>
                  </a:lnTo>
                  <a:lnTo>
                    <a:pt x="482" y="886"/>
                  </a:lnTo>
                  <a:lnTo>
                    <a:pt x="466" y="886"/>
                  </a:lnTo>
                  <a:lnTo>
                    <a:pt x="418" y="919"/>
                  </a:lnTo>
                  <a:lnTo>
                    <a:pt x="411" y="931"/>
                  </a:lnTo>
                  <a:lnTo>
                    <a:pt x="395" y="931"/>
                  </a:lnTo>
                  <a:lnTo>
                    <a:pt x="357" y="959"/>
                  </a:lnTo>
                  <a:lnTo>
                    <a:pt x="340" y="948"/>
                  </a:lnTo>
                  <a:lnTo>
                    <a:pt x="340" y="931"/>
                  </a:lnTo>
                  <a:lnTo>
                    <a:pt x="336" y="948"/>
                  </a:lnTo>
                  <a:lnTo>
                    <a:pt x="336" y="943"/>
                  </a:lnTo>
                  <a:lnTo>
                    <a:pt x="319" y="931"/>
                  </a:lnTo>
                  <a:lnTo>
                    <a:pt x="319" y="948"/>
                  </a:lnTo>
                  <a:lnTo>
                    <a:pt x="310" y="948"/>
                  </a:lnTo>
                  <a:lnTo>
                    <a:pt x="319" y="948"/>
                  </a:lnTo>
                  <a:lnTo>
                    <a:pt x="326" y="964"/>
                  </a:lnTo>
                  <a:lnTo>
                    <a:pt x="293" y="964"/>
                  </a:lnTo>
                  <a:lnTo>
                    <a:pt x="326" y="976"/>
                  </a:lnTo>
                  <a:lnTo>
                    <a:pt x="326" y="981"/>
                  </a:lnTo>
                  <a:lnTo>
                    <a:pt x="310" y="988"/>
                  </a:lnTo>
                  <a:lnTo>
                    <a:pt x="286" y="964"/>
                  </a:lnTo>
                  <a:lnTo>
                    <a:pt x="319" y="988"/>
                  </a:lnTo>
                  <a:lnTo>
                    <a:pt x="310" y="997"/>
                  </a:lnTo>
                  <a:lnTo>
                    <a:pt x="281" y="964"/>
                  </a:lnTo>
                  <a:lnTo>
                    <a:pt x="310" y="1004"/>
                  </a:lnTo>
                  <a:lnTo>
                    <a:pt x="310" y="1014"/>
                  </a:lnTo>
                  <a:lnTo>
                    <a:pt x="293" y="1021"/>
                  </a:lnTo>
                  <a:lnTo>
                    <a:pt x="255" y="981"/>
                  </a:lnTo>
                  <a:lnTo>
                    <a:pt x="281" y="1014"/>
                  </a:lnTo>
                  <a:lnTo>
                    <a:pt x="281" y="1030"/>
                  </a:lnTo>
                  <a:lnTo>
                    <a:pt x="234" y="1042"/>
                  </a:lnTo>
                  <a:lnTo>
                    <a:pt x="218" y="1075"/>
                  </a:lnTo>
                  <a:lnTo>
                    <a:pt x="201" y="1087"/>
                  </a:lnTo>
                  <a:lnTo>
                    <a:pt x="180" y="1087"/>
                  </a:lnTo>
                  <a:lnTo>
                    <a:pt x="194" y="1075"/>
                  </a:lnTo>
                  <a:lnTo>
                    <a:pt x="185" y="1070"/>
                  </a:lnTo>
                  <a:lnTo>
                    <a:pt x="185" y="1004"/>
                  </a:lnTo>
                  <a:lnTo>
                    <a:pt x="201" y="988"/>
                  </a:lnTo>
                  <a:lnTo>
                    <a:pt x="211" y="997"/>
                  </a:lnTo>
                  <a:lnTo>
                    <a:pt x="211" y="988"/>
                  </a:lnTo>
                  <a:lnTo>
                    <a:pt x="185" y="964"/>
                  </a:lnTo>
                  <a:lnTo>
                    <a:pt x="173" y="976"/>
                  </a:lnTo>
                  <a:lnTo>
                    <a:pt x="163" y="959"/>
                  </a:lnTo>
                  <a:lnTo>
                    <a:pt x="173" y="948"/>
                  </a:lnTo>
                  <a:lnTo>
                    <a:pt x="194" y="943"/>
                  </a:lnTo>
                  <a:lnTo>
                    <a:pt x="201" y="931"/>
                  </a:lnTo>
                  <a:lnTo>
                    <a:pt x="201" y="919"/>
                  </a:lnTo>
                  <a:lnTo>
                    <a:pt x="211" y="919"/>
                  </a:lnTo>
                  <a:lnTo>
                    <a:pt x="227" y="919"/>
                  </a:lnTo>
                  <a:lnTo>
                    <a:pt x="234" y="919"/>
                  </a:lnTo>
                  <a:lnTo>
                    <a:pt x="255" y="910"/>
                  </a:lnTo>
                  <a:lnTo>
                    <a:pt x="281" y="926"/>
                  </a:lnTo>
                  <a:lnTo>
                    <a:pt x="281" y="910"/>
                  </a:lnTo>
                  <a:lnTo>
                    <a:pt x="255" y="893"/>
                  </a:lnTo>
                  <a:lnTo>
                    <a:pt x="255" y="870"/>
                  </a:lnTo>
                  <a:lnTo>
                    <a:pt x="265" y="865"/>
                  </a:lnTo>
                  <a:lnTo>
                    <a:pt x="272" y="853"/>
                  </a:lnTo>
                  <a:lnTo>
                    <a:pt x="303" y="865"/>
                  </a:lnTo>
                  <a:lnTo>
                    <a:pt x="293" y="837"/>
                  </a:lnTo>
                  <a:lnTo>
                    <a:pt x="319" y="837"/>
                  </a:lnTo>
                  <a:lnTo>
                    <a:pt x="348" y="815"/>
                  </a:lnTo>
                  <a:lnTo>
                    <a:pt x="364" y="815"/>
                  </a:lnTo>
                  <a:lnTo>
                    <a:pt x="374" y="820"/>
                  </a:lnTo>
                  <a:lnTo>
                    <a:pt x="378" y="815"/>
                  </a:lnTo>
                  <a:lnTo>
                    <a:pt x="378" y="792"/>
                  </a:lnTo>
                  <a:lnTo>
                    <a:pt x="374" y="766"/>
                  </a:lnTo>
                  <a:lnTo>
                    <a:pt x="378" y="726"/>
                  </a:lnTo>
                  <a:lnTo>
                    <a:pt x="374" y="704"/>
                  </a:lnTo>
                  <a:lnTo>
                    <a:pt x="374" y="700"/>
                  </a:lnTo>
                  <a:lnTo>
                    <a:pt x="374" y="700"/>
                  </a:lnTo>
                  <a:lnTo>
                    <a:pt x="374" y="700"/>
                  </a:lnTo>
                  <a:close/>
                  <a:moveTo>
                    <a:pt x="374" y="149"/>
                  </a:moveTo>
                  <a:lnTo>
                    <a:pt x="378" y="156"/>
                  </a:lnTo>
                  <a:lnTo>
                    <a:pt x="364" y="166"/>
                  </a:lnTo>
                  <a:lnTo>
                    <a:pt x="374" y="149"/>
                  </a:lnTo>
                  <a:lnTo>
                    <a:pt x="374" y="149"/>
                  </a:lnTo>
                  <a:lnTo>
                    <a:pt x="374" y="149"/>
                  </a:lnTo>
                  <a:close/>
                  <a:moveTo>
                    <a:pt x="378" y="173"/>
                  </a:moveTo>
                  <a:lnTo>
                    <a:pt x="374" y="182"/>
                  </a:lnTo>
                  <a:lnTo>
                    <a:pt x="364" y="182"/>
                  </a:lnTo>
                  <a:lnTo>
                    <a:pt x="378" y="173"/>
                  </a:lnTo>
                  <a:lnTo>
                    <a:pt x="378" y="173"/>
                  </a:lnTo>
                  <a:lnTo>
                    <a:pt x="378" y="173"/>
                  </a:lnTo>
                  <a:close/>
                  <a:moveTo>
                    <a:pt x="326" y="182"/>
                  </a:moveTo>
                  <a:lnTo>
                    <a:pt x="326" y="182"/>
                  </a:lnTo>
                  <a:lnTo>
                    <a:pt x="336" y="189"/>
                  </a:lnTo>
                  <a:lnTo>
                    <a:pt x="326" y="182"/>
                  </a:lnTo>
                  <a:lnTo>
                    <a:pt x="326" y="182"/>
                  </a:lnTo>
                  <a:lnTo>
                    <a:pt x="326" y="182"/>
                  </a:lnTo>
                  <a:close/>
                  <a:moveTo>
                    <a:pt x="336" y="182"/>
                  </a:moveTo>
                  <a:lnTo>
                    <a:pt x="348" y="189"/>
                  </a:lnTo>
                  <a:lnTo>
                    <a:pt x="340" y="201"/>
                  </a:lnTo>
                  <a:lnTo>
                    <a:pt x="336" y="182"/>
                  </a:lnTo>
                  <a:lnTo>
                    <a:pt x="336" y="182"/>
                  </a:lnTo>
                  <a:lnTo>
                    <a:pt x="336" y="182"/>
                  </a:lnTo>
                  <a:close/>
                  <a:moveTo>
                    <a:pt x="326" y="931"/>
                  </a:moveTo>
                  <a:lnTo>
                    <a:pt x="326" y="943"/>
                  </a:lnTo>
                  <a:lnTo>
                    <a:pt x="326" y="959"/>
                  </a:lnTo>
                  <a:lnTo>
                    <a:pt x="326" y="948"/>
                  </a:lnTo>
                  <a:lnTo>
                    <a:pt x="326" y="931"/>
                  </a:lnTo>
                  <a:lnTo>
                    <a:pt x="326" y="931"/>
                  </a:lnTo>
                  <a:lnTo>
                    <a:pt x="326" y="931"/>
                  </a:lnTo>
                  <a:close/>
                  <a:moveTo>
                    <a:pt x="336" y="948"/>
                  </a:moveTo>
                  <a:lnTo>
                    <a:pt x="340" y="959"/>
                  </a:lnTo>
                  <a:lnTo>
                    <a:pt x="336" y="959"/>
                  </a:lnTo>
                  <a:lnTo>
                    <a:pt x="336" y="948"/>
                  </a:lnTo>
                  <a:lnTo>
                    <a:pt x="336" y="948"/>
                  </a:lnTo>
                  <a:lnTo>
                    <a:pt x="336" y="948"/>
                  </a:lnTo>
                  <a:close/>
                  <a:moveTo>
                    <a:pt x="130" y="948"/>
                  </a:moveTo>
                  <a:lnTo>
                    <a:pt x="130" y="959"/>
                  </a:lnTo>
                  <a:lnTo>
                    <a:pt x="130" y="981"/>
                  </a:lnTo>
                  <a:lnTo>
                    <a:pt x="118" y="959"/>
                  </a:lnTo>
                  <a:lnTo>
                    <a:pt x="130" y="948"/>
                  </a:lnTo>
                  <a:lnTo>
                    <a:pt x="130" y="948"/>
                  </a:lnTo>
                  <a:lnTo>
                    <a:pt x="130" y="94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7" name="Freeform 589">
              <a:extLst>
                <a:ext uri="{FF2B5EF4-FFF2-40B4-BE49-F238E27FC236}">
                  <a16:creationId xmlns:a16="http://schemas.microsoft.com/office/drawing/2014/main" id="{EC7640CA-BB1A-4D80-8803-8EDEBC93A902}"/>
                </a:ext>
              </a:extLst>
            </p:cNvPr>
            <p:cNvSpPr>
              <a:spLocks noEditPoints="1"/>
            </p:cNvSpPr>
            <p:nvPr/>
          </p:nvSpPr>
          <p:spPr bwMode="gray">
            <a:xfrm>
              <a:off x="12254638" y="3676156"/>
              <a:ext cx="6873" cy="17019"/>
            </a:xfrm>
            <a:custGeom>
              <a:avLst/>
              <a:gdLst>
                <a:gd name="T0" fmla="*/ 16 w 21"/>
                <a:gd name="T1" fmla="*/ 0 h 52"/>
                <a:gd name="T2" fmla="*/ 7 w 21"/>
                <a:gd name="T3" fmla="*/ 0 h 52"/>
                <a:gd name="T4" fmla="*/ 16 w 21"/>
                <a:gd name="T5" fmla="*/ 0 h 52"/>
                <a:gd name="T6" fmla="*/ 16 w 21"/>
                <a:gd name="T7" fmla="*/ 0 h 52"/>
                <a:gd name="T8" fmla="*/ 16 w 21"/>
                <a:gd name="T9" fmla="*/ 0 h 52"/>
                <a:gd name="T10" fmla="*/ 16 w 21"/>
                <a:gd name="T11" fmla="*/ 0 h 52"/>
                <a:gd name="T12" fmla="*/ 0 w 21"/>
                <a:gd name="T13" fmla="*/ 52 h 52"/>
                <a:gd name="T14" fmla="*/ 0 w 21"/>
                <a:gd name="T15" fmla="*/ 40 h 52"/>
                <a:gd name="T16" fmla="*/ 21 w 21"/>
                <a:gd name="T17" fmla="*/ 52 h 52"/>
                <a:gd name="T18" fmla="*/ 0 w 21"/>
                <a:gd name="T19" fmla="*/ 52 h 52"/>
                <a:gd name="T20" fmla="*/ 0 w 21"/>
                <a:gd name="T21" fmla="*/ 52 h 52"/>
                <a:gd name="T22" fmla="*/ 0 w 21"/>
                <a:gd name="T23"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2">
                  <a:moveTo>
                    <a:pt x="16" y="0"/>
                  </a:moveTo>
                  <a:lnTo>
                    <a:pt x="7" y="0"/>
                  </a:lnTo>
                  <a:lnTo>
                    <a:pt x="16" y="0"/>
                  </a:lnTo>
                  <a:lnTo>
                    <a:pt x="16" y="0"/>
                  </a:lnTo>
                  <a:lnTo>
                    <a:pt x="16" y="0"/>
                  </a:lnTo>
                  <a:lnTo>
                    <a:pt x="16" y="0"/>
                  </a:lnTo>
                  <a:close/>
                  <a:moveTo>
                    <a:pt x="0" y="52"/>
                  </a:moveTo>
                  <a:lnTo>
                    <a:pt x="0" y="40"/>
                  </a:lnTo>
                  <a:lnTo>
                    <a:pt x="21" y="52"/>
                  </a:lnTo>
                  <a:lnTo>
                    <a:pt x="0" y="52"/>
                  </a:lnTo>
                  <a:lnTo>
                    <a:pt x="0" y="52"/>
                  </a:lnTo>
                  <a:lnTo>
                    <a:pt x="0" y="5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8" name="Freeform 590">
              <a:extLst>
                <a:ext uri="{FF2B5EF4-FFF2-40B4-BE49-F238E27FC236}">
                  <a16:creationId xmlns:a16="http://schemas.microsoft.com/office/drawing/2014/main" id="{8DA6B6AC-FF12-4E19-9FC3-9D925489D7A8}"/>
                </a:ext>
              </a:extLst>
            </p:cNvPr>
            <p:cNvSpPr>
              <a:spLocks/>
            </p:cNvSpPr>
            <p:nvPr/>
          </p:nvSpPr>
          <p:spPr bwMode="gray">
            <a:xfrm>
              <a:off x="14015167" y="4517963"/>
              <a:ext cx="308313" cy="297840"/>
            </a:xfrm>
            <a:custGeom>
              <a:avLst/>
              <a:gdLst>
                <a:gd name="T0" fmla="*/ 21 w 942"/>
                <a:gd name="T1" fmla="*/ 17 h 910"/>
                <a:gd name="T2" fmla="*/ 96 w 942"/>
                <a:gd name="T3" fmla="*/ 0 h 910"/>
                <a:gd name="T4" fmla="*/ 151 w 942"/>
                <a:gd name="T5" fmla="*/ 38 h 910"/>
                <a:gd name="T6" fmla="*/ 474 w 942"/>
                <a:gd name="T7" fmla="*/ 55 h 910"/>
                <a:gd name="T8" fmla="*/ 597 w 942"/>
                <a:gd name="T9" fmla="*/ 71 h 910"/>
                <a:gd name="T10" fmla="*/ 635 w 942"/>
                <a:gd name="T11" fmla="*/ 76 h 910"/>
                <a:gd name="T12" fmla="*/ 668 w 942"/>
                <a:gd name="T13" fmla="*/ 76 h 910"/>
                <a:gd name="T14" fmla="*/ 867 w 942"/>
                <a:gd name="T15" fmla="*/ 38 h 910"/>
                <a:gd name="T16" fmla="*/ 921 w 942"/>
                <a:gd name="T17" fmla="*/ 50 h 910"/>
                <a:gd name="T18" fmla="*/ 916 w 942"/>
                <a:gd name="T19" fmla="*/ 59 h 910"/>
                <a:gd name="T20" fmla="*/ 878 w 942"/>
                <a:gd name="T21" fmla="*/ 76 h 910"/>
                <a:gd name="T22" fmla="*/ 807 w 942"/>
                <a:gd name="T23" fmla="*/ 76 h 910"/>
                <a:gd name="T24" fmla="*/ 647 w 942"/>
                <a:gd name="T25" fmla="*/ 383 h 910"/>
                <a:gd name="T26" fmla="*/ 576 w 942"/>
                <a:gd name="T27" fmla="*/ 586 h 910"/>
                <a:gd name="T28" fmla="*/ 543 w 942"/>
                <a:gd name="T29" fmla="*/ 881 h 910"/>
                <a:gd name="T30" fmla="*/ 522 w 942"/>
                <a:gd name="T31" fmla="*/ 898 h 910"/>
                <a:gd name="T32" fmla="*/ 512 w 942"/>
                <a:gd name="T33" fmla="*/ 910 h 910"/>
                <a:gd name="T34" fmla="*/ 441 w 942"/>
                <a:gd name="T35" fmla="*/ 910 h 910"/>
                <a:gd name="T36" fmla="*/ 404 w 942"/>
                <a:gd name="T37" fmla="*/ 903 h 910"/>
                <a:gd name="T38" fmla="*/ 387 w 942"/>
                <a:gd name="T39" fmla="*/ 898 h 910"/>
                <a:gd name="T40" fmla="*/ 382 w 942"/>
                <a:gd name="T41" fmla="*/ 853 h 910"/>
                <a:gd name="T42" fmla="*/ 349 w 942"/>
                <a:gd name="T43" fmla="*/ 848 h 910"/>
                <a:gd name="T44" fmla="*/ 328 w 942"/>
                <a:gd name="T45" fmla="*/ 886 h 910"/>
                <a:gd name="T46" fmla="*/ 274 w 942"/>
                <a:gd name="T47" fmla="*/ 841 h 910"/>
                <a:gd name="T48" fmla="*/ 236 w 942"/>
                <a:gd name="T49" fmla="*/ 759 h 910"/>
                <a:gd name="T50" fmla="*/ 236 w 942"/>
                <a:gd name="T51" fmla="*/ 730 h 910"/>
                <a:gd name="T52" fmla="*/ 219 w 942"/>
                <a:gd name="T53" fmla="*/ 714 h 910"/>
                <a:gd name="T54" fmla="*/ 215 w 942"/>
                <a:gd name="T55" fmla="*/ 664 h 910"/>
                <a:gd name="T56" fmla="*/ 181 w 942"/>
                <a:gd name="T57" fmla="*/ 537 h 910"/>
                <a:gd name="T58" fmla="*/ 203 w 942"/>
                <a:gd name="T59" fmla="*/ 466 h 910"/>
                <a:gd name="T60" fmla="*/ 189 w 942"/>
                <a:gd name="T61" fmla="*/ 425 h 910"/>
                <a:gd name="T62" fmla="*/ 151 w 942"/>
                <a:gd name="T63" fmla="*/ 366 h 910"/>
                <a:gd name="T64" fmla="*/ 113 w 942"/>
                <a:gd name="T65" fmla="*/ 293 h 910"/>
                <a:gd name="T66" fmla="*/ 42 w 942"/>
                <a:gd name="T67" fmla="*/ 149 h 910"/>
                <a:gd name="T68" fmla="*/ 0 w 942"/>
                <a:gd name="T69" fmla="*/ 88 h 910"/>
                <a:gd name="T70" fmla="*/ 0 w 942"/>
                <a:gd name="T71" fmla="*/ 22 h 910"/>
                <a:gd name="T72" fmla="*/ 0 w 942"/>
                <a:gd name="T73" fmla="*/ 22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2" h="910">
                  <a:moveTo>
                    <a:pt x="0" y="22"/>
                  </a:moveTo>
                  <a:lnTo>
                    <a:pt x="21" y="17"/>
                  </a:lnTo>
                  <a:lnTo>
                    <a:pt x="52" y="22"/>
                  </a:lnTo>
                  <a:lnTo>
                    <a:pt x="96" y="0"/>
                  </a:lnTo>
                  <a:lnTo>
                    <a:pt x="118" y="5"/>
                  </a:lnTo>
                  <a:lnTo>
                    <a:pt x="151" y="38"/>
                  </a:lnTo>
                  <a:lnTo>
                    <a:pt x="467" y="33"/>
                  </a:lnTo>
                  <a:lnTo>
                    <a:pt x="474" y="55"/>
                  </a:lnTo>
                  <a:lnTo>
                    <a:pt x="496" y="59"/>
                  </a:lnTo>
                  <a:lnTo>
                    <a:pt x="597" y="71"/>
                  </a:lnTo>
                  <a:lnTo>
                    <a:pt x="614" y="76"/>
                  </a:lnTo>
                  <a:lnTo>
                    <a:pt x="635" y="76"/>
                  </a:lnTo>
                  <a:lnTo>
                    <a:pt x="652" y="71"/>
                  </a:lnTo>
                  <a:lnTo>
                    <a:pt x="668" y="76"/>
                  </a:lnTo>
                  <a:lnTo>
                    <a:pt x="812" y="55"/>
                  </a:lnTo>
                  <a:lnTo>
                    <a:pt x="867" y="38"/>
                  </a:lnTo>
                  <a:lnTo>
                    <a:pt x="900" y="38"/>
                  </a:lnTo>
                  <a:lnTo>
                    <a:pt x="921" y="50"/>
                  </a:lnTo>
                  <a:lnTo>
                    <a:pt x="942" y="59"/>
                  </a:lnTo>
                  <a:lnTo>
                    <a:pt x="916" y="59"/>
                  </a:lnTo>
                  <a:lnTo>
                    <a:pt x="888" y="88"/>
                  </a:lnTo>
                  <a:lnTo>
                    <a:pt x="878" y="76"/>
                  </a:lnTo>
                  <a:lnTo>
                    <a:pt x="829" y="116"/>
                  </a:lnTo>
                  <a:lnTo>
                    <a:pt x="807" y="76"/>
                  </a:lnTo>
                  <a:lnTo>
                    <a:pt x="647" y="104"/>
                  </a:lnTo>
                  <a:lnTo>
                    <a:pt x="647" y="383"/>
                  </a:lnTo>
                  <a:lnTo>
                    <a:pt x="576" y="383"/>
                  </a:lnTo>
                  <a:lnTo>
                    <a:pt x="576" y="586"/>
                  </a:lnTo>
                  <a:lnTo>
                    <a:pt x="576" y="870"/>
                  </a:lnTo>
                  <a:lnTo>
                    <a:pt x="543" y="881"/>
                  </a:lnTo>
                  <a:lnTo>
                    <a:pt x="538" y="898"/>
                  </a:lnTo>
                  <a:lnTo>
                    <a:pt x="522" y="898"/>
                  </a:lnTo>
                  <a:lnTo>
                    <a:pt x="522" y="910"/>
                  </a:lnTo>
                  <a:lnTo>
                    <a:pt x="512" y="910"/>
                  </a:lnTo>
                  <a:lnTo>
                    <a:pt x="484" y="903"/>
                  </a:lnTo>
                  <a:lnTo>
                    <a:pt x="441" y="910"/>
                  </a:lnTo>
                  <a:lnTo>
                    <a:pt x="430" y="903"/>
                  </a:lnTo>
                  <a:lnTo>
                    <a:pt x="404" y="903"/>
                  </a:lnTo>
                  <a:lnTo>
                    <a:pt x="404" y="898"/>
                  </a:lnTo>
                  <a:lnTo>
                    <a:pt x="387" y="898"/>
                  </a:lnTo>
                  <a:lnTo>
                    <a:pt x="387" y="853"/>
                  </a:lnTo>
                  <a:lnTo>
                    <a:pt x="382" y="853"/>
                  </a:lnTo>
                  <a:lnTo>
                    <a:pt x="366" y="841"/>
                  </a:lnTo>
                  <a:lnTo>
                    <a:pt x="349" y="848"/>
                  </a:lnTo>
                  <a:lnTo>
                    <a:pt x="344" y="881"/>
                  </a:lnTo>
                  <a:lnTo>
                    <a:pt x="328" y="886"/>
                  </a:lnTo>
                  <a:lnTo>
                    <a:pt x="323" y="881"/>
                  </a:lnTo>
                  <a:lnTo>
                    <a:pt x="274" y="841"/>
                  </a:lnTo>
                  <a:lnTo>
                    <a:pt x="241" y="787"/>
                  </a:lnTo>
                  <a:lnTo>
                    <a:pt x="236" y="759"/>
                  </a:lnTo>
                  <a:lnTo>
                    <a:pt x="226" y="737"/>
                  </a:lnTo>
                  <a:lnTo>
                    <a:pt x="236" y="730"/>
                  </a:lnTo>
                  <a:lnTo>
                    <a:pt x="226" y="714"/>
                  </a:lnTo>
                  <a:lnTo>
                    <a:pt x="219" y="714"/>
                  </a:lnTo>
                  <a:lnTo>
                    <a:pt x="219" y="688"/>
                  </a:lnTo>
                  <a:lnTo>
                    <a:pt x="215" y="664"/>
                  </a:lnTo>
                  <a:lnTo>
                    <a:pt x="215" y="610"/>
                  </a:lnTo>
                  <a:lnTo>
                    <a:pt x="181" y="537"/>
                  </a:lnTo>
                  <a:lnTo>
                    <a:pt x="181" y="466"/>
                  </a:lnTo>
                  <a:lnTo>
                    <a:pt x="203" y="466"/>
                  </a:lnTo>
                  <a:lnTo>
                    <a:pt x="198" y="425"/>
                  </a:lnTo>
                  <a:lnTo>
                    <a:pt x="189" y="425"/>
                  </a:lnTo>
                  <a:lnTo>
                    <a:pt x="181" y="404"/>
                  </a:lnTo>
                  <a:lnTo>
                    <a:pt x="151" y="366"/>
                  </a:lnTo>
                  <a:lnTo>
                    <a:pt x="144" y="343"/>
                  </a:lnTo>
                  <a:lnTo>
                    <a:pt x="113" y="293"/>
                  </a:lnTo>
                  <a:lnTo>
                    <a:pt x="96" y="244"/>
                  </a:lnTo>
                  <a:lnTo>
                    <a:pt x="42" y="149"/>
                  </a:lnTo>
                  <a:lnTo>
                    <a:pt x="9" y="109"/>
                  </a:lnTo>
                  <a:lnTo>
                    <a:pt x="0" y="88"/>
                  </a:lnTo>
                  <a:lnTo>
                    <a:pt x="0" y="50"/>
                  </a:lnTo>
                  <a:lnTo>
                    <a:pt x="0" y="22"/>
                  </a:lnTo>
                  <a:lnTo>
                    <a:pt x="0" y="22"/>
                  </a:lnTo>
                  <a:lnTo>
                    <a:pt x="0" y="2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9" name="Freeform 591">
              <a:extLst>
                <a:ext uri="{FF2B5EF4-FFF2-40B4-BE49-F238E27FC236}">
                  <a16:creationId xmlns:a16="http://schemas.microsoft.com/office/drawing/2014/main" id="{392B6BBA-624A-4BF4-81F3-C8A5460DB14E}"/>
                </a:ext>
              </a:extLst>
            </p:cNvPr>
            <p:cNvSpPr>
              <a:spLocks/>
            </p:cNvSpPr>
            <p:nvPr/>
          </p:nvSpPr>
          <p:spPr bwMode="gray">
            <a:xfrm>
              <a:off x="14545388" y="3319730"/>
              <a:ext cx="14074" cy="30766"/>
            </a:xfrm>
            <a:custGeom>
              <a:avLst/>
              <a:gdLst>
                <a:gd name="T0" fmla="*/ 43 w 43"/>
                <a:gd name="T1" fmla="*/ 21 h 94"/>
                <a:gd name="T2" fmla="*/ 43 w 43"/>
                <a:gd name="T3" fmla="*/ 83 h 94"/>
                <a:gd name="T4" fmla="*/ 17 w 43"/>
                <a:gd name="T5" fmla="*/ 94 h 94"/>
                <a:gd name="T6" fmla="*/ 0 w 43"/>
                <a:gd name="T7" fmla="*/ 94 h 94"/>
                <a:gd name="T8" fmla="*/ 7 w 43"/>
                <a:gd name="T9" fmla="*/ 71 h 94"/>
                <a:gd name="T10" fmla="*/ 21 w 43"/>
                <a:gd name="T11" fmla="*/ 61 h 94"/>
                <a:gd name="T12" fmla="*/ 7 w 43"/>
                <a:gd name="T13" fmla="*/ 54 h 94"/>
                <a:gd name="T14" fmla="*/ 17 w 43"/>
                <a:gd name="T15" fmla="*/ 5 h 94"/>
                <a:gd name="T16" fmla="*/ 21 w 43"/>
                <a:gd name="T17" fmla="*/ 0 h 94"/>
                <a:gd name="T18" fmla="*/ 43 w 43"/>
                <a:gd name="T19" fmla="*/ 17 h 94"/>
                <a:gd name="T20" fmla="*/ 43 w 43"/>
                <a:gd name="T21" fmla="*/ 21 h 94"/>
                <a:gd name="T22" fmla="*/ 43 w 43"/>
                <a:gd name="T23" fmla="*/ 21 h 94"/>
                <a:gd name="T24" fmla="*/ 43 w 43"/>
                <a:gd name="T25" fmla="*/ 2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94">
                  <a:moveTo>
                    <a:pt x="43" y="21"/>
                  </a:moveTo>
                  <a:lnTo>
                    <a:pt x="43" y="83"/>
                  </a:lnTo>
                  <a:lnTo>
                    <a:pt x="17" y="94"/>
                  </a:lnTo>
                  <a:lnTo>
                    <a:pt x="0" y="94"/>
                  </a:lnTo>
                  <a:lnTo>
                    <a:pt x="7" y="71"/>
                  </a:lnTo>
                  <a:lnTo>
                    <a:pt x="21" y="61"/>
                  </a:lnTo>
                  <a:lnTo>
                    <a:pt x="7" y="54"/>
                  </a:lnTo>
                  <a:lnTo>
                    <a:pt x="17" y="5"/>
                  </a:lnTo>
                  <a:lnTo>
                    <a:pt x="21" y="0"/>
                  </a:lnTo>
                  <a:lnTo>
                    <a:pt x="43" y="17"/>
                  </a:lnTo>
                  <a:lnTo>
                    <a:pt x="43" y="21"/>
                  </a:lnTo>
                  <a:lnTo>
                    <a:pt x="43" y="21"/>
                  </a:lnTo>
                  <a:lnTo>
                    <a:pt x="43" y="2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0" name="Freeform 592">
              <a:extLst>
                <a:ext uri="{FF2B5EF4-FFF2-40B4-BE49-F238E27FC236}">
                  <a16:creationId xmlns:a16="http://schemas.microsoft.com/office/drawing/2014/main" id="{BF92C1AF-0FEB-4284-85D1-F0E0148B6840}"/>
                </a:ext>
              </a:extLst>
            </p:cNvPr>
            <p:cNvSpPr>
              <a:spLocks/>
            </p:cNvSpPr>
            <p:nvPr/>
          </p:nvSpPr>
          <p:spPr bwMode="gray">
            <a:xfrm>
              <a:off x="13351737" y="3445739"/>
              <a:ext cx="194087" cy="171503"/>
            </a:xfrm>
            <a:custGeom>
              <a:avLst/>
              <a:gdLst>
                <a:gd name="T0" fmla="*/ 196 w 593"/>
                <a:gd name="T1" fmla="*/ 487 h 524"/>
                <a:gd name="T2" fmla="*/ 12 w 593"/>
                <a:gd name="T3" fmla="*/ 487 h 524"/>
                <a:gd name="T4" fmla="*/ 0 w 593"/>
                <a:gd name="T5" fmla="*/ 524 h 524"/>
                <a:gd name="T6" fmla="*/ 0 w 593"/>
                <a:gd name="T7" fmla="*/ 508 h 524"/>
                <a:gd name="T8" fmla="*/ 12 w 593"/>
                <a:gd name="T9" fmla="*/ 435 h 524"/>
                <a:gd name="T10" fmla="*/ 28 w 593"/>
                <a:gd name="T11" fmla="*/ 413 h 524"/>
                <a:gd name="T12" fmla="*/ 38 w 593"/>
                <a:gd name="T13" fmla="*/ 409 h 524"/>
                <a:gd name="T14" fmla="*/ 71 w 593"/>
                <a:gd name="T15" fmla="*/ 335 h 524"/>
                <a:gd name="T16" fmla="*/ 92 w 593"/>
                <a:gd name="T17" fmla="*/ 295 h 524"/>
                <a:gd name="T18" fmla="*/ 92 w 593"/>
                <a:gd name="T19" fmla="*/ 286 h 524"/>
                <a:gd name="T20" fmla="*/ 71 w 593"/>
                <a:gd name="T21" fmla="*/ 302 h 524"/>
                <a:gd name="T22" fmla="*/ 158 w 593"/>
                <a:gd name="T23" fmla="*/ 229 h 524"/>
                <a:gd name="T24" fmla="*/ 163 w 593"/>
                <a:gd name="T25" fmla="*/ 168 h 524"/>
                <a:gd name="T26" fmla="*/ 179 w 593"/>
                <a:gd name="T27" fmla="*/ 135 h 524"/>
                <a:gd name="T28" fmla="*/ 179 w 593"/>
                <a:gd name="T29" fmla="*/ 113 h 524"/>
                <a:gd name="T30" fmla="*/ 250 w 593"/>
                <a:gd name="T31" fmla="*/ 73 h 524"/>
                <a:gd name="T32" fmla="*/ 272 w 593"/>
                <a:gd name="T33" fmla="*/ 0 h 524"/>
                <a:gd name="T34" fmla="*/ 593 w 593"/>
                <a:gd name="T35" fmla="*/ 0 h 524"/>
                <a:gd name="T36" fmla="*/ 593 w 593"/>
                <a:gd name="T37" fmla="*/ 24 h 524"/>
                <a:gd name="T38" fmla="*/ 593 w 593"/>
                <a:gd name="T39" fmla="*/ 130 h 524"/>
                <a:gd name="T40" fmla="*/ 359 w 593"/>
                <a:gd name="T41" fmla="*/ 130 h 524"/>
                <a:gd name="T42" fmla="*/ 359 w 593"/>
                <a:gd name="T43" fmla="*/ 324 h 524"/>
                <a:gd name="T44" fmla="*/ 321 w 593"/>
                <a:gd name="T45" fmla="*/ 335 h 524"/>
                <a:gd name="T46" fmla="*/ 283 w 593"/>
                <a:gd name="T47" fmla="*/ 364 h 524"/>
                <a:gd name="T48" fmla="*/ 288 w 593"/>
                <a:gd name="T49" fmla="*/ 487 h 524"/>
                <a:gd name="T50" fmla="*/ 196 w 593"/>
                <a:gd name="T51" fmla="*/ 487 h 524"/>
                <a:gd name="T52" fmla="*/ 196 w 593"/>
                <a:gd name="T53" fmla="*/ 487 h 524"/>
                <a:gd name="T54" fmla="*/ 196 w 593"/>
                <a:gd name="T55" fmla="*/ 48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93" h="524">
                  <a:moveTo>
                    <a:pt x="196" y="487"/>
                  </a:moveTo>
                  <a:lnTo>
                    <a:pt x="12" y="487"/>
                  </a:lnTo>
                  <a:lnTo>
                    <a:pt x="0" y="524"/>
                  </a:lnTo>
                  <a:lnTo>
                    <a:pt x="0" y="508"/>
                  </a:lnTo>
                  <a:lnTo>
                    <a:pt x="12" y="435"/>
                  </a:lnTo>
                  <a:lnTo>
                    <a:pt x="28" y="413"/>
                  </a:lnTo>
                  <a:lnTo>
                    <a:pt x="38" y="409"/>
                  </a:lnTo>
                  <a:lnTo>
                    <a:pt x="71" y="335"/>
                  </a:lnTo>
                  <a:lnTo>
                    <a:pt x="92" y="295"/>
                  </a:lnTo>
                  <a:lnTo>
                    <a:pt x="92" y="286"/>
                  </a:lnTo>
                  <a:lnTo>
                    <a:pt x="71" y="302"/>
                  </a:lnTo>
                  <a:lnTo>
                    <a:pt x="158" y="229"/>
                  </a:lnTo>
                  <a:lnTo>
                    <a:pt x="163" y="168"/>
                  </a:lnTo>
                  <a:lnTo>
                    <a:pt x="179" y="135"/>
                  </a:lnTo>
                  <a:lnTo>
                    <a:pt x="179" y="113"/>
                  </a:lnTo>
                  <a:lnTo>
                    <a:pt x="250" y="73"/>
                  </a:lnTo>
                  <a:lnTo>
                    <a:pt x="272" y="0"/>
                  </a:lnTo>
                  <a:lnTo>
                    <a:pt x="593" y="0"/>
                  </a:lnTo>
                  <a:lnTo>
                    <a:pt x="593" y="24"/>
                  </a:lnTo>
                  <a:lnTo>
                    <a:pt x="593" y="130"/>
                  </a:lnTo>
                  <a:lnTo>
                    <a:pt x="359" y="130"/>
                  </a:lnTo>
                  <a:lnTo>
                    <a:pt x="359" y="324"/>
                  </a:lnTo>
                  <a:lnTo>
                    <a:pt x="321" y="335"/>
                  </a:lnTo>
                  <a:lnTo>
                    <a:pt x="283" y="364"/>
                  </a:lnTo>
                  <a:lnTo>
                    <a:pt x="288" y="487"/>
                  </a:lnTo>
                  <a:lnTo>
                    <a:pt x="196" y="487"/>
                  </a:lnTo>
                  <a:lnTo>
                    <a:pt x="196" y="487"/>
                  </a:lnTo>
                  <a:lnTo>
                    <a:pt x="196" y="48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1" name="Freeform 593">
              <a:extLst>
                <a:ext uri="{FF2B5EF4-FFF2-40B4-BE49-F238E27FC236}">
                  <a16:creationId xmlns:a16="http://schemas.microsoft.com/office/drawing/2014/main" id="{E7F86BE8-BD18-4764-B7F5-D462E19188A7}"/>
                </a:ext>
              </a:extLst>
            </p:cNvPr>
            <p:cNvSpPr>
              <a:spLocks noEditPoints="1"/>
            </p:cNvSpPr>
            <p:nvPr/>
          </p:nvSpPr>
          <p:spPr bwMode="gray">
            <a:xfrm>
              <a:off x="9777658" y="4433847"/>
              <a:ext cx="29129" cy="12437"/>
            </a:xfrm>
            <a:custGeom>
              <a:avLst/>
              <a:gdLst>
                <a:gd name="T0" fmla="*/ 14 w 89"/>
                <a:gd name="T1" fmla="*/ 0 h 38"/>
                <a:gd name="T2" fmla="*/ 35 w 89"/>
                <a:gd name="T3" fmla="*/ 0 h 38"/>
                <a:gd name="T4" fmla="*/ 42 w 89"/>
                <a:gd name="T5" fmla="*/ 16 h 38"/>
                <a:gd name="T6" fmla="*/ 35 w 89"/>
                <a:gd name="T7" fmla="*/ 26 h 38"/>
                <a:gd name="T8" fmla="*/ 14 w 89"/>
                <a:gd name="T9" fmla="*/ 26 h 38"/>
                <a:gd name="T10" fmla="*/ 0 w 89"/>
                <a:gd name="T11" fmla="*/ 0 h 38"/>
                <a:gd name="T12" fmla="*/ 14 w 89"/>
                <a:gd name="T13" fmla="*/ 0 h 38"/>
                <a:gd name="T14" fmla="*/ 14 w 89"/>
                <a:gd name="T15" fmla="*/ 0 h 38"/>
                <a:gd name="T16" fmla="*/ 14 w 89"/>
                <a:gd name="T17" fmla="*/ 0 h 38"/>
                <a:gd name="T18" fmla="*/ 89 w 89"/>
                <a:gd name="T19" fmla="*/ 38 h 38"/>
                <a:gd name="T20" fmla="*/ 56 w 89"/>
                <a:gd name="T21" fmla="*/ 38 h 38"/>
                <a:gd name="T22" fmla="*/ 52 w 89"/>
                <a:gd name="T23" fmla="*/ 33 h 38"/>
                <a:gd name="T24" fmla="*/ 68 w 89"/>
                <a:gd name="T25" fmla="*/ 26 h 38"/>
                <a:gd name="T26" fmla="*/ 89 w 89"/>
                <a:gd name="T27" fmla="*/ 38 h 38"/>
                <a:gd name="T28" fmla="*/ 89 w 89"/>
                <a:gd name="T29" fmla="*/ 38 h 38"/>
                <a:gd name="T30" fmla="*/ 89 w 89"/>
                <a:gd name="T31" fmla="*/ 38 h 38"/>
                <a:gd name="T32" fmla="*/ 89 w 89"/>
                <a:gd name="T3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38">
                  <a:moveTo>
                    <a:pt x="14" y="0"/>
                  </a:moveTo>
                  <a:lnTo>
                    <a:pt x="35" y="0"/>
                  </a:lnTo>
                  <a:lnTo>
                    <a:pt x="42" y="16"/>
                  </a:lnTo>
                  <a:lnTo>
                    <a:pt x="35" y="26"/>
                  </a:lnTo>
                  <a:lnTo>
                    <a:pt x="14" y="26"/>
                  </a:lnTo>
                  <a:lnTo>
                    <a:pt x="0" y="0"/>
                  </a:lnTo>
                  <a:lnTo>
                    <a:pt x="14" y="0"/>
                  </a:lnTo>
                  <a:lnTo>
                    <a:pt x="14" y="0"/>
                  </a:lnTo>
                  <a:lnTo>
                    <a:pt x="14" y="0"/>
                  </a:lnTo>
                  <a:close/>
                  <a:moveTo>
                    <a:pt x="89" y="38"/>
                  </a:moveTo>
                  <a:lnTo>
                    <a:pt x="56" y="38"/>
                  </a:lnTo>
                  <a:lnTo>
                    <a:pt x="52" y="33"/>
                  </a:lnTo>
                  <a:lnTo>
                    <a:pt x="68" y="26"/>
                  </a:lnTo>
                  <a:lnTo>
                    <a:pt x="89" y="38"/>
                  </a:lnTo>
                  <a:lnTo>
                    <a:pt x="89" y="38"/>
                  </a:lnTo>
                  <a:lnTo>
                    <a:pt x="89" y="38"/>
                  </a:lnTo>
                  <a:lnTo>
                    <a:pt x="89" y="3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2" name="Freeform 594">
              <a:extLst>
                <a:ext uri="{FF2B5EF4-FFF2-40B4-BE49-F238E27FC236}">
                  <a16:creationId xmlns:a16="http://schemas.microsoft.com/office/drawing/2014/main" id="{1747C5D2-42A2-4A87-81E2-6A950F602B5F}"/>
                </a:ext>
              </a:extLst>
            </p:cNvPr>
            <p:cNvSpPr>
              <a:spLocks/>
            </p:cNvSpPr>
            <p:nvPr/>
          </p:nvSpPr>
          <p:spPr bwMode="gray">
            <a:xfrm>
              <a:off x="14451781" y="4735288"/>
              <a:ext cx="29457" cy="39603"/>
            </a:xfrm>
            <a:custGeom>
              <a:avLst/>
              <a:gdLst>
                <a:gd name="T0" fmla="*/ 5 w 90"/>
                <a:gd name="T1" fmla="*/ 76 h 121"/>
                <a:gd name="T2" fmla="*/ 0 w 90"/>
                <a:gd name="T3" fmla="*/ 76 h 121"/>
                <a:gd name="T4" fmla="*/ 0 w 90"/>
                <a:gd name="T5" fmla="*/ 50 h 121"/>
                <a:gd name="T6" fmla="*/ 21 w 90"/>
                <a:gd name="T7" fmla="*/ 17 h 121"/>
                <a:gd name="T8" fmla="*/ 36 w 90"/>
                <a:gd name="T9" fmla="*/ 0 h 121"/>
                <a:gd name="T10" fmla="*/ 43 w 90"/>
                <a:gd name="T11" fmla="*/ 0 h 121"/>
                <a:gd name="T12" fmla="*/ 73 w 90"/>
                <a:gd name="T13" fmla="*/ 17 h 121"/>
                <a:gd name="T14" fmla="*/ 85 w 90"/>
                <a:gd name="T15" fmla="*/ 17 h 121"/>
                <a:gd name="T16" fmla="*/ 90 w 90"/>
                <a:gd name="T17" fmla="*/ 33 h 121"/>
                <a:gd name="T18" fmla="*/ 90 w 90"/>
                <a:gd name="T19" fmla="*/ 87 h 121"/>
                <a:gd name="T20" fmla="*/ 85 w 90"/>
                <a:gd name="T21" fmla="*/ 76 h 121"/>
                <a:gd name="T22" fmla="*/ 85 w 90"/>
                <a:gd name="T23" fmla="*/ 121 h 121"/>
                <a:gd name="T24" fmla="*/ 52 w 90"/>
                <a:gd name="T25" fmla="*/ 121 h 121"/>
                <a:gd name="T26" fmla="*/ 21 w 90"/>
                <a:gd name="T27" fmla="*/ 109 h 121"/>
                <a:gd name="T28" fmla="*/ 5 w 90"/>
                <a:gd name="T29" fmla="*/ 76 h 121"/>
                <a:gd name="T30" fmla="*/ 5 w 90"/>
                <a:gd name="T31" fmla="*/ 76 h 121"/>
                <a:gd name="T32" fmla="*/ 5 w 90"/>
                <a:gd name="T33" fmla="*/ 7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21">
                  <a:moveTo>
                    <a:pt x="5" y="76"/>
                  </a:moveTo>
                  <a:lnTo>
                    <a:pt x="0" y="76"/>
                  </a:lnTo>
                  <a:lnTo>
                    <a:pt x="0" y="50"/>
                  </a:lnTo>
                  <a:lnTo>
                    <a:pt x="21" y="17"/>
                  </a:lnTo>
                  <a:lnTo>
                    <a:pt x="36" y="0"/>
                  </a:lnTo>
                  <a:lnTo>
                    <a:pt x="43" y="0"/>
                  </a:lnTo>
                  <a:lnTo>
                    <a:pt x="73" y="17"/>
                  </a:lnTo>
                  <a:lnTo>
                    <a:pt x="85" y="17"/>
                  </a:lnTo>
                  <a:lnTo>
                    <a:pt x="90" y="33"/>
                  </a:lnTo>
                  <a:lnTo>
                    <a:pt x="90" y="87"/>
                  </a:lnTo>
                  <a:lnTo>
                    <a:pt x="85" y="76"/>
                  </a:lnTo>
                  <a:lnTo>
                    <a:pt x="85" y="121"/>
                  </a:lnTo>
                  <a:lnTo>
                    <a:pt x="52" y="121"/>
                  </a:lnTo>
                  <a:lnTo>
                    <a:pt x="21" y="109"/>
                  </a:lnTo>
                  <a:lnTo>
                    <a:pt x="5" y="76"/>
                  </a:lnTo>
                  <a:lnTo>
                    <a:pt x="5" y="76"/>
                  </a:lnTo>
                  <a:lnTo>
                    <a:pt x="5" y="7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3" name="Freeform 595">
              <a:extLst>
                <a:ext uri="{FF2B5EF4-FFF2-40B4-BE49-F238E27FC236}">
                  <a16:creationId xmlns:a16="http://schemas.microsoft.com/office/drawing/2014/main" id="{06C8A191-1C52-4C1B-947C-4F751A0FBDBB}"/>
                </a:ext>
              </a:extLst>
            </p:cNvPr>
            <p:cNvSpPr>
              <a:spLocks noEditPoints="1"/>
            </p:cNvSpPr>
            <p:nvPr/>
          </p:nvSpPr>
          <p:spPr bwMode="gray">
            <a:xfrm>
              <a:off x="14724092" y="3660773"/>
              <a:ext cx="269692" cy="167576"/>
            </a:xfrm>
            <a:custGeom>
              <a:avLst/>
              <a:gdLst>
                <a:gd name="T0" fmla="*/ 21 w 824"/>
                <a:gd name="T1" fmla="*/ 184 h 512"/>
                <a:gd name="T2" fmla="*/ 38 w 824"/>
                <a:gd name="T3" fmla="*/ 179 h 512"/>
                <a:gd name="T4" fmla="*/ 38 w 824"/>
                <a:gd name="T5" fmla="*/ 123 h 512"/>
                <a:gd name="T6" fmla="*/ 63 w 824"/>
                <a:gd name="T7" fmla="*/ 111 h 512"/>
                <a:gd name="T8" fmla="*/ 123 w 824"/>
                <a:gd name="T9" fmla="*/ 123 h 512"/>
                <a:gd name="T10" fmla="*/ 252 w 824"/>
                <a:gd name="T11" fmla="*/ 250 h 512"/>
                <a:gd name="T12" fmla="*/ 656 w 824"/>
                <a:gd name="T13" fmla="*/ 0 h 512"/>
                <a:gd name="T14" fmla="*/ 694 w 824"/>
                <a:gd name="T15" fmla="*/ 196 h 512"/>
                <a:gd name="T16" fmla="*/ 661 w 824"/>
                <a:gd name="T17" fmla="*/ 222 h 512"/>
                <a:gd name="T18" fmla="*/ 602 w 824"/>
                <a:gd name="T19" fmla="*/ 278 h 512"/>
                <a:gd name="T20" fmla="*/ 522 w 824"/>
                <a:gd name="T21" fmla="*/ 311 h 512"/>
                <a:gd name="T22" fmla="*/ 446 w 824"/>
                <a:gd name="T23" fmla="*/ 333 h 512"/>
                <a:gd name="T24" fmla="*/ 425 w 824"/>
                <a:gd name="T25" fmla="*/ 366 h 512"/>
                <a:gd name="T26" fmla="*/ 371 w 824"/>
                <a:gd name="T27" fmla="*/ 366 h 512"/>
                <a:gd name="T28" fmla="*/ 281 w 824"/>
                <a:gd name="T29" fmla="*/ 418 h 512"/>
                <a:gd name="T30" fmla="*/ 193 w 824"/>
                <a:gd name="T31" fmla="*/ 439 h 512"/>
                <a:gd name="T32" fmla="*/ 172 w 824"/>
                <a:gd name="T33" fmla="*/ 460 h 512"/>
                <a:gd name="T34" fmla="*/ 160 w 824"/>
                <a:gd name="T35" fmla="*/ 456 h 512"/>
                <a:gd name="T36" fmla="*/ 156 w 824"/>
                <a:gd name="T37" fmla="*/ 460 h 512"/>
                <a:gd name="T38" fmla="*/ 118 w 824"/>
                <a:gd name="T39" fmla="*/ 472 h 512"/>
                <a:gd name="T40" fmla="*/ 63 w 824"/>
                <a:gd name="T41" fmla="*/ 460 h 512"/>
                <a:gd name="T42" fmla="*/ 54 w 824"/>
                <a:gd name="T43" fmla="*/ 456 h 512"/>
                <a:gd name="T44" fmla="*/ 38 w 824"/>
                <a:gd name="T45" fmla="*/ 389 h 512"/>
                <a:gd name="T46" fmla="*/ 16 w 824"/>
                <a:gd name="T47" fmla="*/ 307 h 512"/>
                <a:gd name="T48" fmla="*/ 0 w 824"/>
                <a:gd name="T49" fmla="*/ 278 h 512"/>
                <a:gd name="T50" fmla="*/ 12 w 824"/>
                <a:gd name="T51" fmla="*/ 278 h 512"/>
                <a:gd name="T52" fmla="*/ 12 w 824"/>
                <a:gd name="T53" fmla="*/ 234 h 512"/>
                <a:gd name="T54" fmla="*/ 12 w 824"/>
                <a:gd name="T55" fmla="*/ 196 h 512"/>
                <a:gd name="T56" fmla="*/ 12 w 824"/>
                <a:gd name="T57" fmla="*/ 378 h 512"/>
                <a:gd name="T58" fmla="*/ 12 w 824"/>
                <a:gd name="T59" fmla="*/ 366 h 512"/>
                <a:gd name="T60" fmla="*/ 12 w 824"/>
                <a:gd name="T61" fmla="*/ 378 h 512"/>
                <a:gd name="T62" fmla="*/ 808 w 824"/>
                <a:gd name="T63" fmla="*/ 472 h 512"/>
                <a:gd name="T64" fmla="*/ 803 w 824"/>
                <a:gd name="T65" fmla="*/ 493 h 512"/>
                <a:gd name="T66" fmla="*/ 749 w 824"/>
                <a:gd name="T67" fmla="*/ 477 h 512"/>
                <a:gd name="T68" fmla="*/ 775 w 824"/>
                <a:gd name="T69" fmla="*/ 472 h 512"/>
                <a:gd name="T70" fmla="*/ 808 w 824"/>
                <a:gd name="T71" fmla="*/ 472 h 512"/>
                <a:gd name="T72" fmla="*/ 808 w 824"/>
                <a:gd name="T73" fmla="*/ 472 h 512"/>
                <a:gd name="T74" fmla="*/ 656 w 824"/>
                <a:gd name="T75" fmla="*/ 500 h 512"/>
                <a:gd name="T76" fmla="*/ 678 w 824"/>
                <a:gd name="T77" fmla="*/ 512 h 512"/>
                <a:gd name="T78" fmla="*/ 678 w 824"/>
                <a:gd name="T79"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24" h="512">
                  <a:moveTo>
                    <a:pt x="12" y="196"/>
                  </a:moveTo>
                  <a:lnTo>
                    <a:pt x="21" y="184"/>
                  </a:lnTo>
                  <a:lnTo>
                    <a:pt x="33" y="179"/>
                  </a:lnTo>
                  <a:lnTo>
                    <a:pt x="38" y="179"/>
                  </a:lnTo>
                  <a:lnTo>
                    <a:pt x="33" y="156"/>
                  </a:lnTo>
                  <a:lnTo>
                    <a:pt x="38" y="123"/>
                  </a:lnTo>
                  <a:lnTo>
                    <a:pt x="49" y="111"/>
                  </a:lnTo>
                  <a:lnTo>
                    <a:pt x="63" y="111"/>
                  </a:lnTo>
                  <a:lnTo>
                    <a:pt x="87" y="127"/>
                  </a:lnTo>
                  <a:lnTo>
                    <a:pt x="123" y="123"/>
                  </a:lnTo>
                  <a:lnTo>
                    <a:pt x="252" y="179"/>
                  </a:lnTo>
                  <a:lnTo>
                    <a:pt x="252" y="250"/>
                  </a:lnTo>
                  <a:lnTo>
                    <a:pt x="425" y="56"/>
                  </a:lnTo>
                  <a:lnTo>
                    <a:pt x="656" y="0"/>
                  </a:lnTo>
                  <a:lnTo>
                    <a:pt x="732" y="179"/>
                  </a:lnTo>
                  <a:lnTo>
                    <a:pt x="694" y="196"/>
                  </a:lnTo>
                  <a:lnTo>
                    <a:pt x="668" y="200"/>
                  </a:lnTo>
                  <a:lnTo>
                    <a:pt x="661" y="222"/>
                  </a:lnTo>
                  <a:lnTo>
                    <a:pt x="661" y="255"/>
                  </a:lnTo>
                  <a:lnTo>
                    <a:pt x="602" y="278"/>
                  </a:lnTo>
                  <a:lnTo>
                    <a:pt x="550" y="295"/>
                  </a:lnTo>
                  <a:lnTo>
                    <a:pt x="522" y="311"/>
                  </a:lnTo>
                  <a:lnTo>
                    <a:pt x="505" y="311"/>
                  </a:lnTo>
                  <a:lnTo>
                    <a:pt x="446" y="333"/>
                  </a:lnTo>
                  <a:lnTo>
                    <a:pt x="441" y="349"/>
                  </a:lnTo>
                  <a:lnTo>
                    <a:pt x="425" y="366"/>
                  </a:lnTo>
                  <a:lnTo>
                    <a:pt x="392" y="378"/>
                  </a:lnTo>
                  <a:lnTo>
                    <a:pt x="371" y="366"/>
                  </a:lnTo>
                  <a:lnTo>
                    <a:pt x="333" y="401"/>
                  </a:lnTo>
                  <a:lnTo>
                    <a:pt x="281" y="418"/>
                  </a:lnTo>
                  <a:lnTo>
                    <a:pt x="210" y="423"/>
                  </a:lnTo>
                  <a:lnTo>
                    <a:pt x="193" y="439"/>
                  </a:lnTo>
                  <a:lnTo>
                    <a:pt x="172" y="444"/>
                  </a:lnTo>
                  <a:lnTo>
                    <a:pt x="172" y="460"/>
                  </a:lnTo>
                  <a:lnTo>
                    <a:pt x="160" y="460"/>
                  </a:lnTo>
                  <a:lnTo>
                    <a:pt x="160" y="456"/>
                  </a:lnTo>
                  <a:lnTo>
                    <a:pt x="156" y="460"/>
                  </a:lnTo>
                  <a:lnTo>
                    <a:pt x="156" y="460"/>
                  </a:lnTo>
                  <a:lnTo>
                    <a:pt x="130" y="456"/>
                  </a:lnTo>
                  <a:lnTo>
                    <a:pt x="118" y="472"/>
                  </a:lnTo>
                  <a:lnTo>
                    <a:pt x="92" y="477"/>
                  </a:lnTo>
                  <a:lnTo>
                    <a:pt x="63" y="460"/>
                  </a:lnTo>
                  <a:lnTo>
                    <a:pt x="54" y="472"/>
                  </a:lnTo>
                  <a:lnTo>
                    <a:pt x="54" y="456"/>
                  </a:lnTo>
                  <a:lnTo>
                    <a:pt x="38" y="434"/>
                  </a:lnTo>
                  <a:lnTo>
                    <a:pt x="38" y="389"/>
                  </a:lnTo>
                  <a:lnTo>
                    <a:pt x="33" y="378"/>
                  </a:lnTo>
                  <a:lnTo>
                    <a:pt x="16" y="307"/>
                  </a:lnTo>
                  <a:lnTo>
                    <a:pt x="16" y="290"/>
                  </a:lnTo>
                  <a:lnTo>
                    <a:pt x="0" y="278"/>
                  </a:lnTo>
                  <a:lnTo>
                    <a:pt x="0" y="271"/>
                  </a:lnTo>
                  <a:lnTo>
                    <a:pt x="12" y="278"/>
                  </a:lnTo>
                  <a:lnTo>
                    <a:pt x="0" y="250"/>
                  </a:lnTo>
                  <a:lnTo>
                    <a:pt x="12" y="234"/>
                  </a:lnTo>
                  <a:lnTo>
                    <a:pt x="12" y="196"/>
                  </a:lnTo>
                  <a:lnTo>
                    <a:pt x="12" y="196"/>
                  </a:lnTo>
                  <a:lnTo>
                    <a:pt x="12" y="196"/>
                  </a:lnTo>
                  <a:close/>
                  <a:moveTo>
                    <a:pt x="12" y="378"/>
                  </a:moveTo>
                  <a:lnTo>
                    <a:pt x="0" y="366"/>
                  </a:lnTo>
                  <a:lnTo>
                    <a:pt x="12" y="366"/>
                  </a:lnTo>
                  <a:lnTo>
                    <a:pt x="12" y="378"/>
                  </a:lnTo>
                  <a:lnTo>
                    <a:pt x="12" y="378"/>
                  </a:lnTo>
                  <a:lnTo>
                    <a:pt x="12" y="378"/>
                  </a:lnTo>
                  <a:close/>
                  <a:moveTo>
                    <a:pt x="808" y="472"/>
                  </a:moveTo>
                  <a:lnTo>
                    <a:pt x="824" y="477"/>
                  </a:lnTo>
                  <a:lnTo>
                    <a:pt x="803" y="493"/>
                  </a:lnTo>
                  <a:lnTo>
                    <a:pt x="770" y="493"/>
                  </a:lnTo>
                  <a:lnTo>
                    <a:pt x="749" y="477"/>
                  </a:lnTo>
                  <a:lnTo>
                    <a:pt x="753" y="460"/>
                  </a:lnTo>
                  <a:lnTo>
                    <a:pt x="775" y="472"/>
                  </a:lnTo>
                  <a:lnTo>
                    <a:pt x="803" y="472"/>
                  </a:lnTo>
                  <a:lnTo>
                    <a:pt x="808" y="472"/>
                  </a:lnTo>
                  <a:lnTo>
                    <a:pt x="808" y="472"/>
                  </a:lnTo>
                  <a:lnTo>
                    <a:pt x="808" y="472"/>
                  </a:lnTo>
                  <a:close/>
                  <a:moveTo>
                    <a:pt x="678" y="512"/>
                  </a:moveTo>
                  <a:lnTo>
                    <a:pt x="656" y="500"/>
                  </a:lnTo>
                  <a:lnTo>
                    <a:pt x="678" y="500"/>
                  </a:lnTo>
                  <a:lnTo>
                    <a:pt x="678" y="512"/>
                  </a:lnTo>
                  <a:lnTo>
                    <a:pt x="678" y="512"/>
                  </a:lnTo>
                  <a:lnTo>
                    <a:pt x="678" y="5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4" name="Freeform 596">
              <a:extLst>
                <a:ext uri="{FF2B5EF4-FFF2-40B4-BE49-F238E27FC236}">
                  <a16:creationId xmlns:a16="http://schemas.microsoft.com/office/drawing/2014/main" id="{FFEE57CE-63CD-4577-8E7E-B0DD219753D8}"/>
                </a:ext>
              </a:extLst>
            </p:cNvPr>
            <p:cNvSpPr>
              <a:spLocks/>
            </p:cNvSpPr>
            <p:nvPr/>
          </p:nvSpPr>
          <p:spPr bwMode="gray">
            <a:xfrm>
              <a:off x="14250821" y="4306856"/>
              <a:ext cx="266747" cy="238927"/>
            </a:xfrm>
            <a:custGeom>
              <a:avLst/>
              <a:gdLst>
                <a:gd name="T0" fmla="*/ 593 w 815"/>
                <a:gd name="T1" fmla="*/ 548 h 730"/>
                <a:gd name="T2" fmla="*/ 487 w 815"/>
                <a:gd name="T3" fmla="*/ 570 h 730"/>
                <a:gd name="T4" fmla="*/ 404 w 815"/>
                <a:gd name="T5" fmla="*/ 641 h 730"/>
                <a:gd name="T6" fmla="*/ 350 w 815"/>
                <a:gd name="T7" fmla="*/ 719 h 730"/>
                <a:gd name="T8" fmla="*/ 291 w 815"/>
                <a:gd name="T9" fmla="*/ 714 h 730"/>
                <a:gd name="T10" fmla="*/ 260 w 815"/>
                <a:gd name="T11" fmla="*/ 702 h 730"/>
                <a:gd name="T12" fmla="*/ 227 w 815"/>
                <a:gd name="T13" fmla="*/ 702 h 730"/>
                <a:gd name="T14" fmla="*/ 184 w 815"/>
                <a:gd name="T15" fmla="*/ 681 h 730"/>
                <a:gd name="T16" fmla="*/ 97 w 815"/>
                <a:gd name="T17" fmla="*/ 697 h 730"/>
                <a:gd name="T18" fmla="*/ 5 w 815"/>
                <a:gd name="T19" fmla="*/ 608 h 730"/>
                <a:gd name="T20" fmla="*/ 0 w 815"/>
                <a:gd name="T21" fmla="*/ 348 h 730"/>
                <a:gd name="T22" fmla="*/ 130 w 815"/>
                <a:gd name="T23" fmla="*/ 331 h 730"/>
                <a:gd name="T24" fmla="*/ 135 w 815"/>
                <a:gd name="T25" fmla="*/ 293 h 730"/>
                <a:gd name="T26" fmla="*/ 147 w 815"/>
                <a:gd name="T27" fmla="*/ 239 h 730"/>
                <a:gd name="T28" fmla="*/ 168 w 815"/>
                <a:gd name="T29" fmla="*/ 215 h 730"/>
                <a:gd name="T30" fmla="*/ 168 w 815"/>
                <a:gd name="T31" fmla="*/ 239 h 730"/>
                <a:gd name="T32" fmla="*/ 227 w 815"/>
                <a:gd name="T33" fmla="*/ 222 h 730"/>
                <a:gd name="T34" fmla="*/ 236 w 815"/>
                <a:gd name="T35" fmla="*/ 256 h 730"/>
                <a:gd name="T36" fmla="*/ 335 w 815"/>
                <a:gd name="T37" fmla="*/ 277 h 730"/>
                <a:gd name="T38" fmla="*/ 350 w 815"/>
                <a:gd name="T39" fmla="*/ 256 h 730"/>
                <a:gd name="T40" fmla="*/ 366 w 815"/>
                <a:gd name="T41" fmla="*/ 260 h 730"/>
                <a:gd name="T42" fmla="*/ 387 w 815"/>
                <a:gd name="T43" fmla="*/ 305 h 730"/>
                <a:gd name="T44" fmla="*/ 454 w 815"/>
                <a:gd name="T45" fmla="*/ 315 h 730"/>
                <a:gd name="T46" fmla="*/ 470 w 815"/>
                <a:gd name="T47" fmla="*/ 348 h 730"/>
                <a:gd name="T48" fmla="*/ 496 w 815"/>
                <a:gd name="T49" fmla="*/ 381 h 730"/>
                <a:gd name="T50" fmla="*/ 539 w 815"/>
                <a:gd name="T51" fmla="*/ 371 h 730"/>
                <a:gd name="T52" fmla="*/ 546 w 815"/>
                <a:gd name="T53" fmla="*/ 388 h 730"/>
                <a:gd name="T54" fmla="*/ 524 w 815"/>
                <a:gd name="T55" fmla="*/ 293 h 730"/>
                <a:gd name="T56" fmla="*/ 508 w 815"/>
                <a:gd name="T57" fmla="*/ 310 h 730"/>
                <a:gd name="T58" fmla="*/ 475 w 815"/>
                <a:gd name="T59" fmla="*/ 289 h 730"/>
                <a:gd name="T60" fmla="*/ 442 w 815"/>
                <a:gd name="T61" fmla="*/ 248 h 730"/>
                <a:gd name="T62" fmla="*/ 470 w 815"/>
                <a:gd name="T63" fmla="*/ 182 h 730"/>
                <a:gd name="T64" fmla="*/ 470 w 815"/>
                <a:gd name="T65" fmla="*/ 121 h 730"/>
                <a:gd name="T66" fmla="*/ 442 w 815"/>
                <a:gd name="T67" fmla="*/ 83 h 730"/>
                <a:gd name="T68" fmla="*/ 487 w 815"/>
                <a:gd name="T69" fmla="*/ 38 h 730"/>
                <a:gd name="T70" fmla="*/ 614 w 815"/>
                <a:gd name="T71" fmla="*/ 0 h 730"/>
                <a:gd name="T72" fmla="*/ 659 w 815"/>
                <a:gd name="T73" fmla="*/ 34 h 730"/>
                <a:gd name="T74" fmla="*/ 702 w 815"/>
                <a:gd name="T75" fmla="*/ 55 h 730"/>
                <a:gd name="T76" fmla="*/ 728 w 815"/>
                <a:gd name="T77" fmla="*/ 71 h 730"/>
                <a:gd name="T78" fmla="*/ 761 w 815"/>
                <a:gd name="T79" fmla="*/ 88 h 730"/>
                <a:gd name="T80" fmla="*/ 782 w 815"/>
                <a:gd name="T81" fmla="*/ 104 h 730"/>
                <a:gd name="T82" fmla="*/ 794 w 815"/>
                <a:gd name="T83" fmla="*/ 140 h 730"/>
                <a:gd name="T84" fmla="*/ 810 w 815"/>
                <a:gd name="T85" fmla="*/ 161 h 730"/>
                <a:gd name="T86" fmla="*/ 810 w 815"/>
                <a:gd name="T87" fmla="*/ 194 h 730"/>
                <a:gd name="T88" fmla="*/ 798 w 815"/>
                <a:gd name="T89" fmla="*/ 215 h 730"/>
                <a:gd name="T90" fmla="*/ 794 w 815"/>
                <a:gd name="T91" fmla="*/ 260 h 730"/>
                <a:gd name="T92" fmla="*/ 794 w 815"/>
                <a:gd name="T93" fmla="*/ 305 h 730"/>
                <a:gd name="T94" fmla="*/ 794 w 815"/>
                <a:gd name="T95" fmla="*/ 315 h 730"/>
                <a:gd name="T96" fmla="*/ 765 w 815"/>
                <a:gd name="T97" fmla="*/ 331 h 730"/>
                <a:gd name="T98" fmla="*/ 761 w 815"/>
                <a:gd name="T99" fmla="*/ 381 h 730"/>
                <a:gd name="T100" fmla="*/ 765 w 815"/>
                <a:gd name="T101" fmla="*/ 421 h 730"/>
                <a:gd name="T102" fmla="*/ 777 w 815"/>
                <a:gd name="T103" fmla="*/ 421 h 730"/>
                <a:gd name="T104" fmla="*/ 576 w 815"/>
                <a:gd name="T105" fmla="*/ 499 h 730"/>
                <a:gd name="T106" fmla="*/ 576 w 815"/>
                <a:gd name="T107" fmla="*/ 499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5" h="730">
                  <a:moveTo>
                    <a:pt x="576" y="499"/>
                  </a:moveTo>
                  <a:lnTo>
                    <a:pt x="593" y="548"/>
                  </a:lnTo>
                  <a:lnTo>
                    <a:pt x="529" y="548"/>
                  </a:lnTo>
                  <a:lnTo>
                    <a:pt x="487" y="570"/>
                  </a:lnTo>
                  <a:lnTo>
                    <a:pt x="470" y="608"/>
                  </a:lnTo>
                  <a:lnTo>
                    <a:pt x="404" y="641"/>
                  </a:lnTo>
                  <a:lnTo>
                    <a:pt x="387" y="674"/>
                  </a:lnTo>
                  <a:lnTo>
                    <a:pt x="350" y="719"/>
                  </a:lnTo>
                  <a:lnTo>
                    <a:pt x="328" y="730"/>
                  </a:lnTo>
                  <a:lnTo>
                    <a:pt x="291" y="714"/>
                  </a:lnTo>
                  <a:lnTo>
                    <a:pt x="274" y="719"/>
                  </a:lnTo>
                  <a:lnTo>
                    <a:pt x="260" y="702"/>
                  </a:lnTo>
                  <a:lnTo>
                    <a:pt x="243" y="714"/>
                  </a:lnTo>
                  <a:lnTo>
                    <a:pt x="227" y="702"/>
                  </a:lnTo>
                  <a:lnTo>
                    <a:pt x="206" y="690"/>
                  </a:lnTo>
                  <a:lnTo>
                    <a:pt x="184" y="681"/>
                  </a:lnTo>
                  <a:lnTo>
                    <a:pt x="151" y="681"/>
                  </a:lnTo>
                  <a:lnTo>
                    <a:pt x="97" y="697"/>
                  </a:lnTo>
                  <a:lnTo>
                    <a:pt x="80" y="681"/>
                  </a:lnTo>
                  <a:lnTo>
                    <a:pt x="5" y="608"/>
                  </a:lnTo>
                  <a:lnTo>
                    <a:pt x="0" y="586"/>
                  </a:lnTo>
                  <a:lnTo>
                    <a:pt x="0" y="348"/>
                  </a:lnTo>
                  <a:lnTo>
                    <a:pt x="135" y="359"/>
                  </a:lnTo>
                  <a:lnTo>
                    <a:pt x="130" y="331"/>
                  </a:lnTo>
                  <a:lnTo>
                    <a:pt x="147" y="310"/>
                  </a:lnTo>
                  <a:lnTo>
                    <a:pt x="135" y="293"/>
                  </a:lnTo>
                  <a:lnTo>
                    <a:pt x="135" y="256"/>
                  </a:lnTo>
                  <a:lnTo>
                    <a:pt x="147" y="239"/>
                  </a:lnTo>
                  <a:lnTo>
                    <a:pt x="135" y="199"/>
                  </a:lnTo>
                  <a:lnTo>
                    <a:pt x="168" y="215"/>
                  </a:lnTo>
                  <a:lnTo>
                    <a:pt x="161" y="232"/>
                  </a:lnTo>
                  <a:lnTo>
                    <a:pt x="168" y="239"/>
                  </a:lnTo>
                  <a:lnTo>
                    <a:pt x="189" y="232"/>
                  </a:lnTo>
                  <a:lnTo>
                    <a:pt x="227" y="222"/>
                  </a:lnTo>
                  <a:lnTo>
                    <a:pt x="227" y="232"/>
                  </a:lnTo>
                  <a:lnTo>
                    <a:pt x="236" y="256"/>
                  </a:lnTo>
                  <a:lnTo>
                    <a:pt x="274" y="272"/>
                  </a:lnTo>
                  <a:lnTo>
                    <a:pt x="335" y="277"/>
                  </a:lnTo>
                  <a:lnTo>
                    <a:pt x="345" y="272"/>
                  </a:lnTo>
                  <a:lnTo>
                    <a:pt x="350" y="256"/>
                  </a:lnTo>
                  <a:lnTo>
                    <a:pt x="361" y="248"/>
                  </a:lnTo>
                  <a:lnTo>
                    <a:pt x="366" y="260"/>
                  </a:lnTo>
                  <a:lnTo>
                    <a:pt x="383" y="277"/>
                  </a:lnTo>
                  <a:lnTo>
                    <a:pt x="387" y="305"/>
                  </a:lnTo>
                  <a:lnTo>
                    <a:pt x="404" y="305"/>
                  </a:lnTo>
                  <a:lnTo>
                    <a:pt x="454" y="315"/>
                  </a:lnTo>
                  <a:lnTo>
                    <a:pt x="458" y="343"/>
                  </a:lnTo>
                  <a:lnTo>
                    <a:pt x="470" y="348"/>
                  </a:lnTo>
                  <a:lnTo>
                    <a:pt x="491" y="381"/>
                  </a:lnTo>
                  <a:lnTo>
                    <a:pt x="496" y="381"/>
                  </a:lnTo>
                  <a:lnTo>
                    <a:pt x="529" y="371"/>
                  </a:lnTo>
                  <a:lnTo>
                    <a:pt x="539" y="371"/>
                  </a:lnTo>
                  <a:lnTo>
                    <a:pt x="529" y="381"/>
                  </a:lnTo>
                  <a:lnTo>
                    <a:pt x="546" y="388"/>
                  </a:lnTo>
                  <a:lnTo>
                    <a:pt x="546" y="293"/>
                  </a:lnTo>
                  <a:lnTo>
                    <a:pt x="524" y="293"/>
                  </a:lnTo>
                  <a:lnTo>
                    <a:pt x="524" y="310"/>
                  </a:lnTo>
                  <a:lnTo>
                    <a:pt x="508" y="310"/>
                  </a:lnTo>
                  <a:lnTo>
                    <a:pt x="491" y="310"/>
                  </a:lnTo>
                  <a:lnTo>
                    <a:pt x="475" y="289"/>
                  </a:lnTo>
                  <a:lnTo>
                    <a:pt x="454" y="272"/>
                  </a:lnTo>
                  <a:lnTo>
                    <a:pt x="442" y="248"/>
                  </a:lnTo>
                  <a:lnTo>
                    <a:pt x="458" y="199"/>
                  </a:lnTo>
                  <a:lnTo>
                    <a:pt x="470" y="182"/>
                  </a:lnTo>
                  <a:lnTo>
                    <a:pt x="458" y="149"/>
                  </a:lnTo>
                  <a:lnTo>
                    <a:pt x="470" y="121"/>
                  </a:lnTo>
                  <a:lnTo>
                    <a:pt x="454" y="88"/>
                  </a:lnTo>
                  <a:lnTo>
                    <a:pt x="442" y="83"/>
                  </a:lnTo>
                  <a:lnTo>
                    <a:pt x="475" y="50"/>
                  </a:lnTo>
                  <a:lnTo>
                    <a:pt x="487" y="38"/>
                  </a:lnTo>
                  <a:lnTo>
                    <a:pt x="487" y="29"/>
                  </a:lnTo>
                  <a:lnTo>
                    <a:pt x="614" y="0"/>
                  </a:lnTo>
                  <a:lnTo>
                    <a:pt x="631" y="34"/>
                  </a:lnTo>
                  <a:lnTo>
                    <a:pt x="659" y="34"/>
                  </a:lnTo>
                  <a:lnTo>
                    <a:pt x="676" y="55"/>
                  </a:lnTo>
                  <a:lnTo>
                    <a:pt x="702" y="55"/>
                  </a:lnTo>
                  <a:lnTo>
                    <a:pt x="702" y="67"/>
                  </a:lnTo>
                  <a:lnTo>
                    <a:pt x="728" y="71"/>
                  </a:lnTo>
                  <a:lnTo>
                    <a:pt x="739" y="83"/>
                  </a:lnTo>
                  <a:lnTo>
                    <a:pt x="761" y="88"/>
                  </a:lnTo>
                  <a:lnTo>
                    <a:pt x="765" y="104"/>
                  </a:lnTo>
                  <a:lnTo>
                    <a:pt x="782" y="104"/>
                  </a:lnTo>
                  <a:lnTo>
                    <a:pt x="794" y="128"/>
                  </a:lnTo>
                  <a:lnTo>
                    <a:pt x="794" y="140"/>
                  </a:lnTo>
                  <a:lnTo>
                    <a:pt x="810" y="149"/>
                  </a:lnTo>
                  <a:lnTo>
                    <a:pt x="810" y="161"/>
                  </a:lnTo>
                  <a:lnTo>
                    <a:pt x="815" y="178"/>
                  </a:lnTo>
                  <a:lnTo>
                    <a:pt x="810" y="194"/>
                  </a:lnTo>
                  <a:lnTo>
                    <a:pt x="782" y="199"/>
                  </a:lnTo>
                  <a:lnTo>
                    <a:pt x="798" y="215"/>
                  </a:lnTo>
                  <a:lnTo>
                    <a:pt x="782" y="239"/>
                  </a:lnTo>
                  <a:lnTo>
                    <a:pt x="794" y="260"/>
                  </a:lnTo>
                  <a:lnTo>
                    <a:pt x="782" y="293"/>
                  </a:lnTo>
                  <a:lnTo>
                    <a:pt x="794" y="305"/>
                  </a:lnTo>
                  <a:lnTo>
                    <a:pt x="810" y="310"/>
                  </a:lnTo>
                  <a:lnTo>
                    <a:pt x="794" y="315"/>
                  </a:lnTo>
                  <a:lnTo>
                    <a:pt x="765" y="326"/>
                  </a:lnTo>
                  <a:lnTo>
                    <a:pt x="765" y="331"/>
                  </a:lnTo>
                  <a:lnTo>
                    <a:pt x="765" y="348"/>
                  </a:lnTo>
                  <a:lnTo>
                    <a:pt x="761" y="381"/>
                  </a:lnTo>
                  <a:lnTo>
                    <a:pt x="744" y="397"/>
                  </a:lnTo>
                  <a:lnTo>
                    <a:pt x="765" y="421"/>
                  </a:lnTo>
                  <a:lnTo>
                    <a:pt x="777" y="426"/>
                  </a:lnTo>
                  <a:lnTo>
                    <a:pt x="777" y="421"/>
                  </a:lnTo>
                  <a:lnTo>
                    <a:pt x="782" y="426"/>
                  </a:lnTo>
                  <a:lnTo>
                    <a:pt x="576" y="499"/>
                  </a:lnTo>
                  <a:lnTo>
                    <a:pt x="576" y="499"/>
                  </a:lnTo>
                  <a:lnTo>
                    <a:pt x="576" y="49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5" name="Freeform 597">
              <a:extLst>
                <a:ext uri="{FF2B5EF4-FFF2-40B4-BE49-F238E27FC236}">
                  <a16:creationId xmlns:a16="http://schemas.microsoft.com/office/drawing/2014/main" id="{65FA9528-7E83-4335-AA8D-2CF1028C335F}"/>
                </a:ext>
              </a:extLst>
            </p:cNvPr>
            <p:cNvSpPr>
              <a:spLocks/>
            </p:cNvSpPr>
            <p:nvPr/>
          </p:nvSpPr>
          <p:spPr bwMode="gray">
            <a:xfrm>
              <a:off x="14323480" y="4487197"/>
              <a:ext cx="181650" cy="163976"/>
            </a:xfrm>
            <a:custGeom>
              <a:avLst/>
              <a:gdLst>
                <a:gd name="T0" fmla="*/ 506 w 555"/>
                <a:gd name="T1" fmla="*/ 418 h 501"/>
                <a:gd name="T2" fmla="*/ 397 w 555"/>
                <a:gd name="T3" fmla="*/ 496 h 501"/>
                <a:gd name="T4" fmla="*/ 317 w 555"/>
                <a:gd name="T5" fmla="*/ 479 h 501"/>
                <a:gd name="T6" fmla="*/ 284 w 555"/>
                <a:gd name="T7" fmla="*/ 472 h 501"/>
                <a:gd name="T8" fmla="*/ 267 w 555"/>
                <a:gd name="T9" fmla="*/ 456 h 501"/>
                <a:gd name="T10" fmla="*/ 196 w 555"/>
                <a:gd name="T11" fmla="*/ 439 h 501"/>
                <a:gd name="T12" fmla="*/ 175 w 555"/>
                <a:gd name="T13" fmla="*/ 364 h 501"/>
                <a:gd name="T14" fmla="*/ 137 w 555"/>
                <a:gd name="T15" fmla="*/ 331 h 501"/>
                <a:gd name="T16" fmla="*/ 66 w 555"/>
                <a:gd name="T17" fmla="*/ 281 h 501"/>
                <a:gd name="T18" fmla="*/ 50 w 555"/>
                <a:gd name="T19" fmla="*/ 241 h 501"/>
                <a:gd name="T20" fmla="*/ 0 w 555"/>
                <a:gd name="T21" fmla="*/ 153 h 501"/>
                <a:gd name="T22" fmla="*/ 33 w 555"/>
                <a:gd name="T23" fmla="*/ 153 h 501"/>
                <a:gd name="T24" fmla="*/ 66 w 555"/>
                <a:gd name="T25" fmla="*/ 165 h 501"/>
                <a:gd name="T26" fmla="*/ 125 w 555"/>
                <a:gd name="T27" fmla="*/ 170 h 501"/>
                <a:gd name="T28" fmla="*/ 180 w 555"/>
                <a:gd name="T29" fmla="*/ 92 h 501"/>
                <a:gd name="T30" fmla="*/ 262 w 555"/>
                <a:gd name="T31" fmla="*/ 21 h 501"/>
                <a:gd name="T32" fmla="*/ 371 w 555"/>
                <a:gd name="T33" fmla="*/ 0 h 501"/>
                <a:gd name="T34" fmla="*/ 423 w 555"/>
                <a:gd name="T35" fmla="*/ 21 h 501"/>
                <a:gd name="T36" fmla="*/ 451 w 555"/>
                <a:gd name="T37" fmla="*/ 38 h 501"/>
                <a:gd name="T38" fmla="*/ 501 w 555"/>
                <a:gd name="T39" fmla="*/ 59 h 501"/>
                <a:gd name="T40" fmla="*/ 532 w 555"/>
                <a:gd name="T41" fmla="*/ 75 h 501"/>
                <a:gd name="T42" fmla="*/ 539 w 555"/>
                <a:gd name="T43" fmla="*/ 92 h 501"/>
                <a:gd name="T44" fmla="*/ 543 w 555"/>
                <a:gd name="T45" fmla="*/ 132 h 501"/>
                <a:gd name="T46" fmla="*/ 539 w 555"/>
                <a:gd name="T47" fmla="*/ 170 h 501"/>
                <a:gd name="T48" fmla="*/ 555 w 555"/>
                <a:gd name="T49" fmla="*/ 198 h 501"/>
                <a:gd name="T50" fmla="*/ 539 w 555"/>
                <a:gd name="T51" fmla="*/ 224 h 501"/>
                <a:gd name="T52" fmla="*/ 522 w 555"/>
                <a:gd name="T53" fmla="*/ 241 h 501"/>
                <a:gd name="T54" fmla="*/ 532 w 555"/>
                <a:gd name="T55" fmla="*/ 281 h 501"/>
                <a:gd name="T56" fmla="*/ 539 w 555"/>
                <a:gd name="T57" fmla="*/ 347 h 501"/>
                <a:gd name="T58" fmla="*/ 506 w 555"/>
                <a:gd name="T59" fmla="*/ 368 h 501"/>
                <a:gd name="T60" fmla="*/ 501 w 555"/>
                <a:gd name="T61" fmla="*/ 406 h 501"/>
                <a:gd name="T62" fmla="*/ 506 w 555"/>
                <a:gd name="T63" fmla="*/ 423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5" h="501">
                  <a:moveTo>
                    <a:pt x="506" y="423"/>
                  </a:moveTo>
                  <a:lnTo>
                    <a:pt x="506" y="418"/>
                  </a:lnTo>
                  <a:lnTo>
                    <a:pt x="430" y="501"/>
                  </a:lnTo>
                  <a:lnTo>
                    <a:pt x="397" y="496"/>
                  </a:lnTo>
                  <a:lnTo>
                    <a:pt x="359" y="496"/>
                  </a:lnTo>
                  <a:lnTo>
                    <a:pt x="317" y="479"/>
                  </a:lnTo>
                  <a:lnTo>
                    <a:pt x="288" y="489"/>
                  </a:lnTo>
                  <a:lnTo>
                    <a:pt x="284" y="472"/>
                  </a:lnTo>
                  <a:lnTo>
                    <a:pt x="267" y="472"/>
                  </a:lnTo>
                  <a:lnTo>
                    <a:pt x="267" y="456"/>
                  </a:lnTo>
                  <a:lnTo>
                    <a:pt x="234" y="439"/>
                  </a:lnTo>
                  <a:lnTo>
                    <a:pt x="196" y="439"/>
                  </a:lnTo>
                  <a:lnTo>
                    <a:pt x="175" y="401"/>
                  </a:lnTo>
                  <a:lnTo>
                    <a:pt x="175" y="364"/>
                  </a:lnTo>
                  <a:lnTo>
                    <a:pt x="142" y="364"/>
                  </a:lnTo>
                  <a:lnTo>
                    <a:pt x="137" y="331"/>
                  </a:lnTo>
                  <a:lnTo>
                    <a:pt x="104" y="314"/>
                  </a:lnTo>
                  <a:lnTo>
                    <a:pt x="66" y="281"/>
                  </a:lnTo>
                  <a:lnTo>
                    <a:pt x="50" y="253"/>
                  </a:lnTo>
                  <a:lnTo>
                    <a:pt x="50" y="241"/>
                  </a:lnTo>
                  <a:lnTo>
                    <a:pt x="0" y="182"/>
                  </a:lnTo>
                  <a:lnTo>
                    <a:pt x="0" y="153"/>
                  </a:lnTo>
                  <a:lnTo>
                    <a:pt x="17" y="165"/>
                  </a:lnTo>
                  <a:lnTo>
                    <a:pt x="33" y="153"/>
                  </a:lnTo>
                  <a:lnTo>
                    <a:pt x="50" y="170"/>
                  </a:lnTo>
                  <a:lnTo>
                    <a:pt x="66" y="165"/>
                  </a:lnTo>
                  <a:lnTo>
                    <a:pt x="104" y="182"/>
                  </a:lnTo>
                  <a:lnTo>
                    <a:pt x="125" y="170"/>
                  </a:lnTo>
                  <a:lnTo>
                    <a:pt x="163" y="125"/>
                  </a:lnTo>
                  <a:lnTo>
                    <a:pt x="180" y="92"/>
                  </a:lnTo>
                  <a:lnTo>
                    <a:pt x="246" y="59"/>
                  </a:lnTo>
                  <a:lnTo>
                    <a:pt x="262" y="21"/>
                  </a:lnTo>
                  <a:lnTo>
                    <a:pt x="305" y="0"/>
                  </a:lnTo>
                  <a:lnTo>
                    <a:pt x="371" y="0"/>
                  </a:lnTo>
                  <a:lnTo>
                    <a:pt x="371" y="21"/>
                  </a:lnTo>
                  <a:lnTo>
                    <a:pt x="423" y="21"/>
                  </a:lnTo>
                  <a:lnTo>
                    <a:pt x="435" y="38"/>
                  </a:lnTo>
                  <a:lnTo>
                    <a:pt x="451" y="38"/>
                  </a:lnTo>
                  <a:lnTo>
                    <a:pt x="468" y="54"/>
                  </a:lnTo>
                  <a:lnTo>
                    <a:pt x="501" y="59"/>
                  </a:lnTo>
                  <a:lnTo>
                    <a:pt x="522" y="71"/>
                  </a:lnTo>
                  <a:lnTo>
                    <a:pt x="532" y="75"/>
                  </a:lnTo>
                  <a:lnTo>
                    <a:pt x="543" y="75"/>
                  </a:lnTo>
                  <a:lnTo>
                    <a:pt x="539" y="92"/>
                  </a:lnTo>
                  <a:lnTo>
                    <a:pt x="543" y="125"/>
                  </a:lnTo>
                  <a:lnTo>
                    <a:pt x="543" y="132"/>
                  </a:lnTo>
                  <a:lnTo>
                    <a:pt x="543" y="142"/>
                  </a:lnTo>
                  <a:lnTo>
                    <a:pt x="539" y="170"/>
                  </a:lnTo>
                  <a:lnTo>
                    <a:pt x="543" y="186"/>
                  </a:lnTo>
                  <a:lnTo>
                    <a:pt x="555" y="198"/>
                  </a:lnTo>
                  <a:lnTo>
                    <a:pt x="539" y="208"/>
                  </a:lnTo>
                  <a:lnTo>
                    <a:pt x="539" y="224"/>
                  </a:lnTo>
                  <a:lnTo>
                    <a:pt x="522" y="236"/>
                  </a:lnTo>
                  <a:lnTo>
                    <a:pt x="522" y="241"/>
                  </a:lnTo>
                  <a:lnTo>
                    <a:pt x="539" y="253"/>
                  </a:lnTo>
                  <a:lnTo>
                    <a:pt x="532" y="281"/>
                  </a:lnTo>
                  <a:lnTo>
                    <a:pt x="555" y="307"/>
                  </a:lnTo>
                  <a:lnTo>
                    <a:pt x="539" y="347"/>
                  </a:lnTo>
                  <a:lnTo>
                    <a:pt x="522" y="364"/>
                  </a:lnTo>
                  <a:lnTo>
                    <a:pt x="506" y="368"/>
                  </a:lnTo>
                  <a:lnTo>
                    <a:pt x="517" y="385"/>
                  </a:lnTo>
                  <a:lnTo>
                    <a:pt x="501" y="406"/>
                  </a:lnTo>
                  <a:lnTo>
                    <a:pt x="506" y="423"/>
                  </a:lnTo>
                  <a:lnTo>
                    <a:pt x="506" y="423"/>
                  </a:lnTo>
                  <a:lnTo>
                    <a:pt x="506" y="42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6" name="Freeform 598">
              <a:extLst>
                <a:ext uri="{FF2B5EF4-FFF2-40B4-BE49-F238E27FC236}">
                  <a16:creationId xmlns:a16="http://schemas.microsoft.com/office/drawing/2014/main" id="{E65A3272-5EDB-40B0-B2AB-E41835F1CE61}"/>
                </a:ext>
              </a:extLst>
            </p:cNvPr>
            <p:cNvSpPr>
              <a:spLocks/>
            </p:cNvSpPr>
            <p:nvPr/>
          </p:nvSpPr>
          <p:spPr bwMode="gray">
            <a:xfrm>
              <a:off x="14245584" y="3580912"/>
              <a:ext cx="384246" cy="327297"/>
            </a:xfrm>
            <a:custGeom>
              <a:avLst/>
              <a:gdLst>
                <a:gd name="T0" fmla="*/ 67 w 497"/>
                <a:gd name="T1" fmla="*/ 423 h 423"/>
                <a:gd name="T2" fmla="*/ 119 w 497"/>
                <a:gd name="T3" fmla="*/ 370 h 423"/>
                <a:gd name="T4" fmla="*/ 186 w 497"/>
                <a:gd name="T5" fmla="*/ 384 h 423"/>
                <a:gd name="T6" fmla="*/ 210 w 497"/>
                <a:gd name="T7" fmla="*/ 395 h 423"/>
                <a:gd name="T8" fmla="*/ 238 w 497"/>
                <a:gd name="T9" fmla="*/ 384 h 423"/>
                <a:gd name="T10" fmla="*/ 257 w 497"/>
                <a:gd name="T11" fmla="*/ 363 h 423"/>
                <a:gd name="T12" fmla="*/ 289 w 497"/>
                <a:gd name="T13" fmla="*/ 384 h 423"/>
                <a:gd name="T14" fmla="*/ 325 w 497"/>
                <a:gd name="T15" fmla="*/ 314 h 423"/>
                <a:gd name="T16" fmla="*/ 337 w 497"/>
                <a:gd name="T17" fmla="*/ 311 h 423"/>
                <a:gd name="T18" fmla="*/ 352 w 497"/>
                <a:gd name="T19" fmla="*/ 297 h 423"/>
                <a:gd name="T20" fmla="*/ 372 w 497"/>
                <a:gd name="T21" fmla="*/ 363 h 423"/>
                <a:gd name="T22" fmla="*/ 375 w 497"/>
                <a:gd name="T23" fmla="*/ 363 h 423"/>
                <a:gd name="T24" fmla="*/ 388 w 497"/>
                <a:gd name="T25" fmla="*/ 362 h 423"/>
                <a:gd name="T26" fmla="*/ 390 w 497"/>
                <a:gd name="T27" fmla="*/ 345 h 423"/>
                <a:gd name="T28" fmla="*/ 395 w 497"/>
                <a:gd name="T29" fmla="*/ 329 h 423"/>
                <a:gd name="T30" fmla="*/ 413 w 497"/>
                <a:gd name="T31" fmla="*/ 303 h 423"/>
                <a:gd name="T32" fmla="*/ 427 w 497"/>
                <a:gd name="T33" fmla="*/ 289 h 423"/>
                <a:gd name="T34" fmla="*/ 433 w 497"/>
                <a:gd name="T35" fmla="*/ 263 h 423"/>
                <a:gd name="T36" fmla="*/ 433 w 497"/>
                <a:gd name="T37" fmla="*/ 225 h 423"/>
                <a:gd name="T38" fmla="*/ 445 w 497"/>
                <a:gd name="T39" fmla="*/ 181 h 423"/>
                <a:gd name="T40" fmla="*/ 449 w 497"/>
                <a:gd name="T41" fmla="*/ 164 h 423"/>
                <a:gd name="T42" fmla="*/ 465 w 497"/>
                <a:gd name="T43" fmla="*/ 157 h 423"/>
                <a:gd name="T44" fmla="*/ 488 w 497"/>
                <a:gd name="T45" fmla="*/ 150 h 423"/>
                <a:gd name="T46" fmla="*/ 495 w 497"/>
                <a:gd name="T47" fmla="*/ 131 h 423"/>
                <a:gd name="T48" fmla="*/ 472 w 497"/>
                <a:gd name="T49" fmla="*/ 115 h 423"/>
                <a:gd name="T50" fmla="*/ 463 w 497"/>
                <a:gd name="T51" fmla="*/ 108 h 423"/>
                <a:gd name="T52" fmla="*/ 456 w 497"/>
                <a:gd name="T53" fmla="*/ 63 h 423"/>
                <a:gd name="T54" fmla="*/ 452 w 497"/>
                <a:gd name="T55" fmla="*/ 33 h 423"/>
                <a:gd name="T56" fmla="*/ 458 w 497"/>
                <a:gd name="T57" fmla="*/ 40 h 423"/>
                <a:gd name="T58" fmla="*/ 449 w 497"/>
                <a:gd name="T59" fmla="*/ 21 h 423"/>
                <a:gd name="T60" fmla="*/ 285 w 497"/>
                <a:gd name="T61" fmla="*/ 7 h 423"/>
                <a:gd name="T62" fmla="*/ 285 w 497"/>
                <a:gd name="T63" fmla="*/ 0 h 423"/>
                <a:gd name="T64" fmla="*/ 93 w 497"/>
                <a:gd name="T65" fmla="*/ 7 h 423"/>
                <a:gd name="T66" fmla="*/ 63 w 497"/>
                <a:gd name="T67" fmla="*/ 70 h 423"/>
                <a:gd name="T68" fmla="*/ 63 w 497"/>
                <a:gd name="T69" fmla="*/ 209 h 423"/>
                <a:gd name="T70" fmla="*/ 34 w 497"/>
                <a:gd name="T71" fmla="*/ 211 h 423"/>
                <a:gd name="T72" fmla="*/ 34 w 497"/>
                <a:gd name="T73" fmla="*/ 225 h 423"/>
                <a:gd name="T74" fmla="*/ 25 w 497"/>
                <a:gd name="T75" fmla="*/ 239 h 423"/>
                <a:gd name="T76" fmla="*/ 22 w 497"/>
                <a:gd name="T77" fmla="*/ 256 h 423"/>
                <a:gd name="T78" fmla="*/ 9 w 497"/>
                <a:gd name="T79" fmla="*/ 268 h 423"/>
                <a:gd name="T80" fmla="*/ 6 w 497"/>
                <a:gd name="T81" fmla="*/ 289 h 423"/>
                <a:gd name="T82" fmla="*/ 6 w 497"/>
                <a:gd name="T83" fmla="*/ 303 h 423"/>
                <a:gd name="T84" fmla="*/ 11 w 497"/>
                <a:gd name="T85" fmla="*/ 298 h 423"/>
                <a:gd name="T86" fmla="*/ 18 w 497"/>
                <a:gd name="T87" fmla="*/ 310 h 423"/>
                <a:gd name="T88" fmla="*/ 22 w 497"/>
                <a:gd name="T89" fmla="*/ 336 h 423"/>
                <a:gd name="T90" fmla="*/ 32 w 497"/>
                <a:gd name="T91" fmla="*/ 338 h 423"/>
                <a:gd name="T92" fmla="*/ 32 w 497"/>
                <a:gd name="T93" fmla="*/ 357 h 423"/>
                <a:gd name="T94" fmla="*/ 54 w 497"/>
                <a:gd name="T95" fmla="*/ 390 h 423"/>
                <a:gd name="T96" fmla="*/ 52 w 497"/>
                <a:gd name="T97" fmla="*/ 409 h 423"/>
                <a:gd name="T98" fmla="*/ 52 w 497"/>
                <a:gd name="T99" fmla="*/ 416 h 423"/>
                <a:gd name="T100" fmla="*/ 67 w 497"/>
                <a:gd name="T101"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7" h="423">
                  <a:moveTo>
                    <a:pt x="67" y="423"/>
                  </a:moveTo>
                  <a:cubicBezTo>
                    <a:pt x="67" y="423"/>
                    <a:pt x="67" y="423"/>
                    <a:pt x="67" y="423"/>
                  </a:cubicBezTo>
                  <a:cubicBezTo>
                    <a:pt x="67" y="423"/>
                    <a:pt x="67" y="423"/>
                    <a:pt x="95" y="367"/>
                  </a:cubicBezTo>
                  <a:cubicBezTo>
                    <a:pt x="95" y="367"/>
                    <a:pt x="95" y="367"/>
                    <a:pt x="119" y="370"/>
                  </a:cubicBezTo>
                  <a:cubicBezTo>
                    <a:pt x="119" y="370"/>
                    <a:pt x="119" y="370"/>
                    <a:pt x="135" y="391"/>
                  </a:cubicBezTo>
                  <a:cubicBezTo>
                    <a:pt x="135" y="391"/>
                    <a:pt x="135" y="391"/>
                    <a:pt x="186" y="384"/>
                  </a:cubicBezTo>
                  <a:cubicBezTo>
                    <a:pt x="186" y="384"/>
                    <a:pt x="186" y="384"/>
                    <a:pt x="186" y="395"/>
                  </a:cubicBezTo>
                  <a:cubicBezTo>
                    <a:pt x="186" y="395"/>
                    <a:pt x="186" y="395"/>
                    <a:pt x="210" y="395"/>
                  </a:cubicBezTo>
                  <a:cubicBezTo>
                    <a:pt x="210" y="395"/>
                    <a:pt x="210" y="395"/>
                    <a:pt x="222" y="384"/>
                  </a:cubicBezTo>
                  <a:cubicBezTo>
                    <a:pt x="222" y="384"/>
                    <a:pt x="222" y="384"/>
                    <a:pt x="238" y="384"/>
                  </a:cubicBezTo>
                  <a:cubicBezTo>
                    <a:pt x="238" y="384"/>
                    <a:pt x="238" y="384"/>
                    <a:pt x="238" y="370"/>
                  </a:cubicBezTo>
                  <a:cubicBezTo>
                    <a:pt x="238" y="370"/>
                    <a:pt x="238" y="370"/>
                    <a:pt x="257" y="363"/>
                  </a:cubicBezTo>
                  <a:cubicBezTo>
                    <a:pt x="257" y="363"/>
                    <a:pt x="257" y="363"/>
                    <a:pt x="281" y="384"/>
                  </a:cubicBezTo>
                  <a:cubicBezTo>
                    <a:pt x="281" y="384"/>
                    <a:pt x="281" y="384"/>
                    <a:pt x="289" y="384"/>
                  </a:cubicBezTo>
                  <a:cubicBezTo>
                    <a:pt x="289" y="384"/>
                    <a:pt x="289" y="384"/>
                    <a:pt x="325" y="342"/>
                  </a:cubicBezTo>
                  <a:cubicBezTo>
                    <a:pt x="325" y="342"/>
                    <a:pt x="325" y="342"/>
                    <a:pt x="325" y="314"/>
                  </a:cubicBezTo>
                  <a:cubicBezTo>
                    <a:pt x="325" y="314"/>
                    <a:pt x="325" y="314"/>
                    <a:pt x="321" y="314"/>
                  </a:cubicBezTo>
                  <a:cubicBezTo>
                    <a:pt x="321" y="314"/>
                    <a:pt x="321" y="314"/>
                    <a:pt x="337" y="311"/>
                  </a:cubicBezTo>
                  <a:cubicBezTo>
                    <a:pt x="337" y="311"/>
                    <a:pt x="337" y="311"/>
                    <a:pt x="337" y="297"/>
                  </a:cubicBezTo>
                  <a:cubicBezTo>
                    <a:pt x="337" y="297"/>
                    <a:pt x="337" y="297"/>
                    <a:pt x="352" y="297"/>
                  </a:cubicBezTo>
                  <a:cubicBezTo>
                    <a:pt x="352" y="297"/>
                    <a:pt x="352" y="297"/>
                    <a:pt x="352" y="360"/>
                  </a:cubicBezTo>
                  <a:cubicBezTo>
                    <a:pt x="372" y="363"/>
                    <a:pt x="372" y="363"/>
                    <a:pt x="372" y="363"/>
                  </a:cubicBezTo>
                  <a:cubicBezTo>
                    <a:pt x="372" y="363"/>
                    <a:pt x="372" y="363"/>
                    <a:pt x="372" y="364"/>
                  </a:cubicBezTo>
                  <a:cubicBezTo>
                    <a:pt x="375" y="363"/>
                    <a:pt x="375" y="363"/>
                    <a:pt x="375" y="363"/>
                  </a:cubicBezTo>
                  <a:cubicBezTo>
                    <a:pt x="381" y="357"/>
                    <a:pt x="381" y="357"/>
                    <a:pt x="381" y="357"/>
                  </a:cubicBezTo>
                  <a:cubicBezTo>
                    <a:pt x="388" y="362"/>
                    <a:pt x="388" y="362"/>
                    <a:pt x="388" y="362"/>
                  </a:cubicBezTo>
                  <a:cubicBezTo>
                    <a:pt x="390" y="357"/>
                    <a:pt x="390" y="357"/>
                    <a:pt x="390" y="357"/>
                  </a:cubicBezTo>
                  <a:cubicBezTo>
                    <a:pt x="390" y="345"/>
                    <a:pt x="390" y="345"/>
                    <a:pt x="390" y="345"/>
                  </a:cubicBezTo>
                  <a:cubicBezTo>
                    <a:pt x="395" y="336"/>
                    <a:pt x="395" y="336"/>
                    <a:pt x="395" y="336"/>
                  </a:cubicBezTo>
                  <a:cubicBezTo>
                    <a:pt x="395" y="329"/>
                    <a:pt x="395" y="329"/>
                    <a:pt x="395" y="329"/>
                  </a:cubicBezTo>
                  <a:cubicBezTo>
                    <a:pt x="399" y="326"/>
                    <a:pt x="399" y="326"/>
                    <a:pt x="399" y="326"/>
                  </a:cubicBezTo>
                  <a:cubicBezTo>
                    <a:pt x="413" y="303"/>
                    <a:pt x="413" y="303"/>
                    <a:pt x="413" y="303"/>
                  </a:cubicBezTo>
                  <a:cubicBezTo>
                    <a:pt x="427" y="298"/>
                    <a:pt x="427" y="298"/>
                    <a:pt x="427" y="298"/>
                  </a:cubicBezTo>
                  <a:cubicBezTo>
                    <a:pt x="427" y="289"/>
                    <a:pt x="427" y="289"/>
                    <a:pt x="427" y="289"/>
                  </a:cubicBezTo>
                  <a:cubicBezTo>
                    <a:pt x="436" y="265"/>
                    <a:pt x="436" y="265"/>
                    <a:pt x="436" y="265"/>
                  </a:cubicBezTo>
                  <a:cubicBezTo>
                    <a:pt x="433" y="263"/>
                    <a:pt x="433" y="263"/>
                    <a:pt x="433" y="263"/>
                  </a:cubicBezTo>
                  <a:cubicBezTo>
                    <a:pt x="436" y="251"/>
                    <a:pt x="436" y="251"/>
                    <a:pt x="436" y="251"/>
                  </a:cubicBezTo>
                  <a:cubicBezTo>
                    <a:pt x="433" y="225"/>
                    <a:pt x="433" y="225"/>
                    <a:pt x="433" y="225"/>
                  </a:cubicBezTo>
                  <a:cubicBezTo>
                    <a:pt x="449" y="188"/>
                    <a:pt x="449" y="188"/>
                    <a:pt x="449" y="188"/>
                  </a:cubicBezTo>
                  <a:cubicBezTo>
                    <a:pt x="445" y="181"/>
                    <a:pt x="445" y="181"/>
                    <a:pt x="445" y="181"/>
                  </a:cubicBezTo>
                  <a:cubicBezTo>
                    <a:pt x="449" y="174"/>
                    <a:pt x="449" y="174"/>
                    <a:pt x="449" y="174"/>
                  </a:cubicBezTo>
                  <a:cubicBezTo>
                    <a:pt x="449" y="164"/>
                    <a:pt x="449" y="164"/>
                    <a:pt x="449" y="164"/>
                  </a:cubicBezTo>
                  <a:cubicBezTo>
                    <a:pt x="463" y="164"/>
                    <a:pt x="463" y="164"/>
                    <a:pt x="463" y="164"/>
                  </a:cubicBezTo>
                  <a:cubicBezTo>
                    <a:pt x="465" y="157"/>
                    <a:pt x="465" y="157"/>
                    <a:pt x="465" y="157"/>
                  </a:cubicBezTo>
                  <a:cubicBezTo>
                    <a:pt x="481" y="148"/>
                    <a:pt x="481" y="148"/>
                    <a:pt x="481" y="148"/>
                  </a:cubicBezTo>
                  <a:cubicBezTo>
                    <a:pt x="488" y="150"/>
                    <a:pt x="488" y="150"/>
                    <a:pt x="488" y="150"/>
                  </a:cubicBezTo>
                  <a:cubicBezTo>
                    <a:pt x="497" y="134"/>
                    <a:pt x="497" y="134"/>
                    <a:pt x="497" y="134"/>
                  </a:cubicBezTo>
                  <a:cubicBezTo>
                    <a:pt x="495" y="131"/>
                    <a:pt x="495" y="131"/>
                    <a:pt x="495" y="131"/>
                  </a:cubicBezTo>
                  <a:cubicBezTo>
                    <a:pt x="481" y="124"/>
                    <a:pt x="481" y="124"/>
                    <a:pt x="481" y="124"/>
                  </a:cubicBezTo>
                  <a:cubicBezTo>
                    <a:pt x="472" y="115"/>
                    <a:pt x="472" y="115"/>
                    <a:pt x="472" y="115"/>
                  </a:cubicBezTo>
                  <a:cubicBezTo>
                    <a:pt x="465" y="110"/>
                    <a:pt x="465" y="110"/>
                    <a:pt x="465" y="110"/>
                  </a:cubicBezTo>
                  <a:cubicBezTo>
                    <a:pt x="463" y="108"/>
                    <a:pt x="463" y="108"/>
                    <a:pt x="463" y="108"/>
                  </a:cubicBezTo>
                  <a:cubicBezTo>
                    <a:pt x="458" y="84"/>
                    <a:pt x="458" y="84"/>
                    <a:pt x="458" y="84"/>
                  </a:cubicBezTo>
                  <a:cubicBezTo>
                    <a:pt x="456" y="63"/>
                    <a:pt x="456" y="63"/>
                    <a:pt x="456" y="63"/>
                  </a:cubicBezTo>
                  <a:cubicBezTo>
                    <a:pt x="456" y="54"/>
                    <a:pt x="456" y="54"/>
                    <a:pt x="456" y="54"/>
                  </a:cubicBezTo>
                  <a:cubicBezTo>
                    <a:pt x="452" y="33"/>
                    <a:pt x="452" y="33"/>
                    <a:pt x="452" y="33"/>
                  </a:cubicBezTo>
                  <a:cubicBezTo>
                    <a:pt x="456" y="37"/>
                    <a:pt x="456" y="37"/>
                    <a:pt x="456" y="37"/>
                  </a:cubicBezTo>
                  <a:cubicBezTo>
                    <a:pt x="458" y="40"/>
                    <a:pt x="458" y="40"/>
                    <a:pt x="458" y="40"/>
                  </a:cubicBezTo>
                  <a:cubicBezTo>
                    <a:pt x="458" y="37"/>
                    <a:pt x="458" y="37"/>
                    <a:pt x="458" y="37"/>
                  </a:cubicBezTo>
                  <a:cubicBezTo>
                    <a:pt x="449" y="21"/>
                    <a:pt x="449" y="21"/>
                    <a:pt x="449" y="21"/>
                  </a:cubicBezTo>
                  <a:cubicBezTo>
                    <a:pt x="445" y="7"/>
                    <a:pt x="445" y="7"/>
                    <a:pt x="445" y="7"/>
                  </a:cubicBezTo>
                  <a:cubicBezTo>
                    <a:pt x="285" y="7"/>
                    <a:pt x="285" y="7"/>
                    <a:pt x="285" y="7"/>
                  </a:cubicBezTo>
                  <a:cubicBezTo>
                    <a:pt x="290" y="4"/>
                    <a:pt x="290" y="4"/>
                    <a:pt x="290" y="4"/>
                  </a:cubicBezTo>
                  <a:cubicBezTo>
                    <a:pt x="285" y="0"/>
                    <a:pt x="285" y="0"/>
                    <a:pt x="285" y="0"/>
                  </a:cubicBezTo>
                  <a:cubicBezTo>
                    <a:pt x="280" y="7"/>
                    <a:pt x="280" y="7"/>
                    <a:pt x="280" y="7"/>
                  </a:cubicBezTo>
                  <a:cubicBezTo>
                    <a:pt x="93" y="7"/>
                    <a:pt x="93" y="7"/>
                    <a:pt x="93" y="7"/>
                  </a:cubicBezTo>
                  <a:cubicBezTo>
                    <a:pt x="93" y="70"/>
                    <a:pt x="93" y="70"/>
                    <a:pt x="93" y="70"/>
                  </a:cubicBezTo>
                  <a:cubicBezTo>
                    <a:pt x="63" y="70"/>
                    <a:pt x="63" y="70"/>
                    <a:pt x="63" y="70"/>
                  </a:cubicBezTo>
                  <a:cubicBezTo>
                    <a:pt x="63" y="87"/>
                    <a:pt x="63" y="87"/>
                    <a:pt x="63" y="87"/>
                  </a:cubicBezTo>
                  <a:cubicBezTo>
                    <a:pt x="63" y="209"/>
                    <a:pt x="63" y="209"/>
                    <a:pt x="63" y="209"/>
                  </a:cubicBezTo>
                  <a:cubicBezTo>
                    <a:pt x="38" y="209"/>
                    <a:pt x="38" y="209"/>
                    <a:pt x="38" y="209"/>
                  </a:cubicBezTo>
                  <a:cubicBezTo>
                    <a:pt x="34" y="211"/>
                    <a:pt x="34" y="211"/>
                    <a:pt x="34" y="211"/>
                  </a:cubicBezTo>
                  <a:cubicBezTo>
                    <a:pt x="34" y="218"/>
                    <a:pt x="34" y="218"/>
                    <a:pt x="34" y="218"/>
                  </a:cubicBezTo>
                  <a:cubicBezTo>
                    <a:pt x="34" y="225"/>
                    <a:pt x="34" y="225"/>
                    <a:pt x="34" y="225"/>
                  </a:cubicBezTo>
                  <a:cubicBezTo>
                    <a:pt x="25" y="235"/>
                    <a:pt x="25" y="235"/>
                    <a:pt x="25" y="235"/>
                  </a:cubicBezTo>
                  <a:cubicBezTo>
                    <a:pt x="25" y="239"/>
                    <a:pt x="25" y="239"/>
                    <a:pt x="25" y="239"/>
                  </a:cubicBezTo>
                  <a:cubicBezTo>
                    <a:pt x="18" y="242"/>
                    <a:pt x="18" y="242"/>
                    <a:pt x="18" y="242"/>
                  </a:cubicBezTo>
                  <a:cubicBezTo>
                    <a:pt x="22" y="256"/>
                    <a:pt x="22" y="256"/>
                    <a:pt x="22" y="256"/>
                  </a:cubicBezTo>
                  <a:cubicBezTo>
                    <a:pt x="11" y="263"/>
                    <a:pt x="11" y="263"/>
                    <a:pt x="11" y="263"/>
                  </a:cubicBezTo>
                  <a:cubicBezTo>
                    <a:pt x="9" y="268"/>
                    <a:pt x="9" y="268"/>
                    <a:pt x="9" y="268"/>
                  </a:cubicBezTo>
                  <a:cubicBezTo>
                    <a:pt x="16" y="279"/>
                    <a:pt x="16" y="279"/>
                    <a:pt x="16" y="279"/>
                  </a:cubicBezTo>
                  <a:cubicBezTo>
                    <a:pt x="6" y="289"/>
                    <a:pt x="6" y="289"/>
                    <a:pt x="6" y="289"/>
                  </a:cubicBezTo>
                  <a:cubicBezTo>
                    <a:pt x="0" y="298"/>
                    <a:pt x="0" y="298"/>
                    <a:pt x="0" y="298"/>
                  </a:cubicBezTo>
                  <a:cubicBezTo>
                    <a:pt x="6" y="303"/>
                    <a:pt x="6" y="303"/>
                    <a:pt x="6" y="303"/>
                  </a:cubicBezTo>
                  <a:cubicBezTo>
                    <a:pt x="9" y="303"/>
                    <a:pt x="9" y="303"/>
                    <a:pt x="9" y="303"/>
                  </a:cubicBezTo>
                  <a:cubicBezTo>
                    <a:pt x="11" y="298"/>
                    <a:pt x="11" y="298"/>
                    <a:pt x="11" y="298"/>
                  </a:cubicBezTo>
                  <a:cubicBezTo>
                    <a:pt x="18" y="303"/>
                    <a:pt x="18" y="303"/>
                    <a:pt x="18" y="303"/>
                  </a:cubicBezTo>
                  <a:cubicBezTo>
                    <a:pt x="18" y="310"/>
                    <a:pt x="18" y="310"/>
                    <a:pt x="18" y="310"/>
                  </a:cubicBezTo>
                  <a:cubicBezTo>
                    <a:pt x="25" y="322"/>
                    <a:pt x="25" y="322"/>
                    <a:pt x="25" y="322"/>
                  </a:cubicBezTo>
                  <a:cubicBezTo>
                    <a:pt x="22" y="336"/>
                    <a:pt x="22" y="336"/>
                    <a:pt x="22" y="336"/>
                  </a:cubicBezTo>
                  <a:cubicBezTo>
                    <a:pt x="29" y="338"/>
                    <a:pt x="29" y="338"/>
                    <a:pt x="29" y="338"/>
                  </a:cubicBezTo>
                  <a:cubicBezTo>
                    <a:pt x="32" y="338"/>
                    <a:pt x="32" y="338"/>
                    <a:pt x="32" y="338"/>
                  </a:cubicBezTo>
                  <a:cubicBezTo>
                    <a:pt x="34" y="345"/>
                    <a:pt x="34" y="345"/>
                    <a:pt x="34" y="345"/>
                  </a:cubicBezTo>
                  <a:cubicBezTo>
                    <a:pt x="32" y="357"/>
                    <a:pt x="32" y="357"/>
                    <a:pt x="32" y="357"/>
                  </a:cubicBezTo>
                  <a:cubicBezTo>
                    <a:pt x="45" y="369"/>
                    <a:pt x="45" y="369"/>
                    <a:pt x="45" y="369"/>
                  </a:cubicBezTo>
                  <a:cubicBezTo>
                    <a:pt x="54" y="390"/>
                    <a:pt x="54" y="390"/>
                    <a:pt x="54" y="390"/>
                  </a:cubicBezTo>
                  <a:cubicBezTo>
                    <a:pt x="54" y="406"/>
                    <a:pt x="54" y="406"/>
                    <a:pt x="54" y="406"/>
                  </a:cubicBezTo>
                  <a:cubicBezTo>
                    <a:pt x="52" y="409"/>
                    <a:pt x="52" y="409"/>
                    <a:pt x="52" y="409"/>
                  </a:cubicBezTo>
                  <a:cubicBezTo>
                    <a:pt x="47" y="413"/>
                    <a:pt x="47" y="413"/>
                    <a:pt x="47" y="413"/>
                  </a:cubicBezTo>
                  <a:cubicBezTo>
                    <a:pt x="52" y="416"/>
                    <a:pt x="52" y="416"/>
                    <a:pt x="52" y="416"/>
                  </a:cubicBezTo>
                  <a:cubicBezTo>
                    <a:pt x="52" y="423"/>
                    <a:pt x="52" y="423"/>
                    <a:pt x="52" y="423"/>
                  </a:cubicBezTo>
                  <a:lnTo>
                    <a:pt x="67" y="42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7" name="Freeform 599">
              <a:extLst>
                <a:ext uri="{FF2B5EF4-FFF2-40B4-BE49-F238E27FC236}">
                  <a16:creationId xmlns:a16="http://schemas.microsoft.com/office/drawing/2014/main" id="{3FA0D174-838A-4DDA-9088-89366EC21C05}"/>
                </a:ext>
              </a:extLst>
            </p:cNvPr>
            <p:cNvSpPr>
              <a:spLocks/>
            </p:cNvSpPr>
            <p:nvPr/>
          </p:nvSpPr>
          <p:spPr bwMode="gray">
            <a:xfrm>
              <a:off x="14297297" y="3810675"/>
              <a:ext cx="272965" cy="222562"/>
            </a:xfrm>
            <a:custGeom>
              <a:avLst/>
              <a:gdLst>
                <a:gd name="T0" fmla="*/ 339 w 353"/>
                <a:gd name="T1" fmla="*/ 227 h 288"/>
                <a:gd name="T2" fmla="*/ 332 w 353"/>
                <a:gd name="T3" fmla="*/ 227 h 288"/>
                <a:gd name="T4" fmla="*/ 323 w 353"/>
                <a:gd name="T5" fmla="*/ 210 h 288"/>
                <a:gd name="T6" fmla="*/ 309 w 353"/>
                <a:gd name="T7" fmla="*/ 187 h 288"/>
                <a:gd name="T8" fmla="*/ 300 w 353"/>
                <a:gd name="T9" fmla="*/ 180 h 288"/>
                <a:gd name="T10" fmla="*/ 277 w 353"/>
                <a:gd name="T11" fmla="*/ 156 h 288"/>
                <a:gd name="T12" fmla="*/ 264 w 353"/>
                <a:gd name="T13" fmla="*/ 149 h 288"/>
                <a:gd name="T14" fmla="*/ 270 w 353"/>
                <a:gd name="T15" fmla="*/ 135 h 288"/>
                <a:gd name="T16" fmla="*/ 286 w 353"/>
                <a:gd name="T17" fmla="*/ 135 h 288"/>
                <a:gd name="T18" fmla="*/ 298 w 353"/>
                <a:gd name="T19" fmla="*/ 102 h 288"/>
                <a:gd name="T20" fmla="*/ 305 w 353"/>
                <a:gd name="T21" fmla="*/ 69 h 288"/>
                <a:gd name="T22" fmla="*/ 305 w 353"/>
                <a:gd name="T23" fmla="*/ 67 h 288"/>
                <a:gd name="T24" fmla="*/ 285 w 353"/>
                <a:gd name="T25" fmla="*/ 63 h 288"/>
                <a:gd name="T26" fmla="*/ 270 w 353"/>
                <a:gd name="T27" fmla="*/ 0 h 288"/>
                <a:gd name="T28" fmla="*/ 254 w 353"/>
                <a:gd name="T29" fmla="*/ 17 h 288"/>
                <a:gd name="T30" fmla="*/ 258 w 353"/>
                <a:gd name="T31" fmla="*/ 45 h 288"/>
                <a:gd name="T32" fmla="*/ 214 w 353"/>
                <a:gd name="T33" fmla="*/ 87 h 288"/>
                <a:gd name="T34" fmla="*/ 171 w 353"/>
                <a:gd name="T35" fmla="*/ 73 h 288"/>
                <a:gd name="T36" fmla="*/ 155 w 353"/>
                <a:gd name="T37" fmla="*/ 87 h 288"/>
                <a:gd name="T38" fmla="*/ 119 w 353"/>
                <a:gd name="T39" fmla="*/ 98 h 288"/>
                <a:gd name="T40" fmla="*/ 68 w 353"/>
                <a:gd name="T41" fmla="*/ 94 h 288"/>
                <a:gd name="T42" fmla="*/ 28 w 353"/>
                <a:gd name="T43" fmla="*/ 70 h 288"/>
                <a:gd name="T44" fmla="*/ 0 w 353"/>
                <a:gd name="T45" fmla="*/ 126 h 288"/>
                <a:gd name="T46" fmla="*/ 8 w 353"/>
                <a:gd name="T47" fmla="*/ 130 h 288"/>
                <a:gd name="T48" fmla="*/ 3 w 353"/>
                <a:gd name="T49" fmla="*/ 140 h 288"/>
                <a:gd name="T50" fmla="*/ 31 w 353"/>
                <a:gd name="T51" fmla="*/ 154 h 288"/>
                <a:gd name="T52" fmla="*/ 35 w 353"/>
                <a:gd name="T53" fmla="*/ 159 h 288"/>
                <a:gd name="T54" fmla="*/ 56 w 353"/>
                <a:gd name="T55" fmla="*/ 180 h 288"/>
                <a:gd name="T56" fmla="*/ 70 w 353"/>
                <a:gd name="T57" fmla="*/ 189 h 288"/>
                <a:gd name="T58" fmla="*/ 72 w 353"/>
                <a:gd name="T59" fmla="*/ 203 h 288"/>
                <a:gd name="T60" fmla="*/ 81 w 353"/>
                <a:gd name="T61" fmla="*/ 210 h 288"/>
                <a:gd name="T62" fmla="*/ 95 w 353"/>
                <a:gd name="T63" fmla="*/ 224 h 288"/>
                <a:gd name="T64" fmla="*/ 102 w 353"/>
                <a:gd name="T65" fmla="*/ 241 h 288"/>
                <a:gd name="T66" fmla="*/ 111 w 353"/>
                <a:gd name="T67" fmla="*/ 253 h 288"/>
                <a:gd name="T68" fmla="*/ 140 w 353"/>
                <a:gd name="T69" fmla="*/ 253 h 288"/>
                <a:gd name="T70" fmla="*/ 161 w 353"/>
                <a:gd name="T71" fmla="*/ 250 h 288"/>
                <a:gd name="T72" fmla="*/ 170 w 353"/>
                <a:gd name="T73" fmla="*/ 253 h 288"/>
                <a:gd name="T74" fmla="*/ 179 w 353"/>
                <a:gd name="T75" fmla="*/ 267 h 288"/>
                <a:gd name="T76" fmla="*/ 193 w 353"/>
                <a:gd name="T77" fmla="*/ 274 h 288"/>
                <a:gd name="T78" fmla="*/ 200 w 353"/>
                <a:gd name="T79" fmla="*/ 281 h 288"/>
                <a:gd name="T80" fmla="*/ 207 w 353"/>
                <a:gd name="T81" fmla="*/ 281 h 288"/>
                <a:gd name="T82" fmla="*/ 223 w 353"/>
                <a:gd name="T83" fmla="*/ 281 h 288"/>
                <a:gd name="T84" fmla="*/ 232 w 353"/>
                <a:gd name="T85" fmla="*/ 283 h 288"/>
                <a:gd name="T86" fmla="*/ 241 w 353"/>
                <a:gd name="T87" fmla="*/ 283 h 288"/>
                <a:gd name="T88" fmla="*/ 254 w 353"/>
                <a:gd name="T89" fmla="*/ 276 h 288"/>
                <a:gd name="T90" fmla="*/ 270 w 353"/>
                <a:gd name="T91" fmla="*/ 276 h 288"/>
                <a:gd name="T92" fmla="*/ 293 w 353"/>
                <a:gd name="T93" fmla="*/ 264 h 288"/>
                <a:gd name="T94" fmla="*/ 353 w 353"/>
                <a:gd name="T95" fmla="*/ 253 h 288"/>
                <a:gd name="T96" fmla="*/ 350 w 353"/>
                <a:gd name="T97" fmla="*/ 22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3" h="288">
                  <a:moveTo>
                    <a:pt x="350" y="229"/>
                  </a:moveTo>
                  <a:cubicBezTo>
                    <a:pt x="339" y="227"/>
                    <a:pt x="339" y="227"/>
                    <a:pt x="339" y="227"/>
                  </a:cubicBezTo>
                  <a:cubicBezTo>
                    <a:pt x="332" y="229"/>
                    <a:pt x="332" y="229"/>
                    <a:pt x="332" y="229"/>
                  </a:cubicBezTo>
                  <a:cubicBezTo>
                    <a:pt x="332" y="227"/>
                    <a:pt x="332" y="227"/>
                    <a:pt x="332" y="227"/>
                  </a:cubicBezTo>
                  <a:cubicBezTo>
                    <a:pt x="328" y="220"/>
                    <a:pt x="328" y="220"/>
                    <a:pt x="328" y="220"/>
                  </a:cubicBezTo>
                  <a:cubicBezTo>
                    <a:pt x="323" y="210"/>
                    <a:pt x="323" y="210"/>
                    <a:pt x="323" y="210"/>
                  </a:cubicBezTo>
                  <a:cubicBezTo>
                    <a:pt x="316" y="189"/>
                    <a:pt x="316" y="189"/>
                    <a:pt x="316" y="189"/>
                  </a:cubicBezTo>
                  <a:cubicBezTo>
                    <a:pt x="309" y="187"/>
                    <a:pt x="309" y="187"/>
                    <a:pt x="309" y="187"/>
                  </a:cubicBezTo>
                  <a:cubicBezTo>
                    <a:pt x="307" y="182"/>
                    <a:pt x="307" y="182"/>
                    <a:pt x="307" y="182"/>
                  </a:cubicBezTo>
                  <a:cubicBezTo>
                    <a:pt x="300" y="180"/>
                    <a:pt x="300" y="180"/>
                    <a:pt x="300" y="180"/>
                  </a:cubicBezTo>
                  <a:cubicBezTo>
                    <a:pt x="291" y="163"/>
                    <a:pt x="291" y="163"/>
                    <a:pt x="291" y="163"/>
                  </a:cubicBezTo>
                  <a:cubicBezTo>
                    <a:pt x="277" y="156"/>
                    <a:pt x="277" y="156"/>
                    <a:pt x="277" y="156"/>
                  </a:cubicBezTo>
                  <a:cubicBezTo>
                    <a:pt x="264" y="156"/>
                    <a:pt x="264" y="156"/>
                    <a:pt x="264" y="156"/>
                  </a:cubicBezTo>
                  <a:cubicBezTo>
                    <a:pt x="264" y="149"/>
                    <a:pt x="264" y="149"/>
                    <a:pt x="264" y="149"/>
                  </a:cubicBezTo>
                  <a:cubicBezTo>
                    <a:pt x="270" y="142"/>
                    <a:pt x="270" y="142"/>
                    <a:pt x="270" y="142"/>
                  </a:cubicBezTo>
                  <a:cubicBezTo>
                    <a:pt x="270" y="135"/>
                    <a:pt x="270" y="135"/>
                    <a:pt x="270" y="135"/>
                  </a:cubicBezTo>
                  <a:cubicBezTo>
                    <a:pt x="284" y="133"/>
                    <a:pt x="284" y="133"/>
                    <a:pt x="284" y="133"/>
                  </a:cubicBezTo>
                  <a:cubicBezTo>
                    <a:pt x="286" y="135"/>
                    <a:pt x="286" y="135"/>
                    <a:pt x="286" y="135"/>
                  </a:cubicBezTo>
                  <a:cubicBezTo>
                    <a:pt x="298" y="130"/>
                    <a:pt x="298" y="130"/>
                    <a:pt x="298" y="130"/>
                  </a:cubicBezTo>
                  <a:cubicBezTo>
                    <a:pt x="298" y="102"/>
                    <a:pt x="298" y="102"/>
                    <a:pt x="298" y="102"/>
                  </a:cubicBezTo>
                  <a:cubicBezTo>
                    <a:pt x="305" y="79"/>
                    <a:pt x="305" y="79"/>
                    <a:pt x="305" y="79"/>
                  </a:cubicBezTo>
                  <a:cubicBezTo>
                    <a:pt x="305" y="69"/>
                    <a:pt x="305" y="69"/>
                    <a:pt x="305" y="69"/>
                  </a:cubicBezTo>
                  <a:cubicBezTo>
                    <a:pt x="308" y="66"/>
                    <a:pt x="308" y="66"/>
                    <a:pt x="308" y="66"/>
                  </a:cubicBezTo>
                  <a:cubicBezTo>
                    <a:pt x="305" y="67"/>
                    <a:pt x="305" y="67"/>
                    <a:pt x="305" y="67"/>
                  </a:cubicBezTo>
                  <a:cubicBezTo>
                    <a:pt x="305" y="66"/>
                    <a:pt x="305" y="66"/>
                    <a:pt x="305" y="66"/>
                  </a:cubicBezTo>
                  <a:cubicBezTo>
                    <a:pt x="285" y="63"/>
                    <a:pt x="285" y="63"/>
                    <a:pt x="285" y="63"/>
                  </a:cubicBezTo>
                  <a:cubicBezTo>
                    <a:pt x="285" y="0"/>
                    <a:pt x="285" y="0"/>
                    <a:pt x="285" y="0"/>
                  </a:cubicBezTo>
                  <a:cubicBezTo>
                    <a:pt x="270" y="0"/>
                    <a:pt x="270" y="0"/>
                    <a:pt x="270" y="0"/>
                  </a:cubicBezTo>
                  <a:cubicBezTo>
                    <a:pt x="270" y="14"/>
                    <a:pt x="270" y="14"/>
                    <a:pt x="270" y="14"/>
                  </a:cubicBezTo>
                  <a:cubicBezTo>
                    <a:pt x="254" y="17"/>
                    <a:pt x="254" y="17"/>
                    <a:pt x="254" y="17"/>
                  </a:cubicBezTo>
                  <a:cubicBezTo>
                    <a:pt x="258" y="17"/>
                    <a:pt x="258" y="17"/>
                    <a:pt x="258" y="17"/>
                  </a:cubicBezTo>
                  <a:cubicBezTo>
                    <a:pt x="258" y="45"/>
                    <a:pt x="258" y="45"/>
                    <a:pt x="258" y="45"/>
                  </a:cubicBezTo>
                  <a:cubicBezTo>
                    <a:pt x="222" y="87"/>
                    <a:pt x="222" y="87"/>
                    <a:pt x="222" y="87"/>
                  </a:cubicBezTo>
                  <a:cubicBezTo>
                    <a:pt x="214" y="87"/>
                    <a:pt x="214" y="87"/>
                    <a:pt x="214" y="87"/>
                  </a:cubicBezTo>
                  <a:cubicBezTo>
                    <a:pt x="190" y="66"/>
                    <a:pt x="190" y="66"/>
                    <a:pt x="190" y="66"/>
                  </a:cubicBezTo>
                  <a:cubicBezTo>
                    <a:pt x="171" y="73"/>
                    <a:pt x="171" y="73"/>
                    <a:pt x="171" y="73"/>
                  </a:cubicBezTo>
                  <a:cubicBezTo>
                    <a:pt x="171" y="87"/>
                    <a:pt x="171" y="87"/>
                    <a:pt x="171" y="87"/>
                  </a:cubicBezTo>
                  <a:cubicBezTo>
                    <a:pt x="155" y="87"/>
                    <a:pt x="155" y="87"/>
                    <a:pt x="155" y="87"/>
                  </a:cubicBezTo>
                  <a:cubicBezTo>
                    <a:pt x="143" y="98"/>
                    <a:pt x="143" y="98"/>
                    <a:pt x="143" y="98"/>
                  </a:cubicBezTo>
                  <a:cubicBezTo>
                    <a:pt x="119" y="98"/>
                    <a:pt x="119" y="98"/>
                    <a:pt x="119" y="98"/>
                  </a:cubicBezTo>
                  <a:cubicBezTo>
                    <a:pt x="119" y="87"/>
                    <a:pt x="119" y="87"/>
                    <a:pt x="119" y="87"/>
                  </a:cubicBezTo>
                  <a:cubicBezTo>
                    <a:pt x="68" y="94"/>
                    <a:pt x="68" y="94"/>
                    <a:pt x="68" y="94"/>
                  </a:cubicBezTo>
                  <a:cubicBezTo>
                    <a:pt x="52" y="73"/>
                    <a:pt x="52" y="73"/>
                    <a:pt x="52" y="73"/>
                  </a:cubicBezTo>
                  <a:cubicBezTo>
                    <a:pt x="28" y="70"/>
                    <a:pt x="28" y="70"/>
                    <a:pt x="28" y="70"/>
                  </a:cubicBezTo>
                  <a:cubicBezTo>
                    <a:pt x="0" y="126"/>
                    <a:pt x="0" y="126"/>
                    <a:pt x="0" y="126"/>
                  </a:cubicBezTo>
                  <a:cubicBezTo>
                    <a:pt x="0" y="126"/>
                    <a:pt x="0" y="126"/>
                    <a:pt x="0" y="126"/>
                  </a:cubicBezTo>
                  <a:cubicBezTo>
                    <a:pt x="3" y="126"/>
                    <a:pt x="3" y="126"/>
                    <a:pt x="3" y="126"/>
                  </a:cubicBezTo>
                  <a:cubicBezTo>
                    <a:pt x="8" y="130"/>
                    <a:pt x="8" y="130"/>
                    <a:pt x="8" y="130"/>
                  </a:cubicBezTo>
                  <a:cubicBezTo>
                    <a:pt x="3" y="133"/>
                    <a:pt x="3" y="133"/>
                    <a:pt x="3" y="133"/>
                  </a:cubicBezTo>
                  <a:cubicBezTo>
                    <a:pt x="3" y="140"/>
                    <a:pt x="3" y="140"/>
                    <a:pt x="3" y="140"/>
                  </a:cubicBezTo>
                  <a:cubicBezTo>
                    <a:pt x="19" y="142"/>
                    <a:pt x="19" y="142"/>
                    <a:pt x="19" y="142"/>
                  </a:cubicBezTo>
                  <a:cubicBezTo>
                    <a:pt x="31" y="154"/>
                    <a:pt x="31" y="154"/>
                    <a:pt x="31" y="154"/>
                  </a:cubicBezTo>
                  <a:cubicBezTo>
                    <a:pt x="35" y="154"/>
                    <a:pt x="35" y="154"/>
                    <a:pt x="35" y="154"/>
                  </a:cubicBezTo>
                  <a:cubicBezTo>
                    <a:pt x="35" y="159"/>
                    <a:pt x="35" y="159"/>
                    <a:pt x="35" y="159"/>
                  </a:cubicBezTo>
                  <a:cubicBezTo>
                    <a:pt x="33" y="163"/>
                    <a:pt x="33" y="163"/>
                    <a:pt x="33" y="163"/>
                  </a:cubicBezTo>
                  <a:cubicBezTo>
                    <a:pt x="56" y="180"/>
                    <a:pt x="56" y="180"/>
                    <a:pt x="56" y="180"/>
                  </a:cubicBezTo>
                  <a:cubicBezTo>
                    <a:pt x="58" y="182"/>
                    <a:pt x="58" y="182"/>
                    <a:pt x="58" y="182"/>
                  </a:cubicBezTo>
                  <a:cubicBezTo>
                    <a:pt x="70" y="189"/>
                    <a:pt x="70" y="189"/>
                    <a:pt x="70" y="189"/>
                  </a:cubicBezTo>
                  <a:cubicBezTo>
                    <a:pt x="65" y="196"/>
                    <a:pt x="65" y="196"/>
                    <a:pt x="65" y="196"/>
                  </a:cubicBezTo>
                  <a:cubicBezTo>
                    <a:pt x="72" y="203"/>
                    <a:pt x="72" y="203"/>
                    <a:pt x="72" y="203"/>
                  </a:cubicBezTo>
                  <a:cubicBezTo>
                    <a:pt x="70" y="206"/>
                    <a:pt x="70" y="206"/>
                    <a:pt x="70" y="206"/>
                  </a:cubicBezTo>
                  <a:cubicBezTo>
                    <a:pt x="81" y="210"/>
                    <a:pt x="81" y="210"/>
                    <a:pt x="81" y="210"/>
                  </a:cubicBezTo>
                  <a:cubicBezTo>
                    <a:pt x="92" y="217"/>
                    <a:pt x="92" y="217"/>
                    <a:pt x="92" y="217"/>
                  </a:cubicBezTo>
                  <a:cubicBezTo>
                    <a:pt x="95" y="224"/>
                    <a:pt x="95" y="224"/>
                    <a:pt x="95" y="224"/>
                  </a:cubicBezTo>
                  <a:cubicBezTo>
                    <a:pt x="95" y="229"/>
                    <a:pt x="95" y="229"/>
                    <a:pt x="95" y="229"/>
                  </a:cubicBezTo>
                  <a:cubicBezTo>
                    <a:pt x="102" y="241"/>
                    <a:pt x="102" y="241"/>
                    <a:pt x="102" y="241"/>
                  </a:cubicBezTo>
                  <a:cubicBezTo>
                    <a:pt x="108" y="248"/>
                    <a:pt x="108" y="248"/>
                    <a:pt x="108" y="248"/>
                  </a:cubicBezTo>
                  <a:cubicBezTo>
                    <a:pt x="111" y="253"/>
                    <a:pt x="111" y="253"/>
                    <a:pt x="111" y="253"/>
                  </a:cubicBezTo>
                  <a:cubicBezTo>
                    <a:pt x="127" y="264"/>
                    <a:pt x="127" y="264"/>
                    <a:pt x="127" y="264"/>
                  </a:cubicBezTo>
                  <a:cubicBezTo>
                    <a:pt x="140" y="253"/>
                    <a:pt x="140" y="253"/>
                    <a:pt x="140" y="253"/>
                  </a:cubicBezTo>
                  <a:cubicBezTo>
                    <a:pt x="154" y="260"/>
                    <a:pt x="154" y="260"/>
                    <a:pt x="154" y="260"/>
                  </a:cubicBezTo>
                  <a:cubicBezTo>
                    <a:pt x="161" y="250"/>
                    <a:pt x="161" y="250"/>
                    <a:pt x="161" y="250"/>
                  </a:cubicBezTo>
                  <a:cubicBezTo>
                    <a:pt x="163" y="250"/>
                    <a:pt x="163" y="250"/>
                    <a:pt x="163" y="250"/>
                  </a:cubicBezTo>
                  <a:cubicBezTo>
                    <a:pt x="170" y="253"/>
                    <a:pt x="170" y="253"/>
                    <a:pt x="170" y="253"/>
                  </a:cubicBezTo>
                  <a:cubicBezTo>
                    <a:pt x="170" y="260"/>
                    <a:pt x="170" y="260"/>
                    <a:pt x="170" y="260"/>
                  </a:cubicBezTo>
                  <a:cubicBezTo>
                    <a:pt x="179" y="267"/>
                    <a:pt x="179" y="267"/>
                    <a:pt x="179" y="267"/>
                  </a:cubicBezTo>
                  <a:cubicBezTo>
                    <a:pt x="184" y="274"/>
                    <a:pt x="184" y="274"/>
                    <a:pt x="184" y="274"/>
                  </a:cubicBezTo>
                  <a:cubicBezTo>
                    <a:pt x="193" y="274"/>
                    <a:pt x="193" y="274"/>
                    <a:pt x="193" y="274"/>
                  </a:cubicBezTo>
                  <a:cubicBezTo>
                    <a:pt x="193" y="283"/>
                    <a:pt x="193" y="283"/>
                    <a:pt x="193" y="283"/>
                  </a:cubicBezTo>
                  <a:cubicBezTo>
                    <a:pt x="200" y="281"/>
                    <a:pt x="200" y="281"/>
                    <a:pt x="200" y="281"/>
                  </a:cubicBezTo>
                  <a:cubicBezTo>
                    <a:pt x="202" y="288"/>
                    <a:pt x="202" y="288"/>
                    <a:pt x="202" y="288"/>
                  </a:cubicBezTo>
                  <a:cubicBezTo>
                    <a:pt x="207" y="281"/>
                    <a:pt x="207" y="281"/>
                    <a:pt x="207" y="281"/>
                  </a:cubicBezTo>
                  <a:cubicBezTo>
                    <a:pt x="209" y="276"/>
                    <a:pt x="209" y="276"/>
                    <a:pt x="209" y="276"/>
                  </a:cubicBezTo>
                  <a:cubicBezTo>
                    <a:pt x="223" y="281"/>
                    <a:pt x="223" y="281"/>
                    <a:pt x="223" y="281"/>
                  </a:cubicBezTo>
                  <a:cubicBezTo>
                    <a:pt x="229" y="276"/>
                    <a:pt x="229" y="276"/>
                    <a:pt x="229" y="276"/>
                  </a:cubicBezTo>
                  <a:cubicBezTo>
                    <a:pt x="232" y="283"/>
                    <a:pt x="232" y="283"/>
                    <a:pt x="232" y="283"/>
                  </a:cubicBezTo>
                  <a:cubicBezTo>
                    <a:pt x="241" y="288"/>
                    <a:pt x="241" y="288"/>
                    <a:pt x="241" y="288"/>
                  </a:cubicBezTo>
                  <a:cubicBezTo>
                    <a:pt x="241" y="283"/>
                    <a:pt x="241" y="283"/>
                    <a:pt x="241" y="283"/>
                  </a:cubicBezTo>
                  <a:cubicBezTo>
                    <a:pt x="248" y="281"/>
                    <a:pt x="248" y="281"/>
                    <a:pt x="248" y="281"/>
                  </a:cubicBezTo>
                  <a:cubicBezTo>
                    <a:pt x="254" y="276"/>
                    <a:pt x="254" y="276"/>
                    <a:pt x="254" y="276"/>
                  </a:cubicBezTo>
                  <a:cubicBezTo>
                    <a:pt x="264" y="274"/>
                    <a:pt x="264" y="274"/>
                    <a:pt x="264" y="274"/>
                  </a:cubicBezTo>
                  <a:cubicBezTo>
                    <a:pt x="270" y="276"/>
                    <a:pt x="270" y="276"/>
                    <a:pt x="270" y="276"/>
                  </a:cubicBezTo>
                  <a:cubicBezTo>
                    <a:pt x="282" y="276"/>
                    <a:pt x="282" y="276"/>
                    <a:pt x="282" y="276"/>
                  </a:cubicBezTo>
                  <a:cubicBezTo>
                    <a:pt x="293" y="264"/>
                    <a:pt x="293" y="264"/>
                    <a:pt x="293" y="264"/>
                  </a:cubicBezTo>
                  <a:cubicBezTo>
                    <a:pt x="307" y="253"/>
                    <a:pt x="307" y="253"/>
                    <a:pt x="307" y="253"/>
                  </a:cubicBezTo>
                  <a:cubicBezTo>
                    <a:pt x="353" y="253"/>
                    <a:pt x="353" y="253"/>
                    <a:pt x="353" y="253"/>
                  </a:cubicBezTo>
                  <a:cubicBezTo>
                    <a:pt x="346" y="248"/>
                    <a:pt x="346" y="248"/>
                    <a:pt x="346" y="248"/>
                  </a:cubicBezTo>
                  <a:lnTo>
                    <a:pt x="350" y="22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dirty="0"/>
            </a:p>
          </p:txBody>
        </p:sp>
      </p:grpSp>
    </p:spTree>
    <p:custDataLst>
      <p:tags r:id="rId1"/>
    </p:custDataLst>
    <p:extLst>
      <p:ext uri="{BB962C8B-B14F-4D97-AF65-F5344CB8AC3E}">
        <p14:creationId xmlns:p14="http://schemas.microsoft.com/office/powerpoint/2010/main" val="3857972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33315" name="Objekt 1933314" hidden="1">
            <a:extLst>
              <a:ext uri="{FF2B5EF4-FFF2-40B4-BE49-F238E27FC236}">
                <a16:creationId xmlns:a16="http://schemas.microsoft.com/office/drawing/2014/main" id="{750113A5-31E3-4B48-9BF8-DEF1D4C42ABA}"/>
              </a:ext>
            </a:extLst>
          </p:cNvPr>
          <p:cNvGraphicFramePr>
            <a:graphicFrameLocks noChangeAspect="1"/>
          </p:cNvGraphicFramePr>
          <p:nvPr>
            <p:custDataLst>
              <p:tags r:id="rId2"/>
            </p:custDataLst>
            <p:extLst>
              <p:ext uri="{D42A27DB-BD31-4B8C-83A1-F6EECF244321}">
                <p14:modId xmlns:p14="http://schemas.microsoft.com/office/powerpoint/2010/main" val="1935358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933315" name="Objekt 1933314" hidden="1">
                        <a:extLst>
                          <a:ext uri="{FF2B5EF4-FFF2-40B4-BE49-F238E27FC236}">
                            <a16:creationId xmlns:a16="http://schemas.microsoft.com/office/drawing/2014/main" id="{750113A5-31E3-4B48-9BF8-DEF1D4C42AB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933313" name="Rechteck 1933312" hidden="1">
            <a:extLst>
              <a:ext uri="{FF2B5EF4-FFF2-40B4-BE49-F238E27FC236}">
                <a16:creationId xmlns:a16="http://schemas.microsoft.com/office/drawing/2014/main" id="{F004A4BD-5F01-464A-B1D5-76402C9D503F}"/>
              </a:ext>
            </a:extLst>
          </p:cNvPr>
          <p:cNvSpPr/>
          <p:nvPr>
            <p:custDataLst>
              <p:tags r:id="rId3"/>
            </p:custDataLst>
          </p:nvPr>
        </p:nvSpPr>
        <p:spPr bwMode="gray">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e-DE" sz="3000" dirty="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sym typeface="Open Sans Extrabold" panose="020B0906030804020204" pitchFamily="34" charset="0"/>
            </a:endParaRPr>
          </a:p>
        </p:txBody>
      </p:sp>
      <p:sp>
        <p:nvSpPr>
          <p:cNvPr id="4" name="Titel 3"/>
          <p:cNvSpPr>
            <a:spLocks noGrp="1"/>
          </p:cNvSpPr>
          <p:nvPr>
            <p:ph type="title"/>
            <p:custDataLst>
              <p:tags r:id="rId4"/>
            </p:custDataLst>
          </p:nvPr>
        </p:nvSpPr>
        <p:spPr bwMode="gray"/>
        <p:txBody>
          <a:bodyPr vert="horz"/>
          <a:lstStyle/>
          <a:p>
            <a:r>
              <a:rPr lang="de-DE" dirty="0"/>
              <a:t>Karte: Welt (flach mit Ländergrenzen)</a:t>
            </a:r>
          </a:p>
        </p:txBody>
      </p:sp>
      <p:sp>
        <p:nvSpPr>
          <p:cNvPr id="2" name="Datumsplatzhalter 1">
            <a:extLst>
              <a:ext uri="{FF2B5EF4-FFF2-40B4-BE49-F238E27FC236}">
                <a16:creationId xmlns:a16="http://schemas.microsoft.com/office/drawing/2014/main" id="{6B087DF2-F745-4E59-ADDF-339BD7D8FF0B}"/>
              </a:ext>
            </a:extLst>
          </p:cNvPr>
          <p:cNvSpPr>
            <a:spLocks noGrp="1"/>
          </p:cNvSpPr>
          <p:nvPr>
            <p:ph type="dt" sz="half" idx="10"/>
          </p:nvPr>
        </p:nvSpPr>
        <p:spPr bwMode="gray"/>
        <p:txBody>
          <a:bodyPr/>
          <a:lstStyle/>
          <a:p>
            <a:fld id="{7E710E91-8829-456B-8FCD-7566E679912E}" type="datetime1">
              <a:rPr lang="de-DE" smtClean="0"/>
              <a:t>29.09.25</a:t>
            </a:fld>
            <a:endParaRPr lang="de-DE" dirty="0"/>
          </a:p>
        </p:txBody>
      </p:sp>
      <p:sp>
        <p:nvSpPr>
          <p:cNvPr id="3" name="Fußzeilenplatzhalter 2">
            <a:extLst>
              <a:ext uri="{FF2B5EF4-FFF2-40B4-BE49-F238E27FC236}">
                <a16:creationId xmlns:a16="http://schemas.microsoft.com/office/drawing/2014/main" id="{04799326-CB9A-4D6A-8B98-1DCBB651DE52}"/>
              </a:ext>
            </a:extLst>
          </p:cNvPr>
          <p:cNvSpPr>
            <a:spLocks noGrp="1"/>
          </p:cNvSpPr>
          <p:nvPr>
            <p:ph type="ftr" sz="quarter" idx="11"/>
          </p:nvPr>
        </p:nvSpPr>
        <p:spPr bwMode="gray"/>
        <p:txBody>
          <a:bodyPr/>
          <a:lstStyle/>
          <a:p>
            <a:r>
              <a:rPr lang="de-DE" dirty="0"/>
              <a:t>TITEL DER PRÄSENTATION | TITEL VORNAME NAME</a:t>
            </a:r>
          </a:p>
        </p:txBody>
      </p:sp>
      <p:sp>
        <p:nvSpPr>
          <p:cNvPr id="1933312" name="Foliennummernplatzhalter 1933311">
            <a:extLst>
              <a:ext uri="{FF2B5EF4-FFF2-40B4-BE49-F238E27FC236}">
                <a16:creationId xmlns:a16="http://schemas.microsoft.com/office/drawing/2014/main" id="{5306577F-B1F0-473C-9B5C-AFF3AA708C30}"/>
              </a:ext>
            </a:extLst>
          </p:cNvPr>
          <p:cNvSpPr>
            <a:spLocks noGrp="1"/>
          </p:cNvSpPr>
          <p:nvPr>
            <p:ph type="sldNum" sz="quarter" idx="12"/>
          </p:nvPr>
        </p:nvSpPr>
        <p:spPr bwMode="gray"/>
        <p:txBody>
          <a:bodyPr/>
          <a:lstStyle/>
          <a:p>
            <a:fld id="{09E9C37E-8A19-4E30-BE2B-5A966AD23C7A}" type="slidenum">
              <a:rPr lang="de-DE" smtClean="0"/>
              <a:pPr/>
              <a:t>84</a:t>
            </a:fld>
            <a:endParaRPr lang="de-DE" dirty="0"/>
          </a:p>
        </p:txBody>
      </p:sp>
      <p:grpSp>
        <p:nvGrpSpPr>
          <p:cNvPr id="5" name="Gruppieren 4">
            <a:extLst>
              <a:ext uri="{FF2B5EF4-FFF2-40B4-BE49-F238E27FC236}">
                <a16:creationId xmlns:a16="http://schemas.microsoft.com/office/drawing/2014/main" id="{6BC83991-A674-4290-9C02-5C96F47A5DB5}"/>
              </a:ext>
            </a:extLst>
          </p:cNvPr>
          <p:cNvGrpSpPr>
            <a:grpSpLocks noChangeAspect="1"/>
          </p:cNvGrpSpPr>
          <p:nvPr>
            <p:custDataLst>
              <p:tags r:id="rId5"/>
            </p:custDataLst>
          </p:nvPr>
        </p:nvGrpSpPr>
        <p:grpSpPr bwMode="gray">
          <a:xfrm>
            <a:off x="2223201" y="1989000"/>
            <a:ext cx="7745598" cy="3888000"/>
            <a:chOff x="9612700" y="1433192"/>
            <a:chExt cx="8496948" cy="4264675"/>
          </a:xfrm>
          <a:solidFill>
            <a:schemeClr val="bg1"/>
          </a:solidFill>
        </p:grpSpPr>
        <p:sp>
          <p:nvSpPr>
            <p:cNvPr id="6" name="Freeform 473">
              <a:extLst>
                <a:ext uri="{FF2B5EF4-FFF2-40B4-BE49-F238E27FC236}">
                  <a16:creationId xmlns:a16="http://schemas.microsoft.com/office/drawing/2014/main" id="{2B3C8FC1-1442-46C9-9AEF-8957B6D81FA0}"/>
                </a:ext>
              </a:extLst>
            </p:cNvPr>
            <p:cNvSpPr>
              <a:spLocks noEditPoints="1"/>
            </p:cNvSpPr>
            <p:nvPr/>
          </p:nvSpPr>
          <p:spPr bwMode="gray">
            <a:xfrm>
              <a:off x="13895049" y="2915518"/>
              <a:ext cx="273947" cy="294567"/>
            </a:xfrm>
            <a:custGeom>
              <a:avLst/>
              <a:gdLst>
                <a:gd name="T0" fmla="*/ 81 w 837"/>
                <a:gd name="T1" fmla="*/ 259 h 900"/>
                <a:gd name="T2" fmla="*/ 34 w 837"/>
                <a:gd name="T3" fmla="*/ 193 h 900"/>
                <a:gd name="T4" fmla="*/ 43 w 837"/>
                <a:gd name="T5" fmla="*/ 148 h 900"/>
                <a:gd name="T6" fmla="*/ 81 w 837"/>
                <a:gd name="T7" fmla="*/ 99 h 900"/>
                <a:gd name="T8" fmla="*/ 135 w 837"/>
                <a:gd name="T9" fmla="*/ 54 h 900"/>
                <a:gd name="T10" fmla="*/ 173 w 837"/>
                <a:gd name="T11" fmla="*/ 111 h 900"/>
                <a:gd name="T12" fmla="*/ 189 w 837"/>
                <a:gd name="T13" fmla="*/ 54 h 900"/>
                <a:gd name="T14" fmla="*/ 248 w 837"/>
                <a:gd name="T15" fmla="*/ 75 h 900"/>
                <a:gd name="T16" fmla="*/ 260 w 837"/>
                <a:gd name="T17" fmla="*/ 37 h 900"/>
                <a:gd name="T18" fmla="*/ 324 w 837"/>
                <a:gd name="T19" fmla="*/ 4 h 900"/>
                <a:gd name="T20" fmla="*/ 411 w 837"/>
                <a:gd name="T21" fmla="*/ 26 h 900"/>
                <a:gd name="T22" fmla="*/ 497 w 837"/>
                <a:gd name="T23" fmla="*/ 75 h 900"/>
                <a:gd name="T24" fmla="*/ 520 w 837"/>
                <a:gd name="T25" fmla="*/ 127 h 900"/>
                <a:gd name="T26" fmla="*/ 482 w 837"/>
                <a:gd name="T27" fmla="*/ 127 h 900"/>
                <a:gd name="T28" fmla="*/ 459 w 837"/>
                <a:gd name="T29" fmla="*/ 127 h 900"/>
                <a:gd name="T30" fmla="*/ 395 w 837"/>
                <a:gd name="T31" fmla="*/ 165 h 900"/>
                <a:gd name="T32" fmla="*/ 411 w 837"/>
                <a:gd name="T33" fmla="*/ 203 h 900"/>
                <a:gd name="T34" fmla="*/ 428 w 837"/>
                <a:gd name="T35" fmla="*/ 276 h 900"/>
                <a:gd name="T36" fmla="*/ 605 w 837"/>
                <a:gd name="T37" fmla="*/ 458 h 900"/>
                <a:gd name="T38" fmla="*/ 660 w 837"/>
                <a:gd name="T39" fmla="*/ 496 h 900"/>
                <a:gd name="T40" fmla="*/ 806 w 837"/>
                <a:gd name="T41" fmla="*/ 623 h 900"/>
                <a:gd name="T42" fmla="*/ 730 w 837"/>
                <a:gd name="T43" fmla="*/ 585 h 900"/>
                <a:gd name="T44" fmla="*/ 747 w 837"/>
                <a:gd name="T45" fmla="*/ 668 h 900"/>
                <a:gd name="T46" fmla="*/ 702 w 837"/>
                <a:gd name="T47" fmla="*/ 751 h 900"/>
                <a:gd name="T48" fmla="*/ 638 w 837"/>
                <a:gd name="T49" fmla="*/ 789 h 900"/>
                <a:gd name="T50" fmla="*/ 648 w 837"/>
                <a:gd name="T51" fmla="*/ 734 h 900"/>
                <a:gd name="T52" fmla="*/ 664 w 837"/>
                <a:gd name="T53" fmla="*/ 668 h 900"/>
                <a:gd name="T54" fmla="*/ 589 w 837"/>
                <a:gd name="T55" fmla="*/ 595 h 900"/>
                <a:gd name="T56" fmla="*/ 551 w 837"/>
                <a:gd name="T57" fmla="*/ 552 h 900"/>
                <a:gd name="T58" fmla="*/ 449 w 837"/>
                <a:gd name="T59" fmla="*/ 512 h 900"/>
                <a:gd name="T60" fmla="*/ 374 w 837"/>
                <a:gd name="T61" fmla="*/ 441 h 900"/>
                <a:gd name="T62" fmla="*/ 319 w 837"/>
                <a:gd name="T63" fmla="*/ 404 h 900"/>
                <a:gd name="T64" fmla="*/ 260 w 837"/>
                <a:gd name="T65" fmla="*/ 292 h 900"/>
                <a:gd name="T66" fmla="*/ 135 w 837"/>
                <a:gd name="T67" fmla="*/ 248 h 900"/>
                <a:gd name="T68" fmla="*/ 67 w 837"/>
                <a:gd name="T69" fmla="*/ 292 h 900"/>
                <a:gd name="T70" fmla="*/ 411 w 837"/>
                <a:gd name="T71" fmla="*/ 276 h 900"/>
                <a:gd name="T72" fmla="*/ 248 w 837"/>
                <a:gd name="T73" fmla="*/ 375 h 900"/>
                <a:gd name="T74" fmla="*/ 270 w 837"/>
                <a:gd name="T75" fmla="*/ 387 h 900"/>
                <a:gd name="T76" fmla="*/ 142 w 837"/>
                <a:gd name="T77" fmla="*/ 541 h 900"/>
                <a:gd name="T78" fmla="*/ 206 w 837"/>
                <a:gd name="T79" fmla="*/ 541 h 900"/>
                <a:gd name="T80" fmla="*/ 218 w 837"/>
                <a:gd name="T81" fmla="*/ 611 h 900"/>
                <a:gd name="T82" fmla="*/ 163 w 837"/>
                <a:gd name="T83" fmla="*/ 706 h 900"/>
                <a:gd name="T84" fmla="*/ 126 w 837"/>
                <a:gd name="T85" fmla="*/ 696 h 900"/>
                <a:gd name="T86" fmla="*/ 135 w 837"/>
                <a:gd name="T87" fmla="*/ 640 h 900"/>
                <a:gd name="T88" fmla="*/ 119 w 837"/>
                <a:gd name="T89" fmla="*/ 569 h 900"/>
                <a:gd name="T90" fmla="*/ 109 w 837"/>
                <a:gd name="T91" fmla="*/ 569 h 900"/>
                <a:gd name="T92" fmla="*/ 513 w 837"/>
                <a:gd name="T93" fmla="*/ 557 h 900"/>
                <a:gd name="T94" fmla="*/ 119 w 837"/>
                <a:gd name="T95" fmla="*/ 685 h 900"/>
                <a:gd name="T96" fmla="*/ 119 w 837"/>
                <a:gd name="T97" fmla="*/ 696 h 900"/>
                <a:gd name="T98" fmla="*/ 445 w 837"/>
                <a:gd name="T99" fmla="*/ 779 h 900"/>
                <a:gd name="T100" fmla="*/ 482 w 837"/>
                <a:gd name="T101" fmla="*/ 779 h 900"/>
                <a:gd name="T102" fmla="*/ 596 w 837"/>
                <a:gd name="T103" fmla="*/ 772 h 900"/>
                <a:gd name="T104" fmla="*/ 596 w 837"/>
                <a:gd name="T105" fmla="*/ 829 h 900"/>
                <a:gd name="T106" fmla="*/ 558 w 837"/>
                <a:gd name="T107" fmla="*/ 890 h 900"/>
                <a:gd name="T108" fmla="*/ 428 w 837"/>
                <a:gd name="T109" fmla="*/ 817 h 900"/>
                <a:gd name="T110" fmla="*/ 378 w 837"/>
                <a:gd name="T111" fmla="*/ 890 h 900"/>
                <a:gd name="T112" fmla="*/ 378 w 837"/>
                <a:gd name="T113" fmla="*/ 89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7" h="900">
                  <a:moveTo>
                    <a:pt x="67" y="292"/>
                  </a:moveTo>
                  <a:lnTo>
                    <a:pt x="67" y="281"/>
                  </a:lnTo>
                  <a:lnTo>
                    <a:pt x="81" y="264"/>
                  </a:lnTo>
                  <a:lnTo>
                    <a:pt x="81" y="259"/>
                  </a:lnTo>
                  <a:lnTo>
                    <a:pt x="55" y="259"/>
                  </a:lnTo>
                  <a:lnTo>
                    <a:pt x="29" y="248"/>
                  </a:lnTo>
                  <a:lnTo>
                    <a:pt x="17" y="226"/>
                  </a:lnTo>
                  <a:lnTo>
                    <a:pt x="34" y="193"/>
                  </a:lnTo>
                  <a:lnTo>
                    <a:pt x="12" y="193"/>
                  </a:lnTo>
                  <a:lnTo>
                    <a:pt x="0" y="170"/>
                  </a:lnTo>
                  <a:lnTo>
                    <a:pt x="43" y="165"/>
                  </a:lnTo>
                  <a:lnTo>
                    <a:pt x="43" y="148"/>
                  </a:lnTo>
                  <a:lnTo>
                    <a:pt x="17" y="115"/>
                  </a:lnTo>
                  <a:lnTo>
                    <a:pt x="34" y="99"/>
                  </a:lnTo>
                  <a:lnTo>
                    <a:pt x="43" y="111"/>
                  </a:lnTo>
                  <a:lnTo>
                    <a:pt x="81" y="99"/>
                  </a:lnTo>
                  <a:lnTo>
                    <a:pt x="88" y="99"/>
                  </a:lnTo>
                  <a:lnTo>
                    <a:pt x="109" y="82"/>
                  </a:lnTo>
                  <a:lnTo>
                    <a:pt x="119" y="54"/>
                  </a:lnTo>
                  <a:lnTo>
                    <a:pt x="135" y="54"/>
                  </a:lnTo>
                  <a:lnTo>
                    <a:pt x="135" y="75"/>
                  </a:lnTo>
                  <a:lnTo>
                    <a:pt x="156" y="82"/>
                  </a:lnTo>
                  <a:lnTo>
                    <a:pt x="156" y="92"/>
                  </a:lnTo>
                  <a:lnTo>
                    <a:pt x="173" y="111"/>
                  </a:lnTo>
                  <a:lnTo>
                    <a:pt x="180" y="99"/>
                  </a:lnTo>
                  <a:lnTo>
                    <a:pt x="173" y="99"/>
                  </a:lnTo>
                  <a:lnTo>
                    <a:pt x="189" y="70"/>
                  </a:lnTo>
                  <a:lnTo>
                    <a:pt x="189" y="54"/>
                  </a:lnTo>
                  <a:lnTo>
                    <a:pt x="206" y="54"/>
                  </a:lnTo>
                  <a:lnTo>
                    <a:pt x="211" y="70"/>
                  </a:lnTo>
                  <a:lnTo>
                    <a:pt x="232" y="59"/>
                  </a:lnTo>
                  <a:lnTo>
                    <a:pt x="248" y="75"/>
                  </a:lnTo>
                  <a:lnTo>
                    <a:pt x="248" y="59"/>
                  </a:lnTo>
                  <a:lnTo>
                    <a:pt x="244" y="54"/>
                  </a:lnTo>
                  <a:lnTo>
                    <a:pt x="244" y="42"/>
                  </a:lnTo>
                  <a:lnTo>
                    <a:pt x="260" y="37"/>
                  </a:lnTo>
                  <a:lnTo>
                    <a:pt x="270" y="42"/>
                  </a:lnTo>
                  <a:lnTo>
                    <a:pt x="270" y="16"/>
                  </a:lnTo>
                  <a:lnTo>
                    <a:pt x="315" y="26"/>
                  </a:lnTo>
                  <a:lnTo>
                    <a:pt x="324" y="4"/>
                  </a:lnTo>
                  <a:lnTo>
                    <a:pt x="369" y="4"/>
                  </a:lnTo>
                  <a:lnTo>
                    <a:pt x="395" y="0"/>
                  </a:lnTo>
                  <a:lnTo>
                    <a:pt x="395" y="16"/>
                  </a:lnTo>
                  <a:lnTo>
                    <a:pt x="411" y="26"/>
                  </a:lnTo>
                  <a:lnTo>
                    <a:pt x="504" y="42"/>
                  </a:lnTo>
                  <a:lnTo>
                    <a:pt x="482" y="70"/>
                  </a:lnTo>
                  <a:lnTo>
                    <a:pt x="482" y="75"/>
                  </a:lnTo>
                  <a:lnTo>
                    <a:pt x="497" y="75"/>
                  </a:lnTo>
                  <a:lnTo>
                    <a:pt x="487" y="92"/>
                  </a:lnTo>
                  <a:lnTo>
                    <a:pt x="497" y="92"/>
                  </a:lnTo>
                  <a:lnTo>
                    <a:pt x="497" y="111"/>
                  </a:lnTo>
                  <a:lnTo>
                    <a:pt x="520" y="127"/>
                  </a:lnTo>
                  <a:lnTo>
                    <a:pt x="504" y="132"/>
                  </a:lnTo>
                  <a:lnTo>
                    <a:pt x="504" y="132"/>
                  </a:lnTo>
                  <a:lnTo>
                    <a:pt x="497" y="115"/>
                  </a:lnTo>
                  <a:lnTo>
                    <a:pt x="482" y="127"/>
                  </a:lnTo>
                  <a:lnTo>
                    <a:pt x="482" y="115"/>
                  </a:lnTo>
                  <a:lnTo>
                    <a:pt x="466" y="115"/>
                  </a:lnTo>
                  <a:lnTo>
                    <a:pt x="459" y="127"/>
                  </a:lnTo>
                  <a:lnTo>
                    <a:pt x="459" y="127"/>
                  </a:lnTo>
                  <a:lnTo>
                    <a:pt x="411" y="148"/>
                  </a:lnTo>
                  <a:lnTo>
                    <a:pt x="421" y="132"/>
                  </a:lnTo>
                  <a:lnTo>
                    <a:pt x="407" y="137"/>
                  </a:lnTo>
                  <a:lnTo>
                    <a:pt x="395" y="165"/>
                  </a:lnTo>
                  <a:lnTo>
                    <a:pt x="421" y="186"/>
                  </a:lnTo>
                  <a:lnTo>
                    <a:pt x="411" y="203"/>
                  </a:lnTo>
                  <a:lnTo>
                    <a:pt x="411" y="193"/>
                  </a:lnTo>
                  <a:lnTo>
                    <a:pt x="411" y="203"/>
                  </a:lnTo>
                  <a:lnTo>
                    <a:pt x="407" y="193"/>
                  </a:lnTo>
                  <a:lnTo>
                    <a:pt x="395" y="210"/>
                  </a:lnTo>
                  <a:lnTo>
                    <a:pt x="407" y="248"/>
                  </a:lnTo>
                  <a:lnTo>
                    <a:pt x="428" y="276"/>
                  </a:lnTo>
                  <a:lnTo>
                    <a:pt x="497" y="314"/>
                  </a:lnTo>
                  <a:lnTo>
                    <a:pt x="520" y="392"/>
                  </a:lnTo>
                  <a:lnTo>
                    <a:pt x="572" y="441"/>
                  </a:lnTo>
                  <a:lnTo>
                    <a:pt x="605" y="458"/>
                  </a:lnTo>
                  <a:lnTo>
                    <a:pt x="676" y="458"/>
                  </a:lnTo>
                  <a:lnTo>
                    <a:pt x="676" y="463"/>
                  </a:lnTo>
                  <a:lnTo>
                    <a:pt x="660" y="479"/>
                  </a:lnTo>
                  <a:lnTo>
                    <a:pt x="660" y="496"/>
                  </a:lnTo>
                  <a:lnTo>
                    <a:pt x="806" y="569"/>
                  </a:lnTo>
                  <a:lnTo>
                    <a:pt x="837" y="607"/>
                  </a:lnTo>
                  <a:lnTo>
                    <a:pt x="827" y="640"/>
                  </a:lnTo>
                  <a:lnTo>
                    <a:pt x="806" y="623"/>
                  </a:lnTo>
                  <a:lnTo>
                    <a:pt x="789" y="590"/>
                  </a:lnTo>
                  <a:lnTo>
                    <a:pt x="747" y="585"/>
                  </a:lnTo>
                  <a:lnTo>
                    <a:pt x="752" y="574"/>
                  </a:lnTo>
                  <a:lnTo>
                    <a:pt x="730" y="585"/>
                  </a:lnTo>
                  <a:lnTo>
                    <a:pt x="702" y="611"/>
                  </a:lnTo>
                  <a:lnTo>
                    <a:pt x="697" y="640"/>
                  </a:lnTo>
                  <a:lnTo>
                    <a:pt x="697" y="647"/>
                  </a:lnTo>
                  <a:lnTo>
                    <a:pt x="747" y="668"/>
                  </a:lnTo>
                  <a:lnTo>
                    <a:pt x="747" y="701"/>
                  </a:lnTo>
                  <a:lnTo>
                    <a:pt x="702" y="718"/>
                  </a:lnTo>
                  <a:lnTo>
                    <a:pt x="697" y="722"/>
                  </a:lnTo>
                  <a:lnTo>
                    <a:pt x="702" y="751"/>
                  </a:lnTo>
                  <a:lnTo>
                    <a:pt x="676" y="772"/>
                  </a:lnTo>
                  <a:lnTo>
                    <a:pt x="664" y="789"/>
                  </a:lnTo>
                  <a:lnTo>
                    <a:pt x="643" y="796"/>
                  </a:lnTo>
                  <a:lnTo>
                    <a:pt x="638" y="789"/>
                  </a:lnTo>
                  <a:lnTo>
                    <a:pt x="638" y="763"/>
                  </a:lnTo>
                  <a:lnTo>
                    <a:pt x="648" y="763"/>
                  </a:lnTo>
                  <a:lnTo>
                    <a:pt x="660" y="739"/>
                  </a:lnTo>
                  <a:lnTo>
                    <a:pt x="648" y="734"/>
                  </a:lnTo>
                  <a:lnTo>
                    <a:pt x="676" y="722"/>
                  </a:lnTo>
                  <a:lnTo>
                    <a:pt x="676" y="706"/>
                  </a:lnTo>
                  <a:lnTo>
                    <a:pt x="664" y="701"/>
                  </a:lnTo>
                  <a:lnTo>
                    <a:pt x="664" y="668"/>
                  </a:lnTo>
                  <a:lnTo>
                    <a:pt x="638" y="611"/>
                  </a:lnTo>
                  <a:lnTo>
                    <a:pt x="626" y="611"/>
                  </a:lnTo>
                  <a:lnTo>
                    <a:pt x="622" y="611"/>
                  </a:lnTo>
                  <a:lnTo>
                    <a:pt x="589" y="595"/>
                  </a:lnTo>
                  <a:lnTo>
                    <a:pt x="589" y="585"/>
                  </a:lnTo>
                  <a:lnTo>
                    <a:pt x="572" y="557"/>
                  </a:lnTo>
                  <a:lnTo>
                    <a:pt x="541" y="569"/>
                  </a:lnTo>
                  <a:lnTo>
                    <a:pt x="551" y="552"/>
                  </a:lnTo>
                  <a:lnTo>
                    <a:pt x="541" y="541"/>
                  </a:lnTo>
                  <a:lnTo>
                    <a:pt x="530" y="552"/>
                  </a:lnTo>
                  <a:lnTo>
                    <a:pt x="504" y="512"/>
                  </a:lnTo>
                  <a:lnTo>
                    <a:pt x="449" y="512"/>
                  </a:lnTo>
                  <a:lnTo>
                    <a:pt x="445" y="496"/>
                  </a:lnTo>
                  <a:lnTo>
                    <a:pt x="421" y="486"/>
                  </a:lnTo>
                  <a:lnTo>
                    <a:pt x="390" y="458"/>
                  </a:lnTo>
                  <a:lnTo>
                    <a:pt x="374" y="441"/>
                  </a:lnTo>
                  <a:lnTo>
                    <a:pt x="357" y="425"/>
                  </a:lnTo>
                  <a:lnTo>
                    <a:pt x="336" y="408"/>
                  </a:lnTo>
                  <a:lnTo>
                    <a:pt x="319" y="413"/>
                  </a:lnTo>
                  <a:lnTo>
                    <a:pt x="319" y="404"/>
                  </a:lnTo>
                  <a:lnTo>
                    <a:pt x="282" y="352"/>
                  </a:lnTo>
                  <a:lnTo>
                    <a:pt x="282" y="335"/>
                  </a:lnTo>
                  <a:lnTo>
                    <a:pt x="265" y="318"/>
                  </a:lnTo>
                  <a:lnTo>
                    <a:pt x="260" y="292"/>
                  </a:lnTo>
                  <a:lnTo>
                    <a:pt x="248" y="276"/>
                  </a:lnTo>
                  <a:lnTo>
                    <a:pt x="189" y="243"/>
                  </a:lnTo>
                  <a:lnTo>
                    <a:pt x="156" y="236"/>
                  </a:lnTo>
                  <a:lnTo>
                    <a:pt x="135" y="248"/>
                  </a:lnTo>
                  <a:lnTo>
                    <a:pt x="104" y="281"/>
                  </a:lnTo>
                  <a:lnTo>
                    <a:pt x="67" y="292"/>
                  </a:lnTo>
                  <a:lnTo>
                    <a:pt x="67" y="292"/>
                  </a:lnTo>
                  <a:lnTo>
                    <a:pt x="67" y="292"/>
                  </a:lnTo>
                  <a:close/>
                  <a:moveTo>
                    <a:pt x="411" y="276"/>
                  </a:moveTo>
                  <a:lnTo>
                    <a:pt x="411" y="281"/>
                  </a:lnTo>
                  <a:lnTo>
                    <a:pt x="421" y="276"/>
                  </a:lnTo>
                  <a:lnTo>
                    <a:pt x="411" y="276"/>
                  </a:lnTo>
                  <a:lnTo>
                    <a:pt x="411" y="276"/>
                  </a:lnTo>
                  <a:lnTo>
                    <a:pt x="411" y="276"/>
                  </a:lnTo>
                  <a:close/>
                  <a:moveTo>
                    <a:pt x="270" y="387"/>
                  </a:moveTo>
                  <a:lnTo>
                    <a:pt x="248" y="375"/>
                  </a:lnTo>
                  <a:lnTo>
                    <a:pt x="270" y="370"/>
                  </a:lnTo>
                  <a:lnTo>
                    <a:pt x="270" y="387"/>
                  </a:lnTo>
                  <a:lnTo>
                    <a:pt x="270" y="387"/>
                  </a:lnTo>
                  <a:lnTo>
                    <a:pt x="270" y="387"/>
                  </a:lnTo>
                  <a:close/>
                  <a:moveTo>
                    <a:pt x="109" y="569"/>
                  </a:moveTo>
                  <a:lnTo>
                    <a:pt x="119" y="536"/>
                  </a:lnTo>
                  <a:lnTo>
                    <a:pt x="126" y="541"/>
                  </a:lnTo>
                  <a:lnTo>
                    <a:pt x="142" y="541"/>
                  </a:lnTo>
                  <a:lnTo>
                    <a:pt x="189" y="512"/>
                  </a:lnTo>
                  <a:lnTo>
                    <a:pt x="211" y="519"/>
                  </a:lnTo>
                  <a:lnTo>
                    <a:pt x="218" y="536"/>
                  </a:lnTo>
                  <a:lnTo>
                    <a:pt x="206" y="541"/>
                  </a:lnTo>
                  <a:lnTo>
                    <a:pt x="211" y="541"/>
                  </a:lnTo>
                  <a:lnTo>
                    <a:pt x="227" y="574"/>
                  </a:lnTo>
                  <a:lnTo>
                    <a:pt x="211" y="595"/>
                  </a:lnTo>
                  <a:lnTo>
                    <a:pt x="218" y="611"/>
                  </a:lnTo>
                  <a:lnTo>
                    <a:pt x="211" y="696"/>
                  </a:lnTo>
                  <a:lnTo>
                    <a:pt x="173" y="680"/>
                  </a:lnTo>
                  <a:lnTo>
                    <a:pt x="173" y="701"/>
                  </a:lnTo>
                  <a:lnTo>
                    <a:pt x="163" y="706"/>
                  </a:lnTo>
                  <a:lnTo>
                    <a:pt x="152" y="706"/>
                  </a:lnTo>
                  <a:lnTo>
                    <a:pt x="135" y="696"/>
                  </a:lnTo>
                  <a:lnTo>
                    <a:pt x="126" y="706"/>
                  </a:lnTo>
                  <a:lnTo>
                    <a:pt x="126" y="696"/>
                  </a:lnTo>
                  <a:lnTo>
                    <a:pt x="135" y="696"/>
                  </a:lnTo>
                  <a:lnTo>
                    <a:pt x="126" y="668"/>
                  </a:lnTo>
                  <a:lnTo>
                    <a:pt x="135" y="640"/>
                  </a:lnTo>
                  <a:lnTo>
                    <a:pt x="135" y="640"/>
                  </a:lnTo>
                  <a:lnTo>
                    <a:pt x="142" y="630"/>
                  </a:lnTo>
                  <a:lnTo>
                    <a:pt x="126" y="630"/>
                  </a:lnTo>
                  <a:lnTo>
                    <a:pt x="135" y="590"/>
                  </a:lnTo>
                  <a:lnTo>
                    <a:pt x="119" y="569"/>
                  </a:lnTo>
                  <a:lnTo>
                    <a:pt x="109" y="569"/>
                  </a:lnTo>
                  <a:lnTo>
                    <a:pt x="109" y="569"/>
                  </a:lnTo>
                  <a:lnTo>
                    <a:pt x="109" y="569"/>
                  </a:lnTo>
                  <a:lnTo>
                    <a:pt x="109" y="569"/>
                  </a:lnTo>
                  <a:close/>
                  <a:moveTo>
                    <a:pt x="513" y="557"/>
                  </a:moveTo>
                  <a:lnTo>
                    <a:pt x="513" y="552"/>
                  </a:lnTo>
                  <a:lnTo>
                    <a:pt x="520" y="557"/>
                  </a:lnTo>
                  <a:lnTo>
                    <a:pt x="513" y="557"/>
                  </a:lnTo>
                  <a:lnTo>
                    <a:pt x="513" y="557"/>
                  </a:lnTo>
                  <a:lnTo>
                    <a:pt x="513" y="557"/>
                  </a:lnTo>
                  <a:close/>
                  <a:moveTo>
                    <a:pt x="119" y="696"/>
                  </a:moveTo>
                  <a:lnTo>
                    <a:pt x="119" y="685"/>
                  </a:lnTo>
                  <a:lnTo>
                    <a:pt x="119" y="685"/>
                  </a:lnTo>
                  <a:lnTo>
                    <a:pt x="119" y="696"/>
                  </a:lnTo>
                  <a:lnTo>
                    <a:pt x="119" y="696"/>
                  </a:lnTo>
                  <a:lnTo>
                    <a:pt x="119" y="696"/>
                  </a:lnTo>
                  <a:close/>
                  <a:moveTo>
                    <a:pt x="411" y="805"/>
                  </a:moveTo>
                  <a:lnTo>
                    <a:pt x="421" y="789"/>
                  </a:lnTo>
                  <a:lnTo>
                    <a:pt x="433" y="772"/>
                  </a:lnTo>
                  <a:lnTo>
                    <a:pt x="445" y="779"/>
                  </a:lnTo>
                  <a:lnTo>
                    <a:pt x="459" y="779"/>
                  </a:lnTo>
                  <a:lnTo>
                    <a:pt x="459" y="772"/>
                  </a:lnTo>
                  <a:lnTo>
                    <a:pt x="475" y="763"/>
                  </a:lnTo>
                  <a:lnTo>
                    <a:pt x="482" y="779"/>
                  </a:lnTo>
                  <a:lnTo>
                    <a:pt x="504" y="789"/>
                  </a:lnTo>
                  <a:lnTo>
                    <a:pt x="558" y="779"/>
                  </a:lnTo>
                  <a:lnTo>
                    <a:pt x="584" y="772"/>
                  </a:lnTo>
                  <a:lnTo>
                    <a:pt x="596" y="772"/>
                  </a:lnTo>
                  <a:lnTo>
                    <a:pt x="626" y="763"/>
                  </a:lnTo>
                  <a:lnTo>
                    <a:pt x="638" y="763"/>
                  </a:lnTo>
                  <a:lnTo>
                    <a:pt x="605" y="805"/>
                  </a:lnTo>
                  <a:lnTo>
                    <a:pt x="596" y="829"/>
                  </a:lnTo>
                  <a:lnTo>
                    <a:pt x="610" y="866"/>
                  </a:lnTo>
                  <a:lnTo>
                    <a:pt x="605" y="871"/>
                  </a:lnTo>
                  <a:lnTo>
                    <a:pt x="596" y="900"/>
                  </a:lnTo>
                  <a:lnTo>
                    <a:pt x="558" y="890"/>
                  </a:lnTo>
                  <a:lnTo>
                    <a:pt x="534" y="866"/>
                  </a:lnTo>
                  <a:lnTo>
                    <a:pt x="513" y="862"/>
                  </a:lnTo>
                  <a:lnTo>
                    <a:pt x="466" y="829"/>
                  </a:lnTo>
                  <a:lnTo>
                    <a:pt x="428" y="817"/>
                  </a:lnTo>
                  <a:lnTo>
                    <a:pt x="411" y="805"/>
                  </a:lnTo>
                  <a:lnTo>
                    <a:pt x="411" y="805"/>
                  </a:lnTo>
                  <a:lnTo>
                    <a:pt x="411" y="805"/>
                  </a:lnTo>
                  <a:close/>
                  <a:moveTo>
                    <a:pt x="378" y="890"/>
                  </a:moveTo>
                  <a:lnTo>
                    <a:pt x="378" y="883"/>
                  </a:lnTo>
                  <a:lnTo>
                    <a:pt x="390" y="883"/>
                  </a:lnTo>
                  <a:lnTo>
                    <a:pt x="378" y="890"/>
                  </a:lnTo>
                  <a:lnTo>
                    <a:pt x="378" y="890"/>
                  </a:lnTo>
                  <a:lnTo>
                    <a:pt x="378" y="89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 name="Freeform 376">
              <a:extLst>
                <a:ext uri="{FF2B5EF4-FFF2-40B4-BE49-F238E27FC236}">
                  <a16:creationId xmlns:a16="http://schemas.microsoft.com/office/drawing/2014/main" id="{117D3146-2DA5-468C-9E73-99E9A3BAD52F}"/>
                </a:ext>
              </a:extLst>
            </p:cNvPr>
            <p:cNvSpPr>
              <a:spLocks/>
            </p:cNvSpPr>
            <p:nvPr/>
          </p:nvSpPr>
          <p:spPr bwMode="gray">
            <a:xfrm>
              <a:off x="17600702" y="4818094"/>
              <a:ext cx="982" cy="1637"/>
            </a:xfrm>
            <a:custGeom>
              <a:avLst/>
              <a:gdLst>
                <a:gd name="T0" fmla="*/ 0 w 3"/>
                <a:gd name="T1" fmla="*/ 0 h 5"/>
                <a:gd name="T2" fmla="*/ 3 w 3"/>
                <a:gd name="T3" fmla="*/ 0 h 5"/>
                <a:gd name="T4" fmla="*/ 3 w 3"/>
                <a:gd name="T5" fmla="*/ 5 h 5"/>
                <a:gd name="T6" fmla="*/ 0 w 3"/>
                <a:gd name="T7" fmla="*/ 5 h 5"/>
                <a:gd name="T8" fmla="*/ 0 w 3"/>
                <a:gd name="T9" fmla="*/ 0 h 5"/>
                <a:gd name="T10" fmla="*/ 0 w 3"/>
                <a:gd name="T11" fmla="*/ 0 h 5"/>
              </a:gdLst>
              <a:ahLst/>
              <a:cxnLst>
                <a:cxn ang="0">
                  <a:pos x="T0" y="T1"/>
                </a:cxn>
                <a:cxn ang="0">
                  <a:pos x="T2" y="T3"/>
                </a:cxn>
                <a:cxn ang="0">
                  <a:pos x="T4" y="T5"/>
                </a:cxn>
                <a:cxn ang="0">
                  <a:pos x="T6" y="T7"/>
                </a:cxn>
                <a:cxn ang="0">
                  <a:pos x="T8" y="T9"/>
                </a:cxn>
                <a:cxn ang="0">
                  <a:pos x="T10" y="T11"/>
                </a:cxn>
              </a:cxnLst>
              <a:rect l="0" t="0" r="r" b="b"/>
              <a:pathLst>
                <a:path w="3" h="5">
                  <a:moveTo>
                    <a:pt x="0" y="0"/>
                  </a:moveTo>
                  <a:lnTo>
                    <a:pt x="3" y="0"/>
                  </a:lnTo>
                  <a:lnTo>
                    <a:pt x="3" y="5"/>
                  </a:lnTo>
                  <a:lnTo>
                    <a:pt x="0" y="5"/>
                  </a:lnTo>
                  <a:lnTo>
                    <a:pt x="0" y="0"/>
                  </a:lnTo>
                  <a:lnTo>
                    <a:pt x="0" y="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 name="Freeform 377">
              <a:extLst>
                <a:ext uri="{FF2B5EF4-FFF2-40B4-BE49-F238E27FC236}">
                  <a16:creationId xmlns:a16="http://schemas.microsoft.com/office/drawing/2014/main" id="{F115FF59-DD18-4C7F-81F0-0B334BD097B2}"/>
                </a:ext>
              </a:extLst>
            </p:cNvPr>
            <p:cNvSpPr>
              <a:spLocks/>
            </p:cNvSpPr>
            <p:nvPr/>
          </p:nvSpPr>
          <p:spPr bwMode="gray">
            <a:xfrm>
              <a:off x="12133866" y="3815257"/>
              <a:ext cx="5564" cy="5564"/>
            </a:xfrm>
            <a:custGeom>
              <a:avLst/>
              <a:gdLst>
                <a:gd name="T0" fmla="*/ 17 w 17"/>
                <a:gd name="T1" fmla="*/ 17 h 17"/>
                <a:gd name="T2" fmla="*/ 0 w 17"/>
                <a:gd name="T3" fmla="*/ 7 h 17"/>
                <a:gd name="T4" fmla="*/ 0 w 17"/>
                <a:gd name="T5" fmla="*/ 0 h 17"/>
                <a:gd name="T6" fmla="*/ 17 w 17"/>
                <a:gd name="T7" fmla="*/ 17 h 17"/>
                <a:gd name="T8" fmla="*/ 17 w 17"/>
                <a:gd name="T9" fmla="*/ 17 h 17"/>
                <a:gd name="T10" fmla="*/ 17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17" y="17"/>
                  </a:moveTo>
                  <a:lnTo>
                    <a:pt x="0" y="7"/>
                  </a:lnTo>
                  <a:lnTo>
                    <a:pt x="0" y="0"/>
                  </a:lnTo>
                  <a:lnTo>
                    <a:pt x="17" y="17"/>
                  </a:lnTo>
                  <a:lnTo>
                    <a:pt x="17" y="17"/>
                  </a:lnTo>
                  <a:lnTo>
                    <a:pt x="17" y="1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 name="Freeform 378">
              <a:extLst>
                <a:ext uri="{FF2B5EF4-FFF2-40B4-BE49-F238E27FC236}">
                  <a16:creationId xmlns:a16="http://schemas.microsoft.com/office/drawing/2014/main" id="{D3B85AE9-2B73-41DF-BEE6-CE8965A39FFC}"/>
                </a:ext>
              </a:extLst>
            </p:cNvPr>
            <p:cNvSpPr>
              <a:spLocks noEditPoints="1"/>
            </p:cNvSpPr>
            <p:nvPr/>
          </p:nvSpPr>
          <p:spPr bwMode="gray">
            <a:xfrm>
              <a:off x="12322716" y="3693175"/>
              <a:ext cx="5237" cy="18656"/>
            </a:xfrm>
            <a:custGeom>
              <a:avLst/>
              <a:gdLst>
                <a:gd name="T0" fmla="*/ 16 w 16"/>
                <a:gd name="T1" fmla="*/ 12 h 57"/>
                <a:gd name="T2" fmla="*/ 9 w 16"/>
                <a:gd name="T3" fmla="*/ 5 h 57"/>
                <a:gd name="T4" fmla="*/ 9 w 16"/>
                <a:gd name="T5" fmla="*/ 0 h 57"/>
                <a:gd name="T6" fmla="*/ 16 w 16"/>
                <a:gd name="T7" fmla="*/ 5 h 57"/>
                <a:gd name="T8" fmla="*/ 16 w 16"/>
                <a:gd name="T9" fmla="*/ 12 h 57"/>
                <a:gd name="T10" fmla="*/ 16 w 16"/>
                <a:gd name="T11" fmla="*/ 12 h 57"/>
                <a:gd name="T12" fmla="*/ 16 w 16"/>
                <a:gd name="T13" fmla="*/ 12 h 57"/>
                <a:gd name="T14" fmla="*/ 16 w 16"/>
                <a:gd name="T15" fmla="*/ 57 h 57"/>
                <a:gd name="T16" fmla="*/ 0 w 16"/>
                <a:gd name="T17" fmla="*/ 45 h 57"/>
                <a:gd name="T18" fmla="*/ 9 w 16"/>
                <a:gd name="T19" fmla="*/ 40 h 57"/>
                <a:gd name="T20" fmla="*/ 16 w 16"/>
                <a:gd name="T21" fmla="*/ 45 h 57"/>
                <a:gd name="T22" fmla="*/ 16 w 16"/>
                <a:gd name="T23" fmla="*/ 57 h 57"/>
                <a:gd name="T24" fmla="*/ 16 w 16"/>
                <a:gd name="T25" fmla="*/ 57 h 57"/>
                <a:gd name="T26" fmla="*/ 16 w 16"/>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57">
                  <a:moveTo>
                    <a:pt x="16" y="12"/>
                  </a:moveTo>
                  <a:lnTo>
                    <a:pt x="9" y="5"/>
                  </a:lnTo>
                  <a:lnTo>
                    <a:pt x="9" y="0"/>
                  </a:lnTo>
                  <a:lnTo>
                    <a:pt x="16" y="5"/>
                  </a:lnTo>
                  <a:lnTo>
                    <a:pt x="16" y="12"/>
                  </a:lnTo>
                  <a:lnTo>
                    <a:pt x="16" y="12"/>
                  </a:lnTo>
                  <a:lnTo>
                    <a:pt x="16" y="12"/>
                  </a:lnTo>
                  <a:close/>
                  <a:moveTo>
                    <a:pt x="16" y="57"/>
                  </a:moveTo>
                  <a:lnTo>
                    <a:pt x="0" y="45"/>
                  </a:lnTo>
                  <a:lnTo>
                    <a:pt x="9" y="40"/>
                  </a:lnTo>
                  <a:lnTo>
                    <a:pt x="16" y="45"/>
                  </a:lnTo>
                  <a:lnTo>
                    <a:pt x="16" y="57"/>
                  </a:lnTo>
                  <a:lnTo>
                    <a:pt x="16" y="57"/>
                  </a:lnTo>
                  <a:lnTo>
                    <a:pt x="16" y="5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 name="Freeform 379">
              <a:extLst>
                <a:ext uri="{FF2B5EF4-FFF2-40B4-BE49-F238E27FC236}">
                  <a16:creationId xmlns:a16="http://schemas.microsoft.com/office/drawing/2014/main" id="{14CF8D5B-8710-4A05-A4E4-B1A566234784}"/>
                </a:ext>
              </a:extLst>
            </p:cNvPr>
            <p:cNvSpPr>
              <a:spLocks/>
            </p:cNvSpPr>
            <p:nvPr/>
          </p:nvSpPr>
          <p:spPr bwMode="gray">
            <a:xfrm>
              <a:off x="15133867" y="3161318"/>
              <a:ext cx="329915" cy="237945"/>
            </a:xfrm>
            <a:custGeom>
              <a:avLst/>
              <a:gdLst>
                <a:gd name="T0" fmla="*/ 75 w 1008"/>
                <a:gd name="T1" fmla="*/ 243 h 727"/>
                <a:gd name="T2" fmla="*/ 137 w 1008"/>
                <a:gd name="T3" fmla="*/ 260 h 727"/>
                <a:gd name="T4" fmla="*/ 184 w 1008"/>
                <a:gd name="T5" fmla="*/ 234 h 727"/>
                <a:gd name="T6" fmla="*/ 243 w 1008"/>
                <a:gd name="T7" fmla="*/ 193 h 727"/>
                <a:gd name="T8" fmla="*/ 297 w 1008"/>
                <a:gd name="T9" fmla="*/ 111 h 727"/>
                <a:gd name="T10" fmla="*/ 361 w 1008"/>
                <a:gd name="T11" fmla="*/ 78 h 727"/>
                <a:gd name="T12" fmla="*/ 453 w 1008"/>
                <a:gd name="T13" fmla="*/ 82 h 727"/>
                <a:gd name="T14" fmla="*/ 508 w 1008"/>
                <a:gd name="T15" fmla="*/ 99 h 727"/>
                <a:gd name="T16" fmla="*/ 583 w 1008"/>
                <a:gd name="T17" fmla="*/ 94 h 727"/>
                <a:gd name="T18" fmla="*/ 621 w 1008"/>
                <a:gd name="T19" fmla="*/ 82 h 727"/>
                <a:gd name="T20" fmla="*/ 675 w 1008"/>
                <a:gd name="T21" fmla="*/ 78 h 727"/>
                <a:gd name="T22" fmla="*/ 718 w 1008"/>
                <a:gd name="T23" fmla="*/ 0 h 727"/>
                <a:gd name="T24" fmla="*/ 756 w 1008"/>
                <a:gd name="T25" fmla="*/ 42 h 727"/>
                <a:gd name="T26" fmla="*/ 777 w 1008"/>
                <a:gd name="T27" fmla="*/ 139 h 727"/>
                <a:gd name="T28" fmla="*/ 826 w 1008"/>
                <a:gd name="T29" fmla="*/ 115 h 727"/>
                <a:gd name="T30" fmla="*/ 890 w 1008"/>
                <a:gd name="T31" fmla="*/ 78 h 727"/>
                <a:gd name="T32" fmla="*/ 919 w 1008"/>
                <a:gd name="T33" fmla="*/ 94 h 727"/>
                <a:gd name="T34" fmla="*/ 994 w 1008"/>
                <a:gd name="T35" fmla="*/ 82 h 727"/>
                <a:gd name="T36" fmla="*/ 999 w 1008"/>
                <a:gd name="T37" fmla="*/ 94 h 727"/>
                <a:gd name="T38" fmla="*/ 987 w 1008"/>
                <a:gd name="T39" fmla="*/ 120 h 727"/>
                <a:gd name="T40" fmla="*/ 923 w 1008"/>
                <a:gd name="T41" fmla="*/ 120 h 727"/>
                <a:gd name="T42" fmla="*/ 784 w 1008"/>
                <a:gd name="T43" fmla="*/ 165 h 727"/>
                <a:gd name="T44" fmla="*/ 756 w 1008"/>
                <a:gd name="T45" fmla="*/ 189 h 727"/>
                <a:gd name="T46" fmla="*/ 777 w 1008"/>
                <a:gd name="T47" fmla="*/ 250 h 727"/>
                <a:gd name="T48" fmla="*/ 772 w 1008"/>
                <a:gd name="T49" fmla="*/ 283 h 727"/>
                <a:gd name="T50" fmla="*/ 730 w 1008"/>
                <a:gd name="T51" fmla="*/ 321 h 727"/>
                <a:gd name="T52" fmla="*/ 701 w 1008"/>
                <a:gd name="T53" fmla="*/ 373 h 727"/>
                <a:gd name="T54" fmla="*/ 663 w 1008"/>
                <a:gd name="T55" fmla="*/ 390 h 727"/>
                <a:gd name="T56" fmla="*/ 685 w 1008"/>
                <a:gd name="T57" fmla="*/ 415 h 727"/>
                <a:gd name="T58" fmla="*/ 633 w 1008"/>
                <a:gd name="T59" fmla="*/ 456 h 727"/>
                <a:gd name="T60" fmla="*/ 616 w 1008"/>
                <a:gd name="T61" fmla="*/ 489 h 727"/>
                <a:gd name="T62" fmla="*/ 583 w 1008"/>
                <a:gd name="T63" fmla="*/ 562 h 727"/>
                <a:gd name="T64" fmla="*/ 562 w 1008"/>
                <a:gd name="T65" fmla="*/ 545 h 727"/>
                <a:gd name="T66" fmla="*/ 491 w 1008"/>
                <a:gd name="T67" fmla="*/ 562 h 727"/>
                <a:gd name="T68" fmla="*/ 453 w 1008"/>
                <a:gd name="T69" fmla="*/ 578 h 727"/>
                <a:gd name="T70" fmla="*/ 415 w 1008"/>
                <a:gd name="T71" fmla="*/ 612 h 727"/>
                <a:gd name="T72" fmla="*/ 399 w 1008"/>
                <a:gd name="T73" fmla="*/ 678 h 727"/>
                <a:gd name="T74" fmla="*/ 314 w 1008"/>
                <a:gd name="T75" fmla="*/ 723 h 727"/>
                <a:gd name="T76" fmla="*/ 217 w 1008"/>
                <a:gd name="T77" fmla="*/ 723 h 727"/>
                <a:gd name="T78" fmla="*/ 23 w 1008"/>
                <a:gd name="T79" fmla="*/ 694 h 727"/>
                <a:gd name="T80" fmla="*/ 82 w 1008"/>
                <a:gd name="T81" fmla="*/ 578 h 727"/>
                <a:gd name="T82" fmla="*/ 23 w 1008"/>
                <a:gd name="T83" fmla="*/ 505 h 727"/>
                <a:gd name="T84" fmla="*/ 0 w 1008"/>
                <a:gd name="T85" fmla="*/ 394 h 727"/>
                <a:gd name="T86" fmla="*/ 23 w 1008"/>
                <a:gd name="T87" fmla="*/ 338 h 727"/>
                <a:gd name="T88" fmla="*/ 37 w 1008"/>
                <a:gd name="T89" fmla="*/ 300 h 727"/>
                <a:gd name="T90" fmla="*/ 54 w 1008"/>
                <a:gd name="T91" fmla="*/ 23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08" h="727">
                  <a:moveTo>
                    <a:pt x="54" y="234"/>
                  </a:moveTo>
                  <a:lnTo>
                    <a:pt x="61" y="227"/>
                  </a:lnTo>
                  <a:lnTo>
                    <a:pt x="75" y="243"/>
                  </a:lnTo>
                  <a:lnTo>
                    <a:pt x="108" y="243"/>
                  </a:lnTo>
                  <a:lnTo>
                    <a:pt x="120" y="267"/>
                  </a:lnTo>
                  <a:lnTo>
                    <a:pt x="137" y="260"/>
                  </a:lnTo>
                  <a:lnTo>
                    <a:pt x="151" y="260"/>
                  </a:lnTo>
                  <a:lnTo>
                    <a:pt x="184" y="243"/>
                  </a:lnTo>
                  <a:lnTo>
                    <a:pt x="184" y="234"/>
                  </a:lnTo>
                  <a:lnTo>
                    <a:pt x="184" y="227"/>
                  </a:lnTo>
                  <a:lnTo>
                    <a:pt x="184" y="210"/>
                  </a:lnTo>
                  <a:lnTo>
                    <a:pt x="243" y="193"/>
                  </a:lnTo>
                  <a:lnTo>
                    <a:pt x="276" y="177"/>
                  </a:lnTo>
                  <a:lnTo>
                    <a:pt x="297" y="120"/>
                  </a:lnTo>
                  <a:lnTo>
                    <a:pt x="297" y="111"/>
                  </a:lnTo>
                  <a:lnTo>
                    <a:pt x="323" y="99"/>
                  </a:lnTo>
                  <a:lnTo>
                    <a:pt x="352" y="99"/>
                  </a:lnTo>
                  <a:lnTo>
                    <a:pt x="361" y="78"/>
                  </a:lnTo>
                  <a:lnTo>
                    <a:pt x="406" y="94"/>
                  </a:lnTo>
                  <a:lnTo>
                    <a:pt x="422" y="82"/>
                  </a:lnTo>
                  <a:lnTo>
                    <a:pt x="453" y="82"/>
                  </a:lnTo>
                  <a:lnTo>
                    <a:pt x="470" y="99"/>
                  </a:lnTo>
                  <a:lnTo>
                    <a:pt x="491" y="94"/>
                  </a:lnTo>
                  <a:lnTo>
                    <a:pt x="508" y="99"/>
                  </a:lnTo>
                  <a:lnTo>
                    <a:pt x="508" y="111"/>
                  </a:lnTo>
                  <a:lnTo>
                    <a:pt x="529" y="120"/>
                  </a:lnTo>
                  <a:lnTo>
                    <a:pt x="583" y="94"/>
                  </a:lnTo>
                  <a:lnTo>
                    <a:pt x="616" y="111"/>
                  </a:lnTo>
                  <a:lnTo>
                    <a:pt x="621" y="99"/>
                  </a:lnTo>
                  <a:lnTo>
                    <a:pt x="621" y="82"/>
                  </a:lnTo>
                  <a:lnTo>
                    <a:pt x="633" y="66"/>
                  </a:lnTo>
                  <a:lnTo>
                    <a:pt x="654" y="66"/>
                  </a:lnTo>
                  <a:lnTo>
                    <a:pt x="675" y="78"/>
                  </a:lnTo>
                  <a:lnTo>
                    <a:pt x="685" y="61"/>
                  </a:lnTo>
                  <a:lnTo>
                    <a:pt x="675" y="38"/>
                  </a:lnTo>
                  <a:lnTo>
                    <a:pt x="718" y="0"/>
                  </a:lnTo>
                  <a:lnTo>
                    <a:pt x="730" y="0"/>
                  </a:lnTo>
                  <a:lnTo>
                    <a:pt x="760" y="9"/>
                  </a:lnTo>
                  <a:lnTo>
                    <a:pt x="756" y="42"/>
                  </a:lnTo>
                  <a:lnTo>
                    <a:pt x="777" y="42"/>
                  </a:lnTo>
                  <a:lnTo>
                    <a:pt x="760" y="111"/>
                  </a:lnTo>
                  <a:lnTo>
                    <a:pt x="777" y="139"/>
                  </a:lnTo>
                  <a:lnTo>
                    <a:pt x="784" y="149"/>
                  </a:lnTo>
                  <a:lnTo>
                    <a:pt x="793" y="139"/>
                  </a:lnTo>
                  <a:lnTo>
                    <a:pt x="826" y="115"/>
                  </a:lnTo>
                  <a:lnTo>
                    <a:pt x="852" y="115"/>
                  </a:lnTo>
                  <a:lnTo>
                    <a:pt x="864" y="99"/>
                  </a:lnTo>
                  <a:lnTo>
                    <a:pt x="890" y="78"/>
                  </a:lnTo>
                  <a:lnTo>
                    <a:pt x="933" y="82"/>
                  </a:lnTo>
                  <a:lnTo>
                    <a:pt x="933" y="94"/>
                  </a:lnTo>
                  <a:lnTo>
                    <a:pt x="919" y="94"/>
                  </a:lnTo>
                  <a:lnTo>
                    <a:pt x="923" y="99"/>
                  </a:lnTo>
                  <a:lnTo>
                    <a:pt x="961" y="82"/>
                  </a:lnTo>
                  <a:lnTo>
                    <a:pt x="994" y="82"/>
                  </a:lnTo>
                  <a:lnTo>
                    <a:pt x="1008" y="99"/>
                  </a:lnTo>
                  <a:lnTo>
                    <a:pt x="999" y="99"/>
                  </a:lnTo>
                  <a:lnTo>
                    <a:pt x="999" y="94"/>
                  </a:lnTo>
                  <a:lnTo>
                    <a:pt x="971" y="99"/>
                  </a:lnTo>
                  <a:lnTo>
                    <a:pt x="987" y="115"/>
                  </a:lnTo>
                  <a:lnTo>
                    <a:pt x="987" y="120"/>
                  </a:lnTo>
                  <a:lnTo>
                    <a:pt x="978" y="115"/>
                  </a:lnTo>
                  <a:lnTo>
                    <a:pt x="945" y="132"/>
                  </a:lnTo>
                  <a:lnTo>
                    <a:pt x="923" y="120"/>
                  </a:lnTo>
                  <a:lnTo>
                    <a:pt x="848" y="132"/>
                  </a:lnTo>
                  <a:lnTo>
                    <a:pt x="815" y="139"/>
                  </a:lnTo>
                  <a:lnTo>
                    <a:pt x="784" y="165"/>
                  </a:lnTo>
                  <a:lnTo>
                    <a:pt x="777" y="165"/>
                  </a:lnTo>
                  <a:lnTo>
                    <a:pt x="777" y="172"/>
                  </a:lnTo>
                  <a:lnTo>
                    <a:pt x="756" y="189"/>
                  </a:lnTo>
                  <a:lnTo>
                    <a:pt x="746" y="193"/>
                  </a:lnTo>
                  <a:lnTo>
                    <a:pt x="772" y="210"/>
                  </a:lnTo>
                  <a:lnTo>
                    <a:pt x="777" y="250"/>
                  </a:lnTo>
                  <a:lnTo>
                    <a:pt x="772" y="260"/>
                  </a:lnTo>
                  <a:lnTo>
                    <a:pt x="777" y="267"/>
                  </a:lnTo>
                  <a:lnTo>
                    <a:pt x="772" y="283"/>
                  </a:lnTo>
                  <a:lnTo>
                    <a:pt x="739" y="304"/>
                  </a:lnTo>
                  <a:lnTo>
                    <a:pt x="739" y="316"/>
                  </a:lnTo>
                  <a:lnTo>
                    <a:pt x="730" y="321"/>
                  </a:lnTo>
                  <a:lnTo>
                    <a:pt x="746" y="338"/>
                  </a:lnTo>
                  <a:lnTo>
                    <a:pt x="739" y="361"/>
                  </a:lnTo>
                  <a:lnTo>
                    <a:pt x="701" y="373"/>
                  </a:lnTo>
                  <a:lnTo>
                    <a:pt x="654" y="361"/>
                  </a:lnTo>
                  <a:lnTo>
                    <a:pt x="663" y="378"/>
                  </a:lnTo>
                  <a:lnTo>
                    <a:pt x="663" y="390"/>
                  </a:lnTo>
                  <a:lnTo>
                    <a:pt x="675" y="390"/>
                  </a:lnTo>
                  <a:lnTo>
                    <a:pt x="675" y="399"/>
                  </a:lnTo>
                  <a:lnTo>
                    <a:pt x="685" y="415"/>
                  </a:lnTo>
                  <a:lnTo>
                    <a:pt x="671" y="434"/>
                  </a:lnTo>
                  <a:lnTo>
                    <a:pt x="633" y="444"/>
                  </a:lnTo>
                  <a:lnTo>
                    <a:pt x="633" y="456"/>
                  </a:lnTo>
                  <a:lnTo>
                    <a:pt x="621" y="467"/>
                  </a:lnTo>
                  <a:lnTo>
                    <a:pt x="621" y="472"/>
                  </a:lnTo>
                  <a:lnTo>
                    <a:pt x="616" y="489"/>
                  </a:lnTo>
                  <a:lnTo>
                    <a:pt x="616" y="529"/>
                  </a:lnTo>
                  <a:lnTo>
                    <a:pt x="600" y="555"/>
                  </a:lnTo>
                  <a:lnTo>
                    <a:pt x="583" y="562"/>
                  </a:lnTo>
                  <a:lnTo>
                    <a:pt x="562" y="538"/>
                  </a:lnTo>
                  <a:lnTo>
                    <a:pt x="557" y="545"/>
                  </a:lnTo>
                  <a:lnTo>
                    <a:pt x="562" y="545"/>
                  </a:lnTo>
                  <a:lnTo>
                    <a:pt x="541" y="538"/>
                  </a:lnTo>
                  <a:lnTo>
                    <a:pt x="524" y="555"/>
                  </a:lnTo>
                  <a:lnTo>
                    <a:pt x="491" y="562"/>
                  </a:lnTo>
                  <a:lnTo>
                    <a:pt x="508" y="578"/>
                  </a:lnTo>
                  <a:lnTo>
                    <a:pt x="474" y="583"/>
                  </a:lnTo>
                  <a:lnTo>
                    <a:pt x="453" y="578"/>
                  </a:lnTo>
                  <a:lnTo>
                    <a:pt x="437" y="583"/>
                  </a:lnTo>
                  <a:lnTo>
                    <a:pt x="422" y="612"/>
                  </a:lnTo>
                  <a:lnTo>
                    <a:pt x="415" y="612"/>
                  </a:lnTo>
                  <a:lnTo>
                    <a:pt x="406" y="640"/>
                  </a:lnTo>
                  <a:lnTo>
                    <a:pt x="406" y="668"/>
                  </a:lnTo>
                  <a:lnTo>
                    <a:pt x="399" y="678"/>
                  </a:lnTo>
                  <a:lnTo>
                    <a:pt x="406" y="689"/>
                  </a:lnTo>
                  <a:lnTo>
                    <a:pt x="399" y="694"/>
                  </a:lnTo>
                  <a:lnTo>
                    <a:pt x="314" y="723"/>
                  </a:lnTo>
                  <a:lnTo>
                    <a:pt x="271" y="723"/>
                  </a:lnTo>
                  <a:lnTo>
                    <a:pt x="243" y="727"/>
                  </a:lnTo>
                  <a:lnTo>
                    <a:pt x="217" y="723"/>
                  </a:lnTo>
                  <a:lnTo>
                    <a:pt x="189" y="727"/>
                  </a:lnTo>
                  <a:lnTo>
                    <a:pt x="137" y="727"/>
                  </a:lnTo>
                  <a:lnTo>
                    <a:pt x="23" y="694"/>
                  </a:lnTo>
                  <a:lnTo>
                    <a:pt x="82" y="623"/>
                  </a:lnTo>
                  <a:lnTo>
                    <a:pt x="92" y="600"/>
                  </a:lnTo>
                  <a:lnTo>
                    <a:pt x="82" y="578"/>
                  </a:lnTo>
                  <a:lnTo>
                    <a:pt x="23" y="567"/>
                  </a:lnTo>
                  <a:lnTo>
                    <a:pt x="23" y="529"/>
                  </a:lnTo>
                  <a:lnTo>
                    <a:pt x="23" y="505"/>
                  </a:lnTo>
                  <a:lnTo>
                    <a:pt x="7" y="434"/>
                  </a:lnTo>
                  <a:lnTo>
                    <a:pt x="28" y="399"/>
                  </a:lnTo>
                  <a:lnTo>
                    <a:pt x="0" y="394"/>
                  </a:lnTo>
                  <a:lnTo>
                    <a:pt x="0" y="354"/>
                  </a:lnTo>
                  <a:lnTo>
                    <a:pt x="7" y="338"/>
                  </a:lnTo>
                  <a:lnTo>
                    <a:pt x="23" y="338"/>
                  </a:lnTo>
                  <a:lnTo>
                    <a:pt x="11" y="321"/>
                  </a:lnTo>
                  <a:lnTo>
                    <a:pt x="28" y="316"/>
                  </a:lnTo>
                  <a:lnTo>
                    <a:pt x="37" y="300"/>
                  </a:lnTo>
                  <a:lnTo>
                    <a:pt x="37" y="260"/>
                  </a:lnTo>
                  <a:lnTo>
                    <a:pt x="54" y="234"/>
                  </a:lnTo>
                  <a:lnTo>
                    <a:pt x="54" y="234"/>
                  </a:lnTo>
                  <a:lnTo>
                    <a:pt x="54" y="234"/>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 name="Freeform 380">
              <a:extLst>
                <a:ext uri="{FF2B5EF4-FFF2-40B4-BE49-F238E27FC236}">
                  <a16:creationId xmlns:a16="http://schemas.microsoft.com/office/drawing/2014/main" id="{EBA93BB4-D7BB-49BA-8EF1-EF6FD7C2D077}"/>
                </a:ext>
              </a:extLst>
            </p:cNvPr>
            <p:cNvSpPr>
              <a:spLocks/>
            </p:cNvSpPr>
            <p:nvPr/>
          </p:nvSpPr>
          <p:spPr bwMode="gray">
            <a:xfrm>
              <a:off x="13545824" y="3197648"/>
              <a:ext cx="472944" cy="463125"/>
            </a:xfrm>
            <a:custGeom>
              <a:avLst/>
              <a:gdLst>
                <a:gd name="T0" fmla="*/ 399 w 1445"/>
                <a:gd name="T1" fmla="*/ 427 h 1415"/>
                <a:gd name="T2" fmla="*/ 446 w 1445"/>
                <a:gd name="T3" fmla="*/ 399 h 1415"/>
                <a:gd name="T4" fmla="*/ 522 w 1445"/>
                <a:gd name="T5" fmla="*/ 399 h 1415"/>
                <a:gd name="T6" fmla="*/ 522 w 1445"/>
                <a:gd name="T7" fmla="*/ 387 h 1415"/>
                <a:gd name="T8" fmla="*/ 508 w 1445"/>
                <a:gd name="T9" fmla="*/ 354 h 1415"/>
                <a:gd name="T10" fmla="*/ 508 w 1445"/>
                <a:gd name="T11" fmla="*/ 333 h 1415"/>
                <a:gd name="T12" fmla="*/ 491 w 1445"/>
                <a:gd name="T13" fmla="*/ 283 h 1415"/>
                <a:gd name="T14" fmla="*/ 491 w 1445"/>
                <a:gd name="T15" fmla="*/ 243 h 1415"/>
                <a:gd name="T16" fmla="*/ 491 w 1445"/>
                <a:gd name="T17" fmla="*/ 210 h 1415"/>
                <a:gd name="T18" fmla="*/ 484 w 1445"/>
                <a:gd name="T19" fmla="*/ 193 h 1415"/>
                <a:gd name="T20" fmla="*/ 484 w 1445"/>
                <a:gd name="T21" fmla="*/ 165 h 1415"/>
                <a:gd name="T22" fmla="*/ 538 w 1445"/>
                <a:gd name="T23" fmla="*/ 116 h 1415"/>
                <a:gd name="T24" fmla="*/ 560 w 1445"/>
                <a:gd name="T25" fmla="*/ 116 h 1415"/>
                <a:gd name="T26" fmla="*/ 597 w 1445"/>
                <a:gd name="T27" fmla="*/ 111 h 1415"/>
                <a:gd name="T28" fmla="*/ 690 w 1445"/>
                <a:gd name="T29" fmla="*/ 45 h 1415"/>
                <a:gd name="T30" fmla="*/ 786 w 1445"/>
                <a:gd name="T31" fmla="*/ 45 h 1415"/>
                <a:gd name="T32" fmla="*/ 853 w 1445"/>
                <a:gd name="T33" fmla="*/ 28 h 1415"/>
                <a:gd name="T34" fmla="*/ 938 w 1445"/>
                <a:gd name="T35" fmla="*/ 12 h 1415"/>
                <a:gd name="T36" fmla="*/ 1008 w 1445"/>
                <a:gd name="T37" fmla="*/ 21 h 1415"/>
                <a:gd name="T38" fmla="*/ 1046 w 1445"/>
                <a:gd name="T39" fmla="*/ 4 h 1415"/>
                <a:gd name="T40" fmla="*/ 1067 w 1445"/>
                <a:gd name="T41" fmla="*/ 12 h 1415"/>
                <a:gd name="T42" fmla="*/ 1110 w 1445"/>
                <a:gd name="T43" fmla="*/ 12 h 1415"/>
                <a:gd name="T44" fmla="*/ 1117 w 1445"/>
                <a:gd name="T45" fmla="*/ 0 h 1415"/>
                <a:gd name="T46" fmla="*/ 1164 w 1445"/>
                <a:gd name="T47" fmla="*/ 21 h 1415"/>
                <a:gd name="T48" fmla="*/ 1209 w 1445"/>
                <a:gd name="T49" fmla="*/ 12 h 1415"/>
                <a:gd name="T50" fmla="*/ 1176 w 1445"/>
                <a:gd name="T51" fmla="*/ 45 h 1415"/>
                <a:gd name="T52" fmla="*/ 1186 w 1445"/>
                <a:gd name="T53" fmla="*/ 99 h 1415"/>
                <a:gd name="T54" fmla="*/ 1193 w 1445"/>
                <a:gd name="T55" fmla="*/ 139 h 1415"/>
                <a:gd name="T56" fmla="*/ 1186 w 1445"/>
                <a:gd name="T57" fmla="*/ 205 h 1415"/>
                <a:gd name="T58" fmla="*/ 1155 w 1445"/>
                <a:gd name="T59" fmla="*/ 234 h 1415"/>
                <a:gd name="T60" fmla="*/ 1134 w 1445"/>
                <a:gd name="T61" fmla="*/ 260 h 1415"/>
                <a:gd name="T62" fmla="*/ 1176 w 1445"/>
                <a:gd name="T63" fmla="*/ 321 h 1415"/>
                <a:gd name="T64" fmla="*/ 1193 w 1445"/>
                <a:gd name="T65" fmla="*/ 371 h 1415"/>
                <a:gd name="T66" fmla="*/ 1278 w 1445"/>
                <a:gd name="T67" fmla="*/ 555 h 1415"/>
                <a:gd name="T68" fmla="*/ 1285 w 1445"/>
                <a:gd name="T69" fmla="*/ 600 h 1415"/>
                <a:gd name="T70" fmla="*/ 1294 w 1445"/>
                <a:gd name="T71" fmla="*/ 711 h 1415"/>
                <a:gd name="T72" fmla="*/ 1285 w 1445"/>
                <a:gd name="T73" fmla="*/ 782 h 1415"/>
                <a:gd name="T74" fmla="*/ 1299 w 1445"/>
                <a:gd name="T75" fmla="*/ 822 h 1415"/>
                <a:gd name="T76" fmla="*/ 1273 w 1445"/>
                <a:gd name="T77" fmla="*/ 855 h 1415"/>
                <a:gd name="T78" fmla="*/ 1311 w 1445"/>
                <a:gd name="T79" fmla="*/ 933 h 1415"/>
                <a:gd name="T80" fmla="*/ 1327 w 1445"/>
                <a:gd name="T81" fmla="*/ 982 h 1415"/>
                <a:gd name="T82" fmla="*/ 1337 w 1445"/>
                <a:gd name="T83" fmla="*/ 1004 h 1415"/>
                <a:gd name="T84" fmla="*/ 1419 w 1445"/>
                <a:gd name="T85" fmla="*/ 1011 h 1415"/>
                <a:gd name="T86" fmla="*/ 1134 w 1445"/>
                <a:gd name="T87" fmla="*/ 1278 h 1415"/>
                <a:gd name="T88" fmla="*/ 907 w 1445"/>
                <a:gd name="T89" fmla="*/ 1405 h 1415"/>
                <a:gd name="T90" fmla="*/ 824 w 1445"/>
                <a:gd name="T91" fmla="*/ 1405 h 1415"/>
                <a:gd name="T92" fmla="*/ 831 w 1445"/>
                <a:gd name="T93" fmla="*/ 1353 h 1415"/>
                <a:gd name="T94" fmla="*/ 760 w 1445"/>
                <a:gd name="T95" fmla="*/ 1320 h 1415"/>
                <a:gd name="T96" fmla="*/ 734 w 1445"/>
                <a:gd name="T97" fmla="*/ 1315 h 1415"/>
                <a:gd name="T98" fmla="*/ 690 w 1445"/>
                <a:gd name="T99" fmla="*/ 1282 h 1415"/>
                <a:gd name="T100" fmla="*/ 269 w 1445"/>
                <a:gd name="T101" fmla="*/ 966 h 1415"/>
                <a:gd name="T102" fmla="*/ 0 w 1445"/>
                <a:gd name="T103" fmla="*/ 760 h 1415"/>
                <a:gd name="T104" fmla="*/ 108 w 1445"/>
                <a:gd name="T105" fmla="*/ 600 h 1415"/>
                <a:gd name="T106" fmla="*/ 160 w 1445"/>
                <a:gd name="T107" fmla="*/ 593 h 1415"/>
                <a:gd name="T108" fmla="*/ 236 w 1445"/>
                <a:gd name="T109" fmla="*/ 567 h 1415"/>
                <a:gd name="T110" fmla="*/ 302 w 1445"/>
                <a:gd name="T111" fmla="*/ 522 h 1415"/>
                <a:gd name="T112" fmla="*/ 356 w 1445"/>
                <a:gd name="T113" fmla="*/ 498 h 1415"/>
                <a:gd name="T114" fmla="*/ 340 w 1445"/>
                <a:gd name="T115" fmla="*/ 482 h 1415"/>
                <a:gd name="T116" fmla="*/ 366 w 1445"/>
                <a:gd name="T117" fmla="*/ 432 h 1415"/>
                <a:gd name="T118" fmla="*/ 366 w 1445"/>
                <a:gd name="T119" fmla="*/ 432 h 1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5" h="1415">
                  <a:moveTo>
                    <a:pt x="366" y="432"/>
                  </a:moveTo>
                  <a:lnTo>
                    <a:pt x="399" y="427"/>
                  </a:lnTo>
                  <a:lnTo>
                    <a:pt x="408" y="411"/>
                  </a:lnTo>
                  <a:lnTo>
                    <a:pt x="446" y="399"/>
                  </a:lnTo>
                  <a:lnTo>
                    <a:pt x="522" y="411"/>
                  </a:lnTo>
                  <a:lnTo>
                    <a:pt x="522" y="399"/>
                  </a:lnTo>
                  <a:lnTo>
                    <a:pt x="517" y="399"/>
                  </a:lnTo>
                  <a:lnTo>
                    <a:pt x="522" y="387"/>
                  </a:lnTo>
                  <a:lnTo>
                    <a:pt x="538" y="371"/>
                  </a:lnTo>
                  <a:lnTo>
                    <a:pt x="508" y="354"/>
                  </a:lnTo>
                  <a:lnTo>
                    <a:pt x="501" y="338"/>
                  </a:lnTo>
                  <a:lnTo>
                    <a:pt x="508" y="333"/>
                  </a:lnTo>
                  <a:lnTo>
                    <a:pt x="491" y="316"/>
                  </a:lnTo>
                  <a:lnTo>
                    <a:pt x="491" y="283"/>
                  </a:lnTo>
                  <a:lnTo>
                    <a:pt x="484" y="276"/>
                  </a:lnTo>
                  <a:lnTo>
                    <a:pt x="491" y="243"/>
                  </a:lnTo>
                  <a:lnTo>
                    <a:pt x="484" y="222"/>
                  </a:lnTo>
                  <a:lnTo>
                    <a:pt x="491" y="210"/>
                  </a:lnTo>
                  <a:lnTo>
                    <a:pt x="475" y="205"/>
                  </a:lnTo>
                  <a:lnTo>
                    <a:pt x="484" y="193"/>
                  </a:lnTo>
                  <a:lnTo>
                    <a:pt x="453" y="165"/>
                  </a:lnTo>
                  <a:lnTo>
                    <a:pt x="484" y="165"/>
                  </a:lnTo>
                  <a:lnTo>
                    <a:pt x="517" y="139"/>
                  </a:lnTo>
                  <a:lnTo>
                    <a:pt x="538" y="116"/>
                  </a:lnTo>
                  <a:lnTo>
                    <a:pt x="555" y="111"/>
                  </a:lnTo>
                  <a:lnTo>
                    <a:pt x="560" y="116"/>
                  </a:lnTo>
                  <a:lnTo>
                    <a:pt x="583" y="99"/>
                  </a:lnTo>
                  <a:lnTo>
                    <a:pt x="597" y="111"/>
                  </a:lnTo>
                  <a:lnTo>
                    <a:pt x="626" y="82"/>
                  </a:lnTo>
                  <a:lnTo>
                    <a:pt x="690" y="45"/>
                  </a:lnTo>
                  <a:lnTo>
                    <a:pt x="772" y="38"/>
                  </a:lnTo>
                  <a:lnTo>
                    <a:pt x="786" y="45"/>
                  </a:lnTo>
                  <a:lnTo>
                    <a:pt x="810" y="21"/>
                  </a:lnTo>
                  <a:lnTo>
                    <a:pt x="853" y="28"/>
                  </a:lnTo>
                  <a:lnTo>
                    <a:pt x="878" y="12"/>
                  </a:lnTo>
                  <a:lnTo>
                    <a:pt x="938" y="12"/>
                  </a:lnTo>
                  <a:lnTo>
                    <a:pt x="975" y="38"/>
                  </a:lnTo>
                  <a:lnTo>
                    <a:pt x="1008" y="21"/>
                  </a:lnTo>
                  <a:lnTo>
                    <a:pt x="1046" y="12"/>
                  </a:lnTo>
                  <a:lnTo>
                    <a:pt x="1046" y="4"/>
                  </a:lnTo>
                  <a:lnTo>
                    <a:pt x="1063" y="0"/>
                  </a:lnTo>
                  <a:lnTo>
                    <a:pt x="1067" y="12"/>
                  </a:lnTo>
                  <a:lnTo>
                    <a:pt x="1096" y="12"/>
                  </a:lnTo>
                  <a:lnTo>
                    <a:pt x="1110" y="12"/>
                  </a:lnTo>
                  <a:lnTo>
                    <a:pt x="1117" y="4"/>
                  </a:lnTo>
                  <a:lnTo>
                    <a:pt x="1117" y="0"/>
                  </a:lnTo>
                  <a:lnTo>
                    <a:pt x="1155" y="12"/>
                  </a:lnTo>
                  <a:lnTo>
                    <a:pt x="1164" y="21"/>
                  </a:lnTo>
                  <a:lnTo>
                    <a:pt x="1186" y="12"/>
                  </a:lnTo>
                  <a:lnTo>
                    <a:pt x="1209" y="12"/>
                  </a:lnTo>
                  <a:lnTo>
                    <a:pt x="1219" y="21"/>
                  </a:lnTo>
                  <a:lnTo>
                    <a:pt x="1176" y="45"/>
                  </a:lnTo>
                  <a:lnTo>
                    <a:pt x="1193" y="54"/>
                  </a:lnTo>
                  <a:lnTo>
                    <a:pt x="1186" y="99"/>
                  </a:lnTo>
                  <a:lnTo>
                    <a:pt x="1193" y="116"/>
                  </a:lnTo>
                  <a:lnTo>
                    <a:pt x="1193" y="139"/>
                  </a:lnTo>
                  <a:lnTo>
                    <a:pt x="1193" y="156"/>
                  </a:lnTo>
                  <a:lnTo>
                    <a:pt x="1186" y="205"/>
                  </a:lnTo>
                  <a:lnTo>
                    <a:pt x="1155" y="222"/>
                  </a:lnTo>
                  <a:lnTo>
                    <a:pt x="1155" y="234"/>
                  </a:lnTo>
                  <a:lnTo>
                    <a:pt x="1134" y="243"/>
                  </a:lnTo>
                  <a:lnTo>
                    <a:pt x="1134" y="260"/>
                  </a:lnTo>
                  <a:lnTo>
                    <a:pt x="1148" y="316"/>
                  </a:lnTo>
                  <a:lnTo>
                    <a:pt x="1176" y="321"/>
                  </a:lnTo>
                  <a:lnTo>
                    <a:pt x="1193" y="345"/>
                  </a:lnTo>
                  <a:lnTo>
                    <a:pt x="1193" y="371"/>
                  </a:lnTo>
                  <a:lnTo>
                    <a:pt x="1240" y="411"/>
                  </a:lnTo>
                  <a:lnTo>
                    <a:pt x="1278" y="555"/>
                  </a:lnTo>
                  <a:lnTo>
                    <a:pt x="1261" y="560"/>
                  </a:lnTo>
                  <a:lnTo>
                    <a:pt x="1285" y="600"/>
                  </a:lnTo>
                  <a:lnTo>
                    <a:pt x="1294" y="638"/>
                  </a:lnTo>
                  <a:lnTo>
                    <a:pt x="1294" y="711"/>
                  </a:lnTo>
                  <a:lnTo>
                    <a:pt x="1311" y="744"/>
                  </a:lnTo>
                  <a:lnTo>
                    <a:pt x="1285" y="782"/>
                  </a:lnTo>
                  <a:lnTo>
                    <a:pt x="1299" y="815"/>
                  </a:lnTo>
                  <a:lnTo>
                    <a:pt x="1299" y="822"/>
                  </a:lnTo>
                  <a:lnTo>
                    <a:pt x="1299" y="843"/>
                  </a:lnTo>
                  <a:lnTo>
                    <a:pt x="1273" y="855"/>
                  </a:lnTo>
                  <a:lnTo>
                    <a:pt x="1261" y="871"/>
                  </a:lnTo>
                  <a:lnTo>
                    <a:pt x="1311" y="933"/>
                  </a:lnTo>
                  <a:lnTo>
                    <a:pt x="1311" y="971"/>
                  </a:lnTo>
                  <a:lnTo>
                    <a:pt x="1327" y="982"/>
                  </a:lnTo>
                  <a:lnTo>
                    <a:pt x="1327" y="987"/>
                  </a:lnTo>
                  <a:lnTo>
                    <a:pt x="1337" y="1004"/>
                  </a:lnTo>
                  <a:lnTo>
                    <a:pt x="1353" y="999"/>
                  </a:lnTo>
                  <a:lnTo>
                    <a:pt x="1419" y="1011"/>
                  </a:lnTo>
                  <a:lnTo>
                    <a:pt x="1445" y="1077"/>
                  </a:lnTo>
                  <a:lnTo>
                    <a:pt x="1134" y="1278"/>
                  </a:lnTo>
                  <a:lnTo>
                    <a:pt x="1013" y="1389"/>
                  </a:lnTo>
                  <a:lnTo>
                    <a:pt x="907" y="1405"/>
                  </a:lnTo>
                  <a:lnTo>
                    <a:pt x="841" y="1415"/>
                  </a:lnTo>
                  <a:lnTo>
                    <a:pt x="824" y="1405"/>
                  </a:lnTo>
                  <a:lnTo>
                    <a:pt x="841" y="1389"/>
                  </a:lnTo>
                  <a:lnTo>
                    <a:pt x="831" y="1353"/>
                  </a:lnTo>
                  <a:lnTo>
                    <a:pt x="777" y="1337"/>
                  </a:lnTo>
                  <a:lnTo>
                    <a:pt x="760" y="1320"/>
                  </a:lnTo>
                  <a:lnTo>
                    <a:pt x="756" y="1320"/>
                  </a:lnTo>
                  <a:lnTo>
                    <a:pt x="734" y="1315"/>
                  </a:lnTo>
                  <a:lnTo>
                    <a:pt x="723" y="1299"/>
                  </a:lnTo>
                  <a:lnTo>
                    <a:pt x="690" y="1282"/>
                  </a:lnTo>
                  <a:lnTo>
                    <a:pt x="690" y="1261"/>
                  </a:lnTo>
                  <a:lnTo>
                    <a:pt x="269" y="966"/>
                  </a:lnTo>
                  <a:lnTo>
                    <a:pt x="0" y="782"/>
                  </a:lnTo>
                  <a:lnTo>
                    <a:pt x="0" y="760"/>
                  </a:lnTo>
                  <a:lnTo>
                    <a:pt x="0" y="671"/>
                  </a:lnTo>
                  <a:lnTo>
                    <a:pt x="108" y="600"/>
                  </a:lnTo>
                  <a:lnTo>
                    <a:pt x="146" y="609"/>
                  </a:lnTo>
                  <a:lnTo>
                    <a:pt x="160" y="593"/>
                  </a:lnTo>
                  <a:lnTo>
                    <a:pt x="222" y="583"/>
                  </a:lnTo>
                  <a:lnTo>
                    <a:pt x="236" y="567"/>
                  </a:lnTo>
                  <a:lnTo>
                    <a:pt x="260" y="538"/>
                  </a:lnTo>
                  <a:lnTo>
                    <a:pt x="302" y="522"/>
                  </a:lnTo>
                  <a:lnTo>
                    <a:pt x="323" y="498"/>
                  </a:lnTo>
                  <a:lnTo>
                    <a:pt x="356" y="498"/>
                  </a:lnTo>
                  <a:lnTo>
                    <a:pt x="356" y="489"/>
                  </a:lnTo>
                  <a:lnTo>
                    <a:pt x="340" y="482"/>
                  </a:lnTo>
                  <a:lnTo>
                    <a:pt x="340" y="444"/>
                  </a:lnTo>
                  <a:lnTo>
                    <a:pt x="366" y="432"/>
                  </a:lnTo>
                  <a:lnTo>
                    <a:pt x="366" y="432"/>
                  </a:lnTo>
                  <a:lnTo>
                    <a:pt x="366" y="432"/>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 name="Freeform 381">
              <a:extLst>
                <a:ext uri="{FF2B5EF4-FFF2-40B4-BE49-F238E27FC236}">
                  <a16:creationId xmlns:a16="http://schemas.microsoft.com/office/drawing/2014/main" id="{4870B9E5-9150-4C8D-A3CC-C0801BF18F5D}"/>
                </a:ext>
              </a:extLst>
            </p:cNvPr>
            <p:cNvSpPr>
              <a:spLocks noEditPoints="1"/>
            </p:cNvSpPr>
            <p:nvPr/>
          </p:nvSpPr>
          <p:spPr bwMode="gray">
            <a:xfrm>
              <a:off x="14771877" y="3065420"/>
              <a:ext cx="129282" cy="98189"/>
            </a:xfrm>
            <a:custGeom>
              <a:avLst/>
              <a:gdLst>
                <a:gd name="T0" fmla="*/ 118 w 395"/>
                <a:gd name="T1" fmla="*/ 229 h 300"/>
                <a:gd name="T2" fmla="*/ 118 w 395"/>
                <a:gd name="T3" fmla="*/ 212 h 300"/>
                <a:gd name="T4" fmla="*/ 102 w 395"/>
                <a:gd name="T5" fmla="*/ 196 h 300"/>
                <a:gd name="T6" fmla="*/ 64 w 395"/>
                <a:gd name="T7" fmla="*/ 168 h 300"/>
                <a:gd name="T8" fmla="*/ 85 w 395"/>
                <a:gd name="T9" fmla="*/ 139 h 300"/>
                <a:gd name="T10" fmla="*/ 47 w 395"/>
                <a:gd name="T11" fmla="*/ 99 h 300"/>
                <a:gd name="T12" fmla="*/ 26 w 395"/>
                <a:gd name="T13" fmla="*/ 73 h 300"/>
                <a:gd name="T14" fmla="*/ 17 w 395"/>
                <a:gd name="T15" fmla="*/ 45 h 300"/>
                <a:gd name="T16" fmla="*/ 71 w 395"/>
                <a:gd name="T17" fmla="*/ 45 h 300"/>
                <a:gd name="T18" fmla="*/ 102 w 395"/>
                <a:gd name="T19" fmla="*/ 57 h 300"/>
                <a:gd name="T20" fmla="*/ 135 w 395"/>
                <a:gd name="T21" fmla="*/ 61 h 300"/>
                <a:gd name="T22" fmla="*/ 109 w 395"/>
                <a:gd name="T23" fmla="*/ 28 h 300"/>
                <a:gd name="T24" fmla="*/ 118 w 395"/>
                <a:gd name="T25" fmla="*/ 0 h 300"/>
                <a:gd name="T26" fmla="*/ 140 w 395"/>
                <a:gd name="T27" fmla="*/ 0 h 300"/>
                <a:gd name="T28" fmla="*/ 177 w 395"/>
                <a:gd name="T29" fmla="*/ 45 h 300"/>
                <a:gd name="T30" fmla="*/ 227 w 395"/>
                <a:gd name="T31" fmla="*/ 57 h 300"/>
                <a:gd name="T32" fmla="*/ 253 w 395"/>
                <a:gd name="T33" fmla="*/ 23 h 300"/>
                <a:gd name="T34" fmla="*/ 303 w 395"/>
                <a:gd name="T35" fmla="*/ 40 h 300"/>
                <a:gd name="T36" fmla="*/ 336 w 395"/>
                <a:gd name="T37" fmla="*/ 94 h 300"/>
                <a:gd name="T38" fmla="*/ 390 w 395"/>
                <a:gd name="T39" fmla="*/ 118 h 300"/>
                <a:gd name="T40" fmla="*/ 362 w 395"/>
                <a:gd name="T41" fmla="*/ 134 h 300"/>
                <a:gd name="T42" fmla="*/ 319 w 395"/>
                <a:gd name="T43" fmla="*/ 205 h 300"/>
                <a:gd name="T44" fmla="*/ 319 w 395"/>
                <a:gd name="T45" fmla="*/ 222 h 300"/>
                <a:gd name="T46" fmla="*/ 303 w 395"/>
                <a:gd name="T47" fmla="*/ 246 h 300"/>
                <a:gd name="T48" fmla="*/ 298 w 395"/>
                <a:gd name="T49" fmla="*/ 229 h 300"/>
                <a:gd name="T50" fmla="*/ 269 w 395"/>
                <a:gd name="T51" fmla="*/ 300 h 300"/>
                <a:gd name="T52" fmla="*/ 248 w 395"/>
                <a:gd name="T53" fmla="*/ 279 h 300"/>
                <a:gd name="T54" fmla="*/ 232 w 395"/>
                <a:gd name="T55" fmla="*/ 250 h 300"/>
                <a:gd name="T56" fmla="*/ 232 w 395"/>
                <a:gd name="T57" fmla="*/ 222 h 300"/>
                <a:gd name="T58" fmla="*/ 227 w 395"/>
                <a:gd name="T59" fmla="*/ 184 h 300"/>
                <a:gd name="T60" fmla="*/ 123 w 395"/>
                <a:gd name="T61" fmla="*/ 250 h 300"/>
                <a:gd name="T62" fmla="*/ 123 w 395"/>
                <a:gd name="T63" fmla="*/ 250 h 300"/>
                <a:gd name="T64" fmla="*/ 55 w 395"/>
                <a:gd name="T65" fmla="*/ 99 h 300"/>
                <a:gd name="T66" fmla="*/ 55 w 395"/>
                <a:gd name="T67" fmla="*/ 111 h 300"/>
                <a:gd name="T68" fmla="*/ 55 w 395"/>
                <a:gd name="T69" fmla="*/ 111 h 300"/>
                <a:gd name="T70" fmla="*/ 0 w 395"/>
                <a:gd name="T71" fmla="*/ 189 h 300"/>
                <a:gd name="T72" fmla="*/ 47 w 395"/>
                <a:gd name="T73" fmla="*/ 205 h 300"/>
                <a:gd name="T74" fmla="*/ 80 w 395"/>
                <a:gd name="T75" fmla="*/ 212 h 300"/>
                <a:gd name="T76" fmla="*/ 85 w 395"/>
                <a:gd name="T77" fmla="*/ 229 h 300"/>
                <a:gd name="T78" fmla="*/ 47 w 395"/>
                <a:gd name="T79" fmla="*/ 246 h 300"/>
                <a:gd name="T80" fmla="*/ 26 w 395"/>
                <a:gd name="T81" fmla="*/ 229 h 300"/>
                <a:gd name="T82" fmla="*/ 0 w 395"/>
                <a:gd name="T83" fmla="*/ 18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5" h="300">
                  <a:moveTo>
                    <a:pt x="123" y="250"/>
                  </a:moveTo>
                  <a:lnTo>
                    <a:pt x="118" y="229"/>
                  </a:lnTo>
                  <a:lnTo>
                    <a:pt x="135" y="229"/>
                  </a:lnTo>
                  <a:lnTo>
                    <a:pt x="118" y="212"/>
                  </a:lnTo>
                  <a:lnTo>
                    <a:pt x="123" y="196"/>
                  </a:lnTo>
                  <a:lnTo>
                    <a:pt x="102" y="196"/>
                  </a:lnTo>
                  <a:lnTo>
                    <a:pt x="71" y="168"/>
                  </a:lnTo>
                  <a:lnTo>
                    <a:pt x="64" y="168"/>
                  </a:lnTo>
                  <a:lnTo>
                    <a:pt x="80" y="156"/>
                  </a:lnTo>
                  <a:lnTo>
                    <a:pt x="85" y="139"/>
                  </a:lnTo>
                  <a:lnTo>
                    <a:pt x="55" y="127"/>
                  </a:lnTo>
                  <a:lnTo>
                    <a:pt x="47" y="99"/>
                  </a:lnTo>
                  <a:lnTo>
                    <a:pt x="64" y="83"/>
                  </a:lnTo>
                  <a:lnTo>
                    <a:pt x="26" y="73"/>
                  </a:lnTo>
                  <a:lnTo>
                    <a:pt x="33" y="61"/>
                  </a:lnTo>
                  <a:lnTo>
                    <a:pt x="17" y="45"/>
                  </a:lnTo>
                  <a:lnTo>
                    <a:pt x="38" y="40"/>
                  </a:lnTo>
                  <a:lnTo>
                    <a:pt x="71" y="45"/>
                  </a:lnTo>
                  <a:lnTo>
                    <a:pt x="80" y="57"/>
                  </a:lnTo>
                  <a:lnTo>
                    <a:pt x="102" y="57"/>
                  </a:lnTo>
                  <a:lnTo>
                    <a:pt x="123" y="73"/>
                  </a:lnTo>
                  <a:lnTo>
                    <a:pt x="135" y="61"/>
                  </a:lnTo>
                  <a:lnTo>
                    <a:pt x="135" y="45"/>
                  </a:lnTo>
                  <a:lnTo>
                    <a:pt x="109" y="28"/>
                  </a:lnTo>
                  <a:lnTo>
                    <a:pt x="102" y="16"/>
                  </a:lnTo>
                  <a:lnTo>
                    <a:pt x="118" y="0"/>
                  </a:lnTo>
                  <a:lnTo>
                    <a:pt x="135" y="5"/>
                  </a:lnTo>
                  <a:lnTo>
                    <a:pt x="140" y="0"/>
                  </a:lnTo>
                  <a:lnTo>
                    <a:pt x="173" y="28"/>
                  </a:lnTo>
                  <a:lnTo>
                    <a:pt x="177" y="45"/>
                  </a:lnTo>
                  <a:lnTo>
                    <a:pt x="210" y="61"/>
                  </a:lnTo>
                  <a:lnTo>
                    <a:pt x="227" y="57"/>
                  </a:lnTo>
                  <a:lnTo>
                    <a:pt x="232" y="40"/>
                  </a:lnTo>
                  <a:lnTo>
                    <a:pt x="253" y="23"/>
                  </a:lnTo>
                  <a:lnTo>
                    <a:pt x="269" y="5"/>
                  </a:lnTo>
                  <a:lnTo>
                    <a:pt x="303" y="40"/>
                  </a:lnTo>
                  <a:lnTo>
                    <a:pt x="307" y="73"/>
                  </a:lnTo>
                  <a:lnTo>
                    <a:pt x="336" y="94"/>
                  </a:lnTo>
                  <a:lnTo>
                    <a:pt x="336" y="99"/>
                  </a:lnTo>
                  <a:lnTo>
                    <a:pt x="390" y="118"/>
                  </a:lnTo>
                  <a:lnTo>
                    <a:pt x="395" y="139"/>
                  </a:lnTo>
                  <a:lnTo>
                    <a:pt x="362" y="134"/>
                  </a:lnTo>
                  <a:lnTo>
                    <a:pt x="336" y="151"/>
                  </a:lnTo>
                  <a:lnTo>
                    <a:pt x="319" y="205"/>
                  </a:lnTo>
                  <a:lnTo>
                    <a:pt x="324" y="212"/>
                  </a:lnTo>
                  <a:lnTo>
                    <a:pt x="319" y="222"/>
                  </a:lnTo>
                  <a:lnTo>
                    <a:pt x="307" y="246"/>
                  </a:lnTo>
                  <a:lnTo>
                    <a:pt x="303" y="246"/>
                  </a:lnTo>
                  <a:lnTo>
                    <a:pt x="307" y="238"/>
                  </a:lnTo>
                  <a:lnTo>
                    <a:pt x="298" y="229"/>
                  </a:lnTo>
                  <a:lnTo>
                    <a:pt x="286" y="295"/>
                  </a:lnTo>
                  <a:lnTo>
                    <a:pt x="269" y="300"/>
                  </a:lnTo>
                  <a:lnTo>
                    <a:pt x="253" y="279"/>
                  </a:lnTo>
                  <a:lnTo>
                    <a:pt x="248" y="279"/>
                  </a:lnTo>
                  <a:lnTo>
                    <a:pt x="232" y="262"/>
                  </a:lnTo>
                  <a:lnTo>
                    <a:pt x="232" y="250"/>
                  </a:lnTo>
                  <a:lnTo>
                    <a:pt x="248" y="246"/>
                  </a:lnTo>
                  <a:lnTo>
                    <a:pt x="232" y="222"/>
                  </a:lnTo>
                  <a:lnTo>
                    <a:pt x="253" y="212"/>
                  </a:lnTo>
                  <a:lnTo>
                    <a:pt x="227" y="184"/>
                  </a:lnTo>
                  <a:lnTo>
                    <a:pt x="147" y="229"/>
                  </a:lnTo>
                  <a:lnTo>
                    <a:pt x="123" y="250"/>
                  </a:lnTo>
                  <a:lnTo>
                    <a:pt x="123" y="250"/>
                  </a:lnTo>
                  <a:lnTo>
                    <a:pt x="123" y="250"/>
                  </a:lnTo>
                  <a:close/>
                  <a:moveTo>
                    <a:pt x="55" y="111"/>
                  </a:moveTo>
                  <a:lnTo>
                    <a:pt x="55" y="99"/>
                  </a:lnTo>
                  <a:lnTo>
                    <a:pt x="55" y="99"/>
                  </a:lnTo>
                  <a:lnTo>
                    <a:pt x="55" y="111"/>
                  </a:lnTo>
                  <a:lnTo>
                    <a:pt x="55" y="111"/>
                  </a:lnTo>
                  <a:lnTo>
                    <a:pt x="55" y="111"/>
                  </a:lnTo>
                  <a:close/>
                  <a:moveTo>
                    <a:pt x="0" y="189"/>
                  </a:moveTo>
                  <a:lnTo>
                    <a:pt x="0" y="189"/>
                  </a:lnTo>
                  <a:lnTo>
                    <a:pt x="26" y="184"/>
                  </a:lnTo>
                  <a:lnTo>
                    <a:pt x="47" y="205"/>
                  </a:lnTo>
                  <a:lnTo>
                    <a:pt x="71" y="196"/>
                  </a:lnTo>
                  <a:lnTo>
                    <a:pt x="80" y="212"/>
                  </a:lnTo>
                  <a:lnTo>
                    <a:pt x="85" y="222"/>
                  </a:lnTo>
                  <a:lnTo>
                    <a:pt x="85" y="229"/>
                  </a:lnTo>
                  <a:lnTo>
                    <a:pt x="102" y="262"/>
                  </a:lnTo>
                  <a:lnTo>
                    <a:pt x="47" y="246"/>
                  </a:lnTo>
                  <a:lnTo>
                    <a:pt x="38" y="229"/>
                  </a:lnTo>
                  <a:lnTo>
                    <a:pt x="26" y="229"/>
                  </a:lnTo>
                  <a:lnTo>
                    <a:pt x="0" y="189"/>
                  </a:lnTo>
                  <a:lnTo>
                    <a:pt x="0" y="189"/>
                  </a:lnTo>
                  <a:lnTo>
                    <a:pt x="0" y="18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 name="Freeform 382">
              <a:extLst>
                <a:ext uri="{FF2B5EF4-FFF2-40B4-BE49-F238E27FC236}">
                  <a16:creationId xmlns:a16="http://schemas.microsoft.com/office/drawing/2014/main" id="{1B9B0C11-B933-462B-B415-23EAA695DCD8}"/>
                </a:ext>
              </a:extLst>
            </p:cNvPr>
            <p:cNvSpPr>
              <a:spLocks/>
            </p:cNvSpPr>
            <p:nvPr/>
          </p:nvSpPr>
          <p:spPr bwMode="gray">
            <a:xfrm>
              <a:off x="14186016" y="3042837"/>
              <a:ext cx="40912" cy="84443"/>
            </a:xfrm>
            <a:custGeom>
              <a:avLst/>
              <a:gdLst>
                <a:gd name="T0" fmla="*/ 7 w 125"/>
                <a:gd name="T1" fmla="*/ 66 h 258"/>
                <a:gd name="T2" fmla="*/ 7 w 125"/>
                <a:gd name="T3" fmla="*/ 50 h 258"/>
                <a:gd name="T4" fmla="*/ 0 w 125"/>
                <a:gd name="T5" fmla="*/ 40 h 258"/>
                <a:gd name="T6" fmla="*/ 33 w 125"/>
                <a:gd name="T7" fmla="*/ 0 h 258"/>
                <a:gd name="T8" fmla="*/ 37 w 125"/>
                <a:gd name="T9" fmla="*/ 0 h 258"/>
                <a:gd name="T10" fmla="*/ 37 w 125"/>
                <a:gd name="T11" fmla="*/ 17 h 258"/>
                <a:gd name="T12" fmla="*/ 54 w 125"/>
                <a:gd name="T13" fmla="*/ 12 h 258"/>
                <a:gd name="T14" fmla="*/ 71 w 125"/>
                <a:gd name="T15" fmla="*/ 22 h 258"/>
                <a:gd name="T16" fmla="*/ 92 w 125"/>
                <a:gd name="T17" fmla="*/ 33 h 258"/>
                <a:gd name="T18" fmla="*/ 92 w 125"/>
                <a:gd name="T19" fmla="*/ 66 h 258"/>
                <a:gd name="T20" fmla="*/ 87 w 125"/>
                <a:gd name="T21" fmla="*/ 95 h 258"/>
                <a:gd name="T22" fmla="*/ 92 w 125"/>
                <a:gd name="T23" fmla="*/ 107 h 258"/>
                <a:gd name="T24" fmla="*/ 87 w 125"/>
                <a:gd name="T25" fmla="*/ 111 h 258"/>
                <a:gd name="T26" fmla="*/ 96 w 125"/>
                <a:gd name="T27" fmla="*/ 152 h 258"/>
                <a:gd name="T28" fmla="*/ 108 w 125"/>
                <a:gd name="T29" fmla="*/ 152 h 258"/>
                <a:gd name="T30" fmla="*/ 125 w 125"/>
                <a:gd name="T31" fmla="*/ 152 h 258"/>
                <a:gd name="T32" fmla="*/ 125 w 125"/>
                <a:gd name="T33" fmla="*/ 180 h 258"/>
                <a:gd name="T34" fmla="*/ 108 w 125"/>
                <a:gd name="T35" fmla="*/ 196 h 258"/>
                <a:gd name="T36" fmla="*/ 96 w 125"/>
                <a:gd name="T37" fmla="*/ 218 h 258"/>
                <a:gd name="T38" fmla="*/ 75 w 125"/>
                <a:gd name="T39" fmla="*/ 237 h 258"/>
                <a:gd name="T40" fmla="*/ 87 w 125"/>
                <a:gd name="T41" fmla="*/ 241 h 258"/>
                <a:gd name="T42" fmla="*/ 71 w 125"/>
                <a:gd name="T43" fmla="*/ 253 h 258"/>
                <a:gd name="T44" fmla="*/ 75 w 125"/>
                <a:gd name="T45" fmla="*/ 253 h 258"/>
                <a:gd name="T46" fmla="*/ 71 w 125"/>
                <a:gd name="T47" fmla="*/ 258 h 258"/>
                <a:gd name="T48" fmla="*/ 54 w 125"/>
                <a:gd name="T49" fmla="*/ 258 h 258"/>
                <a:gd name="T50" fmla="*/ 45 w 125"/>
                <a:gd name="T51" fmla="*/ 225 h 258"/>
                <a:gd name="T52" fmla="*/ 16 w 125"/>
                <a:gd name="T53" fmla="*/ 208 h 258"/>
                <a:gd name="T54" fmla="*/ 0 w 125"/>
                <a:gd name="T55" fmla="*/ 196 h 258"/>
                <a:gd name="T56" fmla="*/ 16 w 125"/>
                <a:gd name="T57" fmla="*/ 201 h 258"/>
                <a:gd name="T58" fmla="*/ 16 w 125"/>
                <a:gd name="T59" fmla="*/ 180 h 258"/>
                <a:gd name="T60" fmla="*/ 7 w 125"/>
                <a:gd name="T61" fmla="*/ 180 h 258"/>
                <a:gd name="T62" fmla="*/ 7 w 125"/>
                <a:gd name="T63" fmla="*/ 152 h 258"/>
                <a:gd name="T64" fmla="*/ 16 w 125"/>
                <a:gd name="T65" fmla="*/ 152 h 258"/>
                <a:gd name="T66" fmla="*/ 16 w 125"/>
                <a:gd name="T67" fmla="*/ 140 h 258"/>
                <a:gd name="T68" fmla="*/ 16 w 125"/>
                <a:gd name="T69" fmla="*/ 123 h 258"/>
                <a:gd name="T70" fmla="*/ 16 w 125"/>
                <a:gd name="T71" fmla="*/ 107 h 258"/>
                <a:gd name="T72" fmla="*/ 21 w 125"/>
                <a:gd name="T73" fmla="*/ 90 h 258"/>
                <a:gd name="T74" fmla="*/ 21 w 125"/>
                <a:gd name="T75" fmla="*/ 74 h 258"/>
                <a:gd name="T76" fmla="*/ 7 w 125"/>
                <a:gd name="T77" fmla="*/ 66 h 258"/>
                <a:gd name="T78" fmla="*/ 7 w 125"/>
                <a:gd name="T79" fmla="*/ 66 h 258"/>
                <a:gd name="T80" fmla="*/ 7 w 125"/>
                <a:gd name="T81" fmla="*/ 6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5" h="258">
                  <a:moveTo>
                    <a:pt x="7" y="66"/>
                  </a:moveTo>
                  <a:lnTo>
                    <a:pt x="7" y="50"/>
                  </a:lnTo>
                  <a:lnTo>
                    <a:pt x="0" y="40"/>
                  </a:lnTo>
                  <a:lnTo>
                    <a:pt x="33" y="0"/>
                  </a:lnTo>
                  <a:lnTo>
                    <a:pt x="37" y="0"/>
                  </a:lnTo>
                  <a:lnTo>
                    <a:pt x="37" y="17"/>
                  </a:lnTo>
                  <a:lnTo>
                    <a:pt x="54" y="12"/>
                  </a:lnTo>
                  <a:lnTo>
                    <a:pt x="71" y="22"/>
                  </a:lnTo>
                  <a:lnTo>
                    <a:pt x="92" y="33"/>
                  </a:lnTo>
                  <a:lnTo>
                    <a:pt x="92" y="66"/>
                  </a:lnTo>
                  <a:lnTo>
                    <a:pt x="87" y="95"/>
                  </a:lnTo>
                  <a:lnTo>
                    <a:pt x="92" y="107"/>
                  </a:lnTo>
                  <a:lnTo>
                    <a:pt x="87" y="111"/>
                  </a:lnTo>
                  <a:lnTo>
                    <a:pt x="96" y="152"/>
                  </a:lnTo>
                  <a:lnTo>
                    <a:pt x="108" y="152"/>
                  </a:lnTo>
                  <a:lnTo>
                    <a:pt x="125" y="152"/>
                  </a:lnTo>
                  <a:lnTo>
                    <a:pt x="125" y="180"/>
                  </a:lnTo>
                  <a:lnTo>
                    <a:pt x="108" y="196"/>
                  </a:lnTo>
                  <a:lnTo>
                    <a:pt x="96" y="218"/>
                  </a:lnTo>
                  <a:lnTo>
                    <a:pt x="75" y="237"/>
                  </a:lnTo>
                  <a:lnTo>
                    <a:pt x="87" y="241"/>
                  </a:lnTo>
                  <a:lnTo>
                    <a:pt x="71" y="253"/>
                  </a:lnTo>
                  <a:lnTo>
                    <a:pt x="75" y="253"/>
                  </a:lnTo>
                  <a:lnTo>
                    <a:pt x="71" y="258"/>
                  </a:lnTo>
                  <a:lnTo>
                    <a:pt x="54" y="258"/>
                  </a:lnTo>
                  <a:lnTo>
                    <a:pt x="45" y="225"/>
                  </a:lnTo>
                  <a:lnTo>
                    <a:pt x="16" y="208"/>
                  </a:lnTo>
                  <a:lnTo>
                    <a:pt x="0" y="196"/>
                  </a:lnTo>
                  <a:lnTo>
                    <a:pt x="16" y="201"/>
                  </a:lnTo>
                  <a:lnTo>
                    <a:pt x="16" y="180"/>
                  </a:lnTo>
                  <a:lnTo>
                    <a:pt x="7" y="180"/>
                  </a:lnTo>
                  <a:lnTo>
                    <a:pt x="7" y="152"/>
                  </a:lnTo>
                  <a:lnTo>
                    <a:pt x="16" y="152"/>
                  </a:lnTo>
                  <a:lnTo>
                    <a:pt x="16" y="140"/>
                  </a:lnTo>
                  <a:lnTo>
                    <a:pt x="16" y="123"/>
                  </a:lnTo>
                  <a:lnTo>
                    <a:pt x="16" y="107"/>
                  </a:lnTo>
                  <a:lnTo>
                    <a:pt x="21" y="90"/>
                  </a:lnTo>
                  <a:lnTo>
                    <a:pt x="21" y="74"/>
                  </a:lnTo>
                  <a:lnTo>
                    <a:pt x="7" y="66"/>
                  </a:lnTo>
                  <a:lnTo>
                    <a:pt x="7" y="66"/>
                  </a:lnTo>
                  <a:lnTo>
                    <a:pt x="7" y="66"/>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 name="Freeform 383">
              <a:extLst>
                <a:ext uri="{FF2B5EF4-FFF2-40B4-BE49-F238E27FC236}">
                  <a16:creationId xmlns:a16="http://schemas.microsoft.com/office/drawing/2014/main" id="{35DADD49-53FF-4EDE-82D0-60E03544E387}"/>
                </a:ext>
              </a:extLst>
            </p:cNvPr>
            <p:cNvSpPr>
              <a:spLocks noEditPoints="1"/>
            </p:cNvSpPr>
            <p:nvPr/>
          </p:nvSpPr>
          <p:spPr bwMode="gray">
            <a:xfrm>
              <a:off x="14741111" y="3079167"/>
              <a:ext cx="73969" cy="72005"/>
            </a:xfrm>
            <a:custGeom>
              <a:avLst/>
              <a:gdLst>
                <a:gd name="T0" fmla="*/ 217 w 226"/>
                <a:gd name="T1" fmla="*/ 208 h 220"/>
                <a:gd name="T2" fmla="*/ 193 w 226"/>
                <a:gd name="T3" fmla="*/ 220 h 220"/>
                <a:gd name="T4" fmla="*/ 177 w 226"/>
                <a:gd name="T5" fmla="*/ 187 h 220"/>
                <a:gd name="T6" fmla="*/ 177 w 226"/>
                <a:gd name="T7" fmla="*/ 180 h 220"/>
                <a:gd name="T8" fmla="*/ 172 w 226"/>
                <a:gd name="T9" fmla="*/ 170 h 220"/>
                <a:gd name="T10" fmla="*/ 163 w 226"/>
                <a:gd name="T11" fmla="*/ 152 h 220"/>
                <a:gd name="T12" fmla="*/ 139 w 226"/>
                <a:gd name="T13" fmla="*/ 163 h 220"/>
                <a:gd name="T14" fmla="*/ 118 w 226"/>
                <a:gd name="T15" fmla="*/ 142 h 220"/>
                <a:gd name="T16" fmla="*/ 92 w 226"/>
                <a:gd name="T17" fmla="*/ 147 h 220"/>
                <a:gd name="T18" fmla="*/ 63 w 226"/>
                <a:gd name="T19" fmla="*/ 114 h 220"/>
                <a:gd name="T20" fmla="*/ 33 w 226"/>
                <a:gd name="T21" fmla="*/ 114 h 220"/>
                <a:gd name="T22" fmla="*/ 16 w 226"/>
                <a:gd name="T23" fmla="*/ 107 h 220"/>
                <a:gd name="T24" fmla="*/ 16 w 226"/>
                <a:gd name="T25" fmla="*/ 107 h 220"/>
                <a:gd name="T26" fmla="*/ 9 w 226"/>
                <a:gd name="T27" fmla="*/ 85 h 220"/>
                <a:gd name="T28" fmla="*/ 21 w 226"/>
                <a:gd name="T29" fmla="*/ 52 h 220"/>
                <a:gd name="T30" fmla="*/ 0 w 226"/>
                <a:gd name="T31" fmla="*/ 17 h 220"/>
                <a:gd name="T32" fmla="*/ 101 w 226"/>
                <a:gd name="T33" fmla="*/ 12 h 220"/>
                <a:gd name="T34" fmla="*/ 108 w 226"/>
                <a:gd name="T35" fmla="*/ 0 h 220"/>
                <a:gd name="T36" fmla="*/ 125 w 226"/>
                <a:gd name="T37" fmla="*/ 17 h 220"/>
                <a:gd name="T38" fmla="*/ 118 w 226"/>
                <a:gd name="T39" fmla="*/ 29 h 220"/>
                <a:gd name="T40" fmla="*/ 156 w 226"/>
                <a:gd name="T41" fmla="*/ 41 h 220"/>
                <a:gd name="T42" fmla="*/ 139 w 226"/>
                <a:gd name="T43" fmla="*/ 57 h 220"/>
                <a:gd name="T44" fmla="*/ 146 w 226"/>
                <a:gd name="T45" fmla="*/ 85 h 220"/>
                <a:gd name="T46" fmla="*/ 177 w 226"/>
                <a:gd name="T47" fmla="*/ 97 h 220"/>
                <a:gd name="T48" fmla="*/ 172 w 226"/>
                <a:gd name="T49" fmla="*/ 114 h 220"/>
                <a:gd name="T50" fmla="*/ 156 w 226"/>
                <a:gd name="T51" fmla="*/ 126 h 220"/>
                <a:gd name="T52" fmla="*/ 163 w 226"/>
                <a:gd name="T53" fmla="*/ 126 h 220"/>
                <a:gd name="T54" fmla="*/ 193 w 226"/>
                <a:gd name="T55" fmla="*/ 152 h 220"/>
                <a:gd name="T56" fmla="*/ 217 w 226"/>
                <a:gd name="T57" fmla="*/ 152 h 220"/>
                <a:gd name="T58" fmla="*/ 210 w 226"/>
                <a:gd name="T59" fmla="*/ 170 h 220"/>
                <a:gd name="T60" fmla="*/ 226 w 226"/>
                <a:gd name="T61" fmla="*/ 187 h 220"/>
                <a:gd name="T62" fmla="*/ 210 w 226"/>
                <a:gd name="T63" fmla="*/ 187 h 220"/>
                <a:gd name="T64" fmla="*/ 217 w 226"/>
                <a:gd name="T65" fmla="*/ 208 h 220"/>
                <a:gd name="T66" fmla="*/ 217 w 226"/>
                <a:gd name="T67" fmla="*/ 208 h 220"/>
                <a:gd name="T68" fmla="*/ 217 w 226"/>
                <a:gd name="T69" fmla="*/ 208 h 220"/>
                <a:gd name="T70" fmla="*/ 146 w 226"/>
                <a:gd name="T71" fmla="*/ 69 h 220"/>
                <a:gd name="T72" fmla="*/ 146 w 226"/>
                <a:gd name="T73" fmla="*/ 57 h 220"/>
                <a:gd name="T74" fmla="*/ 146 w 226"/>
                <a:gd name="T75" fmla="*/ 57 h 220"/>
                <a:gd name="T76" fmla="*/ 146 w 226"/>
                <a:gd name="T77" fmla="*/ 69 h 220"/>
                <a:gd name="T78" fmla="*/ 146 w 226"/>
                <a:gd name="T79" fmla="*/ 69 h 220"/>
                <a:gd name="T80" fmla="*/ 146 w 226"/>
                <a:gd name="T81" fmla="*/ 6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6" h="220">
                  <a:moveTo>
                    <a:pt x="217" y="208"/>
                  </a:moveTo>
                  <a:lnTo>
                    <a:pt x="193" y="220"/>
                  </a:lnTo>
                  <a:lnTo>
                    <a:pt x="177" y="187"/>
                  </a:lnTo>
                  <a:lnTo>
                    <a:pt x="177" y="180"/>
                  </a:lnTo>
                  <a:lnTo>
                    <a:pt x="172" y="170"/>
                  </a:lnTo>
                  <a:lnTo>
                    <a:pt x="163" y="152"/>
                  </a:lnTo>
                  <a:lnTo>
                    <a:pt x="139" y="163"/>
                  </a:lnTo>
                  <a:lnTo>
                    <a:pt x="118" y="142"/>
                  </a:lnTo>
                  <a:lnTo>
                    <a:pt x="92" y="147"/>
                  </a:lnTo>
                  <a:lnTo>
                    <a:pt x="63" y="114"/>
                  </a:lnTo>
                  <a:lnTo>
                    <a:pt x="33" y="114"/>
                  </a:lnTo>
                  <a:lnTo>
                    <a:pt x="16" y="107"/>
                  </a:lnTo>
                  <a:lnTo>
                    <a:pt x="16" y="107"/>
                  </a:lnTo>
                  <a:lnTo>
                    <a:pt x="9" y="85"/>
                  </a:lnTo>
                  <a:lnTo>
                    <a:pt x="21" y="52"/>
                  </a:lnTo>
                  <a:lnTo>
                    <a:pt x="0" y="17"/>
                  </a:lnTo>
                  <a:lnTo>
                    <a:pt x="101" y="12"/>
                  </a:lnTo>
                  <a:lnTo>
                    <a:pt x="108" y="0"/>
                  </a:lnTo>
                  <a:lnTo>
                    <a:pt x="125" y="17"/>
                  </a:lnTo>
                  <a:lnTo>
                    <a:pt x="118" y="29"/>
                  </a:lnTo>
                  <a:lnTo>
                    <a:pt x="156" y="41"/>
                  </a:lnTo>
                  <a:lnTo>
                    <a:pt x="139" y="57"/>
                  </a:lnTo>
                  <a:lnTo>
                    <a:pt x="146" y="85"/>
                  </a:lnTo>
                  <a:lnTo>
                    <a:pt x="177" y="97"/>
                  </a:lnTo>
                  <a:lnTo>
                    <a:pt x="172" y="114"/>
                  </a:lnTo>
                  <a:lnTo>
                    <a:pt x="156" y="126"/>
                  </a:lnTo>
                  <a:lnTo>
                    <a:pt x="163" y="126"/>
                  </a:lnTo>
                  <a:lnTo>
                    <a:pt x="193" y="152"/>
                  </a:lnTo>
                  <a:lnTo>
                    <a:pt x="217" y="152"/>
                  </a:lnTo>
                  <a:lnTo>
                    <a:pt x="210" y="170"/>
                  </a:lnTo>
                  <a:lnTo>
                    <a:pt x="226" y="187"/>
                  </a:lnTo>
                  <a:lnTo>
                    <a:pt x="210" y="187"/>
                  </a:lnTo>
                  <a:lnTo>
                    <a:pt x="217" y="208"/>
                  </a:lnTo>
                  <a:lnTo>
                    <a:pt x="217" y="208"/>
                  </a:lnTo>
                  <a:lnTo>
                    <a:pt x="217" y="208"/>
                  </a:lnTo>
                  <a:close/>
                  <a:moveTo>
                    <a:pt x="146" y="69"/>
                  </a:moveTo>
                  <a:lnTo>
                    <a:pt x="146" y="57"/>
                  </a:lnTo>
                  <a:lnTo>
                    <a:pt x="146" y="57"/>
                  </a:lnTo>
                  <a:lnTo>
                    <a:pt x="146" y="69"/>
                  </a:lnTo>
                  <a:lnTo>
                    <a:pt x="146" y="69"/>
                  </a:lnTo>
                  <a:lnTo>
                    <a:pt x="146" y="6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 name="Freeform 384">
              <a:extLst>
                <a:ext uri="{FF2B5EF4-FFF2-40B4-BE49-F238E27FC236}">
                  <a16:creationId xmlns:a16="http://schemas.microsoft.com/office/drawing/2014/main" id="{FB23D426-827C-4D59-9A6C-1B3343386922}"/>
                </a:ext>
              </a:extLst>
            </p:cNvPr>
            <p:cNvSpPr>
              <a:spLocks/>
            </p:cNvSpPr>
            <p:nvPr/>
          </p:nvSpPr>
          <p:spPr bwMode="gray">
            <a:xfrm>
              <a:off x="13776240" y="3042837"/>
              <a:ext cx="9819" cy="5564"/>
            </a:xfrm>
            <a:custGeom>
              <a:avLst/>
              <a:gdLst>
                <a:gd name="T0" fmla="*/ 0 w 30"/>
                <a:gd name="T1" fmla="*/ 0 h 17"/>
                <a:gd name="T2" fmla="*/ 30 w 30"/>
                <a:gd name="T3" fmla="*/ 0 h 17"/>
                <a:gd name="T4" fmla="*/ 30 w 30"/>
                <a:gd name="T5" fmla="*/ 12 h 17"/>
                <a:gd name="T6" fmla="*/ 0 w 30"/>
                <a:gd name="T7" fmla="*/ 17 h 17"/>
                <a:gd name="T8" fmla="*/ 0 w 30"/>
                <a:gd name="T9" fmla="*/ 0 h 17"/>
                <a:gd name="T10" fmla="*/ 0 w 30"/>
                <a:gd name="T11" fmla="*/ 0 h 17"/>
                <a:gd name="T12" fmla="*/ 0 w 3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30" h="17">
                  <a:moveTo>
                    <a:pt x="0" y="0"/>
                  </a:moveTo>
                  <a:lnTo>
                    <a:pt x="30" y="0"/>
                  </a:lnTo>
                  <a:lnTo>
                    <a:pt x="30" y="12"/>
                  </a:lnTo>
                  <a:lnTo>
                    <a:pt x="0" y="17"/>
                  </a:lnTo>
                  <a:lnTo>
                    <a:pt x="0" y="0"/>
                  </a:lnTo>
                  <a:lnTo>
                    <a:pt x="0" y="0"/>
                  </a:lnTo>
                  <a:lnTo>
                    <a:pt x="0" y="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 name="Freeform 385">
              <a:extLst>
                <a:ext uri="{FF2B5EF4-FFF2-40B4-BE49-F238E27FC236}">
                  <a16:creationId xmlns:a16="http://schemas.microsoft.com/office/drawing/2014/main" id="{A664BA42-5367-4639-86C9-10A391B5D44E}"/>
                </a:ext>
              </a:extLst>
            </p:cNvPr>
            <p:cNvSpPr>
              <a:spLocks noEditPoints="1"/>
            </p:cNvSpPr>
            <p:nvPr/>
          </p:nvSpPr>
          <p:spPr bwMode="gray">
            <a:xfrm>
              <a:off x="14015167" y="4219795"/>
              <a:ext cx="283766" cy="323042"/>
            </a:xfrm>
            <a:custGeom>
              <a:avLst/>
              <a:gdLst>
                <a:gd name="T0" fmla="*/ 75 w 867"/>
                <a:gd name="T1" fmla="*/ 23 h 987"/>
                <a:gd name="T2" fmla="*/ 54 w 867"/>
                <a:gd name="T3" fmla="*/ 94 h 987"/>
                <a:gd name="T4" fmla="*/ 21 w 867"/>
                <a:gd name="T5" fmla="*/ 85 h 987"/>
                <a:gd name="T6" fmla="*/ 9 w 867"/>
                <a:gd name="T7" fmla="*/ 40 h 987"/>
                <a:gd name="T8" fmla="*/ 37 w 867"/>
                <a:gd name="T9" fmla="*/ 23 h 987"/>
                <a:gd name="T10" fmla="*/ 59 w 867"/>
                <a:gd name="T11" fmla="*/ 7 h 987"/>
                <a:gd name="T12" fmla="*/ 75 w 867"/>
                <a:gd name="T13" fmla="*/ 0 h 987"/>
                <a:gd name="T14" fmla="*/ 92 w 867"/>
                <a:gd name="T15" fmla="*/ 16 h 987"/>
                <a:gd name="T16" fmla="*/ 817 w 867"/>
                <a:gd name="T17" fmla="*/ 966 h 987"/>
                <a:gd name="T18" fmla="*/ 654 w 867"/>
                <a:gd name="T19" fmla="*/ 982 h 987"/>
                <a:gd name="T20" fmla="*/ 616 w 867"/>
                <a:gd name="T21" fmla="*/ 987 h 987"/>
                <a:gd name="T22" fmla="*/ 498 w 867"/>
                <a:gd name="T23" fmla="*/ 970 h 987"/>
                <a:gd name="T24" fmla="*/ 470 w 867"/>
                <a:gd name="T25" fmla="*/ 942 h 987"/>
                <a:gd name="T26" fmla="*/ 118 w 867"/>
                <a:gd name="T27" fmla="*/ 916 h 987"/>
                <a:gd name="T28" fmla="*/ 54 w 867"/>
                <a:gd name="T29" fmla="*/ 933 h 987"/>
                <a:gd name="T30" fmla="*/ 0 w 867"/>
                <a:gd name="T31" fmla="*/ 933 h 987"/>
                <a:gd name="T32" fmla="*/ 0 w 867"/>
                <a:gd name="T33" fmla="*/ 838 h 987"/>
                <a:gd name="T34" fmla="*/ 9 w 867"/>
                <a:gd name="T35" fmla="*/ 814 h 987"/>
                <a:gd name="T36" fmla="*/ 37 w 867"/>
                <a:gd name="T37" fmla="*/ 748 h 987"/>
                <a:gd name="T38" fmla="*/ 54 w 867"/>
                <a:gd name="T39" fmla="*/ 682 h 987"/>
                <a:gd name="T40" fmla="*/ 80 w 867"/>
                <a:gd name="T41" fmla="*/ 616 h 987"/>
                <a:gd name="T42" fmla="*/ 113 w 867"/>
                <a:gd name="T43" fmla="*/ 583 h 987"/>
                <a:gd name="T44" fmla="*/ 146 w 867"/>
                <a:gd name="T45" fmla="*/ 472 h 987"/>
                <a:gd name="T46" fmla="*/ 134 w 867"/>
                <a:gd name="T47" fmla="*/ 451 h 987"/>
                <a:gd name="T48" fmla="*/ 80 w 867"/>
                <a:gd name="T49" fmla="*/ 333 h 987"/>
                <a:gd name="T50" fmla="*/ 80 w 867"/>
                <a:gd name="T51" fmla="*/ 333 h 987"/>
                <a:gd name="T52" fmla="*/ 113 w 867"/>
                <a:gd name="T53" fmla="*/ 283 h 987"/>
                <a:gd name="T54" fmla="*/ 75 w 867"/>
                <a:gd name="T55" fmla="*/ 184 h 987"/>
                <a:gd name="T56" fmla="*/ 26 w 867"/>
                <a:gd name="T57" fmla="*/ 118 h 987"/>
                <a:gd name="T58" fmla="*/ 96 w 867"/>
                <a:gd name="T59" fmla="*/ 101 h 987"/>
                <a:gd name="T60" fmla="*/ 335 w 867"/>
                <a:gd name="T61" fmla="*/ 111 h 987"/>
                <a:gd name="T62" fmla="*/ 344 w 867"/>
                <a:gd name="T63" fmla="*/ 139 h 987"/>
                <a:gd name="T64" fmla="*/ 361 w 867"/>
                <a:gd name="T65" fmla="*/ 196 h 987"/>
                <a:gd name="T66" fmla="*/ 432 w 867"/>
                <a:gd name="T67" fmla="*/ 262 h 987"/>
                <a:gd name="T68" fmla="*/ 444 w 867"/>
                <a:gd name="T69" fmla="*/ 262 h 987"/>
                <a:gd name="T70" fmla="*/ 470 w 867"/>
                <a:gd name="T71" fmla="*/ 250 h 987"/>
                <a:gd name="T72" fmla="*/ 529 w 867"/>
                <a:gd name="T73" fmla="*/ 229 h 987"/>
                <a:gd name="T74" fmla="*/ 545 w 867"/>
                <a:gd name="T75" fmla="*/ 184 h 987"/>
                <a:gd name="T76" fmla="*/ 600 w 867"/>
                <a:gd name="T77" fmla="*/ 184 h 987"/>
                <a:gd name="T78" fmla="*/ 616 w 867"/>
                <a:gd name="T79" fmla="*/ 205 h 987"/>
                <a:gd name="T80" fmla="*/ 708 w 867"/>
                <a:gd name="T81" fmla="*/ 222 h 987"/>
                <a:gd name="T82" fmla="*/ 708 w 867"/>
                <a:gd name="T83" fmla="*/ 295 h 987"/>
                <a:gd name="T84" fmla="*/ 708 w 867"/>
                <a:gd name="T85" fmla="*/ 377 h 987"/>
                <a:gd name="T86" fmla="*/ 741 w 867"/>
                <a:gd name="T87" fmla="*/ 427 h 987"/>
                <a:gd name="T88" fmla="*/ 730 w 867"/>
                <a:gd name="T89" fmla="*/ 467 h 987"/>
                <a:gd name="T90" fmla="*/ 758 w 867"/>
                <a:gd name="T91" fmla="*/ 472 h 987"/>
                <a:gd name="T92" fmla="*/ 817 w 867"/>
                <a:gd name="T93" fmla="*/ 472 h 987"/>
                <a:gd name="T94" fmla="*/ 855 w 867"/>
                <a:gd name="T95" fmla="*/ 467 h 987"/>
                <a:gd name="T96" fmla="*/ 855 w 867"/>
                <a:gd name="T97" fmla="*/ 522 h 987"/>
                <a:gd name="T98" fmla="*/ 867 w 867"/>
                <a:gd name="T99" fmla="*/ 578 h 987"/>
                <a:gd name="T100" fmla="*/ 855 w 867"/>
                <a:gd name="T101" fmla="*/ 628 h 987"/>
                <a:gd name="T102" fmla="*/ 720 w 867"/>
                <a:gd name="T103" fmla="*/ 855 h 987"/>
                <a:gd name="T104" fmla="*/ 800 w 867"/>
                <a:gd name="T105" fmla="*/ 949 h 987"/>
                <a:gd name="T106" fmla="*/ 817 w 867"/>
                <a:gd name="T107" fmla="*/ 966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7" h="987">
                  <a:moveTo>
                    <a:pt x="92" y="16"/>
                  </a:moveTo>
                  <a:lnTo>
                    <a:pt x="75" y="23"/>
                  </a:lnTo>
                  <a:lnTo>
                    <a:pt x="54" y="40"/>
                  </a:lnTo>
                  <a:lnTo>
                    <a:pt x="54" y="94"/>
                  </a:lnTo>
                  <a:lnTo>
                    <a:pt x="26" y="94"/>
                  </a:lnTo>
                  <a:lnTo>
                    <a:pt x="21" y="85"/>
                  </a:lnTo>
                  <a:lnTo>
                    <a:pt x="26" y="73"/>
                  </a:lnTo>
                  <a:lnTo>
                    <a:pt x="9" y="40"/>
                  </a:lnTo>
                  <a:lnTo>
                    <a:pt x="26" y="23"/>
                  </a:lnTo>
                  <a:lnTo>
                    <a:pt x="37" y="23"/>
                  </a:lnTo>
                  <a:lnTo>
                    <a:pt x="42" y="16"/>
                  </a:lnTo>
                  <a:lnTo>
                    <a:pt x="59" y="7"/>
                  </a:lnTo>
                  <a:lnTo>
                    <a:pt x="63" y="0"/>
                  </a:lnTo>
                  <a:lnTo>
                    <a:pt x="75" y="0"/>
                  </a:lnTo>
                  <a:lnTo>
                    <a:pt x="92" y="16"/>
                  </a:lnTo>
                  <a:lnTo>
                    <a:pt x="92" y="16"/>
                  </a:lnTo>
                  <a:lnTo>
                    <a:pt x="92" y="16"/>
                  </a:lnTo>
                  <a:close/>
                  <a:moveTo>
                    <a:pt x="817" y="966"/>
                  </a:moveTo>
                  <a:lnTo>
                    <a:pt x="670" y="987"/>
                  </a:lnTo>
                  <a:lnTo>
                    <a:pt x="654" y="982"/>
                  </a:lnTo>
                  <a:lnTo>
                    <a:pt x="637" y="987"/>
                  </a:lnTo>
                  <a:lnTo>
                    <a:pt x="616" y="987"/>
                  </a:lnTo>
                  <a:lnTo>
                    <a:pt x="600" y="982"/>
                  </a:lnTo>
                  <a:lnTo>
                    <a:pt x="498" y="970"/>
                  </a:lnTo>
                  <a:lnTo>
                    <a:pt x="474" y="966"/>
                  </a:lnTo>
                  <a:lnTo>
                    <a:pt x="470" y="942"/>
                  </a:lnTo>
                  <a:lnTo>
                    <a:pt x="151" y="949"/>
                  </a:lnTo>
                  <a:lnTo>
                    <a:pt x="118" y="916"/>
                  </a:lnTo>
                  <a:lnTo>
                    <a:pt x="96" y="909"/>
                  </a:lnTo>
                  <a:lnTo>
                    <a:pt x="54" y="933"/>
                  </a:lnTo>
                  <a:lnTo>
                    <a:pt x="21" y="925"/>
                  </a:lnTo>
                  <a:lnTo>
                    <a:pt x="0" y="933"/>
                  </a:lnTo>
                  <a:lnTo>
                    <a:pt x="0" y="876"/>
                  </a:lnTo>
                  <a:lnTo>
                    <a:pt x="0" y="838"/>
                  </a:lnTo>
                  <a:lnTo>
                    <a:pt x="0" y="831"/>
                  </a:lnTo>
                  <a:lnTo>
                    <a:pt x="9" y="814"/>
                  </a:lnTo>
                  <a:lnTo>
                    <a:pt x="21" y="781"/>
                  </a:lnTo>
                  <a:lnTo>
                    <a:pt x="37" y="748"/>
                  </a:lnTo>
                  <a:lnTo>
                    <a:pt x="37" y="703"/>
                  </a:lnTo>
                  <a:lnTo>
                    <a:pt x="54" y="682"/>
                  </a:lnTo>
                  <a:lnTo>
                    <a:pt x="54" y="649"/>
                  </a:lnTo>
                  <a:lnTo>
                    <a:pt x="80" y="616"/>
                  </a:lnTo>
                  <a:lnTo>
                    <a:pt x="80" y="600"/>
                  </a:lnTo>
                  <a:lnTo>
                    <a:pt x="113" y="583"/>
                  </a:lnTo>
                  <a:lnTo>
                    <a:pt x="134" y="526"/>
                  </a:lnTo>
                  <a:lnTo>
                    <a:pt x="146" y="472"/>
                  </a:lnTo>
                  <a:lnTo>
                    <a:pt x="134" y="460"/>
                  </a:lnTo>
                  <a:lnTo>
                    <a:pt x="134" y="451"/>
                  </a:lnTo>
                  <a:lnTo>
                    <a:pt x="118" y="432"/>
                  </a:lnTo>
                  <a:lnTo>
                    <a:pt x="80" y="333"/>
                  </a:lnTo>
                  <a:lnTo>
                    <a:pt x="92" y="316"/>
                  </a:lnTo>
                  <a:lnTo>
                    <a:pt x="80" y="333"/>
                  </a:lnTo>
                  <a:lnTo>
                    <a:pt x="113" y="304"/>
                  </a:lnTo>
                  <a:lnTo>
                    <a:pt x="113" y="283"/>
                  </a:lnTo>
                  <a:lnTo>
                    <a:pt x="75" y="205"/>
                  </a:lnTo>
                  <a:lnTo>
                    <a:pt x="75" y="184"/>
                  </a:lnTo>
                  <a:lnTo>
                    <a:pt x="54" y="155"/>
                  </a:lnTo>
                  <a:lnTo>
                    <a:pt x="26" y="118"/>
                  </a:lnTo>
                  <a:lnTo>
                    <a:pt x="63" y="111"/>
                  </a:lnTo>
                  <a:lnTo>
                    <a:pt x="96" y="101"/>
                  </a:lnTo>
                  <a:lnTo>
                    <a:pt x="297" y="101"/>
                  </a:lnTo>
                  <a:lnTo>
                    <a:pt x="335" y="111"/>
                  </a:lnTo>
                  <a:lnTo>
                    <a:pt x="344" y="127"/>
                  </a:lnTo>
                  <a:lnTo>
                    <a:pt x="344" y="139"/>
                  </a:lnTo>
                  <a:lnTo>
                    <a:pt x="361" y="184"/>
                  </a:lnTo>
                  <a:lnTo>
                    <a:pt x="361" y="196"/>
                  </a:lnTo>
                  <a:lnTo>
                    <a:pt x="406" y="262"/>
                  </a:lnTo>
                  <a:lnTo>
                    <a:pt x="432" y="262"/>
                  </a:lnTo>
                  <a:lnTo>
                    <a:pt x="444" y="262"/>
                  </a:lnTo>
                  <a:lnTo>
                    <a:pt x="444" y="262"/>
                  </a:lnTo>
                  <a:lnTo>
                    <a:pt x="470" y="250"/>
                  </a:lnTo>
                  <a:lnTo>
                    <a:pt x="470" y="250"/>
                  </a:lnTo>
                  <a:lnTo>
                    <a:pt x="529" y="250"/>
                  </a:lnTo>
                  <a:lnTo>
                    <a:pt x="529" y="229"/>
                  </a:lnTo>
                  <a:lnTo>
                    <a:pt x="545" y="222"/>
                  </a:lnTo>
                  <a:lnTo>
                    <a:pt x="545" y="184"/>
                  </a:lnTo>
                  <a:lnTo>
                    <a:pt x="600" y="184"/>
                  </a:lnTo>
                  <a:lnTo>
                    <a:pt x="600" y="184"/>
                  </a:lnTo>
                  <a:lnTo>
                    <a:pt x="621" y="184"/>
                  </a:lnTo>
                  <a:lnTo>
                    <a:pt x="616" y="205"/>
                  </a:lnTo>
                  <a:lnTo>
                    <a:pt x="704" y="205"/>
                  </a:lnTo>
                  <a:lnTo>
                    <a:pt x="708" y="222"/>
                  </a:lnTo>
                  <a:lnTo>
                    <a:pt x="704" y="250"/>
                  </a:lnTo>
                  <a:lnTo>
                    <a:pt x="708" y="295"/>
                  </a:lnTo>
                  <a:lnTo>
                    <a:pt x="704" y="356"/>
                  </a:lnTo>
                  <a:lnTo>
                    <a:pt x="708" y="377"/>
                  </a:lnTo>
                  <a:lnTo>
                    <a:pt x="725" y="394"/>
                  </a:lnTo>
                  <a:lnTo>
                    <a:pt x="741" y="427"/>
                  </a:lnTo>
                  <a:lnTo>
                    <a:pt x="741" y="460"/>
                  </a:lnTo>
                  <a:lnTo>
                    <a:pt x="730" y="467"/>
                  </a:lnTo>
                  <a:lnTo>
                    <a:pt x="730" y="488"/>
                  </a:lnTo>
                  <a:lnTo>
                    <a:pt x="758" y="472"/>
                  </a:lnTo>
                  <a:lnTo>
                    <a:pt x="796" y="484"/>
                  </a:lnTo>
                  <a:lnTo>
                    <a:pt x="817" y="472"/>
                  </a:lnTo>
                  <a:lnTo>
                    <a:pt x="850" y="472"/>
                  </a:lnTo>
                  <a:lnTo>
                    <a:pt x="855" y="467"/>
                  </a:lnTo>
                  <a:lnTo>
                    <a:pt x="867" y="505"/>
                  </a:lnTo>
                  <a:lnTo>
                    <a:pt x="855" y="522"/>
                  </a:lnTo>
                  <a:lnTo>
                    <a:pt x="855" y="559"/>
                  </a:lnTo>
                  <a:lnTo>
                    <a:pt x="867" y="578"/>
                  </a:lnTo>
                  <a:lnTo>
                    <a:pt x="850" y="600"/>
                  </a:lnTo>
                  <a:lnTo>
                    <a:pt x="855" y="628"/>
                  </a:lnTo>
                  <a:lnTo>
                    <a:pt x="720" y="616"/>
                  </a:lnTo>
                  <a:lnTo>
                    <a:pt x="720" y="855"/>
                  </a:lnTo>
                  <a:lnTo>
                    <a:pt x="725" y="876"/>
                  </a:lnTo>
                  <a:lnTo>
                    <a:pt x="800" y="949"/>
                  </a:lnTo>
                  <a:lnTo>
                    <a:pt x="817" y="966"/>
                  </a:lnTo>
                  <a:lnTo>
                    <a:pt x="817" y="966"/>
                  </a:lnTo>
                  <a:lnTo>
                    <a:pt x="817" y="966"/>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 name="Freeform 386">
              <a:extLst>
                <a:ext uri="{FF2B5EF4-FFF2-40B4-BE49-F238E27FC236}">
                  <a16:creationId xmlns:a16="http://schemas.microsoft.com/office/drawing/2014/main" id="{348AB842-4A14-41D6-A18C-D02C55011130}"/>
                </a:ext>
              </a:extLst>
            </p:cNvPr>
            <p:cNvSpPr>
              <a:spLocks/>
            </p:cNvSpPr>
            <p:nvPr/>
          </p:nvSpPr>
          <p:spPr bwMode="gray">
            <a:xfrm>
              <a:off x="9823806" y="4451521"/>
              <a:ext cx="2291" cy="4582"/>
            </a:xfrm>
            <a:custGeom>
              <a:avLst/>
              <a:gdLst>
                <a:gd name="T0" fmla="*/ 5 w 7"/>
                <a:gd name="T1" fmla="*/ 14 h 14"/>
                <a:gd name="T2" fmla="*/ 0 w 7"/>
                <a:gd name="T3" fmla="*/ 14 h 14"/>
                <a:gd name="T4" fmla="*/ 7 w 7"/>
                <a:gd name="T5" fmla="*/ 0 h 14"/>
                <a:gd name="T6" fmla="*/ 5 w 7"/>
                <a:gd name="T7" fmla="*/ 14 h 14"/>
                <a:gd name="T8" fmla="*/ 5 w 7"/>
                <a:gd name="T9" fmla="*/ 14 h 14"/>
                <a:gd name="T10" fmla="*/ 5 w 7"/>
                <a:gd name="T11" fmla="*/ 14 h 14"/>
              </a:gdLst>
              <a:ahLst/>
              <a:cxnLst>
                <a:cxn ang="0">
                  <a:pos x="T0" y="T1"/>
                </a:cxn>
                <a:cxn ang="0">
                  <a:pos x="T2" y="T3"/>
                </a:cxn>
                <a:cxn ang="0">
                  <a:pos x="T4" y="T5"/>
                </a:cxn>
                <a:cxn ang="0">
                  <a:pos x="T6" y="T7"/>
                </a:cxn>
                <a:cxn ang="0">
                  <a:pos x="T8" y="T9"/>
                </a:cxn>
                <a:cxn ang="0">
                  <a:pos x="T10" y="T11"/>
                </a:cxn>
              </a:cxnLst>
              <a:rect l="0" t="0" r="r" b="b"/>
              <a:pathLst>
                <a:path w="7" h="14">
                  <a:moveTo>
                    <a:pt x="5" y="14"/>
                  </a:moveTo>
                  <a:lnTo>
                    <a:pt x="0" y="14"/>
                  </a:lnTo>
                  <a:lnTo>
                    <a:pt x="7" y="0"/>
                  </a:lnTo>
                  <a:lnTo>
                    <a:pt x="5" y="14"/>
                  </a:lnTo>
                  <a:lnTo>
                    <a:pt x="5" y="14"/>
                  </a:lnTo>
                  <a:lnTo>
                    <a:pt x="5" y="14"/>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 name="Freeform 387">
              <a:extLst>
                <a:ext uri="{FF2B5EF4-FFF2-40B4-BE49-F238E27FC236}">
                  <a16:creationId xmlns:a16="http://schemas.microsoft.com/office/drawing/2014/main" id="{7C054D12-EA83-4F94-A38A-51179455024A}"/>
                </a:ext>
              </a:extLst>
            </p:cNvPr>
            <p:cNvSpPr>
              <a:spLocks noEditPoints="1"/>
            </p:cNvSpPr>
            <p:nvPr/>
          </p:nvSpPr>
          <p:spPr bwMode="gray">
            <a:xfrm>
              <a:off x="12054988" y="4637099"/>
              <a:ext cx="455597" cy="925595"/>
            </a:xfrm>
            <a:custGeom>
              <a:avLst/>
              <a:gdLst>
                <a:gd name="T0" fmla="*/ 508 w 1392"/>
                <a:gd name="T1" fmla="*/ 21 h 2828"/>
                <a:gd name="T2" fmla="*/ 652 w 1392"/>
                <a:gd name="T3" fmla="*/ 54 h 2828"/>
                <a:gd name="T4" fmla="*/ 870 w 1392"/>
                <a:gd name="T5" fmla="*/ 132 h 2828"/>
                <a:gd name="T6" fmla="*/ 1118 w 1392"/>
                <a:gd name="T7" fmla="*/ 267 h 2828"/>
                <a:gd name="T8" fmla="*/ 1080 w 1392"/>
                <a:gd name="T9" fmla="*/ 333 h 2828"/>
                <a:gd name="T10" fmla="*/ 1170 w 1392"/>
                <a:gd name="T11" fmla="*/ 428 h 2828"/>
                <a:gd name="T12" fmla="*/ 1245 w 1392"/>
                <a:gd name="T13" fmla="*/ 428 h 2828"/>
                <a:gd name="T14" fmla="*/ 1333 w 1392"/>
                <a:gd name="T15" fmla="*/ 284 h 2828"/>
                <a:gd name="T16" fmla="*/ 1392 w 1392"/>
                <a:gd name="T17" fmla="*/ 350 h 2828"/>
                <a:gd name="T18" fmla="*/ 1278 w 1392"/>
                <a:gd name="T19" fmla="*/ 465 h 2828"/>
                <a:gd name="T20" fmla="*/ 1208 w 1392"/>
                <a:gd name="T21" fmla="*/ 539 h 2828"/>
                <a:gd name="T22" fmla="*/ 1118 w 1392"/>
                <a:gd name="T23" fmla="*/ 650 h 2828"/>
                <a:gd name="T24" fmla="*/ 1094 w 1392"/>
                <a:gd name="T25" fmla="*/ 754 h 2828"/>
                <a:gd name="T26" fmla="*/ 1063 w 1392"/>
                <a:gd name="T27" fmla="*/ 876 h 2828"/>
                <a:gd name="T28" fmla="*/ 1059 w 1392"/>
                <a:gd name="T29" fmla="*/ 997 h 2828"/>
                <a:gd name="T30" fmla="*/ 1156 w 1392"/>
                <a:gd name="T31" fmla="*/ 1141 h 2828"/>
                <a:gd name="T32" fmla="*/ 1068 w 1392"/>
                <a:gd name="T33" fmla="*/ 1321 h 2828"/>
                <a:gd name="T34" fmla="*/ 787 w 1392"/>
                <a:gd name="T35" fmla="*/ 1387 h 2828"/>
                <a:gd name="T36" fmla="*/ 787 w 1392"/>
                <a:gd name="T37" fmla="*/ 1465 h 2828"/>
                <a:gd name="T38" fmla="*/ 740 w 1392"/>
                <a:gd name="T39" fmla="*/ 1547 h 2828"/>
                <a:gd name="T40" fmla="*/ 593 w 1392"/>
                <a:gd name="T41" fmla="*/ 1547 h 2828"/>
                <a:gd name="T42" fmla="*/ 638 w 1392"/>
                <a:gd name="T43" fmla="*/ 1658 h 2828"/>
                <a:gd name="T44" fmla="*/ 702 w 1392"/>
                <a:gd name="T45" fmla="*/ 1668 h 2828"/>
                <a:gd name="T46" fmla="*/ 600 w 1392"/>
                <a:gd name="T47" fmla="*/ 1680 h 2828"/>
                <a:gd name="T48" fmla="*/ 584 w 1392"/>
                <a:gd name="T49" fmla="*/ 1791 h 2828"/>
                <a:gd name="T50" fmla="*/ 563 w 1392"/>
                <a:gd name="T51" fmla="*/ 1869 h 2828"/>
                <a:gd name="T52" fmla="*/ 421 w 1392"/>
                <a:gd name="T53" fmla="*/ 2013 h 2828"/>
                <a:gd name="T54" fmla="*/ 518 w 1392"/>
                <a:gd name="T55" fmla="*/ 2140 h 2828"/>
                <a:gd name="T56" fmla="*/ 421 w 1392"/>
                <a:gd name="T57" fmla="*/ 2251 h 2828"/>
                <a:gd name="T58" fmla="*/ 369 w 1392"/>
                <a:gd name="T59" fmla="*/ 2350 h 2828"/>
                <a:gd name="T60" fmla="*/ 315 w 1392"/>
                <a:gd name="T61" fmla="*/ 2391 h 2828"/>
                <a:gd name="T62" fmla="*/ 324 w 1392"/>
                <a:gd name="T63" fmla="*/ 2495 h 2828"/>
                <a:gd name="T64" fmla="*/ 93 w 1392"/>
                <a:gd name="T65" fmla="*/ 2502 h 2828"/>
                <a:gd name="T66" fmla="*/ 60 w 1392"/>
                <a:gd name="T67" fmla="*/ 2400 h 2828"/>
                <a:gd name="T68" fmla="*/ 8 w 1392"/>
                <a:gd name="T69" fmla="*/ 2322 h 2828"/>
                <a:gd name="T70" fmla="*/ 38 w 1392"/>
                <a:gd name="T71" fmla="*/ 2239 h 2828"/>
                <a:gd name="T72" fmla="*/ 83 w 1392"/>
                <a:gd name="T73" fmla="*/ 2112 h 2828"/>
                <a:gd name="T74" fmla="*/ 130 w 1392"/>
                <a:gd name="T75" fmla="*/ 1996 h 2828"/>
                <a:gd name="T76" fmla="*/ 147 w 1392"/>
                <a:gd name="T77" fmla="*/ 1923 h 2828"/>
                <a:gd name="T78" fmla="*/ 180 w 1392"/>
                <a:gd name="T79" fmla="*/ 1835 h 2828"/>
                <a:gd name="T80" fmla="*/ 130 w 1392"/>
                <a:gd name="T81" fmla="*/ 1769 h 2828"/>
                <a:gd name="T82" fmla="*/ 97 w 1392"/>
                <a:gd name="T83" fmla="*/ 1713 h 2828"/>
                <a:gd name="T84" fmla="*/ 130 w 1392"/>
                <a:gd name="T85" fmla="*/ 1625 h 2828"/>
                <a:gd name="T86" fmla="*/ 130 w 1392"/>
                <a:gd name="T87" fmla="*/ 1474 h 2828"/>
                <a:gd name="T88" fmla="*/ 152 w 1392"/>
                <a:gd name="T89" fmla="*/ 1354 h 2828"/>
                <a:gd name="T90" fmla="*/ 180 w 1392"/>
                <a:gd name="T91" fmla="*/ 1235 h 2828"/>
                <a:gd name="T92" fmla="*/ 201 w 1392"/>
                <a:gd name="T93" fmla="*/ 1132 h 2828"/>
                <a:gd name="T94" fmla="*/ 244 w 1392"/>
                <a:gd name="T95" fmla="*/ 976 h 2828"/>
                <a:gd name="T96" fmla="*/ 244 w 1392"/>
                <a:gd name="T97" fmla="*/ 888 h 2828"/>
                <a:gd name="T98" fmla="*/ 239 w 1392"/>
                <a:gd name="T99" fmla="*/ 782 h 2828"/>
                <a:gd name="T100" fmla="*/ 239 w 1392"/>
                <a:gd name="T101" fmla="*/ 666 h 2828"/>
                <a:gd name="T102" fmla="*/ 308 w 1392"/>
                <a:gd name="T103" fmla="*/ 477 h 2828"/>
                <a:gd name="T104" fmla="*/ 362 w 1392"/>
                <a:gd name="T105" fmla="*/ 333 h 2828"/>
                <a:gd name="T106" fmla="*/ 438 w 1392"/>
                <a:gd name="T107" fmla="*/ 165 h 2828"/>
                <a:gd name="T108" fmla="*/ 799 w 1392"/>
                <a:gd name="T109" fmla="*/ 1370 h 2828"/>
                <a:gd name="T110" fmla="*/ 345 w 1392"/>
                <a:gd name="T111" fmla="*/ 2589 h 2828"/>
                <a:gd name="T112" fmla="*/ 378 w 1392"/>
                <a:gd name="T113" fmla="*/ 2655 h 2828"/>
                <a:gd name="T114" fmla="*/ 593 w 1392"/>
                <a:gd name="T115" fmla="*/ 2790 h 2828"/>
                <a:gd name="T116" fmla="*/ 345 w 1392"/>
                <a:gd name="T117" fmla="*/ 2806 h 2828"/>
                <a:gd name="T118" fmla="*/ 686 w 1392"/>
                <a:gd name="T119" fmla="*/ 2794 h 2828"/>
                <a:gd name="T120" fmla="*/ 345 w 1392"/>
                <a:gd name="T121" fmla="*/ 2811 h 2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2" h="2828">
                  <a:moveTo>
                    <a:pt x="449" y="78"/>
                  </a:moveTo>
                  <a:lnTo>
                    <a:pt x="466" y="61"/>
                  </a:lnTo>
                  <a:lnTo>
                    <a:pt x="466" y="54"/>
                  </a:lnTo>
                  <a:lnTo>
                    <a:pt x="475" y="45"/>
                  </a:lnTo>
                  <a:lnTo>
                    <a:pt x="475" y="33"/>
                  </a:lnTo>
                  <a:lnTo>
                    <a:pt x="508" y="21"/>
                  </a:lnTo>
                  <a:lnTo>
                    <a:pt x="518" y="0"/>
                  </a:lnTo>
                  <a:lnTo>
                    <a:pt x="546" y="21"/>
                  </a:lnTo>
                  <a:lnTo>
                    <a:pt x="600" y="21"/>
                  </a:lnTo>
                  <a:lnTo>
                    <a:pt x="631" y="33"/>
                  </a:lnTo>
                  <a:lnTo>
                    <a:pt x="648" y="78"/>
                  </a:lnTo>
                  <a:lnTo>
                    <a:pt x="652" y="54"/>
                  </a:lnTo>
                  <a:lnTo>
                    <a:pt x="681" y="17"/>
                  </a:lnTo>
                  <a:lnTo>
                    <a:pt x="756" y="17"/>
                  </a:lnTo>
                  <a:lnTo>
                    <a:pt x="761" y="33"/>
                  </a:lnTo>
                  <a:lnTo>
                    <a:pt x="794" y="54"/>
                  </a:lnTo>
                  <a:lnTo>
                    <a:pt x="811" y="95"/>
                  </a:lnTo>
                  <a:lnTo>
                    <a:pt x="870" y="132"/>
                  </a:lnTo>
                  <a:lnTo>
                    <a:pt x="879" y="149"/>
                  </a:lnTo>
                  <a:lnTo>
                    <a:pt x="934" y="165"/>
                  </a:lnTo>
                  <a:lnTo>
                    <a:pt x="950" y="165"/>
                  </a:lnTo>
                  <a:lnTo>
                    <a:pt x="1030" y="227"/>
                  </a:lnTo>
                  <a:lnTo>
                    <a:pt x="1101" y="255"/>
                  </a:lnTo>
                  <a:lnTo>
                    <a:pt x="1118" y="267"/>
                  </a:lnTo>
                  <a:lnTo>
                    <a:pt x="1123" y="276"/>
                  </a:lnTo>
                  <a:lnTo>
                    <a:pt x="1123" y="284"/>
                  </a:lnTo>
                  <a:lnTo>
                    <a:pt x="1101" y="300"/>
                  </a:lnTo>
                  <a:lnTo>
                    <a:pt x="1101" y="317"/>
                  </a:lnTo>
                  <a:lnTo>
                    <a:pt x="1101" y="317"/>
                  </a:lnTo>
                  <a:lnTo>
                    <a:pt x="1080" y="333"/>
                  </a:lnTo>
                  <a:lnTo>
                    <a:pt x="1080" y="371"/>
                  </a:lnTo>
                  <a:lnTo>
                    <a:pt x="1047" y="411"/>
                  </a:lnTo>
                  <a:lnTo>
                    <a:pt x="1047" y="421"/>
                  </a:lnTo>
                  <a:lnTo>
                    <a:pt x="1111" y="421"/>
                  </a:lnTo>
                  <a:lnTo>
                    <a:pt x="1156" y="432"/>
                  </a:lnTo>
                  <a:lnTo>
                    <a:pt x="1170" y="428"/>
                  </a:lnTo>
                  <a:lnTo>
                    <a:pt x="1177" y="432"/>
                  </a:lnTo>
                  <a:lnTo>
                    <a:pt x="1193" y="432"/>
                  </a:lnTo>
                  <a:lnTo>
                    <a:pt x="1203" y="444"/>
                  </a:lnTo>
                  <a:lnTo>
                    <a:pt x="1224" y="421"/>
                  </a:lnTo>
                  <a:lnTo>
                    <a:pt x="1241" y="421"/>
                  </a:lnTo>
                  <a:lnTo>
                    <a:pt x="1245" y="428"/>
                  </a:lnTo>
                  <a:lnTo>
                    <a:pt x="1262" y="421"/>
                  </a:lnTo>
                  <a:lnTo>
                    <a:pt x="1262" y="404"/>
                  </a:lnTo>
                  <a:lnTo>
                    <a:pt x="1274" y="395"/>
                  </a:lnTo>
                  <a:lnTo>
                    <a:pt x="1300" y="378"/>
                  </a:lnTo>
                  <a:lnTo>
                    <a:pt x="1328" y="354"/>
                  </a:lnTo>
                  <a:lnTo>
                    <a:pt x="1333" y="284"/>
                  </a:lnTo>
                  <a:lnTo>
                    <a:pt x="1337" y="293"/>
                  </a:lnTo>
                  <a:lnTo>
                    <a:pt x="1366" y="276"/>
                  </a:lnTo>
                  <a:lnTo>
                    <a:pt x="1380" y="293"/>
                  </a:lnTo>
                  <a:lnTo>
                    <a:pt x="1387" y="317"/>
                  </a:lnTo>
                  <a:lnTo>
                    <a:pt x="1392" y="338"/>
                  </a:lnTo>
                  <a:lnTo>
                    <a:pt x="1392" y="350"/>
                  </a:lnTo>
                  <a:lnTo>
                    <a:pt x="1392" y="387"/>
                  </a:lnTo>
                  <a:lnTo>
                    <a:pt x="1387" y="404"/>
                  </a:lnTo>
                  <a:lnTo>
                    <a:pt x="1349" y="428"/>
                  </a:lnTo>
                  <a:lnTo>
                    <a:pt x="1316" y="432"/>
                  </a:lnTo>
                  <a:lnTo>
                    <a:pt x="1300" y="461"/>
                  </a:lnTo>
                  <a:lnTo>
                    <a:pt x="1278" y="465"/>
                  </a:lnTo>
                  <a:lnTo>
                    <a:pt x="1274" y="482"/>
                  </a:lnTo>
                  <a:lnTo>
                    <a:pt x="1245" y="489"/>
                  </a:lnTo>
                  <a:lnTo>
                    <a:pt x="1257" y="498"/>
                  </a:lnTo>
                  <a:lnTo>
                    <a:pt x="1257" y="506"/>
                  </a:lnTo>
                  <a:lnTo>
                    <a:pt x="1241" y="506"/>
                  </a:lnTo>
                  <a:lnTo>
                    <a:pt x="1208" y="539"/>
                  </a:lnTo>
                  <a:lnTo>
                    <a:pt x="1203" y="560"/>
                  </a:lnTo>
                  <a:lnTo>
                    <a:pt x="1186" y="560"/>
                  </a:lnTo>
                  <a:lnTo>
                    <a:pt x="1156" y="610"/>
                  </a:lnTo>
                  <a:lnTo>
                    <a:pt x="1139" y="614"/>
                  </a:lnTo>
                  <a:lnTo>
                    <a:pt x="1139" y="633"/>
                  </a:lnTo>
                  <a:lnTo>
                    <a:pt x="1118" y="650"/>
                  </a:lnTo>
                  <a:lnTo>
                    <a:pt x="1118" y="654"/>
                  </a:lnTo>
                  <a:lnTo>
                    <a:pt x="1101" y="671"/>
                  </a:lnTo>
                  <a:lnTo>
                    <a:pt x="1111" y="699"/>
                  </a:lnTo>
                  <a:lnTo>
                    <a:pt x="1094" y="725"/>
                  </a:lnTo>
                  <a:lnTo>
                    <a:pt x="1085" y="742"/>
                  </a:lnTo>
                  <a:lnTo>
                    <a:pt x="1094" y="754"/>
                  </a:lnTo>
                  <a:lnTo>
                    <a:pt x="1085" y="765"/>
                  </a:lnTo>
                  <a:lnTo>
                    <a:pt x="1080" y="782"/>
                  </a:lnTo>
                  <a:lnTo>
                    <a:pt x="1085" y="815"/>
                  </a:lnTo>
                  <a:lnTo>
                    <a:pt x="1080" y="820"/>
                  </a:lnTo>
                  <a:lnTo>
                    <a:pt x="1080" y="869"/>
                  </a:lnTo>
                  <a:lnTo>
                    <a:pt x="1063" y="876"/>
                  </a:lnTo>
                  <a:lnTo>
                    <a:pt x="1059" y="910"/>
                  </a:lnTo>
                  <a:lnTo>
                    <a:pt x="1059" y="926"/>
                  </a:lnTo>
                  <a:lnTo>
                    <a:pt x="1063" y="959"/>
                  </a:lnTo>
                  <a:lnTo>
                    <a:pt x="1063" y="964"/>
                  </a:lnTo>
                  <a:lnTo>
                    <a:pt x="1059" y="976"/>
                  </a:lnTo>
                  <a:lnTo>
                    <a:pt x="1059" y="997"/>
                  </a:lnTo>
                  <a:lnTo>
                    <a:pt x="1123" y="1037"/>
                  </a:lnTo>
                  <a:lnTo>
                    <a:pt x="1149" y="1058"/>
                  </a:lnTo>
                  <a:lnTo>
                    <a:pt x="1156" y="1070"/>
                  </a:lnTo>
                  <a:lnTo>
                    <a:pt x="1132" y="1091"/>
                  </a:lnTo>
                  <a:lnTo>
                    <a:pt x="1132" y="1108"/>
                  </a:lnTo>
                  <a:lnTo>
                    <a:pt x="1156" y="1141"/>
                  </a:lnTo>
                  <a:lnTo>
                    <a:pt x="1165" y="1141"/>
                  </a:lnTo>
                  <a:lnTo>
                    <a:pt x="1177" y="1141"/>
                  </a:lnTo>
                  <a:lnTo>
                    <a:pt x="1186" y="1186"/>
                  </a:lnTo>
                  <a:lnTo>
                    <a:pt x="1123" y="1264"/>
                  </a:lnTo>
                  <a:lnTo>
                    <a:pt x="1123" y="1292"/>
                  </a:lnTo>
                  <a:lnTo>
                    <a:pt x="1068" y="1321"/>
                  </a:lnTo>
                  <a:lnTo>
                    <a:pt x="960" y="1347"/>
                  </a:lnTo>
                  <a:lnTo>
                    <a:pt x="879" y="1363"/>
                  </a:lnTo>
                  <a:lnTo>
                    <a:pt x="825" y="1363"/>
                  </a:lnTo>
                  <a:lnTo>
                    <a:pt x="787" y="1347"/>
                  </a:lnTo>
                  <a:lnTo>
                    <a:pt x="794" y="1363"/>
                  </a:lnTo>
                  <a:lnTo>
                    <a:pt x="787" y="1387"/>
                  </a:lnTo>
                  <a:lnTo>
                    <a:pt x="811" y="1391"/>
                  </a:lnTo>
                  <a:lnTo>
                    <a:pt x="794" y="1391"/>
                  </a:lnTo>
                  <a:lnTo>
                    <a:pt x="811" y="1408"/>
                  </a:lnTo>
                  <a:lnTo>
                    <a:pt x="799" y="1432"/>
                  </a:lnTo>
                  <a:lnTo>
                    <a:pt x="794" y="1432"/>
                  </a:lnTo>
                  <a:lnTo>
                    <a:pt x="787" y="1465"/>
                  </a:lnTo>
                  <a:lnTo>
                    <a:pt x="778" y="1474"/>
                  </a:lnTo>
                  <a:lnTo>
                    <a:pt x="794" y="1498"/>
                  </a:lnTo>
                  <a:lnTo>
                    <a:pt x="787" y="1502"/>
                  </a:lnTo>
                  <a:lnTo>
                    <a:pt x="799" y="1502"/>
                  </a:lnTo>
                  <a:lnTo>
                    <a:pt x="787" y="1531"/>
                  </a:lnTo>
                  <a:lnTo>
                    <a:pt x="740" y="1547"/>
                  </a:lnTo>
                  <a:lnTo>
                    <a:pt x="686" y="1547"/>
                  </a:lnTo>
                  <a:lnTo>
                    <a:pt x="626" y="1519"/>
                  </a:lnTo>
                  <a:lnTo>
                    <a:pt x="615" y="1514"/>
                  </a:lnTo>
                  <a:lnTo>
                    <a:pt x="600" y="1514"/>
                  </a:lnTo>
                  <a:lnTo>
                    <a:pt x="593" y="1519"/>
                  </a:lnTo>
                  <a:lnTo>
                    <a:pt x="593" y="1547"/>
                  </a:lnTo>
                  <a:lnTo>
                    <a:pt x="600" y="1576"/>
                  </a:lnTo>
                  <a:lnTo>
                    <a:pt x="593" y="1613"/>
                  </a:lnTo>
                  <a:lnTo>
                    <a:pt x="600" y="1625"/>
                  </a:lnTo>
                  <a:lnTo>
                    <a:pt x="638" y="1642"/>
                  </a:lnTo>
                  <a:lnTo>
                    <a:pt x="631" y="1658"/>
                  </a:lnTo>
                  <a:lnTo>
                    <a:pt x="638" y="1658"/>
                  </a:lnTo>
                  <a:lnTo>
                    <a:pt x="664" y="1658"/>
                  </a:lnTo>
                  <a:lnTo>
                    <a:pt x="669" y="1642"/>
                  </a:lnTo>
                  <a:lnTo>
                    <a:pt x="648" y="1642"/>
                  </a:lnTo>
                  <a:lnTo>
                    <a:pt x="686" y="1625"/>
                  </a:lnTo>
                  <a:lnTo>
                    <a:pt x="702" y="1646"/>
                  </a:lnTo>
                  <a:lnTo>
                    <a:pt x="702" y="1668"/>
                  </a:lnTo>
                  <a:lnTo>
                    <a:pt x="690" y="1687"/>
                  </a:lnTo>
                  <a:lnTo>
                    <a:pt x="664" y="1696"/>
                  </a:lnTo>
                  <a:lnTo>
                    <a:pt x="652" y="1687"/>
                  </a:lnTo>
                  <a:lnTo>
                    <a:pt x="652" y="1668"/>
                  </a:lnTo>
                  <a:lnTo>
                    <a:pt x="648" y="1663"/>
                  </a:lnTo>
                  <a:lnTo>
                    <a:pt x="600" y="1680"/>
                  </a:lnTo>
                  <a:lnTo>
                    <a:pt x="600" y="1687"/>
                  </a:lnTo>
                  <a:lnTo>
                    <a:pt x="652" y="1703"/>
                  </a:lnTo>
                  <a:lnTo>
                    <a:pt x="610" y="1724"/>
                  </a:lnTo>
                  <a:lnTo>
                    <a:pt x="577" y="1769"/>
                  </a:lnTo>
                  <a:lnTo>
                    <a:pt x="577" y="1774"/>
                  </a:lnTo>
                  <a:lnTo>
                    <a:pt x="584" y="1791"/>
                  </a:lnTo>
                  <a:lnTo>
                    <a:pt x="577" y="1814"/>
                  </a:lnTo>
                  <a:lnTo>
                    <a:pt x="584" y="1824"/>
                  </a:lnTo>
                  <a:lnTo>
                    <a:pt x="577" y="1835"/>
                  </a:lnTo>
                  <a:lnTo>
                    <a:pt x="556" y="1852"/>
                  </a:lnTo>
                  <a:lnTo>
                    <a:pt x="556" y="1869"/>
                  </a:lnTo>
                  <a:lnTo>
                    <a:pt x="563" y="1869"/>
                  </a:lnTo>
                  <a:lnTo>
                    <a:pt x="563" y="1885"/>
                  </a:lnTo>
                  <a:lnTo>
                    <a:pt x="518" y="1880"/>
                  </a:lnTo>
                  <a:lnTo>
                    <a:pt x="466" y="1902"/>
                  </a:lnTo>
                  <a:lnTo>
                    <a:pt x="421" y="1975"/>
                  </a:lnTo>
                  <a:lnTo>
                    <a:pt x="416" y="1991"/>
                  </a:lnTo>
                  <a:lnTo>
                    <a:pt x="421" y="2013"/>
                  </a:lnTo>
                  <a:lnTo>
                    <a:pt x="475" y="2058"/>
                  </a:lnTo>
                  <a:lnTo>
                    <a:pt x="530" y="2069"/>
                  </a:lnTo>
                  <a:lnTo>
                    <a:pt x="546" y="2074"/>
                  </a:lnTo>
                  <a:lnTo>
                    <a:pt x="546" y="2107"/>
                  </a:lnTo>
                  <a:lnTo>
                    <a:pt x="541" y="2128"/>
                  </a:lnTo>
                  <a:lnTo>
                    <a:pt x="518" y="2140"/>
                  </a:lnTo>
                  <a:lnTo>
                    <a:pt x="530" y="2128"/>
                  </a:lnTo>
                  <a:lnTo>
                    <a:pt x="546" y="2145"/>
                  </a:lnTo>
                  <a:lnTo>
                    <a:pt x="530" y="2145"/>
                  </a:lnTo>
                  <a:lnTo>
                    <a:pt x="530" y="2161"/>
                  </a:lnTo>
                  <a:lnTo>
                    <a:pt x="454" y="2213"/>
                  </a:lnTo>
                  <a:lnTo>
                    <a:pt x="421" y="2251"/>
                  </a:lnTo>
                  <a:lnTo>
                    <a:pt x="416" y="2268"/>
                  </a:lnTo>
                  <a:lnTo>
                    <a:pt x="400" y="2280"/>
                  </a:lnTo>
                  <a:lnTo>
                    <a:pt x="416" y="2272"/>
                  </a:lnTo>
                  <a:lnTo>
                    <a:pt x="412" y="2329"/>
                  </a:lnTo>
                  <a:lnTo>
                    <a:pt x="400" y="2334"/>
                  </a:lnTo>
                  <a:lnTo>
                    <a:pt x="369" y="2350"/>
                  </a:lnTo>
                  <a:lnTo>
                    <a:pt x="345" y="2329"/>
                  </a:lnTo>
                  <a:lnTo>
                    <a:pt x="324" y="2334"/>
                  </a:lnTo>
                  <a:lnTo>
                    <a:pt x="345" y="2334"/>
                  </a:lnTo>
                  <a:lnTo>
                    <a:pt x="362" y="2350"/>
                  </a:lnTo>
                  <a:lnTo>
                    <a:pt x="324" y="2379"/>
                  </a:lnTo>
                  <a:lnTo>
                    <a:pt x="315" y="2391"/>
                  </a:lnTo>
                  <a:lnTo>
                    <a:pt x="308" y="2424"/>
                  </a:lnTo>
                  <a:lnTo>
                    <a:pt x="293" y="2440"/>
                  </a:lnTo>
                  <a:lnTo>
                    <a:pt x="308" y="2433"/>
                  </a:lnTo>
                  <a:lnTo>
                    <a:pt x="324" y="2490"/>
                  </a:lnTo>
                  <a:lnTo>
                    <a:pt x="277" y="2495"/>
                  </a:lnTo>
                  <a:lnTo>
                    <a:pt x="324" y="2495"/>
                  </a:lnTo>
                  <a:lnTo>
                    <a:pt x="362" y="2556"/>
                  </a:lnTo>
                  <a:lnTo>
                    <a:pt x="362" y="2568"/>
                  </a:lnTo>
                  <a:lnTo>
                    <a:pt x="256" y="2528"/>
                  </a:lnTo>
                  <a:lnTo>
                    <a:pt x="114" y="2528"/>
                  </a:lnTo>
                  <a:lnTo>
                    <a:pt x="114" y="2518"/>
                  </a:lnTo>
                  <a:lnTo>
                    <a:pt x="93" y="2502"/>
                  </a:lnTo>
                  <a:lnTo>
                    <a:pt x="83" y="2478"/>
                  </a:lnTo>
                  <a:lnTo>
                    <a:pt x="93" y="2457"/>
                  </a:lnTo>
                  <a:lnTo>
                    <a:pt x="83" y="2445"/>
                  </a:lnTo>
                  <a:lnTo>
                    <a:pt x="93" y="2433"/>
                  </a:lnTo>
                  <a:lnTo>
                    <a:pt x="93" y="2400"/>
                  </a:lnTo>
                  <a:lnTo>
                    <a:pt x="60" y="2400"/>
                  </a:lnTo>
                  <a:lnTo>
                    <a:pt x="29" y="2407"/>
                  </a:lnTo>
                  <a:lnTo>
                    <a:pt x="22" y="2367"/>
                  </a:lnTo>
                  <a:lnTo>
                    <a:pt x="8" y="2350"/>
                  </a:lnTo>
                  <a:lnTo>
                    <a:pt x="8" y="2334"/>
                  </a:lnTo>
                  <a:lnTo>
                    <a:pt x="0" y="2329"/>
                  </a:lnTo>
                  <a:lnTo>
                    <a:pt x="8" y="2322"/>
                  </a:lnTo>
                  <a:lnTo>
                    <a:pt x="0" y="2296"/>
                  </a:lnTo>
                  <a:lnTo>
                    <a:pt x="8" y="2272"/>
                  </a:lnTo>
                  <a:lnTo>
                    <a:pt x="29" y="2272"/>
                  </a:lnTo>
                  <a:lnTo>
                    <a:pt x="38" y="2272"/>
                  </a:lnTo>
                  <a:lnTo>
                    <a:pt x="29" y="2268"/>
                  </a:lnTo>
                  <a:lnTo>
                    <a:pt x="38" y="2239"/>
                  </a:lnTo>
                  <a:lnTo>
                    <a:pt x="71" y="2223"/>
                  </a:lnTo>
                  <a:lnTo>
                    <a:pt x="71" y="2197"/>
                  </a:lnTo>
                  <a:lnTo>
                    <a:pt x="93" y="2185"/>
                  </a:lnTo>
                  <a:lnTo>
                    <a:pt x="83" y="2161"/>
                  </a:lnTo>
                  <a:lnTo>
                    <a:pt x="76" y="2145"/>
                  </a:lnTo>
                  <a:lnTo>
                    <a:pt x="83" y="2112"/>
                  </a:lnTo>
                  <a:lnTo>
                    <a:pt x="83" y="2107"/>
                  </a:lnTo>
                  <a:lnTo>
                    <a:pt x="126" y="2086"/>
                  </a:lnTo>
                  <a:lnTo>
                    <a:pt x="114" y="2069"/>
                  </a:lnTo>
                  <a:lnTo>
                    <a:pt x="114" y="2046"/>
                  </a:lnTo>
                  <a:lnTo>
                    <a:pt x="130" y="2034"/>
                  </a:lnTo>
                  <a:lnTo>
                    <a:pt x="130" y="1996"/>
                  </a:lnTo>
                  <a:lnTo>
                    <a:pt x="114" y="1991"/>
                  </a:lnTo>
                  <a:lnTo>
                    <a:pt x="135" y="1975"/>
                  </a:lnTo>
                  <a:lnTo>
                    <a:pt x="130" y="1958"/>
                  </a:lnTo>
                  <a:lnTo>
                    <a:pt x="126" y="1942"/>
                  </a:lnTo>
                  <a:lnTo>
                    <a:pt x="130" y="1935"/>
                  </a:lnTo>
                  <a:lnTo>
                    <a:pt x="147" y="1923"/>
                  </a:lnTo>
                  <a:lnTo>
                    <a:pt x="163" y="1906"/>
                  </a:lnTo>
                  <a:lnTo>
                    <a:pt x="135" y="1880"/>
                  </a:lnTo>
                  <a:lnTo>
                    <a:pt x="109" y="1880"/>
                  </a:lnTo>
                  <a:lnTo>
                    <a:pt x="109" y="1864"/>
                  </a:lnTo>
                  <a:lnTo>
                    <a:pt x="163" y="1864"/>
                  </a:lnTo>
                  <a:lnTo>
                    <a:pt x="180" y="1835"/>
                  </a:lnTo>
                  <a:lnTo>
                    <a:pt x="168" y="1831"/>
                  </a:lnTo>
                  <a:lnTo>
                    <a:pt x="126" y="1831"/>
                  </a:lnTo>
                  <a:lnTo>
                    <a:pt x="126" y="1807"/>
                  </a:lnTo>
                  <a:lnTo>
                    <a:pt x="135" y="1791"/>
                  </a:lnTo>
                  <a:lnTo>
                    <a:pt x="126" y="1774"/>
                  </a:lnTo>
                  <a:lnTo>
                    <a:pt x="130" y="1769"/>
                  </a:lnTo>
                  <a:lnTo>
                    <a:pt x="130" y="1758"/>
                  </a:lnTo>
                  <a:lnTo>
                    <a:pt x="114" y="1741"/>
                  </a:lnTo>
                  <a:lnTo>
                    <a:pt x="114" y="1736"/>
                  </a:lnTo>
                  <a:lnTo>
                    <a:pt x="130" y="1736"/>
                  </a:lnTo>
                  <a:lnTo>
                    <a:pt x="130" y="1720"/>
                  </a:lnTo>
                  <a:lnTo>
                    <a:pt x="97" y="1713"/>
                  </a:lnTo>
                  <a:lnTo>
                    <a:pt x="97" y="1668"/>
                  </a:lnTo>
                  <a:lnTo>
                    <a:pt x="109" y="1646"/>
                  </a:lnTo>
                  <a:lnTo>
                    <a:pt x="97" y="1646"/>
                  </a:lnTo>
                  <a:lnTo>
                    <a:pt x="109" y="1630"/>
                  </a:lnTo>
                  <a:lnTo>
                    <a:pt x="114" y="1630"/>
                  </a:lnTo>
                  <a:lnTo>
                    <a:pt x="130" y="1625"/>
                  </a:lnTo>
                  <a:lnTo>
                    <a:pt x="114" y="1592"/>
                  </a:lnTo>
                  <a:lnTo>
                    <a:pt x="126" y="1585"/>
                  </a:lnTo>
                  <a:lnTo>
                    <a:pt x="126" y="1531"/>
                  </a:lnTo>
                  <a:lnTo>
                    <a:pt x="114" y="1514"/>
                  </a:lnTo>
                  <a:lnTo>
                    <a:pt x="126" y="1481"/>
                  </a:lnTo>
                  <a:lnTo>
                    <a:pt x="130" y="1474"/>
                  </a:lnTo>
                  <a:lnTo>
                    <a:pt x="126" y="1465"/>
                  </a:lnTo>
                  <a:lnTo>
                    <a:pt x="135" y="1441"/>
                  </a:lnTo>
                  <a:lnTo>
                    <a:pt x="130" y="1408"/>
                  </a:lnTo>
                  <a:lnTo>
                    <a:pt x="147" y="1420"/>
                  </a:lnTo>
                  <a:lnTo>
                    <a:pt x="152" y="1387"/>
                  </a:lnTo>
                  <a:lnTo>
                    <a:pt x="152" y="1354"/>
                  </a:lnTo>
                  <a:lnTo>
                    <a:pt x="185" y="1337"/>
                  </a:lnTo>
                  <a:lnTo>
                    <a:pt x="189" y="1330"/>
                  </a:lnTo>
                  <a:lnTo>
                    <a:pt x="185" y="1313"/>
                  </a:lnTo>
                  <a:lnTo>
                    <a:pt x="185" y="1280"/>
                  </a:lnTo>
                  <a:lnTo>
                    <a:pt x="168" y="1252"/>
                  </a:lnTo>
                  <a:lnTo>
                    <a:pt x="180" y="1235"/>
                  </a:lnTo>
                  <a:lnTo>
                    <a:pt x="168" y="1219"/>
                  </a:lnTo>
                  <a:lnTo>
                    <a:pt x="180" y="1202"/>
                  </a:lnTo>
                  <a:lnTo>
                    <a:pt x="168" y="1181"/>
                  </a:lnTo>
                  <a:lnTo>
                    <a:pt x="180" y="1153"/>
                  </a:lnTo>
                  <a:lnTo>
                    <a:pt x="201" y="1148"/>
                  </a:lnTo>
                  <a:lnTo>
                    <a:pt x="201" y="1132"/>
                  </a:lnTo>
                  <a:lnTo>
                    <a:pt x="223" y="1124"/>
                  </a:lnTo>
                  <a:lnTo>
                    <a:pt x="232" y="1098"/>
                  </a:lnTo>
                  <a:lnTo>
                    <a:pt x="223" y="1058"/>
                  </a:lnTo>
                  <a:lnTo>
                    <a:pt x="206" y="1054"/>
                  </a:lnTo>
                  <a:lnTo>
                    <a:pt x="223" y="1042"/>
                  </a:lnTo>
                  <a:lnTo>
                    <a:pt x="244" y="976"/>
                  </a:lnTo>
                  <a:lnTo>
                    <a:pt x="260" y="964"/>
                  </a:lnTo>
                  <a:lnTo>
                    <a:pt x="256" y="931"/>
                  </a:lnTo>
                  <a:lnTo>
                    <a:pt x="270" y="905"/>
                  </a:lnTo>
                  <a:lnTo>
                    <a:pt x="260" y="893"/>
                  </a:lnTo>
                  <a:lnTo>
                    <a:pt x="256" y="893"/>
                  </a:lnTo>
                  <a:lnTo>
                    <a:pt x="244" y="888"/>
                  </a:lnTo>
                  <a:lnTo>
                    <a:pt x="256" y="865"/>
                  </a:lnTo>
                  <a:lnTo>
                    <a:pt x="239" y="848"/>
                  </a:lnTo>
                  <a:lnTo>
                    <a:pt x="239" y="832"/>
                  </a:lnTo>
                  <a:lnTo>
                    <a:pt x="232" y="810"/>
                  </a:lnTo>
                  <a:lnTo>
                    <a:pt x="223" y="798"/>
                  </a:lnTo>
                  <a:lnTo>
                    <a:pt x="239" y="782"/>
                  </a:lnTo>
                  <a:lnTo>
                    <a:pt x="223" y="777"/>
                  </a:lnTo>
                  <a:lnTo>
                    <a:pt x="206" y="754"/>
                  </a:lnTo>
                  <a:lnTo>
                    <a:pt x="218" y="725"/>
                  </a:lnTo>
                  <a:lnTo>
                    <a:pt x="232" y="709"/>
                  </a:lnTo>
                  <a:lnTo>
                    <a:pt x="232" y="699"/>
                  </a:lnTo>
                  <a:lnTo>
                    <a:pt x="239" y="666"/>
                  </a:lnTo>
                  <a:lnTo>
                    <a:pt x="256" y="654"/>
                  </a:lnTo>
                  <a:lnTo>
                    <a:pt x="260" y="650"/>
                  </a:lnTo>
                  <a:lnTo>
                    <a:pt x="244" y="576"/>
                  </a:lnTo>
                  <a:lnTo>
                    <a:pt x="270" y="560"/>
                  </a:lnTo>
                  <a:lnTo>
                    <a:pt x="277" y="506"/>
                  </a:lnTo>
                  <a:lnTo>
                    <a:pt x="308" y="477"/>
                  </a:lnTo>
                  <a:lnTo>
                    <a:pt x="331" y="404"/>
                  </a:lnTo>
                  <a:lnTo>
                    <a:pt x="362" y="404"/>
                  </a:lnTo>
                  <a:lnTo>
                    <a:pt x="369" y="387"/>
                  </a:lnTo>
                  <a:lnTo>
                    <a:pt x="345" y="354"/>
                  </a:lnTo>
                  <a:lnTo>
                    <a:pt x="352" y="338"/>
                  </a:lnTo>
                  <a:lnTo>
                    <a:pt x="362" y="333"/>
                  </a:lnTo>
                  <a:lnTo>
                    <a:pt x="345" y="276"/>
                  </a:lnTo>
                  <a:lnTo>
                    <a:pt x="352" y="255"/>
                  </a:lnTo>
                  <a:lnTo>
                    <a:pt x="369" y="255"/>
                  </a:lnTo>
                  <a:lnTo>
                    <a:pt x="352" y="222"/>
                  </a:lnTo>
                  <a:lnTo>
                    <a:pt x="369" y="199"/>
                  </a:lnTo>
                  <a:lnTo>
                    <a:pt x="438" y="165"/>
                  </a:lnTo>
                  <a:lnTo>
                    <a:pt x="466" y="87"/>
                  </a:lnTo>
                  <a:lnTo>
                    <a:pt x="449" y="78"/>
                  </a:lnTo>
                  <a:lnTo>
                    <a:pt x="449" y="78"/>
                  </a:lnTo>
                  <a:lnTo>
                    <a:pt x="449" y="78"/>
                  </a:lnTo>
                  <a:close/>
                  <a:moveTo>
                    <a:pt x="815" y="1387"/>
                  </a:moveTo>
                  <a:lnTo>
                    <a:pt x="799" y="1370"/>
                  </a:lnTo>
                  <a:lnTo>
                    <a:pt x="815" y="1375"/>
                  </a:lnTo>
                  <a:lnTo>
                    <a:pt x="815" y="1387"/>
                  </a:lnTo>
                  <a:lnTo>
                    <a:pt x="815" y="1387"/>
                  </a:lnTo>
                  <a:lnTo>
                    <a:pt x="815" y="1387"/>
                  </a:lnTo>
                  <a:close/>
                  <a:moveTo>
                    <a:pt x="345" y="2806"/>
                  </a:moveTo>
                  <a:lnTo>
                    <a:pt x="345" y="2589"/>
                  </a:lnTo>
                  <a:lnTo>
                    <a:pt x="369" y="2622"/>
                  </a:lnTo>
                  <a:lnTo>
                    <a:pt x="378" y="2639"/>
                  </a:lnTo>
                  <a:lnTo>
                    <a:pt x="362" y="2629"/>
                  </a:lnTo>
                  <a:lnTo>
                    <a:pt x="352" y="2639"/>
                  </a:lnTo>
                  <a:lnTo>
                    <a:pt x="352" y="2646"/>
                  </a:lnTo>
                  <a:lnTo>
                    <a:pt x="378" y="2655"/>
                  </a:lnTo>
                  <a:lnTo>
                    <a:pt x="395" y="2683"/>
                  </a:lnTo>
                  <a:lnTo>
                    <a:pt x="421" y="2712"/>
                  </a:lnTo>
                  <a:lnTo>
                    <a:pt x="421" y="2717"/>
                  </a:lnTo>
                  <a:lnTo>
                    <a:pt x="518" y="2778"/>
                  </a:lnTo>
                  <a:lnTo>
                    <a:pt x="556" y="2790"/>
                  </a:lnTo>
                  <a:lnTo>
                    <a:pt x="593" y="2790"/>
                  </a:lnTo>
                  <a:lnTo>
                    <a:pt x="577" y="2823"/>
                  </a:lnTo>
                  <a:lnTo>
                    <a:pt x="541" y="2811"/>
                  </a:lnTo>
                  <a:lnTo>
                    <a:pt x="504" y="2828"/>
                  </a:lnTo>
                  <a:lnTo>
                    <a:pt x="466" y="2811"/>
                  </a:lnTo>
                  <a:lnTo>
                    <a:pt x="352" y="2811"/>
                  </a:lnTo>
                  <a:lnTo>
                    <a:pt x="345" y="2806"/>
                  </a:lnTo>
                  <a:lnTo>
                    <a:pt x="345" y="2806"/>
                  </a:lnTo>
                  <a:lnTo>
                    <a:pt x="345" y="2806"/>
                  </a:lnTo>
                  <a:close/>
                  <a:moveTo>
                    <a:pt x="626" y="2811"/>
                  </a:moveTo>
                  <a:lnTo>
                    <a:pt x="615" y="2806"/>
                  </a:lnTo>
                  <a:lnTo>
                    <a:pt x="626" y="2806"/>
                  </a:lnTo>
                  <a:lnTo>
                    <a:pt x="686" y="2794"/>
                  </a:lnTo>
                  <a:lnTo>
                    <a:pt x="681" y="2806"/>
                  </a:lnTo>
                  <a:lnTo>
                    <a:pt x="648" y="2806"/>
                  </a:lnTo>
                  <a:lnTo>
                    <a:pt x="626" y="2811"/>
                  </a:lnTo>
                  <a:lnTo>
                    <a:pt x="626" y="2811"/>
                  </a:lnTo>
                  <a:lnTo>
                    <a:pt x="626" y="2811"/>
                  </a:lnTo>
                  <a:close/>
                  <a:moveTo>
                    <a:pt x="345" y="2811"/>
                  </a:moveTo>
                  <a:lnTo>
                    <a:pt x="345" y="2806"/>
                  </a:lnTo>
                  <a:lnTo>
                    <a:pt x="352" y="2811"/>
                  </a:lnTo>
                  <a:lnTo>
                    <a:pt x="345" y="2811"/>
                  </a:lnTo>
                  <a:lnTo>
                    <a:pt x="345" y="2811"/>
                  </a:lnTo>
                  <a:lnTo>
                    <a:pt x="345" y="2811"/>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 name="Freeform 388">
              <a:extLst>
                <a:ext uri="{FF2B5EF4-FFF2-40B4-BE49-F238E27FC236}">
                  <a16:creationId xmlns:a16="http://schemas.microsoft.com/office/drawing/2014/main" id="{ED420D2D-A1CC-47E7-A030-0FAFB89904CF}"/>
                </a:ext>
              </a:extLst>
            </p:cNvPr>
            <p:cNvSpPr>
              <a:spLocks noEditPoints="1"/>
            </p:cNvSpPr>
            <p:nvPr/>
          </p:nvSpPr>
          <p:spPr bwMode="gray">
            <a:xfrm>
              <a:off x="16337664" y="4351696"/>
              <a:ext cx="1056841" cy="1199869"/>
            </a:xfrm>
            <a:custGeom>
              <a:avLst/>
              <a:gdLst>
                <a:gd name="T0" fmla="*/ 2050 w 3229"/>
                <a:gd name="T1" fmla="*/ 41 h 3666"/>
                <a:gd name="T2" fmla="*/ 2239 w 3229"/>
                <a:gd name="T3" fmla="*/ 2190 h 3666"/>
                <a:gd name="T4" fmla="*/ 1939 w 3229"/>
                <a:gd name="T5" fmla="*/ 2152 h 3666"/>
                <a:gd name="T6" fmla="*/ 1835 w 3229"/>
                <a:gd name="T7" fmla="*/ 1930 h 3666"/>
                <a:gd name="T8" fmla="*/ 1712 w 3229"/>
                <a:gd name="T9" fmla="*/ 1902 h 3666"/>
                <a:gd name="T10" fmla="*/ 1603 w 3229"/>
                <a:gd name="T11" fmla="*/ 1885 h 3666"/>
                <a:gd name="T12" fmla="*/ 1495 w 3229"/>
                <a:gd name="T13" fmla="*/ 1746 h 3666"/>
                <a:gd name="T14" fmla="*/ 1204 w 3229"/>
                <a:gd name="T15" fmla="*/ 1630 h 3666"/>
                <a:gd name="T16" fmla="*/ 621 w 3229"/>
                <a:gd name="T17" fmla="*/ 1815 h 3666"/>
                <a:gd name="T18" fmla="*/ 309 w 3229"/>
                <a:gd name="T19" fmla="*/ 1902 h 3666"/>
                <a:gd name="T20" fmla="*/ 196 w 3229"/>
                <a:gd name="T21" fmla="*/ 1647 h 3666"/>
                <a:gd name="T22" fmla="*/ 49 w 3229"/>
                <a:gd name="T23" fmla="*/ 1243 h 3666"/>
                <a:gd name="T24" fmla="*/ 33 w 3229"/>
                <a:gd name="T25" fmla="*/ 1071 h 3666"/>
                <a:gd name="T26" fmla="*/ 285 w 3229"/>
                <a:gd name="T27" fmla="*/ 782 h 3666"/>
                <a:gd name="T28" fmla="*/ 649 w 3229"/>
                <a:gd name="T29" fmla="*/ 527 h 3666"/>
                <a:gd name="T30" fmla="*/ 751 w 3229"/>
                <a:gd name="T31" fmla="*/ 482 h 3666"/>
                <a:gd name="T32" fmla="*/ 836 w 3229"/>
                <a:gd name="T33" fmla="*/ 466 h 3666"/>
                <a:gd name="T34" fmla="*/ 848 w 3229"/>
                <a:gd name="T35" fmla="*/ 388 h 3666"/>
                <a:gd name="T36" fmla="*/ 890 w 3229"/>
                <a:gd name="T37" fmla="*/ 305 h 3666"/>
                <a:gd name="T38" fmla="*/ 956 w 3229"/>
                <a:gd name="T39" fmla="*/ 305 h 3666"/>
                <a:gd name="T40" fmla="*/ 1091 w 3229"/>
                <a:gd name="T41" fmla="*/ 362 h 3666"/>
                <a:gd name="T42" fmla="*/ 1171 w 3229"/>
                <a:gd name="T43" fmla="*/ 345 h 3666"/>
                <a:gd name="T44" fmla="*/ 1226 w 3229"/>
                <a:gd name="T45" fmla="*/ 189 h 3666"/>
                <a:gd name="T46" fmla="*/ 1365 w 3229"/>
                <a:gd name="T47" fmla="*/ 156 h 3666"/>
                <a:gd name="T48" fmla="*/ 1419 w 3229"/>
                <a:gd name="T49" fmla="*/ 123 h 3666"/>
                <a:gd name="T50" fmla="*/ 1613 w 3229"/>
                <a:gd name="T51" fmla="*/ 123 h 3666"/>
                <a:gd name="T52" fmla="*/ 1674 w 3229"/>
                <a:gd name="T53" fmla="*/ 156 h 3666"/>
                <a:gd name="T54" fmla="*/ 1603 w 3229"/>
                <a:gd name="T55" fmla="*/ 305 h 3666"/>
                <a:gd name="T56" fmla="*/ 1953 w 3229"/>
                <a:gd name="T57" fmla="*/ 544 h 3666"/>
                <a:gd name="T58" fmla="*/ 2012 w 3229"/>
                <a:gd name="T59" fmla="*/ 178 h 3666"/>
                <a:gd name="T60" fmla="*/ 2121 w 3229"/>
                <a:gd name="T61" fmla="*/ 140 h 3666"/>
                <a:gd name="T62" fmla="*/ 2267 w 3229"/>
                <a:gd name="T63" fmla="*/ 355 h 3666"/>
                <a:gd name="T64" fmla="*/ 2414 w 3229"/>
                <a:gd name="T65" fmla="*/ 676 h 3666"/>
                <a:gd name="T66" fmla="*/ 2548 w 3229"/>
                <a:gd name="T67" fmla="*/ 832 h 3666"/>
                <a:gd name="T68" fmla="*/ 2671 w 3229"/>
                <a:gd name="T69" fmla="*/ 1004 h 3666"/>
                <a:gd name="T70" fmla="*/ 2822 w 3229"/>
                <a:gd name="T71" fmla="*/ 1304 h 3666"/>
                <a:gd name="T72" fmla="*/ 2700 w 3229"/>
                <a:gd name="T73" fmla="*/ 1774 h 3666"/>
                <a:gd name="T74" fmla="*/ 2603 w 3229"/>
                <a:gd name="T75" fmla="*/ 2079 h 3666"/>
                <a:gd name="T76" fmla="*/ 1667 w 3229"/>
                <a:gd name="T77" fmla="*/ 67 h 3666"/>
                <a:gd name="T78" fmla="*/ 1280 w 3229"/>
                <a:gd name="T79" fmla="*/ 100 h 3666"/>
                <a:gd name="T80" fmla="*/ 1226 w 3229"/>
                <a:gd name="T81" fmla="*/ 133 h 3666"/>
                <a:gd name="T82" fmla="*/ 1684 w 3229"/>
                <a:gd name="T83" fmla="*/ 300 h 3666"/>
                <a:gd name="T84" fmla="*/ 1629 w 3229"/>
                <a:gd name="T85" fmla="*/ 279 h 3666"/>
                <a:gd name="T86" fmla="*/ 810 w 3229"/>
                <a:gd name="T87" fmla="*/ 378 h 3666"/>
                <a:gd name="T88" fmla="*/ 1689 w 3229"/>
                <a:gd name="T89" fmla="*/ 428 h 3666"/>
                <a:gd name="T90" fmla="*/ 1835 w 3229"/>
                <a:gd name="T91" fmla="*/ 489 h 3666"/>
                <a:gd name="T92" fmla="*/ 2338 w 3229"/>
                <a:gd name="T93" fmla="*/ 622 h 3666"/>
                <a:gd name="T94" fmla="*/ 2520 w 3229"/>
                <a:gd name="T95" fmla="*/ 745 h 3666"/>
                <a:gd name="T96" fmla="*/ 2629 w 3229"/>
                <a:gd name="T97" fmla="*/ 910 h 3666"/>
                <a:gd name="T98" fmla="*/ 2834 w 3229"/>
                <a:gd name="T99" fmla="*/ 1115 h 3666"/>
                <a:gd name="T100" fmla="*/ 2839 w 3229"/>
                <a:gd name="T101" fmla="*/ 1297 h 3666"/>
                <a:gd name="T102" fmla="*/ 1651 w 3229"/>
                <a:gd name="T103" fmla="*/ 1980 h 3666"/>
                <a:gd name="T104" fmla="*/ 2267 w 3229"/>
                <a:gd name="T105" fmla="*/ 2202 h 3666"/>
                <a:gd name="T106" fmla="*/ 2187 w 3229"/>
                <a:gd name="T107" fmla="*/ 2313 h 3666"/>
                <a:gd name="T108" fmla="*/ 2461 w 3229"/>
                <a:gd name="T109" fmla="*/ 2363 h 3666"/>
                <a:gd name="T110" fmla="*/ 2466 w 3229"/>
                <a:gd name="T111" fmla="*/ 2363 h 3666"/>
                <a:gd name="T112" fmla="*/ 2305 w 3229"/>
                <a:gd name="T113" fmla="*/ 2606 h 3666"/>
                <a:gd name="T114" fmla="*/ 2385 w 3229"/>
                <a:gd name="T115" fmla="*/ 2417 h 3666"/>
                <a:gd name="T116" fmla="*/ 2456 w 3229"/>
                <a:gd name="T117" fmla="*/ 2596 h 3666"/>
                <a:gd name="T118" fmla="*/ 2390 w 3229"/>
                <a:gd name="T119" fmla="*/ 2606 h 3666"/>
                <a:gd name="T120" fmla="*/ 2414 w 3229"/>
                <a:gd name="T121" fmla="*/ 2596 h 3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29" h="3666">
                  <a:moveTo>
                    <a:pt x="2045" y="12"/>
                  </a:moveTo>
                  <a:lnTo>
                    <a:pt x="2045" y="5"/>
                  </a:lnTo>
                  <a:lnTo>
                    <a:pt x="2045" y="0"/>
                  </a:lnTo>
                  <a:lnTo>
                    <a:pt x="2045" y="12"/>
                  </a:lnTo>
                  <a:lnTo>
                    <a:pt x="2045" y="12"/>
                  </a:lnTo>
                  <a:lnTo>
                    <a:pt x="2045" y="12"/>
                  </a:lnTo>
                  <a:close/>
                  <a:moveTo>
                    <a:pt x="2050" y="12"/>
                  </a:moveTo>
                  <a:lnTo>
                    <a:pt x="2050" y="5"/>
                  </a:lnTo>
                  <a:lnTo>
                    <a:pt x="2062" y="12"/>
                  </a:lnTo>
                  <a:lnTo>
                    <a:pt x="2050" y="12"/>
                  </a:lnTo>
                  <a:lnTo>
                    <a:pt x="2050" y="12"/>
                  </a:lnTo>
                  <a:lnTo>
                    <a:pt x="2050" y="12"/>
                  </a:lnTo>
                  <a:close/>
                  <a:moveTo>
                    <a:pt x="2050" y="57"/>
                  </a:moveTo>
                  <a:lnTo>
                    <a:pt x="2045" y="45"/>
                  </a:lnTo>
                  <a:lnTo>
                    <a:pt x="2050" y="41"/>
                  </a:lnTo>
                  <a:lnTo>
                    <a:pt x="2050" y="45"/>
                  </a:lnTo>
                  <a:lnTo>
                    <a:pt x="2050" y="57"/>
                  </a:lnTo>
                  <a:lnTo>
                    <a:pt x="2050" y="57"/>
                  </a:lnTo>
                  <a:lnTo>
                    <a:pt x="2050" y="57"/>
                  </a:lnTo>
                  <a:close/>
                  <a:moveTo>
                    <a:pt x="2348" y="2247"/>
                  </a:moveTo>
                  <a:lnTo>
                    <a:pt x="2331" y="2219"/>
                  </a:lnTo>
                  <a:lnTo>
                    <a:pt x="2305" y="2223"/>
                  </a:lnTo>
                  <a:lnTo>
                    <a:pt x="2305" y="2202"/>
                  </a:lnTo>
                  <a:lnTo>
                    <a:pt x="2293" y="2207"/>
                  </a:lnTo>
                  <a:lnTo>
                    <a:pt x="2277" y="2190"/>
                  </a:lnTo>
                  <a:lnTo>
                    <a:pt x="2284" y="2181"/>
                  </a:lnTo>
                  <a:lnTo>
                    <a:pt x="2277" y="2169"/>
                  </a:lnTo>
                  <a:lnTo>
                    <a:pt x="2267" y="2169"/>
                  </a:lnTo>
                  <a:lnTo>
                    <a:pt x="2251" y="2190"/>
                  </a:lnTo>
                  <a:lnTo>
                    <a:pt x="2239" y="2190"/>
                  </a:lnTo>
                  <a:lnTo>
                    <a:pt x="2229" y="2181"/>
                  </a:lnTo>
                  <a:lnTo>
                    <a:pt x="2246" y="2181"/>
                  </a:lnTo>
                  <a:lnTo>
                    <a:pt x="2251" y="2164"/>
                  </a:lnTo>
                  <a:lnTo>
                    <a:pt x="2246" y="2136"/>
                  </a:lnTo>
                  <a:lnTo>
                    <a:pt x="2196" y="2164"/>
                  </a:lnTo>
                  <a:lnTo>
                    <a:pt x="2225" y="2164"/>
                  </a:lnTo>
                  <a:lnTo>
                    <a:pt x="2225" y="2181"/>
                  </a:lnTo>
                  <a:lnTo>
                    <a:pt x="2196" y="2181"/>
                  </a:lnTo>
                  <a:lnTo>
                    <a:pt x="2142" y="2223"/>
                  </a:lnTo>
                  <a:lnTo>
                    <a:pt x="2062" y="2181"/>
                  </a:lnTo>
                  <a:lnTo>
                    <a:pt x="2045" y="2185"/>
                  </a:lnTo>
                  <a:lnTo>
                    <a:pt x="2024" y="2169"/>
                  </a:lnTo>
                  <a:lnTo>
                    <a:pt x="2007" y="2185"/>
                  </a:lnTo>
                  <a:lnTo>
                    <a:pt x="1977" y="2164"/>
                  </a:lnTo>
                  <a:lnTo>
                    <a:pt x="1939" y="2152"/>
                  </a:lnTo>
                  <a:lnTo>
                    <a:pt x="1873" y="2079"/>
                  </a:lnTo>
                  <a:lnTo>
                    <a:pt x="1873" y="2058"/>
                  </a:lnTo>
                  <a:lnTo>
                    <a:pt x="1885" y="2053"/>
                  </a:lnTo>
                  <a:lnTo>
                    <a:pt x="1885" y="2025"/>
                  </a:lnTo>
                  <a:lnTo>
                    <a:pt x="1873" y="2001"/>
                  </a:lnTo>
                  <a:lnTo>
                    <a:pt x="1830" y="1959"/>
                  </a:lnTo>
                  <a:lnTo>
                    <a:pt x="1852" y="1968"/>
                  </a:lnTo>
                  <a:lnTo>
                    <a:pt x="1873" y="2001"/>
                  </a:lnTo>
                  <a:lnTo>
                    <a:pt x="1868" y="1985"/>
                  </a:lnTo>
                  <a:lnTo>
                    <a:pt x="1835" y="1959"/>
                  </a:lnTo>
                  <a:lnTo>
                    <a:pt x="1835" y="1942"/>
                  </a:lnTo>
                  <a:lnTo>
                    <a:pt x="1847" y="1959"/>
                  </a:lnTo>
                  <a:lnTo>
                    <a:pt x="1852" y="1959"/>
                  </a:lnTo>
                  <a:lnTo>
                    <a:pt x="1852" y="1930"/>
                  </a:lnTo>
                  <a:lnTo>
                    <a:pt x="1835" y="1930"/>
                  </a:lnTo>
                  <a:lnTo>
                    <a:pt x="1818" y="1942"/>
                  </a:lnTo>
                  <a:lnTo>
                    <a:pt x="1830" y="1947"/>
                  </a:lnTo>
                  <a:lnTo>
                    <a:pt x="1809" y="1947"/>
                  </a:lnTo>
                  <a:lnTo>
                    <a:pt x="1792" y="1959"/>
                  </a:lnTo>
                  <a:lnTo>
                    <a:pt x="1759" y="1959"/>
                  </a:lnTo>
                  <a:lnTo>
                    <a:pt x="1792" y="1930"/>
                  </a:lnTo>
                  <a:lnTo>
                    <a:pt x="1792" y="1909"/>
                  </a:lnTo>
                  <a:lnTo>
                    <a:pt x="1792" y="1874"/>
                  </a:lnTo>
                  <a:lnTo>
                    <a:pt x="1759" y="1831"/>
                  </a:lnTo>
                  <a:lnTo>
                    <a:pt x="1755" y="1857"/>
                  </a:lnTo>
                  <a:lnTo>
                    <a:pt x="1738" y="1914"/>
                  </a:lnTo>
                  <a:lnTo>
                    <a:pt x="1722" y="1909"/>
                  </a:lnTo>
                  <a:lnTo>
                    <a:pt x="1674" y="1926"/>
                  </a:lnTo>
                  <a:lnTo>
                    <a:pt x="1689" y="1893"/>
                  </a:lnTo>
                  <a:lnTo>
                    <a:pt x="1712" y="1902"/>
                  </a:lnTo>
                  <a:lnTo>
                    <a:pt x="1722" y="1874"/>
                  </a:lnTo>
                  <a:lnTo>
                    <a:pt x="1722" y="1836"/>
                  </a:lnTo>
                  <a:lnTo>
                    <a:pt x="1726" y="1815"/>
                  </a:lnTo>
                  <a:lnTo>
                    <a:pt x="1755" y="1791"/>
                  </a:lnTo>
                  <a:lnTo>
                    <a:pt x="1743" y="1765"/>
                  </a:lnTo>
                  <a:lnTo>
                    <a:pt x="1759" y="1746"/>
                  </a:lnTo>
                  <a:lnTo>
                    <a:pt x="1738" y="1704"/>
                  </a:lnTo>
                  <a:lnTo>
                    <a:pt x="1743" y="1741"/>
                  </a:lnTo>
                  <a:lnTo>
                    <a:pt x="1722" y="1746"/>
                  </a:lnTo>
                  <a:lnTo>
                    <a:pt x="1700" y="1798"/>
                  </a:lnTo>
                  <a:lnTo>
                    <a:pt x="1684" y="1798"/>
                  </a:lnTo>
                  <a:lnTo>
                    <a:pt x="1674" y="1803"/>
                  </a:lnTo>
                  <a:lnTo>
                    <a:pt x="1646" y="1819"/>
                  </a:lnTo>
                  <a:lnTo>
                    <a:pt x="1613" y="1869"/>
                  </a:lnTo>
                  <a:lnTo>
                    <a:pt x="1603" y="1885"/>
                  </a:lnTo>
                  <a:lnTo>
                    <a:pt x="1613" y="1885"/>
                  </a:lnTo>
                  <a:lnTo>
                    <a:pt x="1613" y="1902"/>
                  </a:lnTo>
                  <a:lnTo>
                    <a:pt x="1599" y="1893"/>
                  </a:lnTo>
                  <a:lnTo>
                    <a:pt x="1592" y="1902"/>
                  </a:lnTo>
                  <a:lnTo>
                    <a:pt x="1566" y="1869"/>
                  </a:lnTo>
                  <a:lnTo>
                    <a:pt x="1549" y="1869"/>
                  </a:lnTo>
                  <a:lnTo>
                    <a:pt x="1561" y="1852"/>
                  </a:lnTo>
                  <a:lnTo>
                    <a:pt x="1575" y="1874"/>
                  </a:lnTo>
                  <a:lnTo>
                    <a:pt x="1582" y="1869"/>
                  </a:lnTo>
                  <a:lnTo>
                    <a:pt x="1575" y="1869"/>
                  </a:lnTo>
                  <a:lnTo>
                    <a:pt x="1566" y="1819"/>
                  </a:lnTo>
                  <a:lnTo>
                    <a:pt x="1537" y="1791"/>
                  </a:lnTo>
                  <a:lnTo>
                    <a:pt x="1537" y="1782"/>
                  </a:lnTo>
                  <a:lnTo>
                    <a:pt x="1528" y="1758"/>
                  </a:lnTo>
                  <a:lnTo>
                    <a:pt x="1495" y="1746"/>
                  </a:lnTo>
                  <a:lnTo>
                    <a:pt x="1485" y="1720"/>
                  </a:lnTo>
                  <a:lnTo>
                    <a:pt x="1490" y="1725"/>
                  </a:lnTo>
                  <a:lnTo>
                    <a:pt x="1495" y="1720"/>
                  </a:lnTo>
                  <a:lnTo>
                    <a:pt x="1490" y="1704"/>
                  </a:lnTo>
                  <a:lnTo>
                    <a:pt x="1469" y="1704"/>
                  </a:lnTo>
                  <a:lnTo>
                    <a:pt x="1474" y="1692"/>
                  </a:lnTo>
                  <a:lnTo>
                    <a:pt x="1452" y="1670"/>
                  </a:lnTo>
                  <a:lnTo>
                    <a:pt x="1436" y="1680"/>
                  </a:lnTo>
                  <a:lnTo>
                    <a:pt x="1415" y="1680"/>
                  </a:lnTo>
                  <a:lnTo>
                    <a:pt x="1386" y="1654"/>
                  </a:lnTo>
                  <a:lnTo>
                    <a:pt x="1351" y="1663"/>
                  </a:lnTo>
                  <a:lnTo>
                    <a:pt x="1322" y="1637"/>
                  </a:lnTo>
                  <a:lnTo>
                    <a:pt x="1275" y="1614"/>
                  </a:lnTo>
                  <a:lnTo>
                    <a:pt x="1252" y="1630"/>
                  </a:lnTo>
                  <a:lnTo>
                    <a:pt x="1204" y="1630"/>
                  </a:lnTo>
                  <a:lnTo>
                    <a:pt x="1129" y="1637"/>
                  </a:lnTo>
                  <a:lnTo>
                    <a:pt x="1058" y="1670"/>
                  </a:lnTo>
                  <a:lnTo>
                    <a:pt x="1003" y="1687"/>
                  </a:lnTo>
                  <a:lnTo>
                    <a:pt x="911" y="1680"/>
                  </a:lnTo>
                  <a:lnTo>
                    <a:pt x="826" y="1737"/>
                  </a:lnTo>
                  <a:lnTo>
                    <a:pt x="793" y="1741"/>
                  </a:lnTo>
                  <a:lnTo>
                    <a:pt x="784" y="1746"/>
                  </a:lnTo>
                  <a:lnTo>
                    <a:pt x="772" y="1791"/>
                  </a:lnTo>
                  <a:lnTo>
                    <a:pt x="755" y="1803"/>
                  </a:lnTo>
                  <a:lnTo>
                    <a:pt x="718" y="1819"/>
                  </a:lnTo>
                  <a:lnTo>
                    <a:pt x="701" y="1815"/>
                  </a:lnTo>
                  <a:lnTo>
                    <a:pt x="659" y="1815"/>
                  </a:lnTo>
                  <a:lnTo>
                    <a:pt x="642" y="1819"/>
                  </a:lnTo>
                  <a:lnTo>
                    <a:pt x="633" y="1803"/>
                  </a:lnTo>
                  <a:lnTo>
                    <a:pt x="621" y="1815"/>
                  </a:lnTo>
                  <a:lnTo>
                    <a:pt x="595" y="1803"/>
                  </a:lnTo>
                  <a:lnTo>
                    <a:pt x="557" y="1815"/>
                  </a:lnTo>
                  <a:lnTo>
                    <a:pt x="524" y="1819"/>
                  </a:lnTo>
                  <a:lnTo>
                    <a:pt x="498" y="1815"/>
                  </a:lnTo>
                  <a:lnTo>
                    <a:pt x="465" y="1831"/>
                  </a:lnTo>
                  <a:lnTo>
                    <a:pt x="448" y="1857"/>
                  </a:lnTo>
                  <a:lnTo>
                    <a:pt x="444" y="1857"/>
                  </a:lnTo>
                  <a:lnTo>
                    <a:pt x="415" y="1857"/>
                  </a:lnTo>
                  <a:lnTo>
                    <a:pt x="373" y="1893"/>
                  </a:lnTo>
                  <a:lnTo>
                    <a:pt x="340" y="1909"/>
                  </a:lnTo>
                  <a:lnTo>
                    <a:pt x="356" y="1909"/>
                  </a:lnTo>
                  <a:lnTo>
                    <a:pt x="352" y="1914"/>
                  </a:lnTo>
                  <a:lnTo>
                    <a:pt x="335" y="1909"/>
                  </a:lnTo>
                  <a:lnTo>
                    <a:pt x="323" y="1914"/>
                  </a:lnTo>
                  <a:lnTo>
                    <a:pt x="309" y="1902"/>
                  </a:lnTo>
                  <a:lnTo>
                    <a:pt x="255" y="1909"/>
                  </a:lnTo>
                  <a:lnTo>
                    <a:pt x="210" y="1885"/>
                  </a:lnTo>
                  <a:lnTo>
                    <a:pt x="189" y="1857"/>
                  </a:lnTo>
                  <a:lnTo>
                    <a:pt x="163" y="1848"/>
                  </a:lnTo>
                  <a:lnTo>
                    <a:pt x="158" y="1852"/>
                  </a:lnTo>
                  <a:lnTo>
                    <a:pt x="146" y="1848"/>
                  </a:lnTo>
                  <a:lnTo>
                    <a:pt x="141" y="1782"/>
                  </a:lnTo>
                  <a:lnTo>
                    <a:pt x="158" y="1791"/>
                  </a:lnTo>
                  <a:lnTo>
                    <a:pt x="172" y="1791"/>
                  </a:lnTo>
                  <a:lnTo>
                    <a:pt x="196" y="1765"/>
                  </a:lnTo>
                  <a:lnTo>
                    <a:pt x="189" y="1720"/>
                  </a:lnTo>
                  <a:lnTo>
                    <a:pt x="196" y="1704"/>
                  </a:lnTo>
                  <a:lnTo>
                    <a:pt x="189" y="1708"/>
                  </a:lnTo>
                  <a:lnTo>
                    <a:pt x="196" y="1725"/>
                  </a:lnTo>
                  <a:lnTo>
                    <a:pt x="196" y="1647"/>
                  </a:lnTo>
                  <a:lnTo>
                    <a:pt x="146" y="1543"/>
                  </a:lnTo>
                  <a:lnTo>
                    <a:pt x="141" y="1503"/>
                  </a:lnTo>
                  <a:lnTo>
                    <a:pt x="141" y="1465"/>
                  </a:lnTo>
                  <a:lnTo>
                    <a:pt x="134" y="1441"/>
                  </a:lnTo>
                  <a:lnTo>
                    <a:pt x="120" y="1408"/>
                  </a:lnTo>
                  <a:lnTo>
                    <a:pt x="108" y="1387"/>
                  </a:lnTo>
                  <a:lnTo>
                    <a:pt x="87" y="1354"/>
                  </a:lnTo>
                  <a:lnTo>
                    <a:pt x="87" y="1314"/>
                  </a:lnTo>
                  <a:lnTo>
                    <a:pt x="70" y="1281"/>
                  </a:lnTo>
                  <a:lnTo>
                    <a:pt x="16" y="1210"/>
                  </a:lnTo>
                  <a:lnTo>
                    <a:pt x="28" y="1193"/>
                  </a:lnTo>
                  <a:lnTo>
                    <a:pt x="28" y="1210"/>
                  </a:lnTo>
                  <a:lnTo>
                    <a:pt x="33" y="1203"/>
                  </a:lnTo>
                  <a:lnTo>
                    <a:pt x="37" y="1210"/>
                  </a:lnTo>
                  <a:lnTo>
                    <a:pt x="49" y="1243"/>
                  </a:lnTo>
                  <a:lnTo>
                    <a:pt x="66" y="1226"/>
                  </a:lnTo>
                  <a:lnTo>
                    <a:pt x="66" y="1210"/>
                  </a:lnTo>
                  <a:lnTo>
                    <a:pt x="37" y="1193"/>
                  </a:lnTo>
                  <a:lnTo>
                    <a:pt x="33" y="1170"/>
                  </a:lnTo>
                  <a:lnTo>
                    <a:pt x="37" y="1153"/>
                  </a:lnTo>
                  <a:lnTo>
                    <a:pt x="54" y="1182"/>
                  </a:lnTo>
                  <a:lnTo>
                    <a:pt x="54" y="1203"/>
                  </a:lnTo>
                  <a:lnTo>
                    <a:pt x="66" y="1193"/>
                  </a:lnTo>
                  <a:lnTo>
                    <a:pt x="82" y="1226"/>
                  </a:lnTo>
                  <a:lnTo>
                    <a:pt x="87" y="1210"/>
                  </a:lnTo>
                  <a:lnTo>
                    <a:pt x="87" y="1203"/>
                  </a:lnTo>
                  <a:lnTo>
                    <a:pt x="92" y="1182"/>
                  </a:lnTo>
                  <a:lnTo>
                    <a:pt x="54" y="1127"/>
                  </a:lnTo>
                  <a:lnTo>
                    <a:pt x="49" y="1094"/>
                  </a:lnTo>
                  <a:lnTo>
                    <a:pt x="33" y="1071"/>
                  </a:lnTo>
                  <a:lnTo>
                    <a:pt x="37" y="1021"/>
                  </a:lnTo>
                  <a:lnTo>
                    <a:pt x="54" y="1000"/>
                  </a:lnTo>
                  <a:lnTo>
                    <a:pt x="66" y="959"/>
                  </a:lnTo>
                  <a:lnTo>
                    <a:pt x="49" y="931"/>
                  </a:lnTo>
                  <a:lnTo>
                    <a:pt x="70" y="889"/>
                  </a:lnTo>
                  <a:lnTo>
                    <a:pt x="87" y="872"/>
                  </a:lnTo>
                  <a:lnTo>
                    <a:pt x="82" y="893"/>
                  </a:lnTo>
                  <a:lnTo>
                    <a:pt x="87" y="926"/>
                  </a:lnTo>
                  <a:lnTo>
                    <a:pt x="104" y="915"/>
                  </a:lnTo>
                  <a:lnTo>
                    <a:pt x="120" y="872"/>
                  </a:lnTo>
                  <a:lnTo>
                    <a:pt x="179" y="848"/>
                  </a:lnTo>
                  <a:lnTo>
                    <a:pt x="210" y="815"/>
                  </a:lnTo>
                  <a:lnTo>
                    <a:pt x="264" y="782"/>
                  </a:lnTo>
                  <a:lnTo>
                    <a:pt x="271" y="794"/>
                  </a:lnTo>
                  <a:lnTo>
                    <a:pt x="285" y="782"/>
                  </a:lnTo>
                  <a:lnTo>
                    <a:pt x="309" y="794"/>
                  </a:lnTo>
                  <a:lnTo>
                    <a:pt x="335" y="782"/>
                  </a:lnTo>
                  <a:lnTo>
                    <a:pt x="361" y="761"/>
                  </a:lnTo>
                  <a:lnTo>
                    <a:pt x="411" y="761"/>
                  </a:lnTo>
                  <a:lnTo>
                    <a:pt x="432" y="733"/>
                  </a:lnTo>
                  <a:lnTo>
                    <a:pt x="465" y="745"/>
                  </a:lnTo>
                  <a:lnTo>
                    <a:pt x="519" y="728"/>
                  </a:lnTo>
                  <a:lnTo>
                    <a:pt x="566" y="704"/>
                  </a:lnTo>
                  <a:lnTo>
                    <a:pt x="595" y="671"/>
                  </a:lnTo>
                  <a:lnTo>
                    <a:pt x="621" y="617"/>
                  </a:lnTo>
                  <a:lnTo>
                    <a:pt x="633" y="617"/>
                  </a:lnTo>
                  <a:lnTo>
                    <a:pt x="659" y="593"/>
                  </a:lnTo>
                  <a:lnTo>
                    <a:pt x="659" y="584"/>
                  </a:lnTo>
                  <a:lnTo>
                    <a:pt x="649" y="577"/>
                  </a:lnTo>
                  <a:lnTo>
                    <a:pt x="649" y="527"/>
                  </a:lnTo>
                  <a:lnTo>
                    <a:pt x="663" y="511"/>
                  </a:lnTo>
                  <a:lnTo>
                    <a:pt x="675" y="506"/>
                  </a:lnTo>
                  <a:lnTo>
                    <a:pt x="675" y="499"/>
                  </a:lnTo>
                  <a:lnTo>
                    <a:pt x="687" y="489"/>
                  </a:lnTo>
                  <a:lnTo>
                    <a:pt x="687" y="482"/>
                  </a:lnTo>
                  <a:lnTo>
                    <a:pt x="696" y="466"/>
                  </a:lnTo>
                  <a:lnTo>
                    <a:pt x="713" y="466"/>
                  </a:lnTo>
                  <a:lnTo>
                    <a:pt x="701" y="482"/>
                  </a:lnTo>
                  <a:lnTo>
                    <a:pt x="739" y="556"/>
                  </a:lnTo>
                  <a:lnTo>
                    <a:pt x="751" y="511"/>
                  </a:lnTo>
                  <a:lnTo>
                    <a:pt x="772" y="527"/>
                  </a:lnTo>
                  <a:lnTo>
                    <a:pt x="755" y="511"/>
                  </a:lnTo>
                  <a:lnTo>
                    <a:pt x="767" y="506"/>
                  </a:lnTo>
                  <a:lnTo>
                    <a:pt x="755" y="506"/>
                  </a:lnTo>
                  <a:lnTo>
                    <a:pt x="751" y="482"/>
                  </a:lnTo>
                  <a:lnTo>
                    <a:pt x="734" y="473"/>
                  </a:lnTo>
                  <a:lnTo>
                    <a:pt x="751" y="473"/>
                  </a:lnTo>
                  <a:lnTo>
                    <a:pt x="755" y="466"/>
                  </a:lnTo>
                  <a:lnTo>
                    <a:pt x="755" y="456"/>
                  </a:lnTo>
                  <a:lnTo>
                    <a:pt x="739" y="456"/>
                  </a:lnTo>
                  <a:lnTo>
                    <a:pt x="739" y="449"/>
                  </a:lnTo>
                  <a:lnTo>
                    <a:pt x="755" y="449"/>
                  </a:lnTo>
                  <a:lnTo>
                    <a:pt x="767" y="449"/>
                  </a:lnTo>
                  <a:lnTo>
                    <a:pt x="755" y="456"/>
                  </a:lnTo>
                  <a:lnTo>
                    <a:pt x="767" y="466"/>
                  </a:lnTo>
                  <a:lnTo>
                    <a:pt x="772" y="456"/>
                  </a:lnTo>
                  <a:lnTo>
                    <a:pt x="789" y="456"/>
                  </a:lnTo>
                  <a:lnTo>
                    <a:pt x="789" y="466"/>
                  </a:lnTo>
                  <a:lnTo>
                    <a:pt x="805" y="466"/>
                  </a:lnTo>
                  <a:lnTo>
                    <a:pt x="836" y="466"/>
                  </a:lnTo>
                  <a:lnTo>
                    <a:pt x="805" y="456"/>
                  </a:lnTo>
                  <a:lnTo>
                    <a:pt x="805" y="445"/>
                  </a:lnTo>
                  <a:lnTo>
                    <a:pt x="810" y="449"/>
                  </a:lnTo>
                  <a:lnTo>
                    <a:pt x="822" y="445"/>
                  </a:lnTo>
                  <a:lnTo>
                    <a:pt x="822" y="433"/>
                  </a:lnTo>
                  <a:lnTo>
                    <a:pt x="826" y="428"/>
                  </a:lnTo>
                  <a:lnTo>
                    <a:pt x="822" y="416"/>
                  </a:lnTo>
                  <a:lnTo>
                    <a:pt x="810" y="433"/>
                  </a:lnTo>
                  <a:lnTo>
                    <a:pt x="805" y="428"/>
                  </a:lnTo>
                  <a:lnTo>
                    <a:pt x="805" y="400"/>
                  </a:lnTo>
                  <a:lnTo>
                    <a:pt x="822" y="395"/>
                  </a:lnTo>
                  <a:lnTo>
                    <a:pt x="826" y="378"/>
                  </a:lnTo>
                  <a:lnTo>
                    <a:pt x="859" y="400"/>
                  </a:lnTo>
                  <a:lnTo>
                    <a:pt x="848" y="395"/>
                  </a:lnTo>
                  <a:lnTo>
                    <a:pt x="848" y="388"/>
                  </a:lnTo>
                  <a:lnTo>
                    <a:pt x="836" y="388"/>
                  </a:lnTo>
                  <a:lnTo>
                    <a:pt x="848" y="371"/>
                  </a:lnTo>
                  <a:lnTo>
                    <a:pt x="836" y="378"/>
                  </a:lnTo>
                  <a:lnTo>
                    <a:pt x="836" y="371"/>
                  </a:lnTo>
                  <a:lnTo>
                    <a:pt x="848" y="362"/>
                  </a:lnTo>
                  <a:lnTo>
                    <a:pt x="859" y="378"/>
                  </a:lnTo>
                  <a:lnTo>
                    <a:pt x="859" y="362"/>
                  </a:lnTo>
                  <a:lnTo>
                    <a:pt x="864" y="371"/>
                  </a:lnTo>
                  <a:lnTo>
                    <a:pt x="874" y="371"/>
                  </a:lnTo>
                  <a:lnTo>
                    <a:pt x="859" y="362"/>
                  </a:lnTo>
                  <a:lnTo>
                    <a:pt x="864" y="355"/>
                  </a:lnTo>
                  <a:lnTo>
                    <a:pt x="859" y="345"/>
                  </a:lnTo>
                  <a:lnTo>
                    <a:pt x="864" y="334"/>
                  </a:lnTo>
                  <a:lnTo>
                    <a:pt x="890" y="334"/>
                  </a:lnTo>
                  <a:lnTo>
                    <a:pt x="890" y="305"/>
                  </a:lnTo>
                  <a:lnTo>
                    <a:pt x="897" y="305"/>
                  </a:lnTo>
                  <a:lnTo>
                    <a:pt x="890" y="338"/>
                  </a:lnTo>
                  <a:lnTo>
                    <a:pt x="897" y="317"/>
                  </a:lnTo>
                  <a:lnTo>
                    <a:pt x="902" y="322"/>
                  </a:lnTo>
                  <a:lnTo>
                    <a:pt x="911" y="338"/>
                  </a:lnTo>
                  <a:lnTo>
                    <a:pt x="918" y="334"/>
                  </a:lnTo>
                  <a:lnTo>
                    <a:pt x="928" y="300"/>
                  </a:lnTo>
                  <a:lnTo>
                    <a:pt x="918" y="284"/>
                  </a:lnTo>
                  <a:lnTo>
                    <a:pt x="928" y="284"/>
                  </a:lnTo>
                  <a:lnTo>
                    <a:pt x="928" y="289"/>
                  </a:lnTo>
                  <a:lnTo>
                    <a:pt x="935" y="305"/>
                  </a:lnTo>
                  <a:lnTo>
                    <a:pt x="944" y="289"/>
                  </a:lnTo>
                  <a:lnTo>
                    <a:pt x="949" y="284"/>
                  </a:lnTo>
                  <a:lnTo>
                    <a:pt x="949" y="289"/>
                  </a:lnTo>
                  <a:lnTo>
                    <a:pt x="956" y="305"/>
                  </a:lnTo>
                  <a:lnTo>
                    <a:pt x="973" y="284"/>
                  </a:lnTo>
                  <a:lnTo>
                    <a:pt x="966" y="279"/>
                  </a:lnTo>
                  <a:lnTo>
                    <a:pt x="973" y="267"/>
                  </a:lnTo>
                  <a:lnTo>
                    <a:pt x="987" y="279"/>
                  </a:lnTo>
                  <a:lnTo>
                    <a:pt x="999" y="284"/>
                  </a:lnTo>
                  <a:lnTo>
                    <a:pt x="1011" y="284"/>
                  </a:lnTo>
                  <a:lnTo>
                    <a:pt x="1053" y="334"/>
                  </a:lnTo>
                  <a:lnTo>
                    <a:pt x="1063" y="338"/>
                  </a:lnTo>
                  <a:lnTo>
                    <a:pt x="1058" y="400"/>
                  </a:lnTo>
                  <a:lnTo>
                    <a:pt x="1063" y="378"/>
                  </a:lnTo>
                  <a:lnTo>
                    <a:pt x="1074" y="395"/>
                  </a:lnTo>
                  <a:lnTo>
                    <a:pt x="1063" y="371"/>
                  </a:lnTo>
                  <a:lnTo>
                    <a:pt x="1079" y="355"/>
                  </a:lnTo>
                  <a:lnTo>
                    <a:pt x="1079" y="362"/>
                  </a:lnTo>
                  <a:lnTo>
                    <a:pt x="1091" y="362"/>
                  </a:lnTo>
                  <a:lnTo>
                    <a:pt x="1079" y="345"/>
                  </a:lnTo>
                  <a:lnTo>
                    <a:pt x="1096" y="345"/>
                  </a:lnTo>
                  <a:lnTo>
                    <a:pt x="1133" y="355"/>
                  </a:lnTo>
                  <a:lnTo>
                    <a:pt x="1133" y="362"/>
                  </a:lnTo>
                  <a:lnTo>
                    <a:pt x="1133" y="378"/>
                  </a:lnTo>
                  <a:lnTo>
                    <a:pt x="1145" y="371"/>
                  </a:lnTo>
                  <a:lnTo>
                    <a:pt x="1145" y="355"/>
                  </a:lnTo>
                  <a:lnTo>
                    <a:pt x="1150" y="355"/>
                  </a:lnTo>
                  <a:lnTo>
                    <a:pt x="1171" y="378"/>
                  </a:lnTo>
                  <a:lnTo>
                    <a:pt x="1166" y="362"/>
                  </a:lnTo>
                  <a:lnTo>
                    <a:pt x="1171" y="345"/>
                  </a:lnTo>
                  <a:lnTo>
                    <a:pt x="1183" y="355"/>
                  </a:lnTo>
                  <a:lnTo>
                    <a:pt x="1188" y="345"/>
                  </a:lnTo>
                  <a:lnTo>
                    <a:pt x="1183" y="345"/>
                  </a:lnTo>
                  <a:lnTo>
                    <a:pt x="1171" y="345"/>
                  </a:lnTo>
                  <a:lnTo>
                    <a:pt x="1166" y="334"/>
                  </a:lnTo>
                  <a:lnTo>
                    <a:pt x="1183" y="334"/>
                  </a:lnTo>
                  <a:lnTo>
                    <a:pt x="1166" y="334"/>
                  </a:lnTo>
                  <a:lnTo>
                    <a:pt x="1150" y="322"/>
                  </a:lnTo>
                  <a:lnTo>
                    <a:pt x="1150" y="317"/>
                  </a:lnTo>
                  <a:lnTo>
                    <a:pt x="1162" y="300"/>
                  </a:lnTo>
                  <a:lnTo>
                    <a:pt x="1171" y="289"/>
                  </a:lnTo>
                  <a:lnTo>
                    <a:pt x="1188" y="251"/>
                  </a:lnTo>
                  <a:lnTo>
                    <a:pt x="1200" y="251"/>
                  </a:lnTo>
                  <a:lnTo>
                    <a:pt x="1214" y="234"/>
                  </a:lnTo>
                  <a:lnTo>
                    <a:pt x="1204" y="227"/>
                  </a:lnTo>
                  <a:lnTo>
                    <a:pt x="1204" y="211"/>
                  </a:lnTo>
                  <a:lnTo>
                    <a:pt x="1221" y="211"/>
                  </a:lnTo>
                  <a:lnTo>
                    <a:pt x="1221" y="189"/>
                  </a:lnTo>
                  <a:lnTo>
                    <a:pt x="1226" y="189"/>
                  </a:lnTo>
                  <a:lnTo>
                    <a:pt x="1242" y="194"/>
                  </a:lnTo>
                  <a:lnTo>
                    <a:pt x="1237" y="189"/>
                  </a:lnTo>
                  <a:lnTo>
                    <a:pt x="1237" y="173"/>
                  </a:lnTo>
                  <a:lnTo>
                    <a:pt x="1252" y="173"/>
                  </a:lnTo>
                  <a:lnTo>
                    <a:pt x="1259" y="189"/>
                  </a:lnTo>
                  <a:lnTo>
                    <a:pt x="1268" y="178"/>
                  </a:lnTo>
                  <a:lnTo>
                    <a:pt x="1252" y="173"/>
                  </a:lnTo>
                  <a:lnTo>
                    <a:pt x="1259" y="168"/>
                  </a:lnTo>
                  <a:lnTo>
                    <a:pt x="1268" y="173"/>
                  </a:lnTo>
                  <a:lnTo>
                    <a:pt x="1268" y="156"/>
                  </a:lnTo>
                  <a:lnTo>
                    <a:pt x="1296" y="168"/>
                  </a:lnTo>
                  <a:lnTo>
                    <a:pt x="1344" y="168"/>
                  </a:lnTo>
                  <a:lnTo>
                    <a:pt x="1360" y="156"/>
                  </a:lnTo>
                  <a:lnTo>
                    <a:pt x="1365" y="173"/>
                  </a:lnTo>
                  <a:lnTo>
                    <a:pt x="1365" y="156"/>
                  </a:lnTo>
                  <a:lnTo>
                    <a:pt x="1386" y="152"/>
                  </a:lnTo>
                  <a:lnTo>
                    <a:pt x="1381" y="152"/>
                  </a:lnTo>
                  <a:lnTo>
                    <a:pt x="1381" y="116"/>
                  </a:lnTo>
                  <a:lnTo>
                    <a:pt x="1365" y="100"/>
                  </a:lnTo>
                  <a:lnTo>
                    <a:pt x="1344" y="111"/>
                  </a:lnTo>
                  <a:lnTo>
                    <a:pt x="1334" y="95"/>
                  </a:lnTo>
                  <a:lnTo>
                    <a:pt x="1322" y="95"/>
                  </a:lnTo>
                  <a:lnTo>
                    <a:pt x="1334" y="78"/>
                  </a:lnTo>
                  <a:lnTo>
                    <a:pt x="1351" y="100"/>
                  </a:lnTo>
                  <a:lnTo>
                    <a:pt x="1351" y="95"/>
                  </a:lnTo>
                  <a:lnTo>
                    <a:pt x="1344" y="78"/>
                  </a:lnTo>
                  <a:lnTo>
                    <a:pt x="1360" y="78"/>
                  </a:lnTo>
                  <a:lnTo>
                    <a:pt x="1381" y="111"/>
                  </a:lnTo>
                  <a:lnTo>
                    <a:pt x="1398" y="95"/>
                  </a:lnTo>
                  <a:lnTo>
                    <a:pt x="1419" y="123"/>
                  </a:lnTo>
                  <a:lnTo>
                    <a:pt x="1431" y="116"/>
                  </a:lnTo>
                  <a:lnTo>
                    <a:pt x="1452" y="133"/>
                  </a:lnTo>
                  <a:lnTo>
                    <a:pt x="1469" y="123"/>
                  </a:lnTo>
                  <a:lnTo>
                    <a:pt x="1469" y="133"/>
                  </a:lnTo>
                  <a:lnTo>
                    <a:pt x="1474" y="133"/>
                  </a:lnTo>
                  <a:lnTo>
                    <a:pt x="1485" y="133"/>
                  </a:lnTo>
                  <a:lnTo>
                    <a:pt x="1490" y="152"/>
                  </a:lnTo>
                  <a:lnTo>
                    <a:pt x="1528" y="140"/>
                  </a:lnTo>
                  <a:lnTo>
                    <a:pt x="1537" y="152"/>
                  </a:lnTo>
                  <a:lnTo>
                    <a:pt x="1561" y="168"/>
                  </a:lnTo>
                  <a:lnTo>
                    <a:pt x="1566" y="152"/>
                  </a:lnTo>
                  <a:lnTo>
                    <a:pt x="1592" y="152"/>
                  </a:lnTo>
                  <a:lnTo>
                    <a:pt x="1592" y="140"/>
                  </a:lnTo>
                  <a:lnTo>
                    <a:pt x="1599" y="140"/>
                  </a:lnTo>
                  <a:lnTo>
                    <a:pt x="1613" y="123"/>
                  </a:lnTo>
                  <a:lnTo>
                    <a:pt x="1599" y="140"/>
                  </a:lnTo>
                  <a:lnTo>
                    <a:pt x="1599" y="152"/>
                  </a:lnTo>
                  <a:lnTo>
                    <a:pt x="1592" y="156"/>
                  </a:lnTo>
                  <a:lnTo>
                    <a:pt x="1599" y="168"/>
                  </a:lnTo>
                  <a:lnTo>
                    <a:pt x="1620" y="152"/>
                  </a:lnTo>
                  <a:lnTo>
                    <a:pt x="1613" y="156"/>
                  </a:lnTo>
                  <a:lnTo>
                    <a:pt x="1620" y="156"/>
                  </a:lnTo>
                  <a:lnTo>
                    <a:pt x="1613" y="173"/>
                  </a:lnTo>
                  <a:lnTo>
                    <a:pt x="1620" y="178"/>
                  </a:lnTo>
                  <a:lnTo>
                    <a:pt x="1637" y="173"/>
                  </a:lnTo>
                  <a:lnTo>
                    <a:pt x="1646" y="156"/>
                  </a:lnTo>
                  <a:lnTo>
                    <a:pt x="1629" y="156"/>
                  </a:lnTo>
                  <a:lnTo>
                    <a:pt x="1658" y="140"/>
                  </a:lnTo>
                  <a:lnTo>
                    <a:pt x="1658" y="168"/>
                  </a:lnTo>
                  <a:lnTo>
                    <a:pt x="1674" y="156"/>
                  </a:lnTo>
                  <a:lnTo>
                    <a:pt x="1684" y="173"/>
                  </a:lnTo>
                  <a:lnTo>
                    <a:pt x="1667" y="178"/>
                  </a:lnTo>
                  <a:lnTo>
                    <a:pt x="1658" y="206"/>
                  </a:lnTo>
                  <a:lnTo>
                    <a:pt x="1651" y="194"/>
                  </a:lnTo>
                  <a:lnTo>
                    <a:pt x="1651" y="222"/>
                  </a:lnTo>
                  <a:lnTo>
                    <a:pt x="1651" y="234"/>
                  </a:lnTo>
                  <a:lnTo>
                    <a:pt x="1646" y="234"/>
                  </a:lnTo>
                  <a:lnTo>
                    <a:pt x="1646" y="222"/>
                  </a:lnTo>
                  <a:lnTo>
                    <a:pt x="1629" y="234"/>
                  </a:lnTo>
                  <a:lnTo>
                    <a:pt x="1620" y="227"/>
                  </a:lnTo>
                  <a:lnTo>
                    <a:pt x="1613" y="234"/>
                  </a:lnTo>
                  <a:lnTo>
                    <a:pt x="1603" y="260"/>
                  </a:lnTo>
                  <a:lnTo>
                    <a:pt x="1603" y="267"/>
                  </a:lnTo>
                  <a:lnTo>
                    <a:pt x="1620" y="267"/>
                  </a:lnTo>
                  <a:lnTo>
                    <a:pt x="1603" y="305"/>
                  </a:lnTo>
                  <a:lnTo>
                    <a:pt x="1592" y="322"/>
                  </a:lnTo>
                  <a:lnTo>
                    <a:pt x="1582" y="338"/>
                  </a:lnTo>
                  <a:lnTo>
                    <a:pt x="1575" y="338"/>
                  </a:lnTo>
                  <a:lnTo>
                    <a:pt x="1575" y="355"/>
                  </a:lnTo>
                  <a:lnTo>
                    <a:pt x="1629" y="395"/>
                  </a:lnTo>
                  <a:lnTo>
                    <a:pt x="1637" y="400"/>
                  </a:lnTo>
                  <a:lnTo>
                    <a:pt x="1667" y="428"/>
                  </a:lnTo>
                  <a:lnTo>
                    <a:pt x="1689" y="428"/>
                  </a:lnTo>
                  <a:lnTo>
                    <a:pt x="1738" y="456"/>
                  </a:lnTo>
                  <a:lnTo>
                    <a:pt x="1764" y="489"/>
                  </a:lnTo>
                  <a:lnTo>
                    <a:pt x="1830" y="506"/>
                  </a:lnTo>
                  <a:lnTo>
                    <a:pt x="1847" y="539"/>
                  </a:lnTo>
                  <a:lnTo>
                    <a:pt x="1901" y="560"/>
                  </a:lnTo>
                  <a:lnTo>
                    <a:pt x="1927" y="560"/>
                  </a:lnTo>
                  <a:lnTo>
                    <a:pt x="1953" y="544"/>
                  </a:lnTo>
                  <a:lnTo>
                    <a:pt x="1960" y="511"/>
                  </a:lnTo>
                  <a:lnTo>
                    <a:pt x="1981" y="482"/>
                  </a:lnTo>
                  <a:lnTo>
                    <a:pt x="1998" y="445"/>
                  </a:lnTo>
                  <a:lnTo>
                    <a:pt x="1998" y="400"/>
                  </a:lnTo>
                  <a:lnTo>
                    <a:pt x="2012" y="362"/>
                  </a:lnTo>
                  <a:lnTo>
                    <a:pt x="2007" y="322"/>
                  </a:lnTo>
                  <a:lnTo>
                    <a:pt x="2007" y="300"/>
                  </a:lnTo>
                  <a:lnTo>
                    <a:pt x="1998" y="279"/>
                  </a:lnTo>
                  <a:lnTo>
                    <a:pt x="2012" y="234"/>
                  </a:lnTo>
                  <a:lnTo>
                    <a:pt x="2007" y="211"/>
                  </a:lnTo>
                  <a:lnTo>
                    <a:pt x="2024" y="194"/>
                  </a:lnTo>
                  <a:lnTo>
                    <a:pt x="2029" y="206"/>
                  </a:lnTo>
                  <a:lnTo>
                    <a:pt x="2024" y="178"/>
                  </a:lnTo>
                  <a:lnTo>
                    <a:pt x="2012" y="173"/>
                  </a:lnTo>
                  <a:lnTo>
                    <a:pt x="2012" y="178"/>
                  </a:lnTo>
                  <a:lnTo>
                    <a:pt x="2007" y="178"/>
                  </a:lnTo>
                  <a:lnTo>
                    <a:pt x="2029" y="140"/>
                  </a:lnTo>
                  <a:lnTo>
                    <a:pt x="2029" y="152"/>
                  </a:lnTo>
                  <a:lnTo>
                    <a:pt x="2036" y="152"/>
                  </a:lnTo>
                  <a:lnTo>
                    <a:pt x="2029" y="140"/>
                  </a:lnTo>
                  <a:lnTo>
                    <a:pt x="2045" y="95"/>
                  </a:lnTo>
                  <a:lnTo>
                    <a:pt x="2045" y="67"/>
                  </a:lnTo>
                  <a:lnTo>
                    <a:pt x="2062" y="62"/>
                  </a:lnTo>
                  <a:lnTo>
                    <a:pt x="2066" y="45"/>
                  </a:lnTo>
                  <a:lnTo>
                    <a:pt x="2078" y="57"/>
                  </a:lnTo>
                  <a:lnTo>
                    <a:pt x="2066" y="67"/>
                  </a:lnTo>
                  <a:lnTo>
                    <a:pt x="2078" y="62"/>
                  </a:lnTo>
                  <a:lnTo>
                    <a:pt x="2088" y="78"/>
                  </a:lnTo>
                  <a:lnTo>
                    <a:pt x="2100" y="133"/>
                  </a:lnTo>
                  <a:lnTo>
                    <a:pt x="2121" y="140"/>
                  </a:lnTo>
                  <a:lnTo>
                    <a:pt x="2116" y="168"/>
                  </a:lnTo>
                  <a:lnTo>
                    <a:pt x="2133" y="173"/>
                  </a:lnTo>
                  <a:lnTo>
                    <a:pt x="2133" y="178"/>
                  </a:lnTo>
                  <a:lnTo>
                    <a:pt x="2137" y="189"/>
                  </a:lnTo>
                  <a:lnTo>
                    <a:pt x="2133" y="206"/>
                  </a:lnTo>
                  <a:lnTo>
                    <a:pt x="2142" y="206"/>
                  </a:lnTo>
                  <a:lnTo>
                    <a:pt x="2142" y="251"/>
                  </a:lnTo>
                  <a:lnTo>
                    <a:pt x="2142" y="267"/>
                  </a:lnTo>
                  <a:lnTo>
                    <a:pt x="2159" y="322"/>
                  </a:lnTo>
                  <a:lnTo>
                    <a:pt x="2175" y="322"/>
                  </a:lnTo>
                  <a:lnTo>
                    <a:pt x="2213" y="300"/>
                  </a:lnTo>
                  <a:lnTo>
                    <a:pt x="2225" y="334"/>
                  </a:lnTo>
                  <a:lnTo>
                    <a:pt x="2239" y="334"/>
                  </a:lnTo>
                  <a:lnTo>
                    <a:pt x="2246" y="345"/>
                  </a:lnTo>
                  <a:lnTo>
                    <a:pt x="2267" y="355"/>
                  </a:lnTo>
                  <a:lnTo>
                    <a:pt x="2263" y="371"/>
                  </a:lnTo>
                  <a:lnTo>
                    <a:pt x="2263" y="395"/>
                  </a:lnTo>
                  <a:lnTo>
                    <a:pt x="2277" y="445"/>
                  </a:lnTo>
                  <a:lnTo>
                    <a:pt x="2277" y="473"/>
                  </a:lnTo>
                  <a:lnTo>
                    <a:pt x="2305" y="506"/>
                  </a:lnTo>
                  <a:lnTo>
                    <a:pt x="2315" y="506"/>
                  </a:lnTo>
                  <a:lnTo>
                    <a:pt x="2305" y="511"/>
                  </a:lnTo>
                  <a:lnTo>
                    <a:pt x="2322" y="560"/>
                  </a:lnTo>
                  <a:lnTo>
                    <a:pt x="2315" y="600"/>
                  </a:lnTo>
                  <a:lnTo>
                    <a:pt x="2338" y="622"/>
                  </a:lnTo>
                  <a:lnTo>
                    <a:pt x="2338" y="650"/>
                  </a:lnTo>
                  <a:lnTo>
                    <a:pt x="2352" y="671"/>
                  </a:lnTo>
                  <a:lnTo>
                    <a:pt x="2402" y="688"/>
                  </a:lnTo>
                  <a:lnTo>
                    <a:pt x="2414" y="688"/>
                  </a:lnTo>
                  <a:lnTo>
                    <a:pt x="2414" y="676"/>
                  </a:lnTo>
                  <a:lnTo>
                    <a:pt x="2428" y="721"/>
                  </a:lnTo>
                  <a:lnTo>
                    <a:pt x="2440" y="721"/>
                  </a:lnTo>
                  <a:lnTo>
                    <a:pt x="2440" y="711"/>
                  </a:lnTo>
                  <a:lnTo>
                    <a:pt x="2444" y="711"/>
                  </a:lnTo>
                  <a:lnTo>
                    <a:pt x="2444" y="728"/>
                  </a:lnTo>
                  <a:lnTo>
                    <a:pt x="2466" y="728"/>
                  </a:lnTo>
                  <a:lnTo>
                    <a:pt x="2482" y="749"/>
                  </a:lnTo>
                  <a:lnTo>
                    <a:pt x="2494" y="733"/>
                  </a:lnTo>
                  <a:lnTo>
                    <a:pt x="2515" y="749"/>
                  </a:lnTo>
                  <a:lnTo>
                    <a:pt x="2520" y="778"/>
                  </a:lnTo>
                  <a:lnTo>
                    <a:pt x="2515" y="766"/>
                  </a:lnTo>
                  <a:lnTo>
                    <a:pt x="2511" y="782"/>
                  </a:lnTo>
                  <a:lnTo>
                    <a:pt x="2515" y="799"/>
                  </a:lnTo>
                  <a:lnTo>
                    <a:pt x="2548" y="815"/>
                  </a:lnTo>
                  <a:lnTo>
                    <a:pt x="2548" y="832"/>
                  </a:lnTo>
                  <a:lnTo>
                    <a:pt x="2565" y="856"/>
                  </a:lnTo>
                  <a:lnTo>
                    <a:pt x="2565" y="893"/>
                  </a:lnTo>
                  <a:lnTo>
                    <a:pt x="2574" y="910"/>
                  </a:lnTo>
                  <a:lnTo>
                    <a:pt x="2574" y="926"/>
                  </a:lnTo>
                  <a:lnTo>
                    <a:pt x="2586" y="910"/>
                  </a:lnTo>
                  <a:lnTo>
                    <a:pt x="2603" y="931"/>
                  </a:lnTo>
                  <a:lnTo>
                    <a:pt x="2591" y="910"/>
                  </a:lnTo>
                  <a:lnTo>
                    <a:pt x="2603" y="893"/>
                  </a:lnTo>
                  <a:lnTo>
                    <a:pt x="2607" y="915"/>
                  </a:lnTo>
                  <a:lnTo>
                    <a:pt x="2638" y="926"/>
                  </a:lnTo>
                  <a:lnTo>
                    <a:pt x="2638" y="910"/>
                  </a:lnTo>
                  <a:lnTo>
                    <a:pt x="2655" y="943"/>
                  </a:lnTo>
                  <a:lnTo>
                    <a:pt x="2655" y="971"/>
                  </a:lnTo>
                  <a:lnTo>
                    <a:pt x="2662" y="1000"/>
                  </a:lnTo>
                  <a:lnTo>
                    <a:pt x="2671" y="1004"/>
                  </a:lnTo>
                  <a:lnTo>
                    <a:pt x="2676" y="1021"/>
                  </a:lnTo>
                  <a:lnTo>
                    <a:pt x="2709" y="1042"/>
                  </a:lnTo>
                  <a:lnTo>
                    <a:pt x="2714" y="1037"/>
                  </a:lnTo>
                  <a:lnTo>
                    <a:pt x="2730" y="1054"/>
                  </a:lnTo>
                  <a:lnTo>
                    <a:pt x="2747" y="1082"/>
                  </a:lnTo>
                  <a:lnTo>
                    <a:pt x="2768" y="1099"/>
                  </a:lnTo>
                  <a:lnTo>
                    <a:pt x="2785" y="1132"/>
                  </a:lnTo>
                  <a:lnTo>
                    <a:pt x="2801" y="1137"/>
                  </a:lnTo>
                  <a:lnTo>
                    <a:pt x="2801" y="1170"/>
                  </a:lnTo>
                  <a:lnTo>
                    <a:pt x="2822" y="1186"/>
                  </a:lnTo>
                  <a:lnTo>
                    <a:pt x="2818" y="1210"/>
                  </a:lnTo>
                  <a:lnTo>
                    <a:pt x="2818" y="1276"/>
                  </a:lnTo>
                  <a:lnTo>
                    <a:pt x="2806" y="1281"/>
                  </a:lnTo>
                  <a:lnTo>
                    <a:pt x="2806" y="1293"/>
                  </a:lnTo>
                  <a:lnTo>
                    <a:pt x="2822" y="1304"/>
                  </a:lnTo>
                  <a:lnTo>
                    <a:pt x="2851" y="1370"/>
                  </a:lnTo>
                  <a:lnTo>
                    <a:pt x="2851" y="1408"/>
                  </a:lnTo>
                  <a:lnTo>
                    <a:pt x="2834" y="1448"/>
                  </a:lnTo>
                  <a:lnTo>
                    <a:pt x="2822" y="1498"/>
                  </a:lnTo>
                  <a:lnTo>
                    <a:pt x="2806" y="1543"/>
                  </a:lnTo>
                  <a:lnTo>
                    <a:pt x="2818" y="1576"/>
                  </a:lnTo>
                  <a:lnTo>
                    <a:pt x="2801" y="1630"/>
                  </a:lnTo>
                  <a:lnTo>
                    <a:pt x="2780" y="1670"/>
                  </a:lnTo>
                  <a:lnTo>
                    <a:pt x="2780" y="1692"/>
                  </a:lnTo>
                  <a:lnTo>
                    <a:pt x="2747" y="1720"/>
                  </a:lnTo>
                  <a:lnTo>
                    <a:pt x="2747" y="1725"/>
                  </a:lnTo>
                  <a:lnTo>
                    <a:pt x="2726" y="1737"/>
                  </a:lnTo>
                  <a:lnTo>
                    <a:pt x="2709" y="1765"/>
                  </a:lnTo>
                  <a:lnTo>
                    <a:pt x="2700" y="1765"/>
                  </a:lnTo>
                  <a:lnTo>
                    <a:pt x="2700" y="1774"/>
                  </a:lnTo>
                  <a:lnTo>
                    <a:pt x="2692" y="1791"/>
                  </a:lnTo>
                  <a:lnTo>
                    <a:pt x="2688" y="1819"/>
                  </a:lnTo>
                  <a:lnTo>
                    <a:pt x="2676" y="1819"/>
                  </a:lnTo>
                  <a:lnTo>
                    <a:pt x="2688" y="1831"/>
                  </a:lnTo>
                  <a:lnTo>
                    <a:pt x="2662" y="1848"/>
                  </a:lnTo>
                  <a:lnTo>
                    <a:pt x="2655" y="1885"/>
                  </a:lnTo>
                  <a:lnTo>
                    <a:pt x="2645" y="1893"/>
                  </a:lnTo>
                  <a:lnTo>
                    <a:pt x="2655" y="1909"/>
                  </a:lnTo>
                  <a:lnTo>
                    <a:pt x="2645" y="1909"/>
                  </a:lnTo>
                  <a:lnTo>
                    <a:pt x="2645" y="1914"/>
                  </a:lnTo>
                  <a:lnTo>
                    <a:pt x="2638" y="1926"/>
                  </a:lnTo>
                  <a:lnTo>
                    <a:pt x="2607" y="1980"/>
                  </a:lnTo>
                  <a:lnTo>
                    <a:pt x="2607" y="2013"/>
                  </a:lnTo>
                  <a:lnTo>
                    <a:pt x="2591" y="2058"/>
                  </a:lnTo>
                  <a:lnTo>
                    <a:pt x="2603" y="2079"/>
                  </a:lnTo>
                  <a:lnTo>
                    <a:pt x="2591" y="2091"/>
                  </a:lnTo>
                  <a:lnTo>
                    <a:pt x="2591" y="2107"/>
                  </a:lnTo>
                  <a:lnTo>
                    <a:pt x="2565" y="2129"/>
                  </a:lnTo>
                  <a:lnTo>
                    <a:pt x="2477" y="2136"/>
                  </a:lnTo>
                  <a:lnTo>
                    <a:pt x="2440" y="2145"/>
                  </a:lnTo>
                  <a:lnTo>
                    <a:pt x="2376" y="2202"/>
                  </a:lnTo>
                  <a:lnTo>
                    <a:pt x="2331" y="2207"/>
                  </a:lnTo>
                  <a:lnTo>
                    <a:pt x="2338" y="2223"/>
                  </a:lnTo>
                  <a:lnTo>
                    <a:pt x="2352" y="2219"/>
                  </a:lnTo>
                  <a:lnTo>
                    <a:pt x="2352" y="2240"/>
                  </a:lnTo>
                  <a:lnTo>
                    <a:pt x="2348" y="2247"/>
                  </a:lnTo>
                  <a:lnTo>
                    <a:pt x="2348" y="2247"/>
                  </a:lnTo>
                  <a:lnTo>
                    <a:pt x="2348" y="2247"/>
                  </a:lnTo>
                  <a:close/>
                  <a:moveTo>
                    <a:pt x="1651" y="100"/>
                  </a:moveTo>
                  <a:lnTo>
                    <a:pt x="1667" y="67"/>
                  </a:lnTo>
                  <a:lnTo>
                    <a:pt x="1667" y="83"/>
                  </a:lnTo>
                  <a:lnTo>
                    <a:pt x="1651" y="100"/>
                  </a:lnTo>
                  <a:lnTo>
                    <a:pt x="1651" y="100"/>
                  </a:lnTo>
                  <a:lnTo>
                    <a:pt x="1651" y="100"/>
                  </a:lnTo>
                  <a:close/>
                  <a:moveTo>
                    <a:pt x="1377" y="95"/>
                  </a:moveTo>
                  <a:lnTo>
                    <a:pt x="1377" y="67"/>
                  </a:lnTo>
                  <a:lnTo>
                    <a:pt x="1377" y="95"/>
                  </a:lnTo>
                  <a:lnTo>
                    <a:pt x="1377" y="95"/>
                  </a:lnTo>
                  <a:lnTo>
                    <a:pt x="1377" y="95"/>
                  </a:lnTo>
                  <a:close/>
                  <a:moveTo>
                    <a:pt x="1268" y="140"/>
                  </a:moveTo>
                  <a:lnTo>
                    <a:pt x="1226" y="116"/>
                  </a:lnTo>
                  <a:lnTo>
                    <a:pt x="1221" y="83"/>
                  </a:lnTo>
                  <a:lnTo>
                    <a:pt x="1242" y="100"/>
                  </a:lnTo>
                  <a:lnTo>
                    <a:pt x="1275" y="83"/>
                  </a:lnTo>
                  <a:lnTo>
                    <a:pt x="1280" y="100"/>
                  </a:lnTo>
                  <a:lnTo>
                    <a:pt x="1280" y="83"/>
                  </a:lnTo>
                  <a:lnTo>
                    <a:pt x="1306" y="100"/>
                  </a:lnTo>
                  <a:lnTo>
                    <a:pt x="1289" y="123"/>
                  </a:lnTo>
                  <a:lnTo>
                    <a:pt x="1268" y="140"/>
                  </a:lnTo>
                  <a:lnTo>
                    <a:pt x="1268" y="140"/>
                  </a:lnTo>
                  <a:lnTo>
                    <a:pt x="1268" y="140"/>
                  </a:lnTo>
                  <a:close/>
                  <a:moveTo>
                    <a:pt x="1226" y="133"/>
                  </a:moveTo>
                  <a:lnTo>
                    <a:pt x="1200" y="123"/>
                  </a:lnTo>
                  <a:lnTo>
                    <a:pt x="1204" y="116"/>
                  </a:lnTo>
                  <a:lnTo>
                    <a:pt x="1214" y="116"/>
                  </a:lnTo>
                  <a:lnTo>
                    <a:pt x="1214" y="95"/>
                  </a:lnTo>
                  <a:lnTo>
                    <a:pt x="1221" y="95"/>
                  </a:lnTo>
                  <a:lnTo>
                    <a:pt x="1226" y="116"/>
                  </a:lnTo>
                  <a:lnTo>
                    <a:pt x="1242" y="123"/>
                  </a:lnTo>
                  <a:lnTo>
                    <a:pt x="1226" y="133"/>
                  </a:lnTo>
                  <a:lnTo>
                    <a:pt x="1226" y="133"/>
                  </a:lnTo>
                  <a:lnTo>
                    <a:pt x="1226" y="133"/>
                  </a:lnTo>
                  <a:close/>
                  <a:moveTo>
                    <a:pt x="1377" y="123"/>
                  </a:moveTo>
                  <a:lnTo>
                    <a:pt x="1377" y="116"/>
                  </a:lnTo>
                  <a:lnTo>
                    <a:pt x="1381" y="116"/>
                  </a:lnTo>
                  <a:lnTo>
                    <a:pt x="1377" y="123"/>
                  </a:lnTo>
                  <a:lnTo>
                    <a:pt x="1377" y="123"/>
                  </a:lnTo>
                  <a:lnTo>
                    <a:pt x="1377" y="123"/>
                  </a:lnTo>
                  <a:close/>
                  <a:moveTo>
                    <a:pt x="1613" y="123"/>
                  </a:moveTo>
                  <a:lnTo>
                    <a:pt x="1613" y="116"/>
                  </a:lnTo>
                  <a:lnTo>
                    <a:pt x="1620" y="116"/>
                  </a:lnTo>
                  <a:lnTo>
                    <a:pt x="1613" y="123"/>
                  </a:lnTo>
                  <a:lnTo>
                    <a:pt x="1613" y="123"/>
                  </a:lnTo>
                  <a:lnTo>
                    <a:pt x="1613" y="123"/>
                  </a:lnTo>
                  <a:close/>
                  <a:moveTo>
                    <a:pt x="1684" y="300"/>
                  </a:moveTo>
                  <a:lnTo>
                    <a:pt x="1674" y="305"/>
                  </a:lnTo>
                  <a:lnTo>
                    <a:pt x="1646" y="305"/>
                  </a:lnTo>
                  <a:lnTo>
                    <a:pt x="1651" y="279"/>
                  </a:lnTo>
                  <a:lnTo>
                    <a:pt x="1658" y="279"/>
                  </a:lnTo>
                  <a:lnTo>
                    <a:pt x="1667" y="267"/>
                  </a:lnTo>
                  <a:lnTo>
                    <a:pt x="1667" y="279"/>
                  </a:lnTo>
                  <a:lnTo>
                    <a:pt x="1674" y="279"/>
                  </a:lnTo>
                  <a:lnTo>
                    <a:pt x="1674" y="267"/>
                  </a:lnTo>
                  <a:lnTo>
                    <a:pt x="1684" y="279"/>
                  </a:lnTo>
                  <a:lnTo>
                    <a:pt x="1667" y="284"/>
                  </a:lnTo>
                  <a:lnTo>
                    <a:pt x="1667" y="300"/>
                  </a:lnTo>
                  <a:lnTo>
                    <a:pt x="1684" y="300"/>
                  </a:lnTo>
                  <a:lnTo>
                    <a:pt x="1684" y="300"/>
                  </a:lnTo>
                  <a:lnTo>
                    <a:pt x="1684" y="300"/>
                  </a:lnTo>
                  <a:close/>
                  <a:moveTo>
                    <a:pt x="1629" y="279"/>
                  </a:moveTo>
                  <a:lnTo>
                    <a:pt x="1620" y="279"/>
                  </a:lnTo>
                  <a:lnTo>
                    <a:pt x="1629" y="267"/>
                  </a:lnTo>
                  <a:lnTo>
                    <a:pt x="1637" y="267"/>
                  </a:lnTo>
                  <a:lnTo>
                    <a:pt x="1629" y="279"/>
                  </a:lnTo>
                  <a:lnTo>
                    <a:pt x="1629" y="279"/>
                  </a:lnTo>
                  <a:lnTo>
                    <a:pt x="1629" y="279"/>
                  </a:lnTo>
                  <a:close/>
                  <a:moveTo>
                    <a:pt x="859" y="338"/>
                  </a:moveTo>
                  <a:lnTo>
                    <a:pt x="848" y="334"/>
                  </a:lnTo>
                  <a:lnTo>
                    <a:pt x="859" y="322"/>
                  </a:lnTo>
                  <a:lnTo>
                    <a:pt x="859" y="338"/>
                  </a:lnTo>
                  <a:lnTo>
                    <a:pt x="859" y="338"/>
                  </a:lnTo>
                  <a:lnTo>
                    <a:pt x="859" y="338"/>
                  </a:lnTo>
                  <a:close/>
                  <a:moveTo>
                    <a:pt x="810" y="395"/>
                  </a:moveTo>
                  <a:lnTo>
                    <a:pt x="805" y="388"/>
                  </a:lnTo>
                  <a:lnTo>
                    <a:pt x="810" y="378"/>
                  </a:lnTo>
                  <a:lnTo>
                    <a:pt x="822" y="395"/>
                  </a:lnTo>
                  <a:lnTo>
                    <a:pt x="810" y="395"/>
                  </a:lnTo>
                  <a:lnTo>
                    <a:pt x="810" y="395"/>
                  </a:lnTo>
                  <a:lnTo>
                    <a:pt x="810" y="395"/>
                  </a:lnTo>
                  <a:close/>
                  <a:moveTo>
                    <a:pt x="1651" y="411"/>
                  </a:moveTo>
                  <a:lnTo>
                    <a:pt x="1651" y="400"/>
                  </a:lnTo>
                  <a:lnTo>
                    <a:pt x="1658" y="400"/>
                  </a:lnTo>
                  <a:lnTo>
                    <a:pt x="1651" y="411"/>
                  </a:lnTo>
                  <a:lnTo>
                    <a:pt x="1651" y="411"/>
                  </a:lnTo>
                  <a:lnTo>
                    <a:pt x="1651" y="411"/>
                  </a:lnTo>
                  <a:close/>
                  <a:moveTo>
                    <a:pt x="1689" y="428"/>
                  </a:moveTo>
                  <a:lnTo>
                    <a:pt x="1684" y="411"/>
                  </a:lnTo>
                  <a:lnTo>
                    <a:pt x="1689" y="400"/>
                  </a:lnTo>
                  <a:lnTo>
                    <a:pt x="1689" y="428"/>
                  </a:lnTo>
                  <a:lnTo>
                    <a:pt x="1689" y="428"/>
                  </a:lnTo>
                  <a:lnTo>
                    <a:pt x="1689" y="428"/>
                  </a:lnTo>
                  <a:close/>
                  <a:moveTo>
                    <a:pt x="1667" y="416"/>
                  </a:moveTo>
                  <a:lnTo>
                    <a:pt x="1667" y="411"/>
                  </a:lnTo>
                  <a:lnTo>
                    <a:pt x="1674" y="411"/>
                  </a:lnTo>
                  <a:lnTo>
                    <a:pt x="1667" y="416"/>
                  </a:lnTo>
                  <a:lnTo>
                    <a:pt x="1667" y="416"/>
                  </a:lnTo>
                  <a:lnTo>
                    <a:pt x="1667" y="416"/>
                  </a:lnTo>
                  <a:close/>
                  <a:moveTo>
                    <a:pt x="1835" y="489"/>
                  </a:moveTo>
                  <a:lnTo>
                    <a:pt x="1835" y="482"/>
                  </a:lnTo>
                  <a:lnTo>
                    <a:pt x="1847" y="473"/>
                  </a:lnTo>
                  <a:lnTo>
                    <a:pt x="1873" y="466"/>
                  </a:lnTo>
                  <a:lnTo>
                    <a:pt x="1873" y="473"/>
                  </a:lnTo>
                  <a:lnTo>
                    <a:pt x="1863" y="473"/>
                  </a:lnTo>
                  <a:lnTo>
                    <a:pt x="1863" y="489"/>
                  </a:lnTo>
                  <a:lnTo>
                    <a:pt x="1835" y="489"/>
                  </a:lnTo>
                  <a:lnTo>
                    <a:pt x="1835" y="489"/>
                  </a:lnTo>
                  <a:lnTo>
                    <a:pt x="1835" y="489"/>
                  </a:lnTo>
                  <a:close/>
                  <a:moveTo>
                    <a:pt x="1863" y="522"/>
                  </a:moveTo>
                  <a:lnTo>
                    <a:pt x="1852" y="511"/>
                  </a:lnTo>
                  <a:lnTo>
                    <a:pt x="1868" y="511"/>
                  </a:lnTo>
                  <a:lnTo>
                    <a:pt x="1868" y="522"/>
                  </a:lnTo>
                  <a:lnTo>
                    <a:pt x="1863" y="522"/>
                  </a:lnTo>
                  <a:lnTo>
                    <a:pt x="1863" y="522"/>
                  </a:lnTo>
                  <a:lnTo>
                    <a:pt x="1863" y="522"/>
                  </a:lnTo>
                  <a:close/>
                  <a:moveTo>
                    <a:pt x="2338" y="622"/>
                  </a:moveTo>
                  <a:lnTo>
                    <a:pt x="2322" y="600"/>
                  </a:lnTo>
                  <a:lnTo>
                    <a:pt x="2338" y="610"/>
                  </a:lnTo>
                  <a:lnTo>
                    <a:pt x="2348" y="617"/>
                  </a:lnTo>
                  <a:lnTo>
                    <a:pt x="2338" y="622"/>
                  </a:lnTo>
                  <a:lnTo>
                    <a:pt x="2338" y="622"/>
                  </a:lnTo>
                  <a:lnTo>
                    <a:pt x="2338" y="622"/>
                  </a:lnTo>
                  <a:close/>
                  <a:moveTo>
                    <a:pt x="2376" y="671"/>
                  </a:moveTo>
                  <a:lnTo>
                    <a:pt x="2369" y="671"/>
                  </a:lnTo>
                  <a:lnTo>
                    <a:pt x="2376" y="667"/>
                  </a:lnTo>
                  <a:lnTo>
                    <a:pt x="2376" y="671"/>
                  </a:lnTo>
                  <a:lnTo>
                    <a:pt x="2376" y="671"/>
                  </a:lnTo>
                  <a:lnTo>
                    <a:pt x="2376" y="671"/>
                  </a:lnTo>
                  <a:close/>
                  <a:moveTo>
                    <a:pt x="2520" y="749"/>
                  </a:moveTo>
                  <a:lnTo>
                    <a:pt x="2515" y="745"/>
                  </a:lnTo>
                  <a:lnTo>
                    <a:pt x="2520" y="733"/>
                  </a:lnTo>
                  <a:lnTo>
                    <a:pt x="2520" y="749"/>
                  </a:lnTo>
                  <a:lnTo>
                    <a:pt x="2520" y="749"/>
                  </a:lnTo>
                  <a:lnTo>
                    <a:pt x="2520" y="749"/>
                  </a:lnTo>
                  <a:close/>
                  <a:moveTo>
                    <a:pt x="2520" y="761"/>
                  </a:moveTo>
                  <a:lnTo>
                    <a:pt x="2520" y="745"/>
                  </a:lnTo>
                  <a:lnTo>
                    <a:pt x="2532" y="749"/>
                  </a:lnTo>
                  <a:lnTo>
                    <a:pt x="2520" y="761"/>
                  </a:lnTo>
                  <a:lnTo>
                    <a:pt x="2520" y="761"/>
                  </a:lnTo>
                  <a:lnTo>
                    <a:pt x="2520" y="761"/>
                  </a:lnTo>
                  <a:close/>
                  <a:moveTo>
                    <a:pt x="172" y="799"/>
                  </a:moveTo>
                  <a:lnTo>
                    <a:pt x="163" y="799"/>
                  </a:lnTo>
                  <a:lnTo>
                    <a:pt x="179" y="782"/>
                  </a:lnTo>
                  <a:lnTo>
                    <a:pt x="172" y="799"/>
                  </a:lnTo>
                  <a:lnTo>
                    <a:pt x="172" y="799"/>
                  </a:lnTo>
                  <a:lnTo>
                    <a:pt x="172" y="799"/>
                  </a:lnTo>
                  <a:close/>
                  <a:moveTo>
                    <a:pt x="2629" y="910"/>
                  </a:moveTo>
                  <a:lnTo>
                    <a:pt x="2629" y="905"/>
                  </a:lnTo>
                  <a:lnTo>
                    <a:pt x="2638" y="910"/>
                  </a:lnTo>
                  <a:lnTo>
                    <a:pt x="2629" y="910"/>
                  </a:lnTo>
                  <a:lnTo>
                    <a:pt x="2629" y="910"/>
                  </a:lnTo>
                  <a:lnTo>
                    <a:pt x="2629" y="910"/>
                  </a:lnTo>
                  <a:close/>
                  <a:moveTo>
                    <a:pt x="2688" y="1021"/>
                  </a:moveTo>
                  <a:lnTo>
                    <a:pt x="2671" y="1000"/>
                  </a:lnTo>
                  <a:lnTo>
                    <a:pt x="2688" y="1004"/>
                  </a:lnTo>
                  <a:lnTo>
                    <a:pt x="2692" y="1021"/>
                  </a:lnTo>
                  <a:lnTo>
                    <a:pt x="2688" y="1021"/>
                  </a:lnTo>
                  <a:lnTo>
                    <a:pt x="2688" y="1021"/>
                  </a:lnTo>
                  <a:lnTo>
                    <a:pt x="2688" y="1021"/>
                  </a:lnTo>
                  <a:close/>
                  <a:moveTo>
                    <a:pt x="2818" y="1170"/>
                  </a:moveTo>
                  <a:lnTo>
                    <a:pt x="2801" y="1153"/>
                  </a:lnTo>
                  <a:lnTo>
                    <a:pt x="2806" y="1132"/>
                  </a:lnTo>
                  <a:lnTo>
                    <a:pt x="2822" y="1115"/>
                  </a:lnTo>
                  <a:lnTo>
                    <a:pt x="2818" y="1099"/>
                  </a:lnTo>
                  <a:lnTo>
                    <a:pt x="2822" y="1094"/>
                  </a:lnTo>
                  <a:lnTo>
                    <a:pt x="2834" y="1115"/>
                  </a:lnTo>
                  <a:lnTo>
                    <a:pt x="2818" y="1170"/>
                  </a:lnTo>
                  <a:lnTo>
                    <a:pt x="2818" y="1170"/>
                  </a:lnTo>
                  <a:lnTo>
                    <a:pt x="2818" y="1170"/>
                  </a:lnTo>
                  <a:close/>
                  <a:moveTo>
                    <a:pt x="16" y="1203"/>
                  </a:moveTo>
                  <a:lnTo>
                    <a:pt x="0" y="1170"/>
                  </a:lnTo>
                  <a:lnTo>
                    <a:pt x="0" y="1148"/>
                  </a:lnTo>
                  <a:lnTo>
                    <a:pt x="16" y="1203"/>
                  </a:lnTo>
                  <a:lnTo>
                    <a:pt x="16" y="1203"/>
                  </a:lnTo>
                  <a:lnTo>
                    <a:pt x="16" y="1203"/>
                  </a:lnTo>
                  <a:close/>
                  <a:moveTo>
                    <a:pt x="2839" y="1297"/>
                  </a:moveTo>
                  <a:lnTo>
                    <a:pt x="2834" y="1276"/>
                  </a:lnTo>
                  <a:lnTo>
                    <a:pt x="2839" y="1264"/>
                  </a:lnTo>
                  <a:lnTo>
                    <a:pt x="2839" y="1297"/>
                  </a:lnTo>
                  <a:lnTo>
                    <a:pt x="2839" y="1297"/>
                  </a:lnTo>
                  <a:lnTo>
                    <a:pt x="2839" y="1297"/>
                  </a:lnTo>
                  <a:close/>
                  <a:moveTo>
                    <a:pt x="2839" y="1321"/>
                  </a:moveTo>
                  <a:lnTo>
                    <a:pt x="2839" y="1297"/>
                  </a:lnTo>
                  <a:lnTo>
                    <a:pt x="2851" y="1297"/>
                  </a:lnTo>
                  <a:lnTo>
                    <a:pt x="2839" y="1321"/>
                  </a:lnTo>
                  <a:lnTo>
                    <a:pt x="2839" y="1321"/>
                  </a:lnTo>
                  <a:lnTo>
                    <a:pt x="2839" y="1321"/>
                  </a:lnTo>
                  <a:close/>
                  <a:moveTo>
                    <a:pt x="1755" y="1963"/>
                  </a:moveTo>
                  <a:lnTo>
                    <a:pt x="1759" y="1963"/>
                  </a:lnTo>
                  <a:lnTo>
                    <a:pt x="1764" y="1968"/>
                  </a:lnTo>
                  <a:lnTo>
                    <a:pt x="1759" y="1980"/>
                  </a:lnTo>
                  <a:lnTo>
                    <a:pt x="1738" y="1968"/>
                  </a:lnTo>
                  <a:lnTo>
                    <a:pt x="1722" y="1996"/>
                  </a:lnTo>
                  <a:lnTo>
                    <a:pt x="1705" y="1980"/>
                  </a:lnTo>
                  <a:lnTo>
                    <a:pt x="1667" y="1985"/>
                  </a:lnTo>
                  <a:lnTo>
                    <a:pt x="1651" y="1980"/>
                  </a:lnTo>
                  <a:lnTo>
                    <a:pt x="1658" y="1963"/>
                  </a:lnTo>
                  <a:lnTo>
                    <a:pt x="1705" y="1947"/>
                  </a:lnTo>
                  <a:lnTo>
                    <a:pt x="1722" y="1959"/>
                  </a:lnTo>
                  <a:lnTo>
                    <a:pt x="1726" y="1963"/>
                  </a:lnTo>
                  <a:lnTo>
                    <a:pt x="1743" y="1968"/>
                  </a:lnTo>
                  <a:lnTo>
                    <a:pt x="1755" y="1963"/>
                  </a:lnTo>
                  <a:lnTo>
                    <a:pt x="1755" y="1963"/>
                  </a:lnTo>
                  <a:lnTo>
                    <a:pt x="1755" y="1963"/>
                  </a:lnTo>
                  <a:close/>
                  <a:moveTo>
                    <a:pt x="2267" y="2185"/>
                  </a:moveTo>
                  <a:lnTo>
                    <a:pt x="2267" y="2181"/>
                  </a:lnTo>
                  <a:lnTo>
                    <a:pt x="2284" y="2181"/>
                  </a:lnTo>
                  <a:lnTo>
                    <a:pt x="2267" y="2185"/>
                  </a:lnTo>
                  <a:lnTo>
                    <a:pt x="2267" y="2185"/>
                  </a:lnTo>
                  <a:lnTo>
                    <a:pt x="2267" y="2185"/>
                  </a:lnTo>
                  <a:close/>
                  <a:moveTo>
                    <a:pt x="2267" y="2202"/>
                  </a:moveTo>
                  <a:lnTo>
                    <a:pt x="2251" y="2190"/>
                  </a:lnTo>
                  <a:lnTo>
                    <a:pt x="2267" y="2185"/>
                  </a:lnTo>
                  <a:lnTo>
                    <a:pt x="2267" y="2202"/>
                  </a:lnTo>
                  <a:lnTo>
                    <a:pt x="2267" y="2202"/>
                  </a:lnTo>
                  <a:lnTo>
                    <a:pt x="2267" y="2202"/>
                  </a:lnTo>
                  <a:close/>
                  <a:moveTo>
                    <a:pt x="2352" y="2219"/>
                  </a:moveTo>
                  <a:lnTo>
                    <a:pt x="2359" y="2219"/>
                  </a:lnTo>
                  <a:lnTo>
                    <a:pt x="2352" y="2219"/>
                  </a:lnTo>
                  <a:lnTo>
                    <a:pt x="2352" y="2219"/>
                  </a:lnTo>
                  <a:lnTo>
                    <a:pt x="2352" y="2219"/>
                  </a:lnTo>
                  <a:close/>
                  <a:moveTo>
                    <a:pt x="2170" y="2330"/>
                  </a:moveTo>
                  <a:lnTo>
                    <a:pt x="2170" y="2301"/>
                  </a:lnTo>
                  <a:lnTo>
                    <a:pt x="2175" y="2280"/>
                  </a:lnTo>
                  <a:lnTo>
                    <a:pt x="2187" y="2289"/>
                  </a:lnTo>
                  <a:lnTo>
                    <a:pt x="2187" y="2313"/>
                  </a:lnTo>
                  <a:lnTo>
                    <a:pt x="2170" y="2330"/>
                  </a:lnTo>
                  <a:lnTo>
                    <a:pt x="2170" y="2330"/>
                  </a:lnTo>
                  <a:lnTo>
                    <a:pt x="2170" y="2330"/>
                  </a:lnTo>
                  <a:close/>
                  <a:moveTo>
                    <a:pt x="2466" y="2346"/>
                  </a:moveTo>
                  <a:lnTo>
                    <a:pt x="2440" y="2313"/>
                  </a:lnTo>
                  <a:lnTo>
                    <a:pt x="2444" y="2296"/>
                  </a:lnTo>
                  <a:lnTo>
                    <a:pt x="2456" y="2296"/>
                  </a:lnTo>
                  <a:lnTo>
                    <a:pt x="2477" y="2313"/>
                  </a:lnTo>
                  <a:lnTo>
                    <a:pt x="2477" y="2334"/>
                  </a:lnTo>
                  <a:lnTo>
                    <a:pt x="2466" y="2346"/>
                  </a:lnTo>
                  <a:lnTo>
                    <a:pt x="2466" y="2346"/>
                  </a:lnTo>
                  <a:lnTo>
                    <a:pt x="2466" y="2346"/>
                  </a:lnTo>
                  <a:close/>
                  <a:moveTo>
                    <a:pt x="2482" y="2363"/>
                  </a:moveTo>
                  <a:lnTo>
                    <a:pt x="2477" y="2351"/>
                  </a:lnTo>
                  <a:lnTo>
                    <a:pt x="2461" y="2363"/>
                  </a:lnTo>
                  <a:lnTo>
                    <a:pt x="2456" y="2351"/>
                  </a:lnTo>
                  <a:lnTo>
                    <a:pt x="2482" y="2346"/>
                  </a:lnTo>
                  <a:lnTo>
                    <a:pt x="2494" y="2351"/>
                  </a:lnTo>
                  <a:lnTo>
                    <a:pt x="2482" y="2363"/>
                  </a:lnTo>
                  <a:lnTo>
                    <a:pt x="2482" y="2363"/>
                  </a:lnTo>
                  <a:lnTo>
                    <a:pt x="2482" y="2363"/>
                  </a:lnTo>
                  <a:close/>
                  <a:moveTo>
                    <a:pt x="2239" y="2363"/>
                  </a:moveTo>
                  <a:lnTo>
                    <a:pt x="2239" y="2351"/>
                  </a:lnTo>
                  <a:lnTo>
                    <a:pt x="2246" y="2351"/>
                  </a:lnTo>
                  <a:lnTo>
                    <a:pt x="2239" y="2363"/>
                  </a:lnTo>
                  <a:lnTo>
                    <a:pt x="2239" y="2363"/>
                  </a:lnTo>
                  <a:lnTo>
                    <a:pt x="2239" y="2363"/>
                  </a:lnTo>
                  <a:close/>
                  <a:moveTo>
                    <a:pt x="2466" y="2367"/>
                  </a:moveTo>
                  <a:lnTo>
                    <a:pt x="2461" y="2367"/>
                  </a:lnTo>
                  <a:lnTo>
                    <a:pt x="2466" y="2363"/>
                  </a:lnTo>
                  <a:lnTo>
                    <a:pt x="2466" y="2367"/>
                  </a:lnTo>
                  <a:lnTo>
                    <a:pt x="2466" y="2367"/>
                  </a:lnTo>
                  <a:lnTo>
                    <a:pt x="2466" y="2367"/>
                  </a:lnTo>
                  <a:close/>
                  <a:moveTo>
                    <a:pt x="2239" y="2384"/>
                  </a:moveTo>
                  <a:lnTo>
                    <a:pt x="2246" y="2367"/>
                  </a:lnTo>
                  <a:lnTo>
                    <a:pt x="2246" y="2374"/>
                  </a:lnTo>
                  <a:lnTo>
                    <a:pt x="2239" y="2384"/>
                  </a:lnTo>
                  <a:lnTo>
                    <a:pt x="2239" y="2384"/>
                  </a:lnTo>
                  <a:lnTo>
                    <a:pt x="2239" y="2384"/>
                  </a:lnTo>
                  <a:close/>
                  <a:moveTo>
                    <a:pt x="2385" y="2630"/>
                  </a:moveTo>
                  <a:lnTo>
                    <a:pt x="2322" y="2622"/>
                  </a:lnTo>
                  <a:lnTo>
                    <a:pt x="2315" y="2613"/>
                  </a:lnTo>
                  <a:lnTo>
                    <a:pt x="2331" y="2613"/>
                  </a:lnTo>
                  <a:lnTo>
                    <a:pt x="2331" y="2606"/>
                  </a:lnTo>
                  <a:lnTo>
                    <a:pt x="2305" y="2606"/>
                  </a:lnTo>
                  <a:lnTo>
                    <a:pt x="2284" y="2573"/>
                  </a:lnTo>
                  <a:lnTo>
                    <a:pt x="2267" y="2540"/>
                  </a:lnTo>
                  <a:lnTo>
                    <a:pt x="2263" y="2511"/>
                  </a:lnTo>
                  <a:lnTo>
                    <a:pt x="2277" y="2528"/>
                  </a:lnTo>
                  <a:lnTo>
                    <a:pt x="2277" y="2535"/>
                  </a:lnTo>
                  <a:lnTo>
                    <a:pt x="2284" y="2518"/>
                  </a:lnTo>
                  <a:lnTo>
                    <a:pt x="2267" y="2502"/>
                  </a:lnTo>
                  <a:lnTo>
                    <a:pt x="2225" y="2424"/>
                  </a:lnTo>
                  <a:lnTo>
                    <a:pt x="2225" y="2400"/>
                  </a:lnTo>
                  <a:lnTo>
                    <a:pt x="2225" y="2384"/>
                  </a:lnTo>
                  <a:lnTo>
                    <a:pt x="2267" y="2384"/>
                  </a:lnTo>
                  <a:lnTo>
                    <a:pt x="2331" y="2417"/>
                  </a:lnTo>
                  <a:lnTo>
                    <a:pt x="2359" y="2424"/>
                  </a:lnTo>
                  <a:lnTo>
                    <a:pt x="2369" y="2407"/>
                  </a:lnTo>
                  <a:lnTo>
                    <a:pt x="2385" y="2417"/>
                  </a:lnTo>
                  <a:lnTo>
                    <a:pt x="2376" y="2407"/>
                  </a:lnTo>
                  <a:lnTo>
                    <a:pt x="2385" y="2400"/>
                  </a:lnTo>
                  <a:lnTo>
                    <a:pt x="2414" y="2407"/>
                  </a:lnTo>
                  <a:lnTo>
                    <a:pt x="2428" y="2391"/>
                  </a:lnTo>
                  <a:lnTo>
                    <a:pt x="2444" y="2391"/>
                  </a:lnTo>
                  <a:lnTo>
                    <a:pt x="2456" y="2384"/>
                  </a:lnTo>
                  <a:lnTo>
                    <a:pt x="2477" y="2400"/>
                  </a:lnTo>
                  <a:lnTo>
                    <a:pt x="2477" y="2474"/>
                  </a:lnTo>
                  <a:lnTo>
                    <a:pt x="2482" y="2511"/>
                  </a:lnTo>
                  <a:lnTo>
                    <a:pt x="2477" y="2511"/>
                  </a:lnTo>
                  <a:lnTo>
                    <a:pt x="2477" y="2502"/>
                  </a:lnTo>
                  <a:lnTo>
                    <a:pt x="2466" y="2485"/>
                  </a:lnTo>
                  <a:lnTo>
                    <a:pt x="2444" y="2568"/>
                  </a:lnTo>
                  <a:lnTo>
                    <a:pt x="2456" y="2568"/>
                  </a:lnTo>
                  <a:lnTo>
                    <a:pt x="2456" y="2596"/>
                  </a:lnTo>
                  <a:lnTo>
                    <a:pt x="2444" y="2589"/>
                  </a:lnTo>
                  <a:lnTo>
                    <a:pt x="2444" y="2596"/>
                  </a:lnTo>
                  <a:lnTo>
                    <a:pt x="2428" y="2585"/>
                  </a:lnTo>
                  <a:lnTo>
                    <a:pt x="2440" y="2573"/>
                  </a:lnTo>
                  <a:lnTo>
                    <a:pt x="2440" y="2585"/>
                  </a:lnTo>
                  <a:lnTo>
                    <a:pt x="2456" y="2585"/>
                  </a:lnTo>
                  <a:lnTo>
                    <a:pt x="2444" y="2573"/>
                  </a:lnTo>
                  <a:lnTo>
                    <a:pt x="2423" y="2568"/>
                  </a:lnTo>
                  <a:lnTo>
                    <a:pt x="2423" y="2573"/>
                  </a:lnTo>
                  <a:lnTo>
                    <a:pt x="2414" y="2585"/>
                  </a:lnTo>
                  <a:lnTo>
                    <a:pt x="2414" y="2568"/>
                  </a:lnTo>
                  <a:lnTo>
                    <a:pt x="2407" y="2568"/>
                  </a:lnTo>
                  <a:lnTo>
                    <a:pt x="2407" y="2596"/>
                  </a:lnTo>
                  <a:lnTo>
                    <a:pt x="2385" y="2589"/>
                  </a:lnTo>
                  <a:lnTo>
                    <a:pt x="2390" y="2606"/>
                  </a:lnTo>
                  <a:lnTo>
                    <a:pt x="2385" y="2630"/>
                  </a:lnTo>
                  <a:lnTo>
                    <a:pt x="2385" y="2630"/>
                  </a:lnTo>
                  <a:lnTo>
                    <a:pt x="2385" y="2630"/>
                  </a:lnTo>
                  <a:close/>
                  <a:moveTo>
                    <a:pt x="2461" y="2556"/>
                  </a:moveTo>
                  <a:lnTo>
                    <a:pt x="2461" y="2540"/>
                  </a:lnTo>
                  <a:lnTo>
                    <a:pt x="2466" y="2540"/>
                  </a:lnTo>
                  <a:lnTo>
                    <a:pt x="2466" y="2552"/>
                  </a:lnTo>
                  <a:lnTo>
                    <a:pt x="2461" y="2556"/>
                  </a:lnTo>
                  <a:lnTo>
                    <a:pt x="2461" y="2556"/>
                  </a:lnTo>
                  <a:lnTo>
                    <a:pt x="2461" y="2556"/>
                  </a:lnTo>
                  <a:close/>
                  <a:moveTo>
                    <a:pt x="2414" y="2596"/>
                  </a:moveTo>
                  <a:lnTo>
                    <a:pt x="2407" y="2589"/>
                  </a:lnTo>
                  <a:lnTo>
                    <a:pt x="2414" y="2585"/>
                  </a:lnTo>
                  <a:lnTo>
                    <a:pt x="2414" y="2596"/>
                  </a:lnTo>
                  <a:lnTo>
                    <a:pt x="2414" y="2596"/>
                  </a:lnTo>
                  <a:lnTo>
                    <a:pt x="2414" y="2596"/>
                  </a:lnTo>
                  <a:close/>
                  <a:moveTo>
                    <a:pt x="2407" y="2622"/>
                  </a:moveTo>
                  <a:lnTo>
                    <a:pt x="2390" y="2613"/>
                  </a:lnTo>
                  <a:lnTo>
                    <a:pt x="2407" y="2596"/>
                  </a:lnTo>
                  <a:lnTo>
                    <a:pt x="2414" y="2613"/>
                  </a:lnTo>
                  <a:lnTo>
                    <a:pt x="2407" y="2622"/>
                  </a:lnTo>
                  <a:lnTo>
                    <a:pt x="2407" y="2622"/>
                  </a:lnTo>
                  <a:lnTo>
                    <a:pt x="2407" y="2622"/>
                  </a:lnTo>
                  <a:close/>
                  <a:moveTo>
                    <a:pt x="3217" y="3666"/>
                  </a:moveTo>
                  <a:lnTo>
                    <a:pt x="3217" y="3659"/>
                  </a:lnTo>
                  <a:lnTo>
                    <a:pt x="3229" y="3643"/>
                  </a:lnTo>
                  <a:lnTo>
                    <a:pt x="3217" y="3666"/>
                  </a:lnTo>
                  <a:lnTo>
                    <a:pt x="3217" y="3666"/>
                  </a:lnTo>
                  <a:lnTo>
                    <a:pt x="3217" y="3666"/>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 name="Freeform 389">
              <a:extLst>
                <a:ext uri="{FF2B5EF4-FFF2-40B4-BE49-F238E27FC236}">
                  <a16:creationId xmlns:a16="http://schemas.microsoft.com/office/drawing/2014/main" id="{D3570BD5-8ABA-4241-8B6E-DF4E66296C6B}"/>
                </a:ext>
              </a:extLst>
            </p:cNvPr>
            <p:cNvSpPr>
              <a:spLocks/>
            </p:cNvSpPr>
            <p:nvPr/>
          </p:nvSpPr>
          <p:spPr bwMode="gray">
            <a:xfrm>
              <a:off x="13964109" y="2854969"/>
              <a:ext cx="173794" cy="79860"/>
            </a:xfrm>
            <a:custGeom>
              <a:avLst/>
              <a:gdLst>
                <a:gd name="T0" fmla="*/ 54 w 531"/>
                <a:gd name="T1" fmla="*/ 189 h 244"/>
                <a:gd name="T2" fmla="*/ 21 w 531"/>
                <a:gd name="T3" fmla="*/ 199 h 244"/>
                <a:gd name="T4" fmla="*/ 0 w 531"/>
                <a:gd name="T5" fmla="*/ 182 h 244"/>
                <a:gd name="T6" fmla="*/ 4 w 531"/>
                <a:gd name="T7" fmla="*/ 149 h 244"/>
                <a:gd name="T8" fmla="*/ 16 w 531"/>
                <a:gd name="T9" fmla="*/ 133 h 244"/>
                <a:gd name="T10" fmla="*/ 49 w 531"/>
                <a:gd name="T11" fmla="*/ 154 h 244"/>
                <a:gd name="T12" fmla="*/ 59 w 531"/>
                <a:gd name="T13" fmla="*/ 149 h 244"/>
                <a:gd name="T14" fmla="*/ 92 w 531"/>
                <a:gd name="T15" fmla="*/ 144 h 244"/>
                <a:gd name="T16" fmla="*/ 108 w 531"/>
                <a:gd name="T17" fmla="*/ 149 h 244"/>
                <a:gd name="T18" fmla="*/ 222 w 531"/>
                <a:gd name="T19" fmla="*/ 128 h 244"/>
                <a:gd name="T20" fmla="*/ 236 w 531"/>
                <a:gd name="T21" fmla="*/ 144 h 244"/>
                <a:gd name="T22" fmla="*/ 231 w 531"/>
                <a:gd name="T23" fmla="*/ 128 h 244"/>
                <a:gd name="T24" fmla="*/ 222 w 531"/>
                <a:gd name="T25" fmla="*/ 88 h 244"/>
                <a:gd name="T26" fmla="*/ 269 w 531"/>
                <a:gd name="T27" fmla="*/ 43 h 244"/>
                <a:gd name="T28" fmla="*/ 302 w 531"/>
                <a:gd name="T29" fmla="*/ 22 h 244"/>
                <a:gd name="T30" fmla="*/ 361 w 531"/>
                <a:gd name="T31" fmla="*/ 43 h 244"/>
                <a:gd name="T32" fmla="*/ 375 w 531"/>
                <a:gd name="T33" fmla="*/ 22 h 244"/>
                <a:gd name="T34" fmla="*/ 451 w 531"/>
                <a:gd name="T35" fmla="*/ 33 h 244"/>
                <a:gd name="T36" fmla="*/ 517 w 531"/>
                <a:gd name="T37" fmla="*/ 33 h 244"/>
                <a:gd name="T38" fmla="*/ 505 w 531"/>
                <a:gd name="T39" fmla="*/ 59 h 244"/>
                <a:gd name="T40" fmla="*/ 522 w 531"/>
                <a:gd name="T41" fmla="*/ 128 h 244"/>
                <a:gd name="T42" fmla="*/ 489 w 531"/>
                <a:gd name="T43" fmla="*/ 116 h 244"/>
                <a:gd name="T44" fmla="*/ 500 w 531"/>
                <a:gd name="T45" fmla="*/ 144 h 244"/>
                <a:gd name="T46" fmla="*/ 484 w 531"/>
                <a:gd name="T47" fmla="*/ 166 h 244"/>
                <a:gd name="T48" fmla="*/ 484 w 531"/>
                <a:gd name="T49" fmla="*/ 189 h 244"/>
                <a:gd name="T50" fmla="*/ 451 w 531"/>
                <a:gd name="T51" fmla="*/ 199 h 244"/>
                <a:gd name="T52" fmla="*/ 371 w 531"/>
                <a:gd name="T53" fmla="*/ 222 h 244"/>
                <a:gd name="T54" fmla="*/ 345 w 531"/>
                <a:gd name="T55" fmla="*/ 244 h 244"/>
                <a:gd name="T56" fmla="*/ 198 w 531"/>
                <a:gd name="T57" fmla="*/ 211 h 244"/>
                <a:gd name="T58" fmla="*/ 184 w 531"/>
                <a:gd name="T59" fmla="*/ 182 h 244"/>
                <a:gd name="T60" fmla="*/ 113 w 531"/>
                <a:gd name="T61" fmla="*/ 189 h 244"/>
                <a:gd name="T62" fmla="*/ 59 w 531"/>
                <a:gd name="T63" fmla="*/ 199 h 244"/>
                <a:gd name="T64" fmla="*/ 59 w 531"/>
                <a:gd name="T65" fmla="*/ 19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1" h="244">
                  <a:moveTo>
                    <a:pt x="59" y="199"/>
                  </a:moveTo>
                  <a:lnTo>
                    <a:pt x="54" y="189"/>
                  </a:lnTo>
                  <a:lnTo>
                    <a:pt x="37" y="206"/>
                  </a:lnTo>
                  <a:lnTo>
                    <a:pt x="21" y="199"/>
                  </a:lnTo>
                  <a:lnTo>
                    <a:pt x="21" y="189"/>
                  </a:lnTo>
                  <a:lnTo>
                    <a:pt x="0" y="182"/>
                  </a:lnTo>
                  <a:lnTo>
                    <a:pt x="0" y="166"/>
                  </a:lnTo>
                  <a:lnTo>
                    <a:pt x="4" y="149"/>
                  </a:lnTo>
                  <a:lnTo>
                    <a:pt x="0" y="144"/>
                  </a:lnTo>
                  <a:lnTo>
                    <a:pt x="16" y="133"/>
                  </a:lnTo>
                  <a:lnTo>
                    <a:pt x="21" y="144"/>
                  </a:lnTo>
                  <a:lnTo>
                    <a:pt x="49" y="154"/>
                  </a:lnTo>
                  <a:lnTo>
                    <a:pt x="37" y="166"/>
                  </a:lnTo>
                  <a:lnTo>
                    <a:pt x="59" y="149"/>
                  </a:lnTo>
                  <a:lnTo>
                    <a:pt x="59" y="133"/>
                  </a:lnTo>
                  <a:lnTo>
                    <a:pt x="92" y="144"/>
                  </a:lnTo>
                  <a:lnTo>
                    <a:pt x="101" y="149"/>
                  </a:lnTo>
                  <a:lnTo>
                    <a:pt x="108" y="149"/>
                  </a:lnTo>
                  <a:lnTo>
                    <a:pt x="146" y="133"/>
                  </a:lnTo>
                  <a:lnTo>
                    <a:pt x="222" y="128"/>
                  </a:lnTo>
                  <a:lnTo>
                    <a:pt x="222" y="144"/>
                  </a:lnTo>
                  <a:lnTo>
                    <a:pt x="236" y="144"/>
                  </a:lnTo>
                  <a:lnTo>
                    <a:pt x="248" y="128"/>
                  </a:lnTo>
                  <a:lnTo>
                    <a:pt x="231" y="128"/>
                  </a:lnTo>
                  <a:lnTo>
                    <a:pt x="236" y="111"/>
                  </a:lnTo>
                  <a:lnTo>
                    <a:pt x="222" y="88"/>
                  </a:lnTo>
                  <a:lnTo>
                    <a:pt x="269" y="59"/>
                  </a:lnTo>
                  <a:lnTo>
                    <a:pt x="269" y="43"/>
                  </a:lnTo>
                  <a:lnTo>
                    <a:pt x="290" y="43"/>
                  </a:lnTo>
                  <a:lnTo>
                    <a:pt x="302" y="22"/>
                  </a:lnTo>
                  <a:lnTo>
                    <a:pt x="323" y="38"/>
                  </a:lnTo>
                  <a:lnTo>
                    <a:pt x="361" y="43"/>
                  </a:lnTo>
                  <a:lnTo>
                    <a:pt x="371" y="22"/>
                  </a:lnTo>
                  <a:lnTo>
                    <a:pt x="375" y="22"/>
                  </a:lnTo>
                  <a:lnTo>
                    <a:pt x="382" y="0"/>
                  </a:lnTo>
                  <a:lnTo>
                    <a:pt x="451" y="33"/>
                  </a:lnTo>
                  <a:lnTo>
                    <a:pt x="484" y="22"/>
                  </a:lnTo>
                  <a:lnTo>
                    <a:pt x="517" y="33"/>
                  </a:lnTo>
                  <a:lnTo>
                    <a:pt x="517" y="38"/>
                  </a:lnTo>
                  <a:lnTo>
                    <a:pt x="505" y="59"/>
                  </a:lnTo>
                  <a:lnTo>
                    <a:pt x="531" y="95"/>
                  </a:lnTo>
                  <a:lnTo>
                    <a:pt x="522" y="128"/>
                  </a:lnTo>
                  <a:lnTo>
                    <a:pt x="500" y="128"/>
                  </a:lnTo>
                  <a:lnTo>
                    <a:pt x="489" y="116"/>
                  </a:lnTo>
                  <a:lnTo>
                    <a:pt x="484" y="128"/>
                  </a:lnTo>
                  <a:lnTo>
                    <a:pt x="500" y="144"/>
                  </a:lnTo>
                  <a:lnTo>
                    <a:pt x="484" y="149"/>
                  </a:lnTo>
                  <a:lnTo>
                    <a:pt x="484" y="166"/>
                  </a:lnTo>
                  <a:lnTo>
                    <a:pt x="479" y="166"/>
                  </a:lnTo>
                  <a:lnTo>
                    <a:pt x="484" y="189"/>
                  </a:lnTo>
                  <a:lnTo>
                    <a:pt x="467" y="189"/>
                  </a:lnTo>
                  <a:lnTo>
                    <a:pt x="451" y="199"/>
                  </a:lnTo>
                  <a:lnTo>
                    <a:pt x="437" y="211"/>
                  </a:lnTo>
                  <a:lnTo>
                    <a:pt x="371" y="222"/>
                  </a:lnTo>
                  <a:lnTo>
                    <a:pt x="371" y="239"/>
                  </a:lnTo>
                  <a:lnTo>
                    <a:pt x="345" y="244"/>
                  </a:lnTo>
                  <a:lnTo>
                    <a:pt x="290" y="227"/>
                  </a:lnTo>
                  <a:lnTo>
                    <a:pt x="198" y="211"/>
                  </a:lnTo>
                  <a:lnTo>
                    <a:pt x="184" y="199"/>
                  </a:lnTo>
                  <a:lnTo>
                    <a:pt x="184" y="182"/>
                  </a:lnTo>
                  <a:lnTo>
                    <a:pt x="156" y="189"/>
                  </a:lnTo>
                  <a:lnTo>
                    <a:pt x="113" y="189"/>
                  </a:lnTo>
                  <a:lnTo>
                    <a:pt x="101" y="211"/>
                  </a:lnTo>
                  <a:lnTo>
                    <a:pt x="59" y="199"/>
                  </a:lnTo>
                  <a:lnTo>
                    <a:pt x="59" y="199"/>
                  </a:lnTo>
                  <a:lnTo>
                    <a:pt x="59" y="19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 name="Freeform 390">
              <a:extLst>
                <a:ext uri="{FF2B5EF4-FFF2-40B4-BE49-F238E27FC236}">
                  <a16:creationId xmlns:a16="http://schemas.microsoft.com/office/drawing/2014/main" id="{6D9F7E0A-34F4-43D8-9F8D-4EC9DCACE317}"/>
                </a:ext>
              </a:extLst>
            </p:cNvPr>
            <p:cNvSpPr>
              <a:spLocks/>
            </p:cNvSpPr>
            <p:nvPr/>
          </p:nvSpPr>
          <p:spPr bwMode="gray">
            <a:xfrm>
              <a:off x="14904105" y="3482723"/>
              <a:ext cx="655" cy="9492"/>
            </a:xfrm>
            <a:custGeom>
              <a:avLst/>
              <a:gdLst>
                <a:gd name="T0" fmla="*/ 2 w 2"/>
                <a:gd name="T1" fmla="*/ 0 h 29"/>
                <a:gd name="T2" fmla="*/ 2 w 2"/>
                <a:gd name="T3" fmla="*/ 29 h 29"/>
                <a:gd name="T4" fmla="*/ 0 w 2"/>
                <a:gd name="T5" fmla="*/ 17 h 29"/>
                <a:gd name="T6" fmla="*/ 0 w 2"/>
                <a:gd name="T7" fmla="*/ 0 h 29"/>
                <a:gd name="T8" fmla="*/ 2 w 2"/>
                <a:gd name="T9" fmla="*/ 0 h 29"/>
                <a:gd name="T10" fmla="*/ 2 w 2"/>
                <a:gd name="T11" fmla="*/ 0 h 29"/>
                <a:gd name="T12" fmla="*/ 2 w 2"/>
                <a:gd name="T13" fmla="*/ 0 h 29"/>
                <a:gd name="T14" fmla="*/ 2 w 2"/>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9">
                  <a:moveTo>
                    <a:pt x="2" y="0"/>
                  </a:moveTo>
                  <a:lnTo>
                    <a:pt x="2" y="29"/>
                  </a:lnTo>
                  <a:lnTo>
                    <a:pt x="0" y="17"/>
                  </a:lnTo>
                  <a:lnTo>
                    <a:pt x="0" y="0"/>
                  </a:lnTo>
                  <a:lnTo>
                    <a:pt x="2" y="0"/>
                  </a:lnTo>
                  <a:lnTo>
                    <a:pt x="2" y="0"/>
                  </a:lnTo>
                  <a:lnTo>
                    <a:pt x="2" y="0"/>
                  </a:lnTo>
                  <a:lnTo>
                    <a:pt x="2" y="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 name="Freeform 391">
              <a:extLst>
                <a:ext uri="{FF2B5EF4-FFF2-40B4-BE49-F238E27FC236}">
                  <a16:creationId xmlns:a16="http://schemas.microsoft.com/office/drawing/2014/main" id="{18C4A80B-C99B-4EB6-9178-61C8132EEE04}"/>
                </a:ext>
              </a:extLst>
            </p:cNvPr>
            <p:cNvSpPr>
              <a:spLocks/>
            </p:cNvSpPr>
            <p:nvPr/>
          </p:nvSpPr>
          <p:spPr bwMode="gray">
            <a:xfrm>
              <a:off x="12376065" y="3798237"/>
              <a:ext cx="3928" cy="6219"/>
            </a:xfrm>
            <a:custGeom>
              <a:avLst/>
              <a:gdLst>
                <a:gd name="T0" fmla="*/ 7 w 12"/>
                <a:gd name="T1" fmla="*/ 19 h 19"/>
                <a:gd name="T2" fmla="*/ 0 w 12"/>
                <a:gd name="T3" fmla="*/ 19 h 19"/>
                <a:gd name="T4" fmla="*/ 0 w 12"/>
                <a:gd name="T5" fmla="*/ 0 h 19"/>
                <a:gd name="T6" fmla="*/ 12 w 12"/>
                <a:gd name="T7" fmla="*/ 12 h 19"/>
                <a:gd name="T8" fmla="*/ 7 w 12"/>
                <a:gd name="T9" fmla="*/ 19 h 19"/>
                <a:gd name="T10" fmla="*/ 7 w 12"/>
                <a:gd name="T11" fmla="*/ 19 h 19"/>
                <a:gd name="T12" fmla="*/ 7 w 1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2" h="19">
                  <a:moveTo>
                    <a:pt x="7" y="19"/>
                  </a:moveTo>
                  <a:lnTo>
                    <a:pt x="0" y="19"/>
                  </a:lnTo>
                  <a:lnTo>
                    <a:pt x="0" y="0"/>
                  </a:lnTo>
                  <a:lnTo>
                    <a:pt x="12" y="12"/>
                  </a:lnTo>
                  <a:lnTo>
                    <a:pt x="7" y="19"/>
                  </a:lnTo>
                  <a:lnTo>
                    <a:pt x="7" y="19"/>
                  </a:lnTo>
                  <a:lnTo>
                    <a:pt x="7" y="1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3" name="Freeform 392">
              <a:extLst>
                <a:ext uri="{FF2B5EF4-FFF2-40B4-BE49-F238E27FC236}">
                  <a16:creationId xmlns:a16="http://schemas.microsoft.com/office/drawing/2014/main" id="{AC5DC1DD-A2AA-408B-9865-D267EEC2F6A5}"/>
                </a:ext>
              </a:extLst>
            </p:cNvPr>
            <p:cNvSpPr>
              <a:spLocks/>
            </p:cNvSpPr>
            <p:nvPr/>
          </p:nvSpPr>
          <p:spPr bwMode="gray">
            <a:xfrm>
              <a:off x="14204344" y="4537273"/>
              <a:ext cx="213397" cy="225835"/>
            </a:xfrm>
            <a:custGeom>
              <a:avLst/>
              <a:gdLst>
                <a:gd name="T0" fmla="*/ 0 w 652"/>
                <a:gd name="T1" fmla="*/ 525 h 690"/>
                <a:gd name="T2" fmla="*/ 0 w 652"/>
                <a:gd name="T3" fmla="*/ 322 h 690"/>
                <a:gd name="T4" fmla="*/ 71 w 652"/>
                <a:gd name="T5" fmla="*/ 322 h 690"/>
                <a:gd name="T6" fmla="*/ 71 w 652"/>
                <a:gd name="T7" fmla="*/ 45 h 690"/>
                <a:gd name="T8" fmla="*/ 232 w 652"/>
                <a:gd name="T9" fmla="*/ 17 h 690"/>
                <a:gd name="T10" fmla="*/ 253 w 652"/>
                <a:gd name="T11" fmla="*/ 55 h 690"/>
                <a:gd name="T12" fmla="*/ 303 w 652"/>
                <a:gd name="T13" fmla="*/ 17 h 690"/>
                <a:gd name="T14" fmla="*/ 312 w 652"/>
                <a:gd name="T15" fmla="*/ 29 h 690"/>
                <a:gd name="T16" fmla="*/ 340 w 652"/>
                <a:gd name="T17" fmla="*/ 0 h 690"/>
                <a:gd name="T18" fmla="*/ 366 w 652"/>
                <a:gd name="T19" fmla="*/ 0 h 690"/>
                <a:gd name="T20" fmla="*/ 366 w 652"/>
                <a:gd name="T21" fmla="*/ 29 h 690"/>
                <a:gd name="T22" fmla="*/ 416 w 652"/>
                <a:gd name="T23" fmla="*/ 88 h 690"/>
                <a:gd name="T24" fmla="*/ 416 w 652"/>
                <a:gd name="T25" fmla="*/ 100 h 690"/>
                <a:gd name="T26" fmla="*/ 430 w 652"/>
                <a:gd name="T27" fmla="*/ 128 h 690"/>
                <a:gd name="T28" fmla="*/ 468 w 652"/>
                <a:gd name="T29" fmla="*/ 161 h 690"/>
                <a:gd name="T30" fmla="*/ 501 w 652"/>
                <a:gd name="T31" fmla="*/ 178 h 690"/>
                <a:gd name="T32" fmla="*/ 506 w 652"/>
                <a:gd name="T33" fmla="*/ 211 h 690"/>
                <a:gd name="T34" fmla="*/ 539 w 652"/>
                <a:gd name="T35" fmla="*/ 211 h 690"/>
                <a:gd name="T36" fmla="*/ 539 w 652"/>
                <a:gd name="T37" fmla="*/ 248 h 690"/>
                <a:gd name="T38" fmla="*/ 560 w 652"/>
                <a:gd name="T39" fmla="*/ 289 h 690"/>
                <a:gd name="T40" fmla="*/ 598 w 652"/>
                <a:gd name="T41" fmla="*/ 289 h 690"/>
                <a:gd name="T42" fmla="*/ 631 w 652"/>
                <a:gd name="T43" fmla="*/ 305 h 690"/>
                <a:gd name="T44" fmla="*/ 631 w 652"/>
                <a:gd name="T45" fmla="*/ 322 h 690"/>
                <a:gd name="T46" fmla="*/ 648 w 652"/>
                <a:gd name="T47" fmla="*/ 322 h 690"/>
                <a:gd name="T48" fmla="*/ 652 w 652"/>
                <a:gd name="T49" fmla="*/ 338 h 690"/>
                <a:gd name="T50" fmla="*/ 631 w 652"/>
                <a:gd name="T51" fmla="*/ 338 h 690"/>
                <a:gd name="T52" fmla="*/ 626 w 652"/>
                <a:gd name="T53" fmla="*/ 348 h 690"/>
                <a:gd name="T54" fmla="*/ 577 w 652"/>
                <a:gd name="T55" fmla="*/ 364 h 690"/>
                <a:gd name="T56" fmla="*/ 555 w 652"/>
                <a:gd name="T57" fmla="*/ 397 h 690"/>
                <a:gd name="T58" fmla="*/ 529 w 652"/>
                <a:gd name="T59" fmla="*/ 414 h 690"/>
                <a:gd name="T60" fmla="*/ 522 w 652"/>
                <a:gd name="T61" fmla="*/ 421 h 690"/>
                <a:gd name="T62" fmla="*/ 518 w 652"/>
                <a:gd name="T63" fmla="*/ 421 h 690"/>
                <a:gd name="T64" fmla="*/ 485 w 652"/>
                <a:gd name="T65" fmla="*/ 447 h 690"/>
                <a:gd name="T66" fmla="*/ 475 w 652"/>
                <a:gd name="T67" fmla="*/ 492 h 690"/>
                <a:gd name="T68" fmla="*/ 447 w 652"/>
                <a:gd name="T69" fmla="*/ 515 h 690"/>
                <a:gd name="T70" fmla="*/ 409 w 652"/>
                <a:gd name="T71" fmla="*/ 525 h 690"/>
                <a:gd name="T72" fmla="*/ 392 w 652"/>
                <a:gd name="T73" fmla="*/ 581 h 690"/>
                <a:gd name="T74" fmla="*/ 383 w 652"/>
                <a:gd name="T75" fmla="*/ 598 h 690"/>
                <a:gd name="T76" fmla="*/ 324 w 652"/>
                <a:gd name="T77" fmla="*/ 615 h 690"/>
                <a:gd name="T78" fmla="*/ 303 w 652"/>
                <a:gd name="T79" fmla="*/ 603 h 690"/>
                <a:gd name="T80" fmla="*/ 291 w 652"/>
                <a:gd name="T81" fmla="*/ 598 h 690"/>
                <a:gd name="T82" fmla="*/ 270 w 652"/>
                <a:gd name="T83" fmla="*/ 598 h 690"/>
                <a:gd name="T84" fmla="*/ 237 w 652"/>
                <a:gd name="T85" fmla="*/ 565 h 690"/>
                <a:gd name="T86" fmla="*/ 206 w 652"/>
                <a:gd name="T87" fmla="*/ 570 h 690"/>
                <a:gd name="T88" fmla="*/ 194 w 652"/>
                <a:gd name="T89" fmla="*/ 586 h 690"/>
                <a:gd name="T90" fmla="*/ 182 w 652"/>
                <a:gd name="T91" fmla="*/ 624 h 690"/>
                <a:gd name="T92" fmla="*/ 152 w 652"/>
                <a:gd name="T93" fmla="*/ 652 h 690"/>
                <a:gd name="T94" fmla="*/ 140 w 652"/>
                <a:gd name="T95" fmla="*/ 674 h 690"/>
                <a:gd name="T96" fmla="*/ 123 w 652"/>
                <a:gd name="T97" fmla="*/ 674 h 690"/>
                <a:gd name="T98" fmla="*/ 114 w 652"/>
                <a:gd name="T99" fmla="*/ 690 h 690"/>
                <a:gd name="T100" fmla="*/ 43 w 652"/>
                <a:gd name="T101" fmla="*/ 681 h 690"/>
                <a:gd name="T102" fmla="*/ 38 w 652"/>
                <a:gd name="T103" fmla="*/ 657 h 690"/>
                <a:gd name="T104" fmla="*/ 59 w 652"/>
                <a:gd name="T105" fmla="*/ 636 h 690"/>
                <a:gd name="T106" fmla="*/ 55 w 652"/>
                <a:gd name="T107" fmla="*/ 615 h 690"/>
                <a:gd name="T108" fmla="*/ 22 w 652"/>
                <a:gd name="T109" fmla="*/ 548 h 690"/>
                <a:gd name="T110" fmla="*/ 0 w 652"/>
                <a:gd name="T111" fmla="*/ 525 h 690"/>
                <a:gd name="T112" fmla="*/ 0 w 652"/>
                <a:gd name="T113" fmla="*/ 525 h 690"/>
                <a:gd name="T114" fmla="*/ 0 w 652"/>
                <a:gd name="T115" fmla="*/ 52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2" h="690">
                  <a:moveTo>
                    <a:pt x="0" y="525"/>
                  </a:moveTo>
                  <a:lnTo>
                    <a:pt x="0" y="322"/>
                  </a:lnTo>
                  <a:lnTo>
                    <a:pt x="71" y="322"/>
                  </a:lnTo>
                  <a:lnTo>
                    <a:pt x="71" y="45"/>
                  </a:lnTo>
                  <a:lnTo>
                    <a:pt x="232" y="17"/>
                  </a:lnTo>
                  <a:lnTo>
                    <a:pt x="253" y="55"/>
                  </a:lnTo>
                  <a:lnTo>
                    <a:pt x="303" y="17"/>
                  </a:lnTo>
                  <a:lnTo>
                    <a:pt x="312" y="29"/>
                  </a:lnTo>
                  <a:lnTo>
                    <a:pt x="340" y="0"/>
                  </a:lnTo>
                  <a:lnTo>
                    <a:pt x="366" y="0"/>
                  </a:lnTo>
                  <a:lnTo>
                    <a:pt x="366" y="29"/>
                  </a:lnTo>
                  <a:lnTo>
                    <a:pt x="416" y="88"/>
                  </a:lnTo>
                  <a:lnTo>
                    <a:pt x="416" y="100"/>
                  </a:lnTo>
                  <a:lnTo>
                    <a:pt x="430" y="128"/>
                  </a:lnTo>
                  <a:lnTo>
                    <a:pt x="468" y="161"/>
                  </a:lnTo>
                  <a:lnTo>
                    <a:pt x="501" y="178"/>
                  </a:lnTo>
                  <a:lnTo>
                    <a:pt x="506" y="211"/>
                  </a:lnTo>
                  <a:lnTo>
                    <a:pt x="539" y="211"/>
                  </a:lnTo>
                  <a:lnTo>
                    <a:pt x="539" y="248"/>
                  </a:lnTo>
                  <a:lnTo>
                    <a:pt x="560" y="289"/>
                  </a:lnTo>
                  <a:lnTo>
                    <a:pt x="598" y="289"/>
                  </a:lnTo>
                  <a:lnTo>
                    <a:pt x="631" y="305"/>
                  </a:lnTo>
                  <a:lnTo>
                    <a:pt x="631" y="322"/>
                  </a:lnTo>
                  <a:lnTo>
                    <a:pt x="648" y="322"/>
                  </a:lnTo>
                  <a:lnTo>
                    <a:pt x="652" y="338"/>
                  </a:lnTo>
                  <a:lnTo>
                    <a:pt x="631" y="338"/>
                  </a:lnTo>
                  <a:lnTo>
                    <a:pt x="626" y="348"/>
                  </a:lnTo>
                  <a:lnTo>
                    <a:pt x="577" y="364"/>
                  </a:lnTo>
                  <a:lnTo>
                    <a:pt x="555" y="397"/>
                  </a:lnTo>
                  <a:lnTo>
                    <a:pt x="529" y="414"/>
                  </a:lnTo>
                  <a:lnTo>
                    <a:pt x="522" y="421"/>
                  </a:lnTo>
                  <a:lnTo>
                    <a:pt x="518" y="421"/>
                  </a:lnTo>
                  <a:lnTo>
                    <a:pt x="485" y="447"/>
                  </a:lnTo>
                  <a:lnTo>
                    <a:pt x="475" y="492"/>
                  </a:lnTo>
                  <a:lnTo>
                    <a:pt x="447" y="515"/>
                  </a:lnTo>
                  <a:lnTo>
                    <a:pt x="409" y="525"/>
                  </a:lnTo>
                  <a:lnTo>
                    <a:pt x="392" y="581"/>
                  </a:lnTo>
                  <a:lnTo>
                    <a:pt x="383" y="598"/>
                  </a:lnTo>
                  <a:lnTo>
                    <a:pt x="324" y="615"/>
                  </a:lnTo>
                  <a:lnTo>
                    <a:pt x="303" y="603"/>
                  </a:lnTo>
                  <a:lnTo>
                    <a:pt x="291" y="598"/>
                  </a:lnTo>
                  <a:lnTo>
                    <a:pt x="270" y="598"/>
                  </a:lnTo>
                  <a:lnTo>
                    <a:pt x="237" y="565"/>
                  </a:lnTo>
                  <a:lnTo>
                    <a:pt x="206" y="570"/>
                  </a:lnTo>
                  <a:lnTo>
                    <a:pt x="194" y="586"/>
                  </a:lnTo>
                  <a:lnTo>
                    <a:pt x="182" y="624"/>
                  </a:lnTo>
                  <a:lnTo>
                    <a:pt x="152" y="652"/>
                  </a:lnTo>
                  <a:lnTo>
                    <a:pt x="140" y="674"/>
                  </a:lnTo>
                  <a:lnTo>
                    <a:pt x="123" y="674"/>
                  </a:lnTo>
                  <a:lnTo>
                    <a:pt x="114" y="690"/>
                  </a:lnTo>
                  <a:lnTo>
                    <a:pt x="43" y="681"/>
                  </a:lnTo>
                  <a:lnTo>
                    <a:pt x="38" y="657"/>
                  </a:lnTo>
                  <a:lnTo>
                    <a:pt x="59" y="636"/>
                  </a:lnTo>
                  <a:lnTo>
                    <a:pt x="55" y="615"/>
                  </a:lnTo>
                  <a:lnTo>
                    <a:pt x="22" y="548"/>
                  </a:lnTo>
                  <a:lnTo>
                    <a:pt x="0" y="525"/>
                  </a:lnTo>
                  <a:lnTo>
                    <a:pt x="0" y="525"/>
                  </a:lnTo>
                  <a:lnTo>
                    <a:pt x="0" y="525"/>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4" name="Freeform 393">
              <a:extLst>
                <a:ext uri="{FF2B5EF4-FFF2-40B4-BE49-F238E27FC236}">
                  <a16:creationId xmlns:a16="http://schemas.microsoft.com/office/drawing/2014/main" id="{8CD02BA0-9650-49CB-BDC4-A3D2BA0152F7}"/>
                </a:ext>
              </a:extLst>
            </p:cNvPr>
            <p:cNvSpPr>
              <a:spLocks/>
            </p:cNvSpPr>
            <p:nvPr/>
          </p:nvSpPr>
          <p:spPr bwMode="gray">
            <a:xfrm>
              <a:off x="13802424" y="2778381"/>
              <a:ext cx="89025" cy="63496"/>
            </a:xfrm>
            <a:custGeom>
              <a:avLst/>
              <a:gdLst>
                <a:gd name="T0" fmla="*/ 255 w 272"/>
                <a:gd name="T1" fmla="*/ 128 h 194"/>
                <a:gd name="T2" fmla="*/ 239 w 272"/>
                <a:gd name="T3" fmla="*/ 128 h 194"/>
                <a:gd name="T4" fmla="*/ 222 w 272"/>
                <a:gd name="T5" fmla="*/ 145 h 194"/>
                <a:gd name="T6" fmla="*/ 222 w 272"/>
                <a:gd name="T7" fmla="*/ 161 h 194"/>
                <a:gd name="T8" fmla="*/ 239 w 272"/>
                <a:gd name="T9" fmla="*/ 178 h 194"/>
                <a:gd name="T10" fmla="*/ 227 w 272"/>
                <a:gd name="T11" fmla="*/ 185 h 194"/>
                <a:gd name="T12" fmla="*/ 206 w 272"/>
                <a:gd name="T13" fmla="*/ 194 h 194"/>
                <a:gd name="T14" fmla="*/ 189 w 272"/>
                <a:gd name="T15" fmla="*/ 178 h 194"/>
                <a:gd name="T16" fmla="*/ 163 w 272"/>
                <a:gd name="T17" fmla="*/ 161 h 194"/>
                <a:gd name="T18" fmla="*/ 163 w 272"/>
                <a:gd name="T19" fmla="*/ 145 h 194"/>
                <a:gd name="T20" fmla="*/ 163 w 272"/>
                <a:gd name="T21" fmla="*/ 128 h 194"/>
                <a:gd name="T22" fmla="*/ 163 w 272"/>
                <a:gd name="T23" fmla="*/ 128 h 194"/>
                <a:gd name="T24" fmla="*/ 137 w 272"/>
                <a:gd name="T25" fmla="*/ 156 h 194"/>
                <a:gd name="T26" fmla="*/ 113 w 272"/>
                <a:gd name="T27" fmla="*/ 145 h 194"/>
                <a:gd name="T28" fmla="*/ 113 w 272"/>
                <a:gd name="T29" fmla="*/ 123 h 194"/>
                <a:gd name="T30" fmla="*/ 83 w 272"/>
                <a:gd name="T31" fmla="*/ 112 h 194"/>
                <a:gd name="T32" fmla="*/ 76 w 272"/>
                <a:gd name="T33" fmla="*/ 102 h 194"/>
                <a:gd name="T34" fmla="*/ 54 w 272"/>
                <a:gd name="T35" fmla="*/ 102 h 194"/>
                <a:gd name="T36" fmla="*/ 45 w 272"/>
                <a:gd name="T37" fmla="*/ 69 h 194"/>
                <a:gd name="T38" fmla="*/ 21 w 272"/>
                <a:gd name="T39" fmla="*/ 74 h 194"/>
                <a:gd name="T40" fmla="*/ 7 w 272"/>
                <a:gd name="T41" fmla="*/ 69 h 194"/>
                <a:gd name="T42" fmla="*/ 0 w 272"/>
                <a:gd name="T43" fmla="*/ 45 h 194"/>
                <a:gd name="T44" fmla="*/ 59 w 272"/>
                <a:gd name="T45" fmla="*/ 12 h 194"/>
                <a:gd name="T46" fmla="*/ 59 w 272"/>
                <a:gd name="T47" fmla="*/ 29 h 194"/>
                <a:gd name="T48" fmla="*/ 76 w 272"/>
                <a:gd name="T49" fmla="*/ 17 h 194"/>
                <a:gd name="T50" fmla="*/ 92 w 272"/>
                <a:gd name="T51" fmla="*/ 29 h 194"/>
                <a:gd name="T52" fmla="*/ 120 w 272"/>
                <a:gd name="T53" fmla="*/ 17 h 194"/>
                <a:gd name="T54" fmla="*/ 120 w 272"/>
                <a:gd name="T55" fmla="*/ 29 h 194"/>
                <a:gd name="T56" fmla="*/ 120 w 272"/>
                <a:gd name="T57" fmla="*/ 12 h 194"/>
                <a:gd name="T58" fmla="*/ 130 w 272"/>
                <a:gd name="T59" fmla="*/ 17 h 194"/>
                <a:gd name="T60" fmla="*/ 130 w 272"/>
                <a:gd name="T61" fmla="*/ 12 h 194"/>
                <a:gd name="T62" fmla="*/ 137 w 272"/>
                <a:gd name="T63" fmla="*/ 0 h 194"/>
                <a:gd name="T64" fmla="*/ 146 w 272"/>
                <a:gd name="T65" fmla="*/ 12 h 194"/>
                <a:gd name="T66" fmla="*/ 163 w 272"/>
                <a:gd name="T67" fmla="*/ 0 h 194"/>
                <a:gd name="T68" fmla="*/ 168 w 272"/>
                <a:gd name="T69" fmla="*/ 12 h 194"/>
                <a:gd name="T70" fmla="*/ 175 w 272"/>
                <a:gd name="T71" fmla="*/ 0 h 194"/>
                <a:gd name="T72" fmla="*/ 189 w 272"/>
                <a:gd name="T73" fmla="*/ 29 h 194"/>
                <a:gd name="T74" fmla="*/ 206 w 272"/>
                <a:gd name="T75" fmla="*/ 17 h 194"/>
                <a:gd name="T76" fmla="*/ 227 w 272"/>
                <a:gd name="T77" fmla="*/ 34 h 194"/>
                <a:gd name="T78" fmla="*/ 217 w 272"/>
                <a:gd name="T79" fmla="*/ 69 h 194"/>
                <a:gd name="T80" fmla="*/ 222 w 272"/>
                <a:gd name="T81" fmla="*/ 74 h 194"/>
                <a:gd name="T82" fmla="*/ 243 w 272"/>
                <a:gd name="T83" fmla="*/ 74 h 194"/>
                <a:gd name="T84" fmla="*/ 260 w 272"/>
                <a:gd name="T85" fmla="*/ 86 h 194"/>
                <a:gd name="T86" fmla="*/ 272 w 272"/>
                <a:gd name="T87" fmla="*/ 112 h 194"/>
                <a:gd name="T88" fmla="*/ 255 w 272"/>
                <a:gd name="T89" fmla="*/ 123 h 194"/>
                <a:gd name="T90" fmla="*/ 255 w 272"/>
                <a:gd name="T91" fmla="*/ 128 h 194"/>
                <a:gd name="T92" fmla="*/ 255 w 272"/>
                <a:gd name="T93" fmla="*/ 128 h 194"/>
                <a:gd name="T94" fmla="*/ 255 w 272"/>
                <a:gd name="T95" fmla="*/ 12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194">
                  <a:moveTo>
                    <a:pt x="255" y="128"/>
                  </a:moveTo>
                  <a:lnTo>
                    <a:pt x="239" y="128"/>
                  </a:lnTo>
                  <a:lnTo>
                    <a:pt x="222" y="145"/>
                  </a:lnTo>
                  <a:lnTo>
                    <a:pt x="222" y="161"/>
                  </a:lnTo>
                  <a:lnTo>
                    <a:pt x="239" y="178"/>
                  </a:lnTo>
                  <a:lnTo>
                    <a:pt x="227" y="185"/>
                  </a:lnTo>
                  <a:lnTo>
                    <a:pt x="206" y="194"/>
                  </a:lnTo>
                  <a:lnTo>
                    <a:pt x="189" y="178"/>
                  </a:lnTo>
                  <a:lnTo>
                    <a:pt x="163" y="161"/>
                  </a:lnTo>
                  <a:lnTo>
                    <a:pt x="163" y="145"/>
                  </a:lnTo>
                  <a:lnTo>
                    <a:pt x="163" y="128"/>
                  </a:lnTo>
                  <a:lnTo>
                    <a:pt x="163" y="128"/>
                  </a:lnTo>
                  <a:lnTo>
                    <a:pt x="137" y="156"/>
                  </a:lnTo>
                  <a:lnTo>
                    <a:pt x="113" y="145"/>
                  </a:lnTo>
                  <a:lnTo>
                    <a:pt x="113" y="123"/>
                  </a:lnTo>
                  <a:lnTo>
                    <a:pt x="83" y="112"/>
                  </a:lnTo>
                  <a:lnTo>
                    <a:pt x="76" y="102"/>
                  </a:lnTo>
                  <a:lnTo>
                    <a:pt x="54" y="102"/>
                  </a:lnTo>
                  <a:lnTo>
                    <a:pt x="45" y="69"/>
                  </a:lnTo>
                  <a:lnTo>
                    <a:pt x="21" y="74"/>
                  </a:lnTo>
                  <a:lnTo>
                    <a:pt x="7" y="69"/>
                  </a:lnTo>
                  <a:lnTo>
                    <a:pt x="0" y="45"/>
                  </a:lnTo>
                  <a:lnTo>
                    <a:pt x="59" y="12"/>
                  </a:lnTo>
                  <a:lnTo>
                    <a:pt x="59" y="29"/>
                  </a:lnTo>
                  <a:lnTo>
                    <a:pt x="76" y="17"/>
                  </a:lnTo>
                  <a:lnTo>
                    <a:pt x="92" y="29"/>
                  </a:lnTo>
                  <a:lnTo>
                    <a:pt x="120" y="17"/>
                  </a:lnTo>
                  <a:lnTo>
                    <a:pt x="120" y="29"/>
                  </a:lnTo>
                  <a:lnTo>
                    <a:pt x="120" y="12"/>
                  </a:lnTo>
                  <a:lnTo>
                    <a:pt x="130" y="17"/>
                  </a:lnTo>
                  <a:lnTo>
                    <a:pt x="130" y="12"/>
                  </a:lnTo>
                  <a:lnTo>
                    <a:pt x="137" y="0"/>
                  </a:lnTo>
                  <a:lnTo>
                    <a:pt x="146" y="12"/>
                  </a:lnTo>
                  <a:lnTo>
                    <a:pt x="163" y="0"/>
                  </a:lnTo>
                  <a:lnTo>
                    <a:pt x="168" y="12"/>
                  </a:lnTo>
                  <a:lnTo>
                    <a:pt x="175" y="0"/>
                  </a:lnTo>
                  <a:lnTo>
                    <a:pt x="189" y="29"/>
                  </a:lnTo>
                  <a:lnTo>
                    <a:pt x="206" y="17"/>
                  </a:lnTo>
                  <a:lnTo>
                    <a:pt x="227" y="34"/>
                  </a:lnTo>
                  <a:lnTo>
                    <a:pt x="217" y="69"/>
                  </a:lnTo>
                  <a:lnTo>
                    <a:pt x="222" y="74"/>
                  </a:lnTo>
                  <a:lnTo>
                    <a:pt x="243" y="74"/>
                  </a:lnTo>
                  <a:lnTo>
                    <a:pt x="260" y="86"/>
                  </a:lnTo>
                  <a:lnTo>
                    <a:pt x="272" y="112"/>
                  </a:lnTo>
                  <a:lnTo>
                    <a:pt x="255" y="123"/>
                  </a:lnTo>
                  <a:lnTo>
                    <a:pt x="255" y="128"/>
                  </a:lnTo>
                  <a:lnTo>
                    <a:pt x="255" y="128"/>
                  </a:lnTo>
                  <a:lnTo>
                    <a:pt x="255" y="128"/>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5" name="Freeform 394">
              <a:extLst>
                <a:ext uri="{FF2B5EF4-FFF2-40B4-BE49-F238E27FC236}">
                  <a16:creationId xmlns:a16="http://schemas.microsoft.com/office/drawing/2014/main" id="{A68CD60C-0F0E-473D-B20C-99A3AEA70978}"/>
                </a:ext>
              </a:extLst>
            </p:cNvPr>
            <p:cNvSpPr>
              <a:spLocks noEditPoints="1"/>
            </p:cNvSpPr>
            <p:nvPr/>
          </p:nvSpPr>
          <p:spPr bwMode="gray">
            <a:xfrm>
              <a:off x="11932251" y="3464395"/>
              <a:ext cx="139756" cy="151538"/>
            </a:xfrm>
            <a:custGeom>
              <a:avLst/>
              <a:gdLst>
                <a:gd name="T0" fmla="*/ 111 w 427"/>
                <a:gd name="T1" fmla="*/ 21 h 463"/>
                <a:gd name="T2" fmla="*/ 123 w 427"/>
                <a:gd name="T3" fmla="*/ 56 h 463"/>
                <a:gd name="T4" fmla="*/ 123 w 427"/>
                <a:gd name="T5" fmla="*/ 56 h 463"/>
                <a:gd name="T6" fmla="*/ 111 w 427"/>
                <a:gd name="T7" fmla="*/ 21 h 463"/>
                <a:gd name="T8" fmla="*/ 68 w 427"/>
                <a:gd name="T9" fmla="*/ 0 h 463"/>
                <a:gd name="T10" fmla="*/ 0 w 427"/>
                <a:gd name="T11" fmla="*/ 16 h 463"/>
                <a:gd name="T12" fmla="*/ 73 w 427"/>
                <a:gd name="T13" fmla="*/ 16 h 463"/>
                <a:gd name="T14" fmla="*/ 14 w 427"/>
                <a:gd name="T15" fmla="*/ 28 h 463"/>
                <a:gd name="T16" fmla="*/ 198 w 427"/>
                <a:gd name="T17" fmla="*/ 134 h 463"/>
                <a:gd name="T18" fmla="*/ 187 w 427"/>
                <a:gd name="T19" fmla="*/ 156 h 463"/>
                <a:gd name="T20" fmla="*/ 161 w 427"/>
                <a:gd name="T21" fmla="*/ 111 h 463"/>
                <a:gd name="T22" fmla="*/ 149 w 427"/>
                <a:gd name="T23" fmla="*/ 101 h 463"/>
                <a:gd name="T24" fmla="*/ 80 w 427"/>
                <a:gd name="T25" fmla="*/ 184 h 463"/>
                <a:gd name="T26" fmla="*/ 42 w 427"/>
                <a:gd name="T27" fmla="*/ 167 h 463"/>
                <a:gd name="T28" fmla="*/ 42 w 427"/>
                <a:gd name="T29" fmla="*/ 167 h 463"/>
                <a:gd name="T30" fmla="*/ 52 w 427"/>
                <a:gd name="T31" fmla="*/ 134 h 463"/>
                <a:gd name="T32" fmla="*/ 94 w 427"/>
                <a:gd name="T33" fmla="*/ 139 h 463"/>
                <a:gd name="T34" fmla="*/ 106 w 427"/>
                <a:gd name="T35" fmla="*/ 151 h 463"/>
                <a:gd name="T36" fmla="*/ 234 w 427"/>
                <a:gd name="T37" fmla="*/ 212 h 463"/>
                <a:gd name="T38" fmla="*/ 257 w 427"/>
                <a:gd name="T39" fmla="*/ 212 h 463"/>
                <a:gd name="T40" fmla="*/ 241 w 427"/>
                <a:gd name="T41" fmla="*/ 212 h 463"/>
                <a:gd name="T42" fmla="*/ 80 w 427"/>
                <a:gd name="T43" fmla="*/ 212 h 463"/>
                <a:gd name="T44" fmla="*/ 94 w 427"/>
                <a:gd name="T45" fmla="*/ 212 h 463"/>
                <a:gd name="T46" fmla="*/ 80 w 427"/>
                <a:gd name="T47" fmla="*/ 245 h 463"/>
                <a:gd name="T48" fmla="*/ 73 w 427"/>
                <a:gd name="T49" fmla="*/ 224 h 463"/>
                <a:gd name="T50" fmla="*/ 90 w 427"/>
                <a:gd name="T51" fmla="*/ 196 h 463"/>
                <a:gd name="T52" fmla="*/ 73 w 427"/>
                <a:gd name="T53" fmla="*/ 205 h 463"/>
                <a:gd name="T54" fmla="*/ 68 w 427"/>
                <a:gd name="T55" fmla="*/ 205 h 463"/>
                <a:gd name="T56" fmla="*/ 309 w 427"/>
                <a:gd name="T57" fmla="*/ 212 h 463"/>
                <a:gd name="T58" fmla="*/ 305 w 427"/>
                <a:gd name="T59" fmla="*/ 212 h 463"/>
                <a:gd name="T60" fmla="*/ 283 w 427"/>
                <a:gd name="T61" fmla="*/ 245 h 463"/>
                <a:gd name="T62" fmla="*/ 288 w 427"/>
                <a:gd name="T63" fmla="*/ 250 h 463"/>
                <a:gd name="T64" fmla="*/ 272 w 427"/>
                <a:gd name="T65" fmla="*/ 286 h 463"/>
                <a:gd name="T66" fmla="*/ 272 w 427"/>
                <a:gd name="T67" fmla="*/ 295 h 463"/>
                <a:gd name="T68" fmla="*/ 250 w 427"/>
                <a:gd name="T69" fmla="*/ 245 h 463"/>
                <a:gd name="T70" fmla="*/ 338 w 427"/>
                <a:gd name="T71" fmla="*/ 323 h 463"/>
                <a:gd name="T72" fmla="*/ 342 w 427"/>
                <a:gd name="T73" fmla="*/ 323 h 463"/>
                <a:gd name="T74" fmla="*/ 338 w 427"/>
                <a:gd name="T75" fmla="*/ 323 h 463"/>
                <a:gd name="T76" fmla="*/ 342 w 427"/>
                <a:gd name="T77" fmla="*/ 323 h 463"/>
                <a:gd name="T78" fmla="*/ 326 w 427"/>
                <a:gd name="T79" fmla="*/ 368 h 463"/>
                <a:gd name="T80" fmla="*/ 427 w 427"/>
                <a:gd name="T81" fmla="*/ 356 h 463"/>
                <a:gd name="T82" fmla="*/ 427 w 427"/>
                <a:gd name="T83" fmla="*/ 352 h 463"/>
                <a:gd name="T84" fmla="*/ 427 w 427"/>
                <a:gd name="T85" fmla="*/ 356 h 463"/>
                <a:gd name="T86" fmla="*/ 418 w 427"/>
                <a:gd name="T87" fmla="*/ 413 h 463"/>
                <a:gd name="T88" fmla="*/ 411 w 427"/>
                <a:gd name="T89" fmla="*/ 425 h 463"/>
                <a:gd name="T90" fmla="*/ 380 w 427"/>
                <a:gd name="T91" fmla="*/ 434 h 463"/>
                <a:gd name="T92" fmla="*/ 401 w 427"/>
                <a:gd name="T93" fmla="*/ 451 h 463"/>
                <a:gd name="T94" fmla="*/ 364 w 427"/>
                <a:gd name="T95" fmla="*/ 46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7" h="463">
                  <a:moveTo>
                    <a:pt x="68" y="0"/>
                  </a:moveTo>
                  <a:lnTo>
                    <a:pt x="94" y="0"/>
                  </a:lnTo>
                  <a:lnTo>
                    <a:pt x="111" y="21"/>
                  </a:lnTo>
                  <a:lnTo>
                    <a:pt x="132" y="28"/>
                  </a:lnTo>
                  <a:lnTo>
                    <a:pt x="132" y="40"/>
                  </a:lnTo>
                  <a:lnTo>
                    <a:pt x="123" y="56"/>
                  </a:lnTo>
                  <a:lnTo>
                    <a:pt x="123" y="78"/>
                  </a:lnTo>
                  <a:lnTo>
                    <a:pt x="106" y="73"/>
                  </a:lnTo>
                  <a:lnTo>
                    <a:pt x="123" y="56"/>
                  </a:lnTo>
                  <a:lnTo>
                    <a:pt x="123" y="40"/>
                  </a:lnTo>
                  <a:lnTo>
                    <a:pt x="127" y="21"/>
                  </a:lnTo>
                  <a:lnTo>
                    <a:pt x="111" y="21"/>
                  </a:lnTo>
                  <a:lnTo>
                    <a:pt x="94" y="0"/>
                  </a:lnTo>
                  <a:lnTo>
                    <a:pt x="68" y="0"/>
                  </a:lnTo>
                  <a:lnTo>
                    <a:pt x="68" y="0"/>
                  </a:lnTo>
                  <a:lnTo>
                    <a:pt x="68" y="0"/>
                  </a:lnTo>
                  <a:close/>
                  <a:moveTo>
                    <a:pt x="14" y="28"/>
                  </a:moveTo>
                  <a:lnTo>
                    <a:pt x="0" y="16"/>
                  </a:lnTo>
                  <a:lnTo>
                    <a:pt x="21" y="21"/>
                  </a:lnTo>
                  <a:lnTo>
                    <a:pt x="26" y="16"/>
                  </a:lnTo>
                  <a:lnTo>
                    <a:pt x="73" y="16"/>
                  </a:lnTo>
                  <a:lnTo>
                    <a:pt x="68" y="21"/>
                  </a:lnTo>
                  <a:lnTo>
                    <a:pt x="14" y="28"/>
                  </a:lnTo>
                  <a:lnTo>
                    <a:pt x="14" y="28"/>
                  </a:lnTo>
                  <a:lnTo>
                    <a:pt x="14" y="28"/>
                  </a:lnTo>
                  <a:close/>
                  <a:moveTo>
                    <a:pt x="149" y="101"/>
                  </a:moveTo>
                  <a:lnTo>
                    <a:pt x="198" y="134"/>
                  </a:lnTo>
                  <a:lnTo>
                    <a:pt x="198" y="172"/>
                  </a:lnTo>
                  <a:lnTo>
                    <a:pt x="182" y="156"/>
                  </a:lnTo>
                  <a:lnTo>
                    <a:pt x="187" y="156"/>
                  </a:lnTo>
                  <a:lnTo>
                    <a:pt x="198" y="134"/>
                  </a:lnTo>
                  <a:lnTo>
                    <a:pt x="182" y="118"/>
                  </a:lnTo>
                  <a:lnTo>
                    <a:pt x="161" y="111"/>
                  </a:lnTo>
                  <a:lnTo>
                    <a:pt x="149" y="101"/>
                  </a:lnTo>
                  <a:lnTo>
                    <a:pt x="149" y="101"/>
                  </a:lnTo>
                  <a:lnTo>
                    <a:pt x="149" y="101"/>
                  </a:lnTo>
                  <a:close/>
                  <a:moveTo>
                    <a:pt x="52" y="134"/>
                  </a:moveTo>
                  <a:lnTo>
                    <a:pt x="68" y="134"/>
                  </a:lnTo>
                  <a:lnTo>
                    <a:pt x="80" y="184"/>
                  </a:lnTo>
                  <a:lnTo>
                    <a:pt x="68" y="205"/>
                  </a:lnTo>
                  <a:lnTo>
                    <a:pt x="35" y="172"/>
                  </a:lnTo>
                  <a:lnTo>
                    <a:pt x="42" y="167"/>
                  </a:lnTo>
                  <a:lnTo>
                    <a:pt x="42" y="184"/>
                  </a:lnTo>
                  <a:lnTo>
                    <a:pt x="52" y="172"/>
                  </a:lnTo>
                  <a:lnTo>
                    <a:pt x="42" y="167"/>
                  </a:lnTo>
                  <a:lnTo>
                    <a:pt x="52" y="151"/>
                  </a:lnTo>
                  <a:lnTo>
                    <a:pt x="52" y="134"/>
                  </a:lnTo>
                  <a:lnTo>
                    <a:pt x="52" y="134"/>
                  </a:lnTo>
                  <a:lnTo>
                    <a:pt x="52" y="134"/>
                  </a:lnTo>
                  <a:close/>
                  <a:moveTo>
                    <a:pt x="106" y="151"/>
                  </a:moveTo>
                  <a:lnTo>
                    <a:pt x="94" y="139"/>
                  </a:lnTo>
                  <a:lnTo>
                    <a:pt x="123" y="139"/>
                  </a:lnTo>
                  <a:lnTo>
                    <a:pt x="106" y="151"/>
                  </a:lnTo>
                  <a:lnTo>
                    <a:pt x="106" y="151"/>
                  </a:lnTo>
                  <a:lnTo>
                    <a:pt x="106" y="151"/>
                  </a:lnTo>
                  <a:close/>
                  <a:moveTo>
                    <a:pt x="241" y="212"/>
                  </a:moveTo>
                  <a:lnTo>
                    <a:pt x="234" y="212"/>
                  </a:lnTo>
                  <a:lnTo>
                    <a:pt x="241" y="196"/>
                  </a:lnTo>
                  <a:lnTo>
                    <a:pt x="220" y="167"/>
                  </a:lnTo>
                  <a:lnTo>
                    <a:pt x="257" y="212"/>
                  </a:lnTo>
                  <a:lnTo>
                    <a:pt x="241" y="212"/>
                  </a:lnTo>
                  <a:lnTo>
                    <a:pt x="241" y="212"/>
                  </a:lnTo>
                  <a:lnTo>
                    <a:pt x="241" y="212"/>
                  </a:lnTo>
                  <a:close/>
                  <a:moveTo>
                    <a:pt x="90" y="196"/>
                  </a:moveTo>
                  <a:lnTo>
                    <a:pt x="90" y="205"/>
                  </a:lnTo>
                  <a:lnTo>
                    <a:pt x="80" y="212"/>
                  </a:lnTo>
                  <a:lnTo>
                    <a:pt x="80" y="224"/>
                  </a:lnTo>
                  <a:lnTo>
                    <a:pt x="90" y="205"/>
                  </a:lnTo>
                  <a:lnTo>
                    <a:pt x="94" y="212"/>
                  </a:lnTo>
                  <a:lnTo>
                    <a:pt x="94" y="241"/>
                  </a:lnTo>
                  <a:lnTo>
                    <a:pt x="90" y="245"/>
                  </a:lnTo>
                  <a:lnTo>
                    <a:pt x="80" y="245"/>
                  </a:lnTo>
                  <a:lnTo>
                    <a:pt x="94" y="241"/>
                  </a:lnTo>
                  <a:lnTo>
                    <a:pt x="80" y="241"/>
                  </a:lnTo>
                  <a:lnTo>
                    <a:pt x="73" y="224"/>
                  </a:lnTo>
                  <a:lnTo>
                    <a:pt x="90" y="196"/>
                  </a:lnTo>
                  <a:lnTo>
                    <a:pt x="90" y="196"/>
                  </a:lnTo>
                  <a:lnTo>
                    <a:pt x="90" y="196"/>
                  </a:lnTo>
                  <a:close/>
                  <a:moveTo>
                    <a:pt x="68" y="205"/>
                  </a:moveTo>
                  <a:lnTo>
                    <a:pt x="68" y="205"/>
                  </a:lnTo>
                  <a:lnTo>
                    <a:pt x="73" y="205"/>
                  </a:lnTo>
                  <a:lnTo>
                    <a:pt x="68" y="205"/>
                  </a:lnTo>
                  <a:lnTo>
                    <a:pt x="68" y="205"/>
                  </a:lnTo>
                  <a:lnTo>
                    <a:pt x="68" y="205"/>
                  </a:lnTo>
                  <a:close/>
                  <a:moveTo>
                    <a:pt x="305" y="212"/>
                  </a:moveTo>
                  <a:lnTo>
                    <a:pt x="309" y="212"/>
                  </a:lnTo>
                  <a:lnTo>
                    <a:pt x="309" y="212"/>
                  </a:lnTo>
                  <a:lnTo>
                    <a:pt x="309" y="229"/>
                  </a:lnTo>
                  <a:lnTo>
                    <a:pt x="305" y="212"/>
                  </a:lnTo>
                  <a:lnTo>
                    <a:pt x="305" y="212"/>
                  </a:lnTo>
                  <a:lnTo>
                    <a:pt x="305" y="212"/>
                  </a:lnTo>
                  <a:close/>
                  <a:moveTo>
                    <a:pt x="288" y="250"/>
                  </a:moveTo>
                  <a:lnTo>
                    <a:pt x="283" y="245"/>
                  </a:lnTo>
                  <a:lnTo>
                    <a:pt x="288" y="245"/>
                  </a:lnTo>
                  <a:lnTo>
                    <a:pt x="288" y="250"/>
                  </a:lnTo>
                  <a:lnTo>
                    <a:pt x="288" y="250"/>
                  </a:lnTo>
                  <a:lnTo>
                    <a:pt x="288" y="250"/>
                  </a:lnTo>
                  <a:close/>
                  <a:moveTo>
                    <a:pt x="250" y="245"/>
                  </a:moveTo>
                  <a:lnTo>
                    <a:pt x="272" y="286"/>
                  </a:lnTo>
                  <a:lnTo>
                    <a:pt x="288" y="302"/>
                  </a:lnTo>
                  <a:lnTo>
                    <a:pt x="288" y="307"/>
                  </a:lnTo>
                  <a:lnTo>
                    <a:pt x="272" y="295"/>
                  </a:lnTo>
                  <a:lnTo>
                    <a:pt x="267" y="286"/>
                  </a:lnTo>
                  <a:lnTo>
                    <a:pt x="272" y="295"/>
                  </a:lnTo>
                  <a:lnTo>
                    <a:pt x="250" y="245"/>
                  </a:lnTo>
                  <a:lnTo>
                    <a:pt x="250" y="245"/>
                  </a:lnTo>
                  <a:lnTo>
                    <a:pt x="250" y="245"/>
                  </a:lnTo>
                  <a:close/>
                  <a:moveTo>
                    <a:pt x="338" y="323"/>
                  </a:moveTo>
                  <a:lnTo>
                    <a:pt x="326" y="323"/>
                  </a:lnTo>
                  <a:lnTo>
                    <a:pt x="321" y="307"/>
                  </a:lnTo>
                  <a:lnTo>
                    <a:pt x="342" y="323"/>
                  </a:lnTo>
                  <a:lnTo>
                    <a:pt x="338" y="323"/>
                  </a:lnTo>
                  <a:lnTo>
                    <a:pt x="338" y="323"/>
                  </a:lnTo>
                  <a:lnTo>
                    <a:pt x="338" y="323"/>
                  </a:lnTo>
                  <a:close/>
                  <a:moveTo>
                    <a:pt x="326" y="368"/>
                  </a:moveTo>
                  <a:lnTo>
                    <a:pt x="347" y="340"/>
                  </a:lnTo>
                  <a:lnTo>
                    <a:pt x="342" y="323"/>
                  </a:lnTo>
                  <a:lnTo>
                    <a:pt x="359" y="319"/>
                  </a:lnTo>
                  <a:lnTo>
                    <a:pt x="347" y="340"/>
                  </a:lnTo>
                  <a:lnTo>
                    <a:pt x="326" y="368"/>
                  </a:lnTo>
                  <a:lnTo>
                    <a:pt x="326" y="368"/>
                  </a:lnTo>
                  <a:lnTo>
                    <a:pt x="326" y="368"/>
                  </a:lnTo>
                  <a:close/>
                  <a:moveTo>
                    <a:pt x="427" y="356"/>
                  </a:moveTo>
                  <a:lnTo>
                    <a:pt x="401" y="352"/>
                  </a:lnTo>
                  <a:lnTo>
                    <a:pt x="411" y="340"/>
                  </a:lnTo>
                  <a:lnTo>
                    <a:pt x="427" y="352"/>
                  </a:lnTo>
                  <a:lnTo>
                    <a:pt x="427" y="356"/>
                  </a:lnTo>
                  <a:lnTo>
                    <a:pt x="427" y="356"/>
                  </a:lnTo>
                  <a:lnTo>
                    <a:pt x="427" y="356"/>
                  </a:lnTo>
                  <a:close/>
                  <a:moveTo>
                    <a:pt x="411" y="425"/>
                  </a:moveTo>
                  <a:lnTo>
                    <a:pt x="411" y="413"/>
                  </a:lnTo>
                  <a:lnTo>
                    <a:pt x="418" y="413"/>
                  </a:lnTo>
                  <a:lnTo>
                    <a:pt x="411" y="425"/>
                  </a:lnTo>
                  <a:lnTo>
                    <a:pt x="411" y="425"/>
                  </a:lnTo>
                  <a:lnTo>
                    <a:pt x="411" y="425"/>
                  </a:lnTo>
                  <a:close/>
                  <a:moveTo>
                    <a:pt x="364" y="463"/>
                  </a:moveTo>
                  <a:lnTo>
                    <a:pt x="364" y="451"/>
                  </a:lnTo>
                  <a:lnTo>
                    <a:pt x="380" y="434"/>
                  </a:lnTo>
                  <a:lnTo>
                    <a:pt x="397" y="446"/>
                  </a:lnTo>
                  <a:lnTo>
                    <a:pt x="411" y="430"/>
                  </a:lnTo>
                  <a:lnTo>
                    <a:pt x="401" y="451"/>
                  </a:lnTo>
                  <a:lnTo>
                    <a:pt x="364" y="463"/>
                  </a:lnTo>
                  <a:lnTo>
                    <a:pt x="364" y="463"/>
                  </a:lnTo>
                  <a:lnTo>
                    <a:pt x="364" y="463"/>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6" name="Freeform 395">
              <a:extLst>
                <a:ext uri="{FF2B5EF4-FFF2-40B4-BE49-F238E27FC236}">
                  <a16:creationId xmlns:a16="http://schemas.microsoft.com/office/drawing/2014/main" id="{7E45E7CE-C607-492A-A418-74DAE945C8D6}"/>
                </a:ext>
              </a:extLst>
            </p:cNvPr>
            <p:cNvSpPr>
              <a:spLocks noEditPoints="1"/>
            </p:cNvSpPr>
            <p:nvPr/>
          </p:nvSpPr>
          <p:spPr bwMode="gray">
            <a:xfrm>
              <a:off x="15764568" y="3471268"/>
              <a:ext cx="105062" cy="145974"/>
            </a:xfrm>
            <a:custGeom>
              <a:avLst/>
              <a:gdLst>
                <a:gd name="T0" fmla="*/ 71 w 321"/>
                <a:gd name="T1" fmla="*/ 262 h 446"/>
                <a:gd name="T2" fmla="*/ 38 w 321"/>
                <a:gd name="T3" fmla="*/ 229 h 446"/>
                <a:gd name="T4" fmla="*/ 55 w 321"/>
                <a:gd name="T5" fmla="*/ 184 h 446"/>
                <a:gd name="T6" fmla="*/ 5 w 321"/>
                <a:gd name="T7" fmla="*/ 163 h 446"/>
                <a:gd name="T8" fmla="*/ 5 w 321"/>
                <a:gd name="T9" fmla="*/ 128 h 446"/>
                <a:gd name="T10" fmla="*/ 71 w 321"/>
                <a:gd name="T11" fmla="*/ 111 h 446"/>
                <a:gd name="T12" fmla="*/ 55 w 321"/>
                <a:gd name="T13" fmla="*/ 90 h 446"/>
                <a:gd name="T14" fmla="*/ 5 w 321"/>
                <a:gd name="T15" fmla="*/ 57 h 446"/>
                <a:gd name="T16" fmla="*/ 33 w 321"/>
                <a:gd name="T17" fmla="*/ 5 h 446"/>
                <a:gd name="T18" fmla="*/ 59 w 321"/>
                <a:gd name="T19" fmla="*/ 33 h 446"/>
                <a:gd name="T20" fmla="*/ 71 w 321"/>
                <a:gd name="T21" fmla="*/ 17 h 446"/>
                <a:gd name="T22" fmla="*/ 92 w 321"/>
                <a:gd name="T23" fmla="*/ 50 h 446"/>
                <a:gd name="T24" fmla="*/ 123 w 321"/>
                <a:gd name="T25" fmla="*/ 33 h 446"/>
                <a:gd name="T26" fmla="*/ 168 w 321"/>
                <a:gd name="T27" fmla="*/ 111 h 446"/>
                <a:gd name="T28" fmla="*/ 312 w 321"/>
                <a:gd name="T29" fmla="*/ 135 h 446"/>
                <a:gd name="T30" fmla="*/ 274 w 321"/>
                <a:gd name="T31" fmla="*/ 172 h 446"/>
                <a:gd name="T32" fmla="*/ 232 w 321"/>
                <a:gd name="T33" fmla="*/ 205 h 446"/>
                <a:gd name="T34" fmla="*/ 236 w 321"/>
                <a:gd name="T35" fmla="*/ 274 h 446"/>
                <a:gd name="T36" fmla="*/ 258 w 321"/>
                <a:gd name="T37" fmla="*/ 279 h 446"/>
                <a:gd name="T38" fmla="*/ 274 w 321"/>
                <a:gd name="T39" fmla="*/ 241 h 446"/>
                <a:gd name="T40" fmla="*/ 300 w 321"/>
                <a:gd name="T41" fmla="*/ 224 h 446"/>
                <a:gd name="T42" fmla="*/ 312 w 321"/>
                <a:gd name="T43" fmla="*/ 302 h 446"/>
                <a:gd name="T44" fmla="*/ 321 w 321"/>
                <a:gd name="T45" fmla="*/ 406 h 446"/>
                <a:gd name="T46" fmla="*/ 291 w 321"/>
                <a:gd name="T47" fmla="*/ 406 h 446"/>
                <a:gd name="T48" fmla="*/ 286 w 321"/>
                <a:gd name="T49" fmla="*/ 413 h 446"/>
                <a:gd name="T50" fmla="*/ 269 w 321"/>
                <a:gd name="T51" fmla="*/ 373 h 446"/>
                <a:gd name="T52" fmla="*/ 220 w 321"/>
                <a:gd name="T53" fmla="*/ 312 h 446"/>
                <a:gd name="T54" fmla="*/ 182 w 321"/>
                <a:gd name="T55" fmla="*/ 274 h 446"/>
                <a:gd name="T56" fmla="*/ 182 w 321"/>
                <a:gd name="T57" fmla="*/ 241 h 446"/>
                <a:gd name="T58" fmla="*/ 177 w 321"/>
                <a:gd name="T59" fmla="*/ 241 h 446"/>
                <a:gd name="T60" fmla="*/ 182 w 321"/>
                <a:gd name="T61" fmla="*/ 262 h 446"/>
                <a:gd name="T62" fmla="*/ 168 w 321"/>
                <a:gd name="T63" fmla="*/ 295 h 446"/>
                <a:gd name="T64" fmla="*/ 168 w 321"/>
                <a:gd name="T65" fmla="*/ 352 h 446"/>
                <a:gd name="T66" fmla="*/ 151 w 321"/>
                <a:gd name="T67" fmla="*/ 368 h 446"/>
                <a:gd name="T68" fmla="*/ 144 w 321"/>
                <a:gd name="T69" fmla="*/ 357 h 446"/>
                <a:gd name="T70" fmla="*/ 140 w 321"/>
                <a:gd name="T71" fmla="*/ 352 h 446"/>
                <a:gd name="T72" fmla="*/ 130 w 321"/>
                <a:gd name="T73" fmla="*/ 335 h 446"/>
                <a:gd name="T74" fmla="*/ 109 w 321"/>
                <a:gd name="T75" fmla="*/ 368 h 446"/>
                <a:gd name="T76" fmla="*/ 97 w 321"/>
                <a:gd name="T77" fmla="*/ 335 h 446"/>
                <a:gd name="T78" fmla="*/ 92 w 321"/>
                <a:gd name="T79" fmla="*/ 373 h 446"/>
                <a:gd name="T80" fmla="*/ 76 w 321"/>
                <a:gd name="T81" fmla="*/ 368 h 446"/>
                <a:gd name="T82" fmla="*/ 76 w 321"/>
                <a:gd name="T83" fmla="*/ 347 h 446"/>
                <a:gd name="T84" fmla="*/ 168 w 321"/>
                <a:gd name="T85" fmla="*/ 246 h 446"/>
                <a:gd name="T86" fmla="*/ 177 w 321"/>
                <a:gd name="T87" fmla="*/ 257 h 446"/>
                <a:gd name="T88" fmla="*/ 177 w 321"/>
                <a:gd name="T89" fmla="*/ 274 h 446"/>
                <a:gd name="T90" fmla="*/ 182 w 321"/>
                <a:gd name="T91" fmla="*/ 279 h 446"/>
                <a:gd name="T92" fmla="*/ 182 w 321"/>
                <a:gd name="T93" fmla="*/ 286 h 446"/>
                <a:gd name="T94" fmla="*/ 177 w 321"/>
                <a:gd name="T95" fmla="*/ 302 h 446"/>
                <a:gd name="T96" fmla="*/ 182 w 321"/>
                <a:gd name="T97" fmla="*/ 352 h 446"/>
                <a:gd name="T98" fmla="*/ 182 w 321"/>
                <a:gd name="T99" fmla="*/ 295 h 446"/>
                <a:gd name="T100" fmla="*/ 199 w 321"/>
                <a:gd name="T101" fmla="*/ 347 h 446"/>
                <a:gd name="T102" fmla="*/ 182 w 321"/>
                <a:gd name="T103" fmla="*/ 357 h 446"/>
                <a:gd name="T104" fmla="*/ 236 w 321"/>
                <a:gd name="T105" fmla="*/ 302 h 446"/>
                <a:gd name="T106" fmla="*/ 248 w 321"/>
                <a:gd name="T107" fmla="*/ 328 h 446"/>
                <a:gd name="T108" fmla="*/ 215 w 321"/>
                <a:gd name="T109" fmla="*/ 312 h 446"/>
                <a:gd name="T110" fmla="*/ 215 w 321"/>
                <a:gd name="T111" fmla="*/ 352 h 446"/>
                <a:gd name="T112" fmla="*/ 177 w 321"/>
                <a:gd name="T113" fmla="*/ 352 h 446"/>
                <a:gd name="T114" fmla="*/ 177 w 321"/>
                <a:gd name="T115" fmla="*/ 352 h 446"/>
                <a:gd name="T116" fmla="*/ 168 w 321"/>
                <a:gd name="T117" fmla="*/ 352 h 446"/>
                <a:gd name="T118" fmla="*/ 168 w 321"/>
                <a:gd name="T119" fmla="*/ 357 h 446"/>
                <a:gd name="T120" fmla="*/ 269 w 321"/>
                <a:gd name="T121" fmla="*/ 373 h 446"/>
                <a:gd name="T122" fmla="*/ 269 w 321"/>
                <a:gd name="T123" fmla="*/ 39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1" h="446">
                  <a:moveTo>
                    <a:pt x="76" y="347"/>
                  </a:moveTo>
                  <a:lnTo>
                    <a:pt x="59" y="279"/>
                  </a:lnTo>
                  <a:lnTo>
                    <a:pt x="71" y="262"/>
                  </a:lnTo>
                  <a:lnTo>
                    <a:pt x="55" y="257"/>
                  </a:lnTo>
                  <a:lnTo>
                    <a:pt x="55" y="241"/>
                  </a:lnTo>
                  <a:lnTo>
                    <a:pt x="38" y="229"/>
                  </a:lnTo>
                  <a:lnTo>
                    <a:pt x="38" y="217"/>
                  </a:lnTo>
                  <a:lnTo>
                    <a:pt x="55" y="205"/>
                  </a:lnTo>
                  <a:lnTo>
                    <a:pt x="55" y="184"/>
                  </a:lnTo>
                  <a:lnTo>
                    <a:pt x="43" y="172"/>
                  </a:lnTo>
                  <a:lnTo>
                    <a:pt x="38" y="172"/>
                  </a:lnTo>
                  <a:lnTo>
                    <a:pt x="5" y="163"/>
                  </a:lnTo>
                  <a:lnTo>
                    <a:pt x="0" y="151"/>
                  </a:lnTo>
                  <a:lnTo>
                    <a:pt x="17" y="135"/>
                  </a:lnTo>
                  <a:lnTo>
                    <a:pt x="5" y="128"/>
                  </a:lnTo>
                  <a:lnTo>
                    <a:pt x="21" y="135"/>
                  </a:lnTo>
                  <a:lnTo>
                    <a:pt x="33" y="111"/>
                  </a:lnTo>
                  <a:lnTo>
                    <a:pt x="71" y="111"/>
                  </a:lnTo>
                  <a:lnTo>
                    <a:pt x="71" y="106"/>
                  </a:lnTo>
                  <a:lnTo>
                    <a:pt x="59" y="94"/>
                  </a:lnTo>
                  <a:lnTo>
                    <a:pt x="55" y="90"/>
                  </a:lnTo>
                  <a:lnTo>
                    <a:pt x="38" y="90"/>
                  </a:lnTo>
                  <a:lnTo>
                    <a:pt x="21" y="61"/>
                  </a:lnTo>
                  <a:lnTo>
                    <a:pt x="5" y="57"/>
                  </a:lnTo>
                  <a:lnTo>
                    <a:pt x="17" y="33"/>
                  </a:lnTo>
                  <a:lnTo>
                    <a:pt x="38" y="17"/>
                  </a:lnTo>
                  <a:lnTo>
                    <a:pt x="33" y="5"/>
                  </a:lnTo>
                  <a:lnTo>
                    <a:pt x="21" y="5"/>
                  </a:lnTo>
                  <a:lnTo>
                    <a:pt x="33" y="0"/>
                  </a:lnTo>
                  <a:lnTo>
                    <a:pt x="59" y="33"/>
                  </a:lnTo>
                  <a:lnTo>
                    <a:pt x="76" y="24"/>
                  </a:lnTo>
                  <a:lnTo>
                    <a:pt x="59" y="17"/>
                  </a:lnTo>
                  <a:lnTo>
                    <a:pt x="71" y="17"/>
                  </a:lnTo>
                  <a:lnTo>
                    <a:pt x="76" y="17"/>
                  </a:lnTo>
                  <a:lnTo>
                    <a:pt x="76" y="33"/>
                  </a:lnTo>
                  <a:lnTo>
                    <a:pt x="92" y="50"/>
                  </a:lnTo>
                  <a:lnTo>
                    <a:pt x="109" y="50"/>
                  </a:lnTo>
                  <a:lnTo>
                    <a:pt x="114" y="33"/>
                  </a:lnTo>
                  <a:lnTo>
                    <a:pt x="123" y="33"/>
                  </a:lnTo>
                  <a:lnTo>
                    <a:pt x="130" y="57"/>
                  </a:lnTo>
                  <a:lnTo>
                    <a:pt x="130" y="106"/>
                  </a:lnTo>
                  <a:lnTo>
                    <a:pt x="168" y="111"/>
                  </a:lnTo>
                  <a:lnTo>
                    <a:pt x="286" y="111"/>
                  </a:lnTo>
                  <a:lnTo>
                    <a:pt x="307" y="118"/>
                  </a:lnTo>
                  <a:lnTo>
                    <a:pt x="312" y="135"/>
                  </a:lnTo>
                  <a:lnTo>
                    <a:pt x="300" y="135"/>
                  </a:lnTo>
                  <a:lnTo>
                    <a:pt x="291" y="168"/>
                  </a:lnTo>
                  <a:lnTo>
                    <a:pt x="274" y="172"/>
                  </a:lnTo>
                  <a:lnTo>
                    <a:pt x="269" y="189"/>
                  </a:lnTo>
                  <a:lnTo>
                    <a:pt x="236" y="189"/>
                  </a:lnTo>
                  <a:lnTo>
                    <a:pt x="232" y="205"/>
                  </a:lnTo>
                  <a:lnTo>
                    <a:pt x="220" y="229"/>
                  </a:lnTo>
                  <a:lnTo>
                    <a:pt x="232" y="274"/>
                  </a:lnTo>
                  <a:lnTo>
                    <a:pt x="236" y="274"/>
                  </a:lnTo>
                  <a:lnTo>
                    <a:pt x="236" y="257"/>
                  </a:lnTo>
                  <a:lnTo>
                    <a:pt x="248" y="279"/>
                  </a:lnTo>
                  <a:lnTo>
                    <a:pt x="258" y="279"/>
                  </a:lnTo>
                  <a:lnTo>
                    <a:pt x="269" y="274"/>
                  </a:lnTo>
                  <a:lnTo>
                    <a:pt x="258" y="257"/>
                  </a:lnTo>
                  <a:lnTo>
                    <a:pt x="274" y="241"/>
                  </a:lnTo>
                  <a:lnTo>
                    <a:pt x="274" y="224"/>
                  </a:lnTo>
                  <a:lnTo>
                    <a:pt x="286" y="229"/>
                  </a:lnTo>
                  <a:lnTo>
                    <a:pt x="300" y="224"/>
                  </a:lnTo>
                  <a:lnTo>
                    <a:pt x="307" y="257"/>
                  </a:lnTo>
                  <a:lnTo>
                    <a:pt x="307" y="279"/>
                  </a:lnTo>
                  <a:lnTo>
                    <a:pt x="312" y="302"/>
                  </a:lnTo>
                  <a:lnTo>
                    <a:pt x="321" y="357"/>
                  </a:lnTo>
                  <a:lnTo>
                    <a:pt x="321" y="406"/>
                  </a:lnTo>
                  <a:lnTo>
                    <a:pt x="321" y="406"/>
                  </a:lnTo>
                  <a:lnTo>
                    <a:pt x="307" y="390"/>
                  </a:lnTo>
                  <a:lnTo>
                    <a:pt x="300" y="402"/>
                  </a:lnTo>
                  <a:lnTo>
                    <a:pt x="291" y="406"/>
                  </a:lnTo>
                  <a:lnTo>
                    <a:pt x="300" y="425"/>
                  </a:lnTo>
                  <a:lnTo>
                    <a:pt x="300" y="446"/>
                  </a:lnTo>
                  <a:lnTo>
                    <a:pt x="286" y="413"/>
                  </a:lnTo>
                  <a:lnTo>
                    <a:pt x="274" y="402"/>
                  </a:lnTo>
                  <a:lnTo>
                    <a:pt x="286" y="385"/>
                  </a:lnTo>
                  <a:lnTo>
                    <a:pt x="269" y="373"/>
                  </a:lnTo>
                  <a:lnTo>
                    <a:pt x="258" y="319"/>
                  </a:lnTo>
                  <a:lnTo>
                    <a:pt x="236" y="295"/>
                  </a:lnTo>
                  <a:lnTo>
                    <a:pt x="220" y="312"/>
                  </a:lnTo>
                  <a:lnTo>
                    <a:pt x="203" y="312"/>
                  </a:lnTo>
                  <a:lnTo>
                    <a:pt x="199" y="302"/>
                  </a:lnTo>
                  <a:lnTo>
                    <a:pt x="182" y="274"/>
                  </a:lnTo>
                  <a:lnTo>
                    <a:pt x="182" y="241"/>
                  </a:lnTo>
                  <a:lnTo>
                    <a:pt x="194" y="241"/>
                  </a:lnTo>
                  <a:lnTo>
                    <a:pt x="182" y="241"/>
                  </a:lnTo>
                  <a:lnTo>
                    <a:pt x="182" y="229"/>
                  </a:lnTo>
                  <a:lnTo>
                    <a:pt x="177" y="229"/>
                  </a:lnTo>
                  <a:lnTo>
                    <a:pt x="177" y="241"/>
                  </a:lnTo>
                  <a:lnTo>
                    <a:pt x="177" y="246"/>
                  </a:lnTo>
                  <a:lnTo>
                    <a:pt x="161" y="246"/>
                  </a:lnTo>
                  <a:lnTo>
                    <a:pt x="182" y="262"/>
                  </a:lnTo>
                  <a:lnTo>
                    <a:pt x="177" y="274"/>
                  </a:lnTo>
                  <a:lnTo>
                    <a:pt x="168" y="274"/>
                  </a:lnTo>
                  <a:lnTo>
                    <a:pt x="168" y="295"/>
                  </a:lnTo>
                  <a:lnTo>
                    <a:pt x="177" y="312"/>
                  </a:lnTo>
                  <a:lnTo>
                    <a:pt x="182" y="328"/>
                  </a:lnTo>
                  <a:lnTo>
                    <a:pt x="168" y="352"/>
                  </a:lnTo>
                  <a:lnTo>
                    <a:pt x="168" y="335"/>
                  </a:lnTo>
                  <a:lnTo>
                    <a:pt x="161" y="368"/>
                  </a:lnTo>
                  <a:lnTo>
                    <a:pt x="151" y="368"/>
                  </a:lnTo>
                  <a:lnTo>
                    <a:pt x="140" y="368"/>
                  </a:lnTo>
                  <a:lnTo>
                    <a:pt x="151" y="347"/>
                  </a:lnTo>
                  <a:lnTo>
                    <a:pt x="144" y="357"/>
                  </a:lnTo>
                  <a:lnTo>
                    <a:pt x="140" y="352"/>
                  </a:lnTo>
                  <a:lnTo>
                    <a:pt x="144" y="347"/>
                  </a:lnTo>
                  <a:lnTo>
                    <a:pt x="140" y="352"/>
                  </a:lnTo>
                  <a:lnTo>
                    <a:pt x="130" y="335"/>
                  </a:lnTo>
                  <a:lnTo>
                    <a:pt x="140" y="319"/>
                  </a:lnTo>
                  <a:lnTo>
                    <a:pt x="130" y="335"/>
                  </a:lnTo>
                  <a:lnTo>
                    <a:pt x="130" y="357"/>
                  </a:lnTo>
                  <a:lnTo>
                    <a:pt x="109" y="373"/>
                  </a:lnTo>
                  <a:lnTo>
                    <a:pt x="109" y="368"/>
                  </a:lnTo>
                  <a:lnTo>
                    <a:pt x="114" y="328"/>
                  </a:lnTo>
                  <a:lnTo>
                    <a:pt x="109" y="357"/>
                  </a:lnTo>
                  <a:lnTo>
                    <a:pt x="97" y="335"/>
                  </a:lnTo>
                  <a:lnTo>
                    <a:pt x="109" y="357"/>
                  </a:lnTo>
                  <a:lnTo>
                    <a:pt x="97" y="373"/>
                  </a:lnTo>
                  <a:lnTo>
                    <a:pt x="92" y="373"/>
                  </a:lnTo>
                  <a:lnTo>
                    <a:pt x="92" y="357"/>
                  </a:lnTo>
                  <a:lnTo>
                    <a:pt x="88" y="385"/>
                  </a:lnTo>
                  <a:lnTo>
                    <a:pt x="76" y="368"/>
                  </a:lnTo>
                  <a:lnTo>
                    <a:pt x="76" y="347"/>
                  </a:lnTo>
                  <a:lnTo>
                    <a:pt x="76" y="347"/>
                  </a:lnTo>
                  <a:lnTo>
                    <a:pt x="76" y="347"/>
                  </a:lnTo>
                  <a:close/>
                  <a:moveTo>
                    <a:pt x="177" y="257"/>
                  </a:moveTo>
                  <a:lnTo>
                    <a:pt x="182" y="257"/>
                  </a:lnTo>
                  <a:lnTo>
                    <a:pt x="168" y="246"/>
                  </a:lnTo>
                  <a:lnTo>
                    <a:pt x="177" y="257"/>
                  </a:lnTo>
                  <a:lnTo>
                    <a:pt x="177" y="257"/>
                  </a:lnTo>
                  <a:lnTo>
                    <a:pt x="177" y="257"/>
                  </a:lnTo>
                  <a:close/>
                  <a:moveTo>
                    <a:pt x="182" y="279"/>
                  </a:moveTo>
                  <a:lnTo>
                    <a:pt x="177" y="279"/>
                  </a:lnTo>
                  <a:lnTo>
                    <a:pt x="177" y="274"/>
                  </a:lnTo>
                  <a:lnTo>
                    <a:pt x="182" y="279"/>
                  </a:lnTo>
                  <a:lnTo>
                    <a:pt x="182" y="279"/>
                  </a:lnTo>
                  <a:lnTo>
                    <a:pt x="182" y="279"/>
                  </a:lnTo>
                  <a:close/>
                  <a:moveTo>
                    <a:pt x="177" y="302"/>
                  </a:moveTo>
                  <a:lnTo>
                    <a:pt x="168" y="286"/>
                  </a:lnTo>
                  <a:lnTo>
                    <a:pt x="182" y="286"/>
                  </a:lnTo>
                  <a:lnTo>
                    <a:pt x="177" y="295"/>
                  </a:lnTo>
                  <a:lnTo>
                    <a:pt x="177" y="302"/>
                  </a:lnTo>
                  <a:lnTo>
                    <a:pt x="177" y="302"/>
                  </a:lnTo>
                  <a:lnTo>
                    <a:pt x="177" y="302"/>
                  </a:lnTo>
                  <a:close/>
                  <a:moveTo>
                    <a:pt x="182" y="357"/>
                  </a:moveTo>
                  <a:lnTo>
                    <a:pt x="182" y="352"/>
                  </a:lnTo>
                  <a:lnTo>
                    <a:pt x="182" y="319"/>
                  </a:lnTo>
                  <a:lnTo>
                    <a:pt x="177" y="302"/>
                  </a:lnTo>
                  <a:lnTo>
                    <a:pt x="182" y="295"/>
                  </a:lnTo>
                  <a:lnTo>
                    <a:pt x="182" y="295"/>
                  </a:lnTo>
                  <a:lnTo>
                    <a:pt x="199" y="319"/>
                  </a:lnTo>
                  <a:lnTo>
                    <a:pt x="199" y="347"/>
                  </a:lnTo>
                  <a:lnTo>
                    <a:pt x="182" y="357"/>
                  </a:lnTo>
                  <a:lnTo>
                    <a:pt x="182" y="357"/>
                  </a:lnTo>
                  <a:lnTo>
                    <a:pt x="182" y="357"/>
                  </a:lnTo>
                  <a:close/>
                  <a:moveTo>
                    <a:pt x="248" y="328"/>
                  </a:moveTo>
                  <a:lnTo>
                    <a:pt x="236" y="319"/>
                  </a:lnTo>
                  <a:lnTo>
                    <a:pt x="236" y="302"/>
                  </a:lnTo>
                  <a:lnTo>
                    <a:pt x="248" y="319"/>
                  </a:lnTo>
                  <a:lnTo>
                    <a:pt x="248" y="328"/>
                  </a:lnTo>
                  <a:lnTo>
                    <a:pt x="248" y="328"/>
                  </a:lnTo>
                  <a:lnTo>
                    <a:pt x="248" y="328"/>
                  </a:lnTo>
                  <a:close/>
                  <a:moveTo>
                    <a:pt x="215" y="352"/>
                  </a:moveTo>
                  <a:lnTo>
                    <a:pt x="215" y="312"/>
                  </a:lnTo>
                  <a:lnTo>
                    <a:pt x="220" y="335"/>
                  </a:lnTo>
                  <a:lnTo>
                    <a:pt x="215" y="352"/>
                  </a:lnTo>
                  <a:lnTo>
                    <a:pt x="215" y="352"/>
                  </a:lnTo>
                  <a:lnTo>
                    <a:pt x="215" y="352"/>
                  </a:lnTo>
                  <a:close/>
                  <a:moveTo>
                    <a:pt x="177" y="352"/>
                  </a:moveTo>
                  <a:lnTo>
                    <a:pt x="177" y="352"/>
                  </a:lnTo>
                  <a:lnTo>
                    <a:pt x="182" y="347"/>
                  </a:lnTo>
                  <a:lnTo>
                    <a:pt x="177" y="352"/>
                  </a:lnTo>
                  <a:lnTo>
                    <a:pt x="177" y="352"/>
                  </a:lnTo>
                  <a:lnTo>
                    <a:pt x="177" y="352"/>
                  </a:lnTo>
                  <a:close/>
                  <a:moveTo>
                    <a:pt x="168" y="357"/>
                  </a:moveTo>
                  <a:lnTo>
                    <a:pt x="168" y="352"/>
                  </a:lnTo>
                  <a:lnTo>
                    <a:pt x="177" y="357"/>
                  </a:lnTo>
                  <a:lnTo>
                    <a:pt x="168" y="357"/>
                  </a:lnTo>
                  <a:lnTo>
                    <a:pt x="168" y="357"/>
                  </a:lnTo>
                  <a:lnTo>
                    <a:pt x="168" y="357"/>
                  </a:lnTo>
                  <a:close/>
                  <a:moveTo>
                    <a:pt x="269" y="390"/>
                  </a:moveTo>
                  <a:lnTo>
                    <a:pt x="269" y="373"/>
                  </a:lnTo>
                  <a:lnTo>
                    <a:pt x="274" y="385"/>
                  </a:lnTo>
                  <a:lnTo>
                    <a:pt x="269" y="390"/>
                  </a:lnTo>
                  <a:lnTo>
                    <a:pt x="269" y="390"/>
                  </a:lnTo>
                  <a:lnTo>
                    <a:pt x="269" y="39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7" name="Freeform 396">
              <a:extLst>
                <a:ext uri="{FF2B5EF4-FFF2-40B4-BE49-F238E27FC236}">
                  <a16:creationId xmlns:a16="http://schemas.microsoft.com/office/drawing/2014/main" id="{D3F9BEBF-77BC-4135-BDEA-AC794617D2B2}"/>
                </a:ext>
              </a:extLst>
            </p:cNvPr>
            <p:cNvSpPr>
              <a:spLocks noEditPoints="1"/>
            </p:cNvSpPr>
            <p:nvPr/>
          </p:nvSpPr>
          <p:spPr bwMode="gray">
            <a:xfrm>
              <a:off x="11695616" y="3675501"/>
              <a:ext cx="31093" cy="60877"/>
            </a:xfrm>
            <a:custGeom>
              <a:avLst/>
              <a:gdLst>
                <a:gd name="T0" fmla="*/ 24 w 95"/>
                <a:gd name="T1" fmla="*/ 186 h 186"/>
                <a:gd name="T2" fmla="*/ 0 w 95"/>
                <a:gd name="T3" fmla="*/ 186 h 186"/>
                <a:gd name="T4" fmla="*/ 7 w 95"/>
                <a:gd name="T5" fmla="*/ 42 h 186"/>
                <a:gd name="T6" fmla="*/ 7 w 95"/>
                <a:gd name="T7" fmla="*/ 37 h 186"/>
                <a:gd name="T8" fmla="*/ 17 w 95"/>
                <a:gd name="T9" fmla="*/ 26 h 186"/>
                <a:gd name="T10" fmla="*/ 24 w 95"/>
                <a:gd name="T11" fmla="*/ 37 h 186"/>
                <a:gd name="T12" fmla="*/ 57 w 95"/>
                <a:gd name="T13" fmla="*/ 0 h 186"/>
                <a:gd name="T14" fmla="*/ 62 w 95"/>
                <a:gd name="T15" fmla="*/ 0 h 186"/>
                <a:gd name="T16" fmla="*/ 62 w 95"/>
                <a:gd name="T17" fmla="*/ 4 h 186"/>
                <a:gd name="T18" fmla="*/ 78 w 95"/>
                <a:gd name="T19" fmla="*/ 4 h 186"/>
                <a:gd name="T20" fmla="*/ 78 w 95"/>
                <a:gd name="T21" fmla="*/ 9 h 186"/>
                <a:gd name="T22" fmla="*/ 62 w 95"/>
                <a:gd name="T23" fmla="*/ 59 h 186"/>
                <a:gd name="T24" fmla="*/ 62 w 95"/>
                <a:gd name="T25" fmla="*/ 92 h 186"/>
                <a:gd name="T26" fmla="*/ 73 w 95"/>
                <a:gd name="T27" fmla="*/ 111 h 186"/>
                <a:gd name="T28" fmla="*/ 62 w 95"/>
                <a:gd name="T29" fmla="*/ 137 h 186"/>
                <a:gd name="T30" fmla="*/ 62 w 95"/>
                <a:gd name="T31" fmla="*/ 132 h 186"/>
                <a:gd name="T32" fmla="*/ 45 w 95"/>
                <a:gd name="T33" fmla="*/ 153 h 186"/>
                <a:gd name="T34" fmla="*/ 33 w 95"/>
                <a:gd name="T35" fmla="*/ 165 h 186"/>
                <a:gd name="T36" fmla="*/ 24 w 95"/>
                <a:gd name="T37" fmla="*/ 177 h 186"/>
                <a:gd name="T38" fmla="*/ 24 w 95"/>
                <a:gd name="T39" fmla="*/ 186 h 186"/>
                <a:gd name="T40" fmla="*/ 24 w 95"/>
                <a:gd name="T41" fmla="*/ 186 h 186"/>
                <a:gd name="T42" fmla="*/ 24 w 95"/>
                <a:gd name="T43" fmla="*/ 186 h 186"/>
                <a:gd name="T44" fmla="*/ 95 w 95"/>
                <a:gd name="T45" fmla="*/ 26 h 186"/>
                <a:gd name="T46" fmla="*/ 90 w 95"/>
                <a:gd name="T47" fmla="*/ 37 h 186"/>
                <a:gd name="T48" fmla="*/ 95 w 95"/>
                <a:gd name="T49" fmla="*/ 21 h 186"/>
                <a:gd name="T50" fmla="*/ 95 w 95"/>
                <a:gd name="T51" fmla="*/ 26 h 186"/>
                <a:gd name="T52" fmla="*/ 95 w 95"/>
                <a:gd name="T53" fmla="*/ 26 h 186"/>
                <a:gd name="T54" fmla="*/ 95 w 95"/>
                <a:gd name="T55" fmla="*/ 2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5" h="186">
                  <a:moveTo>
                    <a:pt x="24" y="186"/>
                  </a:moveTo>
                  <a:lnTo>
                    <a:pt x="0" y="186"/>
                  </a:lnTo>
                  <a:lnTo>
                    <a:pt x="7" y="42"/>
                  </a:lnTo>
                  <a:lnTo>
                    <a:pt x="7" y="37"/>
                  </a:lnTo>
                  <a:lnTo>
                    <a:pt x="17" y="26"/>
                  </a:lnTo>
                  <a:lnTo>
                    <a:pt x="24" y="37"/>
                  </a:lnTo>
                  <a:lnTo>
                    <a:pt x="57" y="0"/>
                  </a:lnTo>
                  <a:lnTo>
                    <a:pt x="62" y="0"/>
                  </a:lnTo>
                  <a:lnTo>
                    <a:pt x="62" y="4"/>
                  </a:lnTo>
                  <a:lnTo>
                    <a:pt x="78" y="4"/>
                  </a:lnTo>
                  <a:lnTo>
                    <a:pt x="78" y="9"/>
                  </a:lnTo>
                  <a:lnTo>
                    <a:pt x="62" y="59"/>
                  </a:lnTo>
                  <a:lnTo>
                    <a:pt x="62" y="92"/>
                  </a:lnTo>
                  <a:lnTo>
                    <a:pt x="73" y="111"/>
                  </a:lnTo>
                  <a:lnTo>
                    <a:pt x="62" y="137"/>
                  </a:lnTo>
                  <a:lnTo>
                    <a:pt x="62" y="132"/>
                  </a:lnTo>
                  <a:lnTo>
                    <a:pt x="45" y="153"/>
                  </a:lnTo>
                  <a:lnTo>
                    <a:pt x="33" y="165"/>
                  </a:lnTo>
                  <a:lnTo>
                    <a:pt x="24" y="177"/>
                  </a:lnTo>
                  <a:lnTo>
                    <a:pt x="24" y="186"/>
                  </a:lnTo>
                  <a:lnTo>
                    <a:pt x="24" y="186"/>
                  </a:lnTo>
                  <a:lnTo>
                    <a:pt x="24" y="186"/>
                  </a:lnTo>
                  <a:close/>
                  <a:moveTo>
                    <a:pt x="95" y="26"/>
                  </a:moveTo>
                  <a:lnTo>
                    <a:pt x="90" y="37"/>
                  </a:lnTo>
                  <a:lnTo>
                    <a:pt x="95" y="21"/>
                  </a:lnTo>
                  <a:lnTo>
                    <a:pt x="95" y="26"/>
                  </a:lnTo>
                  <a:lnTo>
                    <a:pt x="95" y="26"/>
                  </a:lnTo>
                  <a:lnTo>
                    <a:pt x="95" y="26"/>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8" name="Freeform 397">
              <a:extLst>
                <a:ext uri="{FF2B5EF4-FFF2-40B4-BE49-F238E27FC236}">
                  <a16:creationId xmlns:a16="http://schemas.microsoft.com/office/drawing/2014/main" id="{2F347303-F980-4A67-8553-FE5218A246A9}"/>
                </a:ext>
              </a:extLst>
            </p:cNvPr>
            <p:cNvSpPr>
              <a:spLocks/>
            </p:cNvSpPr>
            <p:nvPr/>
          </p:nvSpPr>
          <p:spPr bwMode="gray">
            <a:xfrm>
              <a:off x="14104846" y="2970177"/>
              <a:ext cx="88043" cy="76587"/>
            </a:xfrm>
            <a:custGeom>
              <a:avLst/>
              <a:gdLst>
                <a:gd name="T0" fmla="*/ 130 w 269"/>
                <a:gd name="T1" fmla="*/ 192 h 234"/>
                <a:gd name="T2" fmla="*/ 139 w 269"/>
                <a:gd name="T3" fmla="*/ 192 h 234"/>
                <a:gd name="T4" fmla="*/ 130 w 269"/>
                <a:gd name="T5" fmla="*/ 187 h 234"/>
                <a:gd name="T6" fmla="*/ 108 w 269"/>
                <a:gd name="T7" fmla="*/ 170 h 234"/>
                <a:gd name="T8" fmla="*/ 108 w 269"/>
                <a:gd name="T9" fmla="*/ 154 h 234"/>
                <a:gd name="T10" fmla="*/ 87 w 269"/>
                <a:gd name="T11" fmla="*/ 137 h 234"/>
                <a:gd name="T12" fmla="*/ 54 w 269"/>
                <a:gd name="T13" fmla="*/ 109 h 234"/>
                <a:gd name="T14" fmla="*/ 33 w 269"/>
                <a:gd name="T15" fmla="*/ 92 h 234"/>
                <a:gd name="T16" fmla="*/ 33 w 269"/>
                <a:gd name="T17" fmla="*/ 76 h 234"/>
                <a:gd name="T18" fmla="*/ 33 w 269"/>
                <a:gd name="T19" fmla="*/ 59 h 234"/>
                <a:gd name="T20" fmla="*/ 0 w 269"/>
                <a:gd name="T21" fmla="*/ 38 h 234"/>
                <a:gd name="T22" fmla="*/ 4 w 269"/>
                <a:gd name="T23" fmla="*/ 5 h 234"/>
                <a:gd name="T24" fmla="*/ 21 w 269"/>
                <a:gd name="T25" fmla="*/ 0 h 234"/>
                <a:gd name="T26" fmla="*/ 37 w 269"/>
                <a:gd name="T27" fmla="*/ 22 h 234"/>
                <a:gd name="T28" fmla="*/ 54 w 269"/>
                <a:gd name="T29" fmla="*/ 0 h 234"/>
                <a:gd name="T30" fmla="*/ 75 w 269"/>
                <a:gd name="T31" fmla="*/ 0 h 234"/>
                <a:gd name="T32" fmla="*/ 87 w 269"/>
                <a:gd name="T33" fmla="*/ 0 h 234"/>
                <a:gd name="T34" fmla="*/ 101 w 269"/>
                <a:gd name="T35" fmla="*/ 5 h 234"/>
                <a:gd name="T36" fmla="*/ 146 w 269"/>
                <a:gd name="T37" fmla="*/ 17 h 234"/>
                <a:gd name="T38" fmla="*/ 177 w 269"/>
                <a:gd name="T39" fmla="*/ 5 h 234"/>
                <a:gd name="T40" fmla="*/ 200 w 269"/>
                <a:gd name="T41" fmla="*/ 17 h 234"/>
                <a:gd name="T42" fmla="*/ 215 w 269"/>
                <a:gd name="T43" fmla="*/ 22 h 234"/>
                <a:gd name="T44" fmla="*/ 215 w 269"/>
                <a:gd name="T45" fmla="*/ 26 h 234"/>
                <a:gd name="T46" fmla="*/ 231 w 269"/>
                <a:gd name="T47" fmla="*/ 26 h 234"/>
                <a:gd name="T48" fmla="*/ 252 w 269"/>
                <a:gd name="T49" fmla="*/ 26 h 234"/>
                <a:gd name="T50" fmla="*/ 238 w 269"/>
                <a:gd name="T51" fmla="*/ 76 h 234"/>
                <a:gd name="T52" fmla="*/ 269 w 269"/>
                <a:gd name="T53" fmla="*/ 97 h 234"/>
                <a:gd name="T54" fmla="*/ 264 w 269"/>
                <a:gd name="T55" fmla="*/ 109 h 234"/>
                <a:gd name="T56" fmla="*/ 248 w 269"/>
                <a:gd name="T57" fmla="*/ 109 h 234"/>
                <a:gd name="T58" fmla="*/ 264 w 269"/>
                <a:gd name="T59" fmla="*/ 130 h 234"/>
                <a:gd name="T60" fmla="*/ 264 w 269"/>
                <a:gd name="T61" fmla="*/ 147 h 234"/>
                <a:gd name="T62" fmla="*/ 248 w 269"/>
                <a:gd name="T63" fmla="*/ 147 h 234"/>
                <a:gd name="T64" fmla="*/ 222 w 269"/>
                <a:gd name="T65" fmla="*/ 147 h 234"/>
                <a:gd name="T66" fmla="*/ 238 w 269"/>
                <a:gd name="T67" fmla="*/ 163 h 234"/>
                <a:gd name="T68" fmla="*/ 231 w 269"/>
                <a:gd name="T69" fmla="*/ 170 h 234"/>
                <a:gd name="T70" fmla="*/ 222 w 269"/>
                <a:gd name="T71" fmla="*/ 163 h 234"/>
                <a:gd name="T72" fmla="*/ 210 w 269"/>
                <a:gd name="T73" fmla="*/ 170 h 234"/>
                <a:gd name="T74" fmla="*/ 210 w 269"/>
                <a:gd name="T75" fmla="*/ 187 h 234"/>
                <a:gd name="T76" fmla="*/ 193 w 269"/>
                <a:gd name="T77" fmla="*/ 192 h 234"/>
                <a:gd name="T78" fmla="*/ 193 w 269"/>
                <a:gd name="T79" fmla="*/ 208 h 234"/>
                <a:gd name="T80" fmla="*/ 200 w 269"/>
                <a:gd name="T81" fmla="*/ 225 h 234"/>
                <a:gd name="T82" fmla="*/ 193 w 269"/>
                <a:gd name="T83" fmla="*/ 234 h 234"/>
                <a:gd name="T84" fmla="*/ 146 w 269"/>
                <a:gd name="T85" fmla="*/ 203 h 234"/>
                <a:gd name="T86" fmla="*/ 130 w 269"/>
                <a:gd name="T87" fmla="*/ 203 h 234"/>
                <a:gd name="T88" fmla="*/ 130 w 269"/>
                <a:gd name="T89" fmla="*/ 192 h 234"/>
                <a:gd name="T90" fmla="*/ 130 w 269"/>
                <a:gd name="T91" fmla="*/ 192 h 234"/>
                <a:gd name="T92" fmla="*/ 130 w 269"/>
                <a:gd name="T93" fmla="*/ 19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 h="234">
                  <a:moveTo>
                    <a:pt x="130" y="192"/>
                  </a:moveTo>
                  <a:lnTo>
                    <a:pt x="139" y="192"/>
                  </a:lnTo>
                  <a:lnTo>
                    <a:pt x="130" y="187"/>
                  </a:lnTo>
                  <a:lnTo>
                    <a:pt x="108" y="170"/>
                  </a:lnTo>
                  <a:lnTo>
                    <a:pt x="108" y="154"/>
                  </a:lnTo>
                  <a:lnTo>
                    <a:pt x="87" y="137"/>
                  </a:lnTo>
                  <a:lnTo>
                    <a:pt x="54" y="109"/>
                  </a:lnTo>
                  <a:lnTo>
                    <a:pt x="33" y="92"/>
                  </a:lnTo>
                  <a:lnTo>
                    <a:pt x="33" y="76"/>
                  </a:lnTo>
                  <a:lnTo>
                    <a:pt x="33" y="59"/>
                  </a:lnTo>
                  <a:lnTo>
                    <a:pt x="0" y="38"/>
                  </a:lnTo>
                  <a:lnTo>
                    <a:pt x="4" y="5"/>
                  </a:lnTo>
                  <a:lnTo>
                    <a:pt x="21" y="0"/>
                  </a:lnTo>
                  <a:lnTo>
                    <a:pt x="37" y="22"/>
                  </a:lnTo>
                  <a:lnTo>
                    <a:pt x="54" y="0"/>
                  </a:lnTo>
                  <a:lnTo>
                    <a:pt x="75" y="0"/>
                  </a:lnTo>
                  <a:lnTo>
                    <a:pt x="87" y="0"/>
                  </a:lnTo>
                  <a:lnTo>
                    <a:pt x="101" y="5"/>
                  </a:lnTo>
                  <a:lnTo>
                    <a:pt x="146" y="17"/>
                  </a:lnTo>
                  <a:lnTo>
                    <a:pt x="177" y="5"/>
                  </a:lnTo>
                  <a:lnTo>
                    <a:pt x="200" y="17"/>
                  </a:lnTo>
                  <a:lnTo>
                    <a:pt x="215" y="22"/>
                  </a:lnTo>
                  <a:lnTo>
                    <a:pt x="215" y="26"/>
                  </a:lnTo>
                  <a:lnTo>
                    <a:pt x="231" y="26"/>
                  </a:lnTo>
                  <a:lnTo>
                    <a:pt x="252" y="26"/>
                  </a:lnTo>
                  <a:lnTo>
                    <a:pt x="238" y="76"/>
                  </a:lnTo>
                  <a:lnTo>
                    <a:pt x="269" y="97"/>
                  </a:lnTo>
                  <a:lnTo>
                    <a:pt x="264" y="109"/>
                  </a:lnTo>
                  <a:lnTo>
                    <a:pt x="248" y="109"/>
                  </a:lnTo>
                  <a:lnTo>
                    <a:pt x="264" y="130"/>
                  </a:lnTo>
                  <a:lnTo>
                    <a:pt x="264" y="147"/>
                  </a:lnTo>
                  <a:lnTo>
                    <a:pt x="248" y="147"/>
                  </a:lnTo>
                  <a:lnTo>
                    <a:pt x="222" y="147"/>
                  </a:lnTo>
                  <a:lnTo>
                    <a:pt x="238" y="163"/>
                  </a:lnTo>
                  <a:lnTo>
                    <a:pt x="231" y="170"/>
                  </a:lnTo>
                  <a:lnTo>
                    <a:pt x="222" y="163"/>
                  </a:lnTo>
                  <a:lnTo>
                    <a:pt x="210" y="170"/>
                  </a:lnTo>
                  <a:lnTo>
                    <a:pt x="210" y="187"/>
                  </a:lnTo>
                  <a:lnTo>
                    <a:pt x="193" y="192"/>
                  </a:lnTo>
                  <a:lnTo>
                    <a:pt x="193" y="208"/>
                  </a:lnTo>
                  <a:lnTo>
                    <a:pt x="200" y="225"/>
                  </a:lnTo>
                  <a:lnTo>
                    <a:pt x="193" y="234"/>
                  </a:lnTo>
                  <a:lnTo>
                    <a:pt x="146" y="203"/>
                  </a:lnTo>
                  <a:lnTo>
                    <a:pt x="130" y="203"/>
                  </a:lnTo>
                  <a:lnTo>
                    <a:pt x="130" y="192"/>
                  </a:lnTo>
                  <a:lnTo>
                    <a:pt x="130" y="192"/>
                  </a:lnTo>
                  <a:lnTo>
                    <a:pt x="130" y="192"/>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9" name="Freeform 398">
              <a:extLst>
                <a:ext uri="{FF2B5EF4-FFF2-40B4-BE49-F238E27FC236}">
                  <a16:creationId xmlns:a16="http://schemas.microsoft.com/office/drawing/2014/main" id="{403BFCE2-DFE1-403C-B881-709F173232D4}"/>
                </a:ext>
              </a:extLst>
            </p:cNvPr>
            <p:cNvSpPr>
              <a:spLocks/>
            </p:cNvSpPr>
            <p:nvPr/>
          </p:nvSpPr>
          <p:spPr bwMode="gray">
            <a:xfrm>
              <a:off x="12145649" y="4343186"/>
              <a:ext cx="277548" cy="319442"/>
            </a:xfrm>
            <a:custGeom>
              <a:avLst/>
              <a:gdLst>
                <a:gd name="T0" fmla="*/ 482 w 848"/>
                <a:gd name="T1" fmla="*/ 915 h 976"/>
                <a:gd name="T2" fmla="*/ 378 w 848"/>
                <a:gd name="T3" fmla="*/ 952 h 976"/>
                <a:gd name="T4" fmla="*/ 357 w 848"/>
                <a:gd name="T5" fmla="*/ 931 h 976"/>
                <a:gd name="T6" fmla="*/ 269 w 848"/>
                <a:gd name="T7" fmla="*/ 919 h 976"/>
                <a:gd name="T8" fmla="*/ 231 w 848"/>
                <a:gd name="T9" fmla="*/ 919 h 976"/>
                <a:gd name="T10" fmla="*/ 198 w 848"/>
                <a:gd name="T11" fmla="*/ 943 h 976"/>
                <a:gd name="T12" fmla="*/ 189 w 848"/>
                <a:gd name="T13" fmla="*/ 959 h 976"/>
                <a:gd name="T14" fmla="*/ 144 w 848"/>
                <a:gd name="T15" fmla="*/ 976 h 976"/>
                <a:gd name="T16" fmla="*/ 123 w 848"/>
                <a:gd name="T17" fmla="*/ 952 h 976"/>
                <a:gd name="T18" fmla="*/ 106 w 848"/>
                <a:gd name="T19" fmla="*/ 915 h 976"/>
                <a:gd name="T20" fmla="*/ 101 w 848"/>
                <a:gd name="T21" fmla="*/ 858 h 976"/>
                <a:gd name="T22" fmla="*/ 75 w 848"/>
                <a:gd name="T23" fmla="*/ 825 h 976"/>
                <a:gd name="T24" fmla="*/ 85 w 848"/>
                <a:gd name="T25" fmla="*/ 808 h 976"/>
                <a:gd name="T26" fmla="*/ 64 w 848"/>
                <a:gd name="T27" fmla="*/ 787 h 976"/>
                <a:gd name="T28" fmla="*/ 75 w 848"/>
                <a:gd name="T29" fmla="*/ 759 h 976"/>
                <a:gd name="T30" fmla="*/ 64 w 848"/>
                <a:gd name="T31" fmla="*/ 737 h 976"/>
                <a:gd name="T32" fmla="*/ 47 w 848"/>
                <a:gd name="T33" fmla="*/ 681 h 976"/>
                <a:gd name="T34" fmla="*/ 38 w 848"/>
                <a:gd name="T35" fmla="*/ 610 h 976"/>
                <a:gd name="T36" fmla="*/ 9 w 848"/>
                <a:gd name="T37" fmla="*/ 572 h 976"/>
                <a:gd name="T38" fmla="*/ 0 w 848"/>
                <a:gd name="T39" fmla="*/ 556 h 976"/>
                <a:gd name="T40" fmla="*/ 47 w 848"/>
                <a:gd name="T41" fmla="*/ 511 h 976"/>
                <a:gd name="T42" fmla="*/ 54 w 848"/>
                <a:gd name="T43" fmla="*/ 482 h 976"/>
                <a:gd name="T44" fmla="*/ 31 w 848"/>
                <a:gd name="T45" fmla="*/ 478 h 976"/>
                <a:gd name="T46" fmla="*/ 21 w 848"/>
                <a:gd name="T47" fmla="*/ 416 h 976"/>
                <a:gd name="T48" fmla="*/ 16 w 848"/>
                <a:gd name="T49" fmla="*/ 388 h 976"/>
                <a:gd name="T50" fmla="*/ 47 w 848"/>
                <a:gd name="T51" fmla="*/ 345 h 976"/>
                <a:gd name="T52" fmla="*/ 54 w 848"/>
                <a:gd name="T53" fmla="*/ 334 h 976"/>
                <a:gd name="T54" fmla="*/ 47 w 848"/>
                <a:gd name="T55" fmla="*/ 277 h 976"/>
                <a:gd name="T56" fmla="*/ 68 w 848"/>
                <a:gd name="T57" fmla="*/ 206 h 976"/>
                <a:gd name="T58" fmla="*/ 54 w 848"/>
                <a:gd name="T59" fmla="*/ 95 h 976"/>
                <a:gd name="T60" fmla="*/ 68 w 848"/>
                <a:gd name="T61" fmla="*/ 107 h 976"/>
                <a:gd name="T62" fmla="*/ 106 w 848"/>
                <a:gd name="T63" fmla="*/ 74 h 976"/>
                <a:gd name="T64" fmla="*/ 144 w 848"/>
                <a:gd name="T65" fmla="*/ 57 h 976"/>
                <a:gd name="T66" fmla="*/ 177 w 848"/>
                <a:gd name="T67" fmla="*/ 41 h 976"/>
                <a:gd name="T68" fmla="*/ 248 w 848"/>
                <a:gd name="T69" fmla="*/ 12 h 976"/>
                <a:gd name="T70" fmla="*/ 302 w 848"/>
                <a:gd name="T71" fmla="*/ 0 h 976"/>
                <a:gd name="T72" fmla="*/ 298 w 848"/>
                <a:gd name="T73" fmla="*/ 57 h 976"/>
                <a:gd name="T74" fmla="*/ 302 w 848"/>
                <a:gd name="T75" fmla="*/ 111 h 976"/>
                <a:gd name="T76" fmla="*/ 319 w 848"/>
                <a:gd name="T77" fmla="*/ 145 h 976"/>
                <a:gd name="T78" fmla="*/ 323 w 848"/>
                <a:gd name="T79" fmla="*/ 152 h 976"/>
                <a:gd name="T80" fmla="*/ 340 w 848"/>
                <a:gd name="T81" fmla="*/ 168 h 976"/>
                <a:gd name="T82" fmla="*/ 361 w 848"/>
                <a:gd name="T83" fmla="*/ 185 h 976"/>
                <a:gd name="T84" fmla="*/ 404 w 848"/>
                <a:gd name="T85" fmla="*/ 206 h 976"/>
                <a:gd name="T86" fmla="*/ 444 w 848"/>
                <a:gd name="T87" fmla="*/ 223 h 976"/>
                <a:gd name="T88" fmla="*/ 465 w 848"/>
                <a:gd name="T89" fmla="*/ 234 h 976"/>
                <a:gd name="T90" fmla="*/ 486 w 848"/>
                <a:gd name="T91" fmla="*/ 239 h 976"/>
                <a:gd name="T92" fmla="*/ 524 w 848"/>
                <a:gd name="T93" fmla="*/ 256 h 976"/>
                <a:gd name="T94" fmla="*/ 605 w 848"/>
                <a:gd name="T95" fmla="*/ 277 h 976"/>
                <a:gd name="T96" fmla="*/ 649 w 848"/>
                <a:gd name="T97" fmla="*/ 317 h 976"/>
                <a:gd name="T98" fmla="*/ 659 w 848"/>
                <a:gd name="T99" fmla="*/ 362 h 976"/>
                <a:gd name="T100" fmla="*/ 633 w 848"/>
                <a:gd name="T101" fmla="*/ 400 h 976"/>
                <a:gd name="T102" fmla="*/ 664 w 848"/>
                <a:gd name="T103" fmla="*/ 482 h 976"/>
                <a:gd name="T104" fmla="*/ 794 w 848"/>
                <a:gd name="T105" fmla="*/ 499 h 976"/>
                <a:gd name="T106" fmla="*/ 789 w 848"/>
                <a:gd name="T107" fmla="*/ 556 h 976"/>
                <a:gd name="T108" fmla="*/ 838 w 848"/>
                <a:gd name="T109" fmla="*/ 605 h 976"/>
                <a:gd name="T110" fmla="*/ 838 w 848"/>
                <a:gd name="T111" fmla="*/ 681 h 976"/>
                <a:gd name="T112" fmla="*/ 838 w 848"/>
                <a:gd name="T113" fmla="*/ 693 h 976"/>
                <a:gd name="T114" fmla="*/ 827 w 848"/>
                <a:gd name="T115" fmla="*/ 759 h 976"/>
                <a:gd name="T116" fmla="*/ 805 w 848"/>
                <a:gd name="T117" fmla="*/ 749 h 976"/>
                <a:gd name="T118" fmla="*/ 675 w 848"/>
                <a:gd name="T119" fmla="*/ 704 h 976"/>
                <a:gd name="T120" fmla="*/ 541 w 848"/>
                <a:gd name="T121" fmla="*/ 771 h 976"/>
                <a:gd name="T122" fmla="*/ 520 w 848"/>
                <a:gd name="T123" fmla="*/ 841 h 976"/>
                <a:gd name="T124" fmla="*/ 486 w 848"/>
                <a:gd name="T125" fmla="*/ 931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8" h="976">
                  <a:moveTo>
                    <a:pt x="486" y="931"/>
                  </a:moveTo>
                  <a:lnTo>
                    <a:pt x="482" y="915"/>
                  </a:lnTo>
                  <a:lnTo>
                    <a:pt x="404" y="915"/>
                  </a:lnTo>
                  <a:lnTo>
                    <a:pt x="378" y="952"/>
                  </a:lnTo>
                  <a:lnTo>
                    <a:pt x="373" y="976"/>
                  </a:lnTo>
                  <a:lnTo>
                    <a:pt x="357" y="931"/>
                  </a:lnTo>
                  <a:lnTo>
                    <a:pt x="323" y="919"/>
                  </a:lnTo>
                  <a:lnTo>
                    <a:pt x="269" y="919"/>
                  </a:lnTo>
                  <a:lnTo>
                    <a:pt x="243" y="898"/>
                  </a:lnTo>
                  <a:lnTo>
                    <a:pt x="231" y="919"/>
                  </a:lnTo>
                  <a:lnTo>
                    <a:pt x="198" y="931"/>
                  </a:lnTo>
                  <a:lnTo>
                    <a:pt x="198" y="943"/>
                  </a:lnTo>
                  <a:lnTo>
                    <a:pt x="189" y="952"/>
                  </a:lnTo>
                  <a:lnTo>
                    <a:pt x="189" y="959"/>
                  </a:lnTo>
                  <a:lnTo>
                    <a:pt x="172" y="976"/>
                  </a:lnTo>
                  <a:lnTo>
                    <a:pt x="144" y="976"/>
                  </a:lnTo>
                  <a:lnTo>
                    <a:pt x="123" y="976"/>
                  </a:lnTo>
                  <a:lnTo>
                    <a:pt x="123" y="952"/>
                  </a:lnTo>
                  <a:lnTo>
                    <a:pt x="118" y="919"/>
                  </a:lnTo>
                  <a:lnTo>
                    <a:pt x="106" y="915"/>
                  </a:lnTo>
                  <a:lnTo>
                    <a:pt x="101" y="882"/>
                  </a:lnTo>
                  <a:lnTo>
                    <a:pt x="101" y="858"/>
                  </a:lnTo>
                  <a:lnTo>
                    <a:pt x="85" y="832"/>
                  </a:lnTo>
                  <a:lnTo>
                    <a:pt x="75" y="825"/>
                  </a:lnTo>
                  <a:lnTo>
                    <a:pt x="75" y="820"/>
                  </a:lnTo>
                  <a:lnTo>
                    <a:pt x="85" y="808"/>
                  </a:lnTo>
                  <a:lnTo>
                    <a:pt x="64" y="792"/>
                  </a:lnTo>
                  <a:lnTo>
                    <a:pt x="64" y="787"/>
                  </a:lnTo>
                  <a:lnTo>
                    <a:pt x="64" y="771"/>
                  </a:lnTo>
                  <a:lnTo>
                    <a:pt x="75" y="759"/>
                  </a:lnTo>
                  <a:lnTo>
                    <a:pt x="75" y="754"/>
                  </a:lnTo>
                  <a:lnTo>
                    <a:pt x="64" y="737"/>
                  </a:lnTo>
                  <a:lnTo>
                    <a:pt x="85" y="716"/>
                  </a:lnTo>
                  <a:lnTo>
                    <a:pt x="47" y="681"/>
                  </a:lnTo>
                  <a:lnTo>
                    <a:pt x="31" y="622"/>
                  </a:lnTo>
                  <a:lnTo>
                    <a:pt x="38" y="610"/>
                  </a:lnTo>
                  <a:lnTo>
                    <a:pt x="21" y="610"/>
                  </a:lnTo>
                  <a:lnTo>
                    <a:pt x="9" y="572"/>
                  </a:lnTo>
                  <a:lnTo>
                    <a:pt x="9" y="565"/>
                  </a:lnTo>
                  <a:lnTo>
                    <a:pt x="0" y="556"/>
                  </a:lnTo>
                  <a:lnTo>
                    <a:pt x="0" y="556"/>
                  </a:lnTo>
                  <a:lnTo>
                    <a:pt x="47" y="511"/>
                  </a:lnTo>
                  <a:lnTo>
                    <a:pt x="38" y="499"/>
                  </a:lnTo>
                  <a:lnTo>
                    <a:pt x="54" y="482"/>
                  </a:lnTo>
                  <a:lnTo>
                    <a:pt x="47" y="478"/>
                  </a:lnTo>
                  <a:lnTo>
                    <a:pt x="31" y="478"/>
                  </a:lnTo>
                  <a:lnTo>
                    <a:pt x="16" y="437"/>
                  </a:lnTo>
                  <a:lnTo>
                    <a:pt x="21" y="416"/>
                  </a:lnTo>
                  <a:lnTo>
                    <a:pt x="31" y="404"/>
                  </a:lnTo>
                  <a:lnTo>
                    <a:pt x="16" y="388"/>
                  </a:lnTo>
                  <a:lnTo>
                    <a:pt x="16" y="371"/>
                  </a:lnTo>
                  <a:lnTo>
                    <a:pt x="47" y="345"/>
                  </a:lnTo>
                  <a:lnTo>
                    <a:pt x="47" y="334"/>
                  </a:lnTo>
                  <a:lnTo>
                    <a:pt x="54" y="334"/>
                  </a:lnTo>
                  <a:lnTo>
                    <a:pt x="38" y="293"/>
                  </a:lnTo>
                  <a:lnTo>
                    <a:pt x="47" y="277"/>
                  </a:lnTo>
                  <a:lnTo>
                    <a:pt x="47" y="234"/>
                  </a:lnTo>
                  <a:lnTo>
                    <a:pt x="68" y="206"/>
                  </a:lnTo>
                  <a:lnTo>
                    <a:pt x="9" y="95"/>
                  </a:lnTo>
                  <a:lnTo>
                    <a:pt x="54" y="95"/>
                  </a:lnTo>
                  <a:lnTo>
                    <a:pt x="64" y="107"/>
                  </a:lnTo>
                  <a:lnTo>
                    <a:pt x="68" y="107"/>
                  </a:lnTo>
                  <a:lnTo>
                    <a:pt x="92" y="95"/>
                  </a:lnTo>
                  <a:lnTo>
                    <a:pt x="106" y="74"/>
                  </a:lnTo>
                  <a:lnTo>
                    <a:pt x="135" y="74"/>
                  </a:lnTo>
                  <a:lnTo>
                    <a:pt x="144" y="57"/>
                  </a:lnTo>
                  <a:lnTo>
                    <a:pt x="161" y="50"/>
                  </a:lnTo>
                  <a:lnTo>
                    <a:pt x="177" y="41"/>
                  </a:lnTo>
                  <a:lnTo>
                    <a:pt x="210" y="17"/>
                  </a:lnTo>
                  <a:lnTo>
                    <a:pt x="248" y="12"/>
                  </a:lnTo>
                  <a:lnTo>
                    <a:pt x="286" y="12"/>
                  </a:lnTo>
                  <a:lnTo>
                    <a:pt x="302" y="0"/>
                  </a:lnTo>
                  <a:lnTo>
                    <a:pt x="302" y="41"/>
                  </a:lnTo>
                  <a:lnTo>
                    <a:pt x="298" y="57"/>
                  </a:lnTo>
                  <a:lnTo>
                    <a:pt x="302" y="95"/>
                  </a:lnTo>
                  <a:lnTo>
                    <a:pt x="302" y="111"/>
                  </a:lnTo>
                  <a:lnTo>
                    <a:pt x="302" y="128"/>
                  </a:lnTo>
                  <a:lnTo>
                    <a:pt x="319" y="145"/>
                  </a:lnTo>
                  <a:lnTo>
                    <a:pt x="307" y="152"/>
                  </a:lnTo>
                  <a:lnTo>
                    <a:pt x="323" y="152"/>
                  </a:lnTo>
                  <a:lnTo>
                    <a:pt x="323" y="168"/>
                  </a:lnTo>
                  <a:lnTo>
                    <a:pt x="340" y="168"/>
                  </a:lnTo>
                  <a:lnTo>
                    <a:pt x="340" y="185"/>
                  </a:lnTo>
                  <a:lnTo>
                    <a:pt x="361" y="185"/>
                  </a:lnTo>
                  <a:lnTo>
                    <a:pt x="373" y="206"/>
                  </a:lnTo>
                  <a:lnTo>
                    <a:pt x="404" y="206"/>
                  </a:lnTo>
                  <a:lnTo>
                    <a:pt x="416" y="206"/>
                  </a:lnTo>
                  <a:lnTo>
                    <a:pt x="444" y="223"/>
                  </a:lnTo>
                  <a:lnTo>
                    <a:pt x="465" y="218"/>
                  </a:lnTo>
                  <a:lnTo>
                    <a:pt x="465" y="234"/>
                  </a:lnTo>
                  <a:lnTo>
                    <a:pt x="482" y="251"/>
                  </a:lnTo>
                  <a:lnTo>
                    <a:pt x="486" y="239"/>
                  </a:lnTo>
                  <a:lnTo>
                    <a:pt x="512" y="256"/>
                  </a:lnTo>
                  <a:lnTo>
                    <a:pt x="524" y="256"/>
                  </a:lnTo>
                  <a:lnTo>
                    <a:pt x="550" y="289"/>
                  </a:lnTo>
                  <a:lnTo>
                    <a:pt x="605" y="277"/>
                  </a:lnTo>
                  <a:lnTo>
                    <a:pt x="642" y="305"/>
                  </a:lnTo>
                  <a:lnTo>
                    <a:pt x="649" y="317"/>
                  </a:lnTo>
                  <a:lnTo>
                    <a:pt x="642" y="326"/>
                  </a:lnTo>
                  <a:lnTo>
                    <a:pt x="659" y="362"/>
                  </a:lnTo>
                  <a:lnTo>
                    <a:pt x="659" y="400"/>
                  </a:lnTo>
                  <a:lnTo>
                    <a:pt x="633" y="400"/>
                  </a:lnTo>
                  <a:lnTo>
                    <a:pt x="659" y="421"/>
                  </a:lnTo>
                  <a:lnTo>
                    <a:pt x="664" y="482"/>
                  </a:lnTo>
                  <a:lnTo>
                    <a:pt x="794" y="482"/>
                  </a:lnTo>
                  <a:lnTo>
                    <a:pt x="794" y="499"/>
                  </a:lnTo>
                  <a:lnTo>
                    <a:pt x="784" y="515"/>
                  </a:lnTo>
                  <a:lnTo>
                    <a:pt x="789" y="556"/>
                  </a:lnTo>
                  <a:lnTo>
                    <a:pt x="838" y="582"/>
                  </a:lnTo>
                  <a:lnTo>
                    <a:pt x="838" y="605"/>
                  </a:lnTo>
                  <a:lnTo>
                    <a:pt x="848" y="626"/>
                  </a:lnTo>
                  <a:lnTo>
                    <a:pt x="838" y="681"/>
                  </a:lnTo>
                  <a:lnTo>
                    <a:pt x="838" y="693"/>
                  </a:lnTo>
                  <a:lnTo>
                    <a:pt x="838" y="693"/>
                  </a:lnTo>
                  <a:lnTo>
                    <a:pt x="810" y="737"/>
                  </a:lnTo>
                  <a:lnTo>
                    <a:pt x="827" y="759"/>
                  </a:lnTo>
                  <a:lnTo>
                    <a:pt x="805" y="771"/>
                  </a:lnTo>
                  <a:lnTo>
                    <a:pt x="805" y="749"/>
                  </a:lnTo>
                  <a:lnTo>
                    <a:pt x="742" y="716"/>
                  </a:lnTo>
                  <a:lnTo>
                    <a:pt x="675" y="704"/>
                  </a:lnTo>
                  <a:lnTo>
                    <a:pt x="557" y="733"/>
                  </a:lnTo>
                  <a:lnTo>
                    <a:pt x="541" y="771"/>
                  </a:lnTo>
                  <a:lnTo>
                    <a:pt x="520" y="804"/>
                  </a:lnTo>
                  <a:lnTo>
                    <a:pt x="520" y="841"/>
                  </a:lnTo>
                  <a:lnTo>
                    <a:pt x="486" y="931"/>
                  </a:lnTo>
                  <a:lnTo>
                    <a:pt x="486" y="931"/>
                  </a:lnTo>
                  <a:lnTo>
                    <a:pt x="486" y="931"/>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0" name="Freeform 399">
              <a:extLst>
                <a:ext uri="{FF2B5EF4-FFF2-40B4-BE49-F238E27FC236}">
                  <a16:creationId xmlns:a16="http://schemas.microsoft.com/office/drawing/2014/main" id="{8EB878D8-6927-490E-AB10-5F0D65D36D1D}"/>
                </a:ext>
              </a:extLst>
            </p:cNvPr>
            <p:cNvSpPr>
              <a:spLocks noEditPoints="1"/>
            </p:cNvSpPr>
            <p:nvPr/>
          </p:nvSpPr>
          <p:spPr bwMode="gray">
            <a:xfrm>
              <a:off x="15860465" y="3423483"/>
              <a:ext cx="206524" cy="458215"/>
            </a:xfrm>
            <a:custGeom>
              <a:avLst/>
              <a:gdLst>
                <a:gd name="T0" fmla="*/ 31 w 631"/>
                <a:gd name="T1" fmla="*/ 552 h 1400"/>
                <a:gd name="T2" fmla="*/ 64 w 631"/>
                <a:gd name="T3" fmla="*/ 448 h 1400"/>
                <a:gd name="T4" fmla="*/ 92 w 631"/>
                <a:gd name="T5" fmla="*/ 354 h 1400"/>
                <a:gd name="T6" fmla="*/ 173 w 631"/>
                <a:gd name="T7" fmla="*/ 243 h 1400"/>
                <a:gd name="T8" fmla="*/ 286 w 631"/>
                <a:gd name="T9" fmla="*/ 94 h 1400"/>
                <a:gd name="T10" fmla="*/ 362 w 631"/>
                <a:gd name="T11" fmla="*/ 23 h 1400"/>
                <a:gd name="T12" fmla="*/ 442 w 631"/>
                <a:gd name="T13" fmla="*/ 73 h 1400"/>
                <a:gd name="T14" fmla="*/ 447 w 631"/>
                <a:gd name="T15" fmla="*/ 205 h 1400"/>
                <a:gd name="T16" fmla="*/ 392 w 631"/>
                <a:gd name="T17" fmla="*/ 276 h 1400"/>
                <a:gd name="T18" fmla="*/ 388 w 631"/>
                <a:gd name="T19" fmla="*/ 366 h 1400"/>
                <a:gd name="T20" fmla="*/ 463 w 631"/>
                <a:gd name="T21" fmla="*/ 387 h 1400"/>
                <a:gd name="T22" fmla="*/ 501 w 631"/>
                <a:gd name="T23" fmla="*/ 448 h 1400"/>
                <a:gd name="T24" fmla="*/ 555 w 631"/>
                <a:gd name="T25" fmla="*/ 536 h 1400"/>
                <a:gd name="T26" fmla="*/ 614 w 631"/>
                <a:gd name="T27" fmla="*/ 548 h 1400"/>
                <a:gd name="T28" fmla="*/ 555 w 631"/>
                <a:gd name="T29" fmla="*/ 625 h 1400"/>
                <a:gd name="T30" fmla="*/ 484 w 631"/>
                <a:gd name="T31" fmla="*/ 647 h 1400"/>
                <a:gd name="T32" fmla="*/ 399 w 631"/>
                <a:gd name="T33" fmla="*/ 680 h 1400"/>
                <a:gd name="T34" fmla="*/ 362 w 631"/>
                <a:gd name="T35" fmla="*/ 758 h 1400"/>
                <a:gd name="T36" fmla="*/ 451 w 631"/>
                <a:gd name="T37" fmla="*/ 923 h 1400"/>
                <a:gd name="T38" fmla="*/ 442 w 631"/>
                <a:gd name="T39" fmla="*/ 996 h 1400"/>
                <a:gd name="T40" fmla="*/ 496 w 631"/>
                <a:gd name="T41" fmla="*/ 1112 h 1400"/>
                <a:gd name="T42" fmla="*/ 506 w 631"/>
                <a:gd name="T43" fmla="*/ 1216 h 1400"/>
                <a:gd name="T44" fmla="*/ 447 w 631"/>
                <a:gd name="T45" fmla="*/ 1388 h 1400"/>
                <a:gd name="T46" fmla="*/ 463 w 631"/>
                <a:gd name="T47" fmla="*/ 1256 h 1400"/>
                <a:gd name="T48" fmla="*/ 447 w 631"/>
                <a:gd name="T49" fmla="*/ 1223 h 1400"/>
                <a:gd name="T50" fmla="*/ 425 w 631"/>
                <a:gd name="T51" fmla="*/ 1088 h 1400"/>
                <a:gd name="T52" fmla="*/ 388 w 631"/>
                <a:gd name="T53" fmla="*/ 907 h 1400"/>
                <a:gd name="T54" fmla="*/ 333 w 631"/>
                <a:gd name="T55" fmla="*/ 869 h 1400"/>
                <a:gd name="T56" fmla="*/ 286 w 631"/>
                <a:gd name="T57" fmla="*/ 918 h 1400"/>
                <a:gd name="T58" fmla="*/ 227 w 631"/>
                <a:gd name="T59" fmla="*/ 940 h 1400"/>
                <a:gd name="T60" fmla="*/ 199 w 631"/>
                <a:gd name="T61" fmla="*/ 963 h 1400"/>
                <a:gd name="T62" fmla="*/ 182 w 631"/>
                <a:gd name="T63" fmla="*/ 940 h 1400"/>
                <a:gd name="T64" fmla="*/ 144 w 631"/>
                <a:gd name="T65" fmla="*/ 947 h 1400"/>
                <a:gd name="T66" fmla="*/ 139 w 631"/>
                <a:gd name="T67" fmla="*/ 737 h 1400"/>
                <a:gd name="T68" fmla="*/ 102 w 631"/>
                <a:gd name="T69" fmla="*/ 670 h 1400"/>
                <a:gd name="T70" fmla="*/ 69 w 631"/>
                <a:gd name="T71" fmla="*/ 659 h 1400"/>
                <a:gd name="T72" fmla="*/ 47 w 631"/>
                <a:gd name="T73" fmla="*/ 642 h 1400"/>
                <a:gd name="T74" fmla="*/ 17 w 631"/>
                <a:gd name="T75" fmla="*/ 602 h 1400"/>
                <a:gd name="T76" fmla="*/ 102 w 631"/>
                <a:gd name="T77" fmla="*/ 687 h 1400"/>
                <a:gd name="T78" fmla="*/ 123 w 631"/>
                <a:gd name="T79" fmla="*/ 725 h 1400"/>
                <a:gd name="T80" fmla="*/ 118 w 631"/>
                <a:gd name="T81" fmla="*/ 703 h 1400"/>
                <a:gd name="T82" fmla="*/ 92 w 631"/>
                <a:gd name="T83" fmla="*/ 737 h 1400"/>
                <a:gd name="T84" fmla="*/ 376 w 631"/>
                <a:gd name="T85" fmla="*/ 935 h 1400"/>
                <a:gd name="T86" fmla="*/ 173 w 631"/>
                <a:gd name="T87" fmla="*/ 940 h 1400"/>
                <a:gd name="T88" fmla="*/ 430 w 631"/>
                <a:gd name="T89" fmla="*/ 1216 h 1400"/>
                <a:gd name="T90" fmla="*/ 430 w 631"/>
                <a:gd name="T91" fmla="*/ 1216 h 1400"/>
                <a:gd name="T92" fmla="*/ 409 w 631"/>
                <a:gd name="T93" fmla="*/ 1216 h 1400"/>
                <a:gd name="T94" fmla="*/ 413 w 631"/>
                <a:gd name="T95" fmla="*/ 1223 h 1400"/>
                <a:gd name="T96" fmla="*/ 442 w 631"/>
                <a:gd name="T97" fmla="*/ 1233 h 1400"/>
                <a:gd name="T98" fmla="*/ 447 w 631"/>
                <a:gd name="T99" fmla="*/ 1256 h 1400"/>
                <a:gd name="T100" fmla="*/ 430 w 631"/>
                <a:gd name="T101" fmla="*/ 1256 h 1400"/>
                <a:gd name="T102" fmla="*/ 447 w 631"/>
                <a:gd name="T103" fmla="*/ 1306 h 1400"/>
                <a:gd name="T104" fmla="*/ 425 w 631"/>
                <a:gd name="T105" fmla="*/ 1332 h 1400"/>
                <a:gd name="T106" fmla="*/ 425 w 631"/>
                <a:gd name="T107" fmla="*/ 1332 h 1400"/>
                <a:gd name="T108" fmla="*/ 399 w 631"/>
                <a:gd name="T109" fmla="*/ 1348 h 1400"/>
                <a:gd name="T110" fmla="*/ 425 w 631"/>
                <a:gd name="T111" fmla="*/ 1384 h 1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1400">
                  <a:moveTo>
                    <a:pt x="10" y="569"/>
                  </a:moveTo>
                  <a:lnTo>
                    <a:pt x="0" y="552"/>
                  </a:lnTo>
                  <a:lnTo>
                    <a:pt x="10" y="548"/>
                  </a:lnTo>
                  <a:lnTo>
                    <a:pt x="17" y="536"/>
                  </a:lnTo>
                  <a:lnTo>
                    <a:pt x="31" y="552"/>
                  </a:lnTo>
                  <a:lnTo>
                    <a:pt x="31" y="552"/>
                  </a:lnTo>
                  <a:lnTo>
                    <a:pt x="31" y="503"/>
                  </a:lnTo>
                  <a:lnTo>
                    <a:pt x="38" y="493"/>
                  </a:lnTo>
                  <a:lnTo>
                    <a:pt x="54" y="498"/>
                  </a:lnTo>
                  <a:lnTo>
                    <a:pt x="64" y="481"/>
                  </a:lnTo>
                  <a:lnTo>
                    <a:pt x="69" y="481"/>
                  </a:lnTo>
                  <a:lnTo>
                    <a:pt x="64" y="448"/>
                  </a:lnTo>
                  <a:lnTo>
                    <a:pt x="69" y="420"/>
                  </a:lnTo>
                  <a:lnTo>
                    <a:pt x="76" y="427"/>
                  </a:lnTo>
                  <a:lnTo>
                    <a:pt x="85" y="411"/>
                  </a:lnTo>
                  <a:lnTo>
                    <a:pt x="85" y="370"/>
                  </a:lnTo>
                  <a:lnTo>
                    <a:pt x="85" y="337"/>
                  </a:lnTo>
                  <a:lnTo>
                    <a:pt x="92" y="354"/>
                  </a:lnTo>
                  <a:lnTo>
                    <a:pt x="106" y="349"/>
                  </a:lnTo>
                  <a:lnTo>
                    <a:pt x="139" y="366"/>
                  </a:lnTo>
                  <a:lnTo>
                    <a:pt x="177" y="266"/>
                  </a:lnTo>
                  <a:lnTo>
                    <a:pt x="177" y="259"/>
                  </a:lnTo>
                  <a:lnTo>
                    <a:pt x="173" y="255"/>
                  </a:lnTo>
                  <a:lnTo>
                    <a:pt x="173" y="243"/>
                  </a:lnTo>
                  <a:lnTo>
                    <a:pt x="194" y="226"/>
                  </a:lnTo>
                  <a:lnTo>
                    <a:pt x="210" y="188"/>
                  </a:lnTo>
                  <a:lnTo>
                    <a:pt x="199" y="172"/>
                  </a:lnTo>
                  <a:lnTo>
                    <a:pt x="210" y="151"/>
                  </a:lnTo>
                  <a:lnTo>
                    <a:pt x="232" y="144"/>
                  </a:lnTo>
                  <a:lnTo>
                    <a:pt x="286" y="94"/>
                  </a:lnTo>
                  <a:lnTo>
                    <a:pt x="317" y="94"/>
                  </a:lnTo>
                  <a:lnTo>
                    <a:pt x="333" y="99"/>
                  </a:lnTo>
                  <a:lnTo>
                    <a:pt x="345" y="111"/>
                  </a:lnTo>
                  <a:lnTo>
                    <a:pt x="333" y="73"/>
                  </a:lnTo>
                  <a:lnTo>
                    <a:pt x="362" y="44"/>
                  </a:lnTo>
                  <a:lnTo>
                    <a:pt x="362" y="23"/>
                  </a:lnTo>
                  <a:lnTo>
                    <a:pt x="371" y="16"/>
                  </a:lnTo>
                  <a:lnTo>
                    <a:pt x="376" y="0"/>
                  </a:lnTo>
                  <a:lnTo>
                    <a:pt x="409" y="23"/>
                  </a:lnTo>
                  <a:lnTo>
                    <a:pt x="413" y="33"/>
                  </a:lnTo>
                  <a:lnTo>
                    <a:pt x="430" y="77"/>
                  </a:lnTo>
                  <a:lnTo>
                    <a:pt x="442" y="73"/>
                  </a:lnTo>
                  <a:lnTo>
                    <a:pt x="451" y="77"/>
                  </a:lnTo>
                  <a:lnTo>
                    <a:pt x="463" y="134"/>
                  </a:lnTo>
                  <a:lnTo>
                    <a:pt x="463" y="184"/>
                  </a:lnTo>
                  <a:lnTo>
                    <a:pt x="447" y="188"/>
                  </a:lnTo>
                  <a:lnTo>
                    <a:pt x="451" y="205"/>
                  </a:lnTo>
                  <a:lnTo>
                    <a:pt x="447" y="205"/>
                  </a:lnTo>
                  <a:lnTo>
                    <a:pt x="430" y="226"/>
                  </a:lnTo>
                  <a:lnTo>
                    <a:pt x="425" y="226"/>
                  </a:lnTo>
                  <a:lnTo>
                    <a:pt x="409" y="255"/>
                  </a:lnTo>
                  <a:lnTo>
                    <a:pt x="399" y="259"/>
                  </a:lnTo>
                  <a:lnTo>
                    <a:pt x="392" y="255"/>
                  </a:lnTo>
                  <a:lnTo>
                    <a:pt x="392" y="276"/>
                  </a:lnTo>
                  <a:lnTo>
                    <a:pt x="376" y="292"/>
                  </a:lnTo>
                  <a:lnTo>
                    <a:pt x="376" y="316"/>
                  </a:lnTo>
                  <a:lnTo>
                    <a:pt x="388" y="316"/>
                  </a:lnTo>
                  <a:lnTo>
                    <a:pt x="392" y="337"/>
                  </a:lnTo>
                  <a:lnTo>
                    <a:pt x="376" y="354"/>
                  </a:lnTo>
                  <a:lnTo>
                    <a:pt x="388" y="366"/>
                  </a:lnTo>
                  <a:lnTo>
                    <a:pt x="413" y="337"/>
                  </a:lnTo>
                  <a:lnTo>
                    <a:pt x="468" y="337"/>
                  </a:lnTo>
                  <a:lnTo>
                    <a:pt x="451" y="354"/>
                  </a:lnTo>
                  <a:lnTo>
                    <a:pt x="451" y="366"/>
                  </a:lnTo>
                  <a:lnTo>
                    <a:pt x="463" y="370"/>
                  </a:lnTo>
                  <a:lnTo>
                    <a:pt x="463" y="387"/>
                  </a:lnTo>
                  <a:lnTo>
                    <a:pt x="468" y="394"/>
                  </a:lnTo>
                  <a:lnTo>
                    <a:pt x="468" y="411"/>
                  </a:lnTo>
                  <a:lnTo>
                    <a:pt x="484" y="420"/>
                  </a:lnTo>
                  <a:lnTo>
                    <a:pt x="517" y="420"/>
                  </a:lnTo>
                  <a:lnTo>
                    <a:pt x="517" y="427"/>
                  </a:lnTo>
                  <a:lnTo>
                    <a:pt x="501" y="448"/>
                  </a:lnTo>
                  <a:lnTo>
                    <a:pt x="506" y="465"/>
                  </a:lnTo>
                  <a:lnTo>
                    <a:pt x="484" y="493"/>
                  </a:lnTo>
                  <a:lnTo>
                    <a:pt x="550" y="498"/>
                  </a:lnTo>
                  <a:lnTo>
                    <a:pt x="550" y="519"/>
                  </a:lnTo>
                  <a:lnTo>
                    <a:pt x="555" y="531"/>
                  </a:lnTo>
                  <a:lnTo>
                    <a:pt x="555" y="536"/>
                  </a:lnTo>
                  <a:lnTo>
                    <a:pt x="560" y="548"/>
                  </a:lnTo>
                  <a:lnTo>
                    <a:pt x="576" y="536"/>
                  </a:lnTo>
                  <a:lnTo>
                    <a:pt x="588" y="548"/>
                  </a:lnTo>
                  <a:lnTo>
                    <a:pt x="624" y="519"/>
                  </a:lnTo>
                  <a:lnTo>
                    <a:pt x="631" y="531"/>
                  </a:lnTo>
                  <a:lnTo>
                    <a:pt x="614" y="548"/>
                  </a:lnTo>
                  <a:lnTo>
                    <a:pt x="602" y="552"/>
                  </a:lnTo>
                  <a:lnTo>
                    <a:pt x="588" y="576"/>
                  </a:lnTo>
                  <a:lnTo>
                    <a:pt x="588" y="585"/>
                  </a:lnTo>
                  <a:lnTo>
                    <a:pt x="593" y="585"/>
                  </a:lnTo>
                  <a:lnTo>
                    <a:pt x="560" y="592"/>
                  </a:lnTo>
                  <a:lnTo>
                    <a:pt x="555" y="625"/>
                  </a:lnTo>
                  <a:lnTo>
                    <a:pt x="550" y="614"/>
                  </a:lnTo>
                  <a:lnTo>
                    <a:pt x="534" y="625"/>
                  </a:lnTo>
                  <a:lnTo>
                    <a:pt x="517" y="625"/>
                  </a:lnTo>
                  <a:lnTo>
                    <a:pt x="517" y="642"/>
                  </a:lnTo>
                  <a:lnTo>
                    <a:pt x="506" y="642"/>
                  </a:lnTo>
                  <a:lnTo>
                    <a:pt x="484" y="647"/>
                  </a:lnTo>
                  <a:lnTo>
                    <a:pt x="480" y="663"/>
                  </a:lnTo>
                  <a:lnTo>
                    <a:pt x="468" y="663"/>
                  </a:lnTo>
                  <a:lnTo>
                    <a:pt x="425" y="670"/>
                  </a:lnTo>
                  <a:lnTo>
                    <a:pt x="409" y="663"/>
                  </a:lnTo>
                  <a:lnTo>
                    <a:pt x="409" y="680"/>
                  </a:lnTo>
                  <a:lnTo>
                    <a:pt x="399" y="680"/>
                  </a:lnTo>
                  <a:lnTo>
                    <a:pt x="392" y="696"/>
                  </a:lnTo>
                  <a:lnTo>
                    <a:pt x="392" y="720"/>
                  </a:lnTo>
                  <a:lnTo>
                    <a:pt x="388" y="725"/>
                  </a:lnTo>
                  <a:lnTo>
                    <a:pt x="392" y="758"/>
                  </a:lnTo>
                  <a:lnTo>
                    <a:pt x="371" y="770"/>
                  </a:lnTo>
                  <a:lnTo>
                    <a:pt x="362" y="758"/>
                  </a:lnTo>
                  <a:lnTo>
                    <a:pt x="371" y="779"/>
                  </a:lnTo>
                  <a:lnTo>
                    <a:pt x="388" y="779"/>
                  </a:lnTo>
                  <a:lnTo>
                    <a:pt x="392" y="824"/>
                  </a:lnTo>
                  <a:lnTo>
                    <a:pt x="447" y="881"/>
                  </a:lnTo>
                  <a:lnTo>
                    <a:pt x="442" y="890"/>
                  </a:lnTo>
                  <a:lnTo>
                    <a:pt x="451" y="923"/>
                  </a:lnTo>
                  <a:lnTo>
                    <a:pt x="468" y="918"/>
                  </a:lnTo>
                  <a:lnTo>
                    <a:pt x="468" y="918"/>
                  </a:lnTo>
                  <a:lnTo>
                    <a:pt x="468" y="940"/>
                  </a:lnTo>
                  <a:lnTo>
                    <a:pt x="451" y="947"/>
                  </a:lnTo>
                  <a:lnTo>
                    <a:pt x="447" y="996"/>
                  </a:lnTo>
                  <a:lnTo>
                    <a:pt x="442" y="996"/>
                  </a:lnTo>
                  <a:lnTo>
                    <a:pt x="425" y="1001"/>
                  </a:lnTo>
                  <a:lnTo>
                    <a:pt x="425" y="1018"/>
                  </a:lnTo>
                  <a:lnTo>
                    <a:pt x="430" y="1046"/>
                  </a:lnTo>
                  <a:lnTo>
                    <a:pt x="451" y="1072"/>
                  </a:lnTo>
                  <a:lnTo>
                    <a:pt x="480" y="1088"/>
                  </a:lnTo>
                  <a:lnTo>
                    <a:pt x="496" y="1112"/>
                  </a:lnTo>
                  <a:lnTo>
                    <a:pt x="496" y="1157"/>
                  </a:lnTo>
                  <a:lnTo>
                    <a:pt x="484" y="1157"/>
                  </a:lnTo>
                  <a:lnTo>
                    <a:pt x="484" y="1162"/>
                  </a:lnTo>
                  <a:lnTo>
                    <a:pt x="496" y="1183"/>
                  </a:lnTo>
                  <a:lnTo>
                    <a:pt x="506" y="1199"/>
                  </a:lnTo>
                  <a:lnTo>
                    <a:pt x="506" y="1216"/>
                  </a:lnTo>
                  <a:lnTo>
                    <a:pt x="522" y="1256"/>
                  </a:lnTo>
                  <a:lnTo>
                    <a:pt x="496" y="1311"/>
                  </a:lnTo>
                  <a:lnTo>
                    <a:pt x="463" y="1332"/>
                  </a:lnTo>
                  <a:lnTo>
                    <a:pt x="463" y="1348"/>
                  </a:lnTo>
                  <a:lnTo>
                    <a:pt x="463" y="1360"/>
                  </a:lnTo>
                  <a:lnTo>
                    <a:pt x="447" y="1388"/>
                  </a:lnTo>
                  <a:lnTo>
                    <a:pt x="442" y="1332"/>
                  </a:lnTo>
                  <a:lnTo>
                    <a:pt x="447" y="1332"/>
                  </a:lnTo>
                  <a:lnTo>
                    <a:pt x="451" y="1322"/>
                  </a:lnTo>
                  <a:lnTo>
                    <a:pt x="463" y="1266"/>
                  </a:lnTo>
                  <a:lnTo>
                    <a:pt x="468" y="1266"/>
                  </a:lnTo>
                  <a:lnTo>
                    <a:pt x="463" y="1256"/>
                  </a:lnTo>
                  <a:lnTo>
                    <a:pt x="451" y="1266"/>
                  </a:lnTo>
                  <a:lnTo>
                    <a:pt x="447" y="1256"/>
                  </a:lnTo>
                  <a:lnTo>
                    <a:pt x="451" y="1240"/>
                  </a:lnTo>
                  <a:lnTo>
                    <a:pt x="451" y="1223"/>
                  </a:lnTo>
                  <a:lnTo>
                    <a:pt x="451" y="1223"/>
                  </a:lnTo>
                  <a:lnTo>
                    <a:pt x="447" y="1223"/>
                  </a:lnTo>
                  <a:lnTo>
                    <a:pt x="451" y="1216"/>
                  </a:lnTo>
                  <a:lnTo>
                    <a:pt x="447" y="1211"/>
                  </a:lnTo>
                  <a:lnTo>
                    <a:pt x="451" y="1195"/>
                  </a:lnTo>
                  <a:lnTo>
                    <a:pt x="447" y="1157"/>
                  </a:lnTo>
                  <a:lnTo>
                    <a:pt x="430" y="1112"/>
                  </a:lnTo>
                  <a:lnTo>
                    <a:pt x="425" y="1088"/>
                  </a:lnTo>
                  <a:lnTo>
                    <a:pt x="413" y="1129"/>
                  </a:lnTo>
                  <a:lnTo>
                    <a:pt x="413" y="1084"/>
                  </a:lnTo>
                  <a:lnTo>
                    <a:pt x="392" y="1029"/>
                  </a:lnTo>
                  <a:lnTo>
                    <a:pt x="388" y="956"/>
                  </a:lnTo>
                  <a:lnTo>
                    <a:pt x="376" y="940"/>
                  </a:lnTo>
                  <a:lnTo>
                    <a:pt x="388" y="907"/>
                  </a:lnTo>
                  <a:lnTo>
                    <a:pt x="392" y="907"/>
                  </a:lnTo>
                  <a:lnTo>
                    <a:pt x="362" y="907"/>
                  </a:lnTo>
                  <a:lnTo>
                    <a:pt x="345" y="864"/>
                  </a:lnTo>
                  <a:lnTo>
                    <a:pt x="333" y="836"/>
                  </a:lnTo>
                  <a:lnTo>
                    <a:pt x="324" y="864"/>
                  </a:lnTo>
                  <a:lnTo>
                    <a:pt x="333" y="869"/>
                  </a:lnTo>
                  <a:lnTo>
                    <a:pt x="324" y="890"/>
                  </a:lnTo>
                  <a:lnTo>
                    <a:pt x="307" y="907"/>
                  </a:lnTo>
                  <a:lnTo>
                    <a:pt x="291" y="907"/>
                  </a:lnTo>
                  <a:lnTo>
                    <a:pt x="286" y="902"/>
                  </a:lnTo>
                  <a:lnTo>
                    <a:pt x="286" y="885"/>
                  </a:lnTo>
                  <a:lnTo>
                    <a:pt x="286" y="918"/>
                  </a:lnTo>
                  <a:lnTo>
                    <a:pt x="269" y="918"/>
                  </a:lnTo>
                  <a:lnTo>
                    <a:pt x="269" y="923"/>
                  </a:lnTo>
                  <a:lnTo>
                    <a:pt x="253" y="940"/>
                  </a:lnTo>
                  <a:lnTo>
                    <a:pt x="232" y="963"/>
                  </a:lnTo>
                  <a:lnTo>
                    <a:pt x="215" y="963"/>
                  </a:lnTo>
                  <a:lnTo>
                    <a:pt x="227" y="940"/>
                  </a:lnTo>
                  <a:lnTo>
                    <a:pt x="215" y="963"/>
                  </a:lnTo>
                  <a:lnTo>
                    <a:pt x="210" y="963"/>
                  </a:lnTo>
                  <a:lnTo>
                    <a:pt x="210" y="940"/>
                  </a:lnTo>
                  <a:lnTo>
                    <a:pt x="215" y="940"/>
                  </a:lnTo>
                  <a:lnTo>
                    <a:pt x="210" y="940"/>
                  </a:lnTo>
                  <a:lnTo>
                    <a:pt x="199" y="963"/>
                  </a:lnTo>
                  <a:lnTo>
                    <a:pt x="182" y="963"/>
                  </a:lnTo>
                  <a:lnTo>
                    <a:pt x="182" y="940"/>
                  </a:lnTo>
                  <a:lnTo>
                    <a:pt x="199" y="935"/>
                  </a:lnTo>
                  <a:lnTo>
                    <a:pt x="173" y="956"/>
                  </a:lnTo>
                  <a:lnTo>
                    <a:pt x="173" y="956"/>
                  </a:lnTo>
                  <a:lnTo>
                    <a:pt x="182" y="940"/>
                  </a:lnTo>
                  <a:lnTo>
                    <a:pt x="173" y="947"/>
                  </a:lnTo>
                  <a:lnTo>
                    <a:pt x="177" y="940"/>
                  </a:lnTo>
                  <a:lnTo>
                    <a:pt x="173" y="923"/>
                  </a:lnTo>
                  <a:lnTo>
                    <a:pt x="161" y="923"/>
                  </a:lnTo>
                  <a:lnTo>
                    <a:pt x="161" y="940"/>
                  </a:lnTo>
                  <a:lnTo>
                    <a:pt x="144" y="947"/>
                  </a:lnTo>
                  <a:lnTo>
                    <a:pt x="144" y="923"/>
                  </a:lnTo>
                  <a:lnTo>
                    <a:pt x="173" y="829"/>
                  </a:lnTo>
                  <a:lnTo>
                    <a:pt x="156" y="774"/>
                  </a:lnTo>
                  <a:lnTo>
                    <a:pt x="144" y="758"/>
                  </a:lnTo>
                  <a:lnTo>
                    <a:pt x="144" y="741"/>
                  </a:lnTo>
                  <a:lnTo>
                    <a:pt x="139" y="737"/>
                  </a:lnTo>
                  <a:lnTo>
                    <a:pt x="128" y="737"/>
                  </a:lnTo>
                  <a:lnTo>
                    <a:pt x="128" y="713"/>
                  </a:lnTo>
                  <a:lnTo>
                    <a:pt x="123" y="713"/>
                  </a:lnTo>
                  <a:lnTo>
                    <a:pt x="118" y="703"/>
                  </a:lnTo>
                  <a:lnTo>
                    <a:pt x="123" y="696"/>
                  </a:lnTo>
                  <a:lnTo>
                    <a:pt x="102" y="670"/>
                  </a:lnTo>
                  <a:lnTo>
                    <a:pt x="106" y="659"/>
                  </a:lnTo>
                  <a:lnTo>
                    <a:pt x="102" y="663"/>
                  </a:lnTo>
                  <a:lnTo>
                    <a:pt x="85" y="647"/>
                  </a:lnTo>
                  <a:lnTo>
                    <a:pt x="69" y="647"/>
                  </a:lnTo>
                  <a:lnTo>
                    <a:pt x="76" y="663"/>
                  </a:lnTo>
                  <a:lnTo>
                    <a:pt x="69" y="659"/>
                  </a:lnTo>
                  <a:lnTo>
                    <a:pt x="69" y="663"/>
                  </a:lnTo>
                  <a:lnTo>
                    <a:pt x="54" y="642"/>
                  </a:lnTo>
                  <a:lnTo>
                    <a:pt x="69" y="642"/>
                  </a:lnTo>
                  <a:lnTo>
                    <a:pt x="54" y="642"/>
                  </a:lnTo>
                  <a:lnTo>
                    <a:pt x="64" y="609"/>
                  </a:lnTo>
                  <a:lnTo>
                    <a:pt x="47" y="642"/>
                  </a:lnTo>
                  <a:lnTo>
                    <a:pt x="38" y="630"/>
                  </a:lnTo>
                  <a:lnTo>
                    <a:pt x="47" y="625"/>
                  </a:lnTo>
                  <a:lnTo>
                    <a:pt x="47" y="614"/>
                  </a:lnTo>
                  <a:lnTo>
                    <a:pt x="31" y="602"/>
                  </a:lnTo>
                  <a:lnTo>
                    <a:pt x="38" y="630"/>
                  </a:lnTo>
                  <a:lnTo>
                    <a:pt x="17" y="602"/>
                  </a:lnTo>
                  <a:lnTo>
                    <a:pt x="10" y="569"/>
                  </a:lnTo>
                  <a:lnTo>
                    <a:pt x="10" y="569"/>
                  </a:lnTo>
                  <a:lnTo>
                    <a:pt x="10" y="569"/>
                  </a:lnTo>
                  <a:close/>
                  <a:moveTo>
                    <a:pt x="123" y="696"/>
                  </a:moveTo>
                  <a:lnTo>
                    <a:pt x="118" y="703"/>
                  </a:lnTo>
                  <a:lnTo>
                    <a:pt x="102" y="687"/>
                  </a:lnTo>
                  <a:lnTo>
                    <a:pt x="106" y="687"/>
                  </a:lnTo>
                  <a:lnTo>
                    <a:pt x="123" y="696"/>
                  </a:lnTo>
                  <a:lnTo>
                    <a:pt x="123" y="696"/>
                  </a:lnTo>
                  <a:lnTo>
                    <a:pt x="123" y="696"/>
                  </a:lnTo>
                  <a:close/>
                  <a:moveTo>
                    <a:pt x="118" y="703"/>
                  </a:moveTo>
                  <a:lnTo>
                    <a:pt x="123" y="725"/>
                  </a:lnTo>
                  <a:lnTo>
                    <a:pt x="123" y="737"/>
                  </a:lnTo>
                  <a:lnTo>
                    <a:pt x="106" y="725"/>
                  </a:lnTo>
                  <a:lnTo>
                    <a:pt x="92" y="696"/>
                  </a:lnTo>
                  <a:lnTo>
                    <a:pt x="92" y="696"/>
                  </a:lnTo>
                  <a:lnTo>
                    <a:pt x="106" y="703"/>
                  </a:lnTo>
                  <a:lnTo>
                    <a:pt x="118" y="703"/>
                  </a:lnTo>
                  <a:lnTo>
                    <a:pt x="118" y="703"/>
                  </a:lnTo>
                  <a:lnTo>
                    <a:pt x="118" y="703"/>
                  </a:lnTo>
                  <a:close/>
                  <a:moveTo>
                    <a:pt x="102" y="737"/>
                  </a:moveTo>
                  <a:lnTo>
                    <a:pt x="106" y="737"/>
                  </a:lnTo>
                  <a:lnTo>
                    <a:pt x="106" y="753"/>
                  </a:lnTo>
                  <a:lnTo>
                    <a:pt x="92" y="737"/>
                  </a:lnTo>
                  <a:lnTo>
                    <a:pt x="102" y="737"/>
                  </a:lnTo>
                  <a:lnTo>
                    <a:pt x="102" y="737"/>
                  </a:lnTo>
                  <a:lnTo>
                    <a:pt x="102" y="737"/>
                  </a:lnTo>
                  <a:close/>
                  <a:moveTo>
                    <a:pt x="376" y="907"/>
                  </a:moveTo>
                  <a:lnTo>
                    <a:pt x="376" y="918"/>
                  </a:lnTo>
                  <a:lnTo>
                    <a:pt x="376" y="935"/>
                  </a:lnTo>
                  <a:lnTo>
                    <a:pt x="371" y="923"/>
                  </a:lnTo>
                  <a:lnTo>
                    <a:pt x="376" y="907"/>
                  </a:lnTo>
                  <a:lnTo>
                    <a:pt x="376" y="907"/>
                  </a:lnTo>
                  <a:lnTo>
                    <a:pt x="376" y="907"/>
                  </a:lnTo>
                  <a:close/>
                  <a:moveTo>
                    <a:pt x="173" y="935"/>
                  </a:moveTo>
                  <a:lnTo>
                    <a:pt x="173" y="940"/>
                  </a:lnTo>
                  <a:lnTo>
                    <a:pt x="156" y="956"/>
                  </a:lnTo>
                  <a:lnTo>
                    <a:pt x="156" y="947"/>
                  </a:lnTo>
                  <a:lnTo>
                    <a:pt x="173" y="935"/>
                  </a:lnTo>
                  <a:lnTo>
                    <a:pt x="173" y="935"/>
                  </a:lnTo>
                  <a:lnTo>
                    <a:pt x="173" y="935"/>
                  </a:lnTo>
                  <a:close/>
                  <a:moveTo>
                    <a:pt x="430" y="1216"/>
                  </a:moveTo>
                  <a:lnTo>
                    <a:pt x="430" y="1195"/>
                  </a:lnTo>
                  <a:lnTo>
                    <a:pt x="442" y="1195"/>
                  </a:lnTo>
                  <a:lnTo>
                    <a:pt x="442" y="1211"/>
                  </a:lnTo>
                  <a:lnTo>
                    <a:pt x="430" y="1216"/>
                  </a:lnTo>
                  <a:lnTo>
                    <a:pt x="430" y="1216"/>
                  </a:lnTo>
                  <a:lnTo>
                    <a:pt x="430" y="1216"/>
                  </a:lnTo>
                  <a:lnTo>
                    <a:pt x="430" y="1216"/>
                  </a:lnTo>
                  <a:close/>
                  <a:moveTo>
                    <a:pt x="409" y="1216"/>
                  </a:moveTo>
                  <a:lnTo>
                    <a:pt x="399" y="1216"/>
                  </a:lnTo>
                  <a:lnTo>
                    <a:pt x="413" y="1211"/>
                  </a:lnTo>
                  <a:lnTo>
                    <a:pt x="409" y="1216"/>
                  </a:lnTo>
                  <a:lnTo>
                    <a:pt x="409" y="1216"/>
                  </a:lnTo>
                  <a:lnTo>
                    <a:pt x="409" y="1216"/>
                  </a:lnTo>
                  <a:close/>
                  <a:moveTo>
                    <a:pt x="413" y="1223"/>
                  </a:moveTo>
                  <a:lnTo>
                    <a:pt x="409" y="1216"/>
                  </a:lnTo>
                  <a:lnTo>
                    <a:pt x="413" y="1216"/>
                  </a:lnTo>
                  <a:lnTo>
                    <a:pt x="413" y="1233"/>
                  </a:lnTo>
                  <a:lnTo>
                    <a:pt x="413" y="1223"/>
                  </a:lnTo>
                  <a:lnTo>
                    <a:pt x="413" y="1223"/>
                  </a:lnTo>
                  <a:lnTo>
                    <a:pt x="413" y="1223"/>
                  </a:lnTo>
                  <a:close/>
                  <a:moveTo>
                    <a:pt x="447" y="1240"/>
                  </a:moveTo>
                  <a:lnTo>
                    <a:pt x="451" y="1249"/>
                  </a:lnTo>
                  <a:lnTo>
                    <a:pt x="442" y="1249"/>
                  </a:lnTo>
                  <a:lnTo>
                    <a:pt x="442" y="1233"/>
                  </a:lnTo>
                  <a:lnTo>
                    <a:pt x="447" y="1240"/>
                  </a:lnTo>
                  <a:lnTo>
                    <a:pt x="447" y="1240"/>
                  </a:lnTo>
                  <a:lnTo>
                    <a:pt x="447" y="1240"/>
                  </a:lnTo>
                  <a:close/>
                  <a:moveTo>
                    <a:pt x="442" y="1273"/>
                  </a:moveTo>
                  <a:lnTo>
                    <a:pt x="430" y="1256"/>
                  </a:lnTo>
                  <a:lnTo>
                    <a:pt x="447" y="1256"/>
                  </a:lnTo>
                  <a:lnTo>
                    <a:pt x="447" y="1273"/>
                  </a:lnTo>
                  <a:lnTo>
                    <a:pt x="442" y="1273"/>
                  </a:lnTo>
                  <a:lnTo>
                    <a:pt x="442" y="1273"/>
                  </a:lnTo>
                  <a:lnTo>
                    <a:pt x="442" y="1273"/>
                  </a:lnTo>
                  <a:close/>
                  <a:moveTo>
                    <a:pt x="413" y="1277"/>
                  </a:moveTo>
                  <a:lnTo>
                    <a:pt x="430" y="1256"/>
                  </a:lnTo>
                  <a:lnTo>
                    <a:pt x="425" y="1277"/>
                  </a:lnTo>
                  <a:lnTo>
                    <a:pt x="413" y="1277"/>
                  </a:lnTo>
                  <a:lnTo>
                    <a:pt x="413" y="1277"/>
                  </a:lnTo>
                  <a:lnTo>
                    <a:pt x="413" y="1277"/>
                  </a:lnTo>
                  <a:close/>
                  <a:moveTo>
                    <a:pt x="442" y="1311"/>
                  </a:moveTo>
                  <a:lnTo>
                    <a:pt x="447" y="1306"/>
                  </a:lnTo>
                  <a:lnTo>
                    <a:pt x="447" y="1322"/>
                  </a:lnTo>
                  <a:lnTo>
                    <a:pt x="442" y="1311"/>
                  </a:lnTo>
                  <a:lnTo>
                    <a:pt x="442" y="1311"/>
                  </a:lnTo>
                  <a:lnTo>
                    <a:pt x="442" y="1311"/>
                  </a:lnTo>
                  <a:close/>
                  <a:moveTo>
                    <a:pt x="425" y="1332"/>
                  </a:moveTo>
                  <a:lnTo>
                    <a:pt x="425" y="1332"/>
                  </a:lnTo>
                  <a:lnTo>
                    <a:pt x="413" y="1322"/>
                  </a:lnTo>
                  <a:lnTo>
                    <a:pt x="413" y="1322"/>
                  </a:lnTo>
                  <a:lnTo>
                    <a:pt x="413" y="1311"/>
                  </a:lnTo>
                  <a:lnTo>
                    <a:pt x="425" y="1332"/>
                  </a:lnTo>
                  <a:lnTo>
                    <a:pt x="425" y="1332"/>
                  </a:lnTo>
                  <a:lnTo>
                    <a:pt x="425" y="1332"/>
                  </a:lnTo>
                  <a:close/>
                  <a:moveTo>
                    <a:pt x="399" y="1348"/>
                  </a:moveTo>
                  <a:lnTo>
                    <a:pt x="399" y="1360"/>
                  </a:lnTo>
                  <a:lnTo>
                    <a:pt x="399" y="1348"/>
                  </a:lnTo>
                  <a:lnTo>
                    <a:pt x="399" y="1348"/>
                  </a:lnTo>
                  <a:lnTo>
                    <a:pt x="399" y="1348"/>
                  </a:lnTo>
                  <a:lnTo>
                    <a:pt x="399" y="1348"/>
                  </a:lnTo>
                  <a:close/>
                  <a:moveTo>
                    <a:pt x="425" y="1384"/>
                  </a:moveTo>
                  <a:lnTo>
                    <a:pt x="413" y="1400"/>
                  </a:lnTo>
                  <a:lnTo>
                    <a:pt x="425" y="1384"/>
                  </a:lnTo>
                  <a:lnTo>
                    <a:pt x="425" y="1384"/>
                  </a:lnTo>
                  <a:lnTo>
                    <a:pt x="425" y="1384"/>
                  </a:lnTo>
                  <a:lnTo>
                    <a:pt x="425" y="1384"/>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1" name="Freeform 400">
              <a:extLst>
                <a:ext uri="{FF2B5EF4-FFF2-40B4-BE49-F238E27FC236}">
                  <a16:creationId xmlns:a16="http://schemas.microsoft.com/office/drawing/2014/main" id="{85D68A25-FAD1-430F-AA40-A07BA1DAD6A2}"/>
                </a:ext>
              </a:extLst>
            </p:cNvPr>
            <p:cNvSpPr>
              <a:spLocks/>
            </p:cNvSpPr>
            <p:nvPr/>
          </p:nvSpPr>
          <p:spPr bwMode="gray">
            <a:xfrm>
              <a:off x="13762167" y="3820821"/>
              <a:ext cx="71023" cy="145974"/>
            </a:xfrm>
            <a:custGeom>
              <a:avLst/>
              <a:gdLst>
                <a:gd name="T0" fmla="*/ 59 w 217"/>
                <a:gd name="T1" fmla="*/ 446 h 446"/>
                <a:gd name="T2" fmla="*/ 71 w 217"/>
                <a:gd name="T3" fmla="*/ 441 h 446"/>
                <a:gd name="T4" fmla="*/ 55 w 217"/>
                <a:gd name="T5" fmla="*/ 413 h 446"/>
                <a:gd name="T6" fmla="*/ 55 w 217"/>
                <a:gd name="T7" fmla="*/ 392 h 446"/>
                <a:gd name="T8" fmla="*/ 59 w 217"/>
                <a:gd name="T9" fmla="*/ 392 h 446"/>
                <a:gd name="T10" fmla="*/ 59 w 217"/>
                <a:gd name="T11" fmla="*/ 354 h 446"/>
                <a:gd name="T12" fmla="*/ 59 w 217"/>
                <a:gd name="T13" fmla="*/ 243 h 446"/>
                <a:gd name="T14" fmla="*/ 38 w 217"/>
                <a:gd name="T15" fmla="*/ 210 h 446"/>
                <a:gd name="T16" fmla="*/ 38 w 217"/>
                <a:gd name="T17" fmla="*/ 172 h 446"/>
                <a:gd name="T18" fmla="*/ 0 w 217"/>
                <a:gd name="T19" fmla="*/ 148 h 446"/>
                <a:gd name="T20" fmla="*/ 5 w 217"/>
                <a:gd name="T21" fmla="*/ 99 h 446"/>
                <a:gd name="T22" fmla="*/ 26 w 217"/>
                <a:gd name="T23" fmla="*/ 82 h 446"/>
                <a:gd name="T24" fmla="*/ 38 w 217"/>
                <a:gd name="T25" fmla="*/ 78 h 446"/>
                <a:gd name="T26" fmla="*/ 43 w 217"/>
                <a:gd name="T27" fmla="*/ 66 h 446"/>
                <a:gd name="T28" fmla="*/ 59 w 217"/>
                <a:gd name="T29" fmla="*/ 78 h 446"/>
                <a:gd name="T30" fmla="*/ 80 w 217"/>
                <a:gd name="T31" fmla="*/ 66 h 446"/>
                <a:gd name="T32" fmla="*/ 109 w 217"/>
                <a:gd name="T33" fmla="*/ 56 h 446"/>
                <a:gd name="T34" fmla="*/ 114 w 217"/>
                <a:gd name="T35" fmla="*/ 40 h 446"/>
                <a:gd name="T36" fmla="*/ 114 w 217"/>
                <a:gd name="T37" fmla="*/ 11 h 446"/>
                <a:gd name="T38" fmla="*/ 147 w 217"/>
                <a:gd name="T39" fmla="*/ 0 h 446"/>
                <a:gd name="T40" fmla="*/ 201 w 217"/>
                <a:gd name="T41" fmla="*/ 56 h 446"/>
                <a:gd name="T42" fmla="*/ 192 w 217"/>
                <a:gd name="T43" fmla="*/ 66 h 446"/>
                <a:gd name="T44" fmla="*/ 208 w 217"/>
                <a:gd name="T45" fmla="*/ 94 h 446"/>
                <a:gd name="T46" fmla="*/ 208 w 217"/>
                <a:gd name="T47" fmla="*/ 115 h 446"/>
                <a:gd name="T48" fmla="*/ 217 w 217"/>
                <a:gd name="T49" fmla="*/ 132 h 446"/>
                <a:gd name="T50" fmla="*/ 217 w 217"/>
                <a:gd name="T51" fmla="*/ 148 h 446"/>
                <a:gd name="T52" fmla="*/ 208 w 217"/>
                <a:gd name="T53" fmla="*/ 139 h 446"/>
                <a:gd name="T54" fmla="*/ 201 w 217"/>
                <a:gd name="T55" fmla="*/ 156 h 446"/>
                <a:gd name="T56" fmla="*/ 208 w 217"/>
                <a:gd name="T57" fmla="*/ 165 h 446"/>
                <a:gd name="T58" fmla="*/ 201 w 217"/>
                <a:gd name="T59" fmla="*/ 177 h 446"/>
                <a:gd name="T60" fmla="*/ 180 w 217"/>
                <a:gd name="T61" fmla="*/ 189 h 446"/>
                <a:gd name="T62" fmla="*/ 184 w 217"/>
                <a:gd name="T63" fmla="*/ 193 h 446"/>
                <a:gd name="T64" fmla="*/ 168 w 217"/>
                <a:gd name="T65" fmla="*/ 222 h 446"/>
                <a:gd name="T66" fmla="*/ 163 w 217"/>
                <a:gd name="T67" fmla="*/ 243 h 446"/>
                <a:gd name="T68" fmla="*/ 137 w 217"/>
                <a:gd name="T69" fmla="*/ 243 h 446"/>
                <a:gd name="T70" fmla="*/ 130 w 217"/>
                <a:gd name="T71" fmla="*/ 330 h 446"/>
                <a:gd name="T72" fmla="*/ 137 w 217"/>
                <a:gd name="T73" fmla="*/ 387 h 446"/>
                <a:gd name="T74" fmla="*/ 137 w 217"/>
                <a:gd name="T75" fmla="*/ 441 h 446"/>
                <a:gd name="T76" fmla="*/ 59 w 217"/>
                <a:gd name="T77" fmla="*/ 446 h 446"/>
                <a:gd name="T78" fmla="*/ 59 w 217"/>
                <a:gd name="T79" fmla="*/ 446 h 446"/>
                <a:gd name="T80" fmla="*/ 59 w 217"/>
                <a:gd name="T81"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7" h="446">
                  <a:moveTo>
                    <a:pt x="59" y="446"/>
                  </a:moveTo>
                  <a:lnTo>
                    <a:pt x="71" y="441"/>
                  </a:lnTo>
                  <a:lnTo>
                    <a:pt x="55" y="413"/>
                  </a:lnTo>
                  <a:lnTo>
                    <a:pt x="55" y="392"/>
                  </a:lnTo>
                  <a:lnTo>
                    <a:pt x="59" y="392"/>
                  </a:lnTo>
                  <a:lnTo>
                    <a:pt x="59" y="354"/>
                  </a:lnTo>
                  <a:lnTo>
                    <a:pt x="59" y="243"/>
                  </a:lnTo>
                  <a:lnTo>
                    <a:pt x="38" y="210"/>
                  </a:lnTo>
                  <a:lnTo>
                    <a:pt x="38" y="172"/>
                  </a:lnTo>
                  <a:lnTo>
                    <a:pt x="0" y="148"/>
                  </a:lnTo>
                  <a:lnTo>
                    <a:pt x="5" y="99"/>
                  </a:lnTo>
                  <a:lnTo>
                    <a:pt x="26" y="82"/>
                  </a:lnTo>
                  <a:lnTo>
                    <a:pt x="38" y="78"/>
                  </a:lnTo>
                  <a:lnTo>
                    <a:pt x="43" y="66"/>
                  </a:lnTo>
                  <a:lnTo>
                    <a:pt x="59" y="78"/>
                  </a:lnTo>
                  <a:lnTo>
                    <a:pt x="80" y="66"/>
                  </a:lnTo>
                  <a:lnTo>
                    <a:pt x="109" y="56"/>
                  </a:lnTo>
                  <a:lnTo>
                    <a:pt x="114" y="40"/>
                  </a:lnTo>
                  <a:lnTo>
                    <a:pt x="114" y="11"/>
                  </a:lnTo>
                  <a:lnTo>
                    <a:pt x="147" y="0"/>
                  </a:lnTo>
                  <a:lnTo>
                    <a:pt x="201" y="56"/>
                  </a:lnTo>
                  <a:lnTo>
                    <a:pt x="192" y="66"/>
                  </a:lnTo>
                  <a:lnTo>
                    <a:pt x="208" y="94"/>
                  </a:lnTo>
                  <a:lnTo>
                    <a:pt x="208" y="115"/>
                  </a:lnTo>
                  <a:lnTo>
                    <a:pt x="217" y="132"/>
                  </a:lnTo>
                  <a:lnTo>
                    <a:pt x="217" y="148"/>
                  </a:lnTo>
                  <a:lnTo>
                    <a:pt x="208" y="139"/>
                  </a:lnTo>
                  <a:lnTo>
                    <a:pt x="201" y="156"/>
                  </a:lnTo>
                  <a:lnTo>
                    <a:pt x="208" y="165"/>
                  </a:lnTo>
                  <a:lnTo>
                    <a:pt x="201" y="177"/>
                  </a:lnTo>
                  <a:lnTo>
                    <a:pt x="180" y="189"/>
                  </a:lnTo>
                  <a:lnTo>
                    <a:pt x="184" y="193"/>
                  </a:lnTo>
                  <a:lnTo>
                    <a:pt x="168" y="222"/>
                  </a:lnTo>
                  <a:lnTo>
                    <a:pt x="163" y="243"/>
                  </a:lnTo>
                  <a:lnTo>
                    <a:pt x="137" y="243"/>
                  </a:lnTo>
                  <a:lnTo>
                    <a:pt x="130" y="330"/>
                  </a:lnTo>
                  <a:lnTo>
                    <a:pt x="137" y="387"/>
                  </a:lnTo>
                  <a:lnTo>
                    <a:pt x="137" y="441"/>
                  </a:lnTo>
                  <a:lnTo>
                    <a:pt x="59" y="446"/>
                  </a:lnTo>
                  <a:lnTo>
                    <a:pt x="59" y="446"/>
                  </a:lnTo>
                  <a:lnTo>
                    <a:pt x="59" y="446"/>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2" name="Freeform 401">
              <a:extLst>
                <a:ext uri="{FF2B5EF4-FFF2-40B4-BE49-F238E27FC236}">
                  <a16:creationId xmlns:a16="http://schemas.microsoft.com/office/drawing/2014/main" id="{FE40FDD0-58D8-4E74-A4BB-1B95CFE1A64E}"/>
                </a:ext>
              </a:extLst>
            </p:cNvPr>
            <p:cNvSpPr>
              <a:spLocks/>
            </p:cNvSpPr>
            <p:nvPr/>
          </p:nvSpPr>
          <p:spPr bwMode="gray">
            <a:xfrm>
              <a:off x="14276350" y="2630116"/>
              <a:ext cx="221907" cy="156775"/>
            </a:xfrm>
            <a:custGeom>
              <a:avLst/>
              <a:gdLst>
                <a:gd name="T0" fmla="*/ 26 w 678"/>
                <a:gd name="T1" fmla="*/ 442 h 479"/>
                <a:gd name="T2" fmla="*/ 0 w 678"/>
                <a:gd name="T3" fmla="*/ 376 h 479"/>
                <a:gd name="T4" fmla="*/ 52 w 678"/>
                <a:gd name="T5" fmla="*/ 338 h 479"/>
                <a:gd name="T6" fmla="*/ 26 w 678"/>
                <a:gd name="T7" fmla="*/ 220 h 479"/>
                <a:gd name="T8" fmla="*/ 85 w 678"/>
                <a:gd name="T9" fmla="*/ 227 h 479"/>
                <a:gd name="T10" fmla="*/ 118 w 678"/>
                <a:gd name="T11" fmla="*/ 220 h 479"/>
                <a:gd name="T12" fmla="*/ 135 w 678"/>
                <a:gd name="T13" fmla="*/ 203 h 479"/>
                <a:gd name="T14" fmla="*/ 172 w 678"/>
                <a:gd name="T15" fmla="*/ 187 h 479"/>
                <a:gd name="T16" fmla="*/ 177 w 678"/>
                <a:gd name="T17" fmla="*/ 194 h 479"/>
                <a:gd name="T18" fmla="*/ 161 w 678"/>
                <a:gd name="T19" fmla="*/ 177 h 479"/>
                <a:gd name="T20" fmla="*/ 177 w 678"/>
                <a:gd name="T21" fmla="*/ 120 h 479"/>
                <a:gd name="T22" fmla="*/ 215 w 678"/>
                <a:gd name="T23" fmla="*/ 99 h 479"/>
                <a:gd name="T24" fmla="*/ 253 w 678"/>
                <a:gd name="T25" fmla="*/ 83 h 479"/>
                <a:gd name="T26" fmla="*/ 243 w 678"/>
                <a:gd name="T27" fmla="*/ 45 h 479"/>
                <a:gd name="T28" fmla="*/ 265 w 678"/>
                <a:gd name="T29" fmla="*/ 28 h 479"/>
                <a:gd name="T30" fmla="*/ 307 w 678"/>
                <a:gd name="T31" fmla="*/ 21 h 479"/>
                <a:gd name="T32" fmla="*/ 352 w 678"/>
                <a:gd name="T33" fmla="*/ 0 h 479"/>
                <a:gd name="T34" fmla="*/ 378 w 678"/>
                <a:gd name="T35" fmla="*/ 5 h 479"/>
                <a:gd name="T36" fmla="*/ 411 w 678"/>
                <a:gd name="T37" fmla="*/ 12 h 479"/>
                <a:gd name="T38" fmla="*/ 444 w 678"/>
                <a:gd name="T39" fmla="*/ 21 h 479"/>
                <a:gd name="T40" fmla="*/ 444 w 678"/>
                <a:gd name="T41" fmla="*/ 45 h 479"/>
                <a:gd name="T42" fmla="*/ 498 w 678"/>
                <a:gd name="T43" fmla="*/ 28 h 479"/>
                <a:gd name="T44" fmla="*/ 536 w 678"/>
                <a:gd name="T45" fmla="*/ 54 h 479"/>
                <a:gd name="T46" fmla="*/ 541 w 678"/>
                <a:gd name="T47" fmla="*/ 78 h 479"/>
                <a:gd name="T48" fmla="*/ 553 w 678"/>
                <a:gd name="T49" fmla="*/ 111 h 479"/>
                <a:gd name="T50" fmla="*/ 557 w 678"/>
                <a:gd name="T51" fmla="*/ 149 h 479"/>
                <a:gd name="T52" fmla="*/ 569 w 678"/>
                <a:gd name="T53" fmla="*/ 170 h 479"/>
                <a:gd name="T54" fmla="*/ 612 w 678"/>
                <a:gd name="T55" fmla="*/ 203 h 479"/>
                <a:gd name="T56" fmla="*/ 628 w 678"/>
                <a:gd name="T57" fmla="*/ 231 h 479"/>
                <a:gd name="T58" fmla="*/ 661 w 678"/>
                <a:gd name="T59" fmla="*/ 243 h 479"/>
                <a:gd name="T60" fmla="*/ 650 w 678"/>
                <a:gd name="T61" fmla="*/ 260 h 479"/>
                <a:gd name="T62" fmla="*/ 666 w 678"/>
                <a:gd name="T63" fmla="*/ 276 h 479"/>
                <a:gd name="T64" fmla="*/ 579 w 678"/>
                <a:gd name="T65" fmla="*/ 288 h 479"/>
                <a:gd name="T66" fmla="*/ 591 w 678"/>
                <a:gd name="T67" fmla="*/ 331 h 479"/>
                <a:gd name="T68" fmla="*/ 591 w 678"/>
                <a:gd name="T69" fmla="*/ 354 h 479"/>
                <a:gd name="T70" fmla="*/ 607 w 678"/>
                <a:gd name="T71" fmla="*/ 397 h 479"/>
                <a:gd name="T72" fmla="*/ 541 w 678"/>
                <a:gd name="T73" fmla="*/ 409 h 479"/>
                <a:gd name="T74" fmla="*/ 520 w 678"/>
                <a:gd name="T75" fmla="*/ 442 h 479"/>
                <a:gd name="T76" fmla="*/ 520 w 678"/>
                <a:gd name="T77" fmla="*/ 479 h 479"/>
                <a:gd name="T78" fmla="*/ 465 w 678"/>
                <a:gd name="T79" fmla="*/ 463 h 479"/>
                <a:gd name="T80" fmla="*/ 432 w 678"/>
                <a:gd name="T81" fmla="*/ 463 h 479"/>
                <a:gd name="T82" fmla="*/ 395 w 678"/>
                <a:gd name="T83" fmla="*/ 446 h 479"/>
                <a:gd name="T84" fmla="*/ 378 w 678"/>
                <a:gd name="T85" fmla="*/ 446 h 479"/>
                <a:gd name="T86" fmla="*/ 357 w 678"/>
                <a:gd name="T87" fmla="*/ 442 h 479"/>
                <a:gd name="T88" fmla="*/ 324 w 678"/>
                <a:gd name="T89" fmla="*/ 442 h 479"/>
                <a:gd name="T90" fmla="*/ 319 w 678"/>
                <a:gd name="T91" fmla="*/ 453 h 479"/>
                <a:gd name="T92" fmla="*/ 286 w 678"/>
                <a:gd name="T93" fmla="*/ 446 h 479"/>
                <a:gd name="T94" fmla="*/ 177 w 678"/>
                <a:gd name="T95" fmla="*/ 413 h 479"/>
                <a:gd name="T96" fmla="*/ 64 w 678"/>
                <a:gd name="T97" fmla="*/ 446 h 479"/>
                <a:gd name="T98" fmla="*/ 31 w 678"/>
                <a:gd name="T99" fmla="*/ 453 h 479"/>
                <a:gd name="T100" fmla="*/ 31 w 678"/>
                <a:gd name="T101" fmla="*/ 45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8" h="479">
                  <a:moveTo>
                    <a:pt x="31" y="453"/>
                  </a:moveTo>
                  <a:lnTo>
                    <a:pt x="26" y="442"/>
                  </a:lnTo>
                  <a:lnTo>
                    <a:pt x="31" y="397"/>
                  </a:lnTo>
                  <a:lnTo>
                    <a:pt x="0" y="376"/>
                  </a:lnTo>
                  <a:lnTo>
                    <a:pt x="14" y="359"/>
                  </a:lnTo>
                  <a:lnTo>
                    <a:pt x="52" y="338"/>
                  </a:lnTo>
                  <a:lnTo>
                    <a:pt x="52" y="305"/>
                  </a:lnTo>
                  <a:lnTo>
                    <a:pt x="26" y="220"/>
                  </a:lnTo>
                  <a:lnTo>
                    <a:pt x="69" y="220"/>
                  </a:lnTo>
                  <a:lnTo>
                    <a:pt x="85" y="227"/>
                  </a:lnTo>
                  <a:lnTo>
                    <a:pt x="102" y="210"/>
                  </a:lnTo>
                  <a:lnTo>
                    <a:pt x="118" y="220"/>
                  </a:lnTo>
                  <a:lnTo>
                    <a:pt x="118" y="194"/>
                  </a:lnTo>
                  <a:lnTo>
                    <a:pt x="135" y="203"/>
                  </a:lnTo>
                  <a:lnTo>
                    <a:pt x="161" y="177"/>
                  </a:lnTo>
                  <a:lnTo>
                    <a:pt x="172" y="187"/>
                  </a:lnTo>
                  <a:lnTo>
                    <a:pt x="161" y="194"/>
                  </a:lnTo>
                  <a:lnTo>
                    <a:pt x="177" y="194"/>
                  </a:lnTo>
                  <a:lnTo>
                    <a:pt x="177" y="177"/>
                  </a:lnTo>
                  <a:lnTo>
                    <a:pt x="161" y="177"/>
                  </a:lnTo>
                  <a:lnTo>
                    <a:pt x="177" y="153"/>
                  </a:lnTo>
                  <a:lnTo>
                    <a:pt x="177" y="120"/>
                  </a:lnTo>
                  <a:lnTo>
                    <a:pt x="210" y="116"/>
                  </a:lnTo>
                  <a:lnTo>
                    <a:pt x="215" y="99"/>
                  </a:lnTo>
                  <a:lnTo>
                    <a:pt x="232" y="99"/>
                  </a:lnTo>
                  <a:lnTo>
                    <a:pt x="253" y="83"/>
                  </a:lnTo>
                  <a:lnTo>
                    <a:pt x="232" y="78"/>
                  </a:lnTo>
                  <a:lnTo>
                    <a:pt x="243" y="45"/>
                  </a:lnTo>
                  <a:lnTo>
                    <a:pt x="253" y="45"/>
                  </a:lnTo>
                  <a:lnTo>
                    <a:pt x="265" y="28"/>
                  </a:lnTo>
                  <a:lnTo>
                    <a:pt x="307" y="38"/>
                  </a:lnTo>
                  <a:lnTo>
                    <a:pt x="307" y="21"/>
                  </a:lnTo>
                  <a:lnTo>
                    <a:pt x="335" y="0"/>
                  </a:lnTo>
                  <a:lnTo>
                    <a:pt x="352" y="0"/>
                  </a:lnTo>
                  <a:lnTo>
                    <a:pt x="357" y="5"/>
                  </a:lnTo>
                  <a:lnTo>
                    <a:pt x="378" y="5"/>
                  </a:lnTo>
                  <a:lnTo>
                    <a:pt x="390" y="21"/>
                  </a:lnTo>
                  <a:lnTo>
                    <a:pt x="411" y="12"/>
                  </a:lnTo>
                  <a:lnTo>
                    <a:pt x="432" y="21"/>
                  </a:lnTo>
                  <a:lnTo>
                    <a:pt x="444" y="21"/>
                  </a:lnTo>
                  <a:lnTo>
                    <a:pt x="432" y="38"/>
                  </a:lnTo>
                  <a:lnTo>
                    <a:pt x="444" y="45"/>
                  </a:lnTo>
                  <a:lnTo>
                    <a:pt x="470" y="28"/>
                  </a:lnTo>
                  <a:lnTo>
                    <a:pt x="498" y="28"/>
                  </a:lnTo>
                  <a:lnTo>
                    <a:pt x="515" y="28"/>
                  </a:lnTo>
                  <a:lnTo>
                    <a:pt x="536" y="54"/>
                  </a:lnTo>
                  <a:lnTo>
                    <a:pt x="541" y="54"/>
                  </a:lnTo>
                  <a:lnTo>
                    <a:pt x="541" y="78"/>
                  </a:lnTo>
                  <a:lnTo>
                    <a:pt x="536" y="83"/>
                  </a:lnTo>
                  <a:lnTo>
                    <a:pt x="553" y="111"/>
                  </a:lnTo>
                  <a:lnTo>
                    <a:pt x="536" y="132"/>
                  </a:lnTo>
                  <a:lnTo>
                    <a:pt x="557" y="149"/>
                  </a:lnTo>
                  <a:lnTo>
                    <a:pt x="557" y="165"/>
                  </a:lnTo>
                  <a:lnTo>
                    <a:pt x="569" y="170"/>
                  </a:lnTo>
                  <a:lnTo>
                    <a:pt x="574" y="187"/>
                  </a:lnTo>
                  <a:lnTo>
                    <a:pt x="612" y="203"/>
                  </a:lnTo>
                  <a:lnTo>
                    <a:pt x="607" y="231"/>
                  </a:lnTo>
                  <a:lnTo>
                    <a:pt x="628" y="231"/>
                  </a:lnTo>
                  <a:lnTo>
                    <a:pt x="650" y="243"/>
                  </a:lnTo>
                  <a:lnTo>
                    <a:pt x="661" y="243"/>
                  </a:lnTo>
                  <a:lnTo>
                    <a:pt x="650" y="248"/>
                  </a:lnTo>
                  <a:lnTo>
                    <a:pt x="650" y="260"/>
                  </a:lnTo>
                  <a:lnTo>
                    <a:pt x="678" y="265"/>
                  </a:lnTo>
                  <a:lnTo>
                    <a:pt x="666" y="276"/>
                  </a:lnTo>
                  <a:lnTo>
                    <a:pt x="633" y="298"/>
                  </a:lnTo>
                  <a:lnTo>
                    <a:pt x="579" y="288"/>
                  </a:lnTo>
                  <a:lnTo>
                    <a:pt x="569" y="305"/>
                  </a:lnTo>
                  <a:lnTo>
                    <a:pt x="591" y="331"/>
                  </a:lnTo>
                  <a:lnTo>
                    <a:pt x="579" y="338"/>
                  </a:lnTo>
                  <a:lnTo>
                    <a:pt x="591" y="354"/>
                  </a:lnTo>
                  <a:lnTo>
                    <a:pt x="591" y="376"/>
                  </a:lnTo>
                  <a:lnTo>
                    <a:pt x="607" y="397"/>
                  </a:lnTo>
                  <a:lnTo>
                    <a:pt x="541" y="397"/>
                  </a:lnTo>
                  <a:lnTo>
                    <a:pt x="541" y="409"/>
                  </a:lnTo>
                  <a:lnTo>
                    <a:pt x="524" y="425"/>
                  </a:lnTo>
                  <a:lnTo>
                    <a:pt x="520" y="442"/>
                  </a:lnTo>
                  <a:lnTo>
                    <a:pt x="524" y="470"/>
                  </a:lnTo>
                  <a:lnTo>
                    <a:pt x="520" y="479"/>
                  </a:lnTo>
                  <a:lnTo>
                    <a:pt x="487" y="453"/>
                  </a:lnTo>
                  <a:lnTo>
                    <a:pt x="465" y="463"/>
                  </a:lnTo>
                  <a:lnTo>
                    <a:pt x="461" y="453"/>
                  </a:lnTo>
                  <a:lnTo>
                    <a:pt x="432" y="463"/>
                  </a:lnTo>
                  <a:lnTo>
                    <a:pt x="416" y="442"/>
                  </a:lnTo>
                  <a:lnTo>
                    <a:pt x="395" y="446"/>
                  </a:lnTo>
                  <a:lnTo>
                    <a:pt x="390" y="463"/>
                  </a:lnTo>
                  <a:lnTo>
                    <a:pt x="378" y="446"/>
                  </a:lnTo>
                  <a:lnTo>
                    <a:pt x="357" y="446"/>
                  </a:lnTo>
                  <a:lnTo>
                    <a:pt x="357" y="442"/>
                  </a:lnTo>
                  <a:lnTo>
                    <a:pt x="340" y="446"/>
                  </a:lnTo>
                  <a:lnTo>
                    <a:pt x="324" y="442"/>
                  </a:lnTo>
                  <a:lnTo>
                    <a:pt x="319" y="453"/>
                  </a:lnTo>
                  <a:lnTo>
                    <a:pt x="319" y="453"/>
                  </a:lnTo>
                  <a:lnTo>
                    <a:pt x="319" y="446"/>
                  </a:lnTo>
                  <a:lnTo>
                    <a:pt x="286" y="446"/>
                  </a:lnTo>
                  <a:lnTo>
                    <a:pt x="281" y="430"/>
                  </a:lnTo>
                  <a:lnTo>
                    <a:pt x="177" y="413"/>
                  </a:lnTo>
                  <a:lnTo>
                    <a:pt x="85" y="413"/>
                  </a:lnTo>
                  <a:lnTo>
                    <a:pt x="64" y="446"/>
                  </a:lnTo>
                  <a:lnTo>
                    <a:pt x="31" y="442"/>
                  </a:lnTo>
                  <a:lnTo>
                    <a:pt x="31" y="453"/>
                  </a:lnTo>
                  <a:lnTo>
                    <a:pt x="31" y="453"/>
                  </a:lnTo>
                  <a:lnTo>
                    <a:pt x="31" y="453"/>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3" name="Freeform 402">
              <a:extLst>
                <a:ext uri="{FF2B5EF4-FFF2-40B4-BE49-F238E27FC236}">
                  <a16:creationId xmlns:a16="http://schemas.microsoft.com/office/drawing/2014/main" id="{BC3AA42D-4309-43E2-930D-7C90B3E4EA01}"/>
                </a:ext>
              </a:extLst>
            </p:cNvPr>
            <p:cNvSpPr>
              <a:spLocks noEditPoints="1"/>
            </p:cNvSpPr>
            <p:nvPr/>
          </p:nvSpPr>
          <p:spPr bwMode="gray">
            <a:xfrm>
              <a:off x="17313990" y="4270526"/>
              <a:ext cx="263474" cy="124700"/>
            </a:xfrm>
            <a:custGeom>
              <a:avLst/>
              <a:gdLst>
                <a:gd name="T0" fmla="*/ 80 w 805"/>
                <a:gd name="T1" fmla="*/ 0 h 381"/>
                <a:gd name="T2" fmla="*/ 135 w 805"/>
                <a:gd name="T3" fmla="*/ 55 h 381"/>
                <a:gd name="T4" fmla="*/ 12 w 805"/>
                <a:gd name="T5" fmla="*/ 33 h 381"/>
                <a:gd name="T6" fmla="*/ 17 w 805"/>
                <a:gd name="T7" fmla="*/ 38 h 381"/>
                <a:gd name="T8" fmla="*/ 12 w 805"/>
                <a:gd name="T9" fmla="*/ 55 h 381"/>
                <a:gd name="T10" fmla="*/ 156 w 805"/>
                <a:gd name="T11" fmla="*/ 67 h 381"/>
                <a:gd name="T12" fmla="*/ 156 w 805"/>
                <a:gd name="T13" fmla="*/ 67 h 381"/>
                <a:gd name="T14" fmla="*/ 210 w 805"/>
                <a:gd name="T15" fmla="*/ 67 h 381"/>
                <a:gd name="T16" fmla="*/ 302 w 805"/>
                <a:gd name="T17" fmla="*/ 128 h 381"/>
                <a:gd name="T18" fmla="*/ 302 w 805"/>
                <a:gd name="T19" fmla="*/ 137 h 381"/>
                <a:gd name="T20" fmla="*/ 92 w 805"/>
                <a:gd name="T21" fmla="*/ 83 h 381"/>
                <a:gd name="T22" fmla="*/ 118 w 805"/>
                <a:gd name="T23" fmla="*/ 111 h 381"/>
                <a:gd name="T24" fmla="*/ 118 w 805"/>
                <a:gd name="T25" fmla="*/ 111 h 381"/>
                <a:gd name="T26" fmla="*/ 146 w 805"/>
                <a:gd name="T27" fmla="*/ 137 h 381"/>
                <a:gd name="T28" fmla="*/ 118 w 805"/>
                <a:gd name="T29" fmla="*/ 121 h 381"/>
                <a:gd name="T30" fmla="*/ 146 w 805"/>
                <a:gd name="T31" fmla="*/ 121 h 381"/>
                <a:gd name="T32" fmla="*/ 163 w 805"/>
                <a:gd name="T33" fmla="*/ 145 h 381"/>
                <a:gd name="T34" fmla="*/ 118 w 805"/>
                <a:gd name="T35" fmla="*/ 111 h 381"/>
                <a:gd name="T36" fmla="*/ 406 w 805"/>
                <a:gd name="T37" fmla="*/ 182 h 381"/>
                <a:gd name="T38" fmla="*/ 364 w 805"/>
                <a:gd name="T39" fmla="*/ 137 h 381"/>
                <a:gd name="T40" fmla="*/ 378 w 805"/>
                <a:gd name="T41" fmla="*/ 161 h 381"/>
                <a:gd name="T42" fmla="*/ 406 w 805"/>
                <a:gd name="T43" fmla="*/ 182 h 381"/>
                <a:gd name="T44" fmla="*/ 298 w 805"/>
                <a:gd name="T45" fmla="*/ 145 h 381"/>
                <a:gd name="T46" fmla="*/ 118 w 805"/>
                <a:gd name="T47" fmla="*/ 145 h 381"/>
                <a:gd name="T48" fmla="*/ 135 w 805"/>
                <a:gd name="T49" fmla="*/ 149 h 381"/>
                <a:gd name="T50" fmla="*/ 180 w 805"/>
                <a:gd name="T51" fmla="*/ 137 h 381"/>
                <a:gd name="T52" fmla="*/ 172 w 805"/>
                <a:gd name="T53" fmla="*/ 161 h 381"/>
                <a:gd name="T54" fmla="*/ 189 w 805"/>
                <a:gd name="T55" fmla="*/ 161 h 381"/>
                <a:gd name="T56" fmla="*/ 135 w 805"/>
                <a:gd name="T57" fmla="*/ 149 h 381"/>
                <a:gd name="T58" fmla="*/ 146 w 805"/>
                <a:gd name="T59" fmla="*/ 161 h 381"/>
                <a:gd name="T60" fmla="*/ 248 w 805"/>
                <a:gd name="T61" fmla="*/ 182 h 381"/>
                <a:gd name="T62" fmla="*/ 319 w 805"/>
                <a:gd name="T63" fmla="*/ 178 h 381"/>
                <a:gd name="T64" fmla="*/ 335 w 805"/>
                <a:gd name="T65" fmla="*/ 182 h 381"/>
                <a:gd name="T66" fmla="*/ 335 w 805"/>
                <a:gd name="T67" fmla="*/ 182 h 381"/>
                <a:gd name="T68" fmla="*/ 364 w 805"/>
                <a:gd name="T69" fmla="*/ 239 h 381"/>
                <a:gd name="T70" fmla="*/ 286 w 805"/>
                <a:gd name="T71" fmla="*/ 199 h 381"/>
                <a:gd name="T72" fmla="*/ 373 w 805"/>
                <a:gd name="T73" fmla="*/ 232 h 381"/>
                <a:gd name="T74" fmla="*/ 411 w 805"/>
                <a:gd name="T75" fmla="*/ 222 h 381"/>
                <a:gd name="T76" fmla="*/ 428 w 805"/>
                <a:gd name="T77" fmla="*/ 232 h 381"/>
                <a:gd name="T78" fmla="*/ 482 w 805"/>
                <a:gd name="T79" fmla="*/ 310 h 381"/>
                <a:gd name="T80" fmla="*/ 406 w 805"/>
                <a:gd name="T81" fmla="*/ 272 h 381"/>
                <a:gd name="T82" fmla="*/ 470 w 805"/>
                <a:gd name="T83" fmla="*/ 305 h 381"/>
                <a:gd name="T84" fmla="*/ 720 w 805"/>
                <a:gd name="T85" fmla="*/ 305 h 381"/>
                <a:gd name="T86" fmla="*/ 730 w 805"/>
                <a:gd name="T87" fmla="*/ 310 h 381"/>
                <a:gd name="T88" fmla="*/ 775 w 805"/>
                <a:gd name="T89" fmla="*/ 343 h 381"/>
                <a:gd name="T90" fmla="*/ 352 w 805"/>
                <a:gd name="T91" fmla="*/ 381 h 381"/>
                <a:gd name="T92" fmla="*/ 352 w 805"/>
                <a:gd name="T93" fmla="*/ 381 h 381"/>
                <a:gd name="T94" fmla="*/ 805 w 805"/>
                <a:gd name="T95" fmla="*/ 364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05" h="381">
                  <a:moveTo>
                    <a:pt x="135" y="55"/>
                  </a:moveTo>
                  <a:lnTo>
                    <a:pt x="104" y="38"/>
                  </a:lnTo>
                  <a:lnTo>
                    <a:pt x="64" y="0"/>
                  </a:lnTo>
                  <a:lnTo>
                    <a:pt x="80" y="0"/>
                  </a:lnTo>
                  <a:lnTo>
                    <a:pt x="109" y="17"/>
                  </a:lnTo>
                  <a:lnTo>
                    <a:pt x="118" y="38"/>
                  </a:lnTo>
                  <a:lnTo>
                    <a:pt x="142" y="50"/>
                  </a:lnTo>
                  <a:lnTo>
                    <a:pt x="135" y="55"/>
                  </a:lnTo>
                  <a:lnTo>
                    <a:pt x="135" y="55"/>
                  </a:lnTo>
                  <a:lnTo>
                    <a:pt x="135" y="55"/>
                  </a:lnTo>
                  <a:close/>
                  <a:moveTo>
                    <a:pt x="17" y="38"/>
                  </a:moveTo>
                  <a:lnTo>
                    <a:pt x="12" y="33"/>
                  </a:lnTo>
                  <a:lnTo>
                    <a:pt x="17" y="26"/>
                  </a:lnTo>
                  <a:lnTo>
                    <a:pt x="26" y="33"/>
                  </a:lnTo>
                  <a:lnTo>
                    <a:pt x="17" y="38"/>
                  </a:lnTo>
                  <a:lnTo>
                    <a:pt x="17" y="38"/>
                  </a:lnTo>
                  <a:lnTo>
                    <a:pt x="17" y="38"/>
                  </a:lnTo>
                  <a:close/>
                  <a:moveTo>
                    <a:pt x="0" y="55"/>
                  </a:moveTo>
                  <a:lnTo>
                    <a:pt x="0" y="50"/>
                  </a:lnTo>
                  <a:lnTo>
                    <a:pt x="12" y="55"/>
                  </a:lnTo>
                  <a:lnTo>
                    <a:pt x="0" y="55"/>
                  </a:lnTo>
                  <a:lnTo>
                    <a:pt x="0" y="55"/>
                  </a:lnTo>
                  <a:lnTo>
                    <a:pt x="0" y="55"/>
                  </a:lnTo>
                  <a:close/>
                  <a:moveTo>
                    <a:pt x="156" y="67"/>
                  </a:moveTo>
                  <a:lnTo>
                    <a:pt x="156" y="55"/>
                  </a:lnTo>
                  <a:lnTo>
                    <a:pt x="156" y="67"/>
                  </a:lnTo>
                  <a:lnTo>
                    <a:pt x="156" y="67"/>
                  </a:lnTo>
                  <a:lnTo>
                    <a:pt x="156" y="67"/>
                  </a:lnTo>
                  <a:lnTo>
                    <a:pt x="156" y="67"/>
                  </a:lnTo>
                  <a:close/>
                  <a:moveTo>
                    <a:pt x="302" y="137"/>
                  </a:moveTo>
                  <a:lnTo>
                    <a:pt x="234" y="95"/>
                  </a:lnTo>
                  <a:lnTo>
                    <a:pt x="210" y="67"/>
                  </a:lnTo>
                  <a:lnTo>
                    <a:pt x="227" y="71"/>
                  </a:lnTo>
                  <a:lnTo>
                    <a:pt x="248" y="95"/>
                  </a:lnTo>
                  <a:lnTo>
                    <a:pt x="272" y="95"/>
                  </a:lnTo>
                  <a:lnTo>
                    <a:pt x="302" y="128"/>
                  </a:lnTo>
                  <a:lnTo>
                    <a:pt x="309" y="145"/>
                  </a:lnTo>
                  <a:lnTo>
                    <a:pt x="302" y="137"/>
                  </a:lnTo>
                  <a:lnTo>
                    <a:pt x="302" y="137"/>
                  </a:lnTo>
                  <a:lnTo>
                    <a:pt x="302" y="137"/>
                  </a:lnTo>
                  <a:close/>
                  <a:moveTo>
                    <a:pt x="87" y="95"/>
                  </a:moveTo>
                  <a:lnTo>
                    <a:pt x="71" y="83"/>
                  </a:lnTo>
                  <a:lnTo>
                    <a:pt x="71" y="71"/>
                  </a:lnTo>
                  <a:lnTo>
                    <a:pt x="92" y="83"/>
                  </a:lnTo>
                  <a:lnTo>
                    <a:pt x="87" y="95"/>
                  </a:lnTo>
                  <a:lnTo>
                    <a:pt x="87" y="95"/>
                  </a:lnTo>
                  <a:lnTo>
                    <a:pt x="87" y="95"/>
                  </a:lnTo>
                  <a:close/>
                  <a:moveTo>
                    <a:pt x="118" y="111"/>
                  </a:moveTo>
                  <a:lnTo>
                    <a:pt x="104" y="104"/>
                  </a:lnTo>
                  <a:lnTo>
                    <a:pt x="109" y="88"/>
                  </a:lnTo>
                  <a:lnTo>
                    <a:pt x="118" y="95"/>
                  </a:lnTo>
                  <a:lnTo>
                    <a:pt x="118" y="111"/>
                  </a:lnTo>
                  <a:lnTo>
                    <a:pt x="118" y="111"/>
                  </a:lnTo>
                  <a:lnTo>
                    <a:pt x="118" y="111"/>
                  </a:lnTo>
                  <a:close/>
                  <a:moveTo>
                    <a:pt x="163" y="145"/>
                  </a:moveTo>
                  <a:lnTo>
                    <a:pt x="146" y="137"/>
                  </a:lnTo>
                  <a:lnTo>
                    <a:pt x="142" y="121"/>
                  </a:lnTo>
                  <a:lnTo>
                    <a:pt x="146" y="128"/>
                  </a:lnTo>
                  <a:lnTo>
                    <a:pt x="142" y="121"/>
                  </a:lnTo>
                  <a:lnTo>
                    <a:pt x="118" y="121"/>
                  </a:lnTo>
                  <a:lnTo>
                    <a:pt x="118" y="121"/>
                  </a:lnTo>
                  <a:lnTo>
                    <a:pt x="135" y="95"/>
                  </a:lnTo>
                  <a:lnTo>
                    <a:pt x="146" y="104"/>
                  </a:lnTo>
                  <a:lnTo>
                    <a:pt x="146" y="121"/>
                  </a:lnTo>
                  <a:lnTo>
                    <a:pt x="156" y="121"/>
                  </a:lnTo>
                  <a:lnTo>
                    <a:pt x="172" y="137"/>
                  </a:lnTo>
                  <a:lnTo>
                    <a:pt x="163" y="145"/>
                  </a:lnTo>
                  <a:lnTo>
                    <a:pt x="163" y="145"/>
                  </a:lnTo>
                  <a:lnTo>
                    <a:pt x="163" y="145"/>
                  </a:lnTo>
                  <a:close/>
                  <a:moveTo>
                    <a:pt x="118" y="121"/>
                  </a:moveTo>
                  <a:lnTo>
                    <a:pt x="109" y="111"/>
                  </a:lnTo>
                  <a:lnTo>
                    <a:pt x="118" y="111"/>
                  </a:lnTo>
                  <a:lnTo>
                    <a:pt x="118" y="121"/>
                  </a:lnTo>
                  <a:lnTo>
                    <a:pt x="118" y="121"/>
                  </a:lnTo>
                  <a:lnTo>
                    <a:pt x="118" y="121"/>
                  </a:lnTo>
                  <a:close/>
                  <a:moveTo>
                    <a:pt x="406" y="182"/>
                  </a:moveTo>
                  <a:lnTo>
                    <a:pt x="411" y="215"/>
                  </a:lnTo>
                  <a:lnTo>
                    <a:pt x="373" y="178"/>
                  </a:lnTo>
                  <a:lnTo>
                    <a:pt x="364" y="145"/>
                  </a:lnTo>
                  <a:lnTo>
                    <a:pt x="364" y="137"/>
                  </a:lnTo>
                  <a:lnTo>
                    <a:pt x="357" y="128"/>
                  </a:lnTo>
                  <a:lnTo>
                    <a:pt x="373" y="128"/>
                  </a:lnTo>
                  <a:lnTo>
                    <a:pt x="390" y="145"/>
                  </a:lnTo>
                  <a:lnTo>
                    <a:pt x="378" y="161"/>
                  </a:lnTo>
                  <a:lnTo>
                    <a:pt x="394" y="166"/>
                  </a:lnTo>
                  <a:lnTo>
                    <a:pt x="406" y="182"/>
                  </a:lnTo>
                  <a:lnTo>
                    <a:pt x="406" y="182"/>
                  </a:lnTo>
                  <a:lnTo>
                    <a:pt x="406" y="182"/>
                  </a:lnTo>
                  <a:close/>
                  <a:moveTo>
                    <a:pt x="298" y="145"/>
                  </a:moveTo>
                  <a:lnTo>
                    <a:pt x="281" y="137"/>
                  </a:lnTo>
                  <a:lnTo>
                    <a:pt x="286" y="128"/>
                  </a:lnTo>
                  <a:lnTo>
                    <a:pt x="298" y="145"/>
                  </a:lnTo>
                  <a:lnTo>
                    <a:pt x="298" y="145"/>
                  </a:lnTo>
                  <a:lnTo>
                    <a:pt x="298" y="145"/>
                  </a:lnTo>
                  <a:close/>
                  <a:moveTo>
                    <a:pt x="135" y="149"/>
                  </a:moveTo>
                  <a:lnTo>
                    <a:pt x="118" y="145"/>
                  </a:lnTo>
                  <a:lnTo>
                    <a:pt x="135" y="128"/>
                  </a:lnTo>
                  <a:lnTo>
                    <a:pt x="135" y="149"/>
                  </a:lnTo>
                  <a:lnTo>
                    <a:pt x="135" y="149"/>
                  </a:lnTo>
                  <a:lnTo>
                    <a:pt x="135" y="149"/>
                  </a:lnTo>
                  <a:close/>
                  <a:moveTo>
                    <a:pt x="172" y="161"/>
                  </a:moveTo>
                  <a:lnTo>
                    <a:pt x="163" y="149"/>
                  </a:lnTo>
                  <a:lnTo>
                    <a:pt x="163" y="145"/>
                  </a:lnTo>
                  <a:lnTo>
                    <a:pt x="180" y="137"/>
                  </a:lnTo>
                  <a:lnTo>
                    <a:pt x="180" y="149"/>
                  </a:lnTo>
                  <a:lnTo>
                    <a:pt x="172" y="161"/>
                  </a:lnTo>
                  <a:lnTo>
                    <a:pt x="172" y="161"/>
                  </a:lnTo>
                  <a:lnTo>
                    <a:pt x="172" y="161"/>
                  </a:lnTo>
                  <a:close/>
                  <a:moveTo>
                    <a:pt x="189" y="161"/>
                  </a:moveTo>
                  <a:lnTo>
                    <a:pt x="189" y="149"/>
                  </a:lnTo>
                  <a:lnTo>
                    <a:pt x="194" y="161"/>
                  </a:lnTo>
                  <a:lnTo>
                    <a:pt x="189" y="161"/>
                  </a:lnTo>
                  <a:lnTo>
                    <a:pt x="189" y="161"/>
                  </a:lnTo>
                  <a:lnTo>
                    <a:pt x="189" y="161"/>
                  </a:lnTo>
                  <a:close/>
                  <a:moveTo>
                    <a:pt x="146" y="161"/>
                  </a:moveTo>
                  <a:lnTo>
                    <a:pt x="135" y="149"/>
                  </a:lnTo>
                  <a:lnTo>
                    <a:pt x="142" y="149"/>
                  </a:lnTo>
                  <a:lnTo>
                    <a:pt x="146" y="161"/>
                  </a:lnTo>
                  <a:lnTo>
                    <a:pt x="146" y="161"/>
                  </a:lnTo>
                  <a:lnTo>
                    <a:pt x="146" y="161"/>
                  </a:lnTo>
                  <a:close/>
                  <a:moveTo>
                    <a:pt x="248" y="182"/>
                  </a:moveTo>
                  <a:lnTo>
                    <a:pt x="248" y="178"/>
                  </a:lnTo>
                  <a:lnTo>
                    <a:pt x="255" y="178"/>
                  </a:lnTo>
                  <a:lnTo>
                    <a:pt x="248" y="182"/>
                  </a:lnTo>
                  <a:lnTo>
                    <a:pt x="248" y="182"/>
                  </a:lnTo>
                  <a:lnTo>
                    <a:pt x="248" y="182"/>
                  </a:lnTo>
                  <a:close/>
                  <a:moveTo>
                    <a:pt x="335" y="182"/>
                  </a:moveTo>
                  <a:lnTo>
                    <a:pt x="319" y="178"/>
                  </a:lnTo>
                  <a:lnTo>
                    <a:pt x="335" y="178"/>
                  </a:lnTo>
                  <a:lnTo>
                    <a:pt x="335" y="182"/>
                  </a:lnTo>
                  <a:lnTo>
                    <a:pt x="335" y="182"/>
                  </a:lnTo>
                  <a:lnTo>
                    <a:pt x="335" y="182"/>
                  </a:lnTo>
                  <a:close/>
                  <a:moveTo>
                    <a:pt x="335" y="182"/>
                  </a:moveTo>
                  <a:lnTo>
                    <a:pt x="335" y="178"/>
                  </a:lnTo>
                  <a:lnTo>
                    <a:pt x="340" y="182"/>
                  </a:lnTo>
                  <a:lnTo>
                    <a:pt x="335" y="182"/>
                  </a:lnTo>
                  <a:lnTo>
                    <a:pt x="335" y="182"/>
                  </a:lnTo>
                  <a:lnTo>
                    <a:pt x="335" y="182"/>
                  </a:lnTo>
                  <a:close/>
                  <a:moveTo>
                    <a:pt x="373" y="232"/>
                  </a:moveTo>
                  <a:lnTo>
                    <a:pt x="364" y="239"/>
                  </a:lnTo>
                  <a:lnTo>
                    <a:pt x="335" y="232"/>
                  </a:lnTo>
                  <a:lnTo>
                    <a:pt x="302" y="232"/>
                  </a:lnTo>
                  <a:lnTo>
                    <a:pt x="286" y="215"/>
                  </a:lnTo>
                  <a:lnTo>
                    <a:pt x="286" y="199"/>
                  </a:lnTo>
                  <a:lnTo>
                    <a:pt x="298" y="194"/>
                  </a:lnTo>
                  <a:lnTo>
                    <a:pt x="309" y="204"/>
                  </a:lnTo>
                  <a:lnTo>
                    <a:pt x="340" y="204"/>
                  </a:lnTo>
                  <a:lnTo>
                    <a:pt x="373" y="232"/>
                  </a:lnTo>
                  <a:lnTo>
                    <a:pt x="373" y="232"/>
                  </a:lnTo>
                  <a:lnTo>
                    <a:pt x="373" y="232"/>
                  </a:lnTo>
                  <a:close/>
                  <a:moveTo>
                    <a:pt x="428" y="232"/>
                  </a:moveTo>
                  <a:lnTo>
                    <a:pt x="411" y="222"/>
                  </a:lnTo>
                  <a:lnTo>
                    <a:pt x="411" y="199"/>
                  </a:lnTo>
                  <a:lnTo>
                    <a:pt x="428" y="215"/>
                  </a:lnTo>
                  <a:lnTo>
                    <a:pt x="428" y="232"/>
                  </a:lnTo>
                  <a:lnTo>
                    <a:pt x="428" y="232"/>
                  </a:lnTo>
                  <a:lnTo>
                    <a:pt x="428" y="232"/>
                  </a:lnTo>
                  <a:close/>
                  <a:moveTo>
                    <a:pt x="470" y="305"/>
                  </a:moveTo>
                  <a:lnTo>
                    <a:pt x="470" y="305"/>
                  </a:lnTo>
                  <a:lnTo>
                    <a:pt x="482" y="310"/>
                  </a:lnTo>
                  <a:lnTo>
                    <a:pt x="444" y="293"/>
                  </a:lnTo>
                  <a:lnTo>
                    <a:pt x="428" y="289"/>
                  </a:lnTo>
                  <a:lnTo>
                    <a:pt x="416" y="272"/>
                  </a:lnTo>
                  <a:lnTo>
                    <a:pt x="406" y="272"/>
                  </a:lnTo>
                  <a:lnTo>
                    <a:pt x="406" y="260"/>
                  </a:lnTo>
                  <a:lnTo>
                    <a:pt x="444" y="277"/>
                  </a:lnTo>
                  <a:lnTo>
                    <a:pt x="465" y="277"/>
                  </a:lnTo>
                  <a:lnTo>
                    <a:pt x="470" y="305"/>
                  </a:lnTo>
                  <a:lnTo>
                    <a:pt x="470" y="305"/>
                  </a:lnTo>
                  <a:lnTo>
                    <a:pt x="470" y="305"/>
                  </a:lnTo>
                  <a:close/>
                  <a:moveTo>
                    <a:pt x="730" y="310"/>
                  </a:moveTo>
                  <a:lnTo>
                    <a:pt x="720" y="305"/>
                  </a:lnTo>
                  <a:lnTo>
                    <a:pt x="720" y="305"/>
                  </a:lnTo>
                  <a:lnTo>
                    <a:pt x="754" y="293"/>
                  </a:lnTo>
                  <a:lnTo>
                    <a:pt x="730" y="310"/>
                  </a:lnTo>
                  <a:lnTo>
                    <a:pt x="730" y="310"/>
                  </a:lnTo>
                  <a:lnTo>
                    <a:pt x="730" y="310"/>
                  </a:lnTo>
                  <a:close/>
                  <a:moveTo>
                    <a:pt x="775" y="343"/>
                  </a:moveTo>
                  <a:lnTo>
                    <a:pt x="775" y="343"/>
                  </a:lnTo>
                  <a:lnTo>
                    <a:pt x="775" y="343"/>
                  </a:lnTo>
                  <a:lnTo>
                    <a:pt x="775" y="343"/>
                  </a:lnTo>
                  <a:lnTo>
                    <a:pt x="775" y="343"/>
                  </a:lnTo>
                  <a:lnTo>
                    <a:pt x="775" y="343"/>
                  </a:lnTo>
                  <a:close/>
                  <a:moveTo>
                    <a:pt x="352" y="381"/>
                  </a:moveTo>
                  <a:lnTo>
                    <a:pt x="309" y="359"/>
                  </a:lnTo>
                  <a:lnTo>
                    <a:pt x="352" y="364"/>
                  </a:lnTo>
                  <a:lnTo>
                    <a:pt x="352" y="381"/>
                  </a:lnTo>
                  <a:lnTo>
                    <a:pt x="352" y="381"/>
                  </a:lnTo>
                  <a:lnTo>
                    <a:pt x="352" y="381"/>
                  </a:lnTo>
                  <a:close/>
                  <a:moveTo>
                    <a:pt x="796" y="364"/>
                  </a:moveTo>
                  <a:lnTo>
                    <a:pt x="791" y="359"/>
                  </a:lnTo>
                  <a:lnTo>
                    <a:pt x="805" y="364"/>
                  </a:lnTo>
                  <a:lnTo>
                    <a:pt x="796" y="364"/>
                  </a:lnTo>
                  <a:lnTo>
                    <a:pt x="796" y="364"/>
                  </a:lnTo>
                  <a:lnTo>
                    <a:pt x="796" y="364"/>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4" name="Freeform 403">
              <a:extLst>
                <a:ext uri="{FF2B5EF4-FFF2-40B4-BE49-F238E27FC236}">
                  <a16:creationId xmlns:a16="http://schemas.microsoft.com/office/drawing/2014/main" id="{7CD1C39A-DCDC-4687-8730-08A5AA24979A}"/>
                </a:ext>
              </a:extLst>
            </p:cNvPr>
            <p:cNvSpPr>
              <a:spLocks noEditPoints="1"/>
            </p:cNvSpPr>
            <p:nvPr/>
          </p:nvSpPr>
          <p:spPr bwMode="gray">
            <a:xfrm>
              <a:off x="12044187" y="3990688"/>
              <a:ext cx="901702" cy="949488"/>
            </a:xfrm>
            <a:custGeom>
              <a:avLst/>
              <a:gdLst>
                <a:gd name="T0" fmla="*/ 291 w 2755"/>
                <a:gd name="T1" fmla="*/ 255 h 2901"/>
                <a:gd name="T2" fmla="*/ 593 w 2755"/>
                <a:gd name="T3" fmla="*/ 312 h 2901"/>
                <a:gd name="T4" fmla="*/ 702 w 2755"/>
                <a:gd name="T5" fmla="*/ 201 h 2901"/>
                <a:gd name="T6" fmla="*/ 794 w 2755"/>
                <a:gd name="T7" fmla="*/ 90 h 2901"/>
                <a:gd name="T8" fmla="*/ 967 w 2755"/>
                <a:gd name="T9" fmla="*/ 0 h 2901"/>
                <a:gd name="T10" fmla="*/ 1009 w 2755"/>
                <a:gd name="T11" fmla="*/ 246 h 2901"/>
                <a:gd name="T12" fmla="*/ 1172 w 2755"/>
                <a:gd name="T13" fmla="*/ 239 h 2901"/>
                <a:gd name="T14" fmla="*/ 1366 w 2755"/>
                <a:gd name="T15" fmla="*/ 206 h 2901"/>
                <a:gd name="T16" fmla="*/ 1604 w 2755"/>
                <a:gd name="T17" fmla="*/ 95 h 2901"/>
                <a:gd name="T18" fmla="*/ 1600 w 2755"/>
                <a:gd name="T19" fmla="*/ 390 h 2901"/>
                <a:gd name="T20" fmla="*/ 1637 w 2755"/>
                <a:gd name="T21" fmla="*/ 506 h 2901"/>
                <a:gd name="T22" fmla="*/ 1637 w 2755"/>
                <a:gd name="T23" fmla="*/ 539 h 2901"/>
                <a:gd name="T24" fmla="*/ 1784 w 2755"/>
                <a:gd name="T25" fmla="*/ 485 h 2901"/>
                <a:gd name="T26" fmla="*/ 1869 w 2755"/>
                <a:gd name="T27" fmla="*/ 423 h 2901"/>
                <a:gd name="T28" fmla="*/ 1982 w 2755"/>
                <a:gd name="T29" fmla="*/ 461 h 2901"/>
                <a:gd name="T30" fmla="*/ 2063 w 2755"/>
                <a:gd name="T31" fmla="*/ 506 h 2901"/>
                <a:gd name="T32" fmla="*/ 2091 w 2755"/>
                <a:gd name="T33" fmla="*/ 577 h 2901"/>
                <a:gd name="T34" fmla="*/ 2301 w 2755"/>
                <a:gd name="T35" fmla="*/ 589 h 2901"/>
                <a:gd name="T36" fmla="*/ 2750 w 2755"/>
                <a:gd name="T37" fmla="*/ 884 h 2901"/>
                <a:gd name="T38" fmla="*/ 2594 w 2755"/>
                <a:gd name="T39" fmla="*/ 1172 h 2901"/>
                <a:gd name="T40" fmla="*/ 2469 w 2755"/>
                <a:gd name="T41" fmla="*/ 1309 h 2901"/>
                <a:gd name="T42" fmla="*/ 2448 w 2755"/>
                <a:gd name="T43" fmla="*/ 1625 h 2901"/>
                <a:gd name="T44" fmla="*/ 2322 w 2755"/>
                <a:gd name="T45" fmla="*/ 1937 h 2901"/>
                <a:gd name="T46" fmla="*/ 2117 w 2755"/>
                <a:gd name="T47" fmla="*/ 2053 h 2901"/>
                <a:gd name="T48" fmla="*/ 1944 w 2755"/>
                <a:gd name="T49" fmla="*/ 2143 h 2901"/>
                <a:gd name="T50" fmla="*/ 1777 w 2755"/>
                <a:gd name="T51" fmla="*/ 2287 h 2901"/>
                <a:gd name="T52" fmla="*/ 1767 w 2755"/>
                <a:gd name="T53" fmla="*/ 2476 h 2901"/>
                <a:gd name="T54" fmla="*/ 1600 w 2755"/>
                <a:gd name="T55" fmla="*/ 2719 h 2901"/>
                <a:gd name="T56" fmla="*/ 1604 w 2755"/>
                <a:gd name="T57" fmla="*/ 2625 h 2901"/>
                <a:gd name="T58" fmla="*/ 1496 w 2755"/>
                <a:gd name="T59" fmla="*/ 2851 h 2901"/>
                <a:gd name="T60" fmla="*/ 1210 w 2755"/>
                <a:gd name="T61" fmla="*/ 2620 h 2901"/>
                <a:gd name="T62" fmla="*/ 1281 w 2755"/>
                <a:gd name="T63" fmla="*/ 2464 h 2901"/>
                <a:gd name="T64" fmla="*/ 1366 w 2755"/>
                <a:gd name="T65" fmla="*/ 2259 h 2901"/>
                <a:gd name="T66" fmla="*/ 1238 w 2755"/>
                <a:gd name="T67" fmla="*/ 1992 h 2901"/>
                <a:gd name="T68" fmla="*/ 1146 w 2755"/>
                <a:gd name="T69" fmla="*/ 1659 h 2901"/>
                <a:gd name="T70" fmla="*/ 858 w 2755"/>
                <a:gd name="T71" fmla="*/ 1366 h 2901"/>
                <a:gd name="T72" fmla="*/ 631 w 2755"/>
                <a:gd name="T73" fmla="*/ 1243 h 2901"/>
                <a:gd name="T74" fmla="*/ 471 w 2755"/>
                <a:gd name="T75" fmla="*/ 1127 h 2901"/>
                <a:gd name="T76" fmla="*/ 248 w 2755"/>
                <a:gd name="T77" fmla="*/ 1061 h 2901"/>
                <a:gd name="T78" fmla="*/ 17 w 2755"/>
                <a:gd name="T79" fmla="*/ 888 h 2901"/>
                <a:gd name="T80" fmla="*/ 286 w 2755"/>
                <a:gd name="T81" fmla="*/ 683 h 2901"/>
                <a:gd name="T82" fmla="*/ 1685 w 2755"/>
                <a:gd name="T83" fmla="*/ 312 h 2901"/>
                <a:gd name="T84" fmla="*/ 1685 w 2755"/>
                <a:gd name="T85" fmla="*/ 333 h 2901"/>
                <a:gd name="T86" fmla="*/ 1706 w 2755"/>
                <a:gd name="T87" fmla="*/ 357 h 2901"/>
                <a:gd name="T88" fmla="*/ 1706 w 2755"/>
                <a:gd name="T89" fmla="*/ 390 h 2901"/>
                <a:gd name="T90" fmla="*/ 1621 w 2755"/>
                <a:gd name="T91" fmla="*/ 383 h 2901"/>
                <a:gd name="T92" fmla="*/ 1637 w 2755"/>
                <a:gd name="T93" fmla="*/ 411 h 2901"/>
                <a:gd name="T94" fmla="*/ 1685 w 2755"/>
                <a:gd name="T95" fmla="*/ 501 h 2901"/>
                <a:gd name="T96" fmla="*/ 1621 w 2755"/>
                <a:gd name="T97" fmla="*/ 407 h 2901"/>
                <a:gd name="T98" fmla="*/ 1630 w 2755"/>
                <a:gd name="T99" fmla="*/ 407 h 2901"/>
                <a:gd name="T100" fmla="*/ 1550 w 2755"/>
                <a:gd name="T101" fmla="*/ 485 h 2901"/>
                <a:gd name="T102" fmla="*/ 1831 w 2755"/>
                <a:gd name="T103" fmla="*/ 428 h 2901"/>
                <a:gd name="T104" fmla="*/ 1928 w 2755"/>
                <a:gd name="T105" fmla="*/ 449 h 2901"/>
                <a:gd name="T106" fmla="*/ 2037 w 2755"/>
                <a:gd name="T107" fmla="*/ 468 h 2901"/>
                <a:gd name="T108" fmla="*/ 1529 w 2755"/>
                <a:gd name="T109" fmla="*/ 501 h 2901"/>
                <a:gd name="T110" fmla="*/ 1760 w 2755"/>
                <a:gd name="T111" fmla="*/ 506 h 2901"/>
                <a:gd name="T112" fmla="*/ 2247 w 2755"/>
                <a:gd name="T113" fmla="*/ 577 h 2901"/>
                <a:gd name="T114" fmla="*/ 2485 w 2755"/>
                <a:gd name="T115" fmla="*/ 1309 h 2901"/>
                <a:gd name="T116" fmla="*/ 2464 w 2755"/>
                <a:gd name="T117" fmla="*/ 1370 h 2901"/>
                <a:gd name="T118" fmla="*/ 2020 w 2755"/>
                <a:gd name="T119" fmla="*/ 2143 h 2901"/>
                <a:gd name="T120" fmla="*/ 1777 w 2755"/>
                <a:gd name="T121" fmla="*/ 2313 h 2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55" h="2901">
                  <a:moveTo>
                    <a:pt x="286" y="683"/>
                  </a:moveTo>
                  <a:lnTo>
                    <a:pt x="324" y="477"/>
                  </a:lnTo>
                  <a:lnTo>
                    <a:pt x="324" y="449"/>
                  </a:lnTo>
                  <a:lnTo>
                    <a:pt x="308" y="428"/>
                  </a:lnTo>
                  <a:lnTo>
                    <a:pt x="308" y="411"/>
                  </a:lnTo>
                  <a:lnTo>
                    <a:pt x="274" y="390"/>
                  </a:lnTo>
                  <a:lnTo>
                    <a:pt x="274" y="333"/>
                  </a:lnTo>
                  <a:lnTo>
                    <a:pt x="324" y="329"/>
                  </a:lnTo>
                  <a:lnTo>
                    <a:pt x="329" y="333"/>
                  </a:lnTo>
                  <a:lnTo>
                    <a:pt x="345" y="333"/>
                  </a:lnTo>
                  <a:lnTo>
                    <a:pt x="341" y="317"/>
                  </a:lnTo>
                  <a:lnTo>
                    <a:pt x="329" y="300"/>
                  </a:lnTo>
                  <a:lnTo>
                    <a:pt x="291" y="300"/>
                  </a:lnTo>
                  <a:lnTo>
                    <a:pt x="291" y="255"/>
                  </a:lnTo>
                  <a:lnTo>
                    <a:pt x="319" y="246"/>
                  </a:lnTo>
                  <a:lnTo>
                    <a:pt x="411" y="255"/>
                  </a:lnTo>
                  <a:lnTo>
                    <a:pt x="400" y="246"/>
                  </a:lnTo>
                  <a:lnTo>
                    <a:pt x="411" y="239"/>
                  </a:lnTo>
                  <a:lnTo>
                    <a:pt x="433" y="255"/>
                  </a:lnTo>
                  <a:lnTo>
                    <a:pt x="466" y="222"/>
                  </a:lnTo>
                  <a:lnTo>
                    <a:pt x="471" y="222"/>
                  </a:lnTo>
                  <a:lnTo>
                    <a:pt x="487" y="263"/>
                  </a:lnTo>
                  <a:lnTo>
                    <a:pt x="487" y="296"/>
                  </a:lnTo>
                  <a:lnTo>
                    <a:pt x="504" y="296"/>
                  </a:lnTo>
                  <a:lnTo>
                    <a:pt x="541" y="329"/>
                  </a:lnTo>
                  <a:lnTo>
                    <a:pt x="556" y="329"/>
                  </a:lnTo>
                  <a:lnTo>
                    <a:pt x="579" y="312"/>
                  </a:lnTo>
                  <a:lnTo>
                    <a:pt x="593" y="312"/>
                  </a:lnTo>
                  <a:lnTo>
                    <a:pt x="593" y="329"/>
                  </a:lnTo>
                  <a:lnTo>
                    <a:pt x="593" y="333"/>
                  </a:lnTo>
                  <a:lnTo>
                    <a:pt x="610" y="312"/>
                  </a:lnTo>
                  <a:lnTo>
                    <a:pt x="617" y="312"/>
                  </a:lnTo>
                  <a:lnTo>
                    <a:pt x="626" y="296"/>
                  </a:lnTo>
                  <a:lnTo>
                    <a:pt x="648" y="284"/>
                  </a:lnTo>
                  <a:lnTo>
                    <a:pt x="659" y="284"/>
                  </a:lnTo>
                  <a:lnTo>
                    <a:pt x="681" y="267"/>
                  </a:lnTo>
                  <a:lnTo>
                    <a:pt x="685" y="267"/>
                  </a:lnTo>
                  <a:lnTo>
                    <a:pt x="697" y="263"/>
                  </a:lnTo>
                  <a:lnTo>
                    <a:pt x="702" y="239"/>
                  </a:lnTo>
                  <a:lnTo>
                    <a:pt x="752" y="222"/>
                  </a:lnTo>
                  <a:lnTo>
                    <a:pt x="752" y="206"/>
                  </a:lnTo>
                  <a:lnTo>
                    <a:pt x="702" y="201"/>
                  </a:lnTo>
                  <a:lnTo>
                    <a:pt x="702" y="185"/>
                  </a:lnTo>
                  <a:lnTo>
                    <a:pt x="685" y="152"/>
                  </a:lnTo>
                  <a:lnTo>
                    <a:pt x="685" y="118"/>
                  </a:lnTo>
                  <a:lnTo>
                    <a:pt x="659" y="90"/>
                  </a:lnTo>
                  <a:lnTo>
                    <a:pt x="648" y="74"/>
                  </a:lnTo>
                  <a:lnTo>
                    <a:pt x="664" y="78"/>
                  </a:lnTo>
                  <a:lnTo>
                    <a:pt x="697" y="78"/>
                  </a:lnTo>
                  <a:lnTo>
                    <a:pt x="702" y="95"/>
                  </a:lnTo>
                  <a:lnTo>
                    <a:pt x="719" y="95"/>
                  </a:lnTo>
                  <a:lnTo>
                    <a:pt x="740" y="102"/>
                  </a:lnTo>
                  <a:lnTo>
                    <a:pt x="752" y="95"/>
                  </a:lnTo>
                  <a:lnTo>
                    <a:pt x="778" y="118"/>
                  </a:lnTo>
                  <a:lnTo>
                    <a:pt x="794" y="111"/>
                  </a:lnTo>
                  <a:lnTo>
                    <a:pt x="794" y="90"/>
                  </a:lnTo>
                  <a:lnTo>
                    <a:pt x="806" y="90"/>
                  </a:lnTo>
                  <a:lnTo>
                    <a:pt x="811" y="78"/>
                  </a:lnTo>
                  <a:lnTo>
                    <a:pt x="832" y="78"/>
                  </a:lnTo>
                  <a:lnTo>
                    <a:pt x="858" y="78"/>
                  </a:lnTo>
                  <a:lnTo>
                    <a:pt x="865" y="74"/>
                  </a:lnTo>
                  <a:lnTo>
                    <a:pt x="874" y="74"/>
                  </a:lnTo>
                  <a:lnTo>
                    <a:pt x="882" y="62"/>
                  </a:lnTo>
                  <a:lnTo>
                    <a:pt x="896" y="57"/>
                  </a:lnTo>
                  <a:lnTo>
                    <a:pt x="919" y="45"/>
                  </a:lnTo>
                  <a:lnTo>
                    <a:pt x="929" y="40"/>
                  </a:lnTo>
                  <a:lnTo>
                    <a:pt x="941" y="24"/>
                  </a:lnTo>
                  <a:lnTo>
                    <a:pt x="941" y="7"/>
                  </a:lnTo>
                  <a:lnTo>
                    <a:pt x="933" y="0"/>
                  </a:lnTo>
                  <a:lnTo>
                    <a:pt x="967" y="0"/>
                  </a:lnTo>
                  <a:lnTo>
                    <a:pt x="971" y="0"/>
                  </a:lnTo>
                  <a:lnTo>
                    <a:pt x="983" y="7"/>
                  </a:lnTo>
                  <a:lnTo>
                    <a:pt x="988" y="17"/>
                  </a:lnTo>
                  <a:lnTo>
                    <a:pt x="983" y="40"/>
                  </a:lnTo>
                  <a:lnTo>
                    <a:pt x="971" y="57"/>
                  </a:lnTo>
                  <a:lnTo>
                    <a:pt x="1004" y="62"/>
                  </a:lnTo>
                  <a:lnTo>
                    <a:pt x="1004" y="74"/>
                  </a:lnTo>
                  <a:lnTo>
                    <a:pt x="1009" y="95"/>
                  </a:lnTo>
                  <a:lnTo>
                    <a:pt x="995" y="128"/>
                  </a:lnTo>
                  <a:lnTo>
                    <a:pt x="988" y="185"/>
                  </a:lnTo>
                  <a:lnTo>
                    <a:pt x="995" y="206"/>
                  </a:lnTo>
                  <a:lnTo>
                    <a:pt x="1004" y="211"/>
                  </a:lnTo>
                  <a:lnTo>
                    <a:pt x="1004" y="246"/>
                  </a:lnTo>
                  <a:lnTo>
                    <a:pt x="1009" y="246"/>
                  </a:lnTo>
                  <a:lnTo>
                    <a:pt x="1009" y="255"/>
                  </a:lnTo>
                  <a:lnTo>
                    <a:pt x="1021" y="255"/>
                  </a:lnTo>
                  <a:lnTo>
                    <a:pt x="1037" y="279"/>
                  </a:lnTo>
                  <a:lnTo>
                    <a:pt x="1059" y="284"/>
                  </a:lnTo>
                  <a:lnTo>
                    <a:pt x="1063" y="296"/>
                  </a:lnTo>
                  <a:lnTo>
                    <a:pt x="1075" y="284"/>
                  </a:lnTo>
                  <a:lnTo>
                    <a:pt x="1092" y="284"/>
                  </a:lnTo>
                  <a:lnTo>
                    <a:pt x="1092" y="267"/>
                  </a:lnTo>
                  <a:lnTo>
                    <a:pt x="1101" y="263"/>
                  </a:lnTo>
                  <a:lnTo>
                    <a:pt x="1130" y="267"/>
                  </a:lnTo>
                  <a:lnTo>
                    <a:pt x="1130" y="263"/>
                  </a:lnTo>
                  <a:lnTo>
                    <a:pt x="1146" y="255"/>
                  </a:lnTo>
                  <a:lnTo>
                    <a:pt x="1156" y="255"/>
                  </a:lnTo>
                  <a:lnTo>
                    <a:pt x="1172" y="239"/>
                  </a:lnTo>
                  <a:lnTo>
                    <a:pt x="1189" y="229"/>
                  </a:lnTo>
                  <a:lnTo>
                    <a:pt x="1210" y="246"/>
                  </a:lnTo>
                  <a:lnTo>
                    <a:pt x="1238" y="239"/>
                  </a:lnTo>
                  <a:lnTo>
                    <a:pt x="1264" y="246"/>
                  </a:lnTo>
                  <a:lnTo>
                    <a:pt x="1276" y="239"/>
                  </a:lnTo>
                  <a:lnTo>
                    <a:pt x="1276" y="229"/>
                  </a:lnTo>
                  <a:lnTo>
                    <a:pt x="1259" y="211"/>
                  </a:lnTo>
                  <a:lnTo>
                    <a:pt x="1264" y="201"/>
                  </a:lnTo>
                  <a:lnTo>
                    <a:pt x="1290" y="206"/>
                  </a:lnTo>
                  <a:lnTo>
                    <a:pt x="1335" y="189"/>
                  </a:lnTo>
                  <a:lnTo>
                    <a:pt x="1345" y="201"/>
                  </a:lnTo>
                  <a:lnTo>
                    <a:pt x="1361" y="201"/>
                  </a:lnTo>
                  <a:lnTo>
                    <a:pt x="1361" y="206"/>
                  </a:lnTo>
                  <a:lnTo>
                    <a:pt x="1366" y="206"/>
                  </a:lnTo>
                  <a:lnTo>
                    <a:pt x="1399" y="222"/>
                  </a:lnTo>
                  <a:lnTo>
                    <a:pt x="1420" y="206"/>
                  </a:lnTo>
                  <a:lnTo>
                    <a:pt x="1437" y="211"/>
                  </a:lnTo>
                  <a:lnTo>
                    <a:pt x="1453" y="206"/>
                  </a:lnTo>
                  <a:lnTo>
                    <a:pt x="1458" y="222"/>
                  </a:lnTo>
                  <a:lnTo>
                    <a:pt x="1479" y="222"/>
                  </a:lnTo>
                  <a:lnTo>
                    <a:pt x="1507" y="201"/>
                  </a:lnTo>
                  <a:lnTo>
                    <a:pt x="1524" y="152"/>
                  </a:lnTo>
                  <a:lnTo>
                    <a:pt x="1567" y="90"/>
                  </a:lnTo>
                  <a:lnTo>
                    <a:pt x="1578" y="78"/>
                  </a:lnTo>
                  <a:lnTo>
                    <a:pt x="1583" y="90"/>
                  </a:lnTo>
                  <a:lnTo>
                    <a:pt x="1578" y="62"/>
                  </a:lnTo>
                  <a:lnTo>
                    <a:pt x="1600" y="78"/>
                  </a:lnTo>
                  <a:lnTo>
                    <a:pt x="1604" y="95"/>
                  </a:lnTo>
                  <a:lnTo>
                    <a:pt x="1616" y="95"/>
                  </a:lnTo>
                  <a:lnTo>
                    <a:pt x="1616" y="152"/>
                  </a:lnTo>
                  <a:lnTo>
                    <a:pt x="1637" y="222"/>
                  </a:lnTo>
                  <a:lnTo>
                    <a:pt x="1654" y="246"/>
                  </a:lnTo>
                  <a:lnTo>
                    <a:pt x="1675" y="246"/>
                  </a:lnTo>
                  <a:lnTo>
                    <a:pt x="1692" y="255"/>
                  </a:lnTo>
                  <a:lnTo>
                    <a:pt x="1692" y="284"/>
                  </a:lnTo>
                  <a:lnTo>
                    <a:pt x="1675" y="296"/>
                  </a:lnTo>
                  <a:lnTo>
                    <a:pt x="1692" y="284"/>
                  </a:lnTo>
                  <a:lnTo>
                    <a:pt x="1692" y="296"/>
                  </a:lnTo>
                  <a:lnTo>
                    <a:pt x="1654" y="333"/>
                  </a:lnTo>
                  <a:lnTo>
                    <a:pt x="1630" y="366"/>
                  </a:lnTo>
                  <a:lnTo>
                    <a:pt x="1621" y="366"/>
                  </a:lnTo>
                  <a:lnTo>
                    <a:pt x="1600" y="390"/>
                  </a:lnTo>
                  <a:lnTo>
                    <a:pt x="1567" y="428"/>
                  </a:lnTo>
                  <a:lnTo>
                    <a:pt x="1567" y="449"/>
                  </a:lnTo>
                  <a:lnTo>
                    <a:pt x="1550" y="461"/>
                  </a:lnTo>
                  <a:lnTo>
                    <a:pt x="1550" y="477"/>
                  </a:lnTo>
                  <a:lnTo>
                    <a:pt x="1545" y="485"/>
                  </a:lnTo>
                  <a:lnTo>
                    <a:pt x="1529" y="477"/>
                  </a:lnTo>
                  <a:lnTo>
                    <a:pt x="1496" y="494"/>
                  </a:lnTo>
                  <a:lnTo>
                    <a:pt x="1529" y="494"/>
                  </a:lnTo>
                  <a:lnTo>
                    <a:pt x="1529" y="501"/>
                  </a:lnTo>
                  <a:lnTo>
                    <a:pt x="1600" y="468"/>
                  </a:lnTo>
                  <a:lnTo>
                    <a:pt x="1616" y="444"/>
                  </a:lnTo>
                  <a:lnTo>
                    <a:pt x="1630" y="444"/>
                  </a:lnTo>
                  <a:lnTo>
                    <a:pt x="1630" y="485"/>
                  </a:lnTo>
                  <a:lnTo>
                    <a:pt x="1637" y="506"/>
                  </a:lnTo>
                  <a:lnTo>
                    <a:pt x="1630" y="518"/>
                  </a:lnTo>
                  <a:lnTo>
                    <a:pt x="1604" y="506"/>
                  </a:lnTo>
                  <a:lnTo>
                    <a:pt x="1588" y="501"/>
                  </a:lnTo>
                  <a:lnTo>
                    <a:pt x="1583" y="522"/>
                  </a:lnTo>
                  <a:lnTo>
                    <a:pt x="1583" y="539"/>
                  </a:lnTo>
                  <a:lnTo>
                    <a:pt x="1588" y="551"/>
                  </a:lnTo>
                  <a:lnTo>
                    <a:pt x="1583" y="522"/>
                  </a:lnTo>
                  <a:lnTo>
                    <a:pt x="1600" y="506"/>
                  </a:lnTo>
                  <a:lnTo>
                    <a:pt x="1616" y="522"/>
                  </a:lnTo>
                  <a:lnTo>
                    <a:pt x="1616" y="551"/>
                  </a:lnTo>
                  <a:lnTo>
                    <a:pt x="1630" y="555"/>
                  </a:lnTo>
                  <a:lnTo>
                    <a:pt x="1616" y="551"/>
                  </a:lnTo>
                  <a:lnTo>
                    <a:pt x="1621" y="522"/>
                  </a:lnTo>
                  <a:lnTo>
                    <a:pt x="1637" y="539"/>
                  </a:lnTo>
                  <a:lnTo>
                    <a:pt x="1630" y="518"/>
                  </a:lnTo>
                  <a:lnTo>
                    <a:pt x="1637" y="506"/>
                  </a:lnTo>
                  <a:lnTo>
                    <a:pt x="1654" y="506"/>
                  </a:lnTo>
                  <a:lnTo>
                    <a:pt x="1659" y="518"/>
                  </a:lnTo>
                  <a:lnTo>
                    <a:pt x="1685" y="506"/>
                  </a:lnTo>
                  <a:lnTo>
                    <a:pt x="1696" y="518"/>
                  </a:lnTo>
                  <a:lnTo>
                    <a:pt x="1713" y="518"/>
                  </a:lnTo>
                  <a:lnTo>
                    <a:pt x="1739" y="501"/>
                  </a:lnTo>
                  <a:lnTo>
                    <a:pt x="1722" y="539"/>
                  </a:lnTo>
                  <a:lnTo>
                    <a:pt x="1722" y="560"/>
                  </a:lnTo>
                  <a:lnTo>
                    <a:pt x="1744" y="518"/>
                  </a:lnTo>
                  <a:lnTo>
                    <a:pt x="1760" y="506"/>
                  </a:lnTo>
                  <a:lnTo>
                    <a:pt x="1777" y="485"/>
                  </a:lnTo>
                  <a:lnTo>
                    <a:pt x="1784" y="485"/>
                  </a:lnTo>
                  <a:lnTo>
                    <a:pt x="1798" y="501"/>
                  </a:lnTo>
                  <a:lnTo>
                    <a:pt x="1798" y="485"/>
                  </a:lnTo>
                  <a:lnTo>
                    <a:pt x="1815" y="485"/>
                  </a:lnTo>
                  <a:lnTo>
                    <a:pt x="1793" y="485"/>
                  </a:lnTo>
                  <a:lnTo>
                    <a:pt x="1793" y="468"/>
                  </a:lnTo>
                  <a:lnTo>
                    <a:pt x="1805" y="477"/>
                  </a:lnTo>
                  <a:lnTo>
                    <a:pt x="1805" y="444"/>
                  </a:lnTo>
                  <a:lnTo>
                    <a:pt x="1822" y="428"/>
                  </a:lnTo>
                  <a:lnTo>
                    <a:pt x="1831" y="440"/>
                  </a:lnTo>
                  <a:lnTo>
                    <a:pt x="1848" y="423"/>
                  </a:lnTo>
                  <a:lnTo>
                    <a:pt x="1848" y="440"/>
                  </a:lnTo>
                  <a:lnTo>
                    <a:pt x="1859" y="423"/>
                  </a:lnTo>
                  <a:lnTo>
                    <a:pt x="1869" y="440"/>
                  </a:lnTo>
                  <a:lnTo>
                    <a:pt x="1869" y="423"/>
                  </a:lnTo>
                  <a:lnTo>
                    <a:pt x="1890" y="428"/>
                  </a:lnTo>
                  <a:lnTo>
                    <a:pt x="1902" y="428"/>
                  </a:lnTo>
                  <a:lnTo>
                    <a:pt x="1902" y="444"/>
                  </a:lnTo>
                  <a:lnTo>
                    <a:pt x="1907" y="428"/>
                  </a:lnTo>
                  <a:lnTo>
                    <a:pt x="1911" y="440"/>
                  </a:lnTo>
                  <a:lnTo>
                    <a:pt x="1923" y="440"/>
                  </a:lnTo>
                  <a:lnTo>
                    <a:pt x="1923" y="449"/>
                  </a:lnTo>
                  <a:lnTo>
                    <a:pt x="1956" y="444"/>
                  </a:lnTo>
                  <a:lnTo>
                    <a:pt x="1944" y="461"/>
                  </a:lnTo>
                  <a:lnTo>
                    <a:pt x="1961" y="461"/>
                  </a:lnTo>
                  <a:lnTo>
                    <a:pt x="1961" y="468"/>
                  </a:lnTo>
                  <a:lnTo>
                    <a:pt x="1966" y="449"/>
                  </a:lnTo>
                  <a:lnTo>
                    <a:pt x="1978" y="468"/>
                  </a:lnTo>
                  <a:lnTo>
                    <a:pt x="1982" y="461"/>
                  </a:lnTo>
                  <a:lnTo>
                    <a:pt x="1994" y="477"/>
                  </a:lnTo>
                  <a:lnTo>
                    <a:pt x="1994" y="468"/>
                  </a:lnTo>
                  <a:lnTo>
                    <a:pt x="2011" y="477"/>
                  </a:lnTo>
                  <a:lnTo>
                    <a:pt x="2011" y="494"/>
                  </a:lnTo>
                  <a:lnTo>
                    <a:pt x="2015" y="477"/>
                  </a:lnTo>
                  <a:lnTo>
                    <a:pt x="2015" y="501"/>
                  </a:lnTo>
                  <a:lnTo>
                    <a:pt x="2020" y="501"/>
                  </a:lnTo>
                  <a:lnTo>
                    <a:pt x="2020" y="485"/>
                  </a:lnTo>
                  <a:lnTo>
                    <a:pt x="2037" y="485"/>
                  </a:lnTo>
                  <a:lnTo>
                    <a:pt x="2048" y="485"/>
                  </a:lnTo>
                  <a:lnTo>
                    <a:pt x="2037" y="494"/>
                  </a:lnTo>
                  <a:lnTo>
                    <a:pt x="2053" y="494"/>
                  </a:lnTo>
                  <a:lnTo>
                    <a:pt x="2053" y="501"/>
                  </a:lnTo>
                  <a:lnTo>
                    <a:pt x="2063" y="506"/>
                  </a:lnTo>
                  <a:lnTo>
                    <a:pt x="2070" y="506"/>
                  </a:lnTo>
                  <a:lnTo>
                    <a:pt x="2074" y="522"/>
                  </a:lnTo>
                  <a:lnTo>
                    <a:pt x="2063" y="551"/>
                  </a:lnTo>
                  <a:lnTo>
                    <a:pt x="2074" y="534"/>
                  </a:lnTo>
                  <a:lnTo>
                    <a:pt x="2086" y="551"/>
                  </a:lnTo>
                  <a:lnTo>
                    <a:pt x="2070" y="560"/>
                  </a:lnTo>
                  <a:lnTo>
                    <a:pt x="2063" y="596"/>
                  </a:lnTo>
                  <a:lnTo>
                    <a:pt x="2053" y="617"/>
                  </a:lnTo>
                  <a:lnTo>
                    <a:pt x="2074" y="589"/>
                  </a:lnTo>
                  <a:lnTo>
                    <a:pt x="2086" y="560"/>
                  </a:lnTo>
                  <a:lnTo>
                    <a:pt x="2100" y="551"/>
                  </a:lnTo>
                  <a:lnTo>
                    <a:pt x="2107" y="560"/>
                  </a:lnTo>
                  <a:lnTo>
                    <a:pt x="2086" y="577"/>
                  </a:lnTo>
                  <a:lnTo>
                    <a:pt x="2091" y="577"/>
                  </a:lnTo>
                  <a:lnTo>
                    <a:pt x="2091" y="589"/>
                  </a:lnTo>
                  <a:lnTo>
                    <a:pt x="2117" y="560"/>
                  </a:lnTo>
                  <a:lnTo>
                    <a:pt x="2145" y="560"/>
                  </a:lnTo>
                  <a:lnTo>
                    <a:pt x="2145" y="551"/>
                  </a:lnTo>
                  <a:lnTo>
                    <a:pt x="2155" y="551"/>
                  </a:lnTo>
                  <a:lnTo>
                    <a:pt x="2200" y="560"/>
                  </a:lnTo>
                  <a:lnTo>
                    <a:pt x="2230" y="577"/>
                  </a:lnTo>
                  <a:lnTo>
                    <a:pt x="2252" y="577"/>
                  </a:lnTo>
                  <a:lnTo>
                    <a:pt x="2247" y="577"/>
                  </a:lnTo>
                  <a:lnTo>
                    <a:pt x="2263" y="572"/>
                  </a:lnTo>
                  <a:lnTo>
                    <a:pt x="2268" y="589"/>
                  </a:lnTo>
                  <a:lnTo>
                    <a:pt x="2289" y="589"/>
                  </a:lnTo>
                  <a:lnTo>
                    <a:pt x="2301" y="596"/>
                  </a:lnTo>
                  <a:lnTo>
                    <a:pt x="2301" y="589"/>
                  </a:lnTo>
                  <a:lnTo>
                    <a:pt x="2356" y="577"/>
                  </a:lnTo>
                  <a:lnTo>
                    <a:pt x="2389" y="577"/>
                  </a:lnTo>
                  <a:lnTo>
                    <a:pt x="2495" y="645"/>
                  </a:lnTo>
                  <a:lnTo>
                    <a:pt x="2556" y="704"/>
                  </a:lnTo>
                  <a:lnTo>
                    <a:pt x="2578" y="716"/>
                  </a:lnTo>
                  <a:lnTo>
                    <a:pt x="2587" y="728"/>
                  </a:lnTo>
                  <a:lnTo>
                    <a:pt x="2608" y="740"/>
                  </a:lnTo>
                  <a:lnTo>
                    <a:pt x="2615" y="744"/>
                  </a:lnTo>
                  <a:lnTo>
                    <a:pt x="2670" y="744"/>
                  </a:lnTo>
                  <a:lnTo>
                    <a:pt x="2712" y="756"/>
                  </a:lnTo>
                  <a:lnTo>
                    <a:pt x="2738" y="839"/>
                  </a:lnTo>
                  <a:lnTo>
                    <a:pt x="2750" y="884"/>
                  </a:lnTo>
                  <a:lnTo>
                    <a:pt x="2750" y="893"/>
                  </a:lnTo>
                  <a:lnTo>
                    <a:pt x="2750" y="884"/>
                  </a:lnTo>
                  <a:lnTo>
                    <a:pt x="2755" y="922"/>
                  </a:lnTo>
                  <a:lnTo>
                    <a:pt x="2750" y="922"/>
                  </a:lnTo>
                  <a:lnTo>
                    <a:pt x="2755" y="926"/>
                  </a:lnTo>
                  <a:lnTo>
                    <a:pt x="2750" y="943"/>
                  </a:lnTo>
                  <a:lnTo>
                    <a:pt x="2750" y="950"/>
                  </a:lnTo>
                  <a:lnTo>
                    <a:pt x="2750" y="959"/>
                  </a:lnTo>
                  <a:lnTo>
                    <a:pt x="2717" y="1037"/>
                  </a:lnTo>
                  <a:lnTo>
                    <a:pt x="2684" y="1077"/>
                  </a:lnTo>
                  <a:lnTo>
                    <a:pt x="2641" y="1132"/>
                  </a:lnTo>
                  <a:lnTo>
                    <a:pt x="2608" y="1160"/>
                  </a:lnTo>
                  <a:lnTo>
                    <a:pt x="2594" y="1165"/>
                  </a:lnTo>
                  <a:lnTo>
                    <a:pt x="2587" y="1160"/>
                  </a:lnTo>
                  <a:lnTo>
                    <a:pt x="2594" y="1165"/>
                  </a:lnTo>
                  <a:lnTo>
                    <a:pt x="2594" y="1172"/>
                  </a:lnTo>
                  <a:lnTo>
                    <a:pt x="2587" y="1181"/>
                  </a:lnTo>
                  <a:lnTo>
                    <a:pt x="2578" y="1172"/>
                  </a:lnTo>
                  <a:lnTo>
                    <a:pt x="2587" y="1181"/>
                  </a:lnTo>
                  <a:lnTo>
                    <a:pt x="2587" y="1188"/>
                  </a:lnTo>
                  <a:lnTo>
                    <a:pt x="2570" y="1205"/>
                  </a:lnTo>
                  <a:lnTo>
                    <a:pt x="2578" y="1188"/>
                  </a:lnTo>
                  <a:lnTo>
                    <a:pt x="2570" y="1188"/>
                  </a:lnTo>
                  <a:lnTo>
                    <a:pt x="2556" y="1243"/>
                  </a:lnTo>
                  <a:lnTo>
                    <a:pt x="2523" y="1292"/>
                  </a:lnTo>
                  <a:lnTo>
                    <a:pt x="2495" y="1325"/>
                  </a:lnTo>
                  <a:lnTo>
                    <a:pt x="2495" y="1300"/>
                  </a:lnTo>
                  <a:lnTo>
                    <a:pt x="2485" y="1300"/>
                  </a:lnTo>
                  <a:lnTo>
                    <a:pt x="2481" y="1292"/>
                  </a:lnTo>
                  <a:lnTo>
                    <a:pt x="2469" y="1309"/>
                  </a:lnTo>
                  <a:lnTo>
                    <a:pt x="2469" y="1292"/>
                  </a:lnTo>
                  <a:lnTo>
                    <a:pt x="2464" y="1300"/>
                  </a:lnTo>
                  <a:lnTo>
                    <a:pt x="2469" y="1309"/>
                  </a:lnTo>
                  <a:lnTo>
                    <a:pt x="2481" y="1309"/>
                  </a:lnTo>
                  <a:lnTo>
                    <a:pt x="2464" y="1349"/>
                  </a:lnTo>
                  <a:lnTo>
                    <a:pt x="2452" y="1349"/>
                  </a:lnTo>
                  <a:lnTo>
                    <a:pt x="2452" y="1354"/>
                  </a:lnTo>
                  <a:lnTo>
                    <a:pt x="2464" y="1370"/>
                  </a:lnTo>
                  <a:lnTo>
                    <a:pt x="2452" y="1403"/>
                  </a:lnTo>
                  <a:lnTo>
                    <a:pt x="2464" y="1394"/>
                  </a:lnTo>
                  <a:lnTo>
                    <a:pt x="2464" y="1387"/>
                  </a:lnTo>
                  <a:lnTo>
                    <a:pt x="2452" y="1444"/>
                  </a:lnTo>
                  <a:lnTo>
                    <a:pt x="2469" y="1531"/>
                  </a:lnTo>
                  <a:lnTo>
                    <a:pt x="2448" y="1625"/>
                  </a:lnTo>
                  <a:lnTo>
                    <a:pt x="2448" y="1666"/>
                  </a:lnTo>
                  <a:lnTo>
                    <a:pt x="2415" y="1703"/>
                  </a:lnTo>
                  <a:lnTo>
                    <a:pt x="2410" y="1744"/>
                  </a:lnTo>
                  <a:lnTo>
                    <a:pt x="2410" y="1793"/>
                  </a:lnTo>
                  <a:lnTo>
                    <a:pt x="2398" y="1810"/>
                  </a:lnTo>
                  <a:lnTo>
                    <a:pt x="2389" y="1814"/>
                  </a:lnTo>
                  <a:lnTo>
                    <a:pt x="2372" y="1864"/>
                  </a:lnTo>
                  <a:lnTo>
                    <a:pt x="2360" y="1855"/>
                  </a:lnTo>
                  <a:lnTo>
                    <a:pt x="2360" y="1864"/>
                  </a:lnTo>
                  <a:lnTo>
                    <a:pt x="2372" y="1864"/>
                  </a:lnTo>
                  <a:lnTo>
                    <a:pt x="2360" y="1888"/>
                  </a:lnTo>
                  <a:lnTo>
                    <a:pt x="2344" y="1904"/>
                  </a:lnTo>
                  <a:lnTo>
                    <a:pt x="2334" y="1904"/>
                  </a:lnTo>
                  <a:lnTo>
                    <a:pt x="2322" y="1937"/>
                  </a:lnTo>
                  <a:lnTo>
                    <a:pt x="2318" y="1959"/>
                  </a:lnTo>
                  <a:lnTo>
                    <a:pt x="2322" y="1992"/>
                  </a:lnTo>
                  <a:lnTo>
                    <a:pt x="2263" y="2015"/>
                  </a:lnTo>
                  <a:lnTo>
                    <a:pt x="2247" y="2032"/>
                  </a:lnTo>
                  <a:lnTo>
                    <a:pt x="2247" y="2065"/>
                  </a:lnTo>
                  <a:lnTo>
                    <a:pt x="2171" y="2065"/>
                  </a:lnTo>
                  <a:lnTo>
                    <a:pt x="2176" y="2048"/>
                  </a:lnTo>
                  <a:lnTo>
                    <a:pt x="2171" y="2036"/>
                  </a:lnTo>
                  <a:lnTo>
                    <a:pt x="2162" y="2048"/>
                  </a:lnTo>
                  <a:lnTo>
                    <a:pt x="2171" y="2065"/>
                  </a:lnTo>
                  <a:lnTo>
                    <a:pt x="2162" y="2065"/>
                  </a:lnTo>
                  <a:lnTo>
                    <a:pt x="2107" y="2070"/>
                  </a:lnTo>
                  <a:lnTo>
                    <a:pt x="2138" y="2070"/>
                  </a:lnTo>
                  <a:lnTo>
                    <a:pt x="2117" y="2053"/>
                  </a:lnTo>
                  <a:lnTo>
                    <a:pt x="2091" y="2070"/>
                  </a:lnTo>
                  <a:lnTo>
                    <a:pt x="2086" y="2065"/>
                  </a:lnTo>
                  <a:lnTo>
                    <a:pt x="2063" y="2070"/>
                  </a:lnTo>
                  <a:lnTo>
                    <a:pt x="2063" y="2086"/>
                  </a:lnTo>
                  <a:lnTo>
                    <a:pt x="2070" y="2086"/>
                  </a:lnTo>
                  <a:lnTo>
                    <a:pt x="2070" y="2093"/>
                  </a:lnTo>
                  <a:lnTo>
                    <a:pt x="2048" y="2093"/>
                  </a:lnTo>
                  <a:lnTo>
                    <a:pt x="2032" y="2103"/>
                  </a:lnTo>
                  <a:lnTo>
                    <a:pt x="2011" y="2110"/>
                  </a:lnTo>
                  <a:lnTo>
                    <a:pt x="2011" y="2126"/>
                  </a:lnTo>
                  <a:lnTo>
                    <a:pt x="1978" y="2126"/>
                  </a:lnTo>
                  <a:lnTo>
                    <a:pt x="1956" y="2131"/>
                  </a:lnTo>
                  <a:lnTo>
                    <a:pt x="1961" y="2131"/>
                  </a:lnTo>
                  <a:lnTo>
                    <a:pt x="1944" y="2143"/>
                  </a:lnTo>
                  <a:lnTo>
                    <a:pt x="1940" y="2131"/>
                  </a:lnTo>
                  <a:lnTo>
                    <a:pt x="1940" y="2143"/>
                  </a:lnTo>
                  <a:lnTo>
                    <a:pt x="1822" y="2221"/>
                  </a:lnTo>
                  <a:lnTo>
                    <a:pt x="1836" y="2221"/>
                  </a:lnTo>
                  <a:lnTo>
                    <a:pt x="1831" y="2230"/>
                  </a:lnTo>
                  <a:lnTo>
                    <a:pt x="1815" y="2254"/>
                  </a:lnTo>
                  <a:lnTo>
                    <a:pt x="1815" y="2242"/>
                  </a:lnTo>
                  <a:lnTo>
                    <a:pt x="1815" y="2237"/>
                  </a:lnTo>
                  <a:lnTo>
                    <a:pt x="1798" y="2242"/>
                  </a:lnTo>
                  <a:lnTo>
                    <a:pt x="1793" y="2254"/>
                  </a:lnTo>
                  <a:lnTo>
                    <a:pt x="1777" y="2254"/>
                  </a:lnTo>
                  <a:lnTo>
                    <a:pt x="1798" y="2259"/>
                  </a:lnTo>
                  <a:lnTo>
                    <a:pt x="1793" y="2275"/>
                  </a:lnTo>
                  <a:lnTo>
                    <a:pt x="1777" y="2287"/>
                  </a:lnTo>
                  <a:lnTo>
                    <a:pt x="1784" y="2287"/>
                  </a:lnTo>
                  <a:lnTo>
                    <a:pt x="1784" y="2308"/>
                  </a:lnTo>
                  <a:lnTo>
                    <a:pt x="1777" y="2313"/>
                  </a:lnTo>
                  <a:lnTo>
                    <a:pt x="1767" y="2296"/>
                  </a:lnTo>
                  <a:lnTo>
                    <a:pt x="1777" y="2313"/>
                  </a:lnTo>
                  <a:lnTo>
                    <a:pt x="1784" y="2329"/>
                  </a:lnTo>
                  <a:lnTo>
                    <a:pt x="1777" y="2348"/>
                  </a:lnTo>
                  <a:lnTo>
                    <a:pt x="1784" y="2381"/>
                  </a:lnTo>
                  <a:lnTo>
                    <a:pt x="1793" y="2386"/>
                  </a:lnTo>
                  <a:lnTo>
                    <a:pt x="1784" y="2386"/>
                  </a:lnTo>
                  <a:lnTo>
                    <a:pt x="1784" y="2419"/>
                  </a:lnTo>
                  <a:lnTo>
                    <a:pt x="1784" y="2440"/>
                  </a:lnTo>
                  <a:lnTo>
                    <a:pt x="1777" y="2492"/>
                  </a:lnTo>
                  <a:lnTo>
                    <a:pt x="1767" y="2476"/>
                  </a:lnTo>
                  <a:lnTo>
                    <a:pt x="1777" y="2492"/>
                  </a:lnTo>
                  <a:lnTo>
                    <a:pt x="1730" y="2530"/>
                  </a:lnTo>
                  <a:lnTo>
                    <a:pt x="1706" y="2551"/>
                  </a:lnTo>
                  <a:lnTo>
                    <a:pt x="1685" y="2592"/>
                  </a:lnTo>
                  <a:lnTo>
                    <a:pt x="1668" y="2641"/>
                  </a:lnTo>
                  <a:lnTo>
                    <a:pt x="1637" y="2686"/>
                  </a:lnTo>
                  <a:lnTo>
                    <a:pt x="1583" y="2740"/>
                  </a:lnTo>
                  <a:lnTo>
                    <a:pt x="1550" y="2757"/>
                  </a:lnTo>
                  <a:lnTo>
                    <a:pt x="1545" y="2773"/>
                  </a:lnTo>
                  <a:lnTo>
                    <a:pt x="1545" y="2757"/>
                  </a:lnTo>
                  <a:lnTo>
                    <a:pt x="1533" y="2752"/>
                  </a:lnTo>
                  <a:lnTo>
                    <a:pt x="1562" y="2752"/>
                  </a:lnTo>
                  <a:lnTo>
                    <a:pt x="1588" y="2731"/>
                  </a:lnTo>
                  <a:lnTo>
                    <a:pt x="1600" y="2719"/>
                  </a:lnTo>
                  <a:lnTo>
                    <a:pt x="1604" y="2686"/>
                  </a:lnTo>
                  <a:lnTo>
                    <a:pt x="1621" y="2696"/>
                  </a:lnTo>
                  <a:lnTo>
                    <a:pt x="1621" y="2679"/>
                  </a:lnTo>
                  <a:lnTo>
                    <a:pt x="1637" y="2662"/>
                  </a:lnTo>
                  <a:lnTo>
                    <a:pt x="1637" y="2641"/>
                  </a:lnTo>
                  <a:lnTo>
                    <a:pt x="1642" y="2641"/>
                  </a:lnTo>
                  <a:lnTo>
                    <a:pt x="1654" y="2625"/>
                  </a:lnTo>
                  <a:lnTo>
                    <a:pt x="1642" y="2625"/>
                  </a:lnTo>
                  <a:lnTo>
                    <a:pt x="1637" y="2629"/>
                  </a:lnTo>
                  <a:lnTo>
                    <a:pt x="1621" y="2629"/>
                  </a:lnTo>
                  <a:lnTo>
                    <a:pt x="1621" y="2641"/>
                  </a:lnTo>
                  <a:lnTo>
                    <a:pt x="1616" y="2641"/>
                  </a:lnTo>
                  <a:lnTo>
                    <a:pt x="1616" y="2625"/>
                  </a:lnTo>
                  <a:lnTo>
                    <a:pt x="1604" y="2625"/>
                  </a:lnTo>
                  <a:lnTo>
                    <a:pt x="1600" y="2608"/>
                  </a:lnTo>
                  <a:lnTo>
                    <a:pt x="1600" y="2620"/>
                  </a:lnTo>
                  <a:lnTo>
                    <a:pt x="1604" y="2641"/>
                  </a:lnTo>
                  <a:lnTo>
                    <a:pt x="1600" y="2674"/>
                  </a:lnTo>
                  <a:lnTo>
                    <a:pt x="1588" y="2658"/>
                  </a:lnTo>
                  <a:lnTo>
                    <a:pt x="1583" y="2686"/>
                  </a:lnTo>
                  <a:lnTo>
                    <a:pt x="1550" y="2712"/>
                  </a:lnTo>
                  <a:lnTo>
                    <a:pt x="1545" y="2736"/>
                  </a:lnTo>
                  <a:lnTo>
                    <a:pt x="1529" y="2740"/>
                  </a:lnTo>
                  <a:lnTo>
                    <a:pt x="1533" y="2757"/>
                  </a:lnTo>
                  <a:lnTo>
                    <a:pt x="1529" y="2769"/>
                  </a:lnTo>
                  <a:lnTo>
                    <a:pt x="1533" y="2773"/>
                  </a:lnTo>
                  <a:lnTo>
                    <a:pt x="1524" y="2807"/>
                  </a:lnTo>
                  <a:lnTo>
                    <a:pt x="1496" y="2851"/>
                  </a:lnTo>
                  <a:lnTo>
                    <a:pt x="1453" y="2901"/>
                  </a:lnTo>
                  <a:lnTo>
                    <a:pt x="1437" y="2901"/>
                  </a:lnTo>
                  <a:lnTo>
                    <a:pt x="1437" y="2851"/>
                  </a:lnTo>
                  <a:lnTo>
                    <a:pt x="1470" y="2823"/>
                  </a:lnTo>
                  <a:lnTo>
                    <a:pt x="1437" y="2797"/>
                  </a:lnTo>
                  <a:lnTo>
                    <a:pt x="1415" y="2757"/>
                  </a:lnTo>
                  <a:lnTo>
                    <a:pt x="1382" y="2752"/>
                  </a:lnTo>
                  <a:lnTo>
                    <a:pt x="1366" y="2719"/>
                  </a:lnTo>
                  <a:lnTo>
                    <a:pt x="1319" y="2703"/>
                  </a:lnTo>
                  <a:lnTo>
                    <a:pt x="1297" y="2674"/>
                  </a:lnTo>
                  <a:lnTo>
                    <a:pt x="1276" y="2686"/>
                  </a:lnTo>
                  <a:lnTo>
                    <a:pt x="1264" y="2686"/>
                  </a:lnTo>
                  <a:lnTo>
                    <a:pt x="1264" y="2674"/>
                  </a:lnTo>
                  <a:lnTo>
                    <a:pt x="1210" y="2620"/>
                  </a:lnTo>
                  <a:lnTo>
                    <a:pt x="1189" y="2620"/>
                  </a:lnTo>
                  <a:lnTo>
                    <a:pt x="1184" y="2629"/>
                  </a:lnTo>
                  <a:lnTo>
                    <a:pt x="1156" y="2625"/>
                  </a:lnTo>
                  <a:lnTo>
                    <a:pt x="1151" y="2625"/>
                  </a:lnTo>
                  <a:lnTo>
                    <a:pt x="1172" y="2608"/>
                  </a:lnTo>
                  <a:lnTo>
                    <a:pt x="1172" y="2592"/>
                  </a:lnTo>
                  <a:lnTo>
                    <a:pt x="1189" y="2585"/>
                  </a:lnTo>
                  <a:lnTo>
                    <a:pt x="1222" y="2535"/>
                  </a:lnTo>
                  <a:lnTo>
                    <a:pt x="1238" y="2535"/>
                  </a:lnTo>
                  <a:lnTo>
                    <a:pt x="1243" y="2514"/>
                  </a:lnTo>
                  <a:lnTo>
                    <a:pt x="1276" y="2481"/>
                  </a:lnTo>
                  <a:lnTo>
                    <a:pt x="1290" y="2481"/>
                  </a:lnTo>
                  <a:lnTo>
                    <a:pt x="1290" y="2476"/>
                  </a:lnTo>
                  <a:lnTo>
                    <a:pt x="1281" y="2464"/>
                  </a:lnTo>
                  <a:lnTo>
                    <a:pt x="1307" y="2457"/>
                  </a:lnTo>
                  <a:lnTo>
                    <a:pt x="1314" y="2440"/>
                  </a:lnTo>
                  <a:lnTo>
                    <a:pt x="1335" y="2436"/>
                  </a:lnTo>
                  <a:lnTo>
                    <a:pt x="1352" y="2407"/>
                  </a:lnTo>
                  <a:lnTo>
                    <a:pt x="1382" y="2403"/>
                  </a:lnTo>
                  <a:lnTo>
                    <a:pt x="1420" y="2381"/>
                  </a:lnTo>
                  <a:lnTo>
                    <a:pt x="1427" y="2365"/>
                  </a:lnTo>
                  <a:lnTo>
                    <a:pt x="1427" y="2325"/>
                  </a:lnTo>
                  <a:lnTo>
                    <a:pt x="1427" y="2313"/>
                  </a:lnTo>
                  <a:lnTo>
                    <a:pt x="1420" y="2292"/>
                  </a:lnTo>
                  <a:lnTo>
                    <a:pt x="1415" y="2270"/>
                  </a:lnTo>
                  <a:lnTo>
                    <a:pt x="1399" y="2254"/>
                  </a:lnTo>
                  <a:lnTo>
                    <a:pt x="1373" y="2270"/>
                  </a:lnTo>
                  <a:lnTo>
                    <a:pt x="1366" y="2259"/>
                  </a:lnTo>
                  <a:lnTo>
                    <a:pt x="1361" y="2254"/>
                  </a:lnTo>
                  <a:lnTo>
                    <a:pt x="1373" y="2230"/>
                  </a:lnTo>
                  <a:lnTo>
                    <a:pt x="1373" y="2221"/>
                  </a:lnTo>
                  <a:lnTo>
                    <a:pt x="1389" y="2164"/>
                  </a:lnTo>
                  <a:lnTo>
                    <a:pt x="1382" y="2148"/>
                  </a:lnTo>
                  <a:lnTo>
                    <a:pt x="1389" y="2148"/>
                  </a:lnTo>
                  <a:lnTo>
                    <a:pt x="1361" y="2126"/>
                  </a:lnTo>
                  <a:lnTo>
                    <a:pt x="1335" y="2143"/>
                  </a:lnTo>
                  <a:lnTo>
                    <a:pt x="1307" y="2143"/>
                  </a:lnTo>
                  <a:lnTo>
                    <a:pt x="1290" y="2053"/>
                  </a:lnTo>
                  <a:lnTo>
                    <a:pt x="1290" y="2036"/>
                  </a:lnTo>
                  <a:lnTo>
                    <a:pt x="1276" y="2015"/>
                  </a:lnTo>
                  <a:lnTo>
                    <a:pt x="1252" y="2008"/>
                  </a:lnTo>
                  <a:lnTo>
                    <a:pt x="1238" y="1992"/>
                  </a:lnTo>
                  <a:lnTo>
                    <a:pt x="1222" y="2008"/>
                  </a:lnTo>
                  <a:lnTo>
                    <a:pt x="1205" y="2008"/>
                  </a:lnTo>
                  <a:lnTo>
                    <a:pt x="1130" y="1999"/>
                  </a:lnTo>
                  <a:lnTo>
                    <a:pt x="1130" y="1954"/>
                  </a:lnTo>
                  <a:lnTo>
                    <a:pt x="1134" y="1942"/>
                  </a:lnTo>
                  <a:lnTo>
                    <a:pt x="1134" y="1909"/>
                  </a:lnTo>
                  <a:lnTo>
                    <a:pt x="1113" y="1848"/>
                  </a:lnTo>
                  <a:lnTo>
                    <a:pt x="1134" y="1836"/>
                  </a:lnTo>
                  <a:lnTo>
                    <a:pt x="1118" y="1814"/>
                  </a:lnTo>
                  <a:lnTo>
                    <a:pt x="1146" y="1770"/>
                  </a:lnTo>
                  <a:lnTo>
                    <a:pt x="1146" y="1760"/>
                  </a:lnTo>
                  <a:lnTo>
                    <a:pt x="1156" y="1703"/>
                  </a:lnTo>
                  <a:lnTo>
                    <a:pt x="1146" y="1682"/>
                  </a:lnTo>
                  <a:lnTo>
                    <a:pt x="1146" y="1659"/>
                  </a:lnTo>
                  <a:lnTo>
                    <a:pt x="1096" y="1633"/>
                  </a:lnTo>
                  <a:lnTo>
                    <a:pt x="1092" y="1592"/>
                  </a:lnTo>
                  <a:lnTo>
                    <a:pt x="1101" y="1576"/>
                  </a:lnTo>
                  <a:lnTo>
                    <a:pt x="1101" y="1559"/>
                  </a:lnTo>
                  <a:lnTo>
                    <a:pt x="971" y="1559"/>
                  </a:lnTo>
                  <a:lnTo>
                    <a:pt x="967" y="1498"/>
                  </a:lnTo>
                  <a:lnTo>
                    <a:pt x="941" y="1477"/>
                  </a:lnTo>
                  <a:lnTo>
                    <a:pt x="967" y="1477"/>
                  </a:lnTo>
                  <a:lnTo>
                    <a:pt x="967" y="1437"/>
                  </a:lnTo>
                  <a:lnTo>
                    <a:pt x="950" y="1403"/>
                  </a:lnTo>
                  <a:lnTo>
                    <a:pt x="957" y="1394"/>
                  </a:lnTo>
                  <a:lnTo>
                    <a:pt x="950" y="1382"/>
                  </a:lnTo>
                  <a:lnTo>
                    <a:pt x="912" y="1354"/>
                  </a:lnTo>
                  <a:lnTo>
                    <a:pt x="858" y="1366"/>
                  </a:lnTo>
                  <a:lnTo>
                    <a:pt x="832" y="1333"/>
                  </a:lnTo>
                  <a:lnTo>
                    <a:pt x="820" y="1333"/>
                  </a:lnTo>
                  <a:lnTo>
                    <a:pt x="794" y="1316"/>
                  </a:lnTo>
                  <a:lnTo>
                    <a:pt x="789" y="1325"/>
                  </a:lnTo>
                  <a:lnTo>
                    <a:pt x="773" y="1309"/>
                  </a:lnTo>
                  <a:lnTo>
                    <a:pt x="773" y="1292"/>
                  </a:lnTo>
                  <a:lnTo>
                    <a:pt x="752" y="1300"/>
                  </a:lnTo>
                  <a:lnTo>
                    <a:pt x="723" y="1283"/>
                  </a:lnTo>
                  <a:lnTo>
                    <a:pt x="714" y="1283"/>
                  </a:lnTo>
                  <a:lnTo>
                    <a:pt x="681" y="1283"/>
                  </a:lnTo>
                  <a:lnTo>
                    <a:pt x="669" y="1259"/>
                  </a:lnTo>
                  <a:lnTo>
                    <a:pt x="648" y="1259"/>
                  </a:lnTo>
                  <a:lnTo>
                    <a:pt x="648" y="1243"/>
                  </a:lnTo>
                  <a:lnTo>
                    <a:pt x="631" y="1243"/>
                  </a:lnTo>
                  <a:lnTo>
                    <a:pt x="631" y="1226"/>
                  </a:lnTo>
                  <a:lnTo>
                    <a:pt x="617" y="1226"/>
                  </a:lnTo>
                  <a:lnTo>
                    <a:pt x="626" y="1222"/>
                  </a:lnTo>
                  <a:lnTo>
                    <a:pt x="610" y="1205"/>
                  </a:lnTo>
                  <a:lnTo>
                    <a:pt x="610" y="1188"/>
                  </a:lnTo>
                  <a:lnTo>
                    <a:pt x="610" y="1172"/>
                  </a:lnTo>
                  <a:lnTo>
                    <a:pt x="605" y="1132"/>
                  </a:lnTo>
                  <a:lnTo>
                    <a:pt x="610" y="1115"/>
                  </a:lnTo>
                  <a:lnTo>
                    <a:pt x="610" y="1077"/>
                  </a:lnTo>
                  <a:lnTo>
                    <a:pt x="593" y="1087"/>
                  </a:lnTo>
                  <a:lnTo>
                    <a:pt x="556" y="1087"/>
                  </a:lnTo>
                  <a:lnTo>
                    <a:pt x="518" y="1094"/>
                  </a:lnTo>
                  <a:lnTo>
                    <a:pt x="487" y="1115"/>
                  </a:lnTo>
                  <a:lnTo>
                    <a:pt x="471" y="1127"/>
                  </a:lnTo>
                  <a:lnTo>
                    <a:pt x="454" y="1132"/>
                  </a:lnTo>
                  <a:lnTo>
                    <a:pt x="442" y="1148"/>
                  </a:lnTo>
                  <a:lnTo>
                    <a:pt x="416" y="1148"/>
                  </a:lnTo>
                  <a:lnTo>
                    <a:pt x="400" y="1172"/>
                  </a:lnTo>
                  <a:lnTo>
                    <a:pt x="378" y="1181"/>
                  </a:lnTo>
                  <a:lnTo>
                    <a:pt x="374" y="1181"/>
                  </a:lnTo>
                  <a:lnTo>
                    <a:pt x="362" y="1172"/>
                  </a:lnTo>
                  <a:lnTo>
                    <a:pt x="319" y="1172"/>
                  </a:lnTo>
                  <a:lnTo>
                    <a:pt x="286" y="1165"/>
                  </a:lnTo>
                  <a:lnTo>
                    <a:pt x="265" y="1181"/>
                  </a:lnTo>
                  <a:lnTo>
                    <a:pt x="248" y="1165"/>
                  </a:lnTo>
                  <a:lnTo>
                    <a:pt x="237" y="1172"/>
                  </a:lnTo>
                  <a:lnTo>
                    <a:pt x="237" y="1087"/>
                  </a:lnTo>
                  <a:lnTo>
                    <a:pt x="248" y="1061"/>
                  </a:lnTo>
                  <a:lnTo>
                    <a:pt x="194" y="1106"/>
                  </a:lnTo>
                  <a:lnTo>
                    <a:pt x="130" y="1106"/>
                  </a:lnTo>
                  <a:lnTo>
                    <a:pt x="114" y="1061"/>
                  </a:lnTo>
                  <a:lnTo>
                    <a:pt x="55" y="1054"/>
                  </a:lnTo>
                  <a:lnTo>
                    <a:pt x="76" y="1037"/>
                  </a:lnTo>
                  <a:lnTo>
                    <a:pt x="76" y="1021"/>
                  </a:lnTo>
                  <a:lnTo>
                    <a:pt x="38" y="983"/>
                  </a:lnTo>
                  <a:lnTo>
                    <a:pt x="33" y="959"/>
                  </a:lnTo>
                  <a:lnTo>
                    <a:pt x="17" y="950"/>
                  </a:lnTo>
                  <a:lnTo>
                    <a:pt x="22" y="938"/>
                  </a:lnTo>
                  <a:lnTo>
                    <a:pt x="0" y="922"/>
                  </a:lnTo>
                  <a:lnTo>
                    <a:pt x="5" y="910"/>
                  </a:lnTo>
                  <a:lnTo>
                    <a:pt x="22" y="905"/>
                  </a:lnTo>
                  <a:lnTo>
                    <a:pt x="17" y="888"/>
                  </a:lnTo>
                  <a:lnTo>
                    <a:pt x="22" y="872"/>
                  </a:lnTo>
                  <a:lnTo>
                    <a:pt x="59" y="839"/>
                  </a:lnTo>
                  <a:lnTo>
                    <a:pt x="55" y="815"/>
                  </a:lnTo>
                  <a:lnTo>
                    <a:pt x="76" y="782"/>
                  </a:lnTo>
                  <a:lnTo>
                    <a:pt x="85" y="744"/>
                  </a:lnTo>
                  <a:lnTo>
                    <a:pt x="147" y="704"/>
                  </a:lnTo>
                  <a:lnTo>
                    <a:pt x="199" y="688"/>
                  </a:lnTo>
                  <a:lnTo>
                    <a:pt x="215" y="688"/>
                  </a:lnTo>
                  <a:lnTo>
                    <a:pt x="232" y="671"/>
                  </a:lnTo>
                  <a:lnTo>
                    <a:pt x="265" y="671"/>
                  </a:lnTo>
                  <a:lnTo>
                    <a:pt x="270" y="688"/>
                  </a:lnTo>
                  <a:lnTo>
                    <a:pt x="274" y="688"/>
                  </a:lnTo>
                  <a:lnTo>
                    <a:pt x="286" y="683"/>
                  </a:lnTo>
                  <a:lnTo>
                    <a:pt x="286" y="683"/>
                  </a:lnTo>
                  <a:lnTo>
                    <a:pt x="286" y="683"/>
                  </a:lnTo>
                  <a:close/>
                  <a:moveTo>
                    <a:pt x="1654" y="222"/>
                  </a:moveTo>
                  <a:lnTo>
                    <a:pt x="1659" y="222"/>
                  </a:lnTo>
                  <a:lnTo>
                    <a:pt x="1654" y="222"/>
                  </a:lnTo>
                  <a:lnTo>
                    <a:pt x="1654" y="222"/>
                  </a:lnTo>
                  <a:lnTo>
                    <a:pt x="1654" y="222"/>
                  </a:lnTo>
                  <a:close/>
                  <a:moveTo>
                    <a:pt x="1659" y="246"/>
                  </a:moveTo>
                  <a:lnTo>
                    <a:pt x="1654" y="229"/>
                  </a:lnTo>
                  <a:lnTo>
                    <a:pt x="1659" y="222"/>
                  </a:lnTo>
                  <a:lnTo>
                    <a:pt x="1668" y="239"/>
                  </a:lnTo>
                  <a:lnTo>
                    <a:pt x="1659" y="246"/>
                  </a:lnTo>
                  <a:lnTo>
                    <a:pt x="1659" y="246"/>
                  </a:lnTo>
                  <a:lnTo>
                    <a:pt x="1659" y="246"/>
                  </a:lnTo>
                  <a:close/>
                  <a:moveTo>
                    <a:pt x="1685" y="312"/>
                  </a:moveTo>
                  <a:lnTo>
                    <a:pt x="1692" y="300"/>
                  </a:lnTo>
                  <a:lnTo>
                    <a:pt x="1685" y="312"/>
                  </a:lnTo>
                  <a:lnTo>
                    <a:pt x="1685" y="312"/>
                  </a:lnTo>
                  <a:lnTo>
                    <a:pt x="1685" y="312"/>
                  </a:lnTo>
                  <a:close/>
                  <a:moveTo>
                    <a:pt x="1668" y="329"/>
                  </a:moveTo>
                  <a:lnTo>
                    <a:pt x="1675" y="317"/>
                  </a:lnTo>
                  <a:lnTo>
                    <a:pt x="1685" y="312"/>
                  </a:lnTo>
                  <a:lnTo>
                    <a:pt x="1685" y="317"/>
                  </a:lnTo>
                  <a:lnTo>
                    <a:pt x="1668" y="329"/>
                  </a:lnTo>
                  <a:lnTo>
                    <a:pt x="1668" y="329"/>
                  </a:lnTo>
                  <a:lnTo>
                    <a:pt x="1668" y="329"/>
                  </a:lnTo>
                  <a:close/>
                  <a:moveTo>
                    <a:pt x="1668" y="357"/>
                  </a:moveTo>
                  <a:lnTo>
                    <a:pt x="1668" y="338"/>
                  </a:lnTo>
                  <a:lnTo>
                    <a:pt x="1685" y="333"/>
                  </a:lnTo>
                  <a:lnTo>
                    <a:pt x="1685" y="338"/>
                  </a:lnTo>
                  <a:lnTo>
                    <a:pt x="1668" y="357"/>
                  </a:lnTo>
                  <a:lnTo>
                    <a:pt x="1668" y="357"/>
                  </a:lnTo>
                  <a:lnTo>
                    <a:pt x="1668" y="357"/>
                  </a:lnTo>
                  <a:close/>
                  <a:moveTo>
                    <a:pt x="1654" y="366"/>
                  </a:moveTo>
                  <a:lnTo>
                    <a:pt x="1659" y="333"/>
                  </a:lnTo>
                  <a:lnTo>
                    <a:pt x="1668" y="357"/>
                  </a:lnTo>
                  <a:lnTo>
                    <a:pt x="1654" y="366"/>
                  </a:lnTo>
                  <a:lnTo>
                    <a:pt x="1654" y="366"/>
                  </a:lnTo>
                  <a:lnTo>
                    <a:pt x="1654" y="366"/>
                  </a:lnTo>
                  <a:close/>
                  <a:moveTo>
                    <a:pt x="1685" y="383"/>
                  </a:moveTo>
                  <a:lnTo>
                    <a:pt x="1659" y="374"/>
                  </a:lnTo>
                  <a:lnTo>
                    <a:pt x="1659" y="366"/>
                  </a:lnTo>
                  <a:lnTo>
                    <a:pt x="1706" y="357"/>
                  </a:lnTo>
                  <a:lnTo>
                    <a:pt x="1713" y="366"/>
                  </a:lnTo>
                  <a:lnTo>
                    <a:pt x="1685" y="383"/>
                  </a:lnTo>
                  <a:lnTo>
                    <a:pt x="1685" y="383"/>
                  </a:lnTo>
                  <a:lnTo>
                    <a:pt x="1685" y="383"/>
                  </a:lnTo>
                  <a:close/>
                  <a:moveTo>
                    <a:pt x="1654" y="383"/>
                  </a:moveTo>
                  <a:lnTo>
                    <a:pt x="1642" y="366"/>
                  </a:lnTo>
                  <a:lnTo>
                    <a:pt x="1654" y="366"/>
                  </a:lnTo>
                  <a:lnTo>
                    <a:pt x="1654" y="383"/>
                  </a:lnTo>
                  <a:lnTo>
                    <a:pt x="1654" y="383"/>
                  </a:lnTo>
                  <a:lnTo>
                    <a:pt x="1654" y="383"/>
                  </a:lnTo>
                  <a:close/>
                  <a:moveTo>
                    <a:pt x="1730" y="383"/>
                  </a:moveTo>
                  <a:lnTo>
                    <a:pt x="1730" y="390"/>
                  </a:lnTo>
                  <a:lnTo>
                    <a:pt x="1722" y="390"/>
                  </a:lnTo>
                  <a:lnTo>
                    <a:pt x="1706" y="390"/>
                  </a:lnTo>
                  <a:lnTo>
                    <a:pt x="1696" y="383"/>
                  </a:lnTo>
                  <a:lnTo>
                    <a:pt x="1713" y="374"/>
                  </a:lnTo>
                  <a:lnTo>
                    <a:pt x="1730" y="383"/>
                  </a:lnTo>
                  <a:lnTo>
                    <a:pt x="1730" y="383"/>
                  </a:lnTo>
                  <a:lnTo>
                    <a:pt x="1730" y="383"/>
                  </a:lnTo>
                  <a:close/>
                  <a:moveTo>
                    <a:pt x="1621" y="383"/>
                  </a:moveTo>
                  <a:lnTo>
                    <a:pt x="1630" y="374"/>
                  </a:lnTo>
                  <a:lnTo>
                    <a:pt x="1637" y="374"/>
                  </a:lnTo>
                  <a:lnTo>
                    <a:pt x="1621" y="383"/>
                  </a:lnTo>
                  <a:lnTo>
                    <a:pt x="1621" y="383"/>
                  </a:lnTo>
                  <a:lnTo>
                    <a:pt x="1621" y="383"/>
                  </a:lnTo>
                  <a:close/>
                  <a:moveTo>
                    <a:pt x="1630" y="395"/>
                  </a:moveTo>
                  <a:lnTo>
                    <a:pt x="1616" y="395"/>
                  </a:lnTo>
                  <a:lnTo>
                    <a:pt x="1621" y="383"/>
                  </a:lnTo>
                  <a:lnTo>
                    <a:pt x="1637" y="383"/>
                  </a:lnTo>
                  <a:lnTo>
                    <a:pt x="1642" y="383"/>
                  </a:lnTo>
                  <a:lnTo>
                    <a:pt x="1630" y="395"/>
                  </a:lnTo>
                  <a:lnTo>
                    <a:pt x="1630" y="395"/>
                  </a:lnTo>
                  <a:lnTo>
                    <a:pt x="1630" y="395"/>
                  </a:lnTo>
                  <a:close/>
                  <a:moveTo>
                    <a:pt x="1630" y="485"/>
                  </a:moveTo>
                  <a:lnTo>
                    <a:pt x="1630" y="461"/>
                  </a:lnTo>
                  <a:lnTo>
                    <a:pt x="1642" y="449"/>
                  </a:lnTo>
                  <a:lnTo>
                    <a:pt x="1630" y="449"/>
                  </a:lnTo>
                  <a:lnTo>
                    <a:pt x="1630" y="428"/>
                  </a:lnTo>
                  <a:lnTo>
                    <a:pt x="1637" y="423"/>
                  </a:lnTo>
                  <a:lnTo>
                    <a:pt x="1654" y="428"/>
                  </a:lnTo>
                  <a:lnTo>
                    <a:pt x="1637" y="423"/>
                  </a:lnTo>
                  <a:lnTo>
                    <a:pt x="1637" y="411"/>
                  </a:lnTo>
                  <a:lnTo>
                    <a:pt x="1637" y="395"/>
                  </a:lnTo>
                  <a:lnTo>
                    <a:pt x="1654" y="390"/>
                  </a:lnTo>
                  <a:lnTo>
                    <a:pt x="1659" y="390"/>
                  </a:lnTo>
                  <a:lnTo>
                    <a:pt x="1713" y="395"/>
                  </a:lnTo>
                  <a:lnTo>
                    <a:pt x="1744" y="390"/>
                  </a:lnTo>
                  <a:lnTo>
                    <a:pt x="1798" y="395"/>
                  </a:lnTo>
                  <a:lnTo>
                    <a:pt x="1793" y="444"/>
                  </a:lnTo>
                  <a:lnTo>
                    <a:pt x="1760" y="485"/>
                  </a:lnTo>
                  <a:lnTo>
                    <a:pt x="1744" y="494"/>
                  </a:lnTo>
                  <a:lnTo>
                    <a:pt x="1722" y="494"/>
                  </a:lnTo>
                  <a:lnTo>
                    <a:pt x="1706" y="506"/>
                  </a:lnTo>
                  <a:lnTo>
                    <a:pt x="1706" y="494"/>
                  </a:lnTo>
                  <a:lnTo>
                    <a:pt x="1696" y="506"/>
                  </a:lnTo>
                  <a:lnTo>
                    <a:pt x="1685" y="501"/>
                  </a:lnTo>
                  <a:lnTo>
                    <a:pt x="1659" y="506"/>
                  </a:lnTo>
                  <a:lnTo>
                    <a:pt x="1642" y="506"/>
                  </a:lnTo>
                  <a:lnTo>
                    <a:pt x="1630" y="485"/>
                  </a:lnTo>
                  <a:lnTo>
                    <a:pt x="1630" y="485"/>
                  </a:lnTo>
                  <a:lnTo>
                    <a:pt x="1630" y="485"/>
                  </a:lnTo>
                  <a:close/>
                  <a:moveTo>
                    <a:pt x="1588" y="411"/>
                  </a:moveTo>
                  <a:lnTo>
                    <a:pt x="1600" y="390"/>
                  </a:lnTo>
                  <a:lnTo>
                    <a:pt x="1604" y="390"/>
                  </a:lnTo>
                  <a:lnTo>
                    <a:pt x="1604" y="395"/>
                  </a:lnTo>
                  <a:lnTo>
                    <a:pt x="1588" y="411"/>
                  </a:lnTo>
                  <a:lnTo>
                    <a:pt x="1588" y="411"/>
                  </a:lnTo>
                  <a:lnTo>
                    <a:pt x="1588" y="411"/>
                  </a:lnTo>
                  <a:close/>
                  <a:moveTo>
                    <a:pt x="1630" y="407"/>
                  </a:moveTo>
                  <a:lnTo>
                    <a:pt x="1621" y="407"/>
                  </a:lnTo>
                  <a:lnTo>
                    <a:pt x="1637" y="395"/>
                  </a:lnTo>
                  <a:lnTo>
                    <a:pt x="1630" y="407"/>
                  </a:lnTo>
                  <a:lnTo>
                    <a:pt x="1630" y="407"/>
                  </a:lnTo>
                  <a:lnTo>
                    <a:pt x="1630" y="407"/>
                  </a:lnTo>
                  <a:close/>
                  <a:moveTo>
                    <a:pt x="1604" y="423"/>
                  </a:moveTo>
                  <a:lnTo>
                    <a:pt x="1604" y="407"/>
                  </a:lnTo>
                  <a:lnTo>
                    <a:pt x="1616" y="395"/>
                  </a:lnTo>
                  <a:lnTo>
                    <a:pt x="1621" y="407"/>
                  </a:lnTo>
                  <a:lnTo>
                    <a:pt x="1604" y="423"/>
                  </a:lnTo>
                  <a:lnTo>
                    <a:pt x="1604" y="423"/>
                  </a:lnTo>
                  <a:lnTo>
                    <a:pt x="1604" y="423"/>
                  </a:lnTo>
                  <a:close/>
                  <a:moveTo>
                    <a:pt x="1621" y="423"/>
                  </a:moveTo>
                  <a:lnTo>
                    <a:pt x="1621" y="407"/>
                  </a:lnTo>
                  <a:lnTo>
                    <a:pt x="1630" y="407"/>
                  </a:lnTo>
                  <a:lnTo>
                    <a:pt x="1630" y="411"/>
                  </a:lnTo>
                  <a:lnTo>
                    <a:pt x="1621" y="423"/>
                  </a:lnTo>
                  <a:lnTo>
                    <a:pt x="1621" y="423"/>
                  </a:lnTo>
                  <a:lnTo>
                    <a:pt x="1621" y="423"/>
                  </a:lnTo>
                  <a:close/>
                  <a:moveTo>
                    <a:pt x="1550" y="485"/>
                  </a:moveTo>
                  <a:lnTo>
                    <a:pt x="1550" y="461"/>
                  </a:lnTo>
                  <a:lnTo>
                    <a:pt x="1567" y="449"/>
                  </a:lnTo>
                  <a:lnTo>
                    <a:pt x="1578" y="428"/>
                  </a:lnTo>
                  <a:lnTo>
                    <a:pt x="1588" y="423"/>
                  </a:lnTo>
                  <a:lnTo>
                    <a:pt x="1604" y="411"/>
                  </a:lnTo>
                  <a:lnTo>
                    <a:pt x="1604" y="428"/>
                  </a:lnTo>
                  <a:lnTo>
                    <a:pt x="1600" y="449"/>
                  </a:lnTo>
                  <a:lnTo>
                    <a:pt x="1583" y="468"/>
                  </a:lnTo>
                  <a:lnTo>
                    <a:pt x="1550" y="485"/>
                  </a:lnTo>
                  <a:lnTo>
                    <a:pt x="1550" y="485"/>
                  </a:lnTo>
                  <a:lnTo>
                    <a:pt x="1550" y="485"/>
                  </a:lnTo>
                  <a:close/>
                  <a:moveTo>
                    <a:pt x="1604" y="444"/>
                  </a:moveTo>
                  <a:lnTo>
                    <a:pt x="1616" y="428"/>
                  </a:lnTo>
                  <a:lnTo>
                    <a:pt x="1630" y="423"/>
                  </a:lnTo>
                  <a:lnTo>
                    <a:pt x="1630" y="428"/>
                  </a:lnTo>
                  <a:lnTo>
                    <a:pt x="1604" y="444"/>
                  </a:lnTo>
                  <a:lnTo>
                    <a:pt x="1604" y="444"/>
                  </a:lnTo>
                  <a:lnTo>
                    <a:pt x="1604" y="444"/>
                  </a:lnTo>
                  <a:close/>
                  <a:moveTo>
                    <a:pt x="1831" y="428"/>
                  </a:moveTo>
                  <a:lnTo>
                    <a:pt x="1831" y="423"/>
                  </a:lnTo>
                  <a:lnTo>
                    <a:pt x="1836" y="428"/>
                  </a:lnTo>
                  <a:lnTo>
                    <a:pt x="1831" y="428"/>
                  </a:lnTo>
                  <a:lnTo>
                    <a:pt x="1831" y="428"/>
                  </a:lnTo>
                  <a:lnTo>
                    <a:pt x="1831" y="428"/>
                  </a:lnTo>
                  <a:close/>
                  <a:moveTo>
                    <a:pt x="1621" y="440"/>
                  </a:moveTo>
                  <a:lnTo>
                    <a:pt x="1621" y="428"/>
                  </a:lnTo>
                  <a:lnTo>
                    <a:pt x="1630" y="428"/>
                  </a:lnTo>
                  <a:lnTo>
                    <a:pt x="1621" y="440"/>
                  </a:lnTo>
                  <a:lnTo>
                    <a:pt x="1621" y="440"/>
                  </a:lnTo>
                  <a:lnTo>
                    <a:pt x="1621" y="440"/>
                  </a:lnTo>
                  <a:close/>
                  <a:moveTo>
                    <a:pt x="1588" y="468"/>
                  </a:moveTo>
                  <a:lnTo>
                    <a:pt x="1604" y="440"/>
                  </a:lnTo>
                  <a:lnTo>
                    <a:pt x="1600" y="461"/>
                  </a:lnTo>
                  <a:lnTo>
                    <a:pt x="1588" y="468"/>
                  </a:lnTo>
                  <a:lnTo>
                    <a:pt x="1588" y="468"/>
                  </a:lnTo>
                  <a:lnTo>
                    <a:pt x="1588" y="468"/>
                  </a:lnTo>
                  <a:close/>
                  <a:moveTo>
                    <a:pt x="1928" y="449"/>
                  </a:moveTo>
                  <a:lnTo>
                    <a:pt x="1940" y="444"/>
                  </a:lnTo>
                  <a:lnTo>
                    <a:pt x="1940" y="449"/>
                  </a:lnTo>
                  <a:lnTo>
                    <a:pt x="1928" y="449"/>
                  </a:lnTo>
                  <a:lnTo>
                    <a:pt x="1928" y="449"/>
                  </a:lnTo>
                  <a:lnTo>
                    <a:pt x="1928" y="449"/>
                  </a:lnTo>
                  <a:close/>
                  <a:moveTo>
                    <a:pt x="1798" y="468"/>
                  </a:moveTo>
                  <a:lnTo>
                    <a:pt x="1793" y="461"/>
                  </a:lnTo>
                  <a:lnTo>
                    <a:pt x="1798" y="449"/>
                  </a:lnTo>
                  <a:lnTo>
                    <a:pt x="1805" y="449"/>
                  </a:lnTo>
                  <a:lnTo>
                    <a:pt x="1798" y="468"/>
                  </a:lnTo>
                  <a:lnTo>
                    <a:pt x="1798" y="468"/>
                  </a:lnTo>
                  <a:lnTo>
                    <a:pt x="1798" y="468"/>
                  </a:lnTo>
                  <a:close/>
                  <a:moveTo>
                    <a:pt x="2037" y="477"/>
                  </a:moveTo>
                  <a:lnTo>
                    <a:pt x="2037" y="468"/>
                  </a:lnTo>
                  <a:lnTo>
                    <a:pt x="2048" y="468"/>
                  </a:lnTo>
                  <a:lnTo>
                    <a:pt x="2037" y="477"/>
                  </a:lnTo>
                  <a:lnTo>
                    <a:pt x="2037" y="477"/>
                  </a:lnTo>
                  <a:lnTo>
                    <a:pt x="2037" y="477"/>
                  </a:lnTo>
                  <a:close/>
                  <a:moveTo>
                    <a:pt x="1512" y="485"/>
                  </a:moveTo>
                  <a:lnTo>
                    <a:pt x="1533" y="477"/>
                  </a:lnTo>
                  <a:lnTo>
                    <a:pt x="1512" y="485"/>
                  </a:lnTo>
                  <a:lnTo>
                    <a:pt x="1512" y="485"/>
                  </a:lnTo>
                  <a:lnTo>
                    <a:pt x="1512" y="485"/>
                  </a:lnTo>
                  <a:close/>
                  <a:moveTo>
                    <a:pt x="1529" y="501"/>
                  </a:moveTo>
                  <a:lnTo>
                    <a:pt x="1533" y="485"/>
                  </a:lnTo>
                  <a:lnTo>
                    <a:pt x="1545" y="485"/>
                  </a:lnTo>
                  <a:lnTo>
                    <a:pt x="1550" y="485"/>
                  </a:lnTo>
                  <a:lnTo>
                    <a:pt x="1529" y="501"/>
                  </a:lnTo>
                  <a:lnTo>
                    <a:pt x="1529" y="501"/>
                  </a:lnTo>
                  <a:lnTo>
                    <a:pt x="1529" y="501"/>
                  </a:lnTo>
                  <a:close/>
                  <a:moveTo>
                    <a:pt x="2053" y="501"/>
                  </a:moveTo>
                  <a:lnTo>
                    <a:pt x="2063" y="494"/>
                  </a:lnTo>
                  <a:lnTo>
                    <a:pt x="2063" y="501"/>
                  </a:lnTo>
                  <a:lnTo>
                    <a:pt x="2053" y="501"/>
                  </a:lnTo>
                  <a:lnTo>
                    <a:pt x="2053" y="501"/>
                  </a:lnTo>
                  <a:lnTo>
                    <a:pt x="2053" y="501"/>
                  </a:lnTo>
                  <a:close/>
                  <a:moveTo>
                    <a:pt x="1760" y="506"/>
                  </a:moveTo>
                  <a:lnTo>
                    <a:pt x="1751" y="501"/>
                  </a:lnTo>
                  <a:lnTo>
                    <a:pt x="1760" y="494"/>
                  </a:lnTo>
                  <a:lnTo>
                    <a:pt x="1760" y="506"/>
                  </a:lnTo>
                  <a:lnTo>
                    <a:pt x="1760" y="506"/>
                  </a:lnTo>
                  <a:lnTo>
                    <a:pt x="1760" y="506"/>
                  </a:lnTo>
                  <a:close/>
                  <a:moveTo>
                    <a:pt x="1744" y="518"/>
                  </a:moveTo>
                  <a:lnTo>
                    <a:pt x="1751" y="501"/>
                  </a:lnTo>
                  <a:lnTo>
                    <a:pt x="1751" y="506"/>
                  </a:lnTo>
                  <a:lnTo>
                    <a:pt x="1744" y="518"/>
                  </a:lnTo>
                  <a:lnTo>
                    <a:pt x="1744" y="518"/>
                  </a:lnTo>
                  <a:lnTo>
                    <a:pt x="1744" y="518"/>
                  </a:lnTo>
                  <a:close/>
                  <a:moveTo>
                    <a:pt x="1630" y="522"/>
                  </a:moveTo>
                  <a:lnTo>
                    <a:pt x="1616" y="522"/>
                  </a:lnTo>
                  <a:lnTo>
                    <a:pt x="1604" y="506"/>
                  </a:lnTo>
                  <a:lnTo>
                    <a:pt x="1630" y="518"/>
                  </a:lnTo>
                  <a:lnTo>
                    <a:pt x="1630" y="522"/>
                  </a:lnTo>
                  <a:lnTo>
                    <a:pt x="1630" y="522"/>
                  </a:lnTo>
                  <a:lnTo>
                    <a:pt x="1630" y="522"/>
                  </a:lnTo>
                  <a:close/>
                  <a:moveTo>
                    <a:pt x="2247" y="577"/>
                  </a:moveTo>
                  <a:lnTo>
                    <a:pt x="2237" y="572"/>
                  </a:lnTo>
                  <a:lnTo>
                    <a:pt x="2247" y="572"/>
                  </a:lnTo>
                  <a:lnTo>
                    <a:pt x="2247" y="577"/>
                  </a:lnTo>
                  <a:lnTo>
                    <a:pt x="2247" y="577"/>
                  </a:lnTo>
                  <a:lnTo>
                    <a:pt x="2247" y="577"/>
                  </a:lnTo>
                  <a:close/>
                  <a:moveTo>
                    <a:pt x="2070" y="596"/>
                  </a:moveTo>
                  <a:lnTo>
                    <a:pt x="2070" y="577"/>
                  </a:lnTo>
                  <a:lnTo>
                    <a:pt x="2074" y="572"/>
                  </a:lnTo>
                  <a:lnTo>
                    <a:pt x="2070" y="589"/>
                  </a:lnTo>
                  <a:lnTo>
                    <a:pt x="2070" y="596"/>
                  </a:lnTo>
                  <a:lnTo>
                    <a:pt x="2070" y="596"/>
                  </a:lnTo>
                  <a:lnTo>
                    <a:pt x="2070" y="596"/>
                  </a:lnTo>
                  <a:close/>
                  <a:moveTo>
                    <a:pt x="2469" y="1333"/>
                  </a:moveTo>
                  <a:lnTo>
                    <a:pt x="2485" y="1309"/>
                  </a:lnTo>
                  <a:lnTo>
                    <a:pt x="2485" y="1316"/>
                  </a:lnTo>
                  <a:lnTo>
                    <a:pt x="2469" y="1333"/>
                  </a:lnTo>
                  <a:lnTo>
                    <a:pt x="2469" y="1333"/>
                  </a:lnTo>
                  <a:lnTo>
                    <a:pt x="2469" y="1333"/>
                  </a:lnTo>
                  <a:close/>
                  <a:moveTo>
                    <a:pt x="2464" y="1366"/>
                  </a:moveTo>
                  <a:lnTo>
                    <a:pt x="2452" y="1349"/>
                  </a:lnTo>
                  <a:lnTo>
                    <a:pt x="2464" y="1349"/>
                  </a:lnTo>
                  <a:lnTo>
                    <a:pt x="2464" y="1366"/>
                  </a:lnTo>
                  <a:lnTo>
                    <a:pt x="2464" y="1366"/>
                  </a:lnTo>
                  <a:lnTo>
                    <a:pt x="2464" y="1366"/>
                  </a:lnTo>
                  <a:close/>
                  <a:moveTo>
                    <a:pt x="2464" y="1370"/>
                  </a:moveTo>
                  <a:lnTo>
                    <a:pt x="2464" y="1366"/>
                  </a:lnTo>
                  <a:lnTo>
                    <a:pt x="2464" y="1370"/>
                  </a:lnTo>
                  <a:lnTo>
                    <a:pt x="2464" y="1370"/>
                  </a:lnTo>
                  <a:lnTo>
                    <a:pt x="2464" y="1370"/>
                  </a:lnTo>
                  <a:close/>
                  <a:moveTo>
                    <a:pt x="2086" y="2086"/>
                  </a:moveTo>
                  <a:lnTo>
                    <a:pt x="2086" y="2074"/>
                  </a:lnTo>
                  <a:lnTo>
                    <a:pt x="2091" y="2070"/>
                  </a:lnTo>
                  <a:lnTo>
                    <a:pt x="2100" y="2074"/>
                  </a:lnTo>
                  <a:lnTo>
                    <a:pt x="2086" y="2086"/>
                  </a:lnTo>
                  <a:lnTo>
                    <a:pt x="2086" y="2086"/>
                  </a:lnTo>
                  <a:lnTo>
                    <a:pt x="2086" y="2086"/>
                  </a:lnTo>
                  <a:close/>
                  <a:moveTo>
                    <a:pt x="2020" y="2143"/>
                  </a:moveTo>
                  <a:lnTo>
                    <a:pt x="2011" y="2131"/>
                  </a:lnTo>
                  <a:lnTo>
                    <a:pt x="2015" y="2119"/>
                  </a:lnTo>
                  <a:lnTo>
                    <a:pt x="2020" y="2126"/>
                  </a:lnTo>
                  <a:lnTo>
                    <a:pt x="2020" y="2143"/>
                  </a:lnTo>
                  <a:lnTo>
                    <a:pt x="2020" y="2143"/>
                  </a:lnTo>
                  <a:lnTo>
                    <a:pt x="2020" y="2143"/>
                  </a:lnTo>
                  <a:close/>
                  <a:moveTo>
                    <a:pt x="1836" y="2221"/>
                  </a:moveTo>
                  <a:lnTo>
                    <a:pt x="1836" y="2214"/>
                  </a:lnTo>
                  <a:lnTo>
                    <a:pt x="1852" y="2202"/>
                  </a:lnTo>
                  <a:lnTo>
                    <a:pt x="1836" y="2221"/>
                  </a:lnTo>
                  <a:lnTo>
                    <a:pt x="1836" y="2221"/>
                  </a:lnTo>
                  <a:lnTo>
                    <a:pt x="1836" y="2221"/>
                  </a:lnTo>
                  <a:close/>
                  <a:moveTo>
                    <a:pt x="1805" y="2254"/>
                  </a:moveTo>
                  <a:lnTo>
                    <a:pt x="1805" y="2242"/>
                  </a:lnTo>
                  <a:lnTo>
                    <a:pt x="1805" y="2254"/>
                  </a:lnTo>
                  <a:lnTo>
                    <a:pt x="1805" y="2254"/>
                  </a:lnTo>
                  <a:lnTo>
                    <a:pt x="1805" y="2254"/>
                  </a:lnTo>
                  <a:close/>
                  <a:moveTo>
                    <a:pt x="1784" y="2329"/>
                  </a:moveTo>
                  <a:lnTo>
                    <a:pt x="1777" y="2313"/>
                  </a:lnTo>
                  <a:lnTo>
                    <a:pt x="1793" y="2308"/>
                  </a:lnTo>
                  <a:lnTo>
                    <a:pt x="1793" y="2313"/>
                  </a:lnTo>
                  <a:lnTo>
                    <a:pt x="1784" y="2329"/>
                  </a:lnTo>
                  <a:lnTo>
                    <a:pt x="1784" y="2329"/>
                  </a:lnTo>
                  <a:lnTo>
                    <a:pt x="1784" y="2329"/>
                  </a:lnTo>
                  <a:close/>
                  <a:moveTo>
                    <a:pt x="1793" y="2436"/>
                  </a:moveTo>
                  <a:lnTo>
                    <a:pt x="1793" y="2403"/>
                  </a:lnTo>
                  <a:lnTo>
                    <a:pt x="1798" y="2403"/>
                  </a:lnTo>
                  <a:lnTo>
                    <a:pt x="1798" y="2419"/>
                  </a:lnTo>
                  <a:lnTo>
                    <a:pt x="1793" y="2436"/>
                  </a:lnTo>
                  <a:lnTo>
                    <a:pt x="1793" y="2436"/>
                  </a:lnTo>
                  <a:lnTo>
                    <a:pt x="1793" y="2436"/>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5" name="Freeform 404">
              <a:extLst>
                <a:ext uri="{FF2B5EF4-FFF2-40B4-BE49-F238E27FC236}">
                  <a16:creationId xmlns:a16="http://schemas.microsoft.com/office/drawing/2014/main" id="{B1261CAD-E035-4D20-BEC0-870352E7CC62}"/>
                </a:ext>
              </a:extLst>
            </p:cNvPr>
            <p:cNvSpPr>
              <a:spLocks/>
            </p:cNvSpPr>
            <p:nvPr/>
          </p:nvSpPr>
          <p:spPr bwMode="gray">
            <a:xfrm>
              <a:off x="15781587" y="3428065"/>
              <a:ext cx="77242" cy="41567"/>
            </a:xfrm>
            <a:custGeom>
              <a:avLst/>
              <a:gdLst>
                <a:gd name="T0" fmla="*/ 5 w 236"/>
                <a:gd name="T1" fmla="*/ 78 h 127"/>
                <a:gd name="T2" fmla="*/ 55 w 236"/>
                <a:gd name="T3" fmla="*/ 21 h 127"/>
                <a:gd name="T4" fmla="*/ 88 w 236"/>
                <a:gd name="T5" fmla="*/ 0 h 127"/>
                <a:gd name="T6" fmla="*/ 116 w 236"/>
                <a:gd name="T7" fmla="*/ 4 h 127"/>
                <a:gd name="T8" fmla="*/ 116 w 236"/>
                <a:gd name="T9" fmla="*/ 21 h 127"/>
                <a:gd name="T10" fmla="*/ 166 w 236"/>
                <a:gd name="T11" fmla="*/ 28 h 127"/>
                <a:gd name="T12" fmla="*/ 182 w 236"/>
                <a:gd name="T13" fmla="*/ 21 h 127"/>
                <a:gd name="T14" fmla="*/ 203 w 236"/>
                <a:gd name="T15" fmla="*/ 28 h 127"/>
                <a:gd name="T16" fmla="*/ 203 w 236"/>
                <a:gd name="T17" fmla="*/ 45 h 127"/>
                <a:gd name="T18" fmla="*/ 203 w 236"/>
                <a:gd name="T19" fmla="*/ 54 h 127"/>
                <a:gd name="T20" fmla="*/ 203 w 236"/>
                <a:gd name="T21" fmla="*/ 61 h 127"/>
                <a:gd name="T22" fmla="*/ 225 w 236"/>
                <a:gd name="T23" fmla="*/ 61 h 127"/>
                <a:gd name="T24" fmla="*/ 236 w 236"/>
                <a:gd name="T25" fmla="*/ 78 h 127"/>
                <a:gd name="T26" fmla="*/ 225 w 236"/>
                <a:gd name="T27" fmla="*/ 94 h 127"/>
                <a:gd name="T28" fmla="*/ 236 w 236"/>
                <a:gd name="T29" fmla="*/ 111 h 127"/>
                <a:gd name="T30" fmla="*/ 236 w 236"/>
                <a:gd name="T31" fmla="*/ 111 h 127"/>
                <a:gd name="T32" fmla="*/ 199 w 236"/>
                <a:gd name="T33" fmla="*/ 118 h 127"/>
                <a:gd name="T34" fmla="*/ 187 w 236"/>
                <a:gd name="T35" fmla="*/ 111 h 127"/>
                <a:gd name="T36" fmla="*/ 182 w 236"/>
                <a:gd name="T37" fmla="*/ 118 h 127"/>
                <a:gd name="T38" fmla="*/ 142 w 236"/>
                <a:gd name="T39" fmla="*/ 118 h 127"/>
                <a:gd name="T40" fmla="*/ 116 w 236"/>
                <a:gd name="T41" fmla="*/ 111 h 127"/>
                <a:gd name="T42" fmla="*/ 92 w 236"/>
                <a:gd name="T43" fmla="*/ 127 h 127"/>
                <a:gd name="T44" fmla="*/ 62 w 236"/>
                <a:gd name="T45" fmla="*/ 127 h 127"/>
                <a:gd name="T46" fmla="*/ 38 w 236"/>
                <a:gd name="T47" fmla="*/ 118 h 127"/>
                <a:gd name="T48" fmla="*/ 21 w 236"/>
                <a:gd name="T49" fmla="*/ 118 h 127"/>
                <a:gd name="T50" fmla="*/ 5 w 236"/>
                <a:gd name="T51" fmla="*/ 99 h 127"/>
                <a:gd name="T52" fmla="*/ 0 w 236"/>
                <a:gd name="T53" fmla="*/ 94 h 127"/>
                <a:gd name="T54" fmla="*/ 5 w 236"/>
                <a:gd name="T55" fmla="*/ 78 h 127"/>
                <a:gd name="T56" fmla="*/ 5 w 236"/>
                <a:gd name="T57" fmla="*/ 78 h 127"/>
                <a:gd name="T58" fmla="*/ 5 w 236"/>
                <a:gd name="T59" fmla="*/ 7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6" h="127">
                  <a:moveTo>
                    <a:pt x="5" y="78"/>
                  </a:moveTo>
                  <a:lnTo>
                    <a:pt x="55" y="21"/>
                  </a:lnTo>
                  <a:lnTo>
                    <a:pt x="88" y="0"/>
                  </a:lnTo>
                  <a:lnTo>
                    <a:pt x="116" y="4"/>
                  </a:lnTo>
                  <a:lnTo>
                    <a:pt x="116" y="21"/>
                  </a:lnTo>
                  <a:lnTo>
                    <a:pt x="166" y="28"/>
                  </a:lnTo>
                  <a:lnTo>
                    <a:pt x="182" y="21"/>
                  </a:lnTo>
                  <a:lnTo>
                    <a:pt x="203" y="28"/>
                  </a:lnTo>
                  <a:lnTo>
                    <a:pt x="203" y="45"/>
                  </a:lnTo>
                  <a:lnTo>
                    <a:pt x="203" y="54"/>
                  </a:lnTo>
                  <a:lnTo>
                    <a:pt x="203" y="61"/>
                  </a:lnTo>
                  <a:lnTo>
                    <a:pt x="225" y="61"/>
                  </a:lnTo>
                  <a:lnTo>
                    <a:pt x="236" y="78"/>
                  </a:lnTo>
                  <a:lnTo>
                    <a:pt x="225" y="94"/>
                  </a:lnTo>
                  <a:lnTo>
                    <a:pt x="236" y="111"/>
                  </a:lnTo>
                  <a:lnTo>
                    <a:pt x="236" y="111"/>
                  </a:lnTo>
                  <a:lnTo>
                    <a:pt x="199" y="118"/>
                  </a:lnTo>
                  <a:lnTo>
                    <a:pt x="187" y="111"/>
                  </a:lnTo>
                  <a:lnTo>
                    <a:pt x="182" y="118"/>
                  </a:lnTo>
                  <a:lnTo>
                    <a:pt x="142" y="118"/>
                  </a:lnTo>
                  <a:lnTo>
                    <a:pt x="116" y="111"/>
                  </a:lnTo>
                  <a:lnTo>
                    <a:pt x="92" y="127"/>
                  </a:lnTo>
                  <a:lnTo>
                    <a:pt x="62" y="127"/>
                  </a:lnTo>
                  <a:lnTo>
                    <a:pt x="38" y="118"/>
                  </a:lnTo>
                  <a:lnTo>
                    <a:pt x="21" y="118"/>
                  </a:lnTo>
                  <a:lnTo>
                    <a:pt x="5" y="99"/>
                  </a:lnTo>
                  <a:lnTo>
                    <a:pt x="0" y="94"/>
                  </a:lnTo>
                  <a:lnTo>
                    <a:pt x="5" y="78"/>
                  </a:lnTo>
                  <a:lnTo>
                    <a:pt x="5" y="78"/>
                  </a:lnTo>
                  <a:lnTo>
                    <a:pt x="5" y="78"/>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6" name="Freeform 405">
              <a:extLst>
                <a:ext uri="{FF2B5EF4-FFF2-40B4-BE49-F238E27FC236}">
                  <a16:creationId xmlns:a16="http://schemas.microsoft.com/office/drawing/2014/main" id="{9BFED5D7-98C3-468A-82DD-DF84E62BA771}"/>
                </a:ext>
              </a:extLst>
            </p:cNvPr>
            <p:cNvSpPr>
              <a:spLocks/>
            </p:cNvSpPr>
            <p:nvPr/>
          </p:nvSpPr>
          <p:spPr bwMode="gray">
            <a:xfrm>
              <a:off x="14257694" y="2996688"/>
              <a:ext cx="143029" cy="87388"/>
            </a:xfrm>
            <a:custGeom>
              <a:avLst/>
              <a:gdLst>
                <a:gd name="T0" fmla="*/ 400 w 437"/>
                <a:gd name="T1" fmla="*/ 200 h 267"/>
                <a:gd name="T2" fmla="*/ 366 w 437"/>
                <a:gd name="T3" fmla="*/ 210 h 267"/>
                <a:gd name="T4" fmla="*/ 345 w 437"/>
                <a:gd name="T5" fmla="*/ 193 h 267"/>
                <a:gd name="T6" fmla="*/ 329 w 437"/>
                <a:gd name="T7" fmla="*/ 193 h 267"/>
                <a:gd name="T8" fmla="*/ 324 w 437"/>
                <a:gd name="T9" fmla="*/ 200 h 267"/>
                <a:gd name="T10" fmla="*/ 303 w 437"/>
                <a:gd name="T11" fmla="*/ 200 h 267"/>
                <a:gd name="T12" fmla="*/ 291 w 437"/>
                <a:gd name="T13" fmla="*/ 217 h 267"/>
                <a:gd name="T14" fmla="*/ 286 w 437"/>
                <a:gd name="T15" fmla="*/ 217 h 267"/>
                <a:gd name="T16" fmla="*/ 286 w 437"/>
                <a:gd name="T17" fmla="*/ 226 h 267"/>
                <a:gd name="T18" fmla="*/ 260 w 437"/>
                <a:gd name="T19" fmla="*/ 226 h 267"/>
                <a:gd name="T20" fmla="*/ 270 w 437"/>
                <a:gd name="T21" fmla="*/ 238 h 267"/>
                <a:gd name="T22" fmla="*/ 270 w 437"/>
                <a:gd name="T23" fmla="*/ 255 h 267"/>
                <a:gd name="T24" fmla="*/ 206 w 437"/>
                <a:gd name="T25" fmla="*/ 267 h 267"/>
                <a:gd name="T26" fmla="*/ 140 w 437"/>
                <a:gd name="T27" fmla="*/ 238 h 267"/>
                <a:gd name="T28" fmla="*/ 92 w 437"/>
                <a:gd name="T29" fmla="*/ 255 h 267"/>
                <a:gd name="T30" fmla="*/ 43 w 437"/>
                <a:gd name="T31" fmla="*/ 255 h 267"/>
                <a:gd name="T32" fmla="*/ 43 w 437"/>
                <a:gd name="T33" fmla="*/ 217 h 267"/>
                <a:gd name="T34" fmla="*/ 38 w 437"/>
                <a:gd name="T35" fmla="*/ 200 h 267"/>
                <a:gd name="T36" fmla="*/ 17 w 437"/>
                <a:gd name="T37" fmla="*/ 184 h 267"/>
                <a:gd name="T38" fmla="*/ 0 w 437"/>
                <a:gd name="T39" fmla="*/ 165 h 267"/>
                <a:gd name="T40" fmla="*/ 17 w 437"/>
                <a:gd name="T41" fmla="*/ 160 h 267"/>
                <a:gd name="T42" fmla="*/ 5 w 437"/>
                <a:gd name="T43" fmla="*/ 144 h 267"/>
                <a:gd name="T44" fmla="*/ 5 w 437"/>
                <a:gd name="T45" fmla="*/ 127 h 267"/>
                <a:gd name="T46" fmla="*/ 33 w 437"/>
                <a:gd name="T47" fmla="*/ 122 h 267"/>
                <a:gd name="T48" fmla="*/ 43 w 437"/>
                <a:gd name="T49" fmla="*/ 99 h 267"/>
                <a:gd name="T50" fmla="*/ 17 w 437"/>
                <a:gd name="T51" fmla="*/ 73 h 267"/>
                <a:gd name="T52" fmla="*/ 0 w 437"/>
                <a:gd name="T53" fmla="*/ 44 h 267"/>
                <a:gd name="T54" fmla="*/ 5 w 437"/>
                <a:gd name="T55" fmla="*/ 28 h 267"/>
                <a:gd name="T56" fmla="*/ 22 w 437"/>
                <a:gd name="T57" fmla="*/ 0 h 267"/>
                <a:gd name="T58" fmla="*/ 43 w 437"/>
                <a:gd name="T59" fmla="*/ 16 h 267"/>
                <a:gd name="T60" fmla="*/ 38 w 437"/>
                <a:gd name="T61" fmla="*/ 28 h 267"/>
                <a:gd name="T62" fmla="*/ 38 w 437"/>
                <a:gd name="T63" fmla="*/ 44 h 267"/>
                <a:gd name="T64" fmla="*/ 76 w 437"/>
                <a:gd name="T65" fmla="*/ 33 h 267"/>
                <a:gd name="T66" fmla="*/ 130 w 437"/>
                <a:gd name="T67" fmla="*/ 49 h 267"/>
                <a:gd name="T68" fmla="*/ 152 w 437"/>
                <a:gd name="T69" fmla="*/ 44 h 267"/>
                <a:gd name="T70" fmla="*/ 215 w 437"/>
                <a:gd name="T71" fmla="*/ 56 h 267"/>
                <a:gd name="T72" fmla="*/ 239 w 437"/>
                <a:gd name="T73" fmla="*/ 49 h 267"/>
                <a:gd name="T74" fmla="*/ 270 w 437"/>
                <a:gd name="T75" fmla="*/ 28 h 267"/>
                <a:gd name="T76" fmla="*/ 329 w 437"/>
                <a:gd name="T77" fmla="*/ 11 h 267"/>
                <a:gd name="T78" fmla="*/ 345 w 437"/>
                <a:gd name="T79" fmla="*/ 11 h 267"/>
                <a:gd name="T80" fmla="*/ 357 w 437"/>
                <a:gd name="T81" fmla="*/ 28 h 267"/>
                <a:gd name="T82" fmla="*/ 366 w 437"/>
                <a:gd name="T83" fmla="*/ 16 h 267"/>
                <a:gd name="T84" fmla="*/ 378 w 437"/>
                <a:gd name="T85" fmla="*/ 28 h 267"/>
                <a:gd name="T86" fmla="*/ 395 w 437"/>
                <a:gd name="T87" fmla="*/ 28 h 267"/>
                <a:gd name="T88" fmla="*/ 400 w 437"/>
                <a:gd name="T89" fmla="*/ 44 h 267"/>
                <a:gd name="T90" fmla="*/ 437 w 437"/>
                <a:gd name="T91" fmla="*/ 49 h 267"/>
                <a:gd name="T92" fmla="*/ 437 w 437"/>
                <a:gd name="T93" fmla="*/ 73 h 267"/>
                <a:gd name="T94" fmla="*/ 411 w 437"/>
                <a:gd name="T95" fmla="*/ 73 h 267"/>
                <a:gd name="T96" fmla="*/ 395 w 437"/>
                <a:gd name="T97" fmla="*/ 99 h 267"/>
                <a:gd name="T98" fmla="*/ 395 w 437"/>
                <a:gd name="T99" fmla="*/ 139 h 267"/>
                <a:gd name="T100" fmla="*/ 378 w 437"/>
                <a:gd name="T101" fmla="*/ 139 h 267"/>
                <a:gd name="T102" fmla="*/ 362 w 437"/>
                <a:gd name="T103" fmla="*/ 160 h 267"/>
                <a:gd name="T104" fmla="*/ 378 w 437"/>
                <a:gd name="T105" fmla="*/ 160 h 267"/>
                <a:gd name="T106" fmla="*/ 400 w 437"/>
                <a:gd name="T107" fmla="*/ 200 h 267"/>
                <a:gd name="T108" fmla="*/ 400 w 437"/>
                <a:gd name="T109" fmla="*/ 200 h 267"/>
                <a:gd name="T110" fmla="*/ 400 w 437"/>
                <a:gd name="T111" fmla="*/ 20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7" h="267">
                  <a:moveTo>
                    <a:pt x="400" y="200"/>
                  </a:moveTo>
                  <a:lnTo>
                    <a:pt x="366" y="210"/>
                  </a:lnTo>
                  <a:lnTo>
                    <a:pt x="345" y="193"/>
                  </a:lnTo>
                  <a:lnTo>
                    <a:pt x="329" y="193"/>
                  </a:lnTo>
                  <a:lnTo>
                    <a:pt x="324" y="200"/>
                  </a:lnTo>
                  <a:lnTo>
                    <a:pt x="303" y="200"/>
                  </a:lnTo>
                  <a:lnTo>
                    <a:pt x="291" y="217"/>
                  </a:lnTo>
                  <a:lnTo>
                    <a:pt x="286" y="217"/>
                  </a:lnTo>
                  <a:lnTo>
                    <a:pt x="286" y="226"/>
                  </a:lnTo>
                  <a:lnTo>
                    <a:pt x="260" y="226"/>
                  </a:lnTo>
                  <a:lnTo>
                    <a:pt x="270" y="238"/>
                  </a:lnTo>
                  <a:lnTo>
                    <a:pt x="270" y="255"/>
                  </a:lnTo>
                  <a:lnTo>
                    <a:pt x="206" y="267"/>
                  </a:lnTo>
                  <a:lnTo>
                    <a:pt x="140" y="238"/>
                  </a:lnTo>
                  <a:lnTo>
                    <a:pt x="92" y="255"/>
                  </a:lnTo>
                  <a:lnTo>
                    <a:pt x="43" y="255"/>
                  </a:lnTo>
                  <a:lnTo>
                    <a:pt x="43" y="217"/>
                  </a:lnTo>
                  <a:lnTo>
                    <a:pt x="38" y="200"/>
                  </a:lnTo>
                  <a:lnTo>
                    <a:pt x="17" y="184"/>
                  </a:lnTo>
                  <a:lnTo>
                    <a:pt x="0" y="165"/>
                  </a:lnTo>
                  <a:lnTo>
                    <a:pt x="17" y="160"/>
                  </a:lnTo>
                  <a:lnTo>
                    <a:pt x="5" y="144"/>
                  </a:lnTo>
                  <a:lnTo>
                    <a:pt x="5" y="127"/>
                  </a:lnTo>
                  <a:lnTo>
                    <a:pt x="33" y="122"/>
                  </a:lnTo>
                  <a:lnTo>
                    <a:pt x="43" y="99"/>
                  </a:lnTo>
                  <a:lnTo>
                    <a:pt x="17" y="73"/>
                  </a:lnTo>
                  <a:lnTo>
                    <a:pt x="0" y="44"/>
                  </a:lnTo>
                  <a:lnTo>
                    <a:pt x="5" y="28"/>
                  </a:lnTo>
                  <a:lnTo>
                    <a:pt x="22" y="0"/>
                  </a:lnTo>
                  <a:lnTo>
                    <a:pt x="43" y="16"/>
                  </a:lnTo>
                  <a:lnTo>
                    <a:pt x="38" y="28"/>
                  </a:lnTo>
                  <a:lnTo>
                    <a:pt x="38" y="44"/>
                  </a:lnTo>
                  <a:lnTo>
                    <a:pt x="76" y="33"/>
                  </a:lnTo>
                  <a:lnTo>
                    <a:pt x="130" y="49"/>
                  </a:lnTo>
                  <a:lnTo>
                    <a:pt x="152" y="44"/>
                  </a:lnTo>
                  <a:lnTo>
                    <a:pt x="215" y="56"/>
                  </a:lnTo>
                  <a:lnTo>
                    <a:pt x="239" y="49"/>
                  </a:lnTo>
                  <a:lnTo>
                    <a:pt x="270" y="28"/>
                  </a:lnTo>
                  <a:lnTo>
                    <a:pt x="329" y="11"/>
                  </a:lnTo>
                  <a:lnTo>
                    <a:pt x="345" y="11"/>
                  </a:lnTo>
                  <a:lnTo>
                    <a:pt x="357" y="28"/>
                  </a:lnTo>
                  <a:lnTo>
                    <a:pt x="366" y="16"/>
                  </a:lnTo>
                  <a:lnTo>
                    <a:pt x="378" y="28"/>
                  </a:lnTo>
                  <a:lnTo>
                    <a:pt x="395" y="28"/>
                  </a:lnTo>
                  <a:lnTo>
                    <a:pt x="400" y="44"/>
                  </a:lnTo>
                  <a:lnTo>
                    <a:pt x="437" y="49"/>
                  </a:lnTo>
                  <a:lnTo>
                    <a:pt x="437" y="73"/>
                  </a:lnTo>
                  <a:lnTo>
                    <a:pt x="411" y="73"/>
                  </a:lnTo>
                  <a:lnTo>
                    <a:pt x="395" y="99"/>
                  </a:lnTo>
                  <a:lnTo>
                    <a:pt x="395" y="139"/>
                  </a:lnTo>
                  <a:lnTo>
                    <a:pt x="378" y="139"/>
                  </a:lnTo>
                  <a:lnTo>
                    <a:pt x="362" y="160"/>
                  </a:lnTo>
                  <a:lnTo>
                    <a:pt x="378" y="160"/>
                  </a:lnTo>
                  <a:lnTo>
                    <a:pt x="400" y="200"/>
                  </a:lnTo>
                  <a:lnTo>
                    <a:pt x="400" y="200"/>
                  </a:lnTo>
                  <a:lnTo>
                    <a:pt x="400" y="20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7" name="Freeform 406">
              <a:extLst>
                <a:ext uri="{FF2B5EF4-FFF2-40B4-BE49-F238E27FC236}">
                  <a16:creationId xmlns:a16="http://schemas.microsoft.com/office/drawing/2014/main" id="{050AC897-95E7-4913-8FB3-DECBC38DD0BD}"/>
                </a:ext>
              </a:extLst>
            </p:cNvPr>
            <p:cNvSpPr>
              <a:spLocks noEditPoints="1"/>
            </p:cNvSpPr>
            <p:nvPr/>
          </p:nvSpPr>
          <p:spPr bwMode="gray">
            <a:xfrm>
              <a:off x="16363193" y="3996906"/>
              <a:ext cx="30766" cy="23238"/>
            </a:xfrm>
            <a:custGeom>
              <a:avLst/>
              <a:gdLst>
                <a:gd name="T0" fmla="*/ 66 w 94"/>
                <a:gd name="T1" fmla="*/ 5 h 71"/>
                <a:gd name="T2" fmla="*/ 56 w 94"/>
                <a:gd name="T3" fmla="*/ 21 h 71"/>
                <a:gd name="T4" fmla="*/ 56 w 94"/>
                <a:gd name="T5" fmla="*/ 45 h 71"/>
                <a:gd name="T6" fmla="*/ 56 w 94"/>
                <a:gd name="T7" fmla="*/ 62 h 71"/>
                <a:gd name="T8" fmla="*/ 40 w 94"/>
                <a:gd name="T9" fmla="*/ 71 h 71"/>
                <a:gd name="T10" fmla="*/ 11 w 94"/>
                <a:gd name="T11" fmla="*/ 26 h 71"/>
                <a:gd name="T12" fmla="*/ 0 w 94"/>
                <a:gd name="T13" fmla="*/ 26 h 71"/>
                <a:gd name="T14" fmla="*/ 28 w 94"/>
                <a:gd name="T15" fmla="*/ 21 h 71"/>
                <a:gd name="T16" fmla="*/ 61 w 94"/>
                <a:gd name="T17" fmla="*/ 0 h 71"/>
                <a:gd name="T18" fmla="*/ 66 w 94"/>
                <a:gd name="T19" fmla="*/ 0 h 71"/>
                <a:gd name="T20" fmla="*/ 66 w 94"/>
                <a:gd name="T21" fmla="*/ 5 h 71"/>
                <a:gd name="T22" fmla="*/ 66 w 94"/>
                <a:gd name="T23" fmla="*/ 5 h 71"/>
                <a:gd name="T24" fmla="*/ 66 w 94"/>
                <a:gd name="T25" fmla="*/ 5 h 71"/>
                <a:gd name="T26" fmla="*/ 77 w 94"/>
                <a:gd name="T27" fmla="*/ 5 h 71"/>
                <a:gd name="T28" fmla="*/ 94 w 94"/>
                <a:gd name="T29" fmla="*/ 45 h 71"/>
                <a:gd name="T30" fmla="*/ 66 w 94"/>
                <a:gd name="T31" fmla="*/ 45 h 71"/>
                <a:gd name="T32" fmla="*/ 66 w 94"/>
                <a:gd name="T33" fmla="*/ 17 h 71"/>
                <a:gd name="T34" fmla="*/ 77 w 94"/>
                <a:gd name="T35" fmla="*/ 5 h 71"/>
                <a:gd name="T36" fmla="*/ 77 w 94"/>
                <a:gd name="T37" fmla="*/ 5 h 71"/>
                <a:gd name="T38" fmla="*/ 77 w 94"/>
                <a:gd name="T39" fmla="*/ 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71">
                  <a:moveTo>
                    <a:pt x="66" y="5"/>
                  </a:moveTo>
                  <a:lnTo>
                    <a:pt x="56" y="21"/>
                  </a:lnTo>
                  <a:lnTo>
                    <a:pt x="56" y="45"/>
                  </a:lnTo>
                  <a:lnTo>
                    <a:pt x="56" y="62"/>
                  </a:lnTo>
                  <a:lnTo>
                    <a:pt x="40" y="71"/>
                  </a:lnTo>
                  <a:lnTo>
                    <a:pt x="11" y="26"/>
                  </a:lnTo>
                  <a:lnTo>
                    <a:pt x="0" y="26"/>
                  </a:lnTo>
                  <a:lnTo>
                    <a:pt x="28" y="21"/>
                  </a:lnTo>
                  <a:lnTo>
                    <a:pt x="61" y="0"/>
                  </a:lnTo>
                  <a:lnTo>
                    <a:pt x="66" y="0"/>
                  </a:lnTo>
                  <a:lnTo>
                    <a:pt x="66" y="5"/>
                  </a:lnTo>
                  <a:lnTo>
                    <a:pt x="66" y="5"/>
                  </a:lnTo>
                  <a:lnTo>
                    <a:pt x="66" y="5"/>
                  </a:lnTo>
                  <a:close/>
                  <a:moveTo>
                    <a:pt x="77" y="5"/>
                  </a:moveTo>
                  <a:lnTo>
                    <a:pt x="94" y="45"/>
                  </a:lnTo>
                  <a:lnTo>
                    <a:pt x="66" y="45"/>
                  </a:lnTo>
                  <a:lnTo>
                    <a:pt x="66" y="17"/>
                  </a:lnTo>
                  <a:lnTo>
                    <a:pt x="77" y="5"/>
                  </a:lnTo>
                  <a:lnTo>
                    <a:pt x="77" y="5"/>
                  </a:lnTo>
                  <a:lnTo>
                    <a:pt x="77" y="5"/>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8" name="Freeform 407">
              <a:extLst>
                <a:ext uri="{FF2B5EF4-FFF2-40B4-BE49-F238E27FC236}">
                  <a16:creationId xmlns:a16="http://schemas.microsoft.com/office/drawing/2014/main" id="{2324A22C-B654-4476-9C63-86DD68022F1C}"/>
                </a:ext>
              </a:extLst>
            </p:cNvPr>
            <p:cNvSpPr>
              <a:spLocks/>
            </p:cNvSpPr>
            <p:nvPr/>
          </p:nvSpPr>
          <p:spPr bwMode="gray">
            <a:xfrm>
              <a:off x="14410869" y="4171028"/>
              <a:ext cx="40912" cy="48767"/>
            </a:xfrm>
            <a:custGeom>
              <a:avLst/>
              <a:gdLst>
                <a:gd name="T0" fmla="*/ 21 w 125"/>
                <a:gd name="T1" fmla="*/ 149 h 149"/>
                <a:gd name="T2" fmla="*/ 21 w 125"/>
                <a:gd name="T3" fmla="*/ 123 h 149"/>
                <a:gd name="T4" fmla="*/ 17 w 125"/>
                <a:gd name="T5" fmla="*/ 111 h 149"/>
                <a:gd name="T6" fmla="*/ 17 w 125"/>
                <a:gd name="T7" fmla="*/ 45 h 149"/>
                <a:gd name="T8" fmla="*/ 0 w 125"/>
                <a:gd name="T9" fmla="*/ 28 h 149"/>
                <a:gd name="T10" fmla="*/ 0 w 125"/>
                <a:gd name="T11" fmla="*/ 28 h 149"/>
                <a:gd name="T12" fmla="*/ 0 w 125"/>
                <a:gd name="T13" fmla="*/ 12 h 149"/>
                <a:gd name="T14" fmla="*/ 5 w 125"/>
                <a:gd name="T15" fmla="*/ 12 h 149"/>
                <a:gd name="T16" fmla="*/ 21 w 125"/>
                <a:gd name="T17" fmla="*/ 21 h 149"/>
                <a:gd name="T18" fmla="*/ 21 w 125"/>
                <a:gd name="T19" fmla="*/ 28 h 149"/>
                <a:gd name="T20" fmla="*/ 54 w 125"/>
                <a:gd name="T21" fmla="*/ 28 h 149"/>
                <a:gd name="T22" fmla="*/ 59 w 125"/>
                <a:gd name="T23" fmla="*/ 0 h 149"/>
                <a:gd name="T24" fmla="*/ 76 w 125"/>
                <a:gd name="T25" fmla="*/ 4 h 149"/>
                <a:gd name="T26" fmla="*/ 92 w 125"/>
                <a:gd name="T27" fmla="*/ 0 h 149"/>
                <a:gd name="T28" fmla="*/ 109 w 125"/>
                <a:gd name="T29" fmla="*/ 0 h 149"/>
                <a:gd name="T30" fmla="*/ 102 w 125"/>
                <a:gd name="T31" fmla="*/ 38 h 149"/>
                <a:gd name="T32" fmla="*/ 102 w 125"/>
                <a:gd name="T33" fmla="*/ 38 h 149"/>
                <a:gd name="T34" fmla="*/ 109 w 125"/>
                <a:gd name="T35" fmla="*/ 38 h 149"/>
                <a:gd name="T36" fmla="*/ 125 w 125"/>
                <a:gd name="T37" fmla="*/ 45 h 149"/>
                <a:gd name="T38" fmla="*/ 125 w 125"/>
                <a:gd name="T39" fmla="*/ 61 h 149"/>
                <a:gd name="T40" fmla="*/ 102 w 125"/>
                <a:gd name="T41" fmla="*/ 82 h 149"/>
                <a:gd name="T42" fmla="*/ 92 w 125"/>
                <a:gd name="T43" fmla="*/ 99 h 149"/>
                <a:gd name="T44" fmla="*/ 92 w 125"/>
                <a:gd name="T45" fmla="*/ 99 h 149"/>
                <a:gd name="T46" fmla="*/ 71 w 125"/>
                <a:gd name="T47" fmla="*/ 132 h 149"/>
                <a:gd name="T48" fmla="*/ 54 w 125"/>
                <a:gd name="T49" fmla="*/ 149 h 149"/>
                <a:gd name="T50" fmla="*/ 21 w 125"/>
                <a:gd name="T51" fmla="*/ 149 h 149"/>
                <a:gd name="T52" fmla="*/ 21 w 125"/>
                <a:gd name="T53" fmla="*/ 149 h 149"/>
                <a:gd name="T54" fmla="*/ 21 w 125"/>
                <a:gd name="T55"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5" h="149">
                  <a:moveTo>
                    <a:pt x="21" y="149"/>
                  </a:moveTo>
                  <a:lnTo>
                    <a:pt x="21" y="123"/>
                  </a:lnTo>
                  <a:lnTo>
                    <a:pt x="17" y="111"/>
                  </a:lnTo>
                  <a:lnTo>
                    <a:pt x="17" y="45"/>
                  </a:lnTo>
                  <a:lnTo>
                    <a:pt x="0" y="28"/>
                  </a:lnTo>
                  <a:lnTo>
                    <a:pt x="0" y="28"/>
                  </a:lnTo>
                  <a:lnTo>
                    <a:pt x="0" y="12"/>
                  </a:lnTo>
                  <a:lnTo>
                    <a:pt x="5" y="12"/>
                  </a:lnTo>
                  <a:lnTo>
                    <a:pt x="21" y="21"/>
                  </a:lnTo>
                  <a:lnTo>
                    <a:pt x="21" y="28"/>
                  </a:lnTo>
                  <a:lnTo>
                    <a:pt x="54" y="28"/>
                  </a:lnTo>
                  <a:lnTo>
                    <a:pt x="59" y="0"/>
                  </a:lnTo>
                  <a:lnTo>
                    <a:pt x="76" y="4"/>
                  </a:lnTo>
                  <a:lnTo>
                    <a:pt x="92" y="0"/>
                  </a:lnTo>
                  <a:lnTo>
                    <a:pt x="109" y="0"/>
                  </a:lnTo>
                  <a:lnTo>
                    <a:pt x="102" y="38"/>
                  </a:lnTo>
                  <a:lnTo>
                    <a:pt x="102" y="38"/>
                  </a:lnTo>
                  <a:lnTo>
                    <a:pt x="109" y="38"/>
                  </a:lnTo>
                  <a:lnTo>
                    <a:pt x="125" y="45"/>
                  </a:lnTo>
                  <a:lnTo>
                    <a:pt x="125" y="61"/>
                  </a:lnTo>
                  <a:lnTo>
                    <a:pt x="102" y="82"/>
                  </a:lnTo>
                  <a:lnTo>
                    <a:pt x="92" y="99"/>
                  </a:lnTo>
                  <a:lnTo>
                    <a:pt x="92" y="99"/>
                  </a:lnTo>
                  <a:lnTo>
                    <a:pt x="71" y="132"/>
                  </a:lnTo>
                  <a:lnTo>
                    <a:pt x="54" y="149"/>
                  </a:lnTo>
                  <a:lnTo>
                    <a:pt x="21" y="149"/>
                  </a:lnTo>
                  <a:lnTo>
                    <a:pt x="21" y="149"/>
                  </a:lnTo>
                  <a:lnTo>
                    <a:pt x="21" y="14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9" name="Freeform 408">
              <a:extLst>
                <a:ext uri="{FF2B5EF4-FFF2-40B4-BE49-F238E27FC236}">
                  <a16:creationId xmlns:a16="http://schemas.microsoft.com/office/drawing/2014/main" id="{2891BCF6-7A6C-47B6-B020-30141433CDEB}"/>
                </a:ext>
              </a:extLst>
            </p:cNvPr>
            <p:cNvSpPr>
              <a:spLocks noEditPoints="1"/>
            </p:cNvSpPr>
            <p:nvPr/>
          </p:nvSpPr>
          <p:spPr bwMode="gray">
            <a:xfrm>
              <a:off x="10507202" y="1461012"/>
              <a:ext cx="2029566" cy="1609645"/>
            </a:xfrm>
            <a:custGeom>
              <a:avLst/>
              <a:gdLst>
                <a:gd name="T0" fmla="*/ 3990 w 6201"/>
                <a:gd name="T1" fmla="*/ 834 h 4918"/>
                <a:gd name="T2" fmla="*/ 4108 w 6201"/>
                <a:gd name="T3" fmla="*/ 345 h 4918"/>
                <a:gd name="T4" fmla="*/ 4805 w 6201"/>
                <a:gd name="T5" fmla="*/ 74 h 4918"/>
                <a:gd name="T6" fmla="*/ 4465 w 6201"/>
                <a:gd name="T7" fmla="*/ 629 h 4918"/>
                <a:gd name="T8" fmla="*/ 3418 w 6201"/>
                <a:gd name="T9" fmla="*/ 638 h 4918"/>
                <a:gd name="T10" fmla="*/ 3721 w 6201"/>
                <a:gd name="T11" fmla="*/ 711 h 4918"/>
                <a:gd name="T12" fmla="*/ 3239 w 6201"/>
                <a:gd name="T13" fmla="*/ 806 h 4918"/>
                <a:gd name="T14" fmla="*/ 3352 w 6201"/>
                <a:gd name="T15" fmla="*/ 905 h 4918"/>
                <a:gd name="T16" fmla="*/ 3504 w 6201"/>
                <a:gd name="T17" fmla="*/ 978 h 4918"/>
                <a:gd name="T18" fmla="*/ 3440 w 6201"/>
                <a:gd name="T19" fmla="*/ 1292 h 4918"/>
                <a:gd name="T20" fmla="*/ 3078 w 6201"/>
                <a:gd name="T21" fmla="*/ 1044 h 4918"/>
                <a:gd name="T22" fmla="*/ 2327 w 6201"/>
                <a:gd name="T23" fmla="*/ 1292 h 4918"/>
                <a:gd name="T24" fmla="*/ 2899 w 6201"/>
                <a:gd name="T25" fmla="*/ 1222 h 4918"/>
                <a:gd name="T26" fmla="*/ 1276 w 6201"/>
                <a:gd name="T27" fmla="*/ 1160 h 4918"/>
                <a:gd name="T28" fmla="*/ 3062 w 6201"/>
                <a:gd name="T29" fmla="*/ 1366 h 4918"/>
                <a:gd name="T30" fmla="*/ 2948 w 6201"/>
                <a:gd name="T31" fmla="*/ 1486 h 4918"/>
                <a:gd name="T32" fmla="*/ 3910 w 6201"/>
                <a:gd name="T33" fmla="*/ 1992 h 4918"/>
                <a:gd name="T34" fmla="*/ 3990 w 6201"/>
                <a:gd name="T35" fmla="*/ 1526 h 4918"/>
                <a:gd name="T36" fmla="*/ 4729 w 6201"/>
                <a:gd name="T37" fmla="*/ 1826 h 4918"/>
                <a:gd name="T38" fmla="*/ 5138 w 6201"/>
                <a:gd name="T39" fmla="*/ 2119 h 4918"/>
                <a:gd name="T40" fmla="*/ 5490 w 6201"/>
                <a:gd name="T41" fmla="*/ 2374 h 4918"/>
                <a:gd name="T42" fmla="*/ 5183 w 6201"/>
                <a:gd name="T43" fmla="*/ 2452 h 4918"/>
                <a:gd name="T44" fmla="*/ 5145 w 6201"/>
                <a:gd name="T45" fmla="*/ 2847 h 4918"/>
                <a:gd name="T46" fmla="*/ 4611 w 6201"/>
                <a:gd name="T47" fmla="*/ 2613 h 4918"/>
                <a:gd name="T48" fmla="*/ 4460 w 6201"/>
                <a:gd name="T49" fmla="*/ 1515 h 4918"/>
                <a:gd name="T50" fmla="*/ 1928 w 6201"/>
                <a:gd name="T51" fmla="*/ 2115 h 4918"/>
                <a:gd name="T52" fmla="*/ 2301 w 6201"/>
                <a:gd name="T53" fmla="*/ 1737 h 4918"/>
                <a:gd name="T54" fmla="*/ 4318 w 6201"/>
                <a:gd name="T55" fmla="*/ 1682 h 4918"/>
                <a:gd name="T56" fmla="*/ 1226 w 6201"/>
                <a:gd name="T57" fmla="*/ 4222 h 4918"/>
                <a:gd name="T58" fmla="*/ 898 w 6201"/>
                <a:gd name="T59" fmla="*/ 3933 h 4918"/>
                <a:gd name="T60" fmla="*/ 600 w 6201"/>
                <a:gd name="T61" fmla="*/ 2025 h 4918"/>
                <a:gd name="T62" fmla="*/ 1167 w 6201"/>
                <a:gd name="T63" fmla="*/ 2070 h 4918"/>
                <a:gd name="T64" fmla="*/ 2500 w 6201"/>
                <a:gd name="T65" fmla="*/ 2181 h 4918"/>
                <a:gd name="T66" fmla="*/ 3310 w 6201"/>
                <a:gd name="T67" fmla="*/ 2103 h 4918"/>
                <a:gd name="T68" fmla="*/ 3693 w 6201"/>
                <a:gd name="T69" fmla="*/ 2252 h 4918"/>
                <a:gd name="T70" fmla="*/ 3801 w 6201"/>
                <a:gd name="T71" fmla="*/ 2429 h 4918"/>
                <a:gd name="T72" fmla="*/ 3239 w 6201"/>
                <a:gd name="T73" fmla="*/ 3263 h 4918"/>
                <a:gd name="T74" fmla="*/ 4378 w 6201"/>
                <a:gd name="T75" fmla="*/ 3279 h 4918"/>
                <a:gd name="T76" fmla="*/ 5124 w 6201"/>
                <a:gd name="T77" fmla="*/ 3317 h 4918"/>
                <a:gd name="T78" fmla="*/ 5544 w 6201"/>
                <a:gd name="T79" fmla="*/ 3506 h 4918"/>
                <a:gd name="T80" fmla="*/ 5939 w 6201"/>
                <a:gd name="T81" fmla="*/ 3832 h 4918"/>
                <a:gd name="T82" fmla="*/ 5544 w 6201"/>
                <a:gd name="T83" fmla="*/ 4552 h 4918"/>
                <a:gd name="T84" fmla="*/ 4772 w 6201"/>
                <a:gd name="T85" fmla="*/ 1781 h 4918"/>
                <a:gd name="T86" fmla="*/ 3019 w 6201"/>
                <a:gd name="T87" fmla="*/ 2065 h 4918"/>
                <a:gd name="T88" fmla="*/ 378 w 6201"/>
                <a:gd name="T89" fmla="*/ 2119 h 4918"/>
                <a:gd name="T90" fmla="*/ 3563 w 6201"/>
                <a:gd name="T91" fmla="*/ 2115 h 4918"/>
                <a:gd name="T92" fmla="*/ 2861 w 6201"/>
                <a:gd name="T93" fmla="*/ 2209 h 4918"/>
                <a:gd name="T94" fmla="*/ 2306 w 6201"/>
                <a:gd name="T95" fmla="*/ 2308 h 4918"/>
                <a:gd name="T96" fmla="*/ 4016 w 6201"/>
                <a:gd name="T97" fmla="*/ 2502 h 4918"/>
                <a:gd name="T98" fmla="*/ 5523 w 6201"/>
                <a:gd name="T99" fmla="*/ 2523 h 4918"/>
                <a:gd name="T100" fmla="*/ 4422 w 6201"/>
                <a:gd name="T101" fmla="*/ 2724 h 4918"/>
                <a:gd name="T102" fmla="*/ 4125 w 6201"/>
                <a:gd name="T103" fmla="*/ 2840 h 4918"/>
                <a:gd name="T104" fmla="*/ 5365 w 6201"/>
                <a:gd name="T105" fmla="*/ 3135 h 4918"/>
                <a:gd name="T106" fmla="*/ 4285 w 6201"/>
                <a:gd name="T107" fmla="*/ 3499 h 4918"/>
                <a:gd name="T108" fmla="*/ 763 w 6201"/>
                <a:gd name="T109" fmla="*/ 3683 h 4918"/>
                <a:gd name="T110" fmla="*/ 832 w 6201"/>
                <a:gd name="T111" fmla="*/ 3848 h 4918"/>
                <a:gd name="T112" fmla="*/ 811 w 6201"/>
                <a:gd name="T113" fmla="*/ 3860 h 4918"/>
                <a:gd name="T114" fmla="*/ 903 w 6201"/>
                <a:gd name="T115" fmla="*/ 3966 h 4918"/>
                <a:gd name="T116" fmla="*/ 5970 w 6201"/>
                <a:gd name="T117" fmla="*/ 4387 h 4918"/>
                <a:gd name="T118" fmla="*/ 6116 w 6201"/>
                <a:gd name="T119" fmla="*/ 4316 h 4918"/>
                <a:gd name="T120" fmla="*/ 1016 w 6201"/>
                <a:gd name="T121" fmla="*/ 4111 h 4918"/>
                <a:gd name="T122" fmla="*/ 6041 w 6201"/>
                <a:gd name="T123" fmla="*/ 4210 h 4918"/>
                <a:gd name="T124" fmla="*/ 5377 w 6201"/>
                <a:gd name="T125" fmla="*/ 4481 h 4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01" h="4918">
                  <a:moveTo>
                    <a:pt x="4389" y="1099"/>
                  </a:moveTo>
                  <a:lnTo>
                    <a:pt x="4368" y="1082"/>
                  </a:lnTo>
                  <a:lnTo>
                    <a:pt x="4323" y="1122"/>
                  </a:lnTo>
                  <a:lnTo>
                    <a:pt x="4205" y="1144"/>
                  </a:lnTo>
                  <a:lnTo>
                    <a:pt x="4205" y="1139"/>
                  </a:lnTo>
                  <a:lnTo>
                    <a:pt x="4226" y="1106"/>
                  </a:lnTo>
                  <a:lnTo>
                    <a:pt x="4189" y="1087"/>
                  </a:lnTo>
                  <a:lnTo>
                    <a:pt x="4172" y="1099"/>
                  </a:lnTo>
                  <a:lnTo>
                    <a:pt x="4134" y="1087"/>
                  </a:lnTo>
                  <a:lnTo>
                    <a:pt x="4141" y="1082"/>
                  </a:lnTo>
                  <a:lnTo>
                    <a:pt x="4134" y="1070"/>
                  </a:lnTo>
                  <a:lnTo>
                    <a:pt x="4158" y="1066"/>
                  </a:lnTo>
                  <a:lnTo>
                    <a:pt x="4120" y="1070"/>
                  </a:lnTo>
                  <a:lnTo>
                    <a:pt x="4087" y="1044"/>
                  </a:lnTo>
                  <a:lnTo>
                    <a:pt x="4104" y="1070"/>
                  </a:lnTo>
                  <a:lnTo>
                    <a:pt x="4134" y="1082"/>
                  </a:lnTo>
                  <a:lnTo>
                    <a:pt x="4120" y="1087"/>
                  </a:lnTo>
                  <a:lnTo>
                    <a:pt x="4125" y="1099"/>
                  </a:lnTo>
                  <a:lnTo>
                    <a:pt x="4066" y="1106"/>
                  </a:lnTo>
                  <a:lnTo>
                    <a:pt x="4044" y="1049"/>
                  </a:lnTo>
                  <a:lnTo>
                    <a:pt x="4033" y="1066"/>
                  </a:lnTo>
                  <a:lnTo>
                    <a:pt x="4049" y="1082"/>
                  </a:lnTo>
                  <a:lnTo>
                    <a:pt x="4054" y="1106"/>
                  </a:lnTo>
                  <a:lnTo>
                    <a:pt x="4016" y="1106"/>
                  </a:lnTo>
                  <a:lnTo>
                    <a:pt x="3978" y="1066"/>
                  </a:lnTo>
                  <a:lnTo>
                    <a:pt x="3990" y="1070"/>
                  </a:lnTo>
                  <a:lnTo>
                    <a:pt x="3978" y="1087"/>
                  </a:lnTo>
                  <a:lnTo>
                    <a:pt x="3990" y="1099"/>
                  </a:lnTo>
                  <a:lnTo>
                    <a:pt x="3957" y="1106"/>
                  </a:lnTo>
                  <a:lnTo>
                    <a:pt x="3924" y="1082"/>
                  </a:lnTo>
                  <a:lnTo>
                    <a:pt x="3936" y="1106"/>
                  </a:lnTo>
                  <a:lnTo>
                    <a:pt x="3974" y="1122"/>
                  </a:lnTo>
                  <a:lnTo>
                    <a:pt x="3936" y="1122"/>
                  </a:lnTo>
                  <a:lnTo>
                    <a:pt x="3834" y="1111"/>
                  </a:lnTo>
                  <a:lnTo>
                    <a:pt x="3827" y="1099"/>
                  </a:lnTo>
                  <a:lnTo>
                    <a:pt x="3839" y="1087"/>
                  </a:lnTo>
                  <a:lnTo>
                    <a:pt x="3818" y="1070"/>
                  </a:lnTo>
                  <a:lnTo>
                    <a:pt x="3834" y="1087"/>
                  </a:lnTo>
                  <a:lnTo>
                    <a:pt x="3811" y="1099"/>
                  </a:lnTo>
                  <a:lnTo>
                    <a:pt x="3811" y="1111"/>
                  </a:lnTo>
                  <a:lnTo>
                    <a:pt x="3759" y="1099"/>
                  </a:lnTo>
                  <a:lnTo>
                    <a:pt x="3747" y="1070"/>
                  </a:lnTo>
                  <a:lnTo>
                    <a:pt x="3747" y="1099"/>
                  </a:lnTo>
                  <a:lnTo>
                    <a:pt x="3759" y="1111"/>
                  </a:lnTo>
                  <a:lnTo>
                    <a:pt x="3688" y="1106"/>
                  </a:lnTo>
                  <a:lnTo>
                    <a:pt x="3693" y="1087"/>
                  </a:lnTo>
                  <a:lnTo>
                    <a:pt x="3676" y="1070"/>
                  </a:lnTo>
                  <a:lnTo>
                    <a:pt x="3688" y="1044"/>
                  </a:lnTo>
                  <a:lnTo>
                    <a:pt x="3671" y="1054"/>
                  </a:lnTo>
                  <a:lnTo>
                    <a:pt x="3676" y="1082"/>
                  </a:lnTo>
                  <a:lnTo>
                    <a:pt x="3671" y="1106"/>
                  </a:lnTo>
                  <a:lnTo>
                    <a:pt x="3671" y="1082"/>
                  </a:lnTo>
                  <a:lnTo>
                    <a:pt x="3655" y="1106"/>
                  </a:lnTo>
                  <a:lnTo>
                    <a:pt x="3600" y="1082"/>
                  </a:lnTo>
                  <a:lnTo>
                    <a:pt x="3617" y="1066"/>
                  </a:lnTo>
                  <a:lnTo>
                    <a:pt x="3612" y="1044"/>
                  </a:lnTo>
                  <a:lnTo>
                    <a:pt x="3688" y="1000"/>
                  </a:lnTo>
                  <a:lnTo>
                    <a:pt x="3676" y="1000"/>
                  </a:lnTo>
                  <a:lnTo>
                    <a:pt x="3801" y="988"/>
                  </a:lnTo>
                  <a:lnTo>
                    <a:pt x="3773" y="988"/>
                  </a:lnTo>
                  <a:lnTo>
                    <a:pt x="3796" y="978"/>
                  </a:lnTo>
                  <a:lnTo>
                    <a:pt x="3773" y="971"/>
                  </a:lnTo>
                  <a:lnTo>
                    <a:pt x="3796" y="962"/>
                  </a:lnTo>
                  <a:lnTo>
                    <a:pt x="3742" y="962"/>
                  </a:lnTo>
                  <a:lnTo>
                    <a:pt x="3730" y="955"/>
                  </a:lnTo>
                  <a:lnTo>
                    <a:pt x="3742" y="943"/>
                  </a:lnTo>
                  <a:lnTo>
                    <a:pt x="3742" y="933"/>
                  </a:lnTo>
                  <a:lnTo>
                    <a:pt x="3704" y="917"/>
                  </a:lnTo>
                  <a:lnTo>
                    <a:pt x="3709" y="889"/>
                  </a:lnTo>
                  <a:lnTo>
                    <a:pt x="3773" y="884"/>
                  </a:lnTo>
                  <a:lnTo>
                    <a:pt x="3827" y="889"/>
                  </a:lnTo>
                  <a:lnTo>
                    <a:pt x="3855" y="905"/>
                  </a:lnTo>
                  <a:lnTo>
                    <a:pt x="3881" y="943"/>
                  </a:lnTo>
                  <a:lnTo>
                    <a:pt x="3872" y="955"/>
                  </a:lnTo>
                  <a:lnTo>
                    <a:pt x="3886" y="943"/>
                  </a:lnTo>
                  <a:lnTo>
                    <a:pt x="3962" y="971"/>
                  </a:lnTo>
                  <a:lnTo>
                    <a:pt x="3957" y="955"/>
                  </a:lnTo>
                  <a:lnTo>
                    <a:pt x="4033" y="962"/>
                  </a:lnTo>
                  <a:lnTo>
                    <a:pt x="4011" y="943"/>
                  </a:lnTo>
                  <a:lnTo>
                    <a:pt x="4049" y="933"/>
                  </a:lnTo>
                  <a:lnTo>
                    <a:pt x="4104" y="877"/>
                  </a:lnTo>
                  <a:lnTo>
                    <a:pt x="4096" y="860"/>
                  </a:lnTo>
                  <a:lnTo>
                    <a:pt x="4120" y="851"/>
                  </a:lnTo>
                  <a:lnTo>
                    <a:pt x="4082" y="860"/>
                  </a:lnTo>
                  <a:lnTo>
                    <a:pt x="4087" y="877"/>
                  </a:lnTo>
                  <a:lnTo>
                    <a:pt x="4044" y="922"/>
                  </a:lnTo>
                  <a:lnTo>
                    <a:pt x="4000" y="938"/>
                  </a:lnTo>
                  <a:lnTo>
                    <a:pt x="3941" y="938"/>
                  </a:lnTo>
                  <a:lnTo>
                    <a:pt x="3936" y="933"/>
                  </a:lnTo>
                  <a:lnTo>
                    <a:pt x="3962" y="905"/>
                  </a:lnTo>
                  <a:lnTo>
                    <a:pt x="3936" y="922"/>
                  </a:lnTo>
                  <a:lnTo>
                    <a:pt x="3903" y="905"/>
                  </a:lnTo>
                  <a:lnTo>
                    <a:pt x="3924" y="889"/>
                  </a:lnTo>
                  <a:lnTo>
                    <a:pt x="3903" y="889"/>
                  </a:lnTo>
                  <a:lnTo>
                    <a:pt x="3974" y="884"/>
                  </a:lnTo>
                  <a:lnTo>
                    <a:pt x="3893" y="884"/>
                  </a:lnTo>
                  <a:lnTo>
                    <a:pt x="3881" y="877"/>
                  </a:lnTo>
                  <a:lnTo>
                    <a:pt x="3924" y="851"/>
                  </a:lnTo>
                  <a:lnTo>
                    <a:pt x="3978" y="851"/>
                  </a:lnTo>
                  <a:lnTo>
                    <a:pt x="3919" y="851"/>
                  </a:lnTo>
                  <a:lnTo>
                    <a:pt x="3924" y="834"/>
                  </a:lnTo>
                  <a:lnTo>
                    <a:pt x="3990" y="834"/>
                  </a:lnTo>
                  <a:lnTo>
                    <a:pt x="3936" y="827"/>
                  </a:lnTo>
                  <a:lnTo>
                    <a:pt x="3941" y="811"/>
                  </a:lnTo>
                  <a:lnTo>
                    <a:pt x="3957" y="811"/>
                  </a:lnTo>
                  <a:lnTo>
                    <a:pt x="3936" y="806"/>
                  </a:lnTo>
                  <a:lnTo>
                    <a:pt x="3957" y="773"/>
                  </a:lnTo>
                  <a:lnTo>
                    <a:pt x="3924" y="794"/>
                  </a:lnTo>
                  <a:lnTo>
                    <a:pt x="3936" y="811"/>
                  </a:lnTo>
                  <a:lnTo>
                    <a:pt x="3893" y="844"/>
                  </a:lnTo>
                  <a:lnTo>
                    <a:pt x="3839" y="851"/>
                  </a:lnTo>
                  <a:lnTo>
                    <a:pt x="3839" y="834"/>
                  </a:lnTo>
                  <a:lnTo>
                    <a:pt x="3865" y="827"/>
                  </a:lnTo>
                  <a:lnTo>
                    <a:pt x="3872" y="806"/>
                  </a:lnTo>
                  <a:lnTo>
                    <a:pt x="3848" y="827"/>
                  </a:lnTo>
                  <a:lnTo>
                    <a:pt x="3801" y="844"/>
                  </a:lnTo>
                  <a:lnTo>
                    <a:pt x="3747" y="844"/>
                  </a:lnTo>
                  <a:lnTo>
                    <a:pt x="3780" y="827"/>
                  </a:lnTo>
                  <a:lnTo>
                    <a:pt x="3747" y="827"/>
                  </a:lnTo>
                  <a:lnTo>
                    <a:pt x="3747" y="794"/>
                  </a:lnTo>
                  <a:lnTo>
                    <a:pt x="3780" y="778"/>
                  </a:lnTo>
                  <a:lnTo>
                    <a:pt x="3796" y="778"/>
                  </a:lnTo>
                  <a:lnTo>
                    <a:pt x="3780" y="773"/>
                  </a:lnTo>
                  <a:lnTo>
                    <a:pt x="3796" y="749"/>
                  </a:lnTo>
                  <a:lnTo>
                    <a:pt x="3924" y="716"/>
                  </a:lnTo>
                  <a:lnTo>
                    <a:pt x="4016" y="733"/>
                  </a:lnTo>
                  <a:lnTo>
                    <a:pt x="4108" y="773"/>
                  </a:lnTo>
                  <a:lnTo>
                    <a:pt x="4120" y="773"/>
                  </a:lnTo>
                  <a:lnTo>
                    <a:pt x="4096" y="756"/>
                  </a:lnTo>
                  <a:lnTo>
                    <a:pt x="4125" y="749"/>
                  </a:lnTo>
                  <a:lnTo>
                    <a:pt x="4082" y="749"/>
                  </a:lnTo>
                  <a:lnTo>
                    <a:pt x="4049" y="733"/>
                  </a:lnTo>
                  <a:lnTo>
                    <a:pt x="4158" y="733"/>
                  </a:lnTo>
                  <a:lnTo>
                    <a:pt x="4158" y="711"/>
                  </a:lnTo>
                  <a:lnTo>
                    <a:pt x="4172" y="700"/>
                  </a:lnTo>
                  <a:lnTo>
                    <a:pt x="4104" y="723"/>
                  </a:lnTo>
                  <a:lnTo>
                    <a:pt x="3945" y="700"/>
                  </a:lnTo>
                  <a:lnTo>
                    <a:pt x="3941" y="695"/>
                  </a:lnTo>
                  <a:lnTo>
                    <a:pt x="3962" y="683"/>
                  </a:lnTo>
                  <a:lnTo>
                    <a:pt x="4000" y="700"/>
                  </a:lnTo>
                  <a:lnTo>
                    <a:pt x="4044" y="700"/>
                  </a:lnTo>
                  <a:lnTo>
                    <a:pt x="3995" y="678"/>
                  </a:lnTo>
                  <a:lnTo>
                    <a:pt x="4000" y="667"/>
                  </a:lnTo>
                  <a:lnTo>
                    <a:pt x="3974" y="678"/>
                  </a:lnTo>
                  <a:lnTo>
                    <a:pt x="3962" y="638"/>
                  </a:lnTo>
                  <a:lnTo>
                    <a:pt x="3936" y="629"/>
                  </a:lnTo>
                  <a:lnTo>
                    <a:pt x="3924" y="605"/>
                  </a:lnTo>
                  <a:lnTo>
                    <a:pt x="3827" y="584"/>
                  </a:lnTo>
                  <a:lnTo>
                    <a:pt x="3827" y="556"/>
                  </a:lnTo>
                  <a:lnTo>
                    <a:pt x="3834" y="551"/>
                  </a:lnTo>
                  <a:lnTo>
                    <a:pt x="3910" y="556"/>
                  </a:lnTo>
                  <a:lnTo>
                    <a:pt x="3827" y="544"/>
                  </a:lnTo>
                  <a:lnTo>
                    <a:pt x="3811" y="527"/>
                  </a:lnTo>
                  <a:lnTo>
                    <a:pt x="3818" y="494"/>
                  </a:lnTo>
                  <a:lnTo>
                    <a:pt x="4011" y="501"/>
                  </a:lnTo>
                  <a:lnTo>
                    <a:pt x="4125" y="567"/>
                  </a:lnTo>
                  <a:lnTo>
                    <a:pt x="4141" y="589"/>
                  </a:lnTo>
                  <a:lnTo>
                    <a:pt x="4163" y="605"/>
                  </a:lnTo>
                  <a:lnTo>
                    <a:pt x="4151" y="605"/>
                  </a:lnTo>
                  <a:lnTo>
                    <a:pt x="4158" y="612"/>
                  </a:lnTo>
                  <a:lnTo>
                    <a:pt x="4179" y="605"/>
                  </a:lnTo>
                  <a:lnTo>
                    <a:pt x="4233" y="612"/>
                  </a:lnTo>
                  <a:lnTo>
                    <a:pt x="4285" y="600"/>
                  </a:lnTo>
                  <a:lnTo>
                    <a:pt x="4297" y="589"/>
                  </a:lnTo>
                  <a:lnTo>
                    <a:pt x="4217" y="600"/>
                  </a:lnTo>
                  <a:lnTo>
                    <a:pt x="4172" y="589"/>
                  </a:lnTo>
                  <a:lnTo>
                    <a:pt x="4163" y="556"/>
                  </a:lnTo>
                  <a:lnTo>
                    <a:pt x="4179" y="551"/>
                  </a:lnTo>
                  <a:lnTo>
                    <a:pt x="4125" y="544"/>
                  </a:lnTo>
                  <a:lnTo>
                    <a:pt x="4054" y="494"/>
                  </a:lnTo>
                  <a:lnTo>
                    <a:pt x="4264" y="456"/>
                  </a:lnTo>
                  <a:lnTo>
                    <a:pt x="4422" y="444"/>
                  </a:lnTo>
                  <a:lnTo>
                    <a:pt x="4281" y="440"/>
                  </a:lnTo>
                  <a:lnTo>
                    <a:pt x="4378" y="416"/>
                  </a:lnTo>
                  <a:lnTo>
                    <a:pt x="4529" y="400"/>
                  </a:lnTo>
                  <a:lnTo>
                    <a:pt x="4352" y="400"/>
                  </a:lnTo>
                  <a:lnTo>
                    <a:pt x="4352" y="378"/>
                  </a:lnTo>
                  <a:lnTo>
                    <a:pt x="4389" y="350"/>
                  </a:lnTo>
                  <a:lnTo>
                    <a:pt x="4503" y="307"/>
                  </a:lnTo>
                  <a:lnTo>
                    <a:pt x="4406" y="329"/>
                  </a:lnTo>
                  <a:lnTo>
                    <a:pt x="4356" y="362"/>
                  </a:lnTo>
                  <a:lnTo>
                    <a:pt x="4314" y="345"/>
                  </a:lnTo>
                  <a:lnTo>
                    <a:pt x="4340" y="362"/>
                  </a:lnTo>
                  <a:lnTo>
                    <a:pt x="4323" y="378"/>
                  </a:lnTo>
                  <a:lnTo>
                    <a:pt x="4335" y="383"/>
                  </a:lnTo>
                  <a:lnTo>
                    <a:pt x="4302" y="407"/>
                  </a:lnTo>
                  <a:lnTo>
                    <a:pt x="4210" y="435"/>
                  </a:lnTo>
                  <a:lnTo>
                    <a:pt x="4066" y="456"/>
                  </a:lnTo>
                  <a:lnTo>
                    <a:pt x="4054" y="444"/>
                  </a:lnTo>
                  <a:lnTo>
                    <a:pt x="4158" y="407"/>
                  </a:lnTo>
                  <a:lnTo>
                    <a:pt x="4044" y="435"/>
                  </a:lnTo>
                  <a:lnTo>
                    <a:pt x="4028" y="423"/>
                  </a:lnTo>
                  <a:lnTo>
                    <a:pt x="4054" y="407"/>
                  </a:lnTo>
                  <a:lnTo>
                    <a:pt x="4049" y="407"/>
                  </a:lnTo>
                  <a:lnTo>
                    <a:pt x="4011" y="416"/>
                  </a:lnTo>
                  <a:lnTo>
                    <a:pt x="4016" y="440"/>
                  </a:lnTo>
                  <a:lnTo>
                    <a:pt x="4011" y="456"/>
                  </a:lnTo>
                  <a:lnTo>
                    <a:pt x="3924" y="461"/>
                  </a:lnTo>
                  <a:lnTo>
                    <a:pt x="3865" y="456"/>
                  </a:lnTo>
                  <a:lnTo>
                    <a:pt x="3886" y="440"/>
                  </a:lnTo>
                  <a:lnTo>
                    <a:pt x="3848" y="456"/>
                  </a:lnTo>
                  <a:lnTo>
                    <a:pt x="3801" y="444"/>
                  </a:lnTo>
                  <a:lnTo>
                    <a:pt x="3886" y="383"/>
                  </a:lnTo>
                  <a:lnTo>
                    <a:pt x="4108" y="345"/>
                  </a:lnTo>
                  <a:lnTo>
                    <a:pt x="3881" y="367"/>
                  </a:lnTo>
                  <a:lnTo>
                    <a:pt x="3834" y="390"/>
                  </a:lnTo>
                  <a:lnTo>
                    <a:pt x="3773" y="440"/>
                  </a:lnTo>
                  <a:lnTo>
                    <a:pt x="3747" y="440"/>
                  </a:lnTo>
                  <a:lnTo>
                    <a:pt x="3617" y="390"/>
                  </a:lnTo>
                  <a:lnTo>
                    <a:pt x="3811" y="378"/>
                  </a:lnTo>
                  <a:lnTo>
                    <a:pt x="3945" y="329"/>
                  </a:lnTo>
                  <a:lnTo>
                    <a:pt x="3763" y="362"/>
                  </a:lnTo>
                  <a:lnTo>
                    <a:pt x="3584" y="378"/>
                  </a:lnTo>
                  <a:lnTo>
                    <a:pt x="3558" y="350"/>
                  </a:lnTo>
                  <a:lnTo>
                    <a:pt x="3579" y="333"/>
                  </a:lnTo>
                  <a:lnTo>
                    <a:pt x="3650" y="333"/>
                  </a:lnTo>
                  <a:lnTo>
                    <a:pt x="3579" y="324"/>
                  </a:lnTo>
                  <a:lnTo>
                    <a:pt x="3655" y="291"/>
                  </a:lnTo>
                  <a:lnTo>
                    <a:pt x="3773" y="296"/>
                  </a:lnTo>
                  <a:lnTo>
                    <a:pt x="3693" y="279"/>
                  </a:lnTo>
                  <a:lnTo>
                    <a:pt x="3546" y="312"/>
                  </a:lnTo>
                  <a:lnTo>
                    <a:pt x="3515" y="307"/>
                  </a:lnTo>
                  <a:lnTo>
                    <a:pt x="3612" y="272"/>
                  </a:lnTo>
                  <a:lnTo>
                    <a:pt x="3558" y="256"/>
                  </a:lnTo>
                  <a:lnTo>
                    <a:pt x="3478" y="291"/>
                  </a:lnTo>
                  <a:lnTo>
                    <a:pt x="3478" y="279"/>
                  </a:lnTo>
                  <a:lnTo>
                    <a:pt x="3440" y="267"/>
                  </a:lnTo>
                  <a:lnTo>
                    <a:pt x="3546" y="222"/>
                  </a:lnTo>
                  <a:lnTo>
                    <a:pt x="3600" y="218"/>
                  </a:lnTo>
                  <a:lnTo>
                    <a:pt x="3622" y="239"/>
                  </a:lnTo>
                  <a:lnTo>
                    <a:pt x="3633" y="222"/>
                  </a:lnTo>
                  <a:lnTo>
                    <a:pt x="3617" y="218"/>
                  </a:lnTo>
                  <a:lnTo>
                    <a:pt x="3650" y="218"/>
                  </a:lnTo>
                  <a:lnTo>
                    <a:pt x="3638" y="213"/>
                  </a:lnTo>
                  <a:lnTo>
                    <a:pt x="3709" y="185"/>
                  </a:lnTo>
                  <a:lnTo>
                    <a:pt x="3763" y="196"/>
                  </a:lnTo>
                  <a:lnTo>
                    <a:pt x="3773" y="201"/>
                  </a:lnTo>
                  <a:lnTo>
                    <a:pt x="3763" y="213"/>
                  </a:lnTo>
                  <a:lnTo>
                    <a:pt x="3801" y="222"/>
                  </a:lnTo>
                  <a:lnTo>
                    <a:pt x="3780" y="213"/>
                  </a:lnTo>
                  <a:lnTo>
                    <a:pt x="3796" y="196"/>
                  </a:lnTo>
                  <a:lnTo>
                    <a:pt x="3834" y="196"/>
                  </a:lnTo>
                  <a:lnTo>
                    <a:pt x="3893" y="234"/>
                  </a:lnTo>
                  <a:lnTo>
                    <a:pt x="3881" y="213"/>
                  </a:lnTo>
                  <a:lnTo>
                    <a:pt x="3919" y="213"/>
                  </a:lnTo>
                  <a:lnTo>
                    <a:pt x="3941" y="222"/>
                  </a:lnTo>
                  <a:lnTo>
                    <a:pt x="3924" y="213"/>
                  </a:lnTo>
                  <a:lnTo>
                    <a:pt x="3936" y="213"/>
                  </a:lnTo>
                  <a:lnTo>
                    <a:pt x="3957" y="222"/>
                  </a:lnTo>
                  <a:lnTo>
                    <a:pt x="3936" y="201"/>
                  </a:lnTo>
                  <a:lnTo>
                    <a:pt x="3811" y="185"/>
                  </a:lnTo>
                  <a:lnTo>
                    <a:pt x="3796" y="168"/>
                  </a:lnTo>
                  <a:lnTo>
                    <a:pt x="3903" y="156"/>
                  </a:lnTo>
                  <a:lnTo>
                    <a:pt x="3893" y="140"/>
                  </a:lnTo>
                  <a:lnTo>
                    <a:pt x="3865" y="128"/>
                  </a:lnTo>
                  <a:lnTo>
                    <a:pt x="3924" y="123"/>
                  </a:lnTo>
                  <a:lnTo>
                    <a:pt x="4033" y="144"/>
                  </a:lnTo>
                  <a:lnTo>
                    <a:pt x="4070" y="185"/>
                  </a:lnTo>
                  <a:lnTo>
                    <a:pt x="4054" y="196"/>
                  </a:lnTo>
                  <a:lnTo>
                    <a:pt x="4151" y="201"/>
                  </a:lnTo>
                  <a:lnTo>
                    <a:pt x="4096" y="185"/>
                  </a:lnTo>
                  <a:lnTo>
                    <a:pt x="4066" y="163"/>
                  </a:lnTo>
                  <a:lnTo>
                    <a:pt x="4096" y="156"/>
                  </a:lnTo>
                  <a:lnTo>
                    <a:pt x="4335" y="234"/>
                  </a:lnTo>
                  <a:lnTo>
                    <a:pt x="4285" y="201"/>
                  </a:lnTo>
                  <a:lnTo>
                    <a:pt x="4226" y="196"/>
                  </a:lnTo>
                  <a:lnTo>
                    <a:pt x="4210" y="185"/>
                  </a:lnTo>
                  <a:lnTo>
                    <a:pt x="4217" y="180"/>
                  </a:lnTo>
                  <a:lnTo>
                    <a:pt x="4151" y="163"/>
                  </a:lnTo>
                  <a:lnTo>
                    <a:pt x="4087" y="140"/>
                  </a:lnTo>
                  <a:lnTo>
                    <a:pt x="4104" y="111"/>
                  </a:lnTo>
                  <a:lnTo>
                    <a:pt x="4172" y="111"/>
                  </a:lnTo>
                  <a:lnTo>
                    <a:pt x="4108" y="95"/>
                  </a:lnTo>
                  <a:lnTo>
                    <a:pt x="4125" y="90"/>
                  </a:lnTo>
                  <a:lnTo>
                    <a:pt x="4233" y="107"/>
                  </a:lnTo>
                  <a:lnTo>
                    <a:pt x="4163" y="69"/>
                  </a:lnTo>
                  <a:lnTo>
                    <a:pt x="4172" y="57"/>
                  </a:lnTo>
                  <a:lnTo>
                    <a:pt x="4248" y="69"/>
                  </a:lnTo>
                  <a:lnTo>
                    <a:pt x="4285" y="90"/>
                  </a:lnTo>
                  <a:lnTo>
                    <a:pt x="4297" y="90"/>
                  </a:lnTo>
                  <a:lnTo>
                    <a:pt x="4281" y="85"/>
                  </a:lnTo>
                  <a:lnTo>
                    <a:pt x="4378" y="85"/>
                  </a:lnTo>
                  <a:lnTo>
                    <a:pt x="4285" y="74"/>
                  </a:lnTo>
                  <a:lnTo>
                    <a:pt x="4281" y="69"/>
                  </a:lnTo>
                  <a:lnTo>
                    <a:pt x="4302" y="57"/>
                  </a:lnTo>
                  <a:lnTo>
                    <a:pt x="4248" y="52"/>
                  </a:lnTo>
                  <a:lnTo>
                    <a:pt x="4285" y="36"/>
                  </a:lnTo>
                  <a:lnTo>
                    <a:pt x="4318" y="36"/>
                  </a:lnTo>
                  <a:lnTo>
                    <a:pt x="4340" y="52"/>
                  </a:lnTo>
                  <a:lnTo>
                    <a:pt x="4373" y="36"/>
                  </a:lnTo>
                  <a:lnTo>
                    <a:pt x="4378" y="41"/>
                  </a:lnTo>
                  <a:lnTo>
                    <a:pt x="4378" y="57"/>
                  </a:lnTo>
                  <a:lnTo>
                    <a:pt x="4411" y="57"/>
                  </a:lnTo>
                  <a:lnTo>
                    <a:pt x="4406" y="52"/>
                  </a:lnTo>
                  <a:lnTo>
                    <a:pt x="4432" y="41"/>
                  </a:lnTo>
                  <a:lnTo>
                    <a:pt x="4567" y="95"/>
                  </a:lnTo>
                  <a:lnTo>
                    <a:pt x="4541" y="128"/>
                  </a:lnTo>
                  <a:lnTo>
                    <a:pt x="4604" y="95"/>
                  </a:lnTo>
                  <a:lnTo>
                    <a:pt x="4536" y="74"/>
                  </a:lnTo>
                  <a:lnTo>
                    <a:pt x="4557" y="69"/>
                  </a:lnTo>
                  <a:lnTo>
                    <a:pt x="4460" y="29"/>
                  </a:lnTo>
                  <a:lnTo>
                    <a:pt x="4474" y="17"/>
                  </a:lnTo>
                  <a:lnTo>
                    <a:pt x="4663" y="17"/>
                  </a:lnTo>
                  <a:lnTo>
                    <a:pt x="4713" y="52"/>
                  </a:lnTo>
                  <a:lnTo>
                    <a:pt x="4798" y="85"/>
                  </a:lnTo>
                  <a:lnTo>
                    <a:pt x="4805" y="74"/>
                  </a:lnTo>
                  <a:lnTo>
                    <a:pt x="4718" y="41"/>
                  </a:lnTo>
                  <a:lnTo>
                    <a:pt x="4798" y="12"/>
                  </a:lnTo>
                  <a:lnTo>
                    <a:pt x="4859" y="12"/>
                  </a:lnTo>
                  <a:lnTo>
                    <a:pt x="4864" y="12"/>
                  </a:lnTo>
                  <a:lnTo>
                    <a:pt x="4852" y="29"/>
                  </a:lnTo>
                  <a:lnTo>
                    <a:pt x="4918" y="52"/>
                  </a:lnTo>
                  <a:lnTo>
                    <a:pt x="4874" y="29"/>
                  </a:lnTo>
                  <a:lnTo>
                    <a:pt x="4961" y="0"/>
                  </a:lnTo>
                  <a:lnTo>
                    <a:pt x="5020" y="17"/>
                  </a:lnTo>
                  <a:lnTo>
                    <a:pt x="5015" y="29"/>
                  </a:lnTo>
                  <a:lnTo>
                    <a:pt x="5053" y="17"/>
                  </a:lnTo>
                  <a:lnTo>
                    <a:pt x="5107" y="29"/>
                  </a:lnTo>
                  <a:lnTo>
                    <a:pt x="5107" y="41"/>
                  </a:lnTo>
                  <a:lnTo>
                    <a:pt x="5237" y="41"/>
                  </a:lnTo>
                  <a:lnTo>
                    <a:pt x="5074" y="95"/>
                  </a:lnTo>
                  <a:lnTo>
                    <a:pt x="5162" y="90"/>
                  </a:lnTo>
                  <a:lnTo>
                    <a:pt x="5275" y="57"/>
                  </a:lnTo>
                  <a:lnTo>
                    <a:pt x="5322" y="69"/>
                  </a:lnTo>
                  <a:lnTo>
                    <a:pt x="5306" y="69"/>
                  </a:lnTo>
                  <a:lnTo>
                    <a:pt x="5322" y="57"/>
                  </a:lnTo>
                  <a:lnTo>
                    <a:pt x="5306" y="52"/>
                  </a:lnTo>
                  <a:lnTo>
                    <a:pt x="5355" y="41"/>
                  </a:lnTo>
                  <a:lnTo>
                    <a:pt x="5339" y="52"/>
                  </a:lnTo>
                  <a:lnTo>
                    <a:pt x="5365" y="69"/>
                  </a:lnTo>
                  <a:lnTo>
                    <a:pt x="5436" y="57"/>
                  </a:lnTo>
                  <a:lnTo>
                    <a:pt x="5448" y="69"/>
                  </a:lnTo>
                  <a:lnTo>
                    <a:pt x="5415" y="85"/>
                  </a:lnTo>
                  <a:lnTo>
                    <a:pt x="5474" y="107"/>
                  </a:lnTo>
                  <a:lnTo>
                    <a:pt x="5462" y="123"/>
                  </a:lnTo>
                  <a:lnTo>
                    <a:pt x="5448" y="128"/>
                  </a:lnTo>
                  <a:lnTo>
                    <a:pt x="5528" y="111"/>
                  </a:lnTo>
                  <a:lnTo>
                    <a:pt x="5516" y="123"/>
                  </a:lnTo>
                  <a:lnTo>
                    <a:pt x="5575" y="123"/>
                  </a:lnTo>
                  <a:lnTo>
                    <a:pt x="5608" y="144"/>
                  </a:lnTo>
                  <a:lnTo>
                    <a:pt x="5599" y="163"/>
                  </a:lnTo>
                  <a:lnTo>
                    <a:pt x="5523" y="201"/>
                  </a:lnTo>
                  <a:lnTo>
                    <a:pt x="5415" y="239"/>
                  </a:lnTo>
                  <a:lnTo>
                    <a:pt x="5377" y="234"/>
                  </a:lnTo>
                  <a:lnTo>
                    <a:pt x="5393" y="251"/>
                  </a:lnTo>
                  <a:lnTo>
                    <a:pt x="5377" y="251"/>
                  </a:lnTo>
                  <a:lnTo>
                    <a:pt x="5313" y="251"/>
                  </a:lnTo>
                  <a:lnTo>
                    <a:pt x="5259" y="256"/>
                  </a:lnTo>
                  <a:lnTo>
                    <a:pt x="5306" y="256"/>
                  </a:lnTo>
                  <a:lnTo>
                    <a:pt x="5275" y="272"/>
                  </a:lnTo>
                  <a:lnTo>
                    <a:pt x="5107" y="279"/>
                  </a:lnTo>
                  <a:lnTo>
                    <a:pt x="5025" y="256"/>
                  </a:lnTo>
                  <a:lnTo>
                    <a:pt x="5096" y="279"/>
                  </a:lnTo>
                  <a:lnTo>
                    <a:pt x="5058" y="279"/>
                  </a:lnTo>
                  <a:lnTo>
                    <a:pt x="5079" y="291"/>
                  </a:lnTo>
                  <a:lnTo>
                    <a:pt x="5214" y="291"/>
                  </a:lnTo>
                  <a:lnTo>
                    <a:pt x="4966" y="345"/>
                  </a:lnTo>
                  <a:lnTo>
                    <a:pt x="5004" y="345"/>
                  </a:lnTo>
                  <a:lnTo>
                    <a:pt x="4973" y="362"/>
                  </a:lnTo>
                  <a:lnTo>
                    <a:pt x="4982" y="362"/>
                  </a:lnTo>
                  <a:lnTo>
                    <a:pt x="5285" y="291"/>
                  </a:lnTo>
                  <a:lnTo>
                    <a:pt x="5360" y="279"/>
                  </a:lnTo>
                  <a:lnTo>
                    <a:pt x="5365" y="296"/>
                  </a:lnTo>
                  <a:lnTo>
                    <a:pt x="5176" y="383"/>
                  </a:lnTo>
                  <a:lnTo>
                    <a:pt x="5145" y="390"/>
                  </a:lnTo>
                  <a:lnTo>
                    <a:pt x="5150" y="390"/>
                  </a:lnTo>
                  <a:lnTo>
                    <a:pt x="5053" y="444"/>
                  </a:lnTo>
                  <a:lnTo>
                    <a:pt x="5020" y="478"/>
                  </a:lnTo>
                  <a:lnTo>
                    <a:pt x="4961" y="489"/>
                  </a:lnTo>
                  <a:lnTo>
                    <a:pt x="4966" y="473"/>
                  </a:lnTo>
                  <a:lnTo>
                    <a:pt x="4961" y="473"/>
                  </a:lnTo>
                  <a:lnTo>
                    <a:pt x="4918" y="444"/>
                  </a:lnTo>
                  <a:lnTo>
                    <a:pt x="4944" y="473"/>
                  </a:lnTo>
                  <a:lnTo>
                    <a:pt x="4949" y="489"/>
                  </a:lnTo>
                  <a:lnTo>
                    <a:pt x="4982" y="501"/>
                  </a:lnTo>
                  <a:lnTo>
                    <a:pt x="4966" y="511"/>
                  </a:lnTo>
                  <a:lnTo>
                    <a:pt x="4859" y="527"/>
                  </a:lnTo>
                  <a:lnTo>
                    <a:pt x="4810" y="511"/>
                  </a:lnTo>
                  <a:lnTo>
                    <a:pt x="4843" y="527"/>
                  </a:lnTo>
                  <a:lnTo>
                    <a:pt x="4810" y="527"/>
                  </a:lnTo>
                  <a:lnTo>
                    <a:pt x="4810" y="534"/>
                  </a:lnTo>
                  <a:lnTo>
                    <a:pt x="4944" y="527"/>
                  </a:lnTo>
                  <a:lnTo>
                    <a:pt x="4874" y="556"/>
                  </a:lnTo>
                  <a:lnTo>
                    <a:pt x="4911" y="567"/>
                  </a:lnTo>
                  <a:lnTo>
                    <a:pt x="4897" y="584"/>
                  </a:lnTo>
                  <a:lnTo>
                    <a:pt x="4822" y="600"/>
                  </a:lnTo>
                  <a:lnTo>
                    <a:pt x="4772" y="589"/>
                  </a:lnTo>
                  <a:lnTo>
                    <a:pt x="4767" y="572"/>
                  </a:lnTo>
                  <a:lnTo>
                    <a:pt x="4772" y="572"/>
                  </a:lnTo>
                  <a:lnTo>
                    <a:pt x="4680" y="567"/>
                  </a:lnTo>
                  <a:lnTo>
                    <a:pt x="4642" y="567"/>
                  </a:lnTo>
                  <a:lnTo>
                    <a:pt x="4746" y="584"/>
                  </a:lnTo>
                  <a:lnTo>
                    <a:pt x="4755" y="612"/>
                  </a:lnTo>
                  <a:lnTo>
                    <a:pt x="4718" y="629"/>
                  </a:lnTo>
                  <a:lnTo>
                    <a:pt x="4696" y="612"/>
                  </a:lnTo>
                  <a:lnTo>
                    <a:pt x="4701" y="629"/>
                  </a:lnTo>
                  <a:lnTo>
                    <a:pt x="4692" y="638"/>
                  </a:lnTo>
                  <a:lnTo>
                    <a:pt x="4637" y="622"/>
                  </a:lnTo>
                  <a:lnTo>
                    <a:pt x="4626" y="629"/>
                  </a:lnTo>
                  <a:lnTo>
                    <a:pt x="4637" y="638"/>
                  </a:lnTo>
                  <a:lnTo>
                    <a:pt x="4626" y="645"/>
                  </a:lnTo>
                  <a:lnTo>
                    <a:pt x="4481" y="612"/>
                  </a:lnTo>
                  <a:lnTo>
                    <a:pt x="4474" y="622"/>
                  </a:lnTo>
                  <a:lnTo>
                    <a:pt x="4541" y="629"/>
                  </a:lnTo>
                  <a:lnTo>
                    <a:pt x="4550" y="645"/>
                  </a:lnTo>
                  <a:lnTo>
                    <a:pt x="4567" y="645"/>
                  </a:lnTo>
                  <a:lnTo>
                    <a:pt x="4498" y="645"/>
                  </a:lnTo>
                  <a:lnTo>
                    <a:pt x="4465" y="629"/>
                  </a:lnTo>
                  <a:lnTo>
                    <a:pt x="4481" y="655"/>
                  </a:lnTo>
                  <a:lnTo>
                    <a:pt x="4411" y="645"/>
                  </a:lnTo>
                  <a:lnTo>
                    <a:pt x="4465" y="662"/>
                  </a:lnTo>
                  <a:lnTo>
                    <a:pt x="4460" y="667"/>
                  </a:lnTo>
                  <a:lnTo>
                    <a:pt x="4663" y="667"/>
                  </a:lnTo>
                  <a:lnTo>
                    <a:pt x="4642" y="678"/>
                  </a:lnTo>
                  <a:lnTo>
                    <a:pt x="4663" y="695"/>
                  </a:lnTo>
                  <a:lnTo>
                    <a:pt x="4583" y="695"/>
                  </a:lnTo>
                  <a:lnTo>
                    <a:pt x="4550" y="678"/>
                  </a:lnTo>
                  <a:lnTo>
                    <a:pt x="4432" y="667"/>
                  </a:lnTo>
                  <a:lnTo>
                    <a:pt x="4406" y="678"/>
                  </a:lnTo>
                  <a:lnTo>
                    <a:pt x="4550" y="695"/>
                  </a:lnTo>
                  <a:lnTo>
                    <a:pt x="4448" y="700"/>
                  </a:lnTo>
                  <a:lnTo>
                    <a:pt x="4356" y="695"/>
                  </a:lnTo>
                  <a:lnTo>
                    <a:pt x="4444" y="700"/>
                  </a:lnTo>
                  <a:lnTo>
                    <a:pt x="4406" y="740"/>
                  </a:lnTo>
                  <a:lnTo>
                    <a:pt x="4432" y="711"/>
                  </a:lnTo>
                  <a:lnTo>
                    <a:pt x="4512" y="700"/>
                  </a:lnTo>
                  <a:lnTo>
                    <a:pt x="4583" y="711"/>
                  </a:lnTo>
                  <a:lnTo>
                    <a:pt x="4529" y="733"/>
                  </a:lnTo>
                  <a:lnTo>
                    <a:pt x="4604" y="723"/>
                  </a:lnTo>
                  <a:lnTo>
                    <a:pt x="4642" y="733"/>
                  </a:lnTo>
                  <a:lnTo>
                    <a:pt x="4649" y="749"/>
                  </a:lnTo>
                  <a:lnTo>
                    <a:pt x="4637" y="756"/>
                  </a:lnTo>
                  <a:lnTo>
                    <a:pt x="4642" y="773"/>
                  </a:lnTo>
                  <a:lnTo>
                    <a:pt x="4626" y="778"/>
                  </a:lnTo>
                  <a:lnTo>
                    <a:pt x="4512" y="778"/>
                  </a:lnTo>
                  <a:lnTo>
                    <a:pt x="4595" y="794"/>
                  </a:lnTo>
                  <a:lnTo>
                    <a:pt x="4626" y="811"/>
                  </a:lnTo>
                  <a:lnTo>
                    <a:pt x="4588" y="834"/>
                  </a:lnTo>
                  <a:lnTo>
                    <a:pt x="4498" y="834"/>
                  </a:lnTo>
                  <a:lnTo>
                    <a:pt x="4588" y="844"/>
                  </a:lnTo>
                  <a:lnTo>
                    <a:pt x="4567" y="867"/>
                  </a:lnTo>
                  <a:lnTo>
                    <a:pt x="4541" y="860"/>
                  </a:lnTo>
                  <a:lnTo>
                    <a:pt x="4498" y="877"/>
                  </a:lnTo>
                  <a:lnTo>
                    <a:pt x="4406" y="867"/>
                  </a:lnTo>
                  <a:lnTo>
                    <a:pt x="4389" y="877"/>
                  </a:lnTo>
                  <a:lnTo>
                    <a:pt x="4422" y="889"/>
                  </a:lnTo>
                  <a:lnTo>
                    <a:pt x="4422" y="905"/>
                  </a:lnTo>
                  <a:lnTo>
                    <a:pt x="4432" y="922"/>
                  </a:lnTo>
                  <a:lnTo>
                    <a:pt x="4406" y="962"/>
                  </a:lnTo>
                  <a:lnTo>
                    <a:pt x="4335" y="971"/>
                  </a:lnTo>
                  <a:lnTo>
                    <a:pt x="4248" y="971"/>
                  </a:lnTo>
                  <a:lnTo>
                    <a:pt x="4189" y="955"/>
                  </a:lnTo>
                  <a:lnTo>
                    <a:pt x="4141" y="917"/>
                  </a:lnTo>
                  <a:lnTo>
                    <a:pt x="4141" y="922"/>
                  </a:lnTo>
                  <a:lnTo>
                    <a:pt x="4163" y="938"/>
                  </a:lnTo>
                  <a:lnTo>
                    <a:pt x="4158" y="955"/>
                  </a:lnTo>
                  <a:lnTo>
                    <a:pt x="4196" y="971"/>
                  </a:lnTo>
                  <a:lnTo>
                    <a:pt x="4125" y="971"/>
                  </a:lnTo>
                  <a:lnTo>
                    <a:pt x="4151" y="995"/>
                  </a:lnTo>
                  <a:lnTo>
                    <a:pt x="4196" y="978"/>
                  </a:lnTo>
                  <a:lnTo>
                    <a:pt x="4271" y="988"/>
                  </a:lnTo>
                  <a:lnTo>
                    <a:pt x="4248" y="1000"/>
                  </a:lnTo>
                  <a:lnTo>
                    <a:pt x="4297" y="978"/>
                  </a:lnTo>
                  <a:lnTo>
                    <a:pt x="4335" y="988"/>
                  </a:lnTo>
                  <a:lnTo>
                    <a:pt x="4352" y="1000"/>
                  </a:lnTo>
                  <a:lnTo>
                    <a:pt x="4318" y="1028"/>
                  </a:lnTo>
                  <a:lnTo>
                    <a:pt x="4356" y="1028"/>
                  </a:lnTo>
                  <a:lnTo>
                    <a:pt x="4356" y="1044"/>
                  </a:lnTo>
                  <a:lnTo>
                    <a:pt x="4368" y="1044"/>
                  </a:lnTo>
                  <a:lnTo>
                    <a:pt x="4394" y="1016"/>
                  </a:lnTo>
                  <a:lnTo>
                    <a:pt x="4427" y="1028"/>
                  </a:lnTo>
                  <a:lnTo>
                    <a:pt x="4432" y="1066"/>
                  </a:lnTo>
                  <a:lnTo>
                    <a:pt x="4389" y="1099"/>
                  </a:lnTo>
                  <a:lnTo>
                    <a:pt x="4389" y="1099"/>
                  </a:lnTo>
                  <a:lnTo>
                    <a:pt x="4389" y="1099"/>
                  </a:lnTo>
                  <a:close/>
                  <a:moveTo>
                    <a:pt x="3456" y="279"/>
                  </a:moveTo>
                  <a:lnTo>
                    <a:pt x="3440" y="272"/>
                  </a:lnTo>
                  <a:lnTo>
                    <a:pt x="3461" y="279"/>
                  </a:lnTo>
                  <a:lnTo>
                    <a:pt x="3456" y="279"/>
                  </a:lnTo>
                  <a:lnTo>
                    <a:pt x="3456" y="279"/>
                  </a:lnTo>
                  <a:lnTo>
                    <a:pt x="3456" y="279"/>
                  </a:lnTo>
                  <a:close/>
                  <a:moveTo>
                    <a:pt x="3655" y="844"/>
                  </a:moveTo>
                  <a:lnTo>
                    <a:pt x="3633" y="827"/>
                  </a:lnTo>
                  <a:lnTo>
                    <a:pt x="3579" y="766"/>
                  </a:lnTo>
                  <a:lnTo>
                    <a:pt x="3570" y="778"/>
                  </a:lnTo>
                  <a:lnTo>
                    <a:pt x="3579" y="794"/>
                  </a:lnTo>
                  <a:lnTo>
                    <a:pt x="3596" y="806"/>
                  </a:lnTo>
                  <a:lnTo>
                    <a:pt x="3617" y="834"/>
                  </a:lnTo>
                  <a:lnTo>
                    <a:pt x="3563" y="811"/>
                  </a:lnTo>
                  <a:lnTo>
                    <a:pt x="3525" y="811"/>
                  </a:lnTo>
                  <a:lnTo>
                    <a:pt x="3558" y="834"/>
                  </a:lnTo>
                  <a:lnTo>
                    <a:pt x="3546" y="844"/>
                  </a:lnTo>
                  <a:lnTo>
                    <a:pt x="3433" y="827"/>
                  </a:lnTo>
                  <a:lnTo>
                    <a:pt x="3402" y="811"/>
                  </a:lnTo>
                  <a:lnTo>
                    <a:pt x="3369" y="789"/>
                  </a:lnTo>
                  <a:lnTo>
                    <a:pt x="3461" y="778"/>
                  </a:lnTo>
                  <a:lnTo>
                    <a:pt x="3381" y="766"/>
                  </a:lnTo>
                  <a:lnTo>
                    <a:pt x="3348" y="773"/>
                  </a:lnTo>
                  <a:lnTo>
                    <a:pt x="3310" y="740"/>
                  </a:lnTo>
                  <a:lnTo>
                    <a:pt x="3364" y="740"/>
                  </a:lnTo>
                  <a:lnTo>
                    <a:pt x="3310" y="733"/>
                  </a:lnTo>
                  <a:lnTo>
                    <a:pt x="3277" y="711"/>
                  </a:lnTo>
                  <a:lnTo>
                    <a:pt x="3348" y="678"/>
                  </a:lnTo>
                  <a:lnTo>
                    <a:pt x="3546" y="667"/>
                  </a:lnTo>
                  <a:lnTo>
                    <a:pt x="3418" y="667"/>
                  </a:lnTo>
                  <a:lnTo>
                    <a:pt x="3385" y="662"/>
                  </a:lnTo>
                  <a:lnTo>
                    <a:pt x="3504" y="645"/>
                  </a:lnTo>
                  <a:lnTo>
                    <a:pt x="3423" y="655"/>
                  </a:lnTo>
                  <a:lnTo>
                    <a:pt x="3395" y="645"/>
                  </a:lnTo>
                  <a:lnTo>
                    <a:pt x="3418" y="638"/>
                  </a:lnTo>
                  <a:lnTo>
                    <a:pt x="3381" y="638"/>
                  </a:lnTo>
                  <a:lnTo>
                    <a:pt x="3364" y="629"/>
                  </a:lnTo>
                  <a:lnTo>
                    <a:pt x="3352" y="629"/>
                  </a:lnTo>
                  <a:lnTo>
                    <a:pt x="3364" y="645"/>
                  </a:lnTo>
                  <a:lnTo>
                    <a:pt x="3348" y="645"/>
                  </a:lnTo>
                  <a:lnTo>
                    <a:pt x="3348" y="638"/>
                  </a:lnTo>
                  <a:lnTo>
                    <a:pt x="3343" y="638"/>
                  </a:lnTo>
                  <a:lnTo>
                    <a:pt x="3310" y="662"/>
                  </a:lnTo>
                  <a:lnTo>
                    <a:pt x="3289" y="662"/>
                  </a:lnTo>
                  <a:lnTo>
                    <a:pt x="3293" y="645"/>
                  </a:lnTo>
                  <a:lnTo>
                    <a:pt x="3272" y="638"/>
                  </a:lnTo>
                  <a:lnTo>
                    <a:pt x="3260" y="638"/>
                  </a:lnTo>
                  <a:lnTo>
                    <a:pt x="3272" y="645"/>
                  </a:lnTo>
                  <a:lnTo>
                    <a:pt x="3260" y="655"/>
                  </a:lnTo>
                  <a:lnTo>
                    <a:pt x="3222" y="662"/>
                  </a:lnTo>
                  <a:lnTo>
                    <a:pt x="3208" y="645"/>
                  </a:lnTo>
                  <a:lnTo>
                    <a:pt x="3170" y="638"/>
                  </a:lnTo>
                  <a:lnTo>
                    <a:pt x="3180" y="622"/>
                  </a:lnTo>
                  <a:lnTo>
                    <a:pt x="3244" y="605"/>
                  </a:lnTo>
                  <a:lnTo>
                    <a:pt x="3277" y="584"/>
                  </a:lnTo>
                  <a:lnTo>
                    <a:pt x="3170" y="600"/>
                  </a:lnTo>
                  <a:lnTo>
                    <a:pt x="3116" y="567"/>
                  </a:lnTo>
                  <a:lnTo>
                    <a:pt x="3147" y="556"/>
                  </a:lnTo>
                  <a:lnTo>
                    <a:pt x="3109" y="544"/>
                  </a:lnTo>
                  <a:lnTo>
                    <a:pt x="3133" y="534"/>
                  </a:lnTo>
                  <a:lnTo>
                    <a:pt x="3100" y="527"/>
                  </a:lnTo>
                  <a:lnTo>
                    <a:pt x="3133" y="518"/>
                  </a:lnTo>
                  <a:lnTo>
                    <a:pt x="3272" y="551"/>
                  </a:lnTo>
                  <a:lnTo>
                    <a:pt x="3244" y="527"/>
                  </a:lnTo>
                  <a:lnTo>
                    <a:pt x="3293" y="518"/>
                  </a:lnTo>
                  <a:lnTo>
                    <a:pt x="3201" y="527"/>
                  </a:lnTo>
                  <a:lnTo>
                    <a:pt x="3180" y="518"/>
                  </a:lnTo>
                  <a:lnTo>
                    <a:pt x="3208" y="501"/>
                  </a:lnTo>
                  <a:lnTo>
                    <a:pt x="3163" y="511"/>
                  </a:lnTo>
                  <a:lnTo>
                    <a:pt x="3109" y="489"/>
                  </a:lnTo>
                  <a:lnTo>
                    <a:pt x="3192" y="489"/>
                  </a:lnTo>
                  <a:lnTo>
                    <a:pt x="3170" y="473"/>
                  </a:lnTo>
                  <a:lnTo>
                    <a:pt x="3154" y="444"/>
                  </a:lnTo>
                  <a:lnTo>
                    <a:pt x="3310" y="456"/>
                  </a:lnTo>
                  <a:lnTo>
                    <a:pt x="3244" y="435"/>
                  </a:lnTo>
                  <a:lnTo>
                    <a:pt x="3289" y="423"/>
                  </a:lnTo>
                  <a:lnTo>
                    <a:pt x="3185" y="407"/>
                  </a:lnTo>
                  <a:lnTo>
                    <a:pt x="3218" y="400"/>
                  </a:lnTo>
                  <a:lnTo>
                    <a:pt x="3192" y="390"/>
                  </a:lnTo>
                  <a:lnTo>
                    <a:pt x="3218" y="378"/>
                  </a:lnTo>
                  <a:lnTo>
                    <a:pt x="3244" y="367"/>
                  </a:lnTo>
                  <a:lnTo>
                    <a:pt x="3272" y="383"/>
                  </a:lnTo>
                  <a:lnTo>
                    <a:pt x="3298" y="367"/>
                  </a:lnTo>
                  <a:lnTo>
                    <a:pt x="3277" y="362"/>
                  </a:lnTo>
                  <a:lnTo>
                    <a:pt x="3348" y="362"/>
                  </a:lnTo>
                  <a:lnTo>
                    <a:pt x="3364" y="350"/>
                  </a:lnTo>
                  <a:lnTo>
                    <a:pt x="3272" y="329"/>
                  </a:lnTo>
                  <a:lnTo>
                    <a:pt x="3289" y="312"/>
                  </a:lnTo>
                  <a:lnTo>
                    <a:pt x="3331" y="324"/>
                  </a:lnTo>
                  <a:lnTo>
                    <a:pt x="3331" y="312"/>
                  </a:lnTo>
                  <a:lnTo>
                    <a:pt x="3449" y="345"/>
                  </a:lnTo>
                  <a:lnTo>
                    <a:pt x="3456" y="362"/>
                  </a:lnTo>
                  <a:lnTo>
                    <a:pt x="3440" y="367"/>
                  </a:lnTo>
                  <a:lnTo>
                    <a:pt x="3470" y="378"/>
                  </a:lnTo>
                  <a:lnTo>
                    <a:pt x="3504" y="416"/>
                  </a:lnTo>
                  <a:lnTo>
                    <a:pt x="3532" y="440"/>
                  </a:lnTo>
                  <a:lnTo>
                    <a:pt x="3525" y="444"/>
                  </a:lnTo>
                  <a:lnTo>
                    <a:pt x="3596" y="473"/>
                  </a:lnTo>
                  <a:lnTo>
                    <a:pt x="3596" y="456"/>
                  </a:lnTo>
                  <a:lnTo>
                    <a:pt x="3633" y="456"/>
                  </a:lnTo>
                  <a:lnTo>
                    <a:pt x="3638" y="473"/>
                  </a:lnTo>
                  <a:lnTo>
                    <a:pt x="3633" y="478"/>
                  </a:lnTo>
                  <a:lnTo>
                    <a:pt x="3638" y="478"/>
                  </a:lnTo>
                  <a:lnTo>
                    <a:pt x="3633" y="494"/>
                  </a:lnTo>
                  <a:lnTo>
                    <a:pt x="3667" y="527"/>
                  </a:lnTo>
                  <a:lnTo>
                    <a:pt x="3709" y="527"/>
                  </a:lnTo>
                  <a:lnTo>
                    <a:pt x="3704" y="511"/>
                  </a:lnTo>
                  <a:lnTo>
                    <a:pt x="3671" y="501"/>
                  </a:lnTo>
                  <a:lnTo>
                    <a:pt x="3671" y="478"/>
                  </a:lnTo>
                  <a:lnTo>
                    <a:pt x="3742" y="478"/>
                  </a:lnTo>
                  <a:lnTo>
                    <a:pt x="3747" y="511"/>
                  </a:lnTo>
                  <a:lnTo>
                    <a:pt x="3709" y="527"/>
                  </a:lnTo>
                  <a:lnTo>
                    <a:pt x="3773" y="534"/>
                  </a:lnTo>
                  <a:lnTo>
                    <a:pt x="3785" y="551"/>
                  </a:lnTo>
                  <a:lnTo>
                    <a:pt x="3759" y="572"/>
                  </a:lnTo>
                  <a:lnTo>
                    <a:pt x="3785" y="556"/>
                  </a:lnTo>
                  <a:lnTo>
                    <a:pt x="3780" y="605"/>
                  </a:lnTo>
                  <a:lnTo>
                    <a:pt x="3759" y="622"/>
                  </a:lnTo>
                  <a:lnTo>
                    <a:pt x="3785" y="605"/>
                  </a:lnTo>
                  <a:lnTo>
                    <a:pt x="3801" y="622"/>
                  </a:lnTo>
                  <a:lnTo>
                    <a:pt x="3811" y="612"/>
                  </a:lnTo>
                  <a:lnTo>
                    <a:pt x="3801" y="605"/>
                  </a:lnTo>
                  <a:lnTo>
                    <a:pt x="3834" y="605"/>
                  </a:lnTo>
                  <a:lnTo>
                    <a:pt x="3855" y="612"/>
                  </a:lnTo>
                  <a:lnTo>
                    <a:pt x="3855" y="629"/>
                  </a:lnTo>
                  <a:lnTo>
                    <a:pt x="3848" y="629"/>
                  </a:lnTo>
                  <a:lnTo>
                    <a:pt x="3855" y="638"/>
                  </a:lnTo>
                  <a:lnTo>
                    <a:pt x="3872" y="605"/>
                  </a:lnTo>
                  <a:lnTo>
                    <a:pt x="3881" y="605"/>
                  </a:lnTo>
                  <a:lnTo>
                    <a:pt x="3936" y="662"/>
                  </a:lnTo>
                  <a:lnTo>
                    <a:pt x="3827" y="695"/>
                  </a:lnTo>
                  <a:lnTo>
                    <a:pt x="3811" y="711"/>
                  </a:lnTo>
                  <a:lnTo>
                    <a:pt x="3785" y="695"/>
                  </a:lnTo>
                  <a:lnTo>
                    <a:pt x="3785" y="716"/>
                  </a:lnTo>
                  <a:lnTo>
                    <a:pt x="3747" y="766"/>
                  </a:lnTo>
                  <a:lnTo>
                    <a:pt x="3721" y="733"/>
                  </a:lnTo>
                  <a:lnTo>
                    <a:pt x="3721" y="711"/>
                  </a:lnTo>
                  <a:lnTo>
                    <a:pt x="3742" y="695"/>
                  </a:lnTo>
                  <a:lnTo>
                    <a:pt x="3709" y="711"/>
                  </a:lnTo>
                  <a:lnTo>
                    <a:pt x="3704" y="740"/>
                  </a:lnTo>
                  <a:lnTo>
                    <a:pt x="3726" y="778"/>
                  </a:lnTo>
                  <a:lnTo>
                    <a:pt x="3704" y="794"/>
                  </a:lnTo>
                  <a:lnTo>
                    <a:pt x="3676" y="773"/>
                  </a:lnTo>
                  <a:lnTo>
                    <a:pt x="3667" y="766"/>
                  </a:lnTo>
                  <a:lnTo>
                    <a:pt x="3676" y="794"/>
                  </a:lnTo>
                  <a:lnTo>
                    <a:pt x="3655" y="844"/>
                  </a:lnTo>
                  <a:lnTo>
                    <a:pt x="3655" y="844"/>
                  </a:lnTo>
                  <a:lnTo>
                    <a:pt x="3655" y="844"/>
                  </a:lnTo>
                  <a:close/>
                  <a:moveTo>
                    <a:pt x="3222" y="435"/>
                  </a:moveTo>
                  <a:lnTo>
                    <a:pt x="3234" y="440"/>
                  </a:lnTo>
                  <a:lnTo>
                    <a:pt x="3147" y="435"/>
                  </a:lnTo>
                  <a:lnTo>
                    <a:pt x="3222" y="435"/>
                  </a:lnTo>
                  <a:lnTo>
                    <a:pt x="3222" y="435"/>
                  </a:lnTo>
                  <a:lnTo>
                    <a:pt x="3222" y="435"/>
                  </a:lnTo>
                  <a:close/>
                  <a:moveTo>
                    <a:pt x="2965" y="600"/>
                  </a:moveTo>
                  <a:lnTo>
                    <a:pt x="2920" y="584"/>
                  </a:lnTo>
                  <a:lnTo>
                    <a:pt x="2920" y="567"/>
                  </a:lnTo>
                  <a:lnTo>
                    <a:pt x="2868" y="567"/>
                  </a:lnTo>
                  <a:lnTo>
                    <a:pt x="2861" y="534"/>
                  </a:lnTo>
                  <a:lnTo>
                    <a:pt x="2894" y="518"/>
                  </a:lnTo>
                  <a:lnTo>
                    <a:pt x="2953" y="534"/>
                  </a:lnTo>
                  <a:lnTo>
                    <a:pt x="2970" y="551"/>
                  </a:lnTo>
                  <a:lnTo>
                    <a:pt x="2970" y="572"/>
                  </a:lnTo>
                  <a:lnTo>
                    <a:pt x="2965" y="600"/>
                  </a:lnTo>
                  <a:lnTo>
                    <a:pt x="2965" y="600"/>
                  </a:lnTo>
                  <a:lnTo>
                    <a:pt x="2965" y="600"/>
                  </a:lnTo>
                  <a:close/>
                  <a:moveTo>
                    <a:pt x="2608" y="749"/>
                  </a:moveTo>
                  <a:lnTo>
                    <a:pt x="2613" y="740"/>
                  </a:lnTo>
                  <a:lnTo>
                    <a:pt x="2587" y="740"/>
                  </a:lnTo>
                  <a:lnTo>
                    <a:pt x="2608" y="723"/>
                  </a:lnTo>
                  <a:lnTo>
                    <a:pt x="2587" y="711"/>
                  </a:lnTo>
                  <a:lnTo>
                    <a:pt x="2521" y="740"/>
                  </a:lnTo>
                  <a:lnTo>
                    <a:pt x="2542" y="700"/>
                  </a:lnTo>
                  <a:lnTo>
                    <a:pt x="2483" y="700"/>
                  </a:lnTo>
                  <a:lnTo>
                    <a:pt x="2483" y="678"/>
                  </a:lnTo>
                  <a:lnTo>
                    <a:pt x="2490" y="655"/>
                  </a:lnTo>
                  <a:lnTo>
                    <a:pt x="2596" y="645"/>
                  </a:lnTo>
                  <a:lnTo>
                    <a:pt x="2663" y="662"/>
                  </a:lnTo>
                  <a:lnTo>
                    <a:pt x="2693" y="695"/>
                  </a:lnTo>
                  <a:lnTo>
                    <a:pt x="2684" y="716"/>
                  </a:lnTo>
                  <a:lnTo>
                    <a:pt x="2700" y="723"/>
                  </a:lnTo>
                  <a:lnTo>
                    <a:pt x="2705" y="700"/>
                  </a:lnTo>
                  <a:lnTo>
                    <a:pt x="2759" y="695"/>
                  </a:lnTo>
                  <a:lnTo>
                    <a:pt x="2807" y="716"/>
                  </a:lnTo>
                  <a:lnTo>
                    <a:pt x="2793" y="740"/>
                  </a:lnTo>
                  <a:lnTo>
                    <a:pt x="2856" y="733"/>
                  </a:lnTo>
                  <a:lnTo>
                    <a:pt x="2882" y="756"/>
                  </a:lnTo>
                  <a:lnTo>
                    <a:pt x="2878" y="766"/>
                  </a:lnTo>
                  <a:lnTo>
                    <a:pt x="2911" y="773"/>
                  </a:lnTo>
                  <a:lnTo>
                    <a:pt x="2882" y="794"/>
                  </a:lnTo>
                  <a:lnTo>
                    <a:pt x="2894" y="806"/>
                  </a:lnTo>
                  <a:lnTo>
                    <a:pt x="2894" y="822"/>
                  </a:lnTo>
                  <a:lnTo>
                    <a:pt x="2911" y="822"/>
                  </a:lnTo>
                  <a:lnTo>
                    <a:pt x="2948" y="851"/>
                  </a:lnTo>
                  <a:lnTo>
                    <a:pt x="2937" y="867"/>
                  </a:lnTo>
                  <a:lnTo>
                    <a:pt x="2948" y="884"/>
                  </a:lnTo>
                  <a:lnTo>
                    <a:pt x="2882" y="900"/>
                  </a:lnTo>
                  <a:lnTo>
                    <a:pt x="2830" y="884"/>
                  </a:lnTo>
                  <a:lnTo>
                    <a:pt x="2807" y="834"/>
                  </a:lnTo>
                  <a:lnTo>
                    <a:pt x="2731" y="822"/>
                  </a:lnTo>
                  <a:lnTo>
                    <a:pt x="2693" y="827"/>
                  </a:lnTo>
                  <a:lnTo>
                    <a:pt x="2679" y="822"/>
                  </a:lnTo>
                  <a:lnTo>
                    <a:pt x="2693" y="806"/>
                  </a:lnTo>
                  <a:lnTo>
                    <a:pt x="2679" y="806"/>
                  </a:lnTo>
                  <a:lnTo>
                    <a:pt x="2596" y="827"/>
                  </a:lnTo>
                  <a:lnTo>
                    <a:pt x="2570" y="822"/>
                  </a:lnTo>
                  <a:lnTo>
                    <a:pt x="2521" y="789"/>
                  </a:lnTo>
                  <a:lnTo>
                    <a:pt x="2542" y="773"/>
                  </a:lnTo>
                  <a:lnTo>
                    <a:pt x="2630" y="789"/>
                  </a:lnTo>
                  <a:lnTo>
                    <a:pt x="2641" y="766"/>
                  </a:lnTo>
                  <a:lnTo>
                    <a:pt x="2592" y="766"/>
                  </a:lnTo>
                  <a:lnTo>
                    <a:pt x="2646" y="749"/>
                  </a:lnTo>
                  <a:lnTo>
                    <a:pt x="2608" y="749"/>
                  </a:lnTo>
                  <a:lnTo>
                    <a:pt x="2608" y="749"/>
                  </a:lnTo>
                  <a:lnTo>
                    <a:pt x="2608" y="749"/>
                  </a:lnTo>
                  <a:close/>
                  <a:moveTo>
                    <a:pt x="3865" y="695"/>
                  </a:moveTo>
                  <a:lnTo>
                    <a:pt x="3919" y="700"/>
                  </a:lnTo>
                  <a:lnTo>
                    <a:pt x="3827" y="723"/>
                  </a:lnTo>
                  <a:lnTo>
                    <a:pt x="3865" y="695"/>
                  </a:lnTo>
                  <a:lnTo>
                    <a:pt x="3865" y="695"/>
                  </a:lnTo>
                  <a:lnTo>
                    <a:pt x="3865" y="695"/>
                  </a:lnTo>
                  <a:close/>
                  <a:moveTo>
                    <a:pt x="3100" y="900"/>
                  </a:moveTo>
                  <a:lnTo>
                    <a:pt x="3078" y="889"/>
                  </a:lnTo>
                  <a:lnTo>
                    <a:pt x="3078" y="884"/>
                  </a:lnTo>
                  <a:lnTo>
                    <a:pt x="3083" y="877"/>
                  </a:lnTo>
                  <a:lnTo>
                    <a:pt x="3029" y="860"/>
                  </a:lnTo>
                  <a:lnTo>
                    <a:pt x="3100" y="844"/>
                  </a:lnTo>
                  <a:lnTo>
                    <a:pt x="3019" y="822"/>
                  </a:lnTo>
                  <a:lnTo>
                    <a:pt x="3019" y="806"/>
                  </a:lnTo>
                  <a:lnTo>
                    <a:pt x="2986" y="789"/>
                  </a:lnTo>
                  <a:lnTo>
                    <a:pt x="3019" y="778"/>
                  </a:lnTo>
                  <a:lnTo>
                    <a:pt x="2991" y="766"/>
                  </a:lnTo>
                  <a:lnTo>
                    <a:pt x="2991" y="740"/>
                  </a:lnTo>
                  <a:lnTo>
                    <a:pt x="3029" y="733"/>
                  </a:lnTo>
                  <a:lnTo>
                    <a:pt x="3078" y="749"/>
                  </a:lnTo>
                  <a:lnTo>
                    <a:pt x="3147" y="766"/>
                  </a:lnTo>
                  <a:lnTo>
                    <a:pt x="3147" y="778"/>
                  </a:lnTo>
                  <a:lnTo>
                    <a:pt x="3192" y="778"/>
                  </a:lnTo>
                  <a:lnTo>
                    <a:pt x="3239" y="806"/>
                  </a:lnTo>
                  <a:lnTo>
                    <a:pt x="3201" y="827"/>
                  </a:lnTo>
                  <a:lnTo>
                    <a:pt x="3234" y="844"/>
                  </a:lnTo>
                  <a:lnTo>
                    <a:pt x="3218" y="867"/>
                  </a:lnTo>
                  <a:lnTo>
                    <a:pt x="3116" y="884"/>
                  </a:lnTo>
                  <a:lnTo>
                    <a:pt x="3109" y="884"/>
                  </a:lnTo>
                  <a:lnTo>
                    <a:pt x="3126" y="889"/>
                  </a:lnTo>
                  <a:lnTo>
                    <a:pt x="3100" y="900"/>
                  </a:lnTo>
                  <a:lnTo>
                    <a:pt x="3100" y="900"/>
                  </a:lnTo>
                  <a:lnTo>
                    <a:pt x="3100" y="900"/>
                  </a:lnTo>
                  <a:close/>
                  <a:moveTo>
                    <a:pt x="4675" y="756"/>
                  </a:moveTo>
                  <a:lnTo>
                    <a:pt x="4649" y="749"/>
                  </a:lnTo>
                  <a:lnTo>
                    <a:pt x="4692" y="749"/>
                  </a:lnTo>
                  <a:lnTo>
                    <a:pt x="4675" y="756"/>
                  </a:lnTo>
                  <a:lnTo>
                    <a:pt x="4675" y="756"/>
                  </a:lnTo>
                  <a:lnTo>
                    <a:pt x="4675" y="756"/>
                  </a:lnTo>
                  <a:close/>
                  <a:moveTo>
                    <a:pt x="2067" y="822"/>
                  </a:moveTo>
                  <a:lnTo>
                    <a:pt x="2030" y="806"/>
                  </a:lnTo>
                  <a:lnTo>
                    <a:pt x="1949" y="822"/>
                  </a:lnTo>
                  <a:lnTo>
                    <a:pt x="1944" y="811"/>
                  </a:lnTo>
                  <a:lnTo>
                    <a:pt x="1961" y="794"/>
                  </a:lnTo>
                  <a:lnTo>
                    <a:pt x="2143" y="740"/>
                  </a:lnTo>
                  <a:lnTo>
                    <a:pt x="2230" y="789"/>
                  </a:lnTo>
                  <a:lnTo>
                    <a:pt x="2214" y="822"/>
                  </a:lnTo>
                  <a:lnTo>
                    <a:pt x="2143" y="822"/>
                  </a:lnTo>
                  <a:lnTo>
                    <a:pt x="2100" y="806"/>
                  </a:lnTo>
                  <a:lnTo>
                    <a:pt x="2067" y="822"/>
                  </a:lnTo>
                  <a:lnTo>
                    <a:pt x="2067" y="822"/>
                  </a:lnTo>
                  <a:lnTo>
                    <a:pt x="2067" y="822"/>
                  </a:lnTo>
                  <a:close/>
                  <a:moveTo>
                    <a:pt x="3721" y="794"/>
                  </a:moveTo>
                  <a:lnTo>
                    <a:pt x="3704" y="827"/>
                  </a:lnTo>
                  <a:lnTo>
                    <a:pt x="3688" y="822"/>
                  </a:lnTo>
                  <a:lnTo>
                    <a:pt x="3704" y="794"/>
                  </a:lnTo>
                  <a:lnTo>
                    <a:pt x="3721" y="794"/>
                  </a:lnTo>
                  <a:lnTo>
                    <a:pt x="3721" y="794"/>
                  </a:lnTo>
                  <a:lnTo>
                    <a:pt x="3721" y="794"/>
                  </a:lnTo>
                  <a:close/>
                  <a:moveTo>
                    <a:pt x="3260" y="822"/>
                  </a:moveTo>
                  <a:lnTo>
                    <a:pt x="3277" y="834"/>
                  </a:lnTo>
                  <a:lnTo>
                    <a:pt x="3244" y="822"/>
                  </a:lnTo>
                  <a:lnTo>
                    <a:pt x="3260" y="822"/>
                  </a:lnTo>
                  <a:lnTo>
                    <a:pt x="3260" y="822"/>
                  </a:lnTo>
                  <a:lnTo>
                    <a:pt x="3260" y="822"/>
                  </a:lnTo>
                  <a:close/>
                  <a:moveTo>
                    <a:pt x="2679" y="822"/>
                  </a:moveTo>
                  <a:lnTo>
                    <a:pt x="2684" y="827"/>
                  </a:lnTo>
                  <a:lnTo>
                    <a:pt x="2663" y="844"/>
                  </a:lnTo>
                  <a:lnTo>
                    <a:pt x="2646" y="834"/>
                  </a:lnTo>
                  <a:lnTo>
                    <a:pt x="2679" y="822"/>
                  </a:lnTo>
                  <a:lnTo>
                    <a:pt x="2679" y="822"/>
                  </a:lnTo>
                  <a:lnTo>
                    <a:pt x="2679" y="822"/>
                  </a:lnTo>
                  <a:close/>
                  <a:moveTo>
                    <a:pt x="2759" y="827"/>
                  </a:moveTo>
                  <a:lnTo>
                    <a:pt x="2759" y="834"/>
                  </a:lnTo>
                  <a:lnTo>
                    <a:pt x="2748" y="834"/>
                  </a:lnTo>
                  <a:lnTo>
                    <a:pt x="2759" y="827"/>
                  </a:lnTo>
                  <a:lnTo>
                    <a:pt x="2759" y="827"/>
                  </a:lnTo>
                  <a:lnTo>
                    <a:pt x="2759" y="827"/>
                  </a:lnTo>
                  <a:close/>
                  <a:moveTo>
                    <a:pt x="2030" y="971"/>
                  </a:moveTo>
                  <a:lnTo>
                    <a:pt x="1949" y="938"/>
                  </a:lnTo>
                  <a:lnTo>
                    <a:pt x="1949" y="905"/>
                  </a:lnTo>
                  <a:lnTo>
                    <a:pt x="1944" y="889"/>
                  </a:lnTo>
                  <a:lnTo>
                    <a:pt x="1949" y="877"/>
                  </a:lnTo>
                  <a:lnTo>
                    <a:pt x="2084" y="851"/>
                  </a:lnTo>
                  <a:lnTo>
                    <a:pt x="2209" y="851"/>
                  </a:lnTo>
                  <a:lnTo>
                    <a:pt x="2193" y="867"/>
                  </a:lnTo>
                  <a:lnTo>
                    <a:pt x="2112" y="889"/>
                  </a:lnTo>
                  <a:lnTo>
                    <a:pt x="2129" y="900"/>
                  </a:lnTo>
                  <a:lnTo>
                    <a:pt x="2167" y="900"/>
                  </a:lnTo>
                  <a:lnTo>
                    <a:pt x="2176" y="922"/>
                  </a:lnTo>
                  <a:lnTo>
                    <a:pt x="2159" y="938"/>
                  </a:lnTo>
                  <a:lnTo>
                    <a:pt x="2030" y="971"/>
                  </a:lnTo>
                  <a:lnTo>
                    <a:pt x="2030" y="971"/>
                  </a:lnTo>
                  <a:lnTo>
                    <a:pt x="2030" y="971"/>
                  </a:lnTo>
                  <a:close/>
                  <a:moveTo>
                    <a:pt x="1878" y="905"/>
                  </a:moveTo>
                  <a:lnTo>
                    <a:pt x="1815" y="867"/>
                  </a:lnTo>
                  <a:lnTo>
                    <a:pt x="1874" y="851"/>
                  </a:lnTo>
                  <a:lnTo>
                    <a:pt x="1923" y="889"/>
                  </a:lnTo>
                  <a:lnTo>
                    <a:pt x="1878" y="905"/>
                  </a:lnTo>
                  <a:lnTo>
                    <a:pt x="1878" y="905"/>
                  </a:lnTo>
                  <a:lnTo>
                    <a:pt x="1878" y="905"/>
                  </a:lnTo>
                  <a:close/>
                  <a:moveTo>
                    <a:pt x="2759" y="884"/>
                  </a:moveTo>
                  <a:lnTo>
                    <a:pt x="2807" y="905"/>
                  </a:lnTo>
                  <a:lnTo>
                    <a:pt x="2731" y="917"/>
                  </a:lnTo>
                  <a:lnTo>
                    <a:pt x="2705" y="905"/>
                  </a:lnTo>
                  <a:lnTo>
                    <a:pt x="2700" y="889"/>
                  </a:lnTo>
                  <a:lnTo>
                    <a:pt x="2759" y="884"/>
                  </a:lnTo>
                  <a:lnTo>
                    <a:pt x="2759" y="884"/>
                  </a:lnTo>
                  <a:lnTo>
                    <a:pt x="2759" y="884"/>
                  </a:lnTo>
                  <a:close/>
                  <a:moveTo>
                    <a:pt x="4444" y="884"/>
                  </a:moveTo>
                  <a:lnTo>
                    <a:pt x="4448" y="889"/>
                  </a:lnTo>
                  <a:lnTo>
                    <a:pt x="4422" y="889"/>
                  </a:lnTo>
                  <a:lnTo>
                    <a:pt x="4444" y="884"/>
                  </a:lnTo>
                  <a:lnTo>
                    <a:pt x="4444" y="884"/>
                  </a:lnTo>
                  <a:lnTo>
                    <a:pt x="4444" y="884"/>
                  </a:lnTo>
                  <a:close/>
                  <a:moveTo>
                    <a:pt x="3352" y="905"/>
                  </a:moveTo>
                  <a:lnTo>
                    <a:pt x="3364" y="917"/>
                  </a:lnTo>
                  <a:lnTo>
                    <a:pt x="3343" y="922"/>
                  </a:lnTo>
                  <a:lnTo>
                    <a:pt x="3326" y="943"/>
                  </a:lnTo>
                  <a:lnTo>
                    <a:pt x="3163" y="943"/>
                  </a:lnTo>
                  <a:lnTo>
                    <a:pt x="3133" y="922"/>
                  </a:lnTo>
                  <a:lnTo>
                    <a:pt x="3137" y="917"/>
                  </a:lnTo>
                  <a:lnTo>
                    <a:pt x="3192" y="889"/>
                  </a:lnTo>
                  <a:lnTo>
                    <a:pt x="3201" y="905"/>
                  </a:lnTo>
                  <a:lnTo>
                    <a:pt x="3326" y="900"/>
                  </a:lnTo>
                  <a:lnTo>
                    <a:pt x="3352" y="905"/>
                  </a:lnTo>
                  <a:lnTo>
                    <a:pt x="3352" y="905"/>
                  </a:lnTo>
                  <a:lnTo>
                    <a:pt x="3352" y="905"/>
                  </a:lnTo>
                  <a:close/>
                  <a:moveTo>
                    <a:pt x="2483" y="900"/>
                  </a:moveTo>
                  <a:lnTo>
                    <a:pt x="2521" y="933"/>
                  </a:lnTo>
                  <a:lnTo>
                    <a:pt x="2533" y="943"/>
                  </a:lnTo>
                  <a:lnTo>
                    <a:pt x="2521" y="955"/>
                  </a:lnTo>
                  <a:lnTo>
                    <a:pt x="2542" y="955"/>
                  </a:lnTo>
                  <a:lnTo>
                    <a:pt x="2570" y="988"/>
                  </a:lnTo>
                  <a:lnTo>
                    <a:pt x="2542" y="1000"/>
                  </a:lnTo>
                  <a:lnTo>
                    <a:pt x="2504" y="988"/>
                  </a:lnTo>
                  <a:lnTo>
                    <a:pt x="2483" y="971"/>
                  </a:lnTo>
                  <a:lnTo>
                    <a:pt x="2469" y="922"/>
                  </a:lnTo>
                  <a:lnTo>
                    <a:pt x="2452" y="905"/>
                  </a:lnTo>
                  <a:lnTo>
                    <a:pt x="2483" y="900"/>
                  </a:lnTo>
                  <a:lnTo>
                    <a:pt x="2483" y="900"/>
                  </a:lnTo>
                  <a:lnTo>
                    <a:pt x="2483" y="900"/>
                  </a:lnTo>
                  <a:close/>
                  <a:moveTo>
                    <a:pt x="3546" y="988"/>
                  </a:moveTo>
                  <a:lnTo>
                    <a:pt x="3494" y="962"/>
                  </a:lnTo>
                  <a:lnTo>
                    <a:pt x="3494" y="933"/>
                  </a:lnTo>
                  <a:lnTo>
                    <a:pt x="3515" y="917"/>
                  </a:lnTo>
                  <a:lnTo>
                    <a:pt x="3563" y="922"/>
                  </a:lnTo>
                  <a:lnTo>
                    <a:pt x="3596" y="943"/>
                  </a:lnTo>
                  <a:lnTo>
                    <a:pt x="3600" y="962"/>
                  </a:lnTo>
                  <a:lnTo>
                    <a:pt x="3546" y="988"/>
                  </a:lnTo>
                  <a:lnTo>
                    <a:pt x="3546" y="988"/>
                  </a:lnTo>
                  <a:lnTo>
                    <a:pt x="3546" y="988"/>
                  </a:lnTo>
                  <a:close/>
                  <a:moveTo>
                    <a:pt x="3910" y="933"/>
                  </a:moveTo>
                  <a:lnTo>
                    <a:pt x="3941" y="938"/>
                  </a:lnTo>
                  <a:lnTo>
                    <a:pt x="3919" y="943"/>
                  </a:lnTo>
                  <a:lnTo>
                    <a:pt x="3886" y="933"/>
                  </a:lnTo>
                  <a:lnTo>
                    <a:pt x="3910" y="933"/>
                  </a:lnTo>
                  <a:lnTo>
                    <a:pt x="3910" y="933"/>
                  </a:lnTo>
                  <a:lnTo>
                    <a:pt x="3910" y="933"/>
                  </a:lnTo>
                  <a:close/>
                  <a:moveTo>
                    <a:pt x="1734" y="1082"/>
                  </a:moveTo>
                  <a:lnTo>
                    <a:pt x="1680" y="1087"/>
                  </a:lnTo>
                  <a:lnTo>
                    <a:pt x="1692" y="1111"/>
                  </a:lnTo>
                  <a:lnTo>
                    <a:pt x="1654" y="1127"/>
                  </a:lnTo>
                  <a:lnTo>
                    <a:pt x="1609" y="1106"/>
                  </a:lnTo>
                  <a:lnTo>
                    <a:pt x="1621" y="1066"/>
                  </a:lnTo>
                  <a:lnTo>
                    <a:pt x="1637" y="1049"/>
                  </a:lnTo>
                  <a:lnTo>
                    <a:pt x="1588" y="1049"/>
                  </a:lnTo>
                  <a:lnTo>
                    <a:pt x="1583" y="1054"/>
                  </a:lnTo>
                  <a:lnTo>
                    <a:pt x="1588" y="1082"/>
                  </a:lnTo>
                  <a:lnTo>
                    <a:pt x="1545" y="1087"/>
                  </a:lnTo>
                  <a:lnTo>
                    <a:pt x="1571" y="1111"/>
                  </a:lnTo>
                  <a:lnTo>
                    <a:pt x="1550" y="1127"/>
                  </a:lnTo>
                  <a:lnTo>
                    <a:pt x="1545" y="1144"/>
                  </a:lnTo>
                  <a:lnTo>
                    <a:pt x="1529" y="1155"/>
                  </a:lnTo>
                  <a:lnTo>
                    <a:pt x="1503" y="1122"/>
                  </a:lnTo>
                  <a:lnTo>
                    <a:pt x="1496" y="1122"/>
                  </a:lnTo>
                  <a:lnTo>
                    <a:pt x="1503" y="1144"/>
                  </a:lnTo>
                  <a:lnTo>
                    <a:pt x="1491" y="1155"/>
                  </a:lnTo>
                  <a:lnTo>
                    <a:pt x="1512" y="1160"/>
                  </a:lnTo>
                  <a:lnTo>
                    <a:pt x="1512" y="1165"/>
                  </a:lnTo>
                  <a:lnTo>
                    <a:pt x="1448" y="1193"/>
                  </a:lnTo>
                  <a:lnTo>
                    <a:pt x="1441" y="1193"/>
                  </a:lnTo>
                  <a:lnTo>
                    <a:pt x="1441" y="1165"/>
                  </a:lnTo>
                  <a:lnTo>
                    <a:pt x="1427" y="1165"/>
                  </a:lnTo>
                  <a:lnTo>
                    <a:pt x="1420" y="1144"/>
                  </a:lnTo>
                  <a:lnTo>
                    <a:pt x="1411" y="1139"/>
                  </a:lnTo>
                  <a:lnTo>
                    <a:pt x="1404" y="1144"/>
                  </a:lnTo>
                  <a:lnTo>
                    <a:pt x="1411" y="1165"/>
                  </a:lnTo>
                  <a:lnTo>
                    <a:pt x="1404" y="1177"/>
                  </a:lnTo>
                  <a:lnTo>
                    <a:pt x="1328" y="1160"/>
                  </a:lnTo>
                  <a:lnTo>
                    <a:pt x="1297" y="1177"/>
                  </a:lnTo>
                  <a:lnTo>
                    <a:pt x="1281" y="1165"/>
                  </a:lnTo>
                  <a:lnTo>
                    <a:pt x="1302" y="1155"/>
                  </a:lnTo>
                  <a:lnTo>
                    <a:pt x="1281" y="1155"/>
                  </a:lnTo>
                  <a:lnTo>
                    <a:pt x="1297" y="1144"/>
                  </a:lnTo>
                  <a:lnTo>
                    <a:pt x="1285" y="1139"/>
                  </a:lnTo>
                  <a:lnTo>
                    <a:pt x="1259" y="1155"/>
                  </a:lnTo>
                  <a:lnTo>
                    <a:pt x="1285" y="1111"/>
                  </a:lnTo>
                  <a:lnTo>
                    <a:pt x="1366" y="1106"/>
                  </a:lnTo>
                  <a:lnTo>
                    <a:pt x="1389" y="1070"/>
                  </a:lnTo>
                  <a:lnTo>
                    <a:pt x="1441" y="1049"/>
                  </a:lnTo>
                  <a:lnTo>
                    <a:pt x="1465" y="1016"/>
                  </a:lnTo>
                  <a:lnTo>
                    <a:pt x="1517" y="988"/>
                  </a:lnTo>
                  <a:lnTo>
                    <a:pt x="1533" y="971"/>
                  </a:lnTo>
                  <a:lnTo>
                    <a:pt x="1621" y="955"/>
                  </a:lnTo>
                  <a:lnTo>
                    <a:pt x="1680" y="971"/>
                  </a:lnTo>
                  <a:lnTo>
                    <a:pt x="1675" y="962"/>
                  </a:lnTo>
                  <a:lnTo>
                    <a:pt x="1696" y="971"/>
                  </a:lnTo>
                  <a:lnTo>
                    <a:pt x="1713" y="955"/>
                  </a:lnTo>
                  <a:lnTo>
                    <a:pt x="1675" y="943"/>
                  </a:lnTo>
                  <a:lnTo>
                    <a:pt x="1718" y="933"/>
                  </a:lnTo>
                  <a:lnTo>
                    <a:pt x="1798" y="971"/>
                  </a:lnTo>
                  <a:lnTo>
                    <a:pt x="1734" y="988"/>
                  </a:lnTo>
                  <a:lnTo>
                    <a:pt x="1734" y="1000"/>
                  </a:lnTo>
                  <a:lnTo>
                    <a:pt x="1734" y="1011"/>
                  </a:lnTo>
                  <a:lnTo>
                    <a:pt x="1772" y="1028"/>
                  </a:lnTo>
                  <a:lnTo>
                    <a:pt x="1730" y="1028"/>
                  </a:lnTo>
                  <a:lnTo>
                    <a:pt x="1751" y="1049"/>
                  </a:lnTo>
                  <a:lnTo>
                    <a:pt x="1760" y="1066"/>
                  </a:lnTo>
                  <a:lnTo>
                    <a:pt x="1734" y="1082"/>
                  </a:lnTo>
                  <a:lnTo>
                    <a:pt x="1734" y="1082"/>
                  </a:lnTo>
                  <a:lnTo>
                    <a:pt x="1734" y="1082"/>
                  </a:lnTo>
                  <a:close/>
                  <a:moveTo>
                    <a:pt x="3504" y="978"/>
                  </a:moveTo>
                  <a:lnTo>
                    <a:pt x="3525" y="988"/>
                  </a:lnTo>
                  <a:lnTo>
                    <a:pt x="3508" y="995"/>
                  </a:lnTo>
                  <a:lnTo>
                    <a:pt x="3487" y="988"/>
                  </a:lnTo>
                  <a:lnTo>
                    <a:pt x="3504" y="978"/>
                  </a:lnTo>
                  <a:lnTo>
                    <a:pt x="3504" y="978"/>
                  </a:lnTo>
                  <a:lnTo>
                    <a:pt x="3504" y="978"/>
                  </a:lnTo>
                  <a:close/>
                  <a:moveTo>
                    <a:pt x="3201" y="978"/>
                  </a:moveTo>
                  <a:lnTo>
                    <a:pt x="3208" y="988"/>
                  </a:lnTo>
                  <a:lnTo>
                    <a:pt x="3185" y="978"/>
                  </a:lnTo>
                  <a:lnTo>
                    <a:pt x="3201" y="978"/>
                  </a:lnTo>
                  <a:lnTo>
                    <a:pt x="3201" y="978"/>
                  </a:lnTo>
                  <a:lnTo>
                    <a:pt x="3201" y="978"/>
                  </a:lnTo>
                  <a:close/>
                  <a:moveTo>
                    <a:pt x="2592" y="995"/>
                  </a:moveTo>
                  <a:lnTo>
                    <a:pt x="2596" y="1000"/>
                  </a:lnTo>
                  <a:lnTo>
                    <a:pt x="2570" y="1000"/>
                  </a:lnTo>
                  <a:lnTo>
                    <a:pt x="2592" y="995"/>
                  </a:lnTo>
                  <a:lnTo>
                    <a:pt x="2592" y="995"/>
                  </a:lnTo>
                  <a:lnTo>
                    <a:pt x="2592" y="995"/>
                  </a:lnTo>
                  <a:close/>
                  <a:moveTo>
                    <a:pt x="1911" y="1000"/>
                  </a:moveTo>
                  <a:lnTo>
                    <a:pt x="1895" y="995"/>
                  </a:lnTo>
                  <a:lnTo>
                    <a:pt x="1923" y="995"/>
                  </a:lnTo>
                  <a:lnTo>
                    <a:pt x="1911" y="1000"/>
                  </a:lnTo>
                  <a:lnTo>
                    <a:pt x="1911" y="1000"/>
                  </a:lnTo>
                  <a:lnTo>
                    <a:pt x="1911" y="1000"/>
                  </a:lnTo>
                  <a:close/>
                  <a:moveTo>
                    <a:pt x="3818" y="1267"/>
                  </a:moveTo>
                  <a:lnTo>
                    <a:pt x="3881" y="1255"/>
                  </a:lnTo>
                  <a:lnTo>
                    <a:pt x="3848" y="1238"/>
                  </a:lnTo>
                  <a:lnTo>
                    <a:pt x="3903" y="1233"/>
                  </a:lnTo>
                  <a:lnTo>
                    <a:pt x="3924" y="1215"/>
                  </a:lnTo>
                  <a:lnTo>
                    <a:pt x="3962" y="1222"/>
                  </a:lnTo>
                  <a:lnTo>
                    <a:pt x="3945" y="1215"/>
                  </a:lnTo>
                  <a:lnTo>
                    <a:pt x="4000" y="1193"/>
                  </a:lnTo>
                  <a:lnTo>
                    <a:pt x="4054" y="1210"/>
                  </a:lnTo>
                  <a:lnTo>
                    <a:pt x="4120" y="1193"/>
                  </a:lnTo>
                  <a:lnTo>
                    <a:pt x="4172" y="1193"/>
                  </a:lnTo>
                  <a:lnTo>
                    <a:pt x="4196" y="1198"/>
                  </a:lnTo>
                  <a:lnTo>
                    <a:pt x="4189" y="1215"/>
                  </a:lnTo>
                  <a:lnTo>
                    <a:pt x="4243" y="1215"/>
                  </a:lnTo>
                  <a:lnTo>
                    <a:pt x="4281" y="1233"/>
                  </a:lnTo>
                  <a:lnTo>
                    <a:pt x="4248" y="1250"/>
                  </a:lnTo>
                  <a:lnTo>
                    <a:pt x="4314" y="1250"/>
                  </a:lnTo>
                  <a:lnTo>
                    <a:pt x="4302" y="1250"/>
                  </a:lnTo>
                  <a:lnTo>
                    <a:pt x="4314" y="1267"/>
                  </a:lnTo>
                  <a:lnTo>
                    <a:pt x="4302" y="1271"/>
                  </a:lnTo>
                  <a:lnTo>
                    <a:pt x="4318" y="1271"/>
                  </a:lnTo>
                  <a:lnTo>
                    <a:pt x="4314" y="1288"/>
                  </a:lnTo>
                  <a:lnTo>
                    <a:pt x="4248" y="1304"/>
                  </a:lnTo>
                  <a:lnTo>
                    <a:pt x="4264" y="1309"/>
                  </a:lnTo>
                  <a:lnTo>
                    <a:pt x="4259" y="1321"/>
                  </a:lnTo>
                  <a:lnTo>
                    <a:pt x="4302" y="1309"/>
                  </a:lnTo>
                  <a:lnTo>
                    <a:pt x="4323" y="1326"/>
                  </a:lnTo>
                  <a:lnTo>
                    <a:pt x="4281" y="1342"/>
                  </a:lnTo>
                  <a:lnTo>
                    <a:pt x="4259" y="1321"/>
                  </a:lnTo>
                  <a:lnTo>
                    <a:pt x="4248" y="1326"/>
                  </a:lnTo>
                  <a:lnTo>
                    <a:pt x="4271" y="1333"/>
                  </a:lnTo>
                  <a:lnTo>
                    <a:pt x="4264" y="1378"/>
                  </a:lnTo>
                  <a:lnTo>
                    <a:pt x="4196" y="1378"/>
                  </a:lnTo>
                  <a:lnTo>
                    <a:pt x="4151" y="1387"/>
                  </a:lnTo>
                  <a:lnTo>
                    <a:pt x="4070" y="1378"/>
                  </a:lnTo>
                  <a:lnTo>
                    <a:pt x="4054" y="1359"/>
                  </a:lnTo>
                  <a:lnTo>
                    <a:pt x="4066" y="1342"/>
                  </a:lnTo>
                  <a:lnTo>
                    <a:pt x="4066" y="1333"/>
                  </a:lnTo>
                  <a:lnTo>
                    <a:pt x="4033" y="1326"/>
                  </a:lnTo>
                  <a:lnTo>
                    <a:pt x="4033" y="1333"/>
                  </a:lnTo>
                  <a:lnTo>
                    <a:pt x="4049" y="1342"/>
                  </a:lnTo>
                  <a:lnTo>
                    <a:pt x="4033" y="1378"/>
                  </a:lnTo>
                  <a:lnTo>
                    <a:pt x="3978" y="1382"/>
                  </a:lnTo>
                  <a:lnTo>
                    <a:pt x="3936" y="1382"/>
                  </a:lnTo>
                  <a:lnTo>
                    <a:pt x="3924" y="1359"/>
                  </a:lnTo>
                  <a:lnTo>
                    <a:pt x="3924" y="1366"/>
                  </a:lnTo>
                  <a:lnTo>
                    <a:pt x="3924" y="1382"/>
                  </a:lnTo>
                  <a:lnTo>
                    <a:pt x="3910" y="1382"/>
                  </a:lnTo>
                  <a:lnTo>
                    <a:pt x="3903" y="1382"/>
                  </a:lnTo>
                  <a:lnTo>
                    <a:pt x="3886" y="1359"/>
                  </a:lnTo>
                  <a:lnTo>
                    <a:pt x="3893" y="1378"/>
                  </a:lnTo>
                  <a:lnTo>
                    <a:pt x="3886" y="1382"/>
                  </a:lnTo>
                  <a:lnTo>
                    <a:pt x="3848" y="1387"/>
                  </a:lnTo>
                  <a:lnTo>
                    <a:pt x="3848" y="1378"/>
                  </a:lnTo>
                  <a:lnTo>
                    <a:pt x="3839" y="1366"/>
                  </a:lnTo>
                  <a:lnTo>
                    <a:pt x="3827" y="1387"/>
                  </a:lnTo>
                  <a:lnTo>
                    <a:pt x="3801" y="1366"/>
                  </a:lnTo>
                  <a:lnTo>
                    <a:pt x="3811" y="1387"/>
                  </a:lnTo>
                  <a:lnTo>
                    <a:pt x="3676" y="1382"/>
                  </a:lnTo>
                  <a:lnTo>
                    <a:pt x="3676" y="1366"/>
                  </a:lnTo>
                  <a:lnTo>
                    <a:pt x="3693" y="1342"/>
                  </a:lnTo>
                  <a:lnTo>
                    <a:pt x="3676" y="1326"/>
                  </a:lnTo>
                  <a:lnTo>
                    <a:pt x="3655" y="1359"/>
                  </a:lnTo>
                  <a:lnTo>
                    <a:pt x="3655" y="1342"/>
                  </a:lnTo>
                  <a:lnTo>
                    <a:pt x="3638" y="1333"/>
                  </a:lnTo>
                  <a:lnTo>
                    <a:pt x="3650" y="1342"/>
                  </a:lnTo>
                  <a:lnTo>
                    <a:pt x="3638" y="1349"/>
                  </a:lnTo>
                  <a:lnTo>
                    <a:pt x="3622" y="1349"/>
                  </a:lnTo>
                  <a:lnTo>
                    <a:pt x="3638" y="1359"/>
                  </a:lnTo>
                  <a:lnTo>
                    <a:pt x="3638" y="1366"/>
                  </a:lnTo>
                  <a:lnTo>
                    <a:pt x="3612" y="1378"/>
                  </a:lnTo>
                  <a:lnTo>
                    <a:pt x="3579" y="1382"/>
                  </a:lnTo>
                  <a:lnTo>
                    <a:pt x="3532" y="1366"/>
                  </a:lnTo>
                  <a:lnTo>
                    <a:pt x="3525" y="1349"/>
                  </a:lnTo>
                  <a:lnTo>
                    <a:pt x="3504" y="1359"/>
                  </a:lnTo>
                  <a:lnTo>
                    <a:pt x="3525" y="1326"/>
                  </a:lnTo>
                  <a:lnTo>
                    <a:pt x="3494" y="1349"/>
                  </a:lnTo>
                  <a:lnTo>
                    <a:pt x="3504" y="1366"/>
                  </a:lnTo>
                  <a:lnTo>
                    <a:pt x="3470" y="1366"/>
                  </a:lnTo>
                  <a:lnTo>
                    <a:pt x="3433" y="1342"/>
                  </a:lnTo>
                  <a:lnTo>
                    <a:pt x="3440" y="1326"/>
                  </a:lnTo>
                  <a:lnTo>
                    <a:pt x="3423" y="1304"/>
                  </a:lnTo>
                  <a:lnTo>
                    <a:pt x="3440" y="1292"/>
                  </a:lnTo>
                  <a:lnTo>
                    <a:pt x="3433" y="1288"/>
                  </a:lnTo>
                  <a:lnTo>
                    <a:pt x="3402" y="1276"/>
                  </a:lnTo>
                  <a:lnTo>
                    <a:pt x="3407" y="1250"/>
                  </a:lnTo>
                  <a:lnTo>
                    <a:pt x="3440" y="1222"/>
                  </a:lnTo>
                  <a:lnTo>
                    <a:pt x="3423" y="1210"/>
                  </a:lnTo>
                  <a:lnTo>
                    <a:pt x="3433" y="1181"/>
                  </a:lnTo>
                  <a:lnTo>
                    <a:pt x="3395" y="1165"/>
                  </a:lnTo>
                  <a:lnTo>
                    <a:pt x="3395" y="1155"/>
                  </a:lnTo>
                  <a:lnTo>
                    <a:pt x="3364" y="1111"/>
                  </a:lnTo>
                  <a:lnTo>
                    <a:pt x="3310" y="1127"/>
                  </a:lnTo>
                  <a:lnTo>
                    <a:pt x="3201" y="1127"/>
                  </a:lnTo>
                  <a:lnTo>
                    <a:pt x="3201" y="1122"/>
                  </a:lnTo>
                  <a:lnTo>
                    <a:pt x="3239" y="1122"/>
                  </a:lnTo>
                  <a:lnTo>
                    <a:pt x="3170" y="1106"/>
                  </a:lnTo>
                  <a:lnTo>
                    <a:pt x="3147" y="1087"/>
                  </a:lnTo>
                  <a:lnTo>
                    <a:pt x="3185" y="1070"/>
                  </a:lnTo>
                  <a:lnTo>
                    <a:pt x="3154" y="1082"/>
                  </a:lnTo>
                  <a:lnTo>
                    <a:pt x="3095" y="1054"/>
                  </a:lnTo>
                  <a:lnTo>
                    <a:pt x="3100" y="1044"/>
                  </a:lnTo>
                  <a:lnTo>
                    <a:pt x="3133" y="1054"/>
                  </a:lnTo>
                  <a:lnTo>
                    <a:pt x="3100" y="1033"/>
                  </a:lnTo>
                  <a:lnTo>
                    <a:pt x="3095" y="1028"/>
                  </a:lnTo>
                  <a:lnTo>
                    <a:pt x="3109" y="1028"/>
                  </a:lnTo>
                  <a:lnTo>
                    <a:pt x="3100" y="1016"/>
                  </a:lnTo>
                  <a:lnTo>
                    <a:pt x="3180" y="1011"/>
                  </a:lnTo>
                  <a:lnTo>
                    <a:pt x="3277" y="1033"/>
                  </a:lnTo>
                  <a:lnTo>
                    <a:pt x="3315" y="1028"/>
                  </a:lnTo>
                  <a:lnTo>
                    <a:pt x="3352" y="1054"/>
                  </a:lnTo>
                  <a:lnTo>
                    <a:pt x="3348" y="1087"/>
                  </a:lnTo>
                  <a:lnTo>
                    <a:pt x="3326" y="1099"/>
                  </a:lnTo>
                  <a:lnTo>
                    <a:pt x="3331" y="1111"/>
                  </a:lnTo>
                  <a:lnTo>
                    <a:pt x="3364" y="1070"/>
                  </a:lnTo>
                  <a:lnTo>
                    <a:pt x="3508" y="1070"/>
                  </a:lnTo>
                  <a:lnTo>
                    <a:pt x="3546" y="1099"/>
                  </a:lnTo>
                  <a:lnTo>
                    <a:pt x="3470" y="1087"/>
                  </a:lnTo>
                  <a:lnTo>
                    <a:pt x="3633" y="1127"/>
                  </a:lnTo>
                  <a:lnTo>
                    <a:pt x="3546" y="1144"/>
                  </a:lnTo>
                  <a:lnTo>
                    <a:pt x="3570" y="1144"/>
                  </a:lnTo>
                  <a:lnTo>
                    <a:pt x="3461" y="1127"/>
                  </a:lnTo>
                  <a:lnTo>
                    <a:pt x="3532" y="1155"/>
                  </a:lnTo>
                  <a:lnTo>
                    <a:pt x="3515" y="1160"/>
                  </a:lnTo>
                  <a:lnTo>
                    <a:pt x="3563" y="1160"/>
                  </a:lnTo>
                  <a:lnTo>
                    <a:pt x="3494" y="1160"/>
                  </a:lnTo>
                  <a:lnTo>
                    <a:pt x="3508" y="1177"/>
                  </a:lnTo>
                  <a:lnTo>
                    <a:pt x="3504" y="1177"/>
                  </a:lnTo>
                  <a:lnTo>
                    <a:pt x="3504" y="1193"/>
                  </a:lnTo>
                  <a:lnTo>
                    <a:pt x="3525" y="1165"/>
                  </a:lnTo>
                  <a:lnTo>
                    <a:pt x="3546" y="1165"/>
                  </a:lnTo>
                  <a:lnTo>
                    <a:pt x="3541" y="1181"/>
                  </a:lnTo>
                  <a:lnTo>
                    <a:pt x="3579" y="1165"/>
                  </a:lnTo>
                  <a:lnTo>
                    <a:pt x="3600" y="1181"/>
                  </a:lnTo>
                  <a:lnTo>
                    <a:pt x="3596" y="1198"/>
                  </a:lnTo>
                  <a:lnTo>
                    <a:pt x="3612" y="1181"/>
                  </a:lnTo>
                  <a:lnTo>
                    <a:pt x="3633" y="1198"/>
                  </a:lnTo>
                  <a:lnTo>
                    <a:pt x="3633" y="1222"/>
                  </a:lnTo>
                  <a:lnTo>
                    <a:pt x="3596" y="1233"/>
                  </a:lnTo>
                  <a:lnTo>
                    <a:pt x="3612" y="1233"/>
                  </a:lnTo>
                  <a:lnTo>
                    <a:pt x="3600" y="1233"/>
                  </a:lnTo>
                  <a:lnTo>
                    <a:pt x="3633" y="1222"/>
                  </a:lnTo>
                  <a:lnTo>
                    <a:pt x="3650" y="1250"/>
                  </a:lnTo>
                  <a:lnTo>
                    <a:pt x="3667" y="1250"/>
                  </a:lnTo>
                  <a:lnTo>
                    <a:pt x="3655" y="1222"/>
                  </a:lnTo>
                  <a:lnTo>
                    <a:pt x="3667" y="1215"/>
                  </a:lnTo>
                  <a:lnTo>
                    <a:pt x="3704" y="1233"/>
                  </a:lnTo>
                  <a:lnTo>
                    <a:pt x="3704" y="1238"/>
                  </a:lnTo>
                  <a:lnTo>
                    <a:pt x="3742" y="1233"/>
                  </a:lnTo>
                  <a:lnTo>
                    <a:pt x="3759" y="1238"/>
                  </a:lnTo>
                  <a:lnTo>
                    <a:pt x="3747" y="1250"/>
                  </a:lnTo>
                  <a:lnTo>
                    <a:pt x="3759" y="1238"/>
                  </a:lnTo>
                  <a:lnTo>
                    <a:pt x="3759" y="1233"/>
                  </a:lnTo>
                  <a:lnTo>
                    <a:pt x="3763" y="1222"/>
                  </a:lnTo>
                  <a:lnTo>
                    <a:pt x="3773" y="1222"/>
                  </a:lnTo>
                  <a:lnTo>
                    <a:pt x="3834" y="1250"/>
                  </a:lnTo>
                  <a:lnTo>
                    <a:pt x="3818" y="1267"/>
                  </a:lnTo>
                  <a:lnTo>
                    <a:pt x="3818" y="1267"/>
                  </a:lnTo>
                  <a:lnTo>
                    <a:pt x="3818" y="1267"/>
                  </a:lnTo>
                  <a:close/>
                  <a:moveTo>
                    <a:pt x="3071" y="1011"/>
                  </a:moveTo>
                  <a:lnTo>
                    <a:pt x="3078" y="1016"/>
                  </a:lnTo>
                  <a:lnTo>
                    <a:pt x="3057" y="1016"/>
                  </a:lnTo>
                  <a:lnTo>
                    <a:pt x="3071" y="1011"/>
                  </a:lnTo>
                  <a:lnTo>
                    <a:pt x="3071" y="1011"/>
                  </a:lnTo>
                  <a:lnTo>
                    <a:pt x="3071" y="1011"/>
                  </a:lnTo>
                  <a:close/>
                  <a:moveTo>
                    <a:pt x="2230" y="1028"/>
                  </a:moveTo>
                  <a:lnTo>
                    <a:pt x="2235" y="1033"/>
                  </a:lnTo>
                  <a:lnTo>
                    <a:pt x="2219" y="1028"/>
                  </a:lnTo>
                  <a:lnTo>
                    <a:pt x="2230" y="1028"/>
                  </a:lnTo>
                  <a:lnTo>
                    <a:pt x="2230" y="1028"/>
                  </a:lnTo>
                  <a:lnTo>
                    <a:pt x="2230" y="1028"/>
                  </a:lnTo>
                  <a:close/>
                  <a:moveTo>
                    <a:pt x="1890" y="1066"/>
                  </a:moveTo>
                  <a:lnTo>
                    <a:pt x="1836" y="1049"/>
                  </a:lnTo>
                  <a:lnTo>
                    <a:pt x="1852" y="1033"/>
                  </a:lnTo>
                  <a:lnTo>
                    <a:pt x="1907" y="1033"/>
                  </a:lnTo>
                  <a:lnTo>
                    <a:pt x="1933" y="1049"/>
                  </a:lnTo>
                  <a:lnTo>
                    <a:pt x="1890" y="1066"/>
                  </a:lnTo>
                  <a:lnTo>
                    <a:pt x="1890" y="1066"/>
                  </a:lnTo>
                  <a:lnTo>
                    <a:pt x="1890" y="1066"/>
                  </a:lnTo>
                  <a:close/>
                  <a:moveTo>
                    <a:pt x="3078" y="1044"/>
                  </a:moveTo>
                  <a:lnTo>
                    <a:pt x="3083" y="1044"/>
                  </a:lnTo>
                  <a:lnTo>
                    <a:pt x="3071" y="1044"/>
                  </a:lnTo>
                  <a:lnTo>
                    <a:pt x="3078" y="1044"/>
                  </a:lnTo>
                  <a:lnTo>
                    <a:pt x="3078" y="1044"/>
                  </a:lnTo>
                  <a:lnTo>
                    <a:pt x="3078" y="1044"/>
                  </a:lnTo>
                  <a:close/>
                  <a:moveTo>
                    <a:pt x="2058" y="1309"/>
                  </a:moveTo>
                  <a:lnTo>
                    <a:pt x="2112" y="1276"/>
                  </a:lnTo>
                  <a:lnTo>
                    <a:pt x="2004" y="1292"/>
                  </a:lnTo>
                  <a:lnTo>
                    <a:pt x="2015" y="1276"/>
                  </a:lnTo>
                  <a:lnTo>
                    <a:pt x="1987" y="1288"/>
                  </a:lnTo>
                  <a:lnTo>
                    <a:pt x="1987" y="1271"/>
                  </a:lnTo>
                  <a:lnTo>
                    <a:pt x="1982" y="1292"/>
                  </a:lnTo>
                  <a:lnTo>
                    <a:pt x="1978" y="1292"/>
                  </a:lnTo>
                  <a:lnTo>
                    <a:pt x="1895" y="1304"/>
                  </a:lnTo>
                  <a:lnTo>
                    <a:pt x="1895" y="1292"/>
                  </a:lnTo>
                  <a:lnTo>
                    <a:pt x="1907" y="1267"/>
                  </a:lnTo>
                  <a:lnTo>
                    <a:pt x="1944" y="1255"/>
                  </a:lnTo>
                  <a:lnTo>
                    <a:pt x="1895" y="1255"/>
                  </a:lnTo>
                  <a:lnTo>
                    <a:pt x="1890" y="1250"/>
                  </a:lnTo>
                  <a:lnTo>
                    <a:pt x="1890" y="1267"/>
                  </a:lnTo>
                  <a:lnTo>
                    <a:pt x="1878" y="1276"/>
                  </a:lnTo>
                  <a:lnTo>
                    <a:pt x="1852" y="1271"/>
                  </a:lnTo>
                  <a:lnTo>
                    <a:pt x="1874" y="1288"/>
                  </a:lnTo>
                  <a:lnTo>
                    <a:pt x="1869" y="1304"/>
                  </a:lnTo>
                  <a:lnTo>
                    <a:pt x="1819" y="1321"/>
                  </a:lnTo>
                  <a:lnTo>
                    <a:pt x="1815" y="1309"/>
                  </a:lnTo>
                  <a:lnTo>
                    <a:pt x="1815" y="1292"/>
                  </a:lnTo>
                  <a:lnTo>
                    <a:pt x="1803" y="1288"/>
                  </a:lnTo>
                  <a:lnTo>
                    <a:pt x="1798" y="1292"/>
                  </a:lnTo>
                  <a:lnTo>
                    <a:pt x="1782" y="1292"/>
                  </a:lnTo>
                  <a:lnTo>
                    <a:pt x="1789" y="1309"/>
                  </a:lnTo>
                  <a:lnTo>
                    <a:pt x="1772" y="1321"/>
                  </a:lnTo>
                  <a:lnTo>
                    <a:pt x="1744" y="1304"/>
                  </a:lnTo>
                  <a:lnTo>
                    <a:pt x="1734" y="1292"/>
                  </a:lnTo>
                  <a:lnTo>
                    <a:pt x="1734" y="1276"/>
                  </a:lnTo>
                  <a:lnTo>
                    <a:pt x="1706" y="1292"/>
                  </a:lnTo>
                  <a:lnTo>
                    <a:pt x="1637" y="1276"/>
                  </a:lnTo>
                  <a:lnTo>
                    <a:pt x="1663" y="1238"/>
                  </a:lnTo>
                  <a:lnTo>
                    <a:pt x="1751" y="1238"/>
                  </a:lnTo>
                  <a:lnTo>
                    <a:pt x="1826" y="1210"/>
                  </a:lnTo>
                  <a:lnTo>
                    <a:pt x="1730" y="1233"/>
                  </a:lnTo>
                  <a:lnTo>
                    <a:pt x="1663" y="1222"/>
                  </a:lnTo>
                  <a:lnTo>
                    <a:pt x="1696" y="1198"/>
                  </a:lnTo>
                  <a:lnTo>
                    <a:pt x="1836" y="1181"/>
                  </a:lnTo>
                  <a:lnTo>
                    <a:pt x="1706" y="1177"/>
                  </a:lnTo>
                  <a:lnTo>
                    <a:pt x="1718" y="1165"/>
                  </a:lnTo>
                  <a:lnTo>
                    <a:pt x="1706" y="1160"/>
                  </a:lnTo>
                  <a:lnTo>
                    <a:pt x="1713" y="1155"/>
                  </a:lnTo>
                  <a:lnTo>
                    <a:pt x="1734" y="1139"/>
                  </a:lnTo>
                  <a:lnTo>
                    <a:pt x="1852" y="1144"/>
                  </a:lnTo>
                  <a:lnTo>
                    <a:pt x="1760" y="1122"/>
                  </a:lnTo>
                  <a:lnTo>
                    <a:pt x="1789" y="1099"/>
                  </a:lnTo>
                  <a:lnTo>
                    <a:pt x="1826" y="1087"/>
                  </a:lnTo>
                  <a:lnTo>
                    <a:pt x="1878" y="1099"/>
                  </a:lnTo>
                  <a:lnTo>
                    <a:pt x="1878" y="1122"/>
                  </a:lnTo>
                  <a:lnTo>
                    <a:pt x="1895" y="1139"/>
                  </a:lnTo>
                  <a:lnTo>
                    <a:pt x="1966" y="1127"/>
                  </a:lnTo>
                  <a:lnTo>
                    <a:pt x="2004" y="1139"/>
                  </a:lnTo>
                  <a:lnTo>
                    <a:pt x="1999" y="1155"/>
                  </a:lnTo>
                  <a:lnTo>
                    <a:pt x="2004" y="1160"/>
                  </a:lnTo>
                  <a:lnTo>
                    <a:pt x="2053" y="1177"/>
                  </a:lnTo>
                  <a:lnTo>
                    <a:pt x="2020" y="1193"/>
                  </a:lnTo>
                  <a:lnTo>
                    <a:pt x="2074" y="1193"/>
                  </a:lnTo>
                  <a:lnTo>
                    <a:pt x="2084" y="1210"/>
                  </a:lnTo>
                  <a:lnTo>
                    <a:pt x="2074" y="1222"/>
                  </a:lnTo>
                  <a:lnTo>
                    <a:pt x="2091" y="1238"/>
                  </a:lnTo>
                  <a:lnTo>
                    <a:pt x="2143" y="1233"/>
                  </a:lnTo>
                  <a:lnTo>
                    <a:pt x="2252" y="1238"/>
                  </a:lnTo>
                  <a:lnTo>
                    <a:pt x="2263" y="1215"/>
                  </a:lnTo>
                  <a:lnTo>
                    <a:pt x="2167" y="1181"/>
                  </a:lnTo>
                  <a:lnTo>
                    <a:pt x="2197" y="1177"/>
                  </a:lnTo>
                  <a:lnTo>
                    <a:pt x="2219" y="1155"/>
                  </a:lnTo>
                  <a:lnTo>
                    <a:pt x="2155" y="1122"/>
                  </a:lnTo>
                  <a:lnTo>
                    <a:pt x="2143" y="1106"/>
                  </a:lnTo>
                  <a:lnTo>
                    <a:pt x="2197" y="1087"/>
                  </a:lnTo>
                  <a:lnTo>
                    <a:pt x="2181" y="1087"/>
                  </a:lnTo>
                  <a:lnTo>
                    <a:pt x="2219" y="1049"/>
                  </a:lnTo>
                  <a:lnTo>
                    <a:pt x="2263" y="1044"/>
                  </a:lnTo>
                  <a:lnTo>
                    <a:pt x="2285" y="1054"/>
                  </a:lnTo>
                  <a:lnTo>
                    <a:pt x="2268" y="1070"/>
                  </a:lnTo>
                  <a:lnTo>
                    <a:pt x="2273" y="1106"/>
                  </a:lnTo>
                  <a:lnTo>
                    <a:pt x="2306" y="1122"/>
                  </a:lnTo>
                  <a:lnTo>
                    <a:pt x="2285" y="1144"/>
                  </a:lnTo>
                  <a:lnTo>
                    <a:pt x="2289" y="1160"/>
                  </a:lnTo>
                  <a:lnTo>
                    <a:pt x="2327" y="1160"/>
                  </a:lnTo>
                  <a:lnTo>
                    <a:pt x="2344" y="1165"/>
                  </a:lnTo>
                  <a:lnTo>
                    <a:pt x="2318" y="1198"/>
                  </a:lnTo>
                  <a:lnTo>
                    <a:pt x="2339" y="1181"/>
                  </a:lnTo>
                  <a:lnTo>
                    <a:pt x="2377" y="1181"/>
                  </a:lnTo>
                  <a:lnTo>
                    <a:pt x="2393" y="1210"/>
                  </a:lnTo>
                  <a:lnTo>
                    <a:pt x="2415" y="1198"/>
                  </a:lnTo>
                  <a:lnTo>
                    <a:pt x="2393" y="1193"/>
                  </a:lnTo>
                  <a:lnTo>
                    <a:pt x="2393" y="1165"/>
                  </a:lnTo>
                  <a:lnTo>
                    <a:pt x="2431" y="1160"/>
                  </a:lnTo>
                  <a:lnTo>
                    <a:pt x="2483" y="1177"/>
                  </a:lnTo>
                  <a:lnTo>
                    <a:pt x="2490" y="1193"/>
                  </a:lnTo>
                  <a:lnTo>
                    <a:pt x="2500" y="1215"/>
                  </a:lnTo>
                  <a:lnTo>
                    <a:pt x="2478" y="1238"/>
                  </a:lnTo>
                  <a:lnTo>
                    <a:pt x="2483" y="1250"/>
                  </a:lnTo>
                  <a:lnTo>
                    <a:pt x="2478" y="1267"/>
                  </a:lnTo>
                  <a:lnTo>
                    <a:pt x="2462" y="1276"/>
                  </a:lnTo>
                  <a:lnTo>
                    <a:pt x="2462" y="1292"/>
                  </a:lnTo>
                  <a:lnTo>
                    <a:pt x="2452" y="1292"/>
                  </a:lnTo>
                  <a:lnTo>
                    <a:pt x="2452" y="1304"/>
                  </a:lnTo>
                  <a:lnTo>
                    <a:pt x="2393" y="1326"/>
                  </a:lnTo>
                  <a:lnTo>
                    <a:pt x="2339" y="1321"/>
                  </a:lnTo>
                  <a:lnTo>
                    <a:pt x="2327" y="1292"/>
                  </a:lnTo>
                  <a:lnTo>
                    <a:pt x="2322" y="1321"/>
                  </a:lnTo>
                  <a:lnTo>
                    <a:pt x="2289" y="1326"/>
                  </a:lnTo>
                  <a:lnTo>
                    <a:pt x="2263" y="1309"/>
                  </a:lnTo>
                  <a:lnTo>
                    <a:pt x="2285" y="1321"/>
                  </a:lnTo>
                  <a:lnTo>
                    <a:pt x="2263" y="1304"/>
                  </a:lnTo>
                  <a:lnTo>
                    <a:pt x="2209" y="1333"/>
                  </a:lnTo>
                  <a:lnTo>
                    <a:pt x="2155" y="1333"/>
                  </a:lnTo>
                  <a:lnTo>
                    <a:pt x="2122" y="1359"/>
                  </a:lnTo>
                  <a:lnTo>
                    <a:pt x="2058" y="1382"/>
                  </a:lnTo>
                  <a:lnTo>
                    <a:pt x="1982" y="1399"/>
                  </a:lnTo>
                  <a:lnTo>
                    <a:pt x="1911" y="1387"/>
                  </a:lnTo>
                  <a:lnTo>
                    <a:pt x="1869" y="1359"/>
                  </a:lnTo>
                  <a:lnTo>
                    <a:pt x="1978" y="1321"/>
                  </a:lnTo>
                  <a:lnTo>
                    <a:pt x="2058" y="1309"/>
                  </a:lnTo>
                  <a:lnTo>
                    <a:pt x="2058" y="1309"/>
                  </a:lnTo>
                  <a:lnTo>
                    <a:pt x="2058" y="1309"/>
                  </a:lnTo>
                  <a:close/>
                  <a:moveTo>
                    <a:pt x="3579" y="1099"/>
                  </a:moveTo>
                  <a:lnTo>
                    <a:pt x="3532" y="1054"/>
                  </a:lnTo>
                  <a:lnTo>
                    <a:pt x="3579" y="1044"/>
                  </a:lnTo>
                  <a:lnTo>
                    <a:pt x="3600" y="1054"/>
                  </a:lnTo>
                  <a:lnTo>
                    <a:pt x="3584" y="1070"/>
                  </a:lnTo>
                  <a:lnTo>
                    <a:pt x="3600" y="1087"/>
                  </a:lnTo>
                  <a:lnTo>
                    <a:pt x="3579" y="1099"/>
                  </a:lnTo>
                  <a:lnTo>
                    <a:pt x="3579" y="1099"/>
                  </a:lnTo>
                  <a:lnTo>
                    <a:pt x="3579" y="1099"/>
                  </a:lnTo>
                  <a:close/>
                  <a:moveTo>
                    <a:pt x="2856" y="1054"/>
                  </a:moveTo>
                  <a:lnTo>
                    <a:pt x="2785" y="1082"/>
                  </a:lnTo>
                  <a:lnTo>
                    <a:pt x="2759" y="1082"/>
                  </a:lnTo>
                  <a:lnTo>
                    <a:pt x="2823" y="1054"/>
                  </a:lnTo>
                  <a:lnTo>
                    <a:pt x="2856" y="1054"/>
                  </a:lnTo>
                  <a:lnTo>
                    <a:pt x="2856" y="1054"/>
                  </a:lnTo>
                  <a:lnTo>
                    <a:pt x="2856" y="1054"/>
                  </a:lnTo>
                  <a:close/>
                  <a:moveTo>
                    <a:pt x="1404" y="1054"/>
                  </a:moveTo>
                  <a:lnTo>
                    <a:pt x="1411" y="1054"/>
                  </a:lnTo>
                  <a:lnTo>
                    <a:pt x="1389" y="1054"/>
                  </a:lnTo>
                  <a:lnTo>
                    <a:pt x="1404" y="1054"/>
                  </a:lnTo>
                  <a:lnTo>
                    <a:pt x="1404" y="1054"/>
                  </a:lnTo>
                  <a:lnTo>
                    <a:pt x="1404" y="1054"/>
                  </a:lnTo>
                  <a:close/>
                  <a:moveTo>
                    <a:pt x="2911" y="1054"/>
                  </a:moveTo>
                  <a:lnTo>
                    <a:pt x="2915" y="1066"/>
                  </a:lnTo>
                  <a:lnTo>
                    <a:pt x="2868" y="1054"/>
                  </a:lnTo>
                  <a:lnTo>
                    <a:pt x="2911" y="1054"/>
                  </a:lnTo>
                  <a:lnTo>
                    <a:pt x="2911" y="1054"/>
                  </a:lnTo>
                  <a:lnTo>
                    <a:pt x="2911" y="1054"/>
                  </a:lnTo>
                  <a:close/>
                  <a:moveTo>
                    <a:pt x="2899" y="1155"/>
                  </a:moveTo>
                  <a:lnTo>
                    <a:pt x="2915" y="1144"/>
                  </a:lnTo>
                  <a:lnTo>
                    <a:pt x="2844" y="1139"/>
                  </a:lnTo>
                  <a:lnTo>
                    <a:pt x="2840" y="1127"/>
                  </a:lnTo>
                  <a:lnTo>
                    <a:pt x="2882" y="1122"/>
                  </a:lnTo>
                  <a:lnTo>
                    <a:pt x="2830" y="1111"/>
                  </a:lnTo>
                  <a:lnTo>
                    <a:pt x="2807" y="1087"/>
                  </a:lnTo>
                  <a:lnTo>
                    <a:pt x="2856" y="1070"/>
                  </a:lnTo>
                  <a:lnTo>
                    <a:pt x="2899" y="1070"/>
                  </a:lnTo>
                  <a:lnTo>
                    <a:pt x="2937" y="1106"/>
                  </a:lnTo>
                  <a:lnTo>
                    <a:pt x="2937" y="1099"/>
                  </a:lnTo>
                  <a:lnTo>
                    <a:pt x="2953" y="1106"/>
                  </a:lnTo>
                  <a:lnTo>
                    <a:pt x="2948" y="1087"/>
                  </a:lnTo>
                  <a:lnTo>
                    <a:pt x="2948" y="1070"/>
                  </a:lnTo>
                  <a:lnTo>
                    <a:pt x="2986" y="1070"/>
                  </a:lnTo>
                  <a:lnTo>
                    <a:pt x="2953" y="1066"/>
                  </a:lnTo>
                  <a:lnTo>
                    <a:pt x="2970" y="1066"/>
                  </a:lnTo>
                  <a:lnTo>
                    <a:pt x="3029" y="1087"/>
                  </a:lnTo>
                  <a:lnTo>
                    <a:pt x="3041" y="1106"/>
                  </a:lnTo>
                  <a:lnTo>
                    <a:pt x="3029" y="1111"/>
                  </a:lnTo>
                  <a:lnTo>
                    <a:pt x="3041" y="1127"/>
                  </a:lnTo>
                  <a:lnTo>
                    <a:pt x="3057" y="1144"/>
                  </a:lnTo>
                  <a:lnTo>
                    <a:pt x="3041" y="1165"/>
                  </a:lnTo>
                  <a:lnTo>
                    <a:pt x="3045" y="1193"/>
                  </a:lnTo>
                  <a:lnTo>
                    <a:pt x="3024" y="1210"/>
                  </a:lnTo>
                  <a:lnTo>
                    <a:pt x="3062" y="1215"/>
                  </a:lnTo>
                  <a:lnTo>
                    <a:pt x="3057" y="1238"/>
                  </a:lnTo>
                  <a:lnTo>
                    <a:pt x="3071" y="1255"/>
                  </a:lnTo>
                  <a:lnTo>
                    <a:pt x="3041" y="1233"/>
                  </a:lnTo>
                  <a:lnTo>
                    <a:pt x="3029" y="1233"/>
                  </a:lnTo>
                  <a:lnTo>
                    <a:pt x="3029" y="1250"/>
                  </a:lnTo>
                  <a:lnTo>
                    <a:pt x="3019" y="1238"/>
                  </a:lnTo>
                  <a:lnTo>
                    <a:pt x="3029" y="1250"/>
                  </a:lnTo>
                  <a:lnTo>
                    <a:pt x="3019" y="1255"/>
                  </a:lnTo>
                  <a:lnTo>
                    <a:pt x="3024" y="1255"/>
                  </a:lnTo>
                  <a:lnTo>
                    <a:pt x="3007" y="1255"/>
                  </a:lnTo>
                  <a:lnTo>
                    <a:pt x="3007" y="1271"/>
                  </a:lnTo>
                  <a:lnTo>
                    <a:pt x="3045" y="1288"/>
                  </a:lnTo>
                  <a:lnTo>
                    <a:pt x="3024" y="1292"/>
                  </a:lnTo>
                  <a:lnTo>
                    <a:pt x="3019" y="1276"/>
                  </a:lnTo>
                  <a:lnTo>
                    <a:pt x="3007" y="1288"/>
                  </a:lnTo>
                  <a:lnTo>
                    <a:pt x="3019" y="1292"/>
                  </a:lnTo>
                  <a:lnTo>
                    <a:pt x="3019" y="1309"/>
                  </a:lnTo>
                  <a:lnTo>
                    <a:pt x="2915" y="1309"/>
                  </a:lnTo>
                  <a:lnTo>
                    <a:pt x="2920" y="1292"/>
                  </a:lnTo>
                  <a:lnTo>
                    <a:pt x="2911" y="1309"/>
                  </a:lnTo>
                  <a:lnTo>
                    <a:pt x="2915" y="1309"/>
                  </a:lnTo>
                  <a:lnTo>
                    <a:pt x="2868" y="1309"/>
                  </a:lnTo>
                  <a:lnTo>
                    <a:pt x="2844" y="1309"/>
                  </a:lnTo>
                  <a:lnTo>
                    <a:pt x="2844" y="1288"/>
                  </a:lnTo>
                  <a:lnTo>
                    <a:pt x="2840" y="1288"/>
                  </a:lnTo>
                  <a:lnTo>
                    <a:pt x="2878" y="1276"/>
                  </a:lnTo>
                  <a:lnTo>
                    <a:pt x="2823" y="1267"/>
                  </a:lnTo>
                  <a:lnTo>
                    <a:pt x="2844" y="1255"/>
                  </a:lnTo>
                  <a:lnTo>
                    <a:pt x="2830" y="1250"/>
                  </a:lnTo>
                  <a:lnTo>
                    <a:pt x="2878" y="1250"/>
                  </a:lnTo>
                  <a:lnTo>
                    <a:pt x="2856" y="1238"/>
                  </a:lnTo>
                  <a:lnTo>
                    <a:pt x="2899" y="1222"/>
                  </a:lnTo>
                  <a:lnTo>
                    <a:pt x="2882" y="1222"/>
                  </a:lnTo>
                  <a:lnTo>
                    <a:pt x="2894" y="1215"/>
                  </a:lnTo>
                  <a:lnTo>
                    <a:pt x="2953" y="1210"/>
                  </a:lnTo>
                  <a:lnTo>
                    <a:pt x="2700" y="1238"/>
                  </a:lnTo>
                  <a:lnTo>
                    <a:pt x="2679" y="1222"/>
                  </a:lnTo>
                  <a:lnTo>
                    <a:pt x="2700" y="1210"/>
                  </a:lnTo>
                  <a:lnTo>
                    <a:pt x="2738" y="1210"/>
                  </a:lnTo>
                  <a:lnTo>
                    <a:pt x="2731" y="1198"/>
                  </a:lnTo>
                  <a:lnTo>
                    <a:pt x="2705" y="1198"/>
                  </a:lnTo>
                  <a:lnTo>
                    <a:pt x="2722" y="1181"/>
                  </a:lnTo>
                  <a:lnTo>
                    <a:pt x="2793" y="1198"/>
                  </a:lnTo>
                  <a:lnTo>
                    <a:pt x="2785" y="1198"/>
                  </a:lnTo>
                  <a:lnTo>
                    <a:pt x="2785" y="1193"/>
                  </a:lnTo>
                  <a:lnTo>
                    <a:pt x="2769" y="1177"/>
                  </a:lnTo>
                  <a:lnTo>
                    <a:pt x="2785" y="1160"/>
                  </a:lnTo>
                  <a:lnTo>
                    <a:pt x="2759" y="1165"/>
                  </a:lnTo>
                  <a:lnTo>
                    <a:pt x="2748" y="1155"/>
                  </a:lnTo>
                  <a:lnTo>
                    <a:pt x="2776" y="1127"/>
                  </a:lnTo>
                  <a:lnTo>
                    <a:pt x="2722" y="1127"/>
                  </a:lnTo>
                  <a:lnTo>
                    <a:pt x="2731" y="1127"/>
                  </a:lnTo>
                  <a:lnTo>
                    <a:pt x="2731" y="1106"/>
                  </a:lnTo>
                  <a:lnTo>
                    <a:pt x="2748" y="1099"/>
                  </a:lnTo>
                  <a:lnTo>
                    <a:pt x="2785" y="1106"/>
                  </a:lnTo>
                  <a:lnTo>
                    <a:pt x="2878" y="1181"/>
                  </a:lnTo>
                  <a:lnTo>
                    <a:pt x="2915" y="1165"/>
                  </a:lnTo>
                  <a:lnTo>
                    <a:pt x="2882" y="1177"/>
                  </a:lnTo>
                  <a:lnTo>
                    <a:pt x="2861" y="1144"/>
                  </a:lnTo>
                  <a:lnTo>
                    <a:pt x="2899" y="1155"/>
                  </a:lnTo>
                  <a:lnTo>
                    <a:pt x="2899" y="1155"/>
                  </a:lnTo>
                  <a:lnTo>
                    <a:pt x="2899" y="1155"/>
                  </a:lnTo>
                  <a:close/>
                  <a:moveTo>
                    <a:pt x="2587" y="1066"/>
                  </a:moveTo>
                  <a:lnTo>
                    <a:pt x="2596" y="1070"/>
                  </a:lnTo>
                  <a:lnTo>
                    <a:pt x="2592" y="1082"/>
                  </a:lnTo>
                  <a:lnTo>
                    <a:pt x="2608" y="1070"/>
                  </a:lnTo>
                  <a:lnTo>
                    <a:pt x="2667" y="1106"/>
                  </a:lnTo>
                  <a:lnTo>
                    <a:pt x="2630" y="1122"/>
                  </a:lnTo>
                  <a:lnTo>
                    <a:pt x="2570" y="1122"/>
                  </a:lnTo>
                  <a:lnTo>
                    <a:pt x="2575" y="1111"/>
                  </a:lnTo>
                  <a:lnTo>
                    <a:pt x="2570" y="1099"/>
                  </a:lnTo>
                  <a:lnTo>
                    <a:pt x="2542" y="1082"/>
                  </a:lnTo>
                  <a:lnTo>
                    <a:pt x="2587" y="1066"/>
                  </a:lnTo>
                  <a:lnTo>
                    <a:pt x="2587" y="1066"/>
                  </a:lnTo>
                  <a:lnTo>
                    <a:pt x="2587" y="1066"/>
                  </a:lnTo>
                  <a:close/>
                  <a:moveTo>
                    <a:pt x="3990" y="1087"/>
                  </a:moveTo>
                  <a:lnTo>
                    <a:pt x="4000" y="1099"/>
                  </a:lnTo>
                  <a:lnTo>
                    <a:pt x="3990" y="1099"/>
                  </a:lnTo>
                  <a:lnTo>
                    <a:pt x="3990" y="1087"/>
                  </a:lnTo>
                  <a:lnTo>
                    <a:pt x="3990" y="1087"/>
                  </a:lnTo>
                  <a:lnTo>
                    <a:pt x="3990" y="1087"/>
                  </a:lnTo>
                  <a:close/>
                  <a:moveTo>
                    <a:pt x="3612" y="1099"/>
                  </a:moveTo>
                  <a:lnTo>
                    <a:pt x="3617" y="1099"/>
                  </a:lnTo>
                  <a:lnTo>
                    <a:pt x="3600" y="1099"/>
                  </a:lnTo>
                  <a:lnTo>
                    <a:pt x="3612" y="1099"/>
                  </a:lnTo>
                  <a:lnTo>
                    <a:pt x="3612" y="1099"/>
                  </a:lnTo>
                  <a:lnTo>
                    <a:pt x="3612" y="1099"/>
                  </a:lnTo>
                  <a:close/>
                  <a:moveTo>
                    <a:pt x="2693" y="1122"/>
                  </a:moveTo>
                  <a:lnTo>
                    <a:pt x="2700" y="1139"/>
                  </a:lnTo>
                  <a:lnTo>
                    <a:pt x="2693" y="1144"/>
                  </a:lnTo>
                  <a:lnTo>
                    <a:pt x="2646" y="1160"/>
                  </a:lnTo>
                  <a:lnTo>
                    <a:pt x="2596" y="1160"/>
                  </a:lnTo>
                  <a:lnTo>
                    <a:pt x="2608" y="1160"/>
                  </a:lnTo>
                  <a:lnTo>
                    <a:pt x="2559" y="1144"/>
                  </a:lnTo>
                  <a:lnTo>
                    <a:pt x="2575" y="1139"/>
                  </a:lnTo>
                  <a:lnTo>
                    <a:pt x="2693" y="1122"/>
                  </a:lnTo>
                  <a:lnTo>
                    <a:pt x="2693" y="1122"/>
                  </a:lnTo>
                  <a:lnTo>
                    <a:pt x="2693" y="1122"/>
                  </a:lnTo>
                  <a:close/>
                  <a:moveTo>
                    <a:pt x="3239" y="1144"/>
                  </a:moveTo>
                  <a:lnTo>
                    <a:pt x="3234" y="1160"/>
                  </a:lnTo>
                  <a:lnTo>
                    <a:pt x="3218" y="1155"/>
                  </a:lnTo>
                  <a:lnTo>
                    <a:pt x="3239" y="1144"/>
                  </a:lnTo>
                  <a:lnTo>
                    <a:pt x="3239" y="1144"/>
                  </a:lnTo>
                  <a:lnTo>
                    <a:pt x="3239" y="1144"/>
                  </a:lnTo>
                  <a:close/>
                  <a:moveTo>
                    <a:pt x="4356" y="1155"/>
                  </a:moveTo>
                  <a:lnTo>
                    <a:pt x="4368" y="1155"/>
                  </a:lnTo>
                  <a:lnTo>
                    <a:pt x="4335" y="1177"/>
                  </a:lnTo>
                  <a:lnTo>
                    <a:pt x="4356" y="1193"/>
                  </a:lnTo>
                  <a:lnTo>
                    <a:pt x="4323" y="1181"/>
                  </a:lnTo>
                  <a:lnTo>
                    <a:pt x="4318" y="1193"/>
                  </a:lnTo>
                  <a:lnTo>
                    <a:pt x="4297" y="1181"/>
                  </a:lnTo>
                  <a:lnTo>
                    <a:pt x="4356" y="1155"/>
                  </a:lnTo>
                  <a:lnTo>
                    <a:pt x="4356" y="1155"/>
                  </a:lnTo>
                  <a:lnTo>
                    <a:pt x="4356" y="1155"/>
                  </a:lnTo>
                  <a:close/>
                  <a:moveTo>
                    <a:pt x="1642" y="1155"/>
                  </a:moveTo>
                  <a:lnTo>
                    <a:pt x="1654" y="1155"/>
                  </a:lnTo>
                  <a:lnTo>
                    <a:pt x="1588" y="1233"/>
                  </a:lnTo>
                  <a:lnTo>
                    <a:pt x="1571" y="1238"/>
                  </a:lnTo>
                  <a:lnTo>
                    <a:pt x="1512" y="1222"/>
                  </a:lnTo>
                  <a:lnTo>
                    <a:pt x="1571" y="1177"/>
                  </a:lnTo>
                  <a:lnTo>
                    <a:pt x="1642" y="1155"/>
                  </a:lnTo>
                  <a:lnTo>
                    <a:pt x="1642" y="1155"/>
                  </a:lnTo>
                  <a:lnTo>
                    <a:pt x="1642" y="1155"/>
                  </a:lnTo>
                  <a:close/>
                  <a:moveTo>
                    <a:pt x="2717" y="1155"/>
                  </a:moveTo>
                  <a:lnTo>
                    <a:pt x="2705" y="1165"/>
                  </a:lnTo>
                  <a:lnTo>
                    <a:pt x="2646" y="1177"/>
                  </a:lnTo>
                  <a:lnTo>
                    <a:pt x="2596" y="1177"/>
                  </a:lnTo>
                  <a:lnTo>
                    <a:pt x="2717" y="1155"/>
                  </a:lnTo>
                  <a:lnTo>
                    <a:pt x="2717" y="1155"/>
                  </a:lnTo>
                  <a:lnTo>
                    <a:pt x="2717" y="1155"/>
                  </a:lnTo>
                  <a:close/>
                  <a:moveTo>
                    <a:pt x="1276" y="1160"/>
                  </a:moveTo>
                  <a:lnTo>
                    <a:pt x="1285" y="1160"/>
                  </a:lnTo>
                  <a:lnTo>
                    <a:pt x="1276" y="1165"/>
                  </a:lnTo>
                  <a:lnTo>
                    <a:pt x="1276" y="1160"/>
                  </a:lnTo>
                  <a:lnTo>
                    <a:pt x="1276" y="1160"/>
                  </a:lnTo>
                  <a:lnTo>
                    <a:pt x="1276" y="1160"/>
                  </a:lnTo>
                  <a:close/>
                  <a:moveTo>
                    <a:pt x="2738" y="1177"/>
                  </a:moveTo>
                  <a:lnTo>
                    <a:pt x="2693" y="1198"/>
                  </a:lnTo>
                  <a:lnTo>
                    <a:pt x="2641" y="1198"/>
                  </a:lnTo>
                  <a:lnTo>
                    <a:pt x="2684" y="1177"/>
                  </a:lnTo>
                  <a:lnTo>
                    <a:pt x="2738" y="1177"/>
                  </a:lnTo>
                  <a:lnTo>
                    <a:pt x="2738" y="1177"/>
                  </a:lnTo>
                  <a:lnTo>
                    <a:pt x="2738" y="1177"/>
                  </a:lnTo>
                  <a:close/>
                  <a:moveTo>
                    <a:pt x="3260" y="1165"/>
                  </a:moveTo>
                  <a:lnTo>
                    <a:pt x="3277" y="1198"/>
                  </a:lnTo>
                  <a:lnTo>
                    <a:pt x="3244" y="1198"/>
                  </a:lnTo>
                  <a:lnTo>
                    <a:pt x="3234" y="1177"/>
                  </a:lnTo>
                  <a:lnTo>
                    <a:pt x="3260" y="1165"/>
                  </a:lnTo>
                  <a:lnTo>
                    <a:pt x="3260" y="1165"/>
                  </a:lnTo>
                  <a:lnTo>
                    <a:pt x="3260" y="1165"/>
                  </a:lnTo>
                  <a:close/>
                  <a:moveTo>
                    <a:pt x="3170" y="1181"/>
                  </a:moveTo>
                  <a:lnTo>
                    <a:pt x="3163" y="1177"/>
                  </a:lnTo>
                  <a:lnTo>
                    <a:pt x="3180" y="1165"/>
                  </a:lnTo>
                  <a:lnTo>
                    <a:pt x="3170" y="1181"/>
                  </a:lnTo>
                  <a:lnTo>
                    <a:pt x="3170" y="1181"/>
                  </a:lnTo>
                  <a:lnTo>
                    <a:pt x="3170" y="1181"/>
                  </a:lnTo>
                  <a:close/>
                  <a:moveTo>
                    <a:pt x="1411" y="1177"/>
                  </a:moveTo>
                  <a:lnTo>
                    <a:pt x="1404" y="1210"/>
                  </a:lnTo>
                  <a:lnTo>
                    <a:pt x="1382" y="1198"/>
                  </a:lnTo>
                  <a:lnTo>
                    <a:pt x="1404" y="1193"/>
                  </a:lnTo>
                  <a:lnTo>
                    <a:pt x="1404" y="1177"/>
                  </a:lnTo>
                  <a:lnTo>
                    <a:pt x="1411" y="1177"/>
                  </a:lnTo>
                  <a:lnTo>
                    <a:pt x="1411" y="1177"/>
                  </a:lnTo>
                  <a:lnTo>
                    <a:pt x="1411" y="1177"/>
                  </a:lnTo>
                  <a:close/>
                  <a:moveTo>
                    <a:pt x="1285" y="1177"/>
                  </a:moveTo>
                  <a:lnTo>
                    <a:pt x="1314" y="1181"/>
                  </a:lnTo>
                  <a:lnTo>
                    <a:pt x="1285" y="1177"/>
                  </a:lnTo>
                  <a:lnTo>
                    <a:pt x="1285" y="1177"/>
                  </a:lnTo>
                  <a:lnTo>
                    <a:pt x="1285" y="1177"/>
                  </a:lnTo>
                  <a:close/>
                  <a:moveTo>
                    <a:pt x="3154" y="1222"/>
                  </a:moveTo>
                  <a:lnTo>
                    <a:pt x="3163" y="1233"/>
                  </a:lnTo>
                  <a:lnTo>
                    <a:pt x="3137" y="1250"/>
                  </a:lnTo>
                  <a:lnTo>
                    <a:pt x="3126" y="1233"/>
                  </a:lnTo>
                  <a:lnTo>
                    <a:pt x="3116" y="1238"/>
                  </a:lnTo>
                  <a:lnTo>
                    <a:pt x="3126" y="1250"/>
                  </a:lnTo>
                  <a:lnTo>
                    <a:pt x="3100" y="1267"/>
                  </a:lnTo>
                  <a:lnTo>
                    <a:pt x="3083" y="1238"/>
                  </a:lnTo>
                  <a:lnTo>
                    <a:pt x="3133" y="1215"/>
                  </a:lnTo>
                  <a:lnTo>
                    <a:pt x="3154" y="1222"/>
                  </a:lnTo>
                  <a:lnTo>
                    <a:pt x="3154" y="1222"/>
                  </a:lnTo>
                  <a:lnTo>
                    <a:pt x="3154" y="1222"/>
                  </a:lnTo>
                  <a:close/>
                  <a:moveTo>
                    <a:pt x="3154" y="1326"/>
                  </a:moveTo>
                  <a:lnTo>
                    <a:pt x="3147" y="1321"/>
                  </a:lnTo>
                  <a:lnTo>
                    <a:pt x="3154" y="1309"/>
                  </a:lnTo>
                  <a:lnTo>
                    <a:pt x="3133" y="1326"/>
                  </a:lnTo>
                  <a:lnTo>
                    <a:pt x="3133" y="1309"/>
                  </a:lnTo>
                  <a:lnTo>
                    <a:pt x="3116" y="1309"/>
                  </a:lnTo>
                  <a:lnTo>
                    <a:pt x="3116" y="1304"/>
                  </a:lnTo>
                  <a:lnTo>
                    <a:pt x="3126" y="1288"/>
                  </a:lnTo>
                  <a:lnTo>
                    <a:pt x="3163" y="1271"/>
                  </a:lnTo>
                  <a:lnTo>
                    <a:pt x="3154" y="1267"/>
                  </a:lnTo>
                  <a:lnTo>
                    <a:pt x="3170" y="1255"/>
                  </a:lnTo>
                  <a:lnTo>
                    <a:pt x="3147" y="1255"/>
                  </a:lnTo>
                  <a:lnTo>
                    <a:pt x="3180" y="1255"/>
                  </a:lnTo>
                  <a:lnTo>
                    <a:pt x="3170" y="1250"/>
                  </a:lnTo>
                  <a:lnTo>
                    <a:pt x="3234" y="1215"/>
                  </a:lnTo>
                  <a:lnTo>
                    <a:pt x="3272" y="1222"/>
                  </a:lnTo>
                  <a:lnTo>
                    <a:pt x="3331" y="1271"/>
                  </a:lnTo>
                  <a:lnTo>
                    <a:pt x="3343" y="1326"/>
                  </a:lnTo>
                  <a:lnTo>
                    <a:pt x="3326" y="1359"/>
                  </a:lnTo>
                  <a:lnTo>
                    <a:pt x="3256" y="1366"/>
                  </a:lnTo>
                  <a:lnTo>
                    <a:pt x="3154" y="1326"/>
                  </a:lnTo>
                  <a:lnTo>
                    <a:pt x="3154" y="1326"/>
                  </a:lnTo>
                  <a:lnTo>
                    <a:pt x="3154" y="1326"/>
                  </a:lnTo>
                  <a:close/>
                  <a:moveTo>
                    <a:pt x="2844" y="1233"/>
                  </a:moveTo>
                  <a:lnTo>
                    <a:pt x="2856" y="1222"/>
                  </a:lnTo>
                  <a:lnTo>
                    <a:pt x="2802" y="1233"/>
                  </a:lnTo>
                  <a:lnTo>
                    <a:pt x="2861" y="1222"/>
                  </a:lnTo>
                  <a:lnTo>
                    <a:pt x="2844" y="1233"/>
                  </a:lnTo>
                  <a:lnTo>
                    <a:pt x="2844" y="1233"/>
                  </a:lnTo>
                  <a:lnTo>
                    <a:pt x="2844" y="1233"/>
                  </a:lnTo>
                  <a:close/>
                  <a:moveTo>
                    <a:pt x="2587" y="1250"/>
                  </a:moveTo>
                  <a:lnTo>
                    <a:pt x="2608" y="1267"/>
                  </a:lnTo>
                  <a:lnTo>
                    <a:pt x="2625" y="1288"/>
                  </a:lnTo>
                  <a:lnTo>
                    <a:pt x="2575" y="1309"/>
                  </a:lnTo>
                  <a:lnTo>
                    <a:pt x="2537" y="1292"/>
                  </a:lnTo>
                  <a:lnTo>
                    <a:pt x="2542" y="1267"/>
                  </a:lnTo>
                  <a:lnTo>
                    <a:pt x="2587" y="1250"/>
                  </a:lnTo>
                  <a:lnTo>
                    <a:pt x="2587" y="1250"/>
                  </a:lnTo>
                  <a:lnTo>
                    <a:pt x="2587" y="1250"/>
                  </a:lnTo>
                  <a:close/>
                  <a:moveTo>
                    <a:pt x="3071" y="1267"/>
                  </a:moveTo>
                  <a:lnTo>
                    <a:pt x="3078" y="1276"/>
                  </a:lnTo>
                  <a:lnTo>
                    <a:pt x="3071" y="1267"/>
                  </a:lnTo>
                  <a:lnTo>
                    <a:pt x="3071" y="1267"/>
                  </a:lnTo>
                  <a:lnTo>
                    <a:pt x="3071" y="1267"/>
                  </a:lnTo>
                  <a:close/>
                  <a:moveTo>
                    <a:pt x="3185" y="1366"/>
                  </a:moveTo>
                  <a:lnTo>
                    <a:pt x="3208" y="1382"/>
                  </a:lnTo>
                  <a:lnTo>
                    <a:pt x="3163" y="1378"/>
                  </a:lnTo>
                  <a:lnTo>
                    <a:pt x="3185" y="1366"/>
                  </a:lnTo>
                  <a:lnTo>
                    <a:pt x="3185" y="1366"/>
                  </a:lnTo>
                  <a:lnTo>
                    <a:pt x="3185" y="1366"/>
                  </a:lnTo>
                  <a:close/>
                  <a:moveTo>
                    <a:pt x="3062" y="1366"/>
                  </a:moveTo>
                  <a:lnTo>
                    <a:pt x="3071" y="1378"/>
                  </a:lnTo>
                  <a:lnTo>
                    <a:pt x="3045" y="1387"/>
                  </a:lnTo>
                  <a:lnTo>
                    <a:pt x="3029" y="1382"/>
                  </a:lnTo>
                  <a:lnTo>
                    <a:pt x="3062" y="1366"/>
                  </a:lnTo>
                  <a:lnTo>
                    <a:pt x="3062" y="1366"/>
                  </a:lnTo>
                  <a:lnTo>
                    <a:pt x="3062" y="1366"/>
                  </a:lnTo>
                  <a:close/>
                  <a:moveTo>
                    <a:pt x="1205" y="1493"/>
                  </a:moveTo>
                  <a:lnTo>
                    <a:pt x="1210" y="1486"/>
                  </a:lnTo>
                  <a:lnTo>
                    <a:pt x="1205" y="1477"/>
                  </a:lnTo>
                  <a:lnTo>
                    <a:pt x="1177" y="1470"/>
                  </a:lnTo>
                  <a:lnTo>
                    <a:pt x="1167" y="1437"/>
                  </a:lnTo>
                  <a:lnTo>
                    <a:pt x="1139" y="1404"/>
                  </a:lnTo>
                  <a:lnTo>
                    <a:pt x="1366" y="1378"/>
                  </a:lnTo>
                  <a:lnTo>
                    <a:pt x="1503" y="1420"/>
                  </a:lnTo>
                  <a:lnTo>
                    <a:pt x="1491" y="1444"/>
                  </a:lnTo>
                  <a:lnTo>
                    <a:pt x="1491" y="1453"/>
                  </a:lnTo>
                  <a:lnTo>
                    <a:pt x="1512" y="1420"/>
                  </a:lnTo>
                  <a:lnTo>
                    <a:pt x="1533" y="1420"/>
                  </a:lnTo>
                  <a:lnTo>
                    <a:pt x="1545" y="1437"/>
                  </a:lnTo>
                  <a:lnTo>
                    <a:pt x="1533" y="1453"/>
                  </a:lnTo>
                  <a:lnTo>
                    <a:pt x="1545" y="1453"/>
                  </a:lnTo>
                  <a:lnTo>
                    <a:pt x="1555" y="1437"/>
                  </a:lnTo>
                  <a:lnTo>
                    <a:pt x="1550" y="1432"/>
                  </a:lnTo>
                  <a:lnTo>
                    <a:pt x="1567" y="1420"/>
                  </a:lnTo>
                  <a:lnTo>
                    <a:pt x="1654" y="1420"/>
                  </a:lnTo>
                  <a:lnTo>
                    <a:pt x="1782" y="1498"/>
                  </a:lnTo>
                  <a:lnTo>
                    <a:pt x="1803" y="1526"/>
                  </a:lnTo>
                  <a:lnTo>
                    <a:pt x="1533" y="1642"/>
                  </a:lnTo>
                  <a:lnTo>
                    <a:pt x="1517" y="1682"/>
                  </a:lnTo>
                  <a:lnTo>
                    <a:pt x="1491" y="1699"/>
                  </a:lnTo>
                  <a:lnTo>
                    <a:pt x="1458" y="1692"/>
                  </a:lnTo>
                  <a:lnTo>
                    <a:pt x="1465" y="1708"/>
                  </a:lnTo>
                  <a:lnTo>
                    <a:pt x="1441" y="1737"/>
                  </a:lnTo>
                  <a:lnTo>
                    <a:pt x="1448" y="1770"/>
                  </a:lnTo>
                  <a:lnTo>
                    <a:pt x="1437" y="1793"/>
                  </a:lnTo>
                  <a:lnTo>
                    <a:pt x="1373" y="1810"/>
                  </a:lnTo>
                  <a:lnTo>
                    <a:pt x="1352" y="1803"/>
                  </a:lnTo>
                  <a:lnTo>
                    <a:pt x="1281" y="1848"/>
                  </a:lnTo>
                  <a:lnTo>
                    <a:pt x="1243" y="1843"/>
                  </a:lnTo>
                  <a:lnTo>
                    <a:pt x="1193" y="1770"/>
                  </a:lnTo>
                  <a:lnTo>
                    <a:pt x="1101" y="1737"/>
                  </a:lnTo>
                  <a:lnTo>
                    <a:pt x="1125" y="1732"/>
                  </a:lnTo>
                  <a:lnTo>
                    <a:pt x="1059" y="1732"/>
                  </a:lnTo>
                  <a:lnTo>
                    <a:pt x="1070" y="1732"/>
                  </a:lnTo>
                  <a:lnTo>
                    <a:pt x="1070" y="1708"/>
                  </a:lnTo>
                  <a:lnTo>
                    <a:pt x="1096" y="1675"/>
                  </a:lnTo>
                  <a:lnTo>
                    <a:pt x="1118" y="1654"/>
                  </a:lnTo>
                  <a:lnTo>
                    <a:pt x="1125" y="1637"/>
                  </a:lnTo>
                  <a:lnTo>
                    <a:pt x="1118" y="1621"/>
                  </a:lnTo>
                  <a:lnTo>
                    <a:pt x="1156" y="1604"/>
                  </a:lnTo>
                  <a:lnTo>
                    <a:pt x="1134" y="1581"/>
                  </a:lnTo>
                  <a:lnTo>
                    <a:pt x="1167" y="1531"/>
                  </a:lnTo>
                  <a:lnTo>
                    <a:pt x="1189" y="1515"/>
                  </a:lnTo>
                  <a:lnTo>
                    <a:pt x="1189" y="1498"/>
                  </a:lnTo>
                  <a:lnTo>
                    <a:pt x="1205" y="1493"/>
                  </a:lnTo>
                  <a:lnTo>
                    <a:pt x="1205" y="1493"/>
                  </a:lnTo>
                  <a:lnTo>
                    <a:pt x="1205" y="1493"/>
                  </a:lnTo>
                  <a:close/>
                  <a:moveTo>
                    <a:pt x="2974" y="1404"/>
                  </a:moveTo>
                  <a:lnTo>
                    <a:pt x="2953" y="1415"/>
                  </a:lnTo>
                  <a:lnTo>
                    <a:pt x="2974" y="1404"/>
                  </a:lnTo>
                  <a:lnTo>
                    <a:pt x="2974" y="1404"/>
                  </a:lnTo>
                  <a:lnTo>
                    <a:pt x="2974" y="1404"/>
                  </a:lnTo>
                  <a:close/>
                  <a:moveTo>
                    <a:pt x="3494" y="1548"/>
                  </a:moveTo>
                  <a:lnTo>
                    <a:pt x="3449" y="1609"/>
                  </a:lnTo>
                  <a:lnTo>
                    <a:pt x="3423" y="1637"/>
                  </a:lnTo>
                  <a:lnTo>
                    <a:pt x="3343" y="1621"/>
                  </a:lnTo>
                  <a:lnTo>
                    <a:pt x="3277" y="1626"/>
                  </a:lnTo>
                  <a:lnTo>
                    <a:pt x="3277" y="1637"/>
                  </a:lnTo>
                  <a:lnTo>
                    <a:pt x="3310" y="1637"/>
                  </a:lnTo>
                  <a:lnTo>
                    <a:pt x="3310" y="1642"/>
                  </a:lnTo>
                  <a:lnTo>
                    <a:pt x="3326" y="1654"/>
                  </a:lnTo>
                  <a:lnTo>
                    <a:pt x="3331" y="1666"/>
                  </a:lnTo>
                  <a:lnTo>
                    <a:pt x="3289" y="1725"/>
                  </a:lnTo>
                  <a:lnTo>
                    <a:pt x="3293" y="1732"/>
                  </a:lnTo>
                  <a:lnTo>
                    <a:pt x="3218" y="1732"/>
                  </a:lnTo>
                  <a:lnTo>
                    <a:pt x="3218" y="1715"/>
                  </a:lnTo>
                  <a:lnTo>
                    <a:pt x="3244" y="1708"/>
                  </a:lnTo>
                  <a:lnTo>
                    <a:pt x="3218" y="1708"/>
                  </a:lnTo>
                  <a:lnTo>
                    <a:pt x="3218" y="1666"/>
                  </a:lnTo>
                  <a:lnTo>
                    <a:pt x="3201" y="1642"/>
                  </a:lnTo>
                  <a:lnTo>
                    <a:pt x="3185" y="1637"/>
                  </a:lnTo>
                  <a:lnTo>
                    <a:pt x="3180" y="1581"/>
                  </a:lnTo>
                  <a:lnTo>
                    <a:pt x="3185" y="1571"/>
                  </a:lnTo>
                  <a:lnTo>
                    <a:pt x="3180" y="1515"/>
                  </a:lnTo>
                  <a:lnTo>
                    <a:pt x="3185" y="1510"/>
                  </a:lnTo>
                  <a:lnTo>
                    <a:pt x="3180" y="1493"/>
                  </a:lnTo>
                  <a:lnTo>
                    <a:pt x="3192" y="1486"/>
                  </a:lnTo>
                  <a:lnTo>
                    <a:pt x="3256" y="1498"/>
                  </a:lnTo>
                  <a:lnTo>
                    <a:pt x="3222" y="1486"/>
                  </a:lnTo>
                  <a:lnTo>
                    <a:pt x="3234" y="1477"/>
                  </a:lnTo>
                  <a:lnTo>
                    <a:pt x="3218" y="1477"/>
                  </a:lnTo>
                  <a:lnTo>
                    <a:pt x="3201" y="1460"/>
                  </a:lnTo>
                  <a:lnTo>
                    <a:pt x="3272" y="1437"/>
                  </a:lnTo>
                  <a:lnTo>
                    <a:pt x="3348" y="1432"/>
                  </a:lnTo>
                  <a:lnTo>
                    <a:pt x="3395" y="1437"/>
                  </a:lnTo>
                  <a:lnTo>
                    <a:pt x="3418" y="1453"/>
                  </a:lnTo>
                  <a:lnTo>
                    <a:pt x="3418" y="1460"/>
                  </a:lnTo>
                  <a:lnTo>
                    <a:pt x="3470" y="1453"/>
                  </a:lnTo>
                  <a:lnTo>
                    <a:pt x="3563" y="1470"/>
                  </a:lnTo>
                  <a:lnTo>
                    <a:pt x="3494" y="1548"/>
                  </a:lnTo>
                  <a:lnTo>
                    <a:pt x="3494" y="1548"/>
                  </a:lnTo>
                  <a:lnTo>
                    <a:pt x="3494" y="1548"/>
                  </a:lnTo>
                  <a:close/>
                  <a:moveTo>
                    <a:pt x="3041" y="1437"/>
                  </a:moveTo>
                  <a:lnTo>
                    <a:pt x="3029" y="1453"/>
                  </a:lnTo>
                  <a:lnTo>
                    <a:pt x="2991" y="1477"/>
                  </a:lnTo>
                  <a:lnTo>
                    <a:pt x="2948" y="1486"/>
                  </a:lnTo>
                  <a:lnTo>
                    <a:pt x="2915" y="1470"/>
                  </a:lnTo>
                  <a:lnTo>
                    <a:pt x="3041" y="1437"/>
                  </a:lnTo>
                  <a:lnTo>
                    <a:pt x="3041" y="1437"/>
                  </a:lnTo>
                  <a:lnTo>
                    <a:pt x="3041" y="1437"/>
                  </a:lnTo>
                  <a:close/>
                  <a:moveTo>
                    <a:pt x="3579" y="1453"/>
                  </a:moveTo>
                  <a:lnTo>
                    <a:pt x="3558" y="1453"/>
                  </a:lnTo>
                  <a:lnTo>
                    <a:pt x="3584" y="1444"/>
                  </a:lnTo>
                  <a:lnTo>
                    <a:pt x="3579" y="1453"/>
                  </a:lnTo>
                  <a:lnTo>
                    <a:pt x="3579" y="1453"/>
                  </a:lnTo>
                  <a:lnTo>
                    <a:pt x="3579" y="1453"/>
                  </a:lnTo>
                  <a:close/>
                  <a:moveTo>
                    <a:pt x="2807" y="1708"/>
                  </a:moveTo>
                  <a:lnTo>
                    <a:pt x="2793" y="1682"/>
                  </a:lnTo>
                  <a:lnTo>
                    <a:pt x="2755" y="1692"/>
                  </a:lnTo>
                  <a:lnTo>
                    <a:pt x="2738" y="1666"/>
                  </a:lnTo>
                  <a:lnTo>
                    <a:pt x="2693" y="1637"/>
                  </a:lnTo>
                  <a:lnTo>
                    <a:pt x="2684" y="1621"/>
                  </a:lnTo>
                  <a:lnTo>
                    <a:pt x="2700" y="1588"/>
                  </a:lnTo>
                  <a:lnTo>
                    <a:pt x="2722" y="1581"/>
                  </a:lnTo>
                  <a:lnTo>
                    <a:pt x="2769" y="1609"/>
                  </a:lnTo>
                  <a:lnTo>
                    <a:pt x="2785" y="1637"/>
                  </a:lnTo>
                  <a:lnTo>
                    <a:pt x="2844" y="1626"/>
                  </a:lnTo>
                  <a:lnTo>
                    <a:pt x="2856" y="1621"/>
                  </a:lnTo>
                  <a:lnTo>
                    <a:pt x="2840" y="1597"/>
                  </a:lnTo>
                  <a:lnTo>
                    <a:pt x="2844" y="1588"/>
                  </a:lnTo>
                  <a:lnTo>
                    <a:pt x="2856" y="1588"/>
                  </a:lnTo>
                  <a:lnTo>
                    <a:pt x="2844" y="1604"/>
                  </a:lnTo>
                  <a:lnTo>
                    <a:pt x="2856" y="1609"/>
                  </a:lnTo>
                  <a:lnTo>
                    <a:pt x="2878" y="1604"/>
                  </a:lnTo>
                  <a:lnTo>
                    <a:pt x="2861" y="1571"/>
                  </a:lnTo>
                  <a:lnTo>
                    <a:pt x="2844" y="1581"/>
                  </a:lnTo>
                  <a:lnTo>
                    <a:pt x="2840" y="1571"/>
                  </a:lnTo>
                  <a:lnTo>
                    <a:pt x="2844" y="1555"/>
                  </a:lnTo>
                  <a:lnTo>
                    <a:pt x="2878" y="1564"/>
                  </a:lnTo>
                  <a:lnTo>
                    <a:pt x="2894" y="1564"/>
                  </a:lnTo>
                  <a:lnTo>
                    <a:pt x="2844" y="1543"/>
                  </a:lnTo>
                  <a:lnTo>
                    <a:pt x="2840" y="1555"/>
                  </a:lnTo>
                  <a:lnTo>
                    <a:pt x="2814" y="1555"/>
                  </a:lnTo>
                  <a:lnTo>
                    <a:pt x="2759" y="1526"/>
                  </a:lnTo>
                  <a:lnTo>
                    <a:pt x="2814" y="1510"/>
                  </a:lnTo>
                  <a:lnTo>
                    <a:pt x="2844" y="1531"/>
                  </a:lnTo>
                  <a:lnTo>
                    <a:pt x="2830" y="1526"/>
                  </a:lnTo>
                  <a:lnTo>
                    <a:pt x="2840" y="1510"/>
                  </a:lnTo>
                  <a:lnTo>
                    <a:pt x="2802" y="1493"/>
                  </a:lnTo>
                  <a:lnTo>
                    <a:pt x="2807" y="1486"/>
                  </a:lnTo>
                  <a:lnTo>
                    <a:pt x="2840" y="1477"/>
                  </a:lnTo>
                  <a:lnTo>
                    <a:pt x="2868" y="1486"/>
                  </a:lnTo>
                  <a:lnTo>
                    <a:pt x="2882" y="1470"/>
                  </a:lnTo>
                  <a:lnTo>
                    <a:pt x="2856" y="1477"/>
                  </a:lnTo>
                  <a:lnTo>
                    <a:pt x="2878" y="1460"/>
                  </a:lnTo>
                  <a:lnTo>
                    <a:pt x="2932" y="1493"/>
                  </a:lnTo>
                  <a:lnTo>
                    <a:pt x="3003" y="1486"/>
                  </a:lnTo>
                  <a:lnTo>
                    <a:pt x="3029" y="1470"/>
                  </a:lnTo>
                  <a:lnTo>
                    <a:pt x="3071" y="1477"/>
                  </a:lnTo>
                  <a:lnTo>
                    <a:pt x="3095" y="1498"/>
                  </a:lnTo>
                  <a:lnTo>
                    <a:pt x="3071" y="1515"/>
                  </a:lnTo>
                  <a:lnTo>
                    <a:pt x="3041" y="1515"/>
                  </a:lnTo>
                  <a:lnTo>
                    <a:pt x="3041" y="1531"/>
                  </a:lnTo>
                  <a:lnTo>
                    <a:pt x="3071" y="1526"/>
                  </a:lnTo>
                  <a:lnTo>
                    <a:pt x="3078" y="1543"/>
                  </a:lnTo>
                  <a:lnTo>
                    <a:pt x="3029" y="1555"/>
                  </a:lnTo>
                  <a:lnTo>
                    <a:pt x="2986" y="1588"/>
                  </a:lnTo>
                  <a:lnTo>
                    <a:pt x="2986" y="1609"/>
                  </a:lnTo>
                  <a:lnTo>
                    <a:pt x="3019" y="1588"/>
                  </a:lnTo>
                  <a:lnTo>
                    <a:pt x="3062" y="1597"/>
                  </a:lnTo>
                  <a:lnTo>
                    <a:pt x="3071" y="1604"/>
                  </a:lnTo>
                  <a:lnTo>
                    <a:pt x="3071" y="1609"/>
                  </a:lnTo>
                  <a:lnTo>
                    <a:pt x="3083" y="1626"/>
                  </a:lnTo>
                  <a:lnTo>
                    <a:pt x="3071" y="1642"/>
                  </a:lnTo>
                  <a:lnTo>
                    <a:pt x="3116" y="1626"/>
                  </a:lnTo>
                  <a:lnTo>
                    <a:pt x="3137" y="1675"/>
                  </a:lnTo>
                  <a:lnTo>
                    <a:pt x="3095" y="1682"/>
                  </a:lnTo>
                  <a:lnTo>
                    <a:pt x="3116" y="1692"/>
                  </a:lnTo>
                  <a:lnTo>
                    <a:pt x="3126" y="1715"/>
                  </a:lnTo>
                  <a:lnTo>
                    <a:pt x="3095" y="1725"/>
                  </a:lnTo>
                  <a:lnTo>
                    <a:pt x="3126" y="1725"/>
                  </a:lnTo>
                  <a:lnTo>
                    <a:pt x="3126" y="1737"/>
                  </a:lnTo>
                  <a:lnTo>
                    <a:pt x="3100" y="1737"/>
                  </a:lnTo>
                  <a:lnTo>
                    <a:pt x="3126" y="1737"/>
                  </a:lnTo>
                  <a:lnTo>
                    <a:pt x="3116" y="1753"/>
                  </a:lnTo>
                  <a:lnTo>
                    <a:pt x="3100" y="1753"/>
                  </a:lnTo>
                  <a:lnTo>
                    <a:pt x="3057" y="1781"/>
                  </a:lnTo>
                  <a:lnTo>
                    <a:pt x="3007" y="1781"/>
                  </a:lnTo>
                  <a:lnTo>
                    <a:pt x="2991" y="1765"/>
                  </a:lnTo>
                  <a:lnTo>
                    <a:pt x="3003" y="1748"/>
                  </a:lnTo>
                  <a:lnTo>
                    <a:pt x="3003" y="1737"/>
                  </a:lnTo>
                  <a:lnTo>
                    <a:pt x="2986" y="1770"/>
                  </a:lnTo>
                  <a:lnTo>
                    <a:pt x="3019" y="1793"/>
                  </a:lnTo>
                  <a:lnTo>
                    <a:pt x="2970" y="1826"/>
                  </a:lnTo>
                  <a:lnTo>
                    <a:pt x="2948" y="1810"/>
                  </a:lnTo>
                  <a:lnTo>
                    <a:pt x="2932" y="1819"/>
                  </a:lnTo>
                  <a:lnTo>
                    <a:pt x="2899" y="1765"/>
                  </a:lnTo>
                  <a:lnTo>
                    <a:pt x="2868" y="1748"/>
                  </a:lnTo>
                  <a:lnTo>
                    <a:pt x="2830" y="1708"/>
                  </a:lnTo>
                  <a:lnTo>
                    <a:pt x="2807" y="1708"/>
                  </a:lnTo>
                  <a:lnTo>
                    <a:pt x="2807" y="1708"/>
                  </a:lnTo>
                  <a:lnTo>
                    <a:pt x="2807" y="1708"/>
                  </a:lnTo>
                  <a:close/>
                  <a:moveTo>
                    <a:pt x="4096" y="2008"/>
                  </a:moveTo>
                  <a:lnTo>
                    <a:pt x="4066" y="1992"/>
                  </a:lnTo>
                  <a:lnTo>
                    <a:pt x="4016" y="2003"/>
                  </a:lnTo>
                  <a:lnTo>
                    <a:pt x="3903" y="1975"/>
                  </a:lnTo>
                  <a:lnTo>
                    <a:pt x="3865" y="1987"/>
                  </a:lnTo>
                  <a:lnTo>
                    <a:pt x="3910" y="1992"/>
                  </a:lnTo>
                  <a:lnTo>
                    <a:pt x="3872" y="1992"/>
                  </a:lnTo>
                  <a:lnTo>
                    <a:pt x="3818" y="1959"/>
                  </a:lnTo>
                  <a:lnTo>
                    <a:pt x="3818" y="1947"/>
                  </a:lnTo>
                  <a:lnTo>
                    <a:pt x="3839" y="1930"/>
                  </a:lnTo>
                  <a:lnTo>
                    <a:pt x="3834" y="1921"/>
                  </a:lnTo>
                  <a:lnTo>
                    <a:pt x="3811" y="1954"/>
                  </a:lnTo>
                  <a:lnTo>
                    <a:pt x="3796" y="1954"/>
                  </a:lnTo>
                  <a:lnTo>
                    <a:pt x="3785" y="1930"/>
                  </a:lnTo>
                  <a:lnTo>
                    <a:pt x="3773" y="1947"/>
                  </a:lnTo>
                  <a:lnTo>
                    <a:pt x="3785" y="1947"/>
                  </a:lnTo>
                  <a:lnTo>
                    <a:pt x="3785" y="1954"/>
                  </a:lnTo>
                  <a:lnTo>
                    <a:pt x="3742" y="1954"/>
                  </a:lnTo>
                  <a:lnTo>
                    <a:pt x="3747" y="1954"/>
                  </a:lnTo>
                  <a:lnTo>
                    <a:pt x="3730" y="1959"/>
                  </a:lnTo>
                  <a:lnTo>
                    <a:pt x="3704" y="1954"/>
                  </a:lnTo>
                  <a:lnTo>
                    <a:pt x="3726" y="1954"/>
                  </a:lnTo>
                  <a:lnTo>
                    <a:pt x="3709" y="1947"/>
                  </a:lnTo>
                  <a:lnTo>
                    <a:pt x="3667" y="1930"/>
                  </a:lnTo>
                  <a:lnTo>
                    <a:pt x="3617" y="1876"/>
                  </a:lnTo>
                  <a:lnTo>
                    <a:pt x="3633" y="1864"/>
                  </a:lnTo>
                  <a:lnTo>
                    <a:pt x="3612" y="1848"/>
                  </a:lnTo>
                  <a:lnTo>
                    <a:pt x="3721" y="1876"/>
                  </a:lnTo>
                  <a:lnTo>
                    <a:pt x="3785" y="1864"/>
                  </a:lnTo>
                  <a:lnTo>
                    <a:pt x="3742" y="1843"/>
                  </a:lnTo>
                  <a:lnTo>
                    <a:pt x="3726" y="1843"/>
                  </a:lnTo>
                  <a:lnTo>
                    <a:pt x="3726" y="1826"/>
                  </a:lnTo>
                  <a:lnTo>
                    <a:pt x="3676" y="1836"/>
                  </a:lnTo>
                  <a:lnTo>
                    <a:pt x="3584" y="1819"/>
                  </a:lnTo>
                  <a:lnTo>
                    <a:pt x="3579" y="1786"/>
                  </a:lnTo>
                  <a:lnTo>
                    <a:pt x="3596" y="1765"/>
                  </a:lnTo>
                  <a:lnTo>
                    <a:pt x="3570" y="1737"/>
                  </a:lnTo>
                  <a:lnTo>
                    <a:pt x="3579" y="1725"/>
                  </a:lnTo>
                  <a:lnTo>
                    <a:pt x="3612" y="1708"/>
                  </a:lnTo>
                  <a:lnTo>
                    <a:pt x="3584" y="1708"/>
                  </a:lnTo>
                  <a:lnTo>
                    <a:pt x="3579" y="1682"/>
                  </a:lnTo>
                  <a:lnTo>
                    <a:pt x="3596" y="1642"/>
                  </a:lnTo>
                  <a:lnTo>
                    <a:pt x="3617" y="1637"/>
                  </a:lnTo>
                  <a:lnTo>
                    <a:pt x="3612" y="1637"/>
                  </a:lnTo>
                  <a:lnTo>
                    <a:pt x="3612" y="1621"/>
                  </a:lnTo>
                  <a:lnTo>
                    <a:pt x="3622" y="1626"/>
                  </a:lnTo>
                  <a:lnTo>
                    <a:pt x="3622" y="1597"/>
                  </a:lnTo>
                  <a:lnTo>
                    <a:pt x="3633" y="1571"/>
                  </a:lnTo>
                  <a:lnTo>
                    <a:pt x="3671" y="1531"/>
                  </a:lnTo>
                  <a:lnTo>
                    <a:pt x="3747" y="1493"/>
                  </a:lnTo>
                  <a:lnTo>
                    <a:pt x="3839" y="1477"/>
                  </a:lnTo>
                  <a:lnTo>
                    <a:pt x="3941" y="1493"/>
                  </a:lnTo>
                  <a:lnTo>
                    <a:pt x="3865" y="1548"/>
                  </a:lnTo>
                  <a:lnTo>
                    <a:pt x="3811" y="1609"/>
                  </a:lnTo>
                  <a:lnTo>
                    <a:pt x="3801" y="1637"/>
                  </a:lnTo>
                  <a:lnTo>
                    <a:pt x="3839" y="1675"/>
                  </a:lnTo>
                  <a:lnTo>
                    <a:pt x="3827" y="1692"/>
                  </a:lnTo>
                  <a:lnTo>
                    <a:pt x="3827" y="1732"/>
                  </a:lnTo>
                  <a:lnTo>
                    <a:pt x="3893" y="1793"/>
                  </a:lnTo>
                  <a:lnTo>
                    <a:pt x="3936" y="1810"/>
                  </a:lnTo>
                  <a:lnTo>
                    <a:pt x="3941" y="1826"/>
                  </a:lnTo>
                  <a:lnTo>
                    <a:pt x="3865" y="1843"/>
                  </a:lnTo>
                  <a:lnTo>
                    <a:pt x="3801" y="1864"/>
                  </a:lnTo>
                  <a:lnTo>
                    <a:pt x="3936" y="1836"/>
                  </a:lnTo>
                  <a:lnTo>
                    <a:pt x="3941" y="1843"/>
                  </a:lnTo>
                  <a:lnTo>
                    <a:pt x="3936" y="1848"/>
                  </a:lnTo>
                  <a:lnTo>
                    <a:pt x="3919" y="1848"/>
                  </a:lnTo>
                  <a:lnTo>
                    <a:pt x="3936" y="1848"/>
                  </a:lnTo>
                  <a:lnTo>
                    <a:pt x="3936" y="1876"/>
                  </a:lnTo>
                  <a:lnTo>
                    <a:pt x="3941" y="1876"/>
                  </a:lnTo>
                  <a:lnTo>
                    <a:pt x="3941" y="1810"/>
                  </a:lnTo>
                  <a:lnTo>
                    <a:pt x="3962" y="1803"/>
                  </a:lnTo>
                  <a:lnTo>
                    <a:pt x="3945" y="1786"/>
                  </a:lnTo>
                  <a:lnTo>
                    <a:pt x="3957" y="1770"/>
                  </a:lnTo>
                  <a:lnTo>
                    <a:pt x="3910" y="1770"/>
                  </a:lnTo>
                  <a:lnTo>
                    <a:pt x="3886" y="1765"/>
                  </a:lnTo>
                  <a:lnTo>
                    <a:pt x="3893" y="1753"/>
                  </a:lnTo>
                  <a:lnTo>
                    <a:pt x="3886" y="1737"/>
                  </a:lnTo>
                  <a:lnTo>
                    <a:pt x="3855" y="1732"/>
                  </a:lnTo>
                  <a:lnTo>
                    <a:pt x="3893" y="1725"/>
                  </a:lnTo>
                  <a:lnTo>
                    <a:pt x="3893" y="1715"/>
                  </a:lnTo>
                  <a:lnTo>
                    <a:pt x="3893" y="1692"/>
                  </a:lnTo>
                  <a:lnTo>
                    <a:pt x="3936" y="1699"/>
                  </a:lnTo>
                  <a:lnTo>
                    <a:pt x="3990" y="1737"/>
                  </a:lnTo>
                  <a:lnTo>
                    <a:pt x="3990" y="1732"/>
                  </a:lnTo>
                  <a:lnTo>
                    <a:pt x="3936" y="1692"/>
                  </a:lnTo>
                  <a:lnTo>
                    <a:pt x="3962" y="1675"/>
                  </a:lnTo>
                  <a:lnTo>
                    <a:pt x="3936" y="1682"/>
                  </a:lnTo>
                  <a:lnTo>
                    <a:pt x="3941" y="1666"/>
                  </a:lnTo>
                  <a:lnTo>
                    <a:pt x="3919" y="1682"/>
                  </a:lnTo>
                  <a:lnTo>
                    <a:pt x="3886" y="1666"/>
                  </a:lnTo>
                  <a:lnTo>
                    <a:pt x="3886" y="1659"/>
                  </a:lnTo>
                  <a:lnTo>
                    <a:pt x="3893" y="1654"/>
                  </a:lnTo>
                  <a:lnTo>
                    <a:pt x="3881" y="1642"/>
                  </a:lnTo>
                  <a:lnTo>
                    <a:pt x="3881" y="1609"/>
                  </a:lnTo>
                  <a:lnTo>
                    <a:pt x="3910" y="1597"/>
                  </a:lnTo>
                  <a:lnTo>
                    <a:pt x="4000" y="1626"/>
                  </a:lnTo>
                  <a:lnTo>
                    <a:pt x="3886" y="1588"/>
                  </a:lnTo>
                  <a:lnTo>
                    <a:pt x="3903" y="1571"/>
                  </a:lnTo>
                  <a:lnTo>
                    <a:pt x="3919" y="1588"/>
                  </a:lnTo>
                  <a:lnTo>
                    <a:pt x="3910" y="1581"/>
                  </a:lnTo>
                  <a:lnTo>
                    <a:pt x="3919" y="1571"/>
                  </a:lnTo>
                  <a:lnTo>
                    <a:pt x="4028" y="1597"/>
                  </a:lnTo>
                  <a:lnTo>
                    <a:pt x="3919" y="1564"/>
                  </a:lnTo>
                  <a:lnTo>
                    <a:pt x="3941" y="1543"/>
                  </a:lnTo>
                  <a:lnTo>
                    <a:pt x="3974" y="1564"/>
                  </a:lnTo>
                  <a:lnTo>
                    <a:pt x="3945" y="1543"/>
                  </a:lnTo>
                  <a:lnTo>
                    <a:pt x="3990" y="1526"/>
                  </a:lnTo>
                  <a:lnTo>
                    <a:pt x="4016" y="1531"/>
                  </a:lnTo>
                  <a:lnTo>
                    <a:pt x="4028" y="1548"/>
                  </a:lnTo>
                  <a:lnTo>
                    <a:pt x="4028" y="1531"/>
                  </a:lnTo>
                  <a:lnTo>
                    <a:pt x="3995" y="1526"/>
                  </a:lnTo>
                  <a:lnTo>
                    <a:pt x="4082" y="1493"/>
                  </a:lnTo>
                  <a:lnTo>
                    <a:pt x="4172" y="1493"/>
                  </a:lnTo>
                  <a:lnTo>
                    <a:pt x="4196" y="1526"/>
                  </a:lnTo>
                  <a:lnTo>
                    <a:pt x="4196" y="1555"/>
                  </a:lnTo>
                  <a:lnTo>
                    <a:pt x="4243" y="1581"/>
                  </a:lnTo>
                  <a:lnTo>
                    <a:pt x="4233" y="1604"/>
                  </a:lnTo>
                  <a:lnTo>
                    <a:pt x="4259" y="1626"/>
                  </a:lnTo>
                  <a:lnTo>
                    <a:pt x="4179" y="1699"/>
                  </a:lnTo>
                  <a:lnTo>
                    <a:pt x="4243" y="1659"/>
                  </a:lnTo>
                  <a:lnTo>
                    <a:pt x="4243" y="1675"/>
                  </a:lnTo>
                  <a:lnTo>
                    <a:pt x="4210" y="1708"/>
                  </a:lnTo>
                  <a:lnTo>
                    <a:pt x="4243" y="1725"/>
                  </a:lnTo>
                  <a:lnTo>
                    <a:pt x="4205" y="1725"/>
                  </a:lnTo>
                  <a:lnTo>
                    <a:pt x="4226" y="1725"/>
                  </a:lnTo>
                  <a:lnTo>
                    <a:pt x="4210" y="1748"/>
                  </a:lnTo>
                  <a:lnTo>
                    <a:pt x="4248" y="1725"/>
                  </a:lnTo>
                  <a:lnTo>
                    <a:pt x="4243" y="1708"/>
                  </a:lnTo>
                  <a:lnTo>
                    <a:pt x="4264" y="1699"/>
                  </a:lnTo>
                  <a:lnTo>
                    <a:pt x="4259" y="1692"/>
                  </a:lnTo>
                  <a:lnTo>
                    <a:pt x="4302" y="1715"/>
                  </a:lnTo>
                  <a:lnTo>
                    <a:pt x="4264" y="1682"/>
                  </a:lnTo>
                  <a:lnTo>
                    <a:pt x="4297" y="1659"/>
                  </a:lnTo>
                  <a:lnTo>
                    <a:pt x="4302" y="1682"/>
                  </a:lnTo>
                  <a:lnTo>
                    <a:pt x="4297" y="1699"/>
                  </a:lnTo>
                  <a:lnTo>
                    <a:pt x="4323" y="1675"/>
                  </a:lnTo>
                  <a:lnTo>
                    <a:pt x="4352" y="1692"/>
                  </a:lnTo>
                  <a:lnTo>
                    <a:pt x="4352" y="1708"/>
                  </a:lnTo>
                  <a:lnTo>
                    <a:pt x="4335" y="1732"/>
                  </a:lnTo>
                  <a:lnTo>
                    <a:pt x="4378" y="1748"/>
                  </a:lnTo>
                  <a:lnTo>
                    <a:pt x="4356" y="1732"/>
                  </a:lnTo>
                  <a:lnTo>
                    <a:pt x="4356" y="1708"/>
                  </a:lnTo>
                  <a:lnTo>
                    <a:pt x="4389" y="1715"/>
                  </a:lnTo>
                  <a:lnTo>
                    <a:pt x="4406" y="1753"/>
                  </a:lnTo>
                  <a:lnTo>
                    <a:pt x="4427" y="1765"/>
                  </a:lnTo>
                  <a:lnTo>
                    <a:pt x="4394" y="1737"/>
                  </a:lnTo>
                  <a:lnTo>
                    <a:pt x="4411" y="1732"/>
                  </a:lnTo>
                  <a:lnTo>
                    <a:pt x="4432" y="1753"/>
                  </a:lnTo>
                  <a:lnTo>
                    <a:pt x="4411" y="1732"/>
                  </a:lnTo>
                  <a:lnTo>
                    <a:pt x="4394" y="1732"/>
                  </a:lnTo>
                  <a:lnTo>
                    <a:pt x="4389" y="1715"/>
                  </a:lnTo>
                  <a:lnTo>
                    <a:pt x="4356" y="1699"/>
                  </a:lnTo>
                  <a:lnTo>
                    <a:pt x="4373" y="1682"/>
                  </a:lnTo>
                  <a:lnTo>
                    <a:pt x="4389" y="1708"/>
                  </a:lnTo>
                  <a:lnTo>
                    <a:pt x="4389" y="1682"/>
                  </a:lnTo>
                  <a:lnTo>
                    <a:pt x="4486" y="1715"/>
                  </a:lnTo>
                  <a:lnTo>
                    <a:pt x="4378" y="1666"/>
                  </a:lnTo>
                  <a:lnTo>
                    <a:pt x="4389" y="1654"/>
                  </a:lnTo>
                  <a:lnTo>
                    <a:pt x="4444" y="1626"/>
                  </a:lnTo>
                  <a:lnTo>
                    <a:pt x="4503" y="1626"/>
                  </a:lnTo>
                  <a:lnTo>
                    <a:pt x="4512" y="1642"/>
                  </a:lnTo>
                  <a:lnTo>
                    <a:pt x="4550" y="1654"/>
                  </a:lnTo>
                  <a:lnTo>
                    <a:pt x="4550" y="1666"/>
                  </a:lnTo>
                  <a:lnTo>
                    <a:pt x="4567" y="1654"/>
                  </a:lnTo>
                  <a:lnTo>
                    <a:pt x="4611" y="1659"/>
                  </a:lnTo>
                  <a:lnTo>
                    <a:pt x="4637" y="1699"/>
                  </a:lnTo>
                  <a:lnTo>
                    <a:pt x="4611" y="1715"/>
                  </a:lnTo>
                  <a:lnTo>
                    <a:pt x="4557" y="1715"/>
                  </a:lnTo>
                  <a:lnTo>
                    <a:pt x="4536" y="1748"/>
                  </a:lnTo>
                  <a:lnTo>
                    <a:pt x="4574" y="1715"/>
                  </a:lnTo>
                  <a:lnTo>
                    <a:pt x="4611" y="1725"/>
                  </a:lnTo>
                  <a:lnTo>
                    <a:pt x="4588" y="1732"/>
                  </a:lnTo>
                  <a:lnTo>
                    <a:pt x="4574" y="1765"/>
                  </a:lnTo>
                  <a:lnTo>
                    <a:pt x="4550" y="1770"/>
                  </a:lnTo>
                  <a:lnTo>
                    <a:pt x="4574" y="1765"/>
                  </a:lnTo>
                  <a:lnTo>
                    <a:pt x="4588" y="1732"/>
                  </a:lnTo>
                  <a:lnTo>
                    <a:pt x="4626" y="1715"/>
                  </a:lnTo>
                  <a:lnTo>
                    <a:pt x="4680" y="1725"/>
                  </a:lnTo>
                  <a:lnTo>
                    <a:pt x="4692" y="1732"/>
                  </a:lnTo>
                  <a:lnTo>
                    <a:pt x="4680" y="1753"/>
                  </a:lnTo>
                  <a:lnTo>
                    <a:pt x="4604" y="1770"/>
                  </a:lnTo>
                  <a:lnTo>
                    <a:pt x="4637" y="1781"/>
                  </a:lnTo>
                  <a:lnTo>
                    <a:pt x="4595" y="1793"/>
                  </a:lnTo>
                  <a:lnTo>
                    <a:pt x="4659" y="1781"/>
                  </a:lnTo>
                  <a:lnTo>
                    <a:pt x="4621" y="1803"/>
                  </a:lnTo>
                  <a:lnTo>
                    <a:pt x="4642" y="1793"/>
                  </a:lnTo>
                  <a:lnTo>
                    <a:pt x="4649" y="1810"/>
                  </a:lnTo>
                  <a:lnTo>
                    <a:pt x="4621" y="1843"/>
                  </a:lnTo>
                  <a:lnTo>
                    <a:pt x="4649" y="1810"/>
                  </a:lnTo>
                  <a:lnTo>
                    <a:pt x="4649" y="1793"/>
                  </a:lnTo>
                  <a:lnTo>
                    <a:pt x="4659" y="1781"/>
                  </a:lnTo>
                  <a:lnTo>
                    <a:pt x="4692" y="1765"/>
                  </a:lnTo>
                  <a:lnTo>
                    <a:pt x="4680" y="1781"/>
                  </a:lnTo>
                  <a:lnTo>
                    <a:pt x="4692" y="1793"/>
                  </a:lnTo>
                  <a:lnTo>
                    <a:pt x="4696" y="1765"/>
                  </a:lnTo>
                  <a:lnTo>
                    <a:pt x="4718" y="1765"/>
                  </a:lnTo>
                  <a:lnTo>
                    <a:pt x="4729" y="1765"/>
                  </a:lnTo>
                  <a:lnTo>
                    <a:pt x="4696" y="1793"/>
                  </a:lnTo>
                  <a:lnTo>
                    <a:pt x="4675" y="1810"/>
                  </a:lnTo>
                  <a:lnTo>
                    <a:pt x="4696" y="1803"/>
                  </a:lnTo>
                  <a:lnTo>
                    <a:pt x="4692" y="1826"/>
                  </a:lnTo>
                  <a:lnTo>
                    <a:pt x="4680" y="1836"/>
                  </a:lnTo>
                  <a:lnTo>
                    <a:pt x="4696" y="1826"/>
                  </a:lnTo>
                  <a:lnTo>
                    <a:pt x="4713" y="1793"/>
                  </a:lnTo>
                  <a:lnTo>
                    <a:pt x="4729" y="1786"/>
                  </a:lnTo>
                  <a:lnTo>
                    <a:pt x="4729" y="1819"/>
                  </a:lnTo>
                  <a:lnTo>
                    <a:pt x="4734" y="1803"/>
                  </a:lnTo>
                  <a:lnTo>
                    <a:pt x="4746" y="1810"/>
                  </a:lnTo>
                  <a:lnTo>
                    <a:pt x="4729" y="1826"/>
                  </a:lnTo>
                  <a:lnTo>
                    <a:pt x="4718" y="1848"/>
                  </a:lnTo>
                  <a:lnTo>
                    <a:pt x="4701" y="1859"/>
                  </a:lnTo>
                  <a:lnTo>
                    <a:pt x="4718" y="1848"/>
                  </a:lnTo>
                  <a:lnTo>
                    <a:pt x="4729" y="1836"/>
                  </a:lnTo>
                  <a:lnTo>
                    <a:pt x="4734" y="1819"/>
                  </a:lnTo>
                  <a:lnTo>
                    <a:pt x="4767" y="1826"/>
                  </a:lnTo>
                  <a:lnTo>
                    <a:pt x="4751" y="1836"/>
                  </a:lnTo>
                  <a:lnTo>
                    <a:pt x="4751" y="1848"/>
                  </a:lnTo>
                  <a:lnTo>
                    <a:pt x="4734" y="1859"/>
                  </a:lnTo>
                  <a:lnTo>
                    <a:pt x="4746" y="1864"/>
                  </a:lnTo>
                  <a:lnTo>
                    <a:pt x="4755" y="1836"/>
                  </a:lnTo>
                  <a:lnTo>
                    <a:pt x="4767" y="1826"/>
                  </a:lnTo>
                  <a:lnTo>
                    <a:pt x="4767" y="1810"/>
                  </a:lnTo>
                  <a:lnTo>
                    <a:pt x="4789" y="1810"/>
                  </a:lnTo>
                  <a:lnTo>
                    <a:pt x="4805" y="1781"/>
                  </a:lnTo>
                  <a:lnTo>
                    <a:pt x="4864" y="1793"/>
                  </a:lnTo>
                  <a:lnTo>
                    <a:pt x="4897" y="1826"/>
                  </a:lnTo>
                  <a:lnTo>
                    <a:pt x="4874" y="1859"/>
                  </a:lnTo>
                  <a:lnTo>
                    <a:pt x="4843" y="1848"/>
                  </a:lnTo>
                  <a:lnTo>
                    <a:pt x="4810" y="1881"/>
                  </a:lnTo>
                  <a:lnTo>
                    <a:pt x="4789" y="1881"/>
                  </a:lnTo>
                  <a:lnTo>
                    <a:pt x="4826" y="1881"/>
                  </a:lnTo>
                  <a:lnTo>
                    <a:pt x="4810" y="1904"/>
                  </a:lnTo>
                  <a:lnTo>
                    <a:pt x="4798" y="1914"/>
                  </a:lnTo>
                  <a:lnTo>
                    <a:pt x="4826" y="1892"/>
                  </a:lnTo>
                  <a:lnTo>
                    <a:pt x="4881" y="1881"/>
                  </a:lnTo>
                  <a:lnTo>
                    <a:pt x="4897" y="1859"/>
                  </a:lnTo>
                  <a:lnTo>
                    <a:pt x="4918" y="1848"/>
                  </a:lnTo>
                  <a:lnTo>
                    <a:pt x="4935" y="1859"/>
                  </a:lnTo>
                  <a:lnTo>
                    <a:pt x="4944" y="1876"/>
                  </a:lnTo>
                  <a:lnTo>
                    <a:pt x="4928" y="1897"/>
                  </a:lnTo>
                  <a:lnTo>
                    <a:pt x="4897" y="1914"/>
                  </a:lnTo>
                  <a:lnTo>
                    <a:pt x="4864" y="1914"/>
                  </a:lnTo>
                  <a:lnTo>
                    <a:pt x="4852" y="1937"/>
                  </a:lnTo>
                  <a:lnTo>
                    <a:pt x="4859" y="1937"/>
                  </a:lnTo>
                  <a:lnTo>
                    <a:pt x="4859" y="1947"/>
                  </a:lnTo>
                  <a:lnTo>
                    <a:pt x="4852" y="1954"/>
                  </a:lnTo>
                  <a:lnTo>
                    <a:pt x="4859" y="1954"/>
                  </a:lnTo>
                  <a:lnTo>
                    <a:pt x="4874" y="1921"/>
                  </a:lnTo>
                  <a:lnTo>
                    <a:pt x="4897" y="1921"/>
                  </a:lnTo>
                  <a:lnTo>
                    <a:pt x="4890" y="1954"/>
                  </a:lnTo>
                  <a:lnTo>
                    <a:pt x="4890" y="1959"/>
                  </a:lnTo>
                  <a:lnTo>
                    <a:pt x="4874" y="1992"/>
                  </a:lnTo>
                  <a:lnTo>
                    <a:pt x="4897" y="1959"/>
                  </a:lnTo>
                  <a:lnTo>
                    <a:pt x="4911" y="1914"/>
                  </a:lnTo>
                  <a:lnTo>
                    <a:pt x="4987" y="1881"/>
                  </a:lnTo>
                  <a:lnTo>
                    <a:pt x="4999" y="1881"/>
                  </a:lnTo>
                  <a:lnTo>
                    <a:pt x="4973" y="1904"/>
                  </a:lnTo>
                  <a:lnTo>
                    <a:pt x="4944" y="1914"/>
                  </a:lnTo>
                  <a:lnTo>
                    <a:pt x="4949" y="1921"/>
                  </a:lnTo>
                  <a:lnTo>
                    <a:pt x="4944" y="1930"/>
                  </a:lnTo>
                  <a:lnTo>
                    <a:pt x="4961" y="1930"/>
                  </a:lnTo>
                  <a:lnTo>
                    <a:pt x="4961" y="1914"/>
                  </a:lnTo>
                  <a:lnTo>
                    <a:pt x="4973" y="1914"/>
                  </a:lnTo>
                  <a:lnTo>
                    <a:pt x="5020" y="1892"/>
                  </a:lnTo>
                  <a:lnTo>
                    <a:pt x="5096" y="1921"/>
                  </a:lnTo>
                  <a:lnTo>
                    <a:pt x="5096" y="1930"/>
                  </a:lnTo>
                  <a:lnTo>
                    <a:pt x="5091" y="1947"/>
                  </a:lnTo>
                  <a:lnTo>
                    <a:pt x="5074" y="1930"/>
                  </a:lnTo>
                  <a:lnTo>
                    <a:pt x="5074" y="1954"/>
                  </a:lnTo>
                  <a:lnTo>
                    <a:pt x="5004" y="1970"/>
                  </a:lnTo>
                  <a:lnTo>
                    <a:pt x="4966" y="1992"/>
                  </a:lnTo>
                  <a:lnTo>
                    <a:pt x="4987" y="1992"/>
                  </a:lnTo>
                  <a:lnTo>
                    <a:pt x="4944" y="2013"/>
                  </a:lnTo>
                  <a:lnTo>
                    <a:pt x="4999" y="1992"/>
                  </a:lnTo>
                  <a:lnTo>
                    <a:pt x="4999" y="1987"/>
                  </a:lnTo>
                  <a:lnTo>
                    <a:pt x="5004" y="1975"/>
                  </a:lnTo>
                  <a:lnTo>
                    <a:pt x="5058" y="1970"/>
                  </a:lnTo>
                  <a:lnTo>
                    <a:pt x="5074" y="1975"/>
                  </a:lnTo>
                  <a:lnTo>
                    <a:pt x="5020" y="2013"/>
                  </a:lnTo>
                  <a:lnTo>
                    <a:pt x="4987" y="2013"/>
                  </a:lnTo>
                  <a:lnTo>
                    <a:pt x="4982" y="2041"/>
                  </a:lnTo>
                  <a:lnTo>
                    <a:pt x="4999" y="2013"/>
                  </a:lnTo>
                  <a:lnTo>
                    <a:pt x="5020" y="2025"/>
                  </a:lnTo>
                  <a:lnTo>
                    <a:pt x="5041" y="2003"/>
                  </a:lnTo>
                  <a:lnTo>
                    <a:pt x="5107" y="1975"/>
                  </a:lnTo>
                  <a:lnTo>
                    <a:pt x="5096" y="1970"/>
                  </a:lnTo>
                  <a:lnTo>
                    <a:pt x="5107" y="1954"/>
                  </a:lnTo>
                  <a:lnTo>
                    <a:pt x="5138" y="1959"/>
                  </a:lnTo>
                  <a:lnTo>
                    <a:pt x="5176" y="2003"/>
                  </a:lnTo>
                  <a:lnTo>
                    <a:pt x="5183" y="2025"/>
                  </a:lnTo>
                  <a:lnTo>
                    <a:pt x="5124" y="2025"/>
                  </a:lnTo>
                  <a:lnTo>
                    <a:pt x="5096" y="2041"/>
                  </a:lnTo>
                  <a:lnTo>
                    <a:pt x="4973" y="2058"/>
                  </a:lnTo>
                  <a:lnTo>
                    <a:pt x="5025" y="2058"/>
                  </a:lnTo>
                  <a:lnTo>
                    <a:pt x="5074" y="2048"/>
                  </a:lnTo>
                  <a:lnTo>
                    <a:pt x="5124" y="2065"/>
                  </a:lnTo>
                  <a:lnTo>
                    <a:pt x="5176" y="2065"/>
                  </a:lnTo>
                  <a:lnTo>
                    <a:pt x="5204" y="2081"/>
                  </a:lnTo>
                  <a:lnTo>
                    <a:pt x="5214" y="2098"/>
                  </a:lnTo>
                  <a:lnTo>
                    <a:pt x="5204" y="2103"/>
                  </a:lnTo>
                  <a:lnTo>
                    <a:pt x="5053" y="2070"/>
                  </a:lnTo>
                  <a:lnTo>
                    <a:pt x="5025" y="2086"/>
                  </a:lnTo>
                  <a:lnTo>
                    <a:pt x="5053" y="2081"/>
                  </a:lnTo>
                  <a:lnTo>
                    <a:pt x="5112" y="2098"/>
                  </a:lnTo>
                  <a:lnTo>
                    <a:pt x="5053" y="2098"/>
                  </a:lnTo>
                  <a:lnTo>
                    <a:pt x="5079" y="2098"/>
                  </a:lnTo>
                  <a:lnTo>
                    <a:pt x="5053" y="2115"/>
                  </a:lnTo>
                  <a:lnTo>
                    <a:pt x="5053" y="2124"/>
                  </a:lnTo>
                  <a:lnTo>
                    <a:pt x="5058" y="2115"/>
                  </a:lnTo>
                  <a:lnTo>
                    <a:pt x="5107" y="2103"/>
                  </a:lnTo>
                  <a:lnTo>
                    <a:pt x="5138" y="2119"/>
                  </a:lnTo>
                  <a:lnTo>
                    <a:pt x="5079" y="2124"/>
                  </a:lnTo>
                  <a:lnTo>
                    <a:pt x="5112" y="2124"/>
                  </a:lnTo>
                  <a:lnTo>
                    <a:pt x="5124" y="2136"/>
                  </a:lnTo>
                  <a:lnTo>
                    <a:pt x="5079" y="2136"/>
                  </a:lnTo>
                  <a:lnTo>
                    <a:pt x="5138" y="2152"/>
                  </a:lnTo>
                  <a:lnTo>
                    <a:pt x="5020" y="2136"/>
                  </a:lnTo>
                  <a:lnTo>
                    <a:pt x="5112" y="2157"/>
                  </a:lnTo>
                  <a:lnTo>
                    <a:pt x="5058" y="2169"/>
                  </a:lnTo>
                  <a:lnTo>
                    <a:pt x="5091" y="2169"/>
                  </a:lnTo>
                  <a:lnTo>
                    <a:pt x="5070" y="2176"/>
                  </a:lnTo>
                  <a:lnTo>
                    <a:pt x="5150" y="2176"/>
                  </a:lnTo>
                  <a:lnTo>
                    <a:pt x="5145" y="2181"/>
                  </a:lnTo>
                  <a:lnTo>
                    <a:pt x="5145" y="2197"/>
                  </a:lnTo>
                  <a:lnTo>
                    <a:pt x="5162" y="2181"/>
                  </a:lnTo>
                  <a:lnTo>
                    <a:pt x="5176" y="2192"/>
                  </a:lnTo>
                  <a:lnTo>
                    <a:pt x="5167" y="2192"/>
                  </a:lnTo>
                  <a:lnTo>
                    <a:pt x="5183" y="2192"/>
                  </a:lnTo>
                  <a:lnTo>
                    <a:pt x="5183" y="2181"/>
                  </a:lnTo>
                  <a:lnTo>
                    <a:pt x="5214" y="2192"/>
                  </a:lnTo>
                  <a:lnTo>
                    <a:pt x="5192" y="2197"/>
                  </a:lnTo>
                  <a:lnTo>
                    <a:pt x="5138" y="2209"/>
                  </a:lnTo>
                  <a:lnTo>
                    <a:pt x="5129" y="2214"/>
                  </a:lnTo>
                  <a:lnTo>
                    <a:pt x="5145" y="2209"/>
                  </a:lnTo>
                  <a:lnTo>
                    <a:pt x="5150" y="2214"/>
                  </a:lnTo>
                  <a:lnTo>
                    <a:pt x="5145" y="2214"/>
                  </a:lnTo>
                  <a:lnTo>
                    <a:pt x="5150" y="2214"/>
                  </a:lnTo>
                  <a:lnTo>
                    <a:pt x="5176" y="2197"/>
                  </a:lnTo>
                  <a:lnTo>
                    <a:pt x="5192" y="2209"/>
                  </a:lnTo>
                  <a:lnTo>
                    <a:pt x="5176" y="2209"/>
                  </a:lnTo>
                  <a:lnTo>
                    <a:pt x="5162" y="2230"/>
                  </a:lnTo>
                  <a:lnTo>
                    <a:pt x="5145" y="2226"/>
                  </a:lnTo>
                  <a:lnTo>
                    <a:pt x="5162" y="2230"/>
                  </a:lnTo>
                  <a:lnTo>
                    <a:pt x="5167" y="2214"/>
                  </a:lnTo>
                  <a:lnTo>
                    <a:pt x="5192" y="2209"/>
                  </a:lnTo>
                  <a:lnTo>
                    <a:pt x="5204" y="2214"/>
                  </a:lnTo>
                  <a:lnTo>
                    <a:pt x="5192" y="2247"/>
                  </a:lnTo>
                  <a:lnTo>
                    <a:pt x="5214" y="2230"/>
                  </a:lnTo>
                  <a:lnTo>
                    <a:pt x="5214" y="2247"/>
                  </a:lnTo>
                  <a:lnTo>
                    <a:pt x="5221" y="2230"/>
                  </a:lnTo>
                  <a:lnTo>
                    <a:pt x="5237" y="2230"/>
                  </a:lnTo>
                  <a:lnTo>
                    <a:pt x="5230" y="2235"/>
                  </a:lnTo>
                  <a:lnTo>
                    <a:pt x="5247" y="2247"/>
                  </a:lnTo>
                  <a:lnTo>
                    <a:pt x="5230" y="2263"/>
                  </a:lnTo>
                  <a:lnTo>
                    <a:pt x="5204" y="2263"/>
                  </a:lnTo>
                  <a:lnTo>
                    <a:pt x="5237" y="2268"/>
                  </a:lnTo>
                  <a:lnTo>
                    <a:pt x="5237" y="2252"/>
                  </a:lnTo>
                  <a:lnTo>
                    <a:pt x="5268" y="2235"/>
                  </a:lnTo>
                  <a:lnTo>
                    <a:pt x="5268" y="2226"/>
                  </a:lnTo>
                  <a:lnTo>
                    <a:pt x="5268" y="2235"/>
                  </a:lnTo>
                  <a:lnTo>
                    <a:pt x="5259" y="2252"/>
                  </a:lnTo>
                  <a:lnTo>
                    <a:pt x="5259" y="2263"/>
                  </a:lnTo>
                  <a:lnTo>
                    <a:pt x="5259" y="2292"/>
                  </a:lnTo>
                  <a:lnTo>
                    <a:pt x="5259" y="2268"/>
                  </a:lnTo>
                  <a:lnTo>
                    <a:pt x="5275" y="2252"/>
                  </a:lnTo>
                  <a:lnTo>
                    <a:pt x="5275" y="2247"/>
                  </a:lnTo>
                  <a:lnTo>
                    <a:pt x="5301" y="2247"/>
                  </a:lnTo>
                  <a:lnTo>
                    <a:pt x="5285" y="2268"/>
                  </a:lnTo>
                  <a:lnTo>
                    <a:pt x="5306" y="2292"/>
                  </a:lnTo>
                  <a:lnTo>
                    <a:pt x="5306" y="2285"/>
                  </a:lnTo>
                  <a:lnTo>
                    <a:pt x="5289" y="2268"/>
                  </a:lnTo>
                  <a:lnTo>
                    <a:pt x="5301" y="2252"/>
                  </a:lnTo>
                  <a:lnTo>
                    <a:pt x="5327" y="2235"/>
                  </a:lnTo>
                  <a:lnTo>
                    <a:pt x="5355" y="2247"/>
                  </a:lnTo>
                  <a:lnTo>
                    <a:pt x="5327" y="2263"/>
                  </a:lnTo>
                  <a:lnTo>
                    <a:pt x="5327" y="2268"/>
                  </a:lnTo>
                  <a:lnTo>
                    <a:pt x="5313" y="2285"/>
                  </a:lnTo>
                  <a:lnTo>
                    <a:pt x="5339" y="2268"/>
                  </a:lnTo>
                  <a:lnTo>
                    <a:pt x="5344" y="2268"/>
                  </a:lnTo>
                  <a:lnTo>
                    <a:pt x="5344" y="2285"/>
                  </a:lnTo>
                  <a:lnTo>
                    <a:pt x="5344" y="2268"/>
                  </a:lnTo>
                  <a:lnTo>
                    <a:pt x="5365" y="2268"/>
                  </a:lnTo>
                  <a:lnTo>
                    <a:pt x="5377" y="2280"/>
                  </a:lnTo>
                  <a:lnTo>
                    <a:pt x="5355" y="2285"/>
                  </a:lnTo>
                  <a:lnTo>
                    <a:pt x="5377" y="2280"/>
                  </a:lnTo>
                  <a:lnTo>
                    <a:pt x="5398" y="2303"/>
                  </a:lnTo>
                  <a:lnTo>
                    <a:pt x="5365" y="2308"/>
                  </a:lnTo>
                  <a:lnTo>
                    <a:pt x="5398" y="2308"/>
                  </a:lnTo>
                  <a:lnTo>
                    <a:pt x="5410" y="2337"/>
                  </a:lnTo>
                  <a:lnTo>
                    <a:pt x="5344" y="2325"/>
                  </a:lnTo>
                  <a:lnTo>
                    <a:pt x="5381" y="2337"/>
                  </a:lnTo>
                  <a:lnTo>
                    <a:pt x="5344" y="2341"/>
                  </a:lnTo>
                  <a:lnTo>
                    <a:pt x="5398" y="2337"/>
                  </a:lnTo>
                  <a:lnTo>
                    <a:pt x="5360" y="2346"/>
                  </a:lnTo>
                  <a:lnTo>
                    <a:pt x="5355" y="2363"/>
                  </a:lnTo>
                  <a:lnTo>
                    <a:pt x="5365" y="2346"/>
                  </a:lnTo>
                  <a:lnTo>
                    <a:pt x="5436" y="2341"/>
                  </a:lnTo>
                  <a:lnTo>
                    <a:pt x="5415" y="2374"/>
                  </a:lnTo>
                  <a:lnTo>
                    <a:pt x="5448" y="2346"/>
                  </a:lnTo>
                  <a:lnTo>
                    <a:pt x="5448" y="2337"/>
                  </a:lnTo>
                  <a:lnTo>
                    <a:pt x="5462" y="2325"/>
                  </a:lnTo>
                  <a:lnTo>
                    <a:pt x="5474" y="2341"/>
                  </a:lnTo>
                  <a:lnTo>
                    <a:pt x="5452" y="2358"/>
                  </a:lnTo>
                  <a:lnTo>
                    <a:pt x="5452" y="2374"/>
                  </a:lnTo>
                  <a:lnTo>
                    <a:pt x="5415" y="2391"/>
                  </a:lnTo>
                  <a:lnTo>
                    <a:pt x="5436" y="2391"/>
                  </a:lnTo>
                  <a:lnTo>
                    <a:pt x="5436" y="2379"/>
                  </a:lnTo>
                  <a:lnTo>
                    <a:pt x="5436" y="2403"/>
                  </a:lnTo>
                  <a:lnTo>
                    <a:pt x="5452" y="2379"/>
                  </a:lnTo>
                  <a:lnTo>
                    <a:pt x="5485" y="2374"/>
                  </a:lnTo>
                  <a:lnTo>
                    <a:pt x="5474" y="2412"/>
                  </a:lnTo>
                  <a:lnTo>
                    <a:pt x="5490" y="2396"/>
                  </a:lnTo>
                  <a:lnTo>
                    <a:pt x="5490" y="2374"/>
                  </a:lnTo>
                  <a:lnTo>
                    <a:pt x="5500" y="2374"/>
                  </a:lnTo>
                  <a:lnTo>
                    <a:pt x="5523" y="2403"/>
                  </a:lnTo>
                  <a:lnTo>
                    <a:pt x="5507" y="2379"/>
                  </a:lnTo>
                  <a:lnTo>
                    <a:pt x="5528" y="2363"/>
                  </a:lnTo>
                  <a:lnTo>
                    <a:pt x="5537" y="2363"/>
                  </a:lnTo>
                  <a:lnTo>
                    <a:pt x="5528" y="2379"/>
                  </a:lnTo>
                  <a:lnTo>
                    <a:pt x="5561" y="2374"/>
                  </a:lnTo>
                  <a:lnTo>
                    <a:pt x="5592" y="2412"/>
                  </a:lnTo>
                  <a:lnTo>
                    <a:pt x="5575" y="2419"/>
                  </a:lnTo>
                  <a:lnTo>
                    <a:pt x="5544" y="2403"/>
                  </a:lnTo>
                  <a:lnTo>
                    <a:pt x="5528" y="2412"/>
                  </a:lnTo>
                  <a:lnTo>
                    <a:pt x="5554" y="2412"/>
                  </a:lnTo>
                  <a:lnTo>
                    <a:pt x="5570" y="2429"/>
                  </a:lnTo>
                  <a:lnTo>
                    <a:pt x="5544" y="2436"/>
                  </a:lnTo>
                  <a:lnTo>
                    <a:pt x="5575" y="2448"/>
                  </a:lnTo>
                  <a:lnTo>
                    <a:pt x="5544" y="2452"/>
                  </a:lnTo>
                  <a:lnTo>
                    <a:pt x="5507" y="2436"/>
                  </a:lnTo>
                  <a:lnTo>
                    <a:pt x="5490" y="2436"/>
                  </a:lnTo>
                  <a:lnTo>
                    <a:pt x="5516" y="2452"/>
                  </a:lnTo>
                  <a:lnTo>
                    <a:pt x="5490" y="2457"/>
                  </a:lnTo>
                  <a:lnTo>
                    <a:pt x="5474" y="2452"/>
                  </a:lnTo>
                  <a:lnTo>
                    <a:pt x="5490" y="2469"/>
                  </a:lnTo>
                  <a:lnTo>
                    <a:pt x="5528" y="2469"/>
                  </a:lnTo>
                  <a:lnTo>
                    <a:pt x="5544" y="2485"/>
                  </a:lnTo>
                  <a:lnTo>
                    <a:pt x="5485" y="2485"/>
                  </a:lnTo>
                  <a:lnTo>
                    <a:pt x="5474" y="2469"/>
                  </a:lnTo>
                  <a:lnTo>
                    <a:pt x="5469" y="2474"/>
                  </a:lnTo>
                  <a:lnTo>
                    <a:pt x="5516" y="2490"/>
                  </a:lnTo>
                  <a:lnTo>
                    <a:pt x="5516" y="2507"/>
                  </a:lnTo>
                  <a:lnTo>
                    <a:pt x="5500" y="2507"/>
                  </a:lnTo>
                  <a:lnTo>
                    <a:pt x="5474" y="2502"/>
                  </a:lnTo>
                  <a:lnTo>
                    <a:pt x="5500" y="2514"/>
                  </a:lnTo>
                  <a:lnTo>
                    <a:pt x="5485" y="2514"/>
                  </a:lnTo>
                  <a:lnTo>
                    <a:pt x="5500" y="2523"/>
                  </a:lnTo>
                  <a:lnTo>
                    <a:pt x="5490" y="2540"/>
                  </a:lnTo>
                  <a:lnTo>
                    <a:pt x="5485" y="2540"/>
                  </a:lnTo>
                  <a:lnTo>
                    <a:pt x="5474" y="2514"/>
                  </a:lnTo>
                  <a:lnTo>
                    <a:pt x="5474" y="2530"/>
                  </a:lnTo>
                  <a:lnTo>
                    <a:pt x="5474" y="2540"/>
                  </a:lnTo>
                  <a:lnTo>
                    <a:pt x="5452" y="2530"/>
                  </a:lnTo>
                  <a:lnTo>
                    <a:pt x="5436" y="2507"/>
                  </a:lnTo>
                  <a:lnTo>
                    <a:pt x="5448" y="2530"/>
                  </a:lnTo>
                  <a:lnTo>
                    <a:pt x="5419" y="2523"/>
                  </a:lnTo>
                  <a:lnTo>
                    <a:pt x="5448" y="2540"/>
                  </a:lnTo>
                  <a:lnTo>
                    <a:pt x="5431" y="2540"/>
                  </a:lnTo>
                  <a:lnTo>
                    <a:pt x="5452" y="2556"/>
                  </a:lnTo>
                  <a:lnTo>
                    <a:pt x="5419" y="2547"/>
                  </a:lnTo>
                  <a:lnTo>
                    <a:pt x="5448" y="2568"/>
                  </a:lnTo>
                  <a:lnTo>
                    <a:pt x="5436" y="2585"/>
                  </a:lnTo>
                  <a:lnTo>
                    <a:pt x="5448" y="2596"/>
                  </a:lnTo>
                  <a:lnTo>
                    <a:pt x="5431" y="2618"/>
                  </a:lnTo>
                  <a:lnTo>
                    <a:pt x="5415" y="2613"/>
                  </a:lnTo>
                  <a:lnTo>
                    <a:pt x="5419" y="2601"/>
                  </a:lnTo>
                  <a:lnTo>
                    <a:pt x="5410" y="2596"/>
                  </a:lnTo>
                  <a:lnTo>
                    <a:pt x="5393" y="2601"/>
                  </a:lnTo>
                  <a:lnTo>
                    <a:pt x="5381" y="2596"/>
                  </a:lnTo>
                  <a:lnTo>
                    <a:pt x="5393" y="2585"/>
                  </a:lnTo>
                  <a:lnTo>
                    <a:pt x="5377" y="2585"/>
                  </a:lnTo>
                  <a:lnTo>
                    <a:pt x="5377" y="2568"/>
                  </a:lnTo>
                  <a:lnTo>
                    <a:pt x="5381" y="2556"/>
                  </a:lnTo>
                  <a:lnTo>
                    <a:pt x="5365" y="2568"/>
                  </a:lnTo>
                  <a:lnTo>
                    <a:pt x="5360" y="2596"/>
                  </a:lnTo>
                  <a:lnTo>
                    <a:pt x="5339" y="2568"/>
                  </a:lnTo>
                  <a:lnTo>
                    <a:pt x="5355" y="2563"/>
                  </a:lnTo>
                  <a:lnTo>
                    <a:pt x="5339" y="2563"/>
                  </a:lnTo>
                  <a:lnTo>
                    <a:pt x="5365" y="2547"/>
                  </a:lnTo>
                  <a:lnTo>
                    <a:pt x="5327" y="2563"/>
                  </a:lnTo>
                  <a:lnTo>
                    <a:pt x="5322" y="2556"/>
                  </a:lnTo>
                  <a:lnTo>
                    <a:pt x="5355" y="2530"/>
                  </a:lnTo>
                  <a:lnTo>
                    <a:pt x="5327" y="2540"/>
                  </a:lnTo>
                  <a:lnTo>
                    <a:pt x="5306" y="2540"/>
                  </a:lnTo>
                  <a:lnTo>
                    <a:pt x="5344" y="2523"/>
                  </a:lnTo>
                  <a:lnTo>
                    <a:pt x="5322" y="2530"/>
                  </a:lnTo>
                  <a:lnTo>
                    <a:pt x="5289" y="2514"/>
                  </a:lnTo>
                  <a:lnTo>
                    <a:pt x="5306" y="2502"/>
                  </a:lnTo>
                  <a:lnTo>
                    <a:pt x="5355" y="2490"/>
                  </a:lnTo>
                  <a:lnTo>
                    <a:pt x="5344" y="2485"/>
                  </a:lnTo>
                  <a:lnTo>
                    <a:pt x="5355" y="2457"/>
                  </a:lnTo>
                  <a:lnTo>
                    <a:pt x="5377" y="2448"/>
                  </a:lnTo>
                  <a:lnTo>
                    <a:pt x="5355" y="2452"/>
                  </a:lnTo>
                  <a:lnTo>
                    <a:pt x="5339" y="2474"/>
                  </a:lnTo>
                  <a:lnTo>
                    <a:pt x="5268" y="2490"/>
                  </a:lnTo>
                  <a:lnTo>
                    <a:pt x="5259" y="2485"/>
                  </a:lnTo>
                  <a:lnTo>
                    <a:pt x="5285" y="2469"/>
                  </a:lnTo>
                  <a:lnTo>
                    <a:pt x="5301" y="2448"/>
                  </a:lnTo>
                  <a:lnTo>
                    <a:pt x="5285" y="2469"/>
                  </a:lnTo>
                  <a:lnTo>
                    <a:pt x="5252" y="2474"/>
                  </a:lnTo>
                  <a:lnTo>
                    <a:pt x="5247" y="2457"/>
                  </a:lnTo>
                  <a:lnTo>
                    <a:pt x="5221" y="2457"/>
                  </a:lnTo>
                  <a:lnTo>
                    <a:pt x="5221" y="2448"/>
                  </a:lnTo>
                  <a:lnTo>
                    <a:pt x="5230" y="2436"/>
                  </a:lnTo>
                  <a:lnTo>
                    <a:pt x="5204" y="2448"/>
                  </a:lnTo>
                  <a:lnTo>
                    <a:pt x="5200" y="2419"/>
                  </a:lnTo>
                  <a:lnTo>
                    <a:pt x="5183" y="2412"/>
                  </a:lnTo>
                  <a:lnTo>
                    <a:pt x="5200" y="2419"/>
                  </a:lnTo>
                  <a:lnTo>
                    <a:pt x="5183" y="2429"/>
                  </a:lnTo>
                  <a:lnTo>
                    <a:pt x="5167" y="2419"/>
                  </a:lnTo>
                  <a:lnTo>
                    <a:pt x="5138" y="2419"/>
                  </a:lnTo>
                  <a:lnTo>
                    <a:pt x="5183" y="2436"/>
                  </a:lnTo>
                  <a:lnTo>
                    <a:pt x="5176" y="2448"/>
                  </a:lnTo>
                  <a:lnTo>
                    <a:pt x="5162" y="2436"/>
                  </a:lnTo>
                  <a:lnTo>
                    <a:pt x="5183" y="2452"/>
                  </a:lnTo>
                  <a:lnTo>
                    <a:pt x="5167" y="2452"/>
                  </a:lnTo>
                  <a:lnTo>
                    <a:pt x="5124" y="2429"/>
                  </a:lnTo>
                  <a:lnTo>
                    <a:pt x="5145" y="2457"/>
                  </a:lnTo>
                  <a:lnTo>
                    <a:pt x="5176" y="2485"/>
                  </a:lnTo>
                  <a:lnTo>
                    <a:pt x="5176" y="2490"/>
                  </a:lnTo>
                  <a:lnTo>
                    <a:pt x="5176" y="2502"/>
                  </a:lnTo>
                  <a:lnTo>
                    <a:pt x="5129" y="2502"/>
                  </a:lnTo>
                  <a:lnTo>
                    <a:pt x="5107" y="2469"/>
                  </a:lnTo>
                  <a:lnTo>
                    <a:pt x="5058" y="2469"/>
                  </a:lnTo>
                  <a:lnTo>
                    <a:pt x="5112" y="2485"/>
                  </a:lnTo>
                  <a:lnTo>
                    <a:pt x="5112" y="2490"/>
                  </a:lnTo>
                  <a:lnTo>
                    <a:pt x="5096" y="2485"/>
                  </a:lnTo>
                  <a:lnTo>
                    <a:pt x="5096" y="2502"/>
                  </a:lnTo>
                  <a:lnTo>
                    <a:pt x="5112" y="2502"/>
                  </a:lnTo>
                  <a:lnTo>
                    <a:pt x="5107" y="2514"/>
                  </a:lnTo>
                  <a:lnTo>
                    <a:pt x="5129" y="2514"/>
                  </a:lnTo>
                  <a:lnTo>
                    <a:pt x="5112" y="2540"/>
                  </a:lnTo>
                  <a:lnTo>
                    <a:pt x="5124" y="2540"/>
                  </a:lnTo>
                  <a:lnTo>
                    <a:pt x="5124" y="2547"/>
                  </a:lnTo>
                  <a:lnTo>
                    <a:pt x="5138" y="2530"/>
                  </a:lnTo>
                  <a:lnTo>
                    <a:pt x="5167" y="2530"/>
                  </a:lnTo>
                  <a:lnTo>
                    <a:pt x="5162" y="2547"/>
                  </a:lnTo>
                  <a:lnTo>
                    <a:pt x="5183" y="2556"/>
                  </a:lnTo>
                  <a:lnTo>
                    <a:pt x="5162" y="2563"/>
                  </a:lnTo>
                  <a:lnTo>
                    <a:pt x="5200" y="2580"/>
                  </a:lnTo>
                  <a:lnTo>
                    <a:pt x="5192" y="2596"/>
                  </a:lnTo>
                  <a:lnTo>
                    <a:pt x="5183" y="2601"/>
                  </a:lnTo>
                  <a:lnTo>
                    <a:pt x="5204" y="2585"/>
                  </a:lnTo>
                  <a:lnTo>
                    <a:pt x="5204" y="2601"/>
                  </a:lnTo>
                  <a:lnTo>
                    <a:pt x="5214" y="2634"/>
                  </a:lnTo>
                  <a:lnTo>
                    <a:pt x="5214" y="2601"/>
                  </a:lnTo>
                  <a:lnTo>
                    <a:pt x="5252" y="2618"/>
                  </a:lnTo>
                  <a:lnTo>
                    <a:pt x="5247" y="2641"/>
                  </a:lnTo>
                  <a:lnTo>
                    <a:pt x="5259" y="2625"/>
                  </a:lnTo>
                  <a:lnTo>
                    <a:pt x="5259" y="2641"/>
                  </a:lnTo>
                  <a:lnTo>
                    <a:pt x="5268" y="2641"/>
                  </a:lnTo>
                  <a:lnTo>
                    <a:pt x="5259" y="2618"/>
                  </a:lnTo>
                  <a:lnTo>
                    <a:pt x="5285" y="2625"/>
                  </a:lnTo>
                  <a:lnTo>
                    <a:pt x="5285" y="2641"/>
                  </a:lnTo>
                  <a:lnTo>
                    <a:pt x="5285" y="2634"/>
                  </a:lnTo>
                  <a:lnTo>
                    <a:pt x="5289" y="2641"/>
                  </a:lnTo>
                  <a:lnTo>
                    <a:pt x="5285" y="2667"/>
                  </a:lnTo>
                  <a:lnTo>
                    <a:pt x="5313" y="2658"/>
                  </a:lnTo>
                  <a:lnTo>
                    <a:pt x="5322" y="2674"/>
                  </a:lnTo>
                  <a:lnTo>
                    <a:pt x="5313" y="2691"/>
                  </a:lnTo>
                  <a:lnTo>
                    <a:pt x="5285" y="2691"/>
                  </a:lnTo>
                  <a:lnTo>
                    <a:pt x="5301" y="2691"/>
                  </a:lnTo>
                  <a:lnTo>
                    <a:pt x="5327" y="2712"/>
                  </a:lnTo>
                  <a:lnTo>
                    <a:pt x="5313" y="2724"/>
                  </a:lnTo>
                  <a:lnTo>
                    <a:pt x="5355" y="2724"/>
                  </a:lnTo>
                  <a:lnTo>
                    <a:pt x="5327" y="2745"/>
                  </a:lnTo>
                  <a:lnTo>
                    <a:pt x="5360" y="2762"/>
                  </a:lnTo>
                  <a:lnTo>
                    <a:pt x="5365" y="2802"/>
                  </a:lnTo>
                  <a:lnTo>
                    <a:pt x="5360" y="2802"/>
                  </a:lnTo>
                  <a:lnTo>
                    <a:pt x="5365" y="2802"/>
                  </a:lnTo>
                  <a:lnTo>
                    <a:pt x="5360" y="2807"/>
                  </a:lnTo>
                  <a:lnTo>
                    <a:pt x="5344" y="2802"/>
                  </a:lnTo>
                  <a:lnTo>
                    <a:pt x="5339" y="2762"/>
                  </a:lnTo>
                  <a:lnTo>
                    <a:pt x="5306" y="2745"/>
                  </a:lnTo>
                  <a:lnTo>
                    <a:pt x="5327" y="2762"/>
                  </a:lnTo>
                  <a:lnTo>
                    <a:pt x="5322" y="2778"/>
                  </a:lnTo>
                  <a:lnTo>
                    <a:pt x="5339" y="2807"/>
                  </a:lnTo>
                  <a:lnTo>
                    <a:pt x="5322" y="2802"/>
                  </a:lnTo>
                  <a:lnTo>
                    <a:pt x="5327" y="2818"/>
                  </a:lnTo>
                  <a:lnTo>
                    <a:pt x="5344" y="2823"/>
                  </a:lnTo>
                  <a:lnTo>
                    <a:pt x="5344" y="2840"/>
                  </a:lnTo>
                  <a:lnTo>
                    <a:pt x="5355" y="2847"/>
                  </a:lnTo>
                  <a:lnTo>
                    <a:pt x="5339" y="2847"/>
                  </a:lnTo>
                  <a:lnTo>
                    <a:pt x="5313" y="2840"/>
                  </a:lnTo>
                  <a:lnTo>
                    <a:pt x="5339" y="2873"/>
                  </a:lnTo>
                  <a:lnTo>
                    <a:pt x="5313" y="2889"/>
                  </a:lnTo>
                  <a:lnTo>
                    <a:pt x="5313" y="2873"/>
                  </a:lnTo>
                  <a:lnTo>
                    <a:pt x="5306" y="2873"/>
                  </a:lnTo>
                  <a:lnTo>
                    <a:pt x="5306" y="2856"/>
                  </a:lnTo>
                  <a:lnTo>
                    <a:pt x="5289" y="2856"/>
                  </a:lnTo>
                  <a:lnTo>
                    <a:pt x="5268" y="2847"/>
                  </a:lnTo>
                  <a:lnTo>
                    <a:pt x="5268" y="2835"/>
                  </a:lnTo>
                  <a:lnTo>
                    <a:pt x="5259" y="2840"/>
                  </a:lnTo>
                  <a:lnTo>
                    <a:pt x="5237" y="2823"/>
                  </a:lnTo>
                  <a:lnTo>
                    <a:pt x="5252" y="2840"/>
                  </a:lnTo>
                  <a:lnTo>
                    <a:pt x="5230" y="2835"/>
                  </a:lnTo>
                  <a:lnTo>
                    <a:pt x="5214" y="2790"/>
                  </a:lnTo>
                  <a:lnTo>
                    <a:pt x="5204" y="2802"/>
                  </a:lnTo>
                  <a:lnTo>
                    <a:pt x="5221" y="2818"/>
                  </a:lnTo>
                  <a:lnTo>
                    <a:pt x="5221" y="2840"/>
                  </a:lnTo>
                  <a:lnTo>
                    <a:pt x="5204" y="2823"/>
                  </a:lnTo>
                  <a:lnTo>
                    <a:pt x="5204" y="2807"/>
                  </a:lnTo>
                  <a:lnTo>
                    <a:pt x="5200" y="2818"/>
                  </a:lnTo>
                  <a:lnTo>
                    <a:pt x="5192" y="2807"/>
                  </a:lnTo>
                  <a:lnTo>
                    <a:pt x="5192" y="2790"/>
                  </a:lnTo>
                  <a:lnTo>
                    <a:pt x="5192" y="2802"/>
                  </a:lnTo>
                  <a:lnTo>
                    <a:pt x="5176" y="2807"/>
                  </a:lnTo>
                  <a:lnTo>
                    <a:pt x="5129" y="2752"/>
                  </a:lnTo>
                  <a:lnTo>
                    <a:pt x="5145" y="2790"/>
                  </a:lnTo>
                  <a:lnTo>
                    <a:pt x="5079" y="2752"/>
                  </a:lnTo>
                  <a:lnTo>
                    <a:pt x="5053" y="2752"/>
                  </a:lnTo>
                  <a:lnTo>
                    <a:pt x="5107" y="2818"/>
                  </a:lnTo>
                  <a:lnTo>
                    <a:pt x="5145" y="2823"/>
                  </a:lnTo>
                  <a:lnTo>
                    <a:pt x="5138" y="2835"/>
                  </a:lnTo>
                  <a:lnTo>
                    <a:pt x="5138" y="2840"/>
                  </a:lnTo>
                  <a:lnTo>
                    <a:pt x="5150" y="2835"/>
                  </a:lnTo>
                  <a:lnTo>
                    <a:pt x="5145" y="2847"/>
                  </a:lnTo>
                  <a:lnTo>
                    <a:pt x="5162" y="2840"/>
                  </a:lnTo>
                  <a:lnTo>
                    <a:pt x="5192" y="2873"/>
                  </a:lnTo>
                  <a:lnTo>
                    <a:pt x="5204" y="2873"/>
                  </a:lnTo>
                  <a:lnTo>
                    <a:pt x="5204" y="2880"/>
                  </a:lnTo>
                  <a:lnTo>
                    <a:pt x="5237" y="2896"/>
                  </a:lnTo>
                  <a:lnTo>
                    <a:pt x="5237" y="2901"/>
                  </a:lnTo>
                  <a:lnTo>
                    <a:pt x="5230" y="2913"/>
                  </a:lnTo>
                  <a:lnTo>
                    <a:pt x="5237" y="2918"/>
                  </a:lnTo>
                  <a:lnTo>
                    <a:pt x="5237" y="2913"/>
                  </a:lnTo>
                  <a:lnTo>
                    <a:pt x="5247" y="2913"/>
                  </a:lnTo>
                  <a:lnTo>
                    <a:pt x="5247" y="2918"/>
                  </a:lnTo>
                  <a:lnTo>
                    <a:pt x="5268" y="2929"/>
                  </a:lnTo>
                  <a:lnTo>
                    <a:pt x="5252" y="2934"/>
                  </a:lnTo>
                  <a:lnTo>
                    <a:pt x="5259" y="2955"/>
                  </a:lnTo>
                  <a:lnTo>
                    <a:pt x="5230" y="2955"/>
                  </a:lnTo>
                  <a:lnTo>
                    <a:pt x="5204" y="2946"/>
                  </a:lnTo>
                  <a:lnTo>
                    <a:pt x="5041" y="2901"/>
                  </a:lnTo>
                  <a:lnTo>
                    <a:pt x="5004" y="2873"/>
                  </a:lnTo>
                  <a:lnTo>
                    <a:pt x="5015" y="2863"/>
                  </a:lnTo>
                  <a:lnTo>
                    <a:pt x="4966" y="2863"/>
                  </a:lnTo>
                  <a:lnTo>
                    <a:pt x="4897" y="2840"/>
                  </a:lnTo>
                  <a:lnTo>
                    <a:pt x="4918" y="2823"/>
                  </a:lnTo>
                  <a:lnTo>
                    <a:pt x="4911" y="2818"/>
                  </a:lnTo>
                  <a:lnTo>
                    <a:pt x="4890" y="2835"/>
                  </a:lnTo>
                  <a:lnTo>
                    <a:pt x="4864" y="2818"/>
                  </a:lnTo>
                  <a:lnTo>
                    <a:pt x="4852" y="2790"/>
                  </a:lnTo>
                  <a:lnTo>
                    <a:pt x="4826" y="2785"/>
                  </a:lnTo>
                  <a:lnTo>
                    <a:pt x="4864" y="2785"/>
                  </a:lnTo>
                  <a:lnTo>
                    <a:pt x="4890" y="2769"/>
                  </a:lnTo>
                  <a:lnTo>
                    <a:pt x="4864" y="2769"/>
                  </a:lnTo>
                  <a:lnTo>
                    <a:pt x="4864" y="2752"/>
                  </a:lnTo>
                  <a:lnTo>
                    <a:pt x="4843" y="2745"/>
                  </a:lnTo>
                  <a:lnTo>
                    <a:pt x="4836" y="2752"/>
                  </a:lnTo>
                  <a:lnTo>
                    <a:pt x="4852" y="2752"/>
                  </a:lnTo>
                  <a:lnTo>
                    <a:pt x="4843" y="2762"/>
                  </a:lnTo>
                  <a:lnTo>
                    <a:pt x="4826" y="2752"/>
                  </a:lnTo>
                  <a:lnTo>
                    <a:pt x="4810" y="2762"/>
                  </a:lnTo>
                  <a:lnTo>
                    <a:pt x="4810" y="2752"/>
                  </a:lnTo>
                  <a:lnTo>
                    <a:pt x="4822" y="2736"/>
                  </a:lnTo>
                  <a:lnTo>
                    <a:pt x="4822" y="2729"/>
                  </a:lnTo>
                  <a:lnTo>
                    <a:pt x="4810" y="2745"/>
                  </a:lnTo>
                  <a:lnTo>
                    <a:pt x="4805" y="2745"/>
                  </a:lnTo>
                  <a:lnTo>
                    <a:pt x="4798" y="2736"/>
                  </a:lnTo>
                  <a:lnTo>
                    <a:pt x="4798" y="2724"/>
                  </a:lnTo>
                  <a:lnTo>
                    <a:pt x="4789" y="2712"/>
                  </a:lnTo>
                  <a:lnTo>
                    <a:pt x="4789" y="2729"/>
                  </a:lnTo>
                  <a:lnTo>
                    <a:pt x="4772" y="2712"/>
                  </a:lnTo>
                  <a:lnTo>
                    <a:pt x="4784" y="2712"/>
                  </a:lnTo>
                  <a:lnTo>
                    <a:pt x="4772" y="2707"/>
                  </a:lnTo>
                  <a:lnTo>
                    <a:pt x="4751" y="2691"/>
                  </a:lnTo>
                  <a:lnTo>
                    <a:pt x="4746" y="2691"/>
                  </a:lnTo>
                  <a:lnTo>
                    <a:pt x="4746" y="2674"/>
                  </a:lnTo>
                  <a:lnTo>
                    <a:pt x="4755" y="2658"/>
                  </a:lnTo>
                  <a:lnTo>
                    <a:pt x="4751" y="2641"/>
                  </a:lnTo>
                  <a:lnTo>
                    <a:pt x="4751" y="2658"/>
                  </a:lnTo>
                  <a:lnTo>
                    <a:pt x="4734" y="2667"/>
                  </a:lnTo>
                  <a:lnTo>
                    <a:pt x="4734" y="2651"/>
                  </a:lnTo>
                  <a:lnTo>
                    <a:pt x="4718" y="2651"/>
                  </a:lnTo>
                  <a:lnTo>
                    <a:pt x="4718" y="2658"/>
                  </a:lnTo>
                  <a:lnTo>
                    <a:pt x="4701" y="2651"/>
                  </a:lnTo>
                  <a:lnTo>
                    <a:pt x="4713" y="2667"/>
                  </a:lnTo>
                  <a:lnTo>
                    <a:pt x="4696" y="2679"/>
                  </a:lnTo>
                  <a:lnTo>
                    <a:pt x="4692" y="2658"/>
                  </a:lnTo>
                  <a:lnTo>
                    <a:pt x="4696" y="2658"/>
                  </a:lnTo>
                  <a:lnTo>
                    <a:pt x="4696" y="2634"/>
                  </a:lnTo>
                  <a:lnTo>
                    <a:pt x="4680" y="2658"/>
                  </a:lnTo>
                  <a:lnTo>
                    <a:pt x="4675" y="2658"/>
                  </a:lnTo>
                  <a:lnTo>
                    <a:pt x="4649" y="2634"/>
                  </a:lnTo>
                  <a:lnTo>
                    <a:pt x="4663" y="2625"/>
                  </a:lnTo>
                  <a:lnTo>
                    <a:pt x="4649" y="2618"/>
                  </a:lnTo>
                  <a:lnTo>
                    <a:pt x="4649" y="2634"/>
                  </a:lnTo>
                  <a:lnTo>
                    <a:pt x="4626" y="2625"/>
                  </a:lnTo>
                  <a:lnTo>
                    <a:pt x="4663" y="2658"/>
                  </a:lnTo>
                  <a:lnTo>
                    <a:pt x="4649" y="2679"/>
                  </a:lnTo>
                  <a:lnTo>
                    <a:pt x="4574" y="2651"/>
                  </a:lnTo>
                  <a:lnTo>
                    <a:pt x="4574" y="2658"/>
                  </a:lnTo>
                  <a:lnTo>
                    <a:pt x="4583" y="2667"/>
                  </a:lnTo>
                  <a:lnTo>
                    <a:pt x="4567" y="2667"/>
                  </a:lnTo>
                  <a:lnTo>
                    <a:pt x="4583" y="2679"/>
                  </a:lnTo>
                  <a:lnTo>
                    <a:pt x="4503" y="2691"/>
                  </a:lnTo>
                  <a:lnTo>
                    <a:pt x="4512" y="2696"/>
                  </a:lnTo>
                  <a:lnTo>
                    <a:pt x="4481" y="2691"/>
                  </a:lnTo>
                  <a:lnTo>
                    <a:pt x="4465" y="2696"/>
                  </a:lnTo>
                  <a:lnTo>
                    <a:pt x="4444" y="2674"/>
                  </a:lnTo>
                  <a:lnTo>
                    <a:pt x="4432" y="2679"/>
                  </a:lnTo>
                  <a:lnTo>
                    <a:pt x="4406" y="2658"/>
                  </a:lnTo>
                  <a:lnTo>
                    <a:pt x="4406" y="2634"/>
                  </a:lnTo>
                  <a:lnTo>
                    <a:pt x="4411" y="2625"/>
                  </a:lnTo>
                  <a:lnTo>
                    <a:pt x="4411" y="2613"/>
                  </a:lnTo>
                  <a:lnTo>
                    <a:pt x="4465" y="2585"/>
                  </a:lnTo>
                  <a:lnTo>
                    <a:pt x="4448" y="2568"/>
                  </a:lnTo>
                  <a:lnTo>
                    <a:pt x="4465" y="2563"/>
                  </a:lnTo>
                  <a:lnTo>
                    <a:pt x="4460" y="2556"/>
                  </a:lnTo>
                  <a:lnTo>
                    <a:pt x="4574" y="2580"/>
                  </a:lnTo>
                  <a:lnTo>
                    <a:pt x="4595" y="2601"/>
                  </a:lnTo>
                  <a:lnTo>
                    <a:pt x="4595" y="2613"/>
                  </a:lnTo>
                  <a:lnTo>
                    <a:pt x="4583" y="2613"/>
                  </a:lnTo>
                  <a:lnTo>
                    <a:pt x="4604" y="2641"/>
                  </a:lnTo>
                  <a:lnTo>
                    <a:pt x="4611" y="2634"/>
                  </a:lnTo>
                  <a:lnTo>
                    <a:pt x="4604" y="2618"/>
                  </a:lnTo>
                  <a:lnTo>
                    <a:pt x="4588" y="2618"/>
                  </a:lnTo>
                  <a:lnTo>
                    <a:pt x="4611" y="2613"/>
                  </a:lnTo>
                  <a:lnTo>
                    <a:pt x="4611" y="2596"/>
                  </a:lnTo>
                  <a:lnTo>
                    <a:pt x="4604" y="2601"/>
                  </a:lnTo>
                  <a:lnTo>
                    <a:pt x="4567" y="2568"/>
                  </a:lnTo>
                  <a:lnTo>
                    <a:pt x="4611" y="2580"/>
                  </a:lnTo>
                  <a:lnTo>
                    <a:pt x="4621" y="2568"/>
                  </a:lnTo>
                  <a:lnTo>
                    <a:pt x="4621" y="2563"/>
                  </a:lnTo>
                  <a:lnTo>
                    <a:pt x="4663" y="2568"/>
                  </a:lnTo>
                  <a:lnTo>
                    <a:pt x="4692" y="2547"/>
                  </a:lnTo>
                  <a:lnTo>
                    <a:pt x="4734" y="2547"/>
                  </a:lnTo>
                  <a:lnTo>
                    <a:pt x="4718" y="2514"/>
                  </a:lnTo>
                  <a:lnTo>
                    <a:pt x="4696" y="2502"/>
                  </a:lnTo>
                  <a:lnTo>
                    <a:pt x="4663" y="2469"/>
                  </a:lnTo>
                  <a:lnTo>
                    <a:pt x="4734" y="2419"/>
                  </a:lnTo>
                  <a:lnTo>
                    <a:pt x="4755" y="2403"/>
                  </a:lnTo>
                  <a:lnTo>
                    <a:pt x="4784" y="2363"/>
                  </a:lnTo>
                  <a:lnTo>
                    <a:pt x="4810" y="2358"/>
                  </a:lnTo>
                  <a:lnTo>
                    <a:pt x="4822" y="2341"/>
                  </a:lnTo>
                  <a:lnTo>
                    <a:pt x="4805" y="2292"/>
                  </a:lnTo>
                  <a:lnTo>
                    <a:pt x="4789" y="2285"/>
                  </a:lnTo>
                  <a:lnTo>
                    <a:pt x="4798" y="2268"/>
                  </a:lnTo>
                  <a:lnTo>
                    <a:pt x="4772" y="2252"/>
                  </a:lnTo>
                  <a:lnTo>
                    <a:pt x="4772" y="2247"/>
                  </a:lnTo>
                  <a:lnTo>
                    <a:pt x="4767" y="2226"/>
                  </a:lnTo>
                  <a:lnTo>
                    <a:pt x="4734" y="2214"/>
                  </a:lnTo>
                  <a:lnTo>
                    <a:pt x="4751" y="2197"/>
                  </a:lnTo>
                  <a:lnTo>
                    <a:pt x="4729" y="2214"/>
                  </a:lnTo>
                  <a:lnTo>
                    <a:pt x="4713" y="2209"/>
                  </a:lnTo>
                  <a:lnTo>
                    <a:pt x="4701" y="2181"/>
                  </a:lnTo>
                  <a:lnTo>
                    <a:pt x="4718" y="2181"/>
                  </a:lnTo>
                  <a:lnTo>
                    <a:pt x="4718" y="2157"/>
                  </a:lnTo>
                  <a:lnTo>
                    <a:pt x="4692" y="2157"/>
                  </a:lnTo>
                  <a:lnTo>
                    <a:pt x="4701" y="2176"/>
                  </a:lnTo>
                  <a:lnTo>
                    <a:pt x="4696" y="2181"/>
                  </a:lnTo>
                  <a:lnTo>
                    <a:pt x="4675" y="2176"/>
                  </a:lnTo>
                  <a:lnTo>
                    <a:pt x="4649" y="2152"/>
                  </a:lnTo>
                  <a:lnTo>
                    <a:pt x="4659" y="2140"/>
                  </a:lnTo>
                  <a:lnTo>
                    <a:pt x="4637" y="2140"/>
                  </a:lnTo>
                  <a:lnTo>
                    <a:pt x="4649" y="2124"/>
                  </a:lnTo>
                  <a:lnTo>
                    <a:pt x="4626" y="2124"/>
                  </a:lnTo>
                  <a:lnTo>
                    <a:pt x="4649" y="2119"/>
                  </a:lnTo>
                  <a:lnTo>
                    <a:pt x="4642" y="2115"/>
                  </a:lnTo>
                  <a:lnTo>
                    <a:pt x="4626" y="2119"/>
                  </a:lnTo>
                  <a:lnTo>
                    <a:pt x="4621" y="2136"/>
                  </a:lnTo>
                  <a:lnTo>
                    <a:pt x="4595" y="2119"/>
                  </a:lnTo>
                  <a:lnTo>
                    <a:pt x="4588" y="2136"/>
                  </a:lnTo>
                  <a:lnTo>
                    <a:pt x="4512" y="2157"/>
                  </a:lnTo>
                  <a:lnTo>
                    <a:pt x="4512" y="2152"/>
                  </a:lnTo>
                  <a:lnTo>
                    <a:pt x="4519" y="2136"/>
                  </a:lnTo>
                  <a:lnTo>
                    <a:pt x="4512" y="2124"/>
                  </a:lnTo>
                  <a:lnTo>
                    <a:pt x="4512" y="2119"/>
                  </a:lnTo>
                  <a:lnTo>
                    <a:pt x="4557" y="2119"/>
                  </a:lnTo>
                  <a:lnTo>
                    <a:pt x="4588" y="2115"/>
                  </a:lnTo>
                  <a:lnTo>
                    <a:pt x="4588" y="2098"/>
                  </a:lnTo>
                  <a:lnTo>
                    <a:pt x="4512" y="2048"/>
                  </a:lnTo>
                  <a:lnTo>
                    <a:pt x="4529" y="2041"/>
                  </a:lnTo>
                  <a:lnTo>
                    <a:pt x="4541" y="2029"/>
                  </a:lnTo>
                  <a:lnTo>
                    <a:pt x="4512" y="2029"/>
                  </a:lnTo>
                  <a:lnTo>
                    <a:pt x="4519" y="2041"/>
                  </a:lnTo>
                  <a:lnTo>
                    <a:pt x="4512" y="2048"/>
                  </a:lnTo>
                  <a:lnTo>
                    <a:pt x="4474" y="2041"/>
                  </a:lnTo>
                  <a:lnTo>
                    <a:pt x="4503" y="2029"/>
                  </a:lnTo>
                  <a:lnTo>
                    <a:pt x="4498" y="2013"/>
                  </a:lnTo>
                  <a:lnTo>
                    <a:pt x="4465" y="2013"/>
                  </a:lnTo>
                  <a:lnTo>
                    <a:pt x="4486" y="2003"/>
                  </a:lnTo>
                  <a:lnTo>
                    <a:pt x="4444" y="2025"/>
                  </a:lnTo>
                  <a:lnTo>
                    <a:pt x="4444" y="1970"/>
                  </a:lnTo>
                  <a:lnTo>
                    <a:pt x="4427" y="1959"/>
                  </a:lnTo>
                  <a:lnTo>
                    <a:pt x="4389" y="1970"/>
                  </a:lnTo>
                  <a:lnTo>
                    <a:pt x="4389" y="1954"/>
                  </a:lnTo>
                  <a:lnTo>
                    <a:pt x="4389" y="1947"/>
                  </a:lnTo>
                  <a:lnTo>
                    <a:pt x="4378" y="1954"/>
                  </a:lnTo>
                  <a:lnTo>
                    <a:pt x="4368" y="1937"/>
                  </a:lnTo>
                  <a:lnTo>
                    <a:pt x="4340" y="1930"/>
                  </a:lnTo>
                  <a:lnTo>
                    <a:pt x="4340" y="1921"/>
                  </a:lnTo>
                  <a:lnTo>
                    <a:pt x="4356" y="1914"/>
                  </a:lnTo>
                  <a:lnTo>
                    <a:pt x="4368" y="1921"/>
                  </a:lnTo>
                  <a:lnTo>
                    <a:pt x="4352" y="1904"/>
                  </a:lnTo>
                  <a:lnTo>
                    <a:pt x="4335" y="1914"/>
                  </a:lnTo>
                  <a:lnTo>
                    <a:pt x="4340" y="1914"/>
                  </a:lnTo>
                  <a:lnTo>
                    <a:pt x="4335" y="1937"/>
                  </a:lnTo>
                  <a:lnTo>
                    <a:pt x="4318" y="1930"/>
                  </a:lnTo>
                  <a:lnTo>
                    <a:pt x="4302" y="1947"/>
                  </a:lnTo>
                  <a:lnTo>
                    <a:pt x="4356" y="1954"/>
                  </a:lnTo>
                  <a:lnTo>
                    <a:pt x="4373" y="1992"/>
                  </a:lnTo>
                  <a:lnTo>
                    <a:pt x="4368" y="2008"/>
                  </a:lnTo>
                  <a:lnTo>
                    <a:pt x="4302" y="2008"/>
                  </a:lnTo>
                  <a:lnTo>
                    <a:pt x="4271" y="1992"/>
                  </a:lnTo>
                  <a:lnTo>
                    <a:pt x="4158" y="1975"/>
                  </a:lnTo>
                  <a:lnTo>
                    <a:pt x="4196" y="1992"/>
                  </a:lnTo>
                  <a:lnTo>
                    <a:pt x="4226" y="2025"/>
                  </a:lnTo>
                  <a:lnTo>
                    <a:pt x="4210" y="2029"/>
                  </a:lnTo>
                  <a:lnTo>
                    <a:pt x="4134" y="1975"/>
                  </a:lnTo>
                  <a:lnTo>
                    <a:pt x="4066" y="1954"/>
                  </a:lnTo>
                  <a:lnTo>
                    <a:pt x="4158" y="2003"/>
                  </a:lnTo>
                  <a:lnTo>
                    <a:pt x="4125" y="2025"/>
                  </a:lnTo>
                  <a:lnTo>
                    <a:pt x="4096" y="2008"/>
                  </a:lnTo>
                  <a:lnTo>
                    <a:pt x="4096" y="2008"/>
                  </a:lnTo>
                  <a:lnTo>
                    <a:pt x="4096" y="2008"/>
                  </a:lnTo>
                  <a:close/>
                  <a:moveTo>
                    <a:pt x="4226" y="1493"/>
                  </a:moveTo>
                  <a:lnTo>
                    <a:pt x="4318" y="1510"/>
                  </a:lnTo>
                  <a:lnTo>
                    <a:pt x="4406" y="1498"/>
                  </a:lnTo>
                  <a:lnTo>
                    <a:pt x="4460" y="1515"/>
                  </a:lnTo>
                  <a:lnTo>
                    <a:pt x="4474" y="1526"/>
                  </a:lnTo>
                  <a:lnTo>
                    <a:pt x="4486" y="1543"/>
                  </a:lnTo>
                  <a:lnTo>
                    <a:pt x="4512" y="1548"/>
                  </a:lnTo>
                  <a:lnTo>
                    <a:pt x="4519" y="1571"/>
                  </a:lnTo>
                  <a:lnTo>
                    <a:pt x="4536" y="1581"/>
                  </a:lnTo>
                  <a:lnTo>
                    <a:pt x="4536" y="1597"/>
                  </a:lnTo>
                  <a:lnTo>
                    <a:pt x="4557" y="1604"/>
                  </a:lnTo>
                  <a:lnTo>
                    <a:pt x="4519" y="1621"/>
                  </a:lnTo>
                  <a:lnTo>
                    <a:pt x="4406" y="1609"/>
                  </a:lnTo>
                  <a:lnTo>
                    <a:pt x="4314" y="1626"/>
                  </a:lnTo>
                  <a:lnTo>
                    <a:pt x="4281" y="1609"/>
                  </a:lnTo>
                  <a:lnTo>
                    <a:pt x="4264" y="1588"/>
                  </a:lnTo>
                  <a:lnTo>
                    <a:pt x="4264" y="1564"/>
                  </a:lnTo>
                  <a:lnTo>
                    <a:pt x="4217" y="1548"/>
                  </a:lnTo>
                  <a:lnTo>
                    <a:pt x="4217" y="1493"/>
                  </a:lnTo>
                  <a:lnTo>
                    <a:pt x="4226" y="1493"/>
                  </a:lnTo>
                  <a:lnTo>
                    <a:pt x="4226" y="1493"/>
                  </a:lnTo>
                  <a:lnTo>
                    <a:pt x="4226" y="1493"/>
                  </a:lnTo>
                  <a:close/>
                  <a:moveTo>
                    <a:pt x="2504" y="1604"/>
                  </a:moveTo>
                  <a:lnTo>
                    <a:pt x="2500" y="1604"/>
                  </a:lnTo>
                  <a:lnTo>
                    <a:pt x="2516" y="1609"/>
                  </a:lnTo>
                  <a:lnTo>
                    <a:pt x="2500" y="1609"/>
                  </a:lnTo>
                  <a:lnTo>
                    <a:pt x="2424" y="1543"/>
                  </a:lnTo>
                  <a:lnTo>
                    <a:pt x="2381" y="1526"/>
                  </a:lnTo>
                  <a:lnTo>
                    <a:pt x="2415" y="1493"/>
                  </a:lnTo>
                  <a:lnTo>
                    <a:pt x="2490" y="1486"/>
                  </a:lnTo>
                  <a:lnTo>
                    <a:pt x="2516" y="1486"/>
                  </a:lnTo>
                  <a:lnTo>
                    <a:pt x="2559" y="1515"/>
                  </a:lnTo>
                  <a:lnTo>
                    <a:pt x="2554" y="1548"/>
                  </a:lnTo>
                  <a:lnTo>
                    <a:pt x="2504" y="1604"/>
                  </a:lnTo>
                  <a:lnTo>
                    <a:pt x="2504" y="1604"/>
                  </a:lnTo>
                  <a:lnTo>
                    <a:pt x="2504" y="1604"/>
                  </a:lnTo>
                  <a:close/>
                  <a:moveTo>
                    <a:pt x="1151" y="1493"/>
                  </a:moveTo>
                  <a:lnTo>
                    <a:pt x="1156" y="1498"/>
                  </a:lnTo>
                  <a:lnTo>
                    <a:pt x="1139" y="1493"/>
                  </a:lnTo>
                  <a:lnTo>
                    <a:pt x="1151" y="1493"/>
                  </a:lnTo>
                  <a:lnTo>
                    <a:pt x="1151" y="1493"/>
                  </a:lnTo>
                  <a:lnTo>
                    <a:pt x="1151" y="1493"/>
                  </a:lnTo>
                  <a:close/>
                  <a:moveTo>
                    <a:pt x="1172" y="1510"/>
                  </a:moveTo>
                  <a:lnTo>
                    <a:pt x="1189" y="1515"/>
                  </a:lnTo>
                  <a:lnTo>
                    <a:pt x="1172" y="1515"/>
                  </a:lnTo>
                  <a:lnTo>
                    <a:pt x="1172" y="1510"/>
                  </a:lnTo>
                  <a:lnTo>
                    <a:pt x="1172" y="1510"/>
                  </a:lnTo>
                  <a:lnTo>
                    <a:pt x="1172" y="1510"/>
                  </a:lnTo>
                  <a:close/>
                  <a:moveTo>
                    <a:pt x="2339" y="1515"/>
                  </a:moveTo>
                  <a:lnTo>
                    <a:pt x="2306" y="1510"/>
                  </a:lnTo>
                  <a:lnTo>
                    <a:pt x="2344" y="1510"/>
                  </a:lnTo>
                  <a:lnTo>
                    <a:pt x="2339" y="1515"/>
                  </a:lnTo>
                  <a:lnTo>
                    <a:pt x="2339" y="1515"/>
                  </a:lnTo>
                  <a:lnTo>
                    <a:pt x="2339" y="1515"/>
                  </a:lnTo>
                  <a:close/>
                  <a:moveTo>
                    <a:pt x="2814" y="2025"/>
                  </a:moveTo>
                  <a:lnTo>
                    <a:pt x="2807" y="2041"/>
                  </a:lnTo>
                  <a:lnTo>
                    <a:pt x="2785" y="2029"/>
                  </a:lnTo>
                  <a:lnTo>
                    <a:pt x="2776" y="2013"/>
                  </a:lnTo>
                  <a:lnTo>
                    <a:pt x="2776" y="2008"/>
                  </a:lnTo>
                  <a:lnTo>
                    <a:pt x="2759" y="2029"/>
                  </a:lnTo>
                  <a:lnTo>
                    <a:pt x="2722" y="2003"/>
                  </a:lnTo>
                  <a:lnTo>
                    <a:pt x="2700" y="2025"/>
                  </a:lnTo>
                  <a:lnTo>
                    <a:pt x="2693" y="2025"/>
                  </a:lnTo>
                  <a:lnTo>
                    <a:pt x="2700" y="2029"/>
                  </a:lnTo>
                  <a:lnTo>
                    <a:pt x="2700" y="2048"/>
                  </a:lnTo>
                  <a:lnTo>
                    <a:pt x="2693" y="2048"/>
                  </a:lnTo>
                  <a:lnTo>
                    <a:pt x="2630" y="2029"/>
                  </a:lnTo>
                  <a:lnTo>
                    <a:pt x="2630" y="2041"/>
                  </a:lnTo>
                  <a:lnTo>
                    <a:pt x="2663" y="2058"/>
                  </a:lnTo>
                  <a:lnTo>
                    <a:pt x="2663" y="2086"/>
                  </a:lnTo>
                  <a:lnTo>
                    <a:pt x="2651" y="2098"/>
                  </a:lnTo>
                  <a:lnTo>
                    <a:pt x="2651" y="2103"/>
                  </a:lnTo>
                  <a:lnTo>
                    <a:pt x="2679" y="2070"/>
                  </a:lnTo>
                  <a:lnTo>
                    <a:pt x="2717" y="2058"/>
                  </a:lnTo>
                  <a:lnTo>
                    <a:pt x="2738" y="2065"/>
                  </a:lnTo>
                  <a:lnTo>
                    <a:pt x="2722" y="2086"/>
                  </a:lnTo>
                  <a:lnTo>
                    <a:pt x="2731" y="2098"/>
                  </a:lnTo>
                  <a:lnTo>
                    <a:pt x="2738" y="2086"/>
                  </a:lnTo>
                  <a:lnTo>
                    <a:pt x="2755" y="2098"/>
                  </a:lnTo>
                  <a:lnTo>
                    <a:pt x="2748" y="2119"/>
                  </a:lnTo>
                  <a:lnTo>
                    <a:pt x="2679" y="2140"/>
                  </a:lnTo>
                  <a:lnTo>
                    <a:pt x="2651" y="2140"/>
                  </a:lnTo>
                  <a:lnTo>
                    <a:pt x="2641" y="2152"/>
                  </a:lnTo>
                  <a:lnTo>
                    <a:pt x="2559" y="2124"/>
                  </a:lnTo>
                  <a:lnTo>
                    <a:pt x="2554" y="2136"/>
                  </a:lnTo>
                  <a:lnTo>
                    <a:pt x="2516" y="2136"/>
                  </a:lnTo>
                  <a:lnTo>
                    <a:pt x="2504" y="2124"/>
                  </a:lnTo>
                  <a:lnTo>
                    <a:pt x="2533" y="2115"/>
                  </a:lnTo>
                  <a:lnTo>
                    <a:pt x="2431" y="2098"/>
                  </a:lnTo>
                  <a:lnTo>
                    <a:pt x="2436" y="2081"/>
                  </a:lnTo>
                  <a:lnTo>
                    <a:pt x="2431" y="2070"/>
                  </a:lnTo>
                  <a:lnTo>
                    <a:pt x="2415" y="2058"/>
                  </a:lnTo>
                  <a:lnTo>
                    <a:pt x="2381" y="2081"/>
                  </a:lnTo>
                  <a:lnTo>
                    <a:pt x="2393" y="2098"/>
                  </a:lnTo>
                  <a:lnTo>
                    <a:pt x="2360" y="2119"/>
                  </a:lnTo>
                  <a:lnTo>
                    <a:pt x="2273" y="2124"/>
                  </a:lnTo>
                  <a:lnTo>
                    <a:pt x="2273" y="2136"/>
                  </a:lnTo>
                  <a:lnTo>
                    <a:pt x="2235" y="2157"/>
                  </a:lnTo>
                  <a:lnTo>
                    <a:pt x="2155" y="2176"/>
                  </a:lnTo>
                  <a:lnTo>
                    <a:pt x="2074" y="2176"/>
                  </a:lnTo>
                  <a:lnTo>
                    <a:pt x="2091" y="2181"/>
                  </a:lnTo>
                  <a:lnTo>
                    <a:pt x="1944" y="2192"/>
                  </a:lnTo>
                  <a:lnTo>
                    <a:pt x="1961" y="2181"/>
                  </a:lnTo>
                  <a:lnTo>
                    <a:pt x="1933" y="2176"/>
                  </a:lnTo>
                  <a:lnTo>
                    <a:pt x="1923" y="2140"/>
                  </a:lnTo>
                  <a:lnTo>
                    <a:pt x="1928" y="2115"/>
                  </a:lnTo>
                  <a:lnTo>
                    <a:pt x="1911" y="2098"/>
                  </a:lnTo>
                  <a:lnTo>
                    <a:pt x="1928" y="2098"/>
                  </a:lnTo>
                  <a:lnTo>
                    <a:pt x="1874" y="2086"/>
                  </a:lnTo>
                  <a:lnTo>
                    <a:pt x="1760" y="2081"/>
                  </a:lnTo>
                  <a:lnTo>
                    <a:pt x="1718" y="2070"/>
                  </a:lnTo>
                  <a:lnTo>
                    <a:pt x="1713" y="2065"/>
                  </a:lnTo>
                  <a:lnTo>
                    <a:pt x="1713" y="2048"/>
                  </a:lnTo>
                  <a:lnTo>
                    <a:pt x="1692" y="2048"/>
                  </a:lnTo>
                  <a:lnTo>
                    <a:pt x="1696" y="2041"/>
                  </a:lnTo>
                  <a:lnTo>
                    <a:pt x="1663" y="2025"/>
                  </a:lnTo>
                  <a:lnTo>
                    <a:pt x="1654" y="1992"/>
                  </a:lnTo>
                  <a:lnTo>
                    <a:pt x="1680" y="1975"/>
                  </a:lnTo>
                  <a:lnTo>
                    <a:pt x="1815" y="1959"/>
                  </a:lnTo>
                  <a:lnTo>
                    <a:pt x="1874" y="1954"/>
                  </a:lnTo>
                  <a:lnTo>
                    <a:pt x="1999" y="1970"/>
                  </a:lnTo>
                  <a:lnTo>
                    <a:pt x="2030" y="1959"/>
                  </a:lnTo>
                  <a:lnTo>
                    <a:pt x="2015" y="1954"/>
                  </a:lnTo>
                  <a:lnTo>
                    <a:pt x="2074" y="1954"/>
                  </a:lnTo>
                  <a:lnTo>
                    <a:pt x="2067" y="1954"/>
                  </a:lnTo>
                  <a:lnTo>
                    <a:pt x="2037" y="1947"/>
                  </a:lnTo>
                  <a:lnTo>
                    <a:pt x="2020" y="1930"/>
                  </a:lnTo>
                  <a:lnTo>
                    <a:pt x="1895" y="1897"/>
                  </a:lnTo>
                  <a:lnTo>
                    <a:pt x="1815" y="1914"/>
                  </a:lnTo>
                  <a:lnTo>
                    <a:pt x="1642" y="1914"/>
                  </a:lnTo>
                  <a:lnTo>
                    <a:pt x="1583" y="1864"/>
                  </a:lnTo>
                  <a:lnTo>
                    <a:pt x="1626" y="1843"/>
                  </a:lnTo>
                  <a:lnTo>
                    <a:pt x="1772" y="1810"/>
                  </a:lnTo>
                  <a:lnTo>
                    <a:pt x="1751" y="1803"/>
                  </a:lnTo>
                  <a:lnTo>
                    <a:pt x="1765" y="1803"/>
                  </a:lnTo>
                  <a:lnTo>
                    <a:pt x="1798" y="1803"/>
                  </a:lnTo>
                  <a:lnTo>
                    <a:pt x="1819" y="1793"/>
                  </a:lnTo>
                  <a:lnTo>
                    <a:pt x="1772" y="1786"/>
                  </a:lnTo>
                  <a:lnTo>
                    <a:pt x="1659" y="1810"/>
                  </a:lnTo>
                  <a:lnTo>
                    <a:pt x="1659" y="1803"/>
                  </a:lnTo>
                  <a:lnTo>
                    <a:pt x="1642" y="1793"/>
                  </a:lnTo>
                  <a:lnTo>
                    <a:pt x="1642" y="1803"/>
                  </a:lnTo>
                  <a:lnTo>
                    <a:pt x="1654" y="1803"/>
                  </a:lnTo>
                  <a:lnTo>
                    <a:pt x="1642" y="1810"/>
                  </a:lnTo>
                  <a:lnTo>
                    <a:pt x="1604" y="1810"/>
                  </a:lnTo>
                  <a:lnTo>
                    <a:pt x="1588" y="1803"/>
                  </a:lnTo>
                  <a:lnTo>
                    <a:pt x="1637" y="1786"/>
                  </a:lnTo>
                  <a:lnTo>
                    <a:pt x="1621" y="1781"/>
                  </a:lnTo>
                  <a:lnTo>
                    <a:pt x="1637" y="1770"/>
                  </a:lnTo>
                  <a:lnTo>
                    <a:pt x="1588" y="1786"/>
                  </a:lnTo>
                  <a:lnTo>
                    <a:pt x="1555" y="1770"/>
                  </a:lnTo>
                  <a:lnTo>
                    <a:pt x="1550" y="1786"/>
                  </a:lnTo>
                  <a:lnTo>
                    <a:pt x="1533" y="1781"/>
                  </a:lnTo>
                  <a:lnTo>
                    <a:pt x="1533" y="1765"/>
                  </a:lnTo>
                  <a:lnTo>
                    <a:pt x="1533" y="1737"/>
                  </a:lnTo>
                  <a:lnTo>
                    <a:pt x="1567" y="1715"/>
                  </a:lnTo>
                  <a:lnTo>
                    <a:pt x="1604" y="1699"/>
                  </a:lnTo>
                  <a:lnTo>
                    <a:pt x="1604" y="1682"/>
                  </a:lnTo>
                  <a:lnTo>
                    <a:pt x="1571" y="1675"/>
                  </a:lnTo>
                  <a:lnTo>
                    <a:pt x="1571" y="1659"/>
                  </a:lnTo>
                  <a:lnTo>
                    <a:pt x="1659" y="1604"/>
                  </a:lnTo>
                  <a:lnTo>
                    <a:pt x="1852" y="1543"/>
                  </a:lnTo>
                  <a:lnTo>
                    <a:pt x="1878" y="1548"/>
                  </a:lnTo>
                  <a:lnTo>
                    <a:pt x="1895" y="1571"/>
                  </a:lnTo>
                  <a:lnTo>
                    <a:pt x="1890" y="1609"/>
                  </a:lnTo>
                  <a:lnTo>
                    <a:pt x="1895" y="1621"/>
                  </a:lnTo>
                  <a:lnTo>
                    <a:pt x="1869" y="1626"/>
                  </a:lnTo>
                  <a:lnTo>
                    <a:pt x="1869" y="1642"/>
                  </a:lnTo>
                  <a:lnTo>
                    <a:pt x="1852" y="1654"/>
                  </a:lnTo>
                  <a:lnTo>
                    <a:pt x="1857" y="1654"/>
                  </a:lnTo>
                  <a:lnTo>
                    <a:pt x="1928" y="1637"/>
                  </a:lnTo>
                  <a:lnTo>
                    <a:pt x="1933" y="1626"/>
                  </a:lnTo>
                  <a:lnTo>
                    <a:pt x="1923" y="1621"/>
                  </a:lnTo>
                  <a:lnTo>
                    <a:pt x="1961" y="1597"/>
                  </a:lnTo>
                  <a:lnTo>
                    <a:pt x="2091" y="1637"/>
                  </a:lnTo>
                  <a:lnTo>
                    <a:pt x="2084" y="1654"/>
                  </a:lnTo>
                  <a:lnTo>
                    <a:pt x="2046" y="1682"/>
                  </a:lnTo>
                  <a:lnTo>
                    <a:pt x="2058" y="1692"/>
                  </a:lnTo>
                  <a:lnTo>
                    <a:pt x="2074" y="1682"/>
                  </a:lnTo>
                  <a:lnTo>
                    <a:pt x="2058" y="1682"/>
                  </a:lnTo>
                  <a:lnTo>
                    <a:pt x="2084" y="1666"/>
                  </a:lnTo>
                  <a:lnTo>
                    <a:pt x="2091" y="1666"/>
                  </a:lnTo>
                  <a:lnTo>
                    <a:pt x="2084" y="1682"/>
                  </a:lnTo>
                  <a:lnTo>
                    <a:pt x="2100" y="1682"/>
                  </a:lnTo>
                  <a:lnTo>
                    <a:pt x="2105" y="1666"/>
                  </a:lnTo>
                  <a:lnTo>
                    <a:pt x="2129" y="1654"/>
                  </a:lnTo>
                  <a:lnTo>
                    <a:pt x="2155" y="1666"/>
                  </a:lnTo>
                  <a:lnTo>
                    <a:pt x="2138" y="1659"/>
                  </a:lnTo>
                  <a:lnTo>
                    <a:pt x="2155" y="1654"/>
                  </a:lnTo>
                  <a:lnTo>
                    <a:pt x="2193" y="1666"/>
                  </a:lnTo>
                  <a:lnTo>
                    <a:pt x="2159" y="1654"/>
                  </a:lnTo>
                  <a:lnTo>
                    <a:pt x="2193" y="1659"/>
                  </a:lnTo>
                  <a:lnTo>
                    <a:pt x="2176" y="1642"/>
                  </a:lnTo>
                  <a:lnTo>
                    <a:pt x="2155" y="1637"/>
                  </a:lnTo>
                  <a:lnTo>
                    <a:pt x="2193" y="1626"/>
                  </a:lnTo>
                  <a:lnTo>
                    <a:pt x="2138" y="1609"/>
                  </a:lnTo>
                  <a:lnTo>
                    <a:pt x="2122" y="1597"/>
                  </a:lnTo>
                  <a:lnTo>
                    <a:pt x="2143" y="1588"/>
                  </a:lnTo>
                  <a:lnTo>
                    <a:pt x="2197" y="1604"/>
                  </a:lnTo>
                  <a:lnTo>
                    <a:pt x="2193" y="1609"/>
                  </a:lnTo>
                  <a:lnTo>
                    <a:pt x="2230" y="1626"/>
                  </a:lnTo>
                  <a:lnTo>
                    <a:pt x="2247" y="1637"/>
                  </a:lnTo>
                  <a:lnTo>
                    <a:pt x="2247" y="1654"/>
                  </a:lnTo>
                  <a:lnTo>
                    <a:pt x="2273" y="1654"/>
                  </a:lnTo>
                  <a:lnTo>
                    <a:pt x="2268" y="1682"/>
                  </a:lnTo>
                  <a:lnTo>
                    <a:pt x="2285" y="1708"/>
                  </a:lnTo>
                  <a:lnTo>
                    <a:pt x="2289" y="1725"/>
                  </a:lnTo>
                  <a:lnTo>
                    <a:pt x="2301" y="1737"/>
                  </a:lnTo>
                  <a:lnTo>
                    <a:pt x="2301" y="1748"/>
                  </a:lnTo>
                  <a:lnTo>
                    <a:pt x="2301" y="1770"/>
                  </a:lnTo>
                  <a:lnTo>
                    <a:pt x="2327" y="1781"/>
                  </a:lnTo>
                  <a:lnTo>
                    <a:pt x="2327" y="1770"/>
                  </a:lnTo>
                  <a:lnTo>
                    <a:pt x="2370" y="1748"/>
                  </a:lnTo>
                  <a:lnTo>
                    <a:pt x="2327" y="1708"/>
                  </a:lnTo>
                  <a:lnTo>
                    <a:pt x="2322" y="1654"/>
                  </a:lnTo>
                  <a:lnTo>
                    <a:pt x="2318" y="1642"/>
                  </a:lnTo>
                  <a:lnTo>
                    <a:pt x="2289" y="1571"/>
                  </a:lnTo>
                  <a:lnTo>
                    <a:pt x="2322" y="1564"/>
                  </a:lnTo>
                  <a:lnTo>
                    <a:pt x="2306" y="1555"/>
                  </a:lnTo>
                  <a:lnTo>
                    <a:pt x="2318" y="1548"/>
                  </a:lnTo>
                  <a:lnTo>
                    <a:pt x="2381" y="1571"/>
                  </a:lnTo>
                  <a:lnTo>
                    <a:pt x="2381" y="1564"/>
                  </a:lnTo>
                  <a:lnTo>
                    <a:pt x="2377" y="1555"/>
                  </a:lnTo>
                  <a:lnTo>
                    <a:pt x="2398" y="1548"/>
                  </a:lnTo>
                  <a:lnTo>
                    <a:pt x="2436" y="1581"/>
                  </a:lnTo>
                  <a:lnTo>
                    <a:pt x="2469" y="1588"/>
                  </a:lnTo>
                  <a:lnTo>
                    <a:pt x="2500" y="1626"/>
                  </a:lnTo>
                  <a:lnTo>
                    <a:pt x="2490" y="1626"/>
                  </a:lnTo>
                  <a:lnTo>
                    <a:pt x="2516" y="1666"/>
                  </a:lnTo>
                  <a:lnTo>
                    <a:pt x="2504" y="1666"/>
                  </a:lnTo>
                  <a:lnTo>
                    <a:pt x="2533" y="1708"/>
                  </a:lnTo>
                  <a:lnTo>
                    <a:pt x="2521" y="1725"/>
                  </a:lnTo>
                  <a:lnTo>
                    <a:pt x="2570" y="1786"/>
                  </a:lnTo>
                  <a:lnTo>
                    <a:pt x="2570" y="1793"/>
                  </a:lnTo>
                  <a:lnTo>
                    <a:pt x="2570" y="1810"/>
                  </a:lnTo>
                  <a:lnTo>
                    <a:pt x="2559" y="1819"/>
                  </a:lnTo>
                  <a:lnTo>
                    <a:pt x="2570" y="1836"/>
                  </a:lnTo>
                  <a:lnTo>
                    <a:pt x="2554" y="1848"/>
                  </a:lnTo>
                  <a:lnTo>
                    <a:pt x="2630" y="1914"/>
                  </a:lnTo>
                  <a:lnTo>
                    <a:pt x="2667" y="1930"/>
                  </a:lnTo>
                  <a:lnTo>
                    <a:pt x="2651" y="1921"/>
                  </a:lnTo>
                  <a:lnTo>
                    <a:pt x="2651" y="1904"/>
                  </a:lnTo>
                  <a:lnTo>
                    <a:pt x="2663" y="1904"/>
                  </a:lnTo>
                  <a:lnTo>
                    <a:pt x="2684" y="1930"/>
                  </a:lnTo>
                  <a:lnTo>
                    <a:pt x="2738" y="1959"/>
                  </a:lnTo>
                  <a:lnTo>
                    <a:pt x="2759" y="1959"/>
                  </a:lnTo>
                  <a:lnTo>
                    <a:pt x="2759" y="1970"/>
                  </a:lnTo>
                  <a:lnTo>
                    <a:pt x="2769" y="1975"/>
                  </a:lnTo>
                  <a:lnTo>
                    <a:pt x="2807" y="1970"/>
                  </a:lnTo>
                  <a:lnTo>
                    <a:pt x="2814" y="2025"/>
                  </a:lnTo>
                  <a:lnTo>
                    <a:pt x="2814" y="2025"/>
                  </a:lnTo>
                  <a:lnTo>
                    <a:pt x="2814" y="2025"/>
                  </a:lnTo>
                  <a:close/>
                  <a:moveTo>
                    <a:pt x="3083" y="1555"/>
                  </a:moveTo>
                  <a:lnTo>
                    <a:pt x="3095" y="1564"/>
                  </a:lnTo>
                  <a:lnTo>
                    <a:pt x="3078" y="1555"/>
                  </a:lnTo>
                  <a:lnTo>
                    <a:pt x="3083" y="1555"/>
                  </a:lnTo>
                  <a:lnTo>
                    <a:pt x="3083" y="1555"/>
                  </a:lnTo>
                  <a:lnTo>
                    <a:pt x="3083" y="1555"/>
                  </a:lnTo>
                  <a:close/>
                  <a:moveTo>
                    <a:pt x="3100" y="1564"/>
                  </a:moveTo>
                  <a:lnTo>
                    <a:pt x="3116" y="1581"/>
                  </a:lnTo>
                  <a:lnTo>
                    <a:pt x="3109" y="1597"/>
                  </a:lnTo>
                  <a:lnTo>
                    <a:pt x="3095" y="1604"/>
                  </a:lnTo>
                  <a:lnTo>
                    <a:pt x="3078" y="1588"/>
                  </a:lnTo>
                  <a:lnTo>
                    <a:pt x="3083" y="1571"/>
                  </a:lnTo>
                  <a:lnTo>
                    <a:pt x="3100" y="1564"/>
                  </a:lnTo>
                  <a:lnTo>
                    <a:pt x="3100" y="1564"/>
                  </a:lnTo>
                  <a:lnTo>
                    <a:pt x="3100" y="1564"/>
                  </a:lnTo>
                  <a:close/>
                  <a:moveTo>
                    <a:pt x="3180" y="1571"/>
                  </a:moveTo>
                  <a:lnTo>
                    <a:pt x="3180" y="1588"/>
                  </a:lnTo>
                  <a:lnTo>
                    <a:pt x="3163" y="1581"/>
                  </a:lnTo>
                  <a:lnTo>
                    <a:pt x="3180" y="1571"/>
                  </a:lnTo>
                  <a:lnTo>
                    <a:pt x="3180" y="1571"/>
                  </a:lnTo>
                  <a:lnTo>
                    <a:pt x="3180" y="1571"/>
                  </a:lnTo>
                  <a:close/>
                  <a:moveTo>
                    <a:pt x="3170" y="1597"/>
                  </a:moveTo>
                  <a:lnTo>
                    <a:pt x="3180" y="1604"/>
                  </a:lnTo>
                  <a:lnTo>
                    <a:pt x="3170" y="1604"/>
                  </a:lnTo>
                  <a:lnTo>
                    <a:pt x="3170" y="1597"/>
                  </a:lnTo>
                  <a:lnTo>
                    <a:pt x="3170" y="1597"/>
                  </a:lnTo>
                  <a:lnTo>
                    <a:pt x="3170" y="1597"/>
                  </a:lnTo>
                  <a:close/>
                  <a:moveTo>
                    <a:pt x="3109" y="1609"/>
                  </a:moveTo>
                  <a:lnTo>
                    <a:pt x="3109" y="1621"/>
                  </a:lnTo>
                  <a:lnTo>
                    <a:pt x="3109" y="1626"/>
                  </a:lnTo>
                  <a:lnTo>
                    <a:pt x="3083" y="1626"/>
                  </a:lnTo>
                  <a:lnTo>
                    <a:pt x="3109" y="1609"/>
                  </a:lnTo>
                  <a:lnTo>
                    <a:pt x="3109" y="1609"/>
                  </a:lnTo>
                  <a:lnTo>
                    <a:pt x="3109" y="1609"/>
                  </a:lnTo>
                  <a:close/>
                  <a:moveTo>
                    <a:pt x="3170" y="1609"/>
                  </a:moveTo>
                  <a:lnTo>
                    <a:pt x="3180" y="1621"/>
                  </a:lnTo>
                  <a:lnTo>
                    <a:pt x="3170" y="1609"/>
                  </a:lnTo>
                  <a:lnTo>
                    <a:pt x="3170" y="1609"/>
                  </a:lnTo>
                  <a:lnTo>
                    <a:pt x="3170" y="1609"/>
                  </a:lnTo>
                  <a:close/>
                  <a:moveTo>
                    <a:pt x="2219" y="1621"/>
                  </a:moveTo>
                  <a:lnTo>
                    <a:pt x="2230" y="1621"/>
                  </a:lnTo>
                  <a:lnTo>
                    <a:pt x="2214" y="1621"/>
                  </a:lnTo>
                  <a:lnTo>
                    <a:pt x="2219" y="1621"/>
                  </a:lnTo>
                  <a:lnTo>
                    <a:pt x="2219" y="1621"/>
                  </a:lnTo>
                  <a:lnTo>
                    <a:pt x="2219" y="1621"/>
                  </a:lnTo>
                  <a:close/>
                  <a:moveTo>
                    <a:pt x="2143" y="1642"/>
                  </a:moveTo>
                  <a:lnTo>
                    <a:pt x="2155" y="1642"/>
                  </a:lnTo>
                  <a:lnTo>
                    <a:pt x="2143" y="1642"/>
                  </a:lnTo>
                  <a:lnTo>
                    <a:pt x="2143" y="1642"/>
                  </a:lnTo>
                  <a:lnTo>
                    <a:pt x="2143" y="1642"/>
                  </a:lnTo>
                  <a:close/>
                  <a:moveTo>
                    <a:pt x="4271" y="1659"/>
                  </a:moveTo>
                  <a:lnTo>
                    <a:pt x="4281" y="1666"/>
                  </a:lnTo>
                  <a:lnTo>
                    <a:pt x="4281" y="1675"/>
                  </a:lnTo>
                  <a:lnTo>
                    <a:pt x="4271" y="1659"/>
                  </a:lnTo>
                  <a:lnTo>
                    <a:pt x="4271" y="1659"/>
                  </a:lnTo>
                  <a:lnTo>
                    <a:pt x="4271" y="1659"/>
                  </a:lnTo>
                  <a:close/>
                  <a:moveTo>
                    <a:pt x="4314" y="1666"/>
                  </a:moveTo>
                  <a:lnTo>
                    <a:pt x="4318" y="1682"/>
                  </a:lnTo>
                  <a:lnTo>
                    <a:pt x="4302" y="1666"/>
                  </a:lnTo>
                  <a:lnTo>
                    <a:pt x="4314" y="1666"/>
                  </a:lnTo>
                  <a:lnTo>
                    <a:pt x="4314" y="1666"/>
                  </a:lnTo>
                  <a:lnTo>
                    <a:pt x="4314" y="1666"/>
                  </a:lnTo>
                  <a:close/>
                  <a:moveTo>
                    <a:pt x="4352" y="1666"/>
                  </a:moveTo>
                  <a:lnTo>
                    <a:pt x="4368" y="1682"/>
                  </a:lnTo>
                  <a:lnTo>
                    <a:pt x="4352" y="1682"/>
                  </a:lnTo>
                  <a:lnTo>
                    <a:pt x="4340" y="1675"/>
                  </a:lnTo>
                  <a:lnTo>
                    <a:pt x="4352" y="1666"/>
                  </a:lnTo>
                  <a:lnTo>
                    <a:pt x="4352" y="1666"/>
                  </a:lnTo>
                  <a:lnTo>
                    <a:pt x="4352" y="1666"/>
                  </a:lnTo>
                  <a:close/>
                  <a:moveTo>
                    <a:pt x="2306" y="1725"/>
                  </a:moveTo>
                  <a:lnTo>
                    <a:pt x="2318" y="1732"/>
                  </a:lnTo>
                  <a:lnTo>
                    <a:pt x="2301" y="1732"/>
                  </a:lnTo>
                  <a:lnTo>
                    <a:pt x="2306" y="1725"/>
                  </a:lnTo>
                  <a:lnTo>
                    <a:pt x="2306" y="1725"/>
                  </a:lnTo>
                  <a:lnTo>
                    <a:pt x="2306" y="1725"/>
                  </a:lnTo>
                  <a:close/>
                  <a:moveTo>
                    <a:pt x="5176" y="4614"/>
                  </a:moveTo>
                  <a:lnTo>
                    <a:pt x="5167" y="4614"/>
                  </a:lnTo>
                  <a:lnTo>
                    <a:pt x="5162" y="4597"/>
                  </a:lnTo>
                  <a:lnTo>
                    <a:pt x="5150" y="4581"/>
                  </a:lnTo>
                  <a:lnTo>
                    <a:pt x="5162" y="4576"/>
                  </a:lnTo>
                  <a:lnTo>
                    <a:pt x="5138" y="4569"/>
                  </a:lnTo>
                  <a:lnTo>
                    <a:pt x="5138" y="4441"/>
                  </a:lnTo>
                  <a:lnTo>
                    <a:pt x="5096" y="4415"/>
                  </a:lnTo>
                  <a:lnTo>
                    <a:pt x="5058" y="4432"/>
                  </a:lnTo>
                  <a:lnTo>
                    <a:pt x="5041" y="4425"/>
                  </a:lnTo>
                  <a:lnTo>
                    <a:pt x="5041" y="4408"/>
                  </a:lnTo>
                  <a:lnTo>
                    <a:pt x="5037" y="4403"/>
                  </a:lnTo>
                  <a:lnTo>
                    <a:pt x="4982" y="4470"/>
                  </a:lnTo>
                  <a:lnTo>
                    <a:pt x="4973" y="4498"/>
                  </a:lnTo>
                  <a:lnTo>
                    <a:pt x="4961" y="4519"/>
                  </a:lnTo>
                  <a:lnTo>
                    <a:pt x="4961" y="4543"/>
                  </a:lnTo>
                  <a:lnTo>
                    <a:pt x="4928" y="4576"/>
                  </a:lnTo>
                  <a:lnTo>
                    <a:pt x="4928" y="4581"/>
                  </a:lnTo>
                  <a:lnTo>
                    <a:pt x="4918" y="4609"/>
                  </a:lnTo>
                  <a:lnTo>
                    <a:pt x="4907" y="4597"/>
                  </a:lnTo>
                  <a:lnTo>
                    <a:pt x="4897" y="4609"/>
                  </a:lnTo>
                  <a:lnTo>
                    <a:pt x="4890" y="4597"/>
                  </a:lnTo>
                  <a:lnTo>
                    <a:pt x="4881" y="4609"/>
                  </a:lnTo>
                  <a:lnTo>
                    <a:pt x="4874" y="4625"/>
                  </a:lnTo>
                  <a:lnTo>
                    <a:pt x="4626" y="4630"/>
                  </a:lnTo>
                  <a:lnTo>
                    <a:pt x="4529" y="4708"/>
                  </a:lnTo>
                  <a:lnTo>
                    <a:pt x="4503" y="4748"/>
                  </a:lnTo>
                  <a:lnTo>
                    <a:pt x="4368" y="4748"/>
                  </a:lnTo>
                  <a:lnTo>
                    <a:pt x="4335" y="4765"/>
                  </a:lnTo>
                  <a:lnTo>
                    <a:pt x="4340" y="4781"/>
                  </a:lnTo>
                  <a:lnTo>
                    <a:pt x="4340" y="4798"/>
                  </a:lnTo>
                  <a:lnTo>
                    <a:pt x="4356" y="4814"/>
                  </a:lnTo>
                  <a:lnTo>
                    <a:pt x="4352" y="4819"/>
                  </a:lnTo>
                  <a:lnTo>
                    <a:pt x="4271" y="4852"/>
                  </a:lnTo>
                  <a:lnTo>
                    <a:pt x="4189" y="4869"/>
                  </a:lnTo>
                  <a:lnTo>
                    <a:pt x="4108" y="4918"/>
                  </a:lnTo>
                  <a:lnTo>
                    <a:pt x="4087" y="4918"/>
                  </a:lnTo>
                  <a:lnTo>
                    <a:pt x="4066" y="4902"/>
                  </a:lnTo>
                  <a:lnTo>
                    <a:pt x="4054" y="4885"/>
                  </a:lnTo>
                  <a:lnTo>
                    <a:pt x="4066" y="4869"/>
                  </a:lnTo>
                  <a:lnTo>
                    <a:pt x="4104" y="4836"/>
                  </a:lnTo>
                  <a:lnTo>
                    <a:pt x="4108" y="4803"/>
                  </a:lnTo>
                  <a:lnTo>
                    <a:pt x="4125" y="4748"/>
                  </a:lnTo>
                  <a:lnTo>
                    <a:pt x="4104" y="4597"/>
                  </a:lnTo>
                  <a:lnTo>
                    <a:pt x="4028" y="4552"/>
                  </a:lnTo>
                  <a:lnTo>
                    <a:pt x="4033" y="4536"/>
                  </a:lnTo>
                  <a:lnTo>
                    <a:pt x="4028" y="4526"/>
                  </a:lnTo>
                  <a:lnTo>
                    <a:pt x="4000" y="4526"/>
                  </a:lnTo>
                  <a:lnTo>
                    <a:pt x="3990" y="4514"/>
                  </a:lnTo>
                  <a:lnTo>
                    <a:pt x="3990" y="4486"/>
                  </a:lnTo>
                  <a:lnTo>
                    <a:pt x="3957" y="4498"/>
                  </a:lnTo>
                  <a:lnTo>
                    <a:pt x="3941" y="4481"/>
                  </a:lnTo>
                  <a:lnTo>
                    <a:pt x="3941" y="4460"/>
                  </a:lnTo>
                  <a:lnTo>
                    <a:pt x="3693" y="4333"/>
                  </a:lnTo>
                  <a:lnTo>
                    <a:pt x="3622" y="4359"/>
                  </a:lnTo>
                  <a:lnTo>
                    <a:pt x="3584" y="4354"/>
                  </a:lnTo>
                  <a:lnTo>
                    <a:pt x="3563" y="4349"/>
                  </a:lnTo>
                  <a:lnTo>
                    <a:pt x="3525" y="4349"/>
                  </a:lnTo>
                  <a:lnTo>
                    <a:pt x="3515" y="4337"/>
                  </a:lnTo>
                  <a:lnTo>
                    <a:pt x="3478" y="4354"/>
                  </a:lnTo>
                  <a:lnTo>
                    <a:pt x="3440" y="4337"/>
                  </a:lnTo>
                  <a:lnTo>
                    <a:pt x="3433" y="4321"/>
                  </a:lnTo>
                  <a:lnTo>
                    <a:pt x="3418" y="4321"/>
                  </a:lnTo>
                  <a:lnTo>
                    <a:pt x="3407" y="4337"/>
                  </a:lnTo>
                  <a:lnTo>
                    <a:pt x="3407" y="4321"/>
                  </a:lnTo>
                  <a:lnTo>
                    <a:pt x="3369" y="4297"/>
                  </a:lnTo>
                  <a:lnTo>
                    <a:pt x="3348" y="4297"/>
                  </a:lnTo>
                  <a:lnTo>
                    <a:pt x="3310" y="4304"/>
                  </a:lnTo>
                  <a:lnTo>
                    <a:pt x="3310" y="4297"/>
                  </a:lnTo>
                  <a:lnTo>
                    <a:pt x="3256" y="4292"/>
                  </a:lnTo>
                  <a:lnTo>
                    <a:pt x="3244" y="4281"/>
                  </a:lnTo>
                  <a:lnTo>
                    <a:pt x="3239" y="4238"/>
                  </a:lnTo>
                  <a:lnTo>
                    <a:pt x="3218" y="4226"/>
                  </a:lnTo>
                  <a:lnTo>
                    <a:pt x="3218" y="4264"/>
                  </a:lnTo>
                  <a:lnTo>
                    <a:pt x="1281" y="4264"/>
                  </a:lnTo>
                  <a:lnTo>
                    <a:pt x="1276" y="4259"/>
                  </a:lnTo>
                  <a:lnTo>
                    <a:pt x="1259" y="4264"/>
                  </a:lnTo>
                  <a:lnTo>
                    <a:pt x="1248" y="4238"/>
                  </a:lnTo>
                  <a:lnTo>
                    <a:pt x="1264" y="4238"/>
                  </a:lnTo>
                  <a:lnTo>
                    <a:pt x="1276" y="4226"/>
                  </a:lnTo>
                  <a:lnTo>
                    <a:pt x="1264" y="4238"/>
                  </a:lnTo>
                  <a:lnTo>
                    <a:pt x="1248" y="4238"/>
                  </a:lnTo>
                  <a:lnTo>
                    <a:pt x="1243" y="4222"/>
                  </a:lnTo>
                  <a:lnTo>
                    <a:pt x="1248" y="4193"/>
                  </a:lnTo>
                  <a:lnTo>
                    <a:pt x="1226" y="4222"/>
                  </a:lnTo>
                  <a:lnTo>
                    <a:pt x="1226" y="4226"/>
                  </a:lnTo>
                  <a:lnTo>
                    <a:pt x="1205" y="4222"/>
                  </a:lnTo>
                  <a:lnTo>
                    <a:pt x="1189" y="4205"/>
                  </a:lnTo>
                  <a:lnTo>
                    <a:pt x="1193" y="4193"/>
                  </a:lnTo>
                  <a:lnTo>
                    <a:pt x="1210" y="4222"/>
                  </a:lnTo>
                  <a:lnTo>
                    <a:pt x="1210" y="4210"/>
                  </a:lnTo>
                  <a:lnTo>
                    <a:pt x="1226" y="4205"/>
                  </a:lnTo>
                  <a:lnTo>
                    <a:pt x="1210" y="4205"/>
                  </a:lnTo>
                  <a:lnTo>
                    <a:pt x="1193" y="4193"/>
                  </a:lnTo>
                  <a:lnTo>
                    <a:pt x="1205" y="4181"/>
                  </a:lnTo>
                  <a:lnTo>
                    <a:pt x="1193" y="4170"/>
                  </a:lnTo>
                  <a:lnTo>
                    <a:pt x="1210" y="4165"/>
                  </a:lnTo>
                  <a:lnTo>
                    <a:pt x="1205" y="4153"/>
                  </a:lnTo>
                  <a:lnTo>
                    <a:pt x="1193" y="4148"/>
                  </a:lnTo>
                  <a:lnTo>
                    <a:pt x="1205" y="4165"/>
                  </a:lnTo>
                  <a:lnTo>
                    <a:pt x="1193" y="4170"/>
                  </a:lnTo>
                  <a:lnTo>
                    <a:pt x="1193" y="4188"/>
                  </a:lnTo>
                  <a:lnTo>
                    <a:pt x="1189" y="4181"/>
                  </a:lnTo>
                  <a:lnTo>
                    <a:pt x="1189" y="4188"/>
                  </a:lnTo>
                  <a:lnTo>
                    <a:pt x="1167" y="4193"/>
                  </a:lnTo>
                  <a:lnTo>
                    <a:pt x="1134" y="4165"/>
                  </a:lnTo>
                  <a:lnTo>
                    <a:pt x="1139" y="4170"/>
                  </a:lnTo>
                  <a:lnTo>
                    <a:pt x="1151" y="4148"/>
                  </a:lnTo>
                  <a:lnTo>
                    <a:pt x="1139" y="4137"/>
                  </a:lnTo>
                  <a:lnTo>
                    <a:pt x="1172" y="4127"/>
                  </a:lnTo>
                  <a:lnTo>
                    <a:pt x="1134" y="4137"/>
                  </a:lnTo>
                  <a:lnTo>
                    <a:pt x="1118" y="4137"/>
                  </a:lnTo>
                  <a:lnTo>
                    <a:pt x="1118" y="4127"/>
                  </a:lnTo>
                  <a:lnTo>
                    <a:pt x="1134" y="4115"/>
                  </a:lnTo>
                  <a:lnTo>
                    <a:pt x="1134" y="4082"/>
                  </a:lnTo>
                  <a:lnTo>
                    <a:pt x="1125" y="4099"/>
                  </a:lnTo>
                  <a:lnTo>
                    <a:pt x="1134" y="4111"/>
                  </a:lnTo>
                  <a:lnTo>
                    <a:pt x="1118" y="4132"/>
                  </a:lnTo>
                  <a:lnTo>
                    <a:pt x="1087" y="4127"/>
                  </a:lnTo>
                  <a:lnTo>
                    <a:pt x="1096" y="4099"/>
                  </a:lnTo>
                  <a:lnTo>
                    <a:pt x="1070" y="4132"/>
                  </a:lnTo>
                  <a:lnTo>
                    <a:pt x="1063" y="4127"/>
                  </a:lnTo>
                  <a:lnTo>
                    <a:pt x="1033" y="4127"/>
                  </a:lnTo>
                  <a:lnTo>
                    <a:pt x="1042" y="4115"/>
                  </a:lnTo>
                  <a:lnTo>
                    <a:pt x="1033" y="4111"/>
                  </a:lnTo>
                  <a:lnTo>
                    <a:pt x="1080" y="4099"/>
                  </a:lnTo>
                  <a:lnTo>
                    <a:pt x="1087" y="4082"/>
                  </a:lnTo>
                  <a:lnTo>
                    <a:pt x="1080" y="4070"/>
                  </a:lnTo>
                  <a:lnTo>
                    <a:pt x="1080" y="4077"/>
                  </a:lnTo>
                  <a:lnTo>
                    <a:pt x="1070" y="4099"/>
                  </a:lnTo>
                  <a:lnTo>
                    <a:pt x="1042" y="4111"/>
                  </a:lnTo>
                  <a:lnTo>
                    <a:pt x="1049" y="4099"/>
                  </a:lnTo>
                  <a:lnTo>
                    <a:pt x="1042" y="4094"/>
                  </a:lnTo>
                  <a:lnTo>
                    <a:pt x="1011" y="4094"/>
                  </a:lnTo>
                  <a:lnTo>
                    <a:pt x="1042" y="4082"/>
                  </a:lnTo>
                  <a:lnTo>
                    <a:pt x="1004" y="4094"/>
                  </a:lnTo>
                  <a:lnTo>
                    <a:pt x="974" y="4082"/>
                  </a:lnTo>
                  <a:lnTo>
                    <a:pt x="990" y="4094"/>
                  </a:lnTo>
                  <a:lnTo>
                    <a:pt x="978" y="4094"/>
                  </a:lnTo>
                  <a:lnTo>
                    <a:pt x="952" y="4077"/>
                  </a:lnTo>
                  <a:lnTo>
                    <a:pt x="952" y="4070"/>
                  </a:lnTo>
                  <a:lnTo>
                    <a:pt x="995" y="4070"/>
                  </a:lnTo>
                  <a:lnTo>
                    <a:pt x="1004" y="4061"/>
                  </a:lnTo>
                  <a:lnTo>
                    <a:pt x="974" y="4070"/>
                  </a:lnTo>
                  <a:lnTo>
                    <a:pt x="924" y="4061"/>
                  </a:lnTo>
                  <a:lnTo>
                    <a:pt x="924" y="4054"/>
                  </a:lnTo>
                  <a:lnTo>
                    <a:pt x="941" y="4044"/>
                  </a:lnTo>
                  <a:lnTo>
                    <a:pt x="974" y="4044"/>
                  </a:lnTo>
                  <a:lnTo>
                    <a:pt x="974" y="4037"/>
                  </a:lnTo>
                  <a:lnTo>
                    <a:pt x="962" y="4044"/>
                  </a:lnTo>
                  <a:lnTo>
                    <a:pt x="924" y="4044"/>
                  </a:lnTo>
                  <a:lnTo>
                    <a:pt x="941" y="4025"/>
                  </a:lnTo>
                  <a:lnTo>
                    <a:pt x="952" y="4016"/>
                  </a:lnTo>
                  <a:lnTo>
                    <a:pt x="1011" y="4016"/>
                  </a:lnTo>
                  <a:lnTo>
                    <a:pt x="1011" y="4000"/>
                  </a:lnTo>
                  <a:lnTo>
                    <a:pt x="1004" y="4016"/>
                  </a:lnTo>
                  <a:lnTo>
                    <a:pt x="952" y="4016"/>
                  </a:lnTo>
                  <a:lnTo>
                    <a:pt x="957" y="4000"/>
                  </a:lnTo>
                  <a:lnTo>
                    <a:pt x="941" y="4004"/>
                  </a:lnTo>
                  <a:lnTo>
                    <a:pt x="941" y="4021"/>
                  </a:lnTo>
                  <a:lnTo>
                    <a:pt x="936" y="4025"/>
                  </a:lnTo>
                  <a:lnTo>
                    <a:pt x="919" y="4016"/>
                  </a:lnTo>
                  <a:lnTo>
                    <a:pt x="924" y="3988"/>
                  </a:lnTo>
                  <a:lnTo>
                    <a:pt x="936" y="3983"/>
                  </a:lnTo>
                  <a:lnTo>
                    <a:pt x="941" y="3966"/>
                  </a:lnTo>
                  <a:lnTo>
                    <a:pt x="952" y="3971"/>
                  </a:lnTo>
                  <a:lnTo>
                    <a:pt x="941" y="3971"/>
                  </a:lnTo>
                  <a:lnTo>
                    <a:pt x="974" y="3950"/>
                  </a:lnTo>
                  <a:lnTo>
                    <a:pt x="978" y="3950"/>
                  </a:lnTo>
                  <a:lnTo>
                    <a:pt x="1004" y="3983"/>
                  </a:lnTo>
                  <a:lnTo>
                    <a:pt x="990" y="3950"/>
                  </a:lnTo>
                  <a:lnTo>
                    <a:pt x="1004" y="3943"/>
                  </a:lnTo>
                  <a:lnTo>
                    <a:pt x="974" y="3943"/>
                  </a:lnTo>
                  <a:lnTo>
                    <a:pt x="962" y="3933"/>
                  </a:lnTo>
                  <a:lnTo>
                    <a:pt x="990" y="3910"/>
                  </a:lnTo>
                  <a:lnTo>
                    <a:pt x="978" y="3905"/>
                  </a:lnTo>
                  <a:lnTo>
                    <a:pt x="978" y="3917"/>
                  </a:lnTo>
                  <a:lnTo>
                    <a:pt x="941" y="3950"/>
                  </a:lnTo>
                  <a:lnTo>
                    <a:pt x="924" y="3959"/>
                  </a:lnTo>
                  <a:lnTo>
                    <a:pt x="919" y="3933"/>
                  </a:lnTo>
                  <a:lnTo>
                    <a:pt x="908" y="3950"/>
                  </a:lnTo>
                  <a:lnTo>
                    <a:pt x="908" y="3933"/>
                  </a:lnTo>
                  <a:lnTo>
                    <a:pt x="919" y="3926"/>
                  </a:lnTo>
                  <a:lnTo>
                    <a:pt x="903" y="3933"/>
                  </a:lnTo>
                  <a:lnTo>
                    <a:pt x="898" y="3959"/>
                  </a:lnTo>
                  <a:lnTo>
                    <a:pt x="886" y="3950"/>
                  </a:lnTo>
                  <a:lnTo>
                    <a:pt x="898" y="3933"/>
                  </a:lnTo>
                  <a:lnTo>
                    <a:pt x="903" y="3893"/>
                  </a:lnTo>
                  <a:lnTo>
                    <a:pt x="882" y="3905"/>
                  </a:lnTo>
                  <a:lnTo>
                    <a:pt x="870" y="3872"/>
                  </a:lnTo>
                  <a:lnTo>
                    <a:pt x="853" y="3855"/>
                  </a:lnTo>
                  <a:lnTo>
                    <a:pt x="848" y="3832"/>
                  </a:lnTo>
                  <a:lnTo>
                    <a:pt x="853" y="3832"/>
                  </a:lnTo>
                  <a:lnTo>
                    <a:pt x="882" y="3848"/>
                  </a:lnTo>
                  <a:lnTo>
                    <a:pt x="903" y="3839"/>
                  </a:lnTo>
                  <a:lnTo>
                    <a:pt x="924" y="3860"/>
                  </a:lnTo>
                  <a:lnTo>
                    <a:pt x="903" y="3839"/>
                  </a:lnTo>
                  <a:lnTo>
                    <a:pt x="870" y="3839"/>
                  </a:lnTo>
                  <a:lnTo>
                    <a:pt x="853" y="3822"/>
                  </a:lnTo>
                  <a:lnTo>
                    <a:pt x="853" y="3806"/>
                  </a:lnTo>
                  <a:lnTo>
                    <a:pt x="882" y="3799"/>
                  </a:lnTo>
                  <a:lnTo>
                    <a:pt x="865" y="3794"/>
                  </a:lnTo>
                  <a:lnTo>
                    <a:pt x="870" y="3782"/>
                  </a:lnTo>
                  <a:lnTo>
                    <a:pt x="827" y="3822"/>
                  </a:lnTo>
                  <a:lnTo>
                    <a:pt x="827" y="3848"/>
                  </a:lnTo>
                  <a:lnTo>
                    <a:pt x="773" y="3799"/>
                  </a:lnTo>
                  <a:lnTo>
                    <a:pt x="773" y="3766"/>
                  </a:lnTo>
                  <a:lnTo>
                    <a:pt x="811" y="3761"/>
                  </a:lnTo>
                  <a:lnTo>
                    <a:pt x="763" y="3766"/>
                  </a:lnTo>
                  <a:lnTo>
                    <a:pt x="756" y="3749"/>
                  </a:lnTo>
                  <a:lnTo>
                    <a:pt x="740" y="3749"/>
                  </a:lnTo>
                  <a:lnTo>
                    <a:pt x="740" y="3721"/>
                  </a:lnTo>
                  <a:lnTo>
                    <a:pt x="778" y="3749"/>
                  </a:lnTo>
                  <a:lnTo>
                    <a:pt x="747" y="3721"/>
                  </a:lnTo>
                  <a:lnTo>
                    <a:pt x="763" y="3711"/>
                  </a:lnTo>
                  <a:lnTo>
                    <a:pt x="778" y="3728"/>
                  </a:lnTo>
                  <a:lnTo>
                    <a:pt x="756" y="3711"/>
                  </a:lnTo>
                  <a:lnTo>
                    <a:pt x="763" y="3704"/>
                  </a:lnTo>
                  <a:lnTo>
                    <a:pt x="773" y="3688"/>
                  </a:lnTo>
                  <a:lnTo>
                    <a:pt x="801" y="3688"/>
                  </a:lnTo>
                  <a:lnTo>
                    <a:pt x="773" y="3683"/>
                  </a:lnTo>
                  <a:lnTo>
                    <a:pt x="794" y="3638"/>
                  </a:lnTo>
                  <a:lnTo>
                    <a:pt x="811" y="3638"/>
                  </a:lnTo>
                  <a:lnTo>
                    <a:pt x="794" y="3638"/>
                  </a:lnTo>
                  <a:lnTo>
                    <a:pt x="789" y="3633"/>
                  </a:lnTo>
                  <a:lnTo>
                    <a:pt x="789" y="3655"/>
                  </a:lnTo>
                  <a:lnTo>
                    <a:pt x="763" y="3688"/>
                  </a:lnTo>
                  <a:lnTo>
                    <a:pt x="763" y="3683"/>
                  </a:lnTo>
                  <a:lnTo>
                    <a:pt x="778" y="3655"/>
                  </a:lnTo>
                  <a:lnTo>
                    <a:pt x="763" y="3617"/>
                  </a:lnTo>
                  <a:lnTo>
                    <a:pt x="773" y="3593"/>
                  </a:lnTo>
                  <a:lnTo>
                    <a:pt x="763" y="3572"/>
                  </a:lnTo>
                  <a:lnTo>
                    <a:pt x="747" y="3572"/>
                  </a:lnTo>
                  <a:lnTo>
                    <a:pt x="719" y="3544"/>
                  </a:lnTo>
                  <a:lnTo>
                    <a:pt x="664" y="3522"/>
                  </a:lnTo>
                  <a:lnTo>
                    <a:pt x="650" y="3522"/>
                  </a:lnTo>
                  <a:lnTo>
                    <a:pt x="638" y="3506"/>
                  </a:lnTo>
                  <a:lnTo>
                    <a:pt x="626" y="3499"/>
                  </a:lnTo>
                  <a:lnTo>
                    <a:pt x="633" y="3482"/>
                  </a:lnTo>
                  <a:lnTo>
                    <a:pt x="612" y="3473"/>
                  </a:lnTo>
                  <a:lnTo>
                    <a:pt x="617" y="3461"/>
                  </a:lnTo>
                  <a:lnTo>
                    <a:pt x="541" y="3350"/>
                  </a:lnTo>
                  <a:lnTo>
                    <a:pt x="530" y="3333"/>
                  </a:lnTo>
                  <a:lnTo>
                    <a:pt x="504" y="3300"/>
                  </a:lnTo>
                  <a:lnTo>
                    <a:pt x="475" y="3296"/>
                  </a:lnTo>
                  <a:lnTo>
                    <a:pt x="466" y="3263"/>
                  </a:lnTo>
                  <a:lnTo>
                    <a:pt x="423" y="3246"/>
                  </a:lnTo>
                  <a:lnTo>
                    <a:pt x="416" y="3227"/>
                  </a:lnTo>
                  <a:lnTo>
                    <a:pt x="423" y="3211"/>
                  </a:lnTo>
                  <a:lnTo>
                    <a:pt x="385" y="3189"/>
                  </a:lnTo>
                  <a:lnTo>
                    <a:pt x="324" y="3211"/>
                  </a:lnTo>
                  <a:lnTo>
                    <a:pt x="331" y="3222"/>
                  </a:lnTo>
                  <a:lnTo>
                    <a:pt x="315" y="3222"/>
                  </a:lnTo>
                  <a:lnTo>
                    <a:pt x="315" y="3246"/>
                  </a:lnTo>
                  <a:lnTo>
                    <a:pt x="310" y="3251"/>
                  </a:lnTo>
                  <a:lnTo>
                    <a:pt x="293" y="3251"/>
                  </a:lnTo>
                  <a:lnTo>
                    <a:pt x="251" y="3284"/>
                  </a:lnTo>
                  <a:lnTo>
                    <a:pt x="239" y="3246"/>
                  </a:lnTo>
                  <a:lnTo>
                    <a:pt x="168" y="3189"/>
                  </a:lnTo>
                  <a:lnTo>
                    <a:pt x="163" y="3173"/>
                  </a:lnTo>
                  <a:lnTo>
                    <a:pt x="130" y="3156"/>
                  </a:lnTo>
                  <a:lnTo>
                    <a:pt x="142" y="3123"/>
                  </a:lnTo>
                  <a:lnTo>
                    <a:pt x="93" y="3135"/>
                  </a:lnTo>
                  <a:lnTo>
                    <a:pt x="71" y="3151"/>
                  </a:lnTo>
                  <a:lnTo>
                    <a:pt x="38" y="3135"/>
                  </a:lnTo>
                  <a:lnTo>
                    <a:pt x="38" y="3140"/>
                  </a:lnTo>
                  <a:lnTo>
                    <a:pt x="0" y="3135"/>
                  </a:lnTo>
                  <a:lnTo>
                    <a:pt x="0" y="2041"/>
                  </a:lnTo>
                  <a:lnTo>
                    <a:pt x="130" y="2058"/>
                  </a:lnTo>
                  <a:lnTo>
                    <a:pt x="168" y="2086"/>
                  </a:lnTo>
                  <a:lnTo>
                    <a:pt x="260" y="2124"/>
                  </a:lnTo>
                  <a:lnTo>
                    <a:pt x="348" y="2136"/>
                  </a:lnTo>
                  <a:lnTo>
                    <a:pt x="395" y="2157"/>
                  </a:lnTo>
                  <a:lnTo>
                    <a:pt x="411" y="2157"/>
                  </a:lnTo>
                  <a:lnTo>
                    <a:pt x="385" y="2140"/>
                  </a:lnTo>
                  <a:lnTo>
                    <a:pt x="400" y="2140"/>
                  </a:lnTo>
                  <a:lnTo>
                    <a:pt x="378" y="2136"/>
                  </a:lnTo>
                  <a:lnTo>
                    <a:pt x="433" y="2124"/>
                  </a:lnTo>
                  <a:lnTo>
                    <a:pt x="471" y="2157"/>
                  </a:lnTo>
                  <a:lnTo>
                    <a:pt x="475" y="2157"/>
                  </a:lnTo>
                  <a:lnTo>
                    <a:pt x="449" y="2119"/>
                  </a:lnTo>
                  <a:lnTo>
                    <a:pt x="454" y="2115"/>
                  </a:lnTo>
                  <a:lnTo>
                    <a:pt x="520" y="2070"/>
                  </a:lnTo>
                  <a:lnTo>
                    <a:pt x="558" y="2065"/>
                  </a:lnTo>
                  <a:lnTo>
                    <a:pt x="574" y="2041"/>
                  </a:lnTo>
                  <a:lnTo>
                    <a:pt x="600" y="2041"/>
                  </a:lnTo>
                  <a:lnTo>
                    <a:pt x="612" y="2029"/>
                  </a:lnTo>
                  <a:lnTo>
                    <a:pt x="596" y="2029"/>
                  </a:lnTo>
                  <a:lnTo>
                    <a:pt x="600" y="2025"/>
                  </a:lnTo>
                  <a:lnTo>
                    <a:pt x="626" y="2029"/>
                  </a:lnTo>
                  <a:lnTo>
                    <a:pt x="671" y="2003"/>
                  </a:lnTo>
                  <a:lnTo>
                    <a:pt x="688" y="2003"/>
                  </a:lnTo>
                  <a:lnTo>
                    <a:pt x="688" y="2013"/>
                  </a:lnTo>
                  <a:lnTo>
                    <a:pt x="709" y="1987"/>
                  </a:lnTo>
                  <a:lnTo>
                    <a:pt x="735" y="1970"/>
                  </a:lnTo>
                  <a:lnTo>
                    <a:pt x="740" y="1970"/>
                  </a:lnTo>
                  <a:lnTo>
                    <a:pt x="740" y="1975"/>
                  </a:lnTo>
                  <a:lnTo>
                    <a:pt x="773" y="1987"/>
                  </a:lnTo>
                  <a:lnTo>
                    <a:pt x="794" y="1959"/>
                  </a:lnTo>
                  <a:lnTo>
                    <a:pt x="815" y="1975"/>
                  </a:lnTo>
                  <a:lnTo>
                    <a:pt x="811" y="1992"/>
                  </a:lnTo>
                  <a:lnTo>
                    <a:pt x="740" y="2025"/>
                  </a:lnTo>
                  <a:lnTo>
                    <a:pt x="709" y="2048"/>
                  </a:lnTo>
                  <a:lnTo>
                    <a:pt x="702" y="2041"/>
                  </a:lnTo>
                  <a:lnTo>
                    <a:pt x="633" y="2058"/>
                  </a:lnTo>
                  <a:lnTo>
                    <a:pt x="626" y="2065"/>
                  </a:lnTo>
                  <a:lnTo>
                    <a:pt x="626" y="2070"/>
                  </a:lnTo>
                  <a:lnTo>
                    <a:pt x="579" y="2086"/>
                  </a:lnTo>
                  <a:lnTo>
                    <a:pt x="574" y="2115"/>
                  </a:lnTo>
                  <a:lnTo>
                    <a:pt x="546" y="2119"/>
                  </a:lnTo>
                  <a:lnTo>
                    <a:pt x="546" y="2124"/>
                  </a:lnTo>
                  <a:lnTo>
                    <a:pt x="525" y="2140"/>
                  </a:lnTo>
                  <a:lnTo>
                    <a:pt x="574" y="2157"/>
                  </a:lnTo>
                  <a:lnTo>
                    <a:pt x="541" y="2140"/>
                  </a:lnTo>
                  <a:lnTo>
                    <a:pt x="600" y="2140"/>
                  </a:lnTo>
                  <a:lnTo>
                    <a:pt x="600" y="2136"/>
                  </a:lnTo>
                  <a:lnTo>
                    <a:pt x="596" y="2136"/>
                  </a:lnTo>
                  <a:lnTo>
                    <a:pt x="579" y="2136"/>
                  </a:lnTo>
                  <a:lnTo>
                    <a:pt x="574" y="2115"/>
                  </a:lnTo>
                  <a:lnTo>
                    <a:pt x="600" y="2103"/>
                  </a:lnTo>
                  <a:lnTo>
                    <a:pt x="612" y="2086"/>
                  </a:lnTo>
                  <a:lnTo>
                    <a:pt x="617" y="2103"/>
                  </a:lnTo>
                  <a:lnTo>
                    <a:pt x="655" y="2070"/>
                  </a:lnTo>
                  <a:lnTo>
                    <a:pt x="633" y="2070"/>
                  </a:lnTo>
                  <a:lnTo>
                    <a:pt x="655" y="2065"/>
                  </a:lnTo>
                  <a:lnTo>
                    <a:pt x="671" y="2065"/>
                  </a:lnTo>
                  <a:lnTo>
                    <a:pt x="664" y="2081"/>
                  </a:lnTo>
                  <a:lnTo>
                    <a:pt x="688" y="2058"/>
                  </a:lnTo>
                  <a:lnTo>
                    <a:pt x="688" y="2070"/>
                  </a:lnTo>
                  <a:lnTo>
                    <a:pt x="671" y="2081"/>
                  </a:lnTo>
                  <a:lnTo>
                    <a:pt x="681" y="2081"/>
                  </a:lnTo>
                  <a:lnTo>
                    <a:pt x="693" y="2070"/>
                  </a:lnTo>
                  <a:lnTo>
                    <a:pt x="688" y="2048"/>
                  </a:lnTo>
                  <a:lnTo>
                    <a:pt x="693" y="2058"/>
                  </a:lnTo>
                  <a:lnTo>
                    <a:pt x="693" y="2070"/>
                  </a:lnTo>
                  <a:lnTo>
                    <a:pt x="702" y="2065"/>
                  </a:lnTo>
                  <a:lnTo>
                    <a:pt x="688" y="2048"/>
                  </a:lnTo>
                  <a:lnTo>
                    <a:pt x="693" y="2041"/>
                  </a:lnTo>
                  <a:lnTo>
                    <a:pt x="702" y="2065"/>
                  </a:lnTo>
                  <a:lnTo>
                    <a:pt x="693" y="2081"/>
                  </a:lnTo>
                  <a:lnTo>
                    <a:pt x="709" y="2058"/>
                  </a:lnTo>
                  <a:lnTo>
                    <a:pt x="702" y="2081"/>
                  </a:lnTo>
                  <a:lnTo>
                    <a:pt x="709" y="2070"/>
                  </a:lnTo>
                  <a:lnTo>
                    <a:pt x="702" y="2098"/>
                  </a:lnTo>
                  <a:lnTo>
                    <a:pt x="709" y="2103"/>
                  </a:lnTo>
                  <a:lnTo>
                    <a:pt x="709" y="2086"/>
                  </a:lnTo>
                  <a:lnTo>
                    <a:pt x="747" y="2029"/>
                  </a:lnTo>
                  <a:lnTo>
                    <a:pt x="832" y="2008"/>
                  </a:lnTo>
                  <a:lnTo>
                    <a:pt x="848" y="2003"/>
                  </a:lnTo>
                  <a:lnTo>
                    <a:pt x="848" y="2013"/>
                  </a:lnTo>
                  <a:lnTo>
                    <a:pt x="832" y="2013"/>
                  </a:lnTo>
                  <a:lnTo>
                    <a:pt x="832" y="2029"/>
                  </a:lnTo>
                  <a:lnTo>
                    <a:pt x="848" y="2029"/>
                  </a:lnTo>
                  <a:lnTo>
                    <a:pt x="886" y="2003"/>
                  </a:lnTo>
                  <a:lnTo>
                    <a:pt x="886" y="1975"/>
                  </a:lnTo>
                  <a:lnTo>
                    <a:pt x="952" y="1959"/>
                  </a:lnTo>
                  <a:lnTo>
                    <a:pt x="908" y="1954"/>
                  </a:lnTo>
                  <a:lnTo>
                    <a:pt x="919" y="1947"/>
                  </a:lnTo>
                  <a:lnTo>
                    <a:pt x="903" y="1947"/>
                  </a:lnTo>
                  <a:lnTo>
                    <a:pt x="908" y="1914"/>
                  </a:lnTo>
                  <a:lnTo>
                    <a:pt x="974" y="1959"/>
                  </a:lnTo>
                  <a:lnTo>
                    <a:pt x="1004" y="2025"/>
                  </a:lnTo>
                  <a:lnTo>
                    <a:pt x="1033" y="2058"/>
                  </a:lnTo>
                  <a:lnTo>
                    <a:pt x="1096" y="2081"/>
                  </a:lnTo>
                  <a:lnTo>
                    <a:pt x="1096" y="2070"/>
                  </a:lnTo>
                  <a:lnTo>
                    <a:pt x="1118" y="2065"/>
                  </a:lnTo>
                  <a:lnTo>
                    <a:pt x="1080" y="2065"/>
                  </a:lnTo>
                  <a:lnTo>
                    <a:pt x="1087" y="2058"/>
                  </a:lnTo>
                  <a:lnTo>
                    <a:pt x="1118" y="2058"/>
                  </a:lnTo>
                  <a:lnTo>
                    <a:pt x="1096" y="2041"/>
                  </a:lnTo>
                  <a:lnTo>
                    <a:pt x="1096" y="2029"/>
                  </a:lnTo>
                  <a:lnTo>
                    <a:pt x="1118" y="2025"/>
                  </a:lnTo>
                  <a:lnTo>
                    <a:pt x="1125" y="2041"/>
                  </a:lnTo>
                  <a:lnTo>
                    <a:pt x="1134" y="2029"/>
                  </a:lnTo>
                  <a:lnTo>
                    <a:pt x="1101" y="2013"/>
                  </a:lnTo>
                  <a:lnTo>
                    <a:pt x="1118" y="2013"/>
                  </a:lnTo>
                  <a:lnTo>
                    <a:pt x="1134" y="1992"/>
                  </a:lnTo>
                  <a:lnTo>
                    <a:pt x="1113" y="2003"/>
                  </a:lnTo>
                  <a:lnTo>
                    <a:pt x="1113" y="1992"/>
                  </a:lnTo>
                  <a:lnTo>
                    <a:pt x="1125" y="1987"/>
                  </a:lnTo>
                  <a:lnTo>
                    <a:pt x="1118" y="1992"/>
                  </a:lnTo>
                  <a:lnTo>
                    <a:pt x="1151" y="1987"/>
                  </a:lnTo>
                  <a:lnTo>
                    <a:pt x="1156" y="1992"/>
                  </a:lnTo>
                  <a:lnTo>
                    <a:pt x="1167" y="1987"/>
                  </a:lnTo>
                  <a:lnTo>
                    <a:pt x="1139" y="1975"/>
                  </a:lnTo>
                  <a:lnTo>
                    <a:pt x="1167" y="1975"/>
                  </a:lnTo>
                  <a:lnTo>
                    <a:pt x="1167" y="1987"/>
                  </a:lnTo>
                  <a:lnTo>
                    <a:pt x="1156" y="2025"/>
                  </a:lnTo>
                  <a:lnTo>
                    <a:pt x="1189" y="2029"/>
                  </a:lnTo>
                  <a:lnTo>
                    <a:pt x="1156" y="2070"/>
                  </a:lnTo>
                  <a:lnTo>
                    <a:pt x="1167" y="2070"/>
                  </a:lnTo>
                  <a:lnTo>
                    <a:pt x="1231" y="2070"/>
                  </a:lnTo>
                  <a:lnTo>
                    <a:pt x="1231" y="2058"/>
                  </a:lnTo>
                  <a:lnTo>
                    <a:pt x="1248" y="2058"/>
                  </a:lnTo>
                  <a:lnTo>
                    <a:pt x="1259" y="2025"/>
                  </a:lnTo>
                  <a:lnTo>
                    <a:pt x="1264" y="2013"/>
                  </a:lnTo>
                  <a:lnTo>
                    <a:pt x="1356" y="2013"/>
                  </a:lnTo>
                  <a:lnTo>
                    <a:pt x="1420" y="2041"/>
                  </a:lnTo>
                  <a:lnTo>
                    <a:pt x="1458" y="2070"/>
                  </a:lnTo>
                  <a:lnTo>
                    <a:pt x="1555" y="2086"/>
                  </a:lnTo>
                  <a:lnTo>
                    <a:pt x="1609" y="2119"/>
                  </a:lnTo>
                  <a:lnTo>
                    <a:pt x="1675" y="2136"/>
                  </a:lnTo>
                  <a:lnTo>
                    <a:pt x="1760" y="2140"/>
                  </a:lnTo>
                  <a:lnTo>
                    <a:pt x="1730" y="2124"/>
                  </a:lnTo>
                  <a:lnTo>
                    <a:pt x="1782" y="2124"/>
                  </a:lnTo>
                  <a:lnTo>
                    <a:pt x="1869" y="2157"/>
                  </a:lnTo>
                  <a:lnTo>
                    <a:pt x="1890" y="2181"/>
                  </a:lnTo>
                  <a:lnTo>
                    <a:pt x="1890" y="2214"/>
                  </a:lnTo>
                  <a:lnTo>
                    <a:pt x="1803" y="2226"/>
                  </a:lnTo>
                  <a:lnTo>
                    <a:pt x="1803" y="2235"/>
                  </a:lnTo>
                  <a:lnTo>
                    <a:pt x="1819" y="2247"/>
                  </a:lnTo>
                  <a:lnTo>
                    <a:pt x="1789" y="2252"/>
                  </a:lnTo>
                  <a:lnTo>
                    <a:pt x="1819" y="2268"/>
                  </a:lnTo>
                  <a:lnTo>
                    <a:pt x="2004" y="2285"/>
                  </a:lnTo>
                  <a:lnTo>
                    <a:pt x="2091" y="2263"/>
                  </a:lnTo>
                  <a:lnTo>
                    <a:pt x="2105" y="2280"/>
                  </a:lnTo>
                  <a:lnTo>
                    <a:pt x="2167" y="2247"/>
                  </a:lnTo>
                  <a:lnTo>
                    <a:pt x="2176" y="2252"/>
                  </a:lnTo>
                  <a:lnTo>
                    <a:pt x="2176" y="2263"/>
                  </a:lnTo>
                  <a:lnTo>
                    <a:pt x="2193" y="2263"/>
                  </a:lnTo>
                  <a:lnTo>
                    <a:pt x="2193" y="2280"/>
                  </a:lnTo>
                  <a:lnTo>
                    <a:pt x="2235" y="2280"/>
                  </a:lnTo>
                  <a:lnTo>
                    <a:pt x="2252" y="2303"/>
                  </a:lnTo>
                  <a:lnTo>
                    <a:pt x="2247" y="2308"/>
                  </a:lnTo>
                  <a:lnTo>
                    <a:pt x="2263" y="2325"/>
                  </a:lnTo>
                  <a:lnTo>
                    <a:pt x="2263" y="2292"/>
                  </a:lnTo>
                  <a:lnTo>
                    <a:pt x="2268" y="2292"/>
                  </a:lnTo>
                  <a:lnTo>
                    <a:pt x="2285" y="2325"/>
                  </a:lnTo>
                  <a:lnTo>
                    <a:pt x="2289" y="2320"/>
                  </a:lnTo>
                  <a:lnTo>
                    <a:pt x="2318" y="2337"/>
                  </a:lnTo>
                  <a:lnTo>
                    <a:pt x="2322" y="2363"/>
                  </a:lnTo>
                  <a:lnTo>
                    <a:pt x="2301" y="2363"/>
                  </a:lnTo>
                  <a:lnTo>
                    <a:pt x="2268" y="2346"/>
                  </a:lnTo>
                  <a:lnTo>
                    <a:pt x="2273" y="2363"/>
                  </a:lnTo>
                  <a:lnTo>
                    <a:pt x="2306" y="2374"/>
                  </a:lnTo>
                  <a:lnTo>
                    <a:pt x="2322" y="2412"/>
                  </a:lnTo>
                  <a:lnTo>
                    <a:pt x="2322" y="2396"/>
                  </a:lnTo>
                  <a:lnTo>
                    <a:pt x="2370" y="2448"/>
                  </a:lnTo>
                  <a:lnTo>
                    <a:pt x="2344" y="2412"/>
                  </a:lnTo>
                  <a:lnTo>
                    <a:pt x="2327" y="2379"/>
                  </a:lnTo>
                  <a:lnTo>
                    <a:pt x="2339" y="2358"/>
                  </a:lnTo>
                  <a:lnTo>
                    <a:pt x="2356" y="2374"/>
                  </a:lnTo>
                  <a:lnTo>
                    <a:pt x="2339" y="2374"/>
                  </a:lnTo>
                  <a:lnTo>
                    <a:pt x="2344" y="2391"/>
                  </a:lnTo>
                  <a:lnTo>
                    <a:pt x="2360" y="2391"/>
                  </a:lnTo>
                  <a:lnTo>
                    <a:pt x="2356" y="2374"/>
                  </a:lnTo>
                  <a:lnTo>
                    <a:pt x="2381" y="2391"/>
                  </a:lnTo>
                  <a:lnTo>
                    <a:pt x="2360" y="2363"/>
                  </a:lnTo>
                  <a:lnTo>
                    <a:pt x="2360" y="2346"/>
                  </a:lnTo>
                  <a:lnTo>
                    <a:pt x="2356" y="2341"/>
                  </a:lnTo>
                  <a:lnTo>
                    <a:pt x="2339" y="2325"/>
                  </a:lnTo>
                  <a:lnTo>
                    <a:pt x="2344" y="2308"/>
                  </a:lnTo>
                  <a:lnTo>
                    <a:pt x="2318" y="2280"/>
                  </a:lnTo>
                  <a:lnTo>
                    <a:pt x="2322" y="2263"/>
                  </a:lnTo>
                  <a:lnTo>
                    <a:pt x="2339" y="2252"/>
                  </a:lnTo>
                  <a:lnTo>
                    <a:pt x="2322" y="2247"/>
                  </a:lnTo>
                  <a:lnTo>
                    <a:pt x="2322" y="2235"/>
                  </a:lnTo>
                  <a:lnTo>
                    <a:pt x="2339" y="2235"/>
                  </a:lnTo>
                  <a:lnTo>
                    <a:pt x="2327" y="2235"/>
                  </a:lnTo>
                  <a:lnTo>
                    <a:pt x="2327" y="2247"/>
                  </a:lnTo>
                  <a:lnTo>
                    <a:pt x="2360" y="2235"/>
                  </a:lnTo>
                  <a:lnTo>
                    <a:pt x="2398" y="2230"/>
                  </a:lnTo>
                  <a:lnTo>
                    <a:pt x="2398" y="2226"/>
                  </a:lnTo>
                  <a:lnTo>
                    <a:pt x="2415" y="2214"/>
                  </a:lnTo>
                  <a:lnTo>
                    <a:pt x="2424" y="2230"/>
                  </a:lnTo>
                  <a:lnTo>
                    <a:pt x="2431" y="2226"/>
                  </a:lnTo>
                  <a:lnTo>
                    <a:pt x="2424" y="2214"/>
                  </a:lnTo>
                  <a:lnTo>
                    <a:pt x="2424" y="2209"/>
                  </a:lnTo>
                  <a:lnTo>
                    <a:pt x="2478" y="2192"/>
                  </a:lnTo>
                  <a:lnTo>
                    <a:pt x="2478" y="2176"/>
                  </a:lnTo>
                  <a:lnTo>
                    <a:pt x="2483" y="2169"/>
                  </a:lnTo>
                  <a:lnTo>
                    <a:pt x="2415" y="2181"/>
                  </a:lnTo>
                  <a:lnTo>
                    <a:pt x="2415" y="2192"/>
                  </a:lnTo>
                  <a:lnTo>
                    <a:pt x="2424" y="2197"/>
                  </a:lnTo>
                  <a:lnTo>
                    <a:pt x="2415" y="2209"/>
                  </a:lnTo>
                  <a:lnTo>
                    <a:pt x="2398" y="2192"/>
                  </a:lnTo>
                  <a:lnTo>
                    <a:pt x="2370" y="2214"/>
                  </a:lnTo>
                  <a:lnTo>
                    <a:pt x="2344" y="2197"/>
                  </a:lnTo>
                  <a:lnTo>
                    <a:pt x="2327" y="2209"/>
                  </a:lnTo>
                  <a:lnTo>
                    <a:pt x="2322" y="2214"/>
                  </a:lnTo>
                  <a:lnTo>
                    <a:pt x="2344" y="2226"/>
                  </a:lnTo>
                  <a:lnTo>
                    <a:pt x="2289" y="2230"/>
                  </a:lnTo>
                  <a:lnTo>
                    <a:pt x="2285" y="2226"/>
                  </a:lnTo>
                  <a:lnTo>
                    <a:pt x="2289" y="2226"/>
                  </a:lnTo>
                  <a:lnTo>
                    <a:pt x="2289" y="2209"/>
                  </a:lnTo>
                  <a:lnTo>
                    <a:pt x="2263" y="2214"/>
                  </a:lnTo>
                  <a:lnTo>
                    <a:pt x="2289" y="2169"/>
                  </a:lnTo>
                  <a:lnTo>
                    <a:pt x="2370" y="2157"/>
                  </a:lnTo>
                  <a:lnTo>
                    <a:pt x="2436" y="2124"/>
                  </a:lnTo>
                  <a:lnTo>
                    <a:pt x="2469" y="2136"/>
                  </a:lnTo>
                  <a:lnTo>
                    <a:pt x="2490" y="2152"/>
                  </a:lnTo>
                  <a:lnTo>
                    <a:pt x="2490" y="2169"/>
                  </a:lnTo>
                  <a:lnTo>
                    <a:pt x="2500" y="2181"/>
                  </a:lnTo>
                  <a:lnTo>
                    <a:pt x="2483" y="2192"/>
                  </a:lnTo>
                  <a:lnTo>
                    <a:pt x="2521" y="2214"/>
                  </a:lnTo>
                  <a:lnTo>
                    <a:pt x="2537" y="2209"/>
                  </a:lnTo>
                  <a:lnTo>
                    <a:pt x="2533" y="2214"/>
                  </a:lnTo>
                  <a:lnTo>
                    <a:pt x="2554" y="2214"/>
                  </a:lnTo>
                  <a:lnTo>
                    <a:pt x="2542" y="2230"/>
                  </a:lnTo>
                  <a:lnTo>
                    <a:pt x="2559" y="2235"/>
                  </a:lnTo>
                  <a:lnTo>
                    <a:pt x="2613" y="2235"/>
                  </a:lnTo>
                  <a:lnTo>
                    <a:pt x="2641" y="2226"/>
                  </a:lnTo>
                  <a:lnTo>
                    <a:pt x="2646" y="2230"/>
                  </a:lnTo>
                  <a:lnTo>
                    <a:pt x="2641" y="2247"/>
                  </a:lnTo>
                  <a:lnTo>
                    <a:pt x="2717" y="2280"/>
                  </a:lnTo>
                  <a:lnTo>
                    <a:pt x="2738" y="2280"/>
                  </a:lnTo>
                  <a:lnTo>
                    <a:pt x="2769" y="2285"/>
                  </a:lnTo>
                  <a:lnTo>
                    <a:pt x="2844" y="2263"/>
                  </a:lnTo>
                  <a:lnTo>
                    <a:pt x="2911" y="2268"/>
                  </a:lnTo>
                  <a:lnTo>
                    <a:pt x="2932" y="2280"/>
                  </a:lnTo>
                  <a:lnTo>
                    <a:pt x="2991" y="2268"/>
                  </a:lnTo>
                  <a:lnTo>
                    <a:pt x="2965" y="2252"/>
                  </a:lnTo>
                  <a:lnTo>
                    <a:pt x="2965" y="2235"/>
                  </a:lnTo>
                  <a:lnTo>
                    <a:pt x="2970" y="2235"/>
                  </a:lnTo>
                  <a:lnTo>
                    <a:pt x="3007" y="2280"/>
                  </a:lnTo>
                  <a:lnTo>
                    <a:pt x="3057" y="2292"/>
                  </a:lnTo>
                  <a:lnTo>
                    <a:pt x="3078" y="2285"/>
                  </a:lnTo>
                  <a:lnTo>
                    <a:pt x="3078" y="2268"/>
                  </a:lnTo>
                  <a:lnTo>
                    <a:pt x="3071" y="2252"/>
                  </a:lnTo>
                  <a:lnTo>
                    <a:pt x="3062" y="2263"/>
                  </a:lnTo>
                  <a:lnTo>
                    <a:pt x="3041" y="2247"/>
                  </a:lnTo>
                  <a:lnTo>
                    <a:pt x="3019" y="2252"/>
                  </a:lnTo>
                  <a:lnTo>
                    <a:pt x="3007" y="2263"/>
                  </a:lnTo>
                  <a:lnTo>
                    <a:pt x="2974" y="2230"/>
                  </a:lnTo>
                  <a:lnTo>
                    <a:pt x="2986" y="2226"/>
                  </a:lnTo>
                  <a:lnTo>
                    <a:pt x="2991" y="2235"/>
                  </a:lnTo>
                  <a:lnTo>
                    <a:pt x="2991" y="2226"/>
                  </a:lnTo>
                  <a:lnTo>
                    <a:pt x="2970" y="2197"/>
                  </a:lnTo>
                  <a:lnTo>
                    <a:pt x="2974" y="2209"/>
                  </a:lnTo>
                  <a:lnTo>
                    <a:pt x="2986" y="2192"/>
                  </a:lnTo>
                  <a:lnTo>
                    <a:pt x="3003" y="2209"/>
                  </a:lnTo>
                  <a:lnTo>
                    <a:pt x="3029" y="2197"/>
                  </a:lnTo>
                  <a:lnTo>
                    <a:pt x="3019" y="2181"/>
                  </a:lnTo>
                  <a:lnTo>
                    <a:pt x="3024" y="2176"/>
                  </a:lnTo>
                  <a:lnTo>
                    <a:pt x="3045" y="2192"/>
                  </a:lnTo>
                  <a:lnTo>
                    <a:pt x="3071" y="2192"/>
                  </a:lnTo>
                  <a:lnTo>
                    <a:pt x="3083" y="2197"/>
                  </a:lnTo>
                  <a:lnTo>
                    <a:pt x="3078" y="2214"/>
                  </a:lnTo>
                  <a:lnTo>
                    <a:pt x="3133" y="2209"/>
                  </a:lnTo>
                  <a:lnTo>
                    <a:pt x="3100" y="2235"/>
                  </a:lnTo>
                  <a:lnTo>
                    <a:pt x="3109" y="2247"/>
                  </a:lnTo>
                  <a:lnTo>
                    <a:pt x="3154" y="2214"/>
                  </a:lnTo>
                  <a:lnTo>
                    <a:pt x="3137" y="2268"/>
                  </a:lnTo>
                  <a:lnTo>
                    <a:pt x="3147" y="2285"/>
                  </a:lnTo>
                  <a:lnTo>
                    <a:pt x="3126" y="2308"/>
                  </a:lnTo>
                  <a:lnTo>
                    <a:pt x="3147" y="2308"/>
                  </a:lnTo>
                  <a:lnTo>
                    <a:pt x="3137" y="2341"/>
                  </a:lnTo>
                  <a:lnTo>
                    <a:pt x="3147" y="2341"/>
                  </a:lnTo>
                  <a:lnTo>
                    <a:pt x="3185" y="2325"/>
                  </a:lnTo>
                  <a:lnTo>
                    <a:pt x="3185" y="2337"/>
                  </a:lnTo>
                  <a:lnTo>
                    <a:pt x="3170" y="2346"/>
                  </a:lnTo>
                  <a:lnTo>
                    <a:pt x="3192" y="2341"/>
                  </a:lnTo>
                  <a:lnTo>
                    <a:pt x="3201" y="2374"/>
                  </a:lnTo>
                  <a:lnTo>
                    <a:pt x="3163" y="2374"/>
                  </a:lnTo>
                  <a:lnTo>
                    <a:pt x="3154" y="2363"/>
                  </a:lnTo>
                  <a:lnTo>
                    <a:pt x="3163" y="2358"/>
                  </a:lnTo>
                  <a:lnTo>
                    <a:pt x="3147" y="2374"/>
                  </a:lnTo>
                  <a:lnTo>
                    <a:pt x="3137" y="2358"/>
                  </a:lnTo>
                  <a:lnTo>
                    <a:pt x="3126" y="2358"/>
                  </a:lnTo>
                  <a:lnTo>
                    <a:pt x="3170" y="2396"/>
                  </a:lnTo>
                  <a:lnTo>
                    <a:pt x="3170" y="2412"/>
                  </a:lnTo>
                  <a:lnTo>
                    <a:pt x="3180" y="2412"/>
                  </a:lnTo>
                  <a:lnTo>
                    <a:pt x="3147" y="2379"/>
                  </a:lnTo>
                  <a:lnTo>
                    <a:pt x="3208" y="2379"/>
                  </a:lnTo>
                  <a:lnTo>
                    <a:pt x="3208" y="2374"/>
                  </a:lnTo>
                  <a:lnTo>
                    <a:pt x="3201" y="2346"/>
                  </a:lnTo>
                  <a:lnTo>
                    <a:pt x="3218" y="2337"/>
                  </a:lnTo>
                  <a:lnTo>
                    <a:pt x="3201" y="2325"/>
                  </a:lnTo>
                  <a:lnTo>
                    <a:pt x="3201" y="2303"/>
                  </a:lnTo>
                  <a:lnTo>
                    <a:pt x="3180" y="2280"/>
                  </a:lnTo>
                  <a:lnTo>
                    <a:pt x="3185" y="2268"/>
                  </a:lnTo>
                  <a:lnTo>
                    <a:pt x="3201" y="2235"/>
                  </a:lnTo>
                  <a:lnTo>
                    <a:pt x="3192" y="2235"/>
                  </a:lnTo>
                  <a:lnTo>
                    <a:pt x="3244" y="2235"/>
                  </a:lnTo>
                  <a:lnTo>
                    <a:pt x="3289" y="2214"/>
                  </a:lnTo>
                  <a:lnTo>
                    <a:pt x="3289" y="2192"/>
                  </a:lnTo>
                  <a:lnTo>
                    <a:pt x="3326" y="2176"/>
                  </a:lnTo>
                  <a:lnTo>
                    <a:pt x="3326" y="2169"/>
                  </a:lnTo>
                  <a:lnTo>
                    <a:pt x="3315" y="2169"/>
                  </a:lnTo>
                  <a:lnTo>
                    <a:pt x="3326" y="2140"/>
                  </a:lnTo>
                  <a:lnTo>
                    <a:pt x="3326" y="2124"/>
                  </a:lnTo>
                  <a:lnTo>
                    <a:pt x="3298" y="2124"/>
                  </a:lnTo>
                  <a:lnTo>
                    <a:pt x="3293" y="2140"/>
                  </a:lnTo>
                  <a:lnTo>
                    <a:pt x="3310" y="2136"/>
                  </a:lnTo>
                  <a:lnTo>
                    <a:pt x="3293" y="2152"/>
                  </a:lnTo>
                  <a:lnTo>
                    <a:pt x="3260" y="2152"/>
                  </a:lnTo>
                  <a:lnTo>
                    <a:pt x="3256" y="2152"/>
                  </a:lnTo>
                  <a:lnTo>
                    <a:pt x="3256" y="2136"/>
                  </a:lnTo>
                  <a:lnTo>
                    <a:pt x="3256" y="2124"/>
                  </a:lnTo>
                  <a:lnTo>
                    <a:pt x="3293" y="2103"/>
                  </a:lnTo>
                  <a:lnTo>
                    <a:pt x="3277" y="2103"/>
                  </a:lnTo>
                  <a:lnTo>
                    <a:pt x="3277" y="2081"/>
                  </a:lnTo>
                  <a:lnTo>
                    <a:pt x="3331" y="2065"/>
                  </a:lnTo>
                  <a:lnTo>
                    <a:pt x="3310" y="2086"/>
                  </a:lnTo>
                  <a:lnTo>
                    <a:pt x="3310" y="2103"/>
                  </a:lnTo>
                  <a:lnTo>
                    <a:pt x="3343" y="2070"/>
                  </a:lnTo>
                  <a:lnTo>
                    <a:pt x="3326" y="2070"/>
                  </a:lnTo>
                  <a:lnTo>
                    <a:pt x="3343" y="2065"/>
                  </a:lnTo>
                  <a:lnTo>
                    <a:pt x="3331" y="2058"/>
                  </a:lnTo>
                  <a:lnTo>
                    <a:pt x="3277" y="2065"/>
                  </a:lnTo>
                  <a:lnTo>
                    <a:pt x="3256" y="2029"/>
                  </a:lnTo>
                  <a:lnTo>
                    <a:pt x="3239" y="2048"/>
                  </a:lnTo>
                  <a:lnTo>
                    <a:pt x="3180" y="2025"/>
                  </a:lnTo>
                  <a:lnTo>
                    <a:pt x="3163" y="2025"/>
                  </a:lnTo>
                  <a:lnTo>
                    <a:pt x="3147" y="2003"/>
                  </a:lnTo>
                  <a:lnTo>
                    <a:pt x="3116" y="1975"/>
                  </a:lnTo>
                  <a:lnTo>
                    <a:pt x="3116" y="1954"/>
                  </a:lnTo>
                  <a:lnTo>
                    <a:pt x="3137" y="1921"/>
                  </a:lnTo>
                  <a:lnTo>
                    <a:pt x="3170" y="1921"/>
                  </a:lnTo>
                  <a:lnTo>
                    <a:pt x="3154" y="1914"/>
                  </a:lnTo>
                  <a:lnTo>
                    <a:pt x="3170" y="1897"/>
                  </a:lnTo>
                  <a:lnTo>
                    <a:pt x="3147" y="1914"/>
                  </a:lnTo>
                  <a:lnTo>
                    <a:pt x="3116" y="1892"/>
                  </a:lnTo>
                  <a:lnTo>
                    <a:pt x="3126" y="1859"/>
                  </a:lnTo>
                  <a:lnTo>
                    <a:pt x="3133" y="1848"/>
                  </a:lnTo>
                  <a:lnTo>
                    <a:pt x="3116" y="1843"/>
                  </a:lnTo>
                  <a:lnTo>
                    <a:pt x="3126" y="1843"/>
                  </a:lnTo>
                  <a:lnTo>
                    <a:pt x="3126" y="1826"/>
                  </a:lnTo>
                  <a:lnTo>
                    <a:pt x="3154" y="1810"/>
                  </a:lnTo>
                  <a:lnTo>
                    <a:pt x="3185" y="1826"/>
                  </a:lnTo>
                  <a:lnTo>
                    <a:pt x="3192" y="1810"/>
                  </a:lnTo>
                  <a:lnTo>
                    <a:pt x="3185" y="1803"/>
                  </a:lnTo>
                  <a:lnTo>
                    <a:pt x="3163" y="1786"/>
                  </a:lnTo>
                  <a:lnTo>
                    <a:pt x="3208" y="1770"/>
                  </a:lnTo>
                  <a:lnTo>
                    <a:pt x="3208" y="1753"/>
                  </a:lnTo>
                  <a:lnTo>
                    <a:pt x="3256" y="1748"/>
                  </a:lnTo>
                  <a:lnTo>
                    <a:pt x="3208" y="1748"/>
                  </a:lnTo>
                  <a:lnTo>
                    <a:pt x="3218" y="1737"/>
                  </a:lnTo>
                  <a:lnTo>
                    <a:pt x="3260" y="1732"/>
                  </a:lnTo>
                  <a:lnTo>
                    <a:pt x="3272" y="1737"/>
                  </a:lnTo>
                  <a:lnTo>
                    <a:pt x="3256" y="1753"/>
                  </a:lnTo>
                  <a:lnTo>
                    <a:pt x="3256" y="1765"/>
                  </a:lnTo>
                  <a:lnTo>
                    <a:pt x="3260" y="1753"/>
                  </a:lnTo>
                  <a:lnTo>
                    <a:pt x="3272" y="1753"/>
                  </a:lnTo>
                  <a:lnTo>
                    <a:pt x="3272" y="1781"/>
                  </a:lnTo>
                  <a:lnTo>
                    <a:pt x="3289" y="1753"/>
                  </a:lnTo>
                  <a:lnTo>
                    <a:pt x="3315" y="1765"/>
                  </a:lnTo>
                  <a:lnTo>
                    <a:pt x="3310" y="1781"/>
                  </a:lnTo>
                  <a:lnTo>
                    <a:pt x="3369" y="1819"/>
                  </a:lnTo>
                  <a:lnTo>
                    <a:pt x="3381" y="1843"/>
                  </a:lnTo>
                  <a:lnTo>
                    <a:pt x="3369" y="1876"/>
                  </a:lnTo>
                  <a:lnTo>
                    <a:pt x="3364" y="1881"/>
                  </a:lnTo>
                  <a:lnTo>
                    <a:pt x="3423" y="1914"/>
                  </a:lnTo>
                  <a:lnTo>
                    <a:pt x="3418" y="1930"/>
                  </a:lnTo>
                  <a:lnTo>
                    <a:pt x="3440" y="1947"/>
                  </a:lnTo>
                  <a:lnTo>
                    <a:pt x="3440" y="1959"/>
                  </a:lnTo>
                  <a:lnTo>
                    <a:pt x="3449" y="1947"/>
                  </a:lnTo>
                  <a:lnTo>
                    <a:pt x="3456" y="1947"/>
                  </a:lnTo>
                  <a:lnTo>
                    <a:pt x="3470" y="1970"/>
                  </a:lnTo>
                  <a:lnTo>
                    <a:pt x="3440" y="1975"/>
                  </a:lnTo>
                  <a:lnTo>
                    <a:pt x="3418" y="1970"/>
                  </a:lnTo>
                  <a:lnTo>
                    <a:pt x="3407" y="1987"/>
                  </a:lnTo>
                  <a:lnTo>
                    <a:pt x="3440" y="1992"/>
                  </a:lnTo>
                  <a:lnTo>
                    <a:pt x="3385" y="2029"/>
                  </a:lnTo>
                  <a:lnTo>
                    <a:pt x="3402" y="2029"/>
                  </a:lnTo>
                  <a:lnTo>
                    <a:pt x="3369" y="2029"/>
                  </a:lnTo>
                  <a:lnTo>
                    <a:pt x="3418" y="2029"/>
                  </a:lnTo>
                  <a:lnTo>
                    <a:pt x="3433" y="2041"/>
                  </a:lnTo>
                  <a:lnTo>
                    <a:pt x="3418" y="2041"/>
                  </a:lnTo>
                  <a:lnTo>
                    <a:pt x="3433" y="2048"/>
                  </a:lnTo>
                  <a:lnTo>
                    <a:pt x="3449" y="2058"/>
                  </a:lnTo>
                  <a:lnTo>
                    <a:pt x="3470" y="2041"/>
                  </a:lnTo>
                  <a:lnTo>
                    <a:pt x="3494" y="2041"/>
                  </a:lnTo>
                  <a:lnTo>
                    <a:pt x="3504" y="2041"/>
                  </a:lnTo>
                  <a:lnTo>
                    <a:pt x="3470" y="2058"/>
                  </a:lnTo>
                  <a:lnTo>
                    <a:pt x="3494" y="2048"/>
                  </a:lnTo>
                  <a:lnTo>
                    <a:pt x="3525" y="2058"/>
                  </a:lnTo>
                  <a:lnTo>
                    <a:pt x="3525" y="2048"/>
                  </a:lnTo>
                  <a:lnTo>
                    <a:pt x="3558" y="2065"/>
                  </a:lnTo>
                  <a:lnTo>
                    <a:pt x="3525" y="2065"/>
                  </a:lnTo>
                  <a:lnTo>
                    <a:pt x="3541" y="2065"/>
                  </a:lnTo>
                  <a:lnTo>
                    <a:pt x="3525" y="2070"/>
                  </a:lnTo>
                  <a:lnTo>
                    <a:pt x="3515" y="2086"/>
                  </a:lnTo>
                  <a:lnTo>
                    <a:pt x="3478" y="2070"/>
                  </a:lnTo>
                  <a:lnTo>
                    <a:pt x="3532" y="2115"/>
                  </a:lnTo>
                  <a:lnTo>
                    <a:pt x="3532" y="2124"/>
                  </a:lnTo>
                  <a:lnTo>
                    <a:pt x="3546" y="2136"/>
                  </a:lnTo>
                  <a:lnTo>
                    <a:pt x="3541" y="2152"/>
                  </a:lnTo>
                  <a:lnTo>
                    <a:pt x="3541" y="2181"/>
                  </a:lnTo>
                  <a:lnTo>
                    <a:pt x="3532" y="2192"/>
                  </a:lnTo>
                  <a:lnTo>
                    <a:pt x="3558" y="2197"/>
                  </a:lnTo>
                  <a:lnTo>
                    <a:pt x="3546" y="2209"/>
                  </a:lnTo>
                  <a:lnTo>
                    <a:pt x="3558" y="2214"/>
                  </a:lnTo>
                  <a:lnTo>
                    <a:pt x="3570" y="2214"/>
                  </a:lnTo>
                  <a:lnTo>
                    <a:pt x="3584" y="2192"/>
                  </a:lnTo>
                  <a:lnTo>
                    <a:pt x="3579" y="2169"/>
                  </a:lnTo>
                  <a:lnTo>
                    <a:pt x="3596" y="2157"/>
                  </a:lnTo>
                  <a:lnTo>
                    <a:pt x="3596" y="2119"/>
                  </a:lnTo>
                  <a:lnTo>
                    <a:pt x="3622" y="2086"/>
                  </a:lnTo>
                  <a:lnTo>
                    <a:pt x="3650" y="2086"/>
                  </a:lnTo>
                  <a:lnTo>
                    <a:pt x="3721" y="2140"/>
                  </a:lnTo>
                  <a:lnTo>
                    <a:pt x="3730" y="2209"/>
                  </a:lnTo>
                  <a:lnTo>
                    <a:pt x="3726" y="2226"/>
                  </a:lnTo>
                  <a:lnTo>
                    <a:pt x="3704" y="2197"/>
                  </a:lnTo>
                  <a:lnTo>
                    <a:pt x="3688" y="2209"/>
                  </a:lnTo>
                  <a:lnTo>
                    <a:pt x="3693" y="2230"/>
                  </a:lnTo>
                  <a:lnTo>
                    <a:pt x="3693" y="2252"/>
                  </a:lnTo>
                  <a:lnTo>
                    <a:pt x="3709" y="2285"/>
                  </a:lnTo>
                  <a:lnTo>
                    <a:pt x="3763" y="2337"/>
                  </a:lnTo>
                  <a:lnTo>
                    <a:pt x="3747" y="2358"/>
                  </a:lnTo>
                  <a:lnTo>
                    <a:pt x="3785" y="2341"/>
                  </a:lnTo>
                  <a:lnTo>
                    <a:pt x="3780" y="2325"/>
                  </a:lnTo>
                  <a:lnTo>
                    <a:pt x="3796" y="2320"/>
                  </a:lnTo>
                  <a:lnTo>
                    <a:pt x="3818" y="2325"/>
                  </a:lnTo>
                  <a:lnTo>
                    <a:pt x="3827" y="2292"/>
                  </a:lnTo>
                  <a:lnTo>
                    <a:pt x="3818" y="2285"/>
                  </a:lnTo>
                  <a:lnTo>
                    <a:pt x="3865" y="2235"/>
                  </a:lnTo>
                  <a:lnTo>
                    <a:pt x="3872" y="2209"/>
                  </a:lnTo>
                  <a:lnTo>
                    <a:pt x="3881" y="2192"/>
                  </a:lnTo>
                  <a:lnTo>
                    <a:pt x="3881" y="2152"/>
                  </a:lnTo>
                  <a:lnTo>
                    <a:pt x="3893" y="2152"/>
                  </a:lnTo>
                  <a:lnTo>
                    <a:pt x="3941" y="2152"/>
                  </a:lnTo>
                  <a:lnTo>
                    <a:pt x="3941" y="2140"/>
                  </a:lnTo>
                  <a:lnTo>
                    <a:pt x="3910" y="2136"/>
                  </a:lnTo>
                  <a:lnTo>
                    <a:pt x="3924" y="2136"/>
                  </a:lnTo>
                  <a:lnTo>
                    <a:pt x="3919" y="2124"/>
                  </a:lnTo>
                  <a:lnTo>
                    <a:pt x="3941" y="2124"/>
                  </a:lnTo>
                  <a:lnTo>
                    <a:pt x="3936" y="2119"/>
                  </a:lnTo>
                  <a:lnTo>
                    <a:pt x="3962" y="2119"/>
                  </a:lnTo>
                  <a:lnTo>
                    <a:pt x="3919" y="2103"/>
                  </a:lnTo>
                  <a:lnTo>
                    <a:pt x="3924" y="2098"/>
                  </a:lnTo>
                  <a:lnTo>
                    <a:pt x="3903" y="2103"/>
                  </a:lnTo>
                  <a:lnTo>
                    <a:pt x="3910" y="2098"/>
                  </a:lnTo>
                  <a:lnTo>
                    <a:pt x="3893" y="2086"/>
                  </a:lnTo>
                  <a:lnTo>
                    <a:pt x="3893" y="2070"/>
                  </a:lnTo>
                  <a:lnTo>
                    <a:pt x="3903" y="2065"/>
                  </a:lnTo>
                  <a:lnTo>
                    <a:pt x="3886" y="2065"/>
                  </a:lnTo>
                  <a:lnTo>
                    <a:pt x="3893" y="2025"/>
                  </a:lnTo>
                  <a:lnTo>
                    <a:pt x="3903" y="2025"/>
                  </a:lnTo>
                  <a:lnTo>
                    <a:pt x="3886" y="2008"/>
                  </a:lnTo>
                  <a:lnTo>
                    <a:pt x="3924" y="2025"/>
                  </a:lnTo>
                  <a:lnTo>
                    <a:pt x="3974" y="2008"/>
                  </a:lnTo>
                  <a:lnTo>
                    <a:pt x="4016" y="2029"/>
                  </a:lnTo>
                  <a:lnTo>
                    <a:pt x="4120" y="2041"/>
                  </a:lnTo>
                  <a:lnTo>
                    <a:pt x="4096" y="2041"/>
                  </a:lnTo>
                  <a:lnTo>
                    <a:pt x="4104" y="2058"/>
                  </a:lnTo>
                  <a:lnTo>
                    <a:pt x="4049" y="2048"/>
                  </a:lnTo>
                  <a:lnTo>
                    <a:pt x="4120" y="2070"/>
                  </a:lnTo>
                  <a:lnTo>
                    <a:pt x="4120" y="2086"/>
                  </a:lnTo>
                  <a:lnTo>
                    <a:pt x="4158" y="2086"/>
                  </a:lnTo>
                  <a:lnTo>
                    <a:pt x="4189" y="2098"/>
                  </a:lnTo>
                  <a:lnTo>
                    <a:pt x="4189" y="2103"/>
                  </a:lnTo>
                  <a:lnTo>
                    <a:pt x="4163" y="2119"/>
                  </a:lnTo>
                  <a:lnTo>
                    <a:pt x="4134" y="2136"/>
                  </a:lnTo>
                  <a:lnTo>
                    <a:pt x="4179" y="2136"/>
                  </a:lnTo>
                  <a:lnTo>
                    <a:pt x="4189" y="2152"/>
                  </a:lnTo>
                  <a:lnTo>
                    <a:pt x="4189" y="2169"/>
                  </a:lnTo>
                  <a:lnTo>
                    <a:pt x="4141" y="2192"/>
                  </a:lnTo>
                  <a:lnTo>
                    <a:pt x="4120" y="2181"/>
                  </a:lnTo>
                  <a:lnTo>
                    <a:pt x="4125" y="2181"/>
                  </a:lnTo>
                  <a:lnTo>
                    <a:pt x="4120" y="2192"/>
                  </a:lnTo>
                  <a:lnTo>
                    <a:pt x="4096" y="2181"/>
                  </a:lnTo>
                  <a:lnTo>
                    <a:pt x="4108" y="2209"/>
                  </a:lnTo>
                  <a:lnTo>
                    <a:pt x="4104" y="2209"/>
                  </a:lnTo>
                  <a:lnTo>
                    <a:pt x="4120" y="2209"/>
                  </a:lnTo>
                  <a:lnTo>
                    <a:pt x="4108" y="2226"/>
                  </a:lnTo>
                  <a:lnTo>
                    <a:pt x="4125" y="2230"/>
                  </a:lnTo>
                  <a:lnTo>
                    <a:pt x="4141" y="2226"/>
                  </a:lnTo>
                  <a:lnTo>
                    <a:pt x="4125" y="2247"/>
                  </a:lnTo>
                  <a:lnTo>
                    <a:pt x="4134" y="2252"/>
                  </a:lnTo>
                  <a:lnTo>
                    <a:pt x="4189" y="2308"/>
                  </a:lnTo>
                  <a:lnTo>
                    <a:pt x="4172" y="2363"/>
                  </a:lnTo>
                  <a:lnTo>
                    <a:pt x="4141" y="2374"/>
                  </a:lnTo>
                  <a:lnTo>
                    <a:pt x="4096" y="2419"/>
                  </a:lnTo>
                  <a:lnTo>
                    <a:pt x="4066" y="2419"/>
                  </a:lnTo>
                  <a:lnTo>
                    <a:pt x="4033" y="2448"/>
                  </a:lnTo>
                  <a:lnTo>
                    <a:pt x="4028" y="2436"/>
                  </a:lnTo>
                  <a:lnTo>
                    <a:pt x="4033" y="2448"/>
                  </a:lnTo>
                  <a:lnTo>
                    <a:pt x="4016" y="2429"/>
                  </a:lnTo>
                  <a:lnTo>
                    <a:pt x="4000" y="2419"/>
                  </a:lnTo>
                  <a:lnTo>
                    <a:pt x="3995" y="2403"/>
                  </a:lnTo>
                  <a:lnTo>
                    <a:pt x="4000" y="2391"/>
                  </a:lnTo>
                  <a:lnTo>
                    <a:pt x="4000" y="2379"/>
                  </a:lnTo>
                  <a:lnTo>
                    <a:pt x="3990" y="2403"/>
                  </a:lnTo>
                  <a:lnTo>
                    <a:pt x="3978" y="2403"/>
                  </a:lnTo>
                  <a:lnTo>
                    <a:pt x="3962" y="2391"/>
                  </a:lnTo>
                  <a:lnTo>
                    <a:pt x="3974" y="2374"/>
                  </a:lnTo>
                  <a:lnTo>
                    <a:pt x="3936" y="2358"/>
                  </a:lnTo>
                  <a:lnTo>
                    <a:pt x="3936" y="2374"/>
                  </a:lnTo>
                  <a:lnTo>
                    <a:pt x="3957" y="2374"/>
                  </a:lnTo>
                  <a:lnTo>
                    <a:pt x="3924" y="2374"/>
                  </a:lnTo>
                  <a:lnTo>
                    <a:pt x="3910" y="2379"/>
                  </a:lnTo>
                  <a:lnTo>
                    <a:pt x="3957" y="2374"/>
                  </a:lnTo>
                  <a:lnTo>
                    <a:pt x="3945" y="2379"/>
                  </a:lnTo>
                  <a:lnTo>
                    <a:pt x="3962" y="2391"/>
                  </a:lnTo>
                  <a:lnTo>
                    <a:pt x="3945" y="2391"/>
                  </a:lnTo>
                  <a:lnTo>
                    <a:pt x="3962" y="2396"/>
                  </a:lnTo>
                  <a:lnTo>
                    <a:pt x="3962" y="2403"/>
                  </a:lnTo>
                  <a:lnTo>
                    <a:pt x="3990" y="2403"/>
                  </a:lnTo>
                  <a:lnTo>
                    <a:pt x="3990" y="2412"/>
                  </a:lnTo>
                  <a:lnTo>
                    <a:pt x="4016" y="2469"/>
                  </a:lnTo>
                  <a:lnTo>
                    <a:pt x="4011" y="2469"/>
                  </a:lnTo>
                  <a:lnTo>
                    <a:pt x="3962" y="2436"/>
                  </a:lnTo>
                  <a:lnTo>
                    <a:pt x="3957" y="2452"/>
                  </a:lnTo>
                  <a:lnTo>
                    <a:pt x="3974" y="2469"/>
                  </a:lnTo>
                  <a:lnTo>
                    <a:pt x="3910" y="2457"/>
                  </a:lnTo>
                  <a:lnTo>
                    <a:pt x="3893" y="2419"/>
                  </a:lnTo>
                  <a:lnTo>
                    <a:pt x="3872" y="2429"/>
                  </a:lnTo>
                  <a:lnTo>
                    <a:pt x="3801" y="2429"/>
                  </a:lnTo>
                  <a:lnTo>
                    <a:pt x="3811" y="2436"/>
                  </a:lnTo>
                  <a:lnTo>
                    <a:pt x="3801" y="2436"/>
                  </a:lnTo>
                  <a:lnTo>
                    <a:pt x="3811" y="2452"/>
                  </a:lnTo>
                  <a:lnTo>
                    <a:pt x="3865" y="2469"/>
                  </a:lnTo>
                  <a:lnTo>
                    <a:pt x="3855" y="2485"/>
                  </a:lnTo>
                  <a:lnTo>
                    <a:pt x="3827" y="2502"/>
                  </a:lnTo>
                  <a:lnTo>
                    <a:pt x="3818" y="2523"/>
                  </a:lnTo>
                  <a:lnTo>
                    <a:pt x="3763" y="2568"/>
                  </a:lnTo>
                  <a:lnTo>
                    <a:pt x="3721" y="2563"/>
                  </a:lnTo>
                  <a:lnTo>
                    <a:pt x="3655" y="2530"/>
                  </a:lnTo>
                  <a:lnTo>
                    <a:pt x="3676" y="2530"/>
                  </a:lnTo>
                  <a:lnTo>
                    <a:pt x="3650" y="2523"/>
                  </a:lnTo>
                  <a:lnTo>
                    <a:pt x="3600" y="2490"/>
                  </a:lnTo>
                  <a:lnTo>
                    <a:pt x="3579" y="2490"/>
                  </a:lnTo>
                  <a:lnTo>
                    <a:pt x="3596" y="2502"/>
                  </a:lnTo>
                  <a:lnTo>
                    <a:pt x="3596" y="2507"/>
                  </a:lnTo>
                  <a:lnTo>
                    <a:pt x="3546" y="2502"/>
                  </a:lnTo>
                  <a:lnTo>
                    <a:pt x="3563" y="2502"/>
                  </a:lnTo>
                  <a:lnTo>
                    <a:pt x="3478" y="2490"/>
                  </a:lnTo>
                  <a:lnTo>
                    <a:pt x="3508" y="2507"/>
                  </a:lnTo>
                  <a:lnTo>
                    <a:pt x="3504" y="2502"/>
                  </a:lnTo>
                  <a:lnTo>
                    <a:pt x="3579" y="2514"/>
                  </a:lnTo>
                  <a:lnTo>
                    <a:pt x="3638" y="2568"/>
                  </a:lnTo>
                  <a:lnTo>
                    <a:pt x="3763" y="2568"/>
                  </a:lnTo>
                  <a:lnTo>
                    <a:pt x="3796" y="2585"/>
                  </a:lnTo>
                  <a:lnTo>
                    <a:pt x="3747" y="2658"/>
                  </a:lnTo>
                  <a:lnTo>
                    <a:pt x="3730" y="2667"/>
                  </a:lnTo>
                  <a:lnTo>
                    <a:pt x="3721" y="2696"/>
                  </a:lnTo>
                  <a:lnTo>
                    <a:pt x="3709" y="2707"/>
                  </a:lnTo>
                  <a:lnTo>
                    <a:pt x="3667" y="2729"/>
                  </a:lnTo>
                  <a:lnTo>
                    <a:pt x="3638" y="2724"/>
                  </a:lnTo>
                  <a:lnTo>
                    <a:pt x="3633" y="2707"/>
                  </a:lnTo>
                  <a:lnTo>
                    <a:pt x="3650" y="2729"/>
                  </a:lnTo>
                  <a:lnTo>
                    <a:pt x="3612" y="2712"/>
                  </a:lnTo>
                  <a:lnTo>
                    <a:pt x="3612" y="2729"/>
                  </a:lnTo>
                  <a:lnTo>
                    <a:pt x="3584" y="2712"/>
                  </a:lnTo>
                  <a:lnTo>
                    <a:pt x="3596" y="2707"/>
                  </a:lnTo>
                  <a:lnTo>
                    <a:pt x="3596" y="2696"/>
                  </a:lnTo>
                  <a:lnTo>
                    <a:pt x="3584" y="2707"/>
                  </a:lnTo>
                  <a:lnTo>
                    <a:pt x="3570" y="2707"/>
                  </a:lnTo>
                  <a:lnTo>
                    <a:pt x="3579" y="2712"/>
                  </a:lnTo>
                  <a:lnTo>
                    <a:pt x="3584" y="2729"/>
                  </a:lnTo>
                  <a:lnTo>
                    <a:pt x="3558" y="2724"/>
                  </a:lnTo>
                  <a:lnTo>
                    <a:pt x="3579" y="2745"/>
                  </a:lnTo>
                  <a:lnTo>
                    <a:pt x="3563" y="2769"/>
                  </a:lnTo>
                  <a:lnTo>
                    <a:pt x="3532" y="2752"/>
                  </a:lnTo>
                  <a:lnTo>
                    <a:pt x="3525" y="2762"/>
                  </a:lnTo>
                  <a:lnTo>
                    <a:pt x="3532" y="2762"/>
                  </a:lnTo>
                  <a:lnTo>
                    <a:pt x="3541" y="2769"/>
                  </a:lnTo>
                  <a:lnTo>
                    <a:pt x="3508" y="2769"/>
                  </a:lnTo>
                  <a:lnTo>
                    <a:pt x="3470" y="2752"/>
                  </a:lnTo>
                  <a:lnTo>
                    <a:pt x="3423" y="2752"/>
                  </a:lnTo>
                  <a:lnTo>
                    <a:pt x="3343" y="2724"/>
                  </a:lnTo>
                  <a:lnTo>
                    <a:pt x="3310" y="2696"/>
                  </a:lnTo>
                  <a:lnTo>
                    <a:pt x="3326" y="2712"/>
                  </a:lnTo>
                  <a:lnTo>
                    <a:pt x="3315" y="2729"/>
                  </a:lnTo>
                  <a:lnTo>
                    <a:pt x="3331" y="2736"/>
                  </a:lnTo>
                  <a:lnTo>
                    <a:pt x="3352" y="2736"/>
                  </a:lnTo>
                  <a:lnTo>
                    <a:pt x="3331" y="2729"/>
                  </a:lnTo>
                  <a:lnTo>
                    <a:pt x="3343" y="2729"/>
                  </a:lnTo>
                  <a:lnTo>
                    <a:pt x="3433" y="2752"/>
                  </a:lnTo>
                  <a:lnTo>
                    <a:pt x="3402" y="2778"/>
                  </a:lnTo>
                  <a:lnTo>
                    <a:pt x="3456" y="2752"/>
                  </a:lnTo>
                  <a:lnTo>
                    <a:pt x="3461" y="2769"/>
                  </a:lnTo>
                  <a:lnTo>
                    <a:pt x="3515" y="2790"/>
                  </a:lnTo>
                  <a:lnTo>
                    <a:pt x="3508" y="2785"/>
                  </a:lnTo>
                  <a:lnTo>
                    <a:pt x="3525" y="2790"/>
                  </a:lnTo>
                  <a:lnTo>
                    <a:pt x="3532" y="2835"/>
                  </a:lnTo>
                  <a:lnTo>
                    <a:pt x="3525" y="2840"/>
                  </a:lnTo>
                  <a:lnTo>
                    <a:pt x="3504" y="2840"/>
                  </a:lnTo>
                  <a:lnTo>
                    <a:pt x="3478" y="2856"/>
                  </a:lnTo>
                  <a:lnTo>
                    <a:pt x="3407" y="2856"/>
                  </a:lnTo>
                  <a:lnTo>
                    <a:pt x="3418" y="2873"/>
                  </a:lnTo>
                  <a:lnTo>
                    <a:pt x="3449" y="2880"/>
                  </a:lnTo>
                  <a:lnTo>
                    <a:pt x="3433" y="2889"/>
                  </a:lnTo>
                  <a:lnTo>
                    <a:pt x="3418" y="2880"/>
                  </a:lnTo>
                  <a:lnTo>
                    <a:pt x="3385" y="2896"/>
                  </a:lnTo>
                  <a:lnTo>
                    <a:pt x="3385" y="2913"/>
                  </a:lnTo>
                  <a:lnTo>
                    <a:pt x="3402" y="2934"/>
                  </a:lnTo>
                  <a:lnTo>
                    <a:pt x="3385" y="2918"/>
                  </a:lnTo>
                  <a:lnTo>
                    <a:pt x="3352" y="2913"/>
                  </a:lnTo>
                  <a:lnTo>
                    <a:pt x="3385" y="2929"/>
                  </a:lnTo>
                  <a:lnTo>
                    <a:pt x="3364" y="2929"/>
                  </a:lnTo>
                  <a:lnTo>
                    <a:pt x="3369" y="2934"/>
                  </a:lnTo>
                  <a:lnTo>
                    <a:pt x="3352" y="2946"/>
                  </a:lnTo>
                  <a:lnTo>
                    <a:pt x="3343" y="2946"/>
                  </a:lnTo>
                  <a:lnTo>
                    <a:pt x="3352" y="2951"/>
                  </a:lnTo>
                  <a:lnTo>
                    <a:pt x="3348" y="2955"/>
                  </a:lnTo>
                  <a:lnTo>
                    <a:pt x="3326" y="2951"/>
                  </a:lnTo>
                  <a:lnTo>
                    <a:pt x="3326" y="2967"/>
                  </a:lnTo>
                  <a:lnTo>
                    <a:pt x="3348" y="2974"/>
                  </a:lnTo>
                  <a:lnTo>
                    <a:pt x="3298" y="3007"/>
                  </a:lnTo>
                  <a:lnTo>
                    <a:pt x="3310" y="3024"/>
                  </a:lnTo>
                  <a:lnTo>
                    <a:pt x="3272" y="3078"/>
                  </a:lnTo>
                  <a:lnTo>
                    <a:pt x="3260" y="3111"/>
                  </a:lnTo>
                  <a:lnTo>
                    <a:pt x="3244" y="3111"/>
                  </a:lnTo>
                  <a:lnTo>
                    <a:pt x="3256" y="3123"/>
                  </a:lnTo>
                  <a:lnTo>
                    <a:pt x="3239" y="3173"/>
                  </a:lnTo>
                  <a:lnTo>
                    <a:pt x="3239" y="3206"/>
                  </a:lnTo>
                  <a:lnTo>
                    <a:pt x="3244" y="3234"/>
                  </a:lnTo>
                  <a:lnTo>
                    <a:pt x="3239" y="3246"/>
                  </a:lnTo>
                  <a:lnTo>
                    <a:pt x="3239" y="3263"/>
                  </a:lnTo>
                  <a:lnTo>
                    <a:pt x="3260" y="3300"/>
                  </a:lnTo>
                  <a:lnTo>
                    <a:pt x="3277" y="3300"/>
                  </a:lnTo>
                  <a:lnTo>
                    <a:pt x="3272" y="3355"/>
                  </a:lnTo>
                  <a:lnTo>
                    <a:pt x="3277" y="3338"/>
                  </a:lnTo>
                  <a:lnTo>
                    <a:pt x="3277" y="3317"/>
                  </a:lnTo>
                  <a:lnTo>
                    <a:pt x="3289" y="3300"/>
                  </a:lnTo>
                  <a:lnTo>
                    <a:pt x="3352" y="3300"/>
                  </a:lnTo>
                  <a:lnTo>
                    <a:pt x="3407" y="3449"/>
                  </a:lnTo>
                  <a:lnTo>
                    <a:pt x="3395" y="3473"/>
                  </a:lnTo>
                  <a:lnTo>
                    <a:pt x="3381" y="3489"/>
                  </a:lnTo>
                  <a:lnTo>
                    <a:pt x="3407" y="3473"/>
                  </a:lnTo>
                  <a:lnTo>
                    <a:pt x="3423" y="3473"/>
                  </a:lnTo>
                  <a:lnTo>
                    <a:pt x="3402" y="3489"/>
                  </a:lnTo>
                  <a:lnTo>
                    <a:pt x="3508" y="3461"/>
                  </a:lnTo>
                  <a:lnTo>
                    <a:pt x="3667" y="3499"/>
                  </a:lnTo>
                  <a:lnTo>
                    <a:pt x="3721" y="3539"/>
                  </a:lnTo>
                  <a:lnTo>
                    <a:pt x="3742" y="3572"/>
                  </a:lnTo>
                  <a:lnTo>
                    <a:pt x="3763" y="3584"/>
                  </a:lnTo>
                  <a:lnTo>
                    <a:pt x="3881" y="3626"/>
                  </a:lnTo>
                  <a:lnTo>
                    <a:pt x="3903" y="3650"/>
                  </a:lnTo>
                  <a:lnTo>
                    <a:pt x="3919" y="3650"/>
                  </a:lnTo>
                  <a:lnTo>
                    <a:pt x="3893" y="3688"/>
                  </a:lnTo>
                  <a:lnTo>
                    <a:pt x="3910" y="3666"/>
                  </a:lnTo>
                  <a:lnTo>
                    <a:pt x="3924" y="3655"/>
                  </a:lnTo>
                  <a:lnTo>
                    <a:pt x="3957" y="3666"/>
                  </a:lnTo>
                  <a:lnTo>
                    <a:pt x="4000" y="3655"/>
                  </a:lnTo>
                  <a:lnTo>
                    <a:pt x="4028" y="3671"/>
                  </a:lnTo>
                  <a:lnTo>
                    <a:pt x="4016" y="3655"/>
                  </a:lnTo>
                  <a:lnTo>
                    <a:pt x="4070" y="3666"/>
                  </a:lnTo>
                  <a:lnTo>
                    <a:pt x="4108" y="3683"/>
                  </a:lnTo>
                  <a:lnTo>
                    <a:pt x="4120" y="3671"/>
                  </a:lnTo>
                  <a:lnTo>
                    <a:pt x="4125" y="3704"/>
                  </a:lnTo>
                  <a:lnTo>
                    <a:pt x="4108" y="3749"/>
                  </a:lnTo>
                  <a:lnTo>
                    <a:pt x="4108" y="3766"/>
                  </a:lnTo>
                  <a:lnTo>
                    <a:pt x="4120" y="3777"/>
                  </a:lnTo>
                  <a:lnTo>
                    <a:pt x="4125" y="3806"/>
                  </a:lnTo>
                  <a:lnTo>
                    <a:pt x="4125" y="3822"/>
                  </a:lnTo>
                  <a:lnTo>
                    <a:pt x="4125" y="3855"/>
                  </a:lnTo>
                  <a:lnTo>
                    <a:pt x="4120" y="3872"/>
                  </a:lnTo>
                  <a:lnTo>
                    <a:pt x="4120" y="3877"/>
                  </a:lnTo>
                  <a:lnTo>
                    <a:pt x="4172" y="3943"/>
                  </a:lnTo>
                  <a:lnTo>
                    <a:pt x="4172" y="3950"/>
                  </a:lnTo>
                  <a:lnTo>
                    <a:pt x="4151" y="3966"/>
                  </a:lnTo>
                  <a:lnTo>
                    <a:pt x="4172" y="3959"/>
                  </a:lnTo>
                  <a:lnTo>
                    <a:pt x="4179" y="3971"/>
                  </a:lnTo>
                  <a:lnTo>
                    <a:pt x="4210" y="3983"/>
                  </a:lnTo>
                  <a:lnTo>
                    <a:pt x="4233" y="4016"/>
                  </a:lnTo>
                  <a:lnTo>
                    <a:pt x="4248" y="4044"/>
                  </a:lnTo>
                  <a:lnTo>
                    <a:pt x="4205" y="4077"/>
                  </a:lnTo>
                  <a:lnTo>
                    <a:pt x="4248" y="4044"/>
                  </a:lnTo>
                  <a:lnTo>
                    <a:pt x="4271" y="4044"/>
                  </a:lnTo>
                  <a:lnTo>
                    <a:pt x="4297" y="4061"/>
                  </a:lnTo>
                  <a:lnTo>
                    <a:pt x="4323" y="4099"/>
                  </a:lnTo>
                  <a:lnTo>
                    <a:pt x="4297" y="4061"/>
                  </a:lnTo>
                  <a:lnTo>
                    <a:pt x="4302" y="4037"/>
                  </a:lnTo>
                  <a:lnTo>
                    <a:pt x="4323" y="4016"/>
                  </a:lnTo>
                  <a:lnTo>
                    <a:pt x="4335" y="4016"/>
                  </a:lnTo>
                  <a:lnTo>
                    <a:pt x="4323" y="4025"/>
                  </a:lnTo>
                  <a:lnTo>
                    <a:pt x="4352" y="4025"/>
                  </a:lnTo>
                  <a:lnTo>
                    <a:pt x="4352" y="4054"/>
                  </a:lnTo>
                  <a:lnTo>
                    <a:pt x="4356" y="4061"/>
                  </a:lnTo>
                  <a:lnTo>
                    <a:pt x="4356" y="4054"/>
                  </a:lnTo>
                  <a:lnTo>
                    <a:pt x="4368" y="4025"/>
                  </a:lnTo>
                  <a:lnTo>
                    <a:pt x="4368" y="4021"/>
                  </a:lnTo>
                  <a:lnTo>
                    <a:pt x="4340" y="4004"/>
                  </a:lnTo>
                  <a:lnTo>
                    <a:pt x="4356" y="4000"/>
                  </a:lnTo>
                  <a:lnTo>
                    <a:pt x="4356" y="3988"/>
                  </a:lnTo>
                  <a:lnTo>
                    <a:pt x="4378" y="3971"/>
                  </a:lnTo>
                  <a:lnTo>
                    <a:pt x="4378" y="3933"/>
                  </a:lnTo>
                  <a:lnTo>
                    <a:pt x="4368" y="3926"/>
                  </a:lnTo>
                  <a:lnTo>
                    <a:pt x="4373" y="3926"/>
                  </a:lnTo>
                  <a:lnTo>
                    <a:pt x="4368" y="3905"/>
                  </a:lnTo>
                  <a:lnTo>
                    <a:pt x="4368" y="3893"/>
                  </a:lnTo>
                  <a:lnTo>
                    <a:pt x="4356" y="3893"/>
                  </a:lnTo>
                  <a:lnTo>
                    <a:pt x="4356" y="3855"/>
                  </a:lnTo>
                  <a:lnTo>
                    <a:pt x="4340" y="3832"/>
                  </a:lnTo>
                  <a:lnTo>
                    <a:pt x="4356" y="3832"/>
                  </a:lnTo>
                  <a:lnTo>
                    <a:pt x="4335" y="3815"/>
                  </a:lnTo>
                  <a:lnTo>
                    <a:pt x="4340" y="3799"/>
                  </a:lnTo>
                  <a:lnTo>
                    <a:pt x="4356" y="3806"/>
                  </a:lnTo>
                  <a:lnTo>
                    <a:pt x="4340" y="3794"/>
                  </a:lnTo>
                  <a:lnTo>
                    <a:pt x="4340" y="3782"/>
                  </a:lnTo>
                  <a:lnTo>
                    <a:pt x="4352" y="3782"/>
                  </a:lnTo>
                  <a:lnTo>
                    <a:pt x="4340" y="3777"/>
                  </a:lnTo>
                  <a:lnTo>
                    <a:pt x="4340" y="3766"/>
                  </a:lnTo>
                  <a:lnTo>
                    <a:pt x="4323" y="3766"/>
                  </a:lnTo>
                  <a:lnTo>
                    <a:pt x="4314" y="3728"/>
                  </a:lnTo>
                  <a:lnTo>
                    <a:pt x="4297" y="3721"/>
                  </a:lnTo>
                  <a:lnTo>
                    <a:pt x="4394" y="3683"/>
                  </a:lnTo>
                  <a:lnTo>
                    <a:pt x="4432" y="3655"/>
                  </a:lnTo>
                  <a:lnTo>
                    <a:pt x="4474" y="3626"/>
                  </a:lnTo>
                  <a:lnTo>
                    <a:pt x="4512" y="3584"/>
                  </a:lnTo>
                  <a:lnTo>
                    <a:pt x="4519" y="3544"/>
                  </a:lnTo>
                  <a:lnTo>
                    <a:pt x="4519" y="3473"/>
                  </a:lnTo>
                  <a:lnTo>
                    <a:pt x="4498" y="3407"/>
                  </a:lnTo>
                  <a:lnTo>
                    <a:pt x="4460" y="3355"/>
                  </a:lnTo>
                  <a:lnTo>
                    <a:pt x="4422" y="3338"/>
                  </a:lnTo>
                  <a:lnTo>
                    <a:pt x="4389" y="3317"/>
                  </a:lnTo>
                  <a:lnTo>
                    <a:pt x="4394" y="3322"/>
                  </a:lnTo>
                  <a:lnTo>
                    <a:pt x="4378" y="3317"/>
                  </a:lnTo>
                  <a:lnTo>
                    <a:pt x="4389" y="3305"/>
                  </a:lnTo>
                  <a:lnTo>
                    <a:pt x="4378" y="3279"/>
                  </a:lnTo>
                  <a:lnTo>
                    <a:pt x="4394" y="3284"/>
                  </a:lnTo>
                  <a:lnTo>
                    <a:pt x="4411" y="3251"/>
                  </a:lnTo>
                  <a:lnTo>
                    <a:pt x="4444" y="3227"/>
                  </a:lnTo>
                  <a:lnTo>
                    <a:pt x="4427" y="3227"/>
                  </a:lnTo>
                  <a:lnTo>
                    <a:pt x="4432" y="3211"/>
                  </a:lnTo>
                  <a:lnTo>
                    <a:pt x="4432" y="3194"/>
                  </a:lnTo>
                  <a:lnTo>
                    <a:pt x="4465" y="3211"/>
                  </a:lnTo>
                  <a:lnTo>
                    <a:pt x="4448" y="3194"/>
                  </a:lnTo>
                  <a:lnTo>
                    <a:pt x="4465" y="3189"/>
                  </a:lnTo>
                  <a:lnTo>
                    <a:pt x="4460" y="3173"/>
                  </a:lnTo>
                  <a:lnTo>
                    <a:pt x="4503" y="3151"/>
                  </a:lnTo>
                  <a:lnTo>
                    <a:pt x="4474" y="3151"/>
                  </a:lnTo>
                  <a:lnTo>
                    <a:pt x="4465" y="3168"/>
                  </a:lnTo>
                  <a:lnTo>
                    <a:pt x="4448" y="3156"/>
                  </a:lnTo>
                  <a:lnTo>
                    <a:pt x="4460" y="3140"/>
                  </a:lnTo>
                  <a:lnTo>
                    <a:pt x="4432" y="3123"/>
                  </a:lnTo>
                  <a:lnTo>
                    <a:pt x="4460" y="3111"/>
                  </a:lnTo>
                  <a:lnTo>
                    <a:pt x="4427" y="3095"/>
                  </a:lnTo>
                  <a:lnTo>
                    <a:pt x="4448" y="3078"/>
                  </a:lnTo>
                  <a:lnTo>
                    <a:pt x="4406" y="3078"/>
                  </a:lnTo>
                  <a:lnTo>
                    <a:pt x="4444" y="3029"/>
                  </a:lnTo>
                  <a:lnTo>
                    <a:pt x="4432" y="3012"/>
                  </a:lnTo>
                  <a:lnTo>
                    <a:pt x="4448" y="3007"/>
                  </a:lnTo>
                  <a:lnTo>
                    <a:pt x="4448" y="3000"/>
                  </a:lnTo>
                  <a:lnTo>
                    <a:pt x="4460" y="3000"/>
                  </a:lnTo>
                  <a:lnTo>
                    <a:pt x="4422" y="2974"/>
                  </a:lnTo>
                  <a:lnTo>
                    <a:pt x="4406" y="2929"/>
                  </a:lnTo>
                  <a:lnTo>
                    <a:pt x="4422" y="2901"/>
                  </a:lnTo>
                  <a:lnTo>
                    <a:pt x="4448" y="2889"/>
                  </a:lnTo>
                  <a:lnTo>
                    <a:pt x="4498" y="2889"/>
                  </a:lnTo>
                  <a:lnTo>
                    <a:pt x="4583" y="2913"/>
                  </a:lnTo>
                  <a:lnTo>
                    <a:pt x="4567" y="2929"/>
                  </a:lnTo>
                  <a:lnTo>
                    <a:pt x="4604" y="2913"/>
                  </a:lnTo>
                  <a:lnTo>
                    <a:pt x="4659" y="2934"/>
                  </a:lnTo>
                  <a:lnTo>
                    <a:pt x="4642" y="2929"/>
                  </a:lnTo>
                  <a:lnTo>
                    <a:pt x="4718" y="2896"/>
                  </a:lnTo>
                  <a:lnTo>
                    <a:pt x="4772" y="2934"/>
                  </a:lnTo>
                  <a:lnTo>
                    <a:pt x="4798" y="2934"/>
                  </a:lnTo>
                  <a:lnTo>
                    <a:pt x="4798" y="2951"/>
                  </a:lnTo>
                  <a:lnTo>
                    <a:pt x="4789" y="2967"/>
                  </a:lnTo>
                  <a:lnTo>
                    <a:pt x="4798" y="2967"/>
                  </a:lnTo>
                  <a:lnTo>
                    <a:pt x="4798" y="2955"/>
                  </a:lnTo>
                  <a:lnTo>
                    <a:pt x="4822" y="2955"/>
                  </a:lnTo>
                  <a:lnTo>
                    <a:pt x="4836" y="2984"/>
                  </a:lnTo>
                  <a:lnTo>
                    <a:pt x="4822" y="3000"/>
                  </a:lnTo>
                  <a:lnTo>
                    <a:pt x="4843" y="2991"/>
                  </a:lnTo>
                  <a:lnTo>
                    <a:pt x="4843" y="2984"/>
                  </a:lnTo>
                  <a:lnTo>
                    <a:pt x="4864" y="2991"/>
                  </a:lnTo>
                  <a:lnTo>
                    <a:pt x="4874" y="3000"/>
                  </a:lnTo>
                  <a:lnTo>
                    <a:pt x="4843" y="3012"/>
                  </a:lnTo>
                  <a:lnTo>
                    <a:pt x="4859" y="3012"/>
                  </a:lnTo>
                  <a:lnTo>
                    <a:pt x="4881" y="3045"/>
                  </a:lnTo>
                  <a:lnTo>
                    <a:pt x="4944" y="3057"/>
                  </a:lnTo>
                  <a:lnTo>
                    <a:pt x="4966" y="3045"/>
                  </a:lnTo>
                  <a:lnTo>
                    <a:pt x="4973" y="3066"/>
                  </a:lnTo>
                  <a:lnTo>
                    <a:pt x="4982" y="3078"/>
                  </a:lnTo>
                  <a:lnTo>
                    <a:pt x="4999" y="3066"/>
                  </a:lnTo>
                  <a:lnTo>
                    <a:pt x="5004" y="3066"/>
                  </a:lnTo>
                  <a:lnTo>
                    <a:pt x="5004" y="3057"/>
                  </a:lnTo>
                  <a:lnTo>
                    <a:pt x="5015" y="3045"/>
                  </a:lnTo>
                  <a:lnTo>
                    <a:pt x="5020" y="3078"/>
                  </a:lnTo>
                  <a:lnTo>
                    <a:pt x="4999" y="3095"/>
                  </a:lnTo>
                  <a:lnTo>
                    <a:pt x="5004" y="3100"/>
                  </a:lnTo>
                  <a:lnTo>
                    <a:pt x="4987" y="3111"/>
                  </a:lnTo>
                  <a:lnTo>
                    <a:pt x="4999" y="3123"/>
                  </a:lnTo>
                  <a:lnTo>
                    <a:pt x="4999" y="3135"/>
                  </a:lnTo>
                  <a:lnTo>
                    <a:pt x="5004" y="3140"/>
                  </a:lnTo>
                  <a:lnTo>
                    <a:pt x="5004" y="3156"/>
                  </a:lnTo>
                  <a:lnTo>
                    <a:pt x="4944" y="3168"/>
                  </a:lnTo>
                  <a:lnTo>
                    <a:pt x="4911" y="3156"/>
                  </a:lnTo>
                  <a:lnTo>
                    <a:pt x="4935" y="3173"/>
                  </a:lnTo>
                  <a:lnTo>
                    <a:pt x="4999" y="3173"/>
                  </a:lnTo>
                  <a:lnTo>
                    <a:pt x="5004" y="3177"/>
                  </a:lnTo>
                  <a:lnTo>
                    <a:pt x="5015" y="3206"/>
                  </a:lnTo>
                  <a:lnTo>
                    <a:pt x="4999" y="3222"/>
                  </a:lnTo>
                  <a:lnTo>
                    <a:pt x="5004" y="3234"/>
                  </a:lnTo>
                  <a:lnTo>
                    <a:pt x="4999" y="3234"/>
                  </a:lnTo>
                  <a:lnTo>
                    <a:pt x="5020" y="3234"/>
                  </a:lnTo>
                  <a:lnTo>
                    <a:pt x="5025" y="3234"/>
                  </a:lnTo>
                  <a:lnTo>
                    <a:pt x="5037" y="3251"/>
                  </a:lnTo>
                  <a:lnTo>
                    <a:pt x="5015" y="3251"/>
                  </a:lnTo>
                  <a:lnTo>
                    <a:pt x="5015" y="3263"/>
                  </a:lnTo>
                  <a:lnTo>
                    <a:pt x="5025" y="3263"/>
                  </a:lnTo>
                  <a:lnTo>
                    <a:pt x="5015" y="3267"/>
                  </a:lnTo>
                  <a:lnTo>
                    <a:pt x="5020" y="3284"/>
                  </a:lnTo>
                  <a:lnTo>
                    <a:pt x="5015" y="3296"/>
                  </a:lnTo>
                  <a:lnTo>
                    <a:pt x="5004" y="3296"/>
                  </a:lnTo>
                  <a:lnTo>
                    <a:pt x="5004" y="3284"/>
                  </a:lnTo>
                  <a:lnTo>
                    <a:pt x="4987" y="3267"/>
                  </a:lnTo>
                  <a:lnTo>
                    <a:pt x="4987" y="3296"/>
                  </a:lnTo>
                  <a:lnTo>
                    <a:pt x="4966" y="3300"/>
                  </a:lnTo>
                  <a:lnTo>
                    <a:pt x="4982" y="3300"/>
                  </a:lnTo>
                  <a:lnTo>
                    <a:pt x="4987" y="3317"/>
                  </a:lnTo>
                  <a:lnTo>
                    <a:pt x="5025" y="3284"/>
                  </a:lnTo>
                  <a:lnTo>
                    <a:pt x="5070" y="3284"/>
                  </a:lnTo>
                  <a:lnTo>
                    <a:pt x="5096" y="3300"/>
                  </a:lnTo>
                  <a:lnTo>
                    <a:pt x="5107" y="3333"/>
                  </a:lnTo>
                  <a:lnTo>
                    <a:pt x="5096" y="3362"/>
                  </a:lnTo>
                  <a:lnTo>
                    <a:pt x="5020" y="3407"/>
                  </a:lnTo>
                  <a:lnTo>
                    <a:pt x="5091" y="3374"/>
                  </a:lnTo>
                  <a:lnTo>
                    <a:pt x="5107" y="3333"/>
                  </a:lnTo>
                  <a:lnTo>
                    <a:pt x="5124" y="3317"/>
                  </a:lnTo>
                  <a:lnTo>
                    <a:pt x="5129" y="3322"/>
                  </a:lnTo>
                  <a:lnTo>
                    <a:pt x="5129" y="3350"/>
                  </a:lnTo>
                  <a:lnTo>
                    <a:pt x="5112" y="3374"/>
                  </a:lnTo>
                  <a:lnTo>
                    <a:pt x="5138" y="3350"/>
                  </a:lnTo>
                  <a:lnTo>
                    <a:pt x="5129" y="3333"/>
                  </a:lnTo>
                  <a:lnTo>
                    <a:pt x="5138" y="3333"/>
                  </a:lnTo>
                  <a:lnTo>
                    <a:pt x="5145" y="3333"/>
                  </a:lnTo>
                  <a:lnTo>
                    <a:pt x="5138" y="3350"/>
                  </a:lnTo>
                  <a:lnTo>
                    <a:pt x="5145" y="3355"/>
                  </a:lnTo>
                  <a:lnTo>
                    <a:pt x="5138" y="3390"/>
                  </a:lnTo>
                  <a:lnTo>
                    <a:pt x="5150" y="3355"/>
                  </a:lnTo>
                  <a:lnTo>
                    <a:pt x="5183" y="3338"/>
                  </a:lnTo>
                  <a:lnTo>
                    <a:pt x="5192" y="3322"/>
                  </a:lnTo>
                  <a:lnTo>
                    <a:pt x="5214" y="3322"/>
                  </a:lnTo>
                  <a:lnTo>
                    <a:pt x="5221" y="3305"/>
                  </a:lnTo>
                  <a:lnTo>
                    <a:pt x="5230" y="3296"/>
                  </a:lnTo>
                  <a:lnTo>
                    <a:pt x="5268" y="3317"/>
                  </a:lnTo>
                  <a:lnTo>
                    <a:pt x="5252" y="3350"/>
                  </a:lnTo>
                  <a:lnTo>
                    <a:pt x="5268" y="3333"/>
                  </a:lnTo>
                  <a:lnTo>
                    <a:pt x="5259" y="3333"/>
                  </a:lnTo>
                  <a:lnTo>
                    <a:pt x="5268" y="3317"/>
                  </a:lnTo>
                  <a:lnTo>
                    <a:pt x="5252" y="3300"/>
                  </a:lnTo>
                  <a:lnTo>
                    <a:pt x="5259" y="3296"/>
                  </a:lnTo>
                  <a:lnTo>
                    <a:pt x="5275" y="3296"/>
                  </a:lnTo>
                  <a:lnTo>
                    <a:pt x="5259" y="3284"/>
                  </a:lnTo>
                  <a:lnTo>
                    <a:pt x="5275" y="3267"/>
                  </a:lnTo>
                  <a:lnTo>
                    <a:pt x="5306" y="3267"/>
                  </a:lnTo>
                  <a:lnTo>
                    <a:pt x="5285" y="3263"/>
                  </a:lnTo>
                  <a:lnTo>
                    <a:pt x="5275" y="3246"/>
                  </a:lnTo>
                  <a:lnTo>
                    <a:pt x="5289" y="3251"/>
                  </a:lnTo>
                  <a:lnTo>
                    <a:pt x="5289" y="3234"/>
                  </a:lnTo>
                  <a:lnTo>
                    <a:pt x="5306" y="3246"/>
                  </a:lnTo>
                  <a:lnTo>
                    <a:pt x="5289" y="3222"/>
                  </a:lnTo>
                  <a:lnTo>
                    <a:pt x="5327" y="3234"/>
                  </a:lnTo>
                  <a:lnTo>
                    <a:pt x="5301" y="3222"/>
                  </a:lnTo>
                  <a:lnTo>
                    <a:pt x="5289" y="3194"/>
                  </a:lnTo>
                  <a:lnTo>
                    <a:pt x="5306" y="3177"/>
                  </a:lnTo>
                  <a:lnTo>
                    <a:pt x="5327" y="3189"/>
                  </a:lnTo>
                  <a:lnTo>
                    <a:pt x="5313" y="3177"/>
                  </a:lnTo>
                  <a:lnTo>
                    <a:pt x="5339" y="3123"/>
                  </a:lnTo>
                  <a:lnTo>
                    <a:pt x="5365" y="3135"/>
                  </a:lnTo>
                  <a:lnTo>
                    <a:pt x="5344" y="3140"/>
                  </a:lnTo>
                  <a:lnTo>
                    <a:pt x="5365" y="3140"/>
                  </a:lnTo>
                  <a:lnTo>
                    <a:pt x="5377" y="3151"/>
                  </a:lnTo>
                  <a:lnTo>
                    <a:pt x="5365" y="3156"/>
                  </a:lnTo>
                  <a:lnTo>
                    <a:pt x="5344" y="3168"/>
                  </a:lnTo>
                  <a:lnTo>
                    <a:pt x="5377" y="3156"/>
                  </a:lnTo>
                  <a:lnTo>
                    <a:pt x="5377" y="3173"/>
                  </a:lnTo>
                  <a:lnTo>
                    <a:pt x="5365" y="3177"/>
                  </a:lnTo>
                  <a:lnTo>
                    <a:pt x="5377" y="3173"/>
                  </a:lnTo>
                  <a:lnTo>
                    <a:pt x="5377" y="3168"/>
                  </a:lnTo>
                  <a:lnTo>
                    <a:pt x="5393" y="3168"/>
                  </a:lnTo>
                  <a:lnTo>
                    <a:pt x="5393" y="3189"/>
                  </a:lnTo>
                  <a:lnTo>
                    <a:pt x="5381" y="3189"/>
                  </a:lnTo>
                  <a:lnTo>
                    <a:pt x="5398" y="3206"/>
                  </a:lnTo>
                  <a:lnTo>
                    <a:pt x="5393" y="3222"/>
                  </a:lnTo>
                  <a:lnTo>
                    <a:pt x="5398" y="3206"/>
                  </a:lnTo>
                  <a:lnTo>
                    <a:pt x="5419" y="3222"/>
                  </a:lnTo>
                  <a:lnTo>
                    <a:pt x="5415" y="3227"/>
                  </a:lnTo>
                  <a:lnTo>
                    <a:pt x="5398" y="3234"/>
                  </a:lnTo>
                  <a:lnTo>
                    <a:pt x="5415" y="3234"/>
                  </a:lnTo>
                  <a:lnTo>
                    <a:pt x="5415" y="3246"/>
                  </a:lnTo>
                  <a:lnTo>
                    <a:pt x="5431" y="3234"/>
                  </a:lnTo>
                  <a:lnTo>
                    <a:pt x="5448" y="3251"/>
                  </a:lnTo>
                  <a:lnTo>
                    <a:pt x="5431" y="3267"/>
                  </a:lnTo>
                  <a:lnTo>
                    <a:pt x="5398" y="3267"/>
                  </a:lnTo>
                  <a:lnTo>
                    <a:pt x="5462" y="3267"/>
                  </a:lnTo>
                  <a:lnTo>
                    <a:pt x="5448" y="3267"/>
                  </a:lnTo>
                  <a:lnTo>
                    <a:pt x="5462" y="3284"/>
                  </a:lnTo>
                  <a:lnTo>
                    <a:pt x="5448" y="3296"/>
                  </a:lnTo>
                  <a:lnTo>
                    <a:pt x="5469" y="3284"/>
                  </a:lnTo>
                  <a:lnTo>
                    <a:pt x="5485" y="3305"/>
                  </a:lnTo>
                  <a:lnTo>
                    <a:pt x="5431" y="3350"/>
                  </a:lnTo>
                  <a:lnTo>
                    <a:pt x="5452" y="3333"/>
                  </a:lnTo>
                  <a:lnTo>
                    <a:pt x="5500" y="3333"/>
                  </a:lnTo>
                  <a:lnTo>
                    <a:pt x="5500" y="3350"/>
                  </a:lnTo>
                  <a:lnTo>
                    <a:pt x="5485" y="3355"/>
                  </a:lnTo>
                  <a:lnTo>
                    <a:pt x="5500" y="3355"/>
                  </a:lnTo>
                  <a:lnTo>
                    <a:pt x="5474" y="3362"/>
                  </a:lnTo>
                  <a:lnTo>
                    <a:pt x="5448" y="3378"/>
                  </a:lnTo>
                  <a:lnTo>
                    <a:pt x="5462" y="3378"/>
                  </a:lnTo>
                  <a:lnTo>
                    <a:pt x="5474" y="3362"/>
                  </a:lnTo>
                  <a:lnTo>
                    <a:pt x="5507" y="3362"/>
                  </a:lnTo>
                  <a:lnTo>
                    <a:pt x="5507" y="3374"/>
                  </a:lnTo>
                  <a:lnTo>
                    <a:pt x="5516" y="3362"/>
                  </a:lnTo>
                  <a:lnTo>
                    <a:pt x="5523" y="3378"/>
                  </a:lnTo>
                  <a:lnTo>
                    <a:pt x="5490" y="3390"/>
                  </a:lnTo>
                  <a:lnTo>
                    <a:pt x="5528" y="3378"/>
                  </a:lnTo>
                  <a:lnTo>
                    <a:pt x="5537" y="3390"/>
                  </a:lnTo>
                  <a:lnTo>
                    <a:pt x="5528" y="3407"/>
                  </a:lnTo>
                  <a:lnTo>
                    <a:pt x="5544" y="3416"/>
                  </a:lnTo>
                  <a:lnTo>
                    <a:pt x="5523" y="3433"/>
                  </a:lnTo>
                  <a:lnTo>
                    <a:pt x="5500" y="3433"/>
                  </a:lnTo>
                  <a:lnTo>
                    <a:pt x="5516" y="3444"/>
                  </a:lnTo>
                  <a:lnTo>
                    <a:pt x="5544" y="3444"/>
                  </a:lnTo>
                  <a:lnTo>
                    <a:pt x="5554" y="3444"/>
                  </a:lnTo>
                  <a:lnTo>
                    <a:pt x="5537" y="3461"/>
                  </a:lnTo>
                  <a:lnTo>
                    <a:pt x="5582" y="3473"/>
                  </a:lnTo>
                  <a:lnTo>
                    <a:pt x="5582" y="3482"/>
                  </a:lnTo>
                  <a:lnTo>
                    <a:pt x="5575" y="3489"/>
                  </a:lnTo>
                  <a:lnTo>
                    <a:pt x="5561" y="3506"/>
                  </a:lnTo>
                  <a:lnTo>
                    <a:pt x="5544" y="3506"/>
                  </a:lnTo>
                  <a:lnTo>
                    <a:pt x="5544" y="3518"/>
                  </a:lnTo>
                  <a:lnTo>
                    <a:pt x="5561" y="3518"/>
                  </a:lnTo>
                  <a:lnTo>
                    <a:pt x="5554" y="3518"/>
                  </a:lnTo>
                  <a:lnTo>
                    <a:pt x="5561" y="3522"/>
                  </a:lnTo>
                  <a:lnTo>
                    <a:pt x="5507" y="3506"/>
                  </a:lnTo>
                  <a:lnTo>
                    <a:pt x="5537" y="3499"/>
                  </a:lnTo>
                  <a:lnTo>
                    <a:pt x="5500" y="3506"/>
                  </a:lnTo>
                  <a:lnTo>
                    <a:pt x="5537" y="3522"/>
                  </a:lnTo>
                  <a:lnTo>
                    <a:pt x="5523" y="3522"/>
                  </a:lnTo>
                  <a:lnTo>
                    <a:pt x="5561" y="3527"/>
                  </a:lnTo>
                  <a:lnTo>
                    <a:pt x="5528" y="3539"/>
                  </a:lnTo>
                  <a:lnTo>
                    <a:pt x="5554" y="3544"/>
                  </a:lnTo>
                  <a:lnTo>
                    <a:pt x="5561" y="3560"/>
                  </a:lnTo>
                  <a:lnTo>
                    <a:pt x="5537" y="3555"/>
                  </a:lnTo>
                  <a:lnTo>
                    <a:pt x="5537" y="3560"/>
                  </a:lnTo>
                  <a:lnTo>
                    <a:pt x="5582" y="3560"/>
                  </a:lnTo>
                  <a:lnTo>
                    <a:pt x="5575" y="3577"/>
                  </a:lnTo>
                  <a:lnTo>
                    <a:pt x="5592" y="3577"/>
                  </a:lnTo>
                  <a:lnTo>
                    <a:pt x="5575" y="3584"/>
                  </a:lnTo>
                  <a:lnTo>
                    <a:pt x="5599" y="3584"/>
                  </a:lnTo>
                  <a:lnTo>
                    <a:pt x="5608" y="3593"/>
                  </a:lnTo>
                  <a:lnTo>
                    <a:pt x="5599" y="3593"/>
                  </a:lnTo>
                  <a:lnTo>
                    <a:pt x="5608" y="3600"/>
                  </a:lnTo>
                  <a:lnTo>
                    <a:pt x="5629" y="3600"/>
                  </a:lnTo>
                  <a:lnTo>
                    <a:pt x="5625" y="3610"/>
                  </a:lnTo>
                  <a:lnTo>
                    <a:pt x="5637" y="3600"/>
                  </a:lnTo>
                  <a:lnTo>
                    <a:pt x="5629" y="3626"/>
                  </a:lnTo>
                  <a:lnTo>
                    <a:pt x="5646" y="3600"/>
                  </a:lnTo>
                  <a:lnTo>
                    <a:pt x="5663" y="3610"/>
                  </a:lnTo>
                  <a:lnTo>
                    <a:pt x="5646" y="3626"/>
                  </a:lnTo>
                  <a:lnTo>
                    <a:pt x="5663" y="3626"/>
                  </a:lnTo>
                  <a:lnTo>
                    <a:pt x="5646" y="3650"/>
                  </a:lnTo>
                  <a:lnTo>
                    <a:pt x="5663" y="3633"/>
                  </a:lnTo>
                  <a:lnTo>
                    <a:pt x="5667" y="3638"/>
                  </a:lnTo>
                  <a:lnTo>
                    <a:pt x="5651" y="3650"/>
                  </a:lnTo>
                  <a:lnTo>
                    <a:pt x="5646" y="3666"/>
                  </a:lnTo>
                  <a:lnTo>
                    <a:pt x="5651" y="3655"/>
                  </a:lnTo>
                  <a:lnTo>
                    <a:pt x="5629" y="3688"/>
                  </a:lnTo>
                  <a:lnTo>
                    <a:pt x="5663" y="3666"/>
                  </a:lnTo>
                  <a:lnTo>
                    <a:pt x="5679" y="3666"/>
                  </a:lnTo>
                  <a:lnTo>
                    <a:pt x="5663" y="3683"/>
                  </a:lnTo>
                  <a:lnTo>
                    <a:pt x="5700" y="3655"/>
                  </a:lnTo>
                  <a:lnTo>
                    <a:pt x="5700" y="3666"/>
                  </a:lnTo>
                  <a:lnTo>
                    <a:pt x="5684" y="3671"/>
                  </a:lnTo>
                  <a:lnTo>
                    <a:pt x="5722" y="3671"/>
                  </a:lnTo>
                  <a:lnTo>
                    <a:pt x="5684" y="3711"/>
                  </a:lnTo>
                  <a:lnTo>
                    <a:pt x="5738" y="3666"/>
                  </a:lnTo>
                  <a:lnTo>
                    <a:pt x="5722" y="3688"/>
                  </a:lnTo>
                  <a:lnTo>
                    <a:pt x="5743" y="3671"/>
                  </a:lnTo>
                  <a:lnTo>
                    <a:pt x="5755" y="3671"/>
                  </a:lnTo>
                  <a:lnTo>
                    <a:pt x="5755" y="3683"/>
                  </a:lnTo>
                  <a:lnTo>
                    <a:pt x="5759" y="3688"/>
                  </a:lnTo>
                  <a:lnTo>
                    <a:pt x="5743" y="3695"/>
                  </a:lnTo>
                  <a:lnTo>
                    <a:pt x="5755" y="3704"/>
                  </a:lnTo>
                  <a:lnTo>
                    <a:pt x="5830" y="3711"/>
                  </a:lnTo>
                  <a:lnTo>
                    <a:pt x="5868" y="3728"/>
                  </a:lnTo>
                  <a:lnTo>
                    <a:pt x="5863" y="3737"/>
                  </a:lnTo>
                  <a:lnTo>
                    <a:pt x="5840" y="3737"/>
                  </a:lnTo>
                  <a:lnTo>
                    <a:pt x="5863" y="3744"/>
                  </a:lnTo>
                  <a:lnTo>
                    <a:pt x="5847" y="3749"/>
                  </a:lnTo>
                  <a:lnTo>
                    <a:pt x="5809" y="3749"/>
                  </a:lnTo>
                  <a:lnTo>
                    <a:pt x="5797" y="3749"/>
                  </a:lnTo>
                  <a:lnTo>
                    <a:pt x="5814" y="3749"/>
                  </a:lnTo>
                  <a:lnTo>
                    <a:pt x="5809" y="3761"/>
                  </a:lnTo>
                  <a:lnTo>
                    <a:pt x="5771" y="3766"/>
                  </a:lnTo>
                  <a:lnTo>
                    <a:pt x="5705" y="3782"/>
                  </a:lnTo>
                  <a:lnTo>
                    <a:pt x="5733" y="3782"/>
                  </a:lnTo>
                  <a:lnTo>
                    <a:pt x="5792" y="3761"/>
                  </a:lnTo>
                  <a:lnTo>
                    <a:pt x="5776" y="3782"/>
                  </a:lnTo>
                  <a:lnTo>
                    <a:pt x="5743" y="3782"/>
                  </a:lnTo>
                  <a:lnTo>
                    <a:pt x="5755" y="3782"/>
                  </a:lnTo>
                  <a:lnTo>
                    <a:pt x="5717" y="3799"/>
                  </a:lnTo>
                  <a:lnTo>
                    <a:pt x="5679" y="3806"/>
                  </a:lnTo>
                  <a:lnTo>
                    <a:pt x="5679" y="3832"/>
                  </a:lnTo>
                  <a:lnTo>
                    <a:pt x="5667" y="3832"/>
                  </a:lnTo>
                  <a:lnTo>
                    <a:pt x="5625" y="3806"/>
                  </a:lnTo>
                  <a:lnTo>
                    <a:pt x="5625" y="3815"/>
                  </a:lnTo>
                  <a:lnTo>
                    <a:pt x="5646" y="3815"/>
                  </a:lnTo>
                  <a:lnTo>
                    <a:pt x="5679" y="3832"/>
                  </a:lnTo>
                  <a:lnTo>
                    <a:pt x="5651" y="3848"/>
                  </a:lnTo>
                  <a:lnTo>
                    <a:pt x="5667" y="3855"/>
                  </a:lnTo>
                  <a:lnTo>
                    <a:pt x="5651" y="3855"/>
                  </a:lnTo>
                  <a:lnTo>
                    <a:pt x="5667" y="3855"/>
                  </a:lnTo>
                  <a:lnTo>
                    <a:pt x="5700" y="3839"/>
                  </a:lnTo>
                  <a:lnTo>
                    <a:pt x="5689" y="3832"/>
                  </a:lnTo>
                  <a:lnTo>
                    <a:pt x="5743" y="3815"/>
                  </a:lnTo>
                  <a:lnTo>
                    <a:pt x="5743" y="3806"/>
                  </a:lnTo>
                  <a:lnTo>
                    <a:pt x="5788" y="3782"/>
                  </a:lnTo>
                  <a:lnTo>
                    <a:pt x="5840" y="3777"/>
                  </a:lnTo>
                  <a:lnTo>
                    <a:pt x="5792" y="3777"/>
                  </a:lnTo>
                  <a:lnTo>
                    <a:pt x="5792" y="3766"/>
                  </a:lnTo>
                  <a:lnTo>
                    <a:pt x="5863" y="3766"/>
                  </a:lnTo>
                  <a:lnTo>
                    <a:pt x="5885" y="3799"/>
                  </a:lnTo>
                  <a:lnTo>
                    <a:pt x="5852" y="3822"/>
                  </a:lnTo>
                  <a:lnTo>
                    <a:pt x="5868" y="3832"/>
                  </a:lnTo>
                  <a:lnTo>
                    <a:pt x="5868" y="3839"/>
                  </a:lnTo>
                  <a:lnTo>
                    <a:pt x="5894" y="3815"/>
                  </a:lnTo>
                  <a:lnTo>
                    <a:pt x="5932" y="3806"/>
                  </a:lnTo>
                  <a:lnTo>
                    <a:pt x="5932" y="3815"/>
                  </a:lnTo>
                  <a:lnTo>
                    <a:pt x="5915" y="3815"/>
                  </a:lnTo>
                  <a:lnTo>
                    <a:pt x="5960" y="3832"/>
                  </a:lnTo>
                  <a:lnTo>
                    <a:pt x="5939" y="3832"/>
                  </a:lnTo>
                  <a:lnTo>
                    <a:pt x="5960" y="3848"/>
                  </a:lnTo>
                  <a:lnTo>
                    <a:pt x="5977" y="3848"/>
                  </a:lnTo>
                  <a:lnTo>
                    <a:pt x="5977" y="3872"/>
                  </a:lnTo>
                  <a:lnTo>
                    <a:pt x="5970" y="3877"/>
                  </a:lnTo>
                  <a:lnTo>
                    <a:pt x="5948" y="3877"/>
                  </a:lnTo>
                  <a:lnTo>
                    <a:pt x="5970" y="3893"/>
                  </a:lnTo>
                  <a:lnTo>
                    <a:pt x="5977" y="3905"/>
                  </a:lnTo>
                  <a:lnTo>
                    <a:pt x="5953" y="3910"/>
                  </a:lnTo>
                  <a:lnTo>
                    <a:pt x="5977" y="3917"/>
                  </a:lnTo>
                  <a:lnTo>
                    <a:pt x="5953" y="3917"/>
                  </a:lnTo>
                  <a:lnTo>
                    <a:pt x="5960" y="3917"/>
                  </a:lnTo>
                  <a:lnTo>
                    <a:pt x="5948" y="3926"/>
                  </a:lnTo>
                  <a:lnTo>
                    <a:pt x="5922" y="3926"/>
                  </a:lnTo>
                  <a:lnTo>
                    <a:pt x="5986" y="3943"/>
                  </a:lnTo>
                  <a:lnTo>
                    <a:pt x="5986" y="3950"/>
                  </a:lnTo>
                  <a:lnTo>
                    <a:pt x="5977" y="3950"/>
                  </a:lnTo>
                  <a:lnTo>
                    <a:pt x="5948" y="3943"/>
                  </a:lnTo>
                  <a:lnTo>
                    <a:pt x="5986" y="3959"/>
                  </a:lnTo>
                  <a:lnTo>
                    <a:pt x="5986" y="3971"/>
                  </a:lnTo>
                  <a:lnTo>
                    <a:pt x="5894" y="4037"/>
                  </a:lnTo>
                  <a:lnTo>
                    <a:pt x="5878" y="4025"/>
                  </a:lnTo>
                  <a:lnTo>
                    <a:pt x="5840" y="4025"/>
                  </a:lnTo>
                  <a:lnTo>
                    <a:pt x="5826" y="4044"/>
                  </a:lnTo>
                  <a:lnTo>
                    <a:pt x="5776" y="4054"/>
                  </a:lnTo>
                  <a:lnTo>
                    <a:pt x="5776" y="4061"/>
                  </a:lnTo>
                  <a:lnTo>
                    <a:pt x="5755" y="4077"/>
                  </a:lnTo>
                  <a:lnTo>
                    <a:pt x="5755" y="4094"/>
                  </a:lnTo>
                  <a:lnTo>
                    <a:pt x="5743" y="4099"/>
                  </a:lnTo>
                  <a:lnTo>
                    <a:pt x="5743" y="4094"/>
                  </a:lnTo>
                  <a:lnTo>
                    <a:pt x="5705" y="4127"/>
                  </a:lnTo>
                  <a:lnTo>
                    <a:pt x="5689" y="4132"/>
                  </a:lnTo>
                  <a:lnTo>
                    <a:pt x="5689" y="4137"/>
                  </a:lnTo>
                  <a:lnTo>
                    <a:pt x="5684" y="4148"/>
                  </a:lnTo>
                  <a:lnTo>
                    <a:pt x="5592" y="4153"/>
                  </a:lnTo>
                  <a:lnTo>
                    <a:pt x="5561" y="4165"/>
                  </a:lnTo>
                  <a:lnTo>
                    <a:pt x="5570" y="4153"/>
                  </a:lnTo>
                  <a:lnTo>
                    <a:pt x="5561" y="4153"/>
                  </a:lnTo>
                  <a:lnTo>
                    <a:pt x="5554" y="4148"/>
                  </a:lnTo>
                  <a:lnTo>
                    <a:pt x="5516" y="4137"/>
                  </a:lnTo>
                  <a:lnTo>
                    <a:pt x="5452" y="4148"/>
                  </a:lnTo>
                  <a:lnTo>
                    <a:pt x="5415" y="4137"/>
                  </a:lnTo>
                  <a:lnTo>
                    <a:pt x="5313" y="4137"/>
                  </a:lnTo>
                  <a:lnTo>
                    <a:pt x="5259" y="4137"/>
                  </a:lnTo>
                  <a:lnTo>
                    <a:pt x="5252" y="4153"/>
                  </a:lnTo>
                  <a:lnTo>
                    <a:pt x="5230" y="4148"/>
                  </a:lnTo>
                  <a:lnTo>
                    <a:pt x="5183" y="4188"/>
                  </a:lnTo>
                  <a:lnTo>
                    <a:pt x="5176" y="4222"/>
                  </a:lnTo>
                  <a:lnTo>
                    <a:pt x="5162" y="4238"/>
                  </a:lnTo>
                  <a:lnTo>
                    <a:pt x="5112" y="4243"/>
                  </a:lnTo>
                  <a:lnTo>
                    <a:pt x="5107" y="4248"/>
                  </a:lnTo>
                  <a:lnTo>
                    <a:pt x="5074" y="4259"/>
                  </a:lnTo>
                  <a:lnTo>
                    <a:pt x="5041" y="4281"/>
                  </a:lnTo>
                  <a:lnTo>
                    <a:pt x="5037" y="4297"/>
                  </a:lnTo>
                  <a:lnTo>
                    <a:pt x="5004" y="4349"/>
                  </a:lnTo>
                  <a:lnTo>
                    <a:pt x="4982" y="4333"/>
                  </a:lnTo>
                  <a:lnTo>
                    <a:pt x="4907" y="4316"/>
                  </a:lnTo>
                  <a:lnTo>
                    <a:pt x="4982" y="4337"/>
                  </a:lnTo>
                  <a:lnTo>
                    <a:pt x="4999" y="4349"/>
                  </a:lnTo>
                  <a:lnTo>
                    <a:pt x="4982" y="4375"/>
                  </a:lnTo>
                  <a:lnTo>
                    <a:pt x="4966" y="4403"/>
                  </a:lnTo>
                  <a:lnTo>
                    <a:pt x="4944" y="4408"/>
                  </a:lnTo>
                  <a:lnTo>
                    <a:pt x="4928" y="4441"/>
                  </a:lnTo>
                  <a:lnTo>
                    <a:pt x="4890" y="4470"/>
                  </a:lnTo>
                  <a:lnTo>
                    <a:pt x="4944" y="4448"/>
                  </a:lnTo>
                  <a:lnTo>
                    <a:pt x="5020" y="4354"/>
                  </a:lnTo>
                  <a:lnTo>
                    <a:pt x="5107" y="4297"/>
                  </a:lnTo>
                  <a:lnTo>
                    <a:pt x="5247" y="4243"/>
                  </a:lnTo>
                  <a:lnTo>
                    <a:pt x="5301" y="4243"/>
                  </a:lnTo>
                  <a:lnTo>
                    <a:pt x="5344" y="4248"/>
                  </a:lnTo>
                  <a:lnTo>
                    <a:pt x="5381" y="4276"/>
                  </a:lnTo>
                  <a:lnTo>
                    <a:pt x="5393" y="4292"/>
                  </a:lnTo>
                  <a:lnTo>
                    <a:pt x="5360" y="4276"/>
                  </a:lnTo>
                  <a:lnTo>
                    <a:pt x="5393" y="4297"/>
                  </a:lnTo>
                  <a:lnTo>
                    <a:pt x="5381" y="4297"/>
                  </a:lnTo>
                  <a:lnTo>
                    <a:pt x="5381" y="4316"/>
                  </a:lnTo>
                  <a:lnTo>
                    <a:pt x="5306" y="4354"/>
                  </a:lnTo>
                  <a:lnTo>
                    <a:pt x="5268" y="4337"/>
                  </a:lnTo>
                  <a:lnTo>
                    <a:pt x="5200" y="4354"/>
                  </a:lnTo>
                  <a:lnTo>
                    <a:pt x="5237" y="4354"/>
                  </a:lnTo>
                  <a:lnTo>
                    <a:pt x="5275" y="4370"/>
                  </a:lnTo>
                  <a:lnTo>
                    <a:pt x="5285" y="4392"/>
                  </a:lnTo>
                  <a:lnTo>
                    <a:pt x="5313" y="4370"/>
                  </a:lnTo>
                  <a:lnTo>
                    <a:pt x="5344" y="4375"/>
                  </a:lnTo>
                  <a:lnTo>
                    <a:pt x="5355" y="4387"/>
                  </a:lnTo>
                  <a:lnTo>
                    <a:pt x="5339" y="4392"/>
                  </a:lnTo>
                  <a:lnTo>
                    <a:pt x="5339" y="4415"/>
                  </a:lnTo>
                  <a:lnTo>
                    <a:pt x="5306" y="4441"/>
                  </a:lnTo>
                  <a:lnTo>
                    <a:pt x="5344" y="4441"/>
                  </a:lnTo>
                  <a:lnTo>
                    <a:pt x="5339" y="4465"/>
                  </a:lnTo>
                  <a:lnTo>
                    <a:pt x="5355" y="4481"/>
                  </a:lnTo>
                  <a:lnTo>
                    <a:pt x="5365" y="4519"/>
                  </a:lnTo>
                  <a:lnTo>
                    <a:pt x="5415" y="4526"/>
                  </a:lnTo>
                  <a:lnTo>
                    <a:pt x="5393" y="4536"/>
                  </a:lnTo>
                  <a:lnTo>
                    <a:pt x="5419" y="4552"/>
                  </a:lnTo>
                  <a:lnTo>
                    <a:pt x="5436" y="4552"/>
                  </a:lnTo>
                  <a:lnTo>
                    <a:pt x="5448" y="4552"/>
                  </a:lnTo>
                  <a:lnTo>
                    <a:pt x="5431" y="4552"/>
                  </a:lnTo>
                  <a:lnTo>
                    <a:pt x="5452" y="4559"/>
                  </a:lnTo>
                  <a:lnTo>
                    <a:pt x="5448" y="4559"/>
                  </a:lnTo>
                  <a:lnTo>
                    <a:pt x="5490" y="4559"/>
                  </a:lnTo>
                  <a:lnTo>
                    <a:pt x="5507" y="4576"/>
                  </a:lnTo>
                  <a:lnTo>
                    <a:pt x="5544" y="4552"/>
                  </a:lnTo>
                  <a:lnTo>
                    <a:pt x="5544" y="4569"/>
                  </a:lnTo>
                  <a:lnTo>
                    <a:pt x="5570" y="4576"/>
                  </a:lnTo>
                  <a:lnTo>
                    <a:pt x="5575" y="4569"/>
                  </a:lnTo>
                  <a:lnTo>
                    <a:pt x="5592" y="4581"/>
                  </a:lnTo>
                  <a:lnTo>
                    <a:pt x="5575" y="4597"/>
                  </a:lnTo>
                  <a:lnTo>
                    <a:pt x="5613" y="4597"/>
                  </a:lnTo>
                  <a:lnTo>
                    <a:pt x="5608" y="4609"/>
                  </a:lnTo>
                  <a:lnTo>
                    <a:pt x="5592" y="4609"/>
                  </a:lnTo>
                  <a:lnTo>
                    <a:pt x="5582" y="4614"/>
                  </a:lnTo>
                  <a:lnTo>
                    <a:pt x="5507" y="4637"/>
                  </a:lnTo>
                  <a:lnTo>
                    <a:pt x="5485" y="4654"/>
                  </a:lnTo>
                  <a:lnTo>
                    <a:pt x="5469" y="4647"/>
                  </a:lnTo>
                  <a:lnTo>
                    <a:pt x="5469" y="4654"/>
                  </a:lnTo>
                  <a:lnTo>
                    <a:pt x="5462" y="4647"/>
                  </a:lnTo>
                  <a:lnTo>
                    <a:pt x="5436" y="4663"/>
                  </a:lnTo>
                  <a:lnTo>
                    <a:pt x="5419" y="4654"/>
                  </a:lnTo>
                  <a:lnTo>
                    <a:pt x="5436" y="4670"/>
                  </a:lnTo>
                  <a:lnTo>
                    <a:pt x="5431" y="4680"/>
                  </a:lnTo>
                  <a:lnTo>
                    <a:pt x="5410" y="4670"/>
                  </a:lnTo>
                  <a:lnTo>
                    <a:pt x="5410" y="4654"/>
                  </a:lnTo>
                  <a:lnTo>
                    <a:pt x="5398" y="4663"/>
                  </a:lnTo>
                  <a:lnTo>
                    <a:pt x="5398" y="4670"/>
                  </a:lnTo>
                  <a:lnTo>
                    <a:pt x="5393" y="4680"/>
                  </a:lnTo>
                  <a:lnTo>
                    <a:pt x="5381" y="4663"/>
                  </a:lnTo>
                  <a:lnTo>
                    <a:pt x="5377" y="4680"/>
                  </a:lnTo>
                  <a:lnTo>
                    <a:pt x="5381" y="4692"/>
                  </a:lnTo>
                  <a:lnTo>
                    <a:pt x="5360" y="4703"/>
                  </a:lnTo>
                  <a:lnTo>
                    <a:pt x="5355" y="4720"/>
                  </a:lnTo>
                  <a:lnTo>
                    <a:pt x="5344" y="4720"/>
                  </a:lnTo>
                  <a:lnTo>
                    <a:pt x="5327" y="4741"/>
                  </a:lnTo>
                  <a:lnTo>
                    <a:pt x="5306" y="4741"/>
                  </a:lnTo>
                  <a:lnTo>
                    <a:pt x="5301" y="4765"/>
                  </a:lnTo>
                  <a:lnTo>
                    <a:pt x="5289" y="4758"/>
                  </a:lnTo>
                  <a:lnTo>
                    <a:pt x="5275" y="4758"/>
                  </a:lnTo>
                  <a:lnTo>
                    <a:pt x="5268" y="4736"/>
                  </a:lnTo>
                  <a:lnTo>
                    <a:pt x="5259" y="4741"/>
                  </a:lnTo>
                  <a:lnTo>
                    <a:pt x="5247" y="4725"/>
                  </a:lnTo>
                  <a:lnTo>
                    <a:pt x="5247" y="4708"/>
                  </a:lnTo>
                  <a:lnTo>
                    <a:pt x="5252" y="4687"/>
                  </a:lnTo>
                  <a:lnTo>
                    <a:pt x="5268" y="4663"/>
                  </a:lnTo>
                  <a:lnTo>
                    <a:pt x="5247" y="4680"/>
                  </a:lnTo>
                  <a:lnTo>
                    <a:pt x="5259" y="4663"/>
                  </a:lnTo>
                  <a:lnTo>
                    <a:pt x="5285" y="4663"/>
                  </a:lnTo>
                  <a:lnTo>
                    <a:pt x="5289" y="4654"/>
                  </a:lnTo>
                  <a:lnTo>
                    <a:pt x="5285" y="4654"/>
                  </a:lnTo>
                  <a:lnTo>
                    <a:pt x="5285" y="4647"/>
                  </a:lnTo>
                  <a:lnTo>
                    <a:pt x="5377" y="4597"/>
                  </a:lnTo>
                  <a:lnTo>
                    <a:pt x="5365" y="4597"/>
                  </a:lnTo>
                  <a:lnTo>
                    <a:pt x="5377" y="4597"/>
                  </a:lnTo>
                  <a:lnTo>
                    <a:pt x="5377" y="4614"/>
                  </a:lnTo>
                  <a:lnTo>
                    <a:pt x="5381" y="4614"/>
                  </a:lnTo>
                  <a:lnTo>
                    <a:pt x="5393" y="4630"/>
                  </a:lnTo>
                  <a:lnTo>
                    <a:pt x="5393" y="4609"/>
                  </a:lnTo>
                  <a:lnTo>
                    <a:pt x="5448" y="4597"/>
                  </a:lnTo>
                  <a:lnTo>
                    <a:pt x="5360" y="4592"/>
                  </a:lnTo>
                  <a:lnTo>
                    <a:pt x="5339" y="4597"/>
                  </a:lnTo>
                  <a:lnTo>
                    <a:pt x="5344" y="4581"/>
                  </a:lnTo>
                  <a:lnTo>
                    <a:pt x="5381" y="4559"/>
                  </a:lnTo>
                  <a:lnTo>
                    <a:pt x="5377" y="4552"/>
                  </a:lnTo>
                  <a:lnTo>
                    <a:pt x="5365" y="4559"/>
                  </a:lnTo>
                  <a:lnTo>
                    <a:pt x="5344" y="4526"/>
                  </a:lnTo>
                  <a:lnTo>
                    <a:pt x="5360" y="4552"/>
                  </a:lnTo>
                  <a:lnTo>
                    <a:pt x="5344" y="4576"/>
                  </a:lnTo>
                  <a:lnTo>
                    <a:pt x="5339" y="4576"/>
                  </a:lnTo>
                  <a:lnTo>
                    <a:pt x="5268" y="4609"/>
                  </a:lnTo>
                  <a:lnTo>
                    <a:pt x="5252" y="4597"/>
                  </a:lnTo>
                  <a:lnTo>
                    <a:pt x="5259" y="4581"/>
                  </a:lnTo>
                  <a:lnTo>
                    <a:pt x="5247" y="4597"/>
                  </a:lnTo>
                  <a:lnTo>
                    <a:pt x="5252" y="4609"/>
                  </a:lnTo>
                  <a:lnTo>
                    <a:pt x="5230" y="4625"/>
                  </a:lnTo>
                  <a:lnTo>
                    <a:pt x="5221" y="4614"/>
                  </a:lnTo>
                  <a:lnTo>
                    <a:pt x="5204" y="4625"/>
                  </a:lnTo>
                  <a:lnTo>
                    <a:pt x="5192" y="4614"/>
                  </a:lnTo>
                  <a:lnTo>
                    <a:pt x="5176" y="4614"/>
                  </a:lnTo>
                  <a:lnTo>
                    <a:pt x="5176" y="4614"/>
                  </a:lnTo>
                  <a:lnTo>
                    <a:pt x="5176" y="4614"/>
                  </a:lnTo>
                  <a:close/>
                  <a:moveTo>
                    <a:pt x="3201" y="1748"/>
                  </a:moveTo>
                  <a:lnTo>
                    <a:pt x="3208" y="1753"/>
                  </a:lnTo>
                  <a:lnTo>
                    <a:pt x="3208" y="1765"/>
                  </a:lnTo>
                  <a:lnTo>
                    <a:pt x="3192" y="1765"/>
                  </a:lnTo>
                  <a:lnTo>
                    <a:pt x="3201" y="1748"/>
                  </a:lnTo>
                  <a:lnTo>
                    <a:pt x="3201" y="1748"/>
                  </a:lnTo>
                  <a:lnTo>
                    <a:pt x="3201" y="1748"/>
                  </a:lnTo>
                  <a:close/>
                  <a:moveTo>
                    <a:pt x="3095" y="1765"/>
                  </a:moveTo>
                  <a:lnTo>
                    <a:pt x="3100" y="1765"/>
                  </a:lnTo>
                  <a:lnTo>
                    <a:pt x="3083" y="1770"/>
                  </a:lnTo>
                  <a:lnTo>
                    <a:pt x="3095" y="1765"/>
                  </a:lnTo>
                  <a:lnTo>
                    <a:pt x="3095" y="1765"/>
                  </a:lnTo>
                  <a:lnTo>
                    <a:pt x="3095" y="1765"/>
                  </a:lnTo>
                  <a:close/>
                  <a:moveTo>
                    <a:pt x="4751" y="1770"/>
                  </a:moveTo>
                  <a:lnTo>
                    <a:pt x="4755" y="1770"/>
                  </a:lnTo>
                  <a:lnTo>
                    <a:pt x="4734" y="1786"/>
                  </a:lnTo>
                  <a:lnTo>
                    <a:pt x="4751" y="1770"/>
                  </a:lnTo>
                  <a:lnTo>
                    <a:pt x="4751" y="1770"/>
                  </a:lnTo>
                  <a:lnTo>
                    <a:pt x="4751" y="1770"/>
                  </a:lnTo>
                  <a:close/>
                  <a:moveTo>
                    <a:pt x="4772" y="1781"/>
                  </a:moveTo>
                  <a:lnTo>
                    <a:pt x="4789" y="1786"/>
                  </a:lnTo>
                  <a:lnTo>
                    <a:pt x="4784" y="1793"/>
                  </a:lnTo>
                  <a:lnTo>
                    <a:pt x="4767" y="1786"/>
                  </a:lnTo>
                  <a:lnTo>
                    <a:pt x="4772" y="1781"/>
                  </a:lnTo>
                  <a:lnTo>
                    <a:pt x="4772" y="1781"/>
                  </a:lnTo>
                  <a:lnTo>
                    <a:pt x="4772" y="1781"/>
                  </a:lnTo>
                  <a:close/>
                  <a:moveTo>
                    <a:pt x="4767" y="1826"/>
                  </a:moveTo>
                  <a:lnTo>
                    <a:pt x="4751" y="1819"/>
                  </a:lnTo>
                  <a:lnTo>
                    <a:pt x="4746" y="1793"/>
                  </a:lnTo>
                  <a:lnTo>
                    <a:pt x="4755" y="1786"/>
                  </a:lnTo>
                  <a:lnTo>
                    <a:pt x="4767" y="1793"/>
                  </a:lnTo>
                  <a:lnTo>
                    <a:pt x="4755" y="1803"/>
                  </a:lnTo>
                  <a:lnTo>
                    <a:pt x="4772" y="1793"/>
                  </a:lnTo>
                  <a:lnTo>
                    <a:pt x="4784" y="1803"/>
                  </a:lnTo>
                  <a:lnTo>
                    <a:pt x="4767" y="1810"/>
                  </a:lnTo>
                  <a:lnTo>
                    <a:pt x="4772" y="1819"/>
                  </a:lnTo>
                  <a:lnTo>
                    <a:pt x="4767" y="1826"/>
                  </a:lnTo>
                  <a:lnTo>
                    <a:pt x="4767" y="1826"/>
                  </a:lnTo>
                  <a:lnTo>
                    <a:pt x="4767" y="1826"/>
                  </a:lnTo>
                  <a:close/>
                  <a:moveTo>
                    <a:pt x="2953" y="1826"/>
                  </a:moveTo>
                  <a:lnTo>
                    <a:pt x="2948" y="1819"/>
                  </a:lnTo>
                  <a:lnTo>
                    <a:pt x="2953" y="1819"/>
                  </a:lnTo>
                  <a:lnTo>
                    <a:pt x="2953" y="1826"/>
                  </a:lnTo>
                  <a:lnTo>
                    <a:pt x="2953" y="1826"/>
                  </a:lnTo>
                  <a:lnTo>
                    <a:pt x="2953" y="1826"/>
                  </a:lnTo>
                  <a:close/>
                  <a:moveTo>
                    <a:pt x="3116" y="1826"/>
                  </a:moveTo>
                  <a:lnTo>
                    <a:pt x="3126" y="1836"/>
                  </a:lnTo>
                  <a:lnTo>
                    <a:pt x="3116" y="1836"/>
                  </a:lnTo>
                  <a:lnTo>
                    <a:pt x="3116" y="1826"/>
                  </a:lnTo>
                  <a:lnTo>
                    <a:pt x="3116" y="1826"/>
                  </a:lnTo>
                  <a:lnTo>
                    <a:pt x="3116" y="1826"/>
                  </a:lnTo>
                  <a:close/>
                  <a:moveTo>
                    <a:pt x="4852" y="1859"/>
                  </a:moveTo>
                  <a:lnTo>
                    <a:pt x="4881" y="1864"/>
                  </a:lnTo>
                  <a:lnTo>
                    <a:pt x="4881" y="1876"/>
                  </a:lnTo>
                  <a:lnTo>
                    <a:pt x="4843" y="1892"/>
                  </a:lnTo>
                  <a:lnTo>
                    <a:pt x="4822" y="1876"/>
                  </a:lnTo>
                  <a:lnTo>
                    <a:pt x="4836" y="1876"/>
                  </a:lnTo>
                  <a:lnTo>
                    <a:pt x="4836" y="1859"/>
                  </a:lnTo>
                  <a:lnTo>
                    <a:pt x="4852" y="1859"/>
                  </a:lnTo>
                  <a:lnTo>
                    <a:pt x="4852" y="1859"/>
                  </a:lnTo>
                  <a:lnTo>
                    <a:pt x="4852" y="1859"/>
                  </a:lnTo>
                  <a:close/>
                  <a:moveTo>
                    <a:pt x="2844" y="1904"/>
                  </a:moveTo>
                  <a:lnTo>
                    <a:pt x="2861" y="1921"/>
                  </a:lnTo>
                  <a:lnTo>
                    <a:pt x="2861" y="1937"/>
                  </a:lnTo>
                  <a:lnTo>
                    <a:pt x="2830" y="1921"/>
                  </a:lnTo>
                  <a:lnTo>
                    <a:pt x="2830" y="1904"/>
                  </a:lnTo>
                  <a:lnTo>
                    <a:pt x="2844" y="1904"/>
                  </a:lnTo>
                  <a:lnTo>
                    <a:pt x="2844" y="1904"/>
                  </a:lnTo>
                  <a:lnTo>
                    <a:pt x="2844" y="1904"/>
                  </a:lnTo>
                  <a:close/>
                  <a:moveTo>
                    <a:pt x="903" y="1914"/>
                  </a:moveTo>
                  <a:lnTo>
                    <a:pt x="886" y="1921"/>
                  </a:lnTo>
                  <a:lnTo>
                    <a:pt x="898" y="1904"/>
                  </a:lnTo>
                  <a:lnTo>
                    <a:pt x="903" y="1914"/>
                  </a:lnTo>
                  <a:lnTo>
                    <a:pt x="903" y="1914"/>
                  </a:lnTo>
                  <a:lnTo>
                    <a:pt x="903" y="1914"/>
                  </a:lnTo>
                  <a:close/>
                  <a:moveTo>
                    <a:pt x="1675" y="1921"/>
                  </a:moveTo>
                  <a:lnTo>
                    <a:pt x="1663" y="1921"/>
                  </a:lnTo>
                  <a:lnTo>
                    <a:pt x="1692" y="1921"/>
                  </a:lnTo>
                  <a:lnTo>
                    <a:pt x="1675" y="1921"/>
                  </a:lnTo>
                  <a:lnTo>
                    <a:pt x="1675" y="1921"/>
                  </a:lnTo>
                  <a:lnTo>
                    <a:pt x="1675" y="1921"/>
                  </a:lnTo>
                  <a:close/>
                  <a:moveTo>
                    <a:pt x="1760" y="1921"/>
                  </a:moveTo>
                  <a:lnTo>
                    <a:pt x="1765" y="1921"/>
                  </a:lnTo>
                  <a:lnTo>
                    <a:pt x="1751" y="1921"/>
                  </a:lnTo>
                  <a:lnTo>
                    <a:pt x="1760" y="1921"/>
                  </a:lnTo>
                  <a:lnTo>
                    <a:pt x="1760" y="1921"/>
                  </a:lnTo>
                  <a:lnTo>
                    <a:pt x="1760" y="1921"/>
                  </a:lnTo>
                  <a:close/>
                  <a:moveTo>
                    <a:pt x="1734" y="1921"/>
                  </a:moveTo>
                  <a:lnTo>
                    <a:pt x="1744" y="1921"/>
                  </a:lnTo>
                  <a:lnTo>
                    <a:pt x="1718" y="1921"/>
                  </a:lnTo>
                  <a:lnTo>
                    <a:pt x="1734" y="1921"/>
                  </a:lnTo>
                  <a:lnTo>
                    <a:pt x="1734" y="1921"/>
                  </a:lnTo>
                  <a:lnTo>
                    <a:pt x="1734" y="1921"/>
                  </a:lnTo>
                  <a:close/>
                  <a:moveTo>
                    <a:pt x="2823" y="1954"/>
                  </a:moveTo>
                  <a:lnTo>
                    <a:pt x="2823" y="1959"/>
                  </a:lnTo>
                  <a:lnTo>
                    <a:pt x="2814" y="1954"/>
                  </a:lnTo>
                  <a:lnTo>
                    <a:pt x="2823" y="1954"/>
                  </a:lnTo>
                  <a:lnTo>
                    <a:pt x="2823" y="1954"/>
                  </a:lnTo>
                  <a:lnTo>
                    <a:pt x="2823" y="1954"/>
                  </a:lnTo>
                  <a:close/>
                  <a:moveTo>
                    <a:pt x="1966" y="1954"/>
                  </a:moveTo>
                  <a:lnTo>
                    <a:pt x="1949" y="1954"/>
                  </a:lnTo>
                  <a:lnTo>
                    <a:pt x="1966" y="1954"/>
                  </a:lnTo>
                  <a:lnTo>
                    <a:pt x="1966" y="1954"/>
                  </a:lnTo>
                  <a:lnTo>
                    <a:pt x="1966" y="1954"/>
                  </a:lnTo>
                  <a:close/>
                  <a:moveTo>
                    <a:pt x="3773" y="1975"/>
                  </a:moveTo>
                  <a:lnTo>
                    <a:pt x="3811" y="1975"/>
                  </a:lnTo>
                  <a:lnTo>
                    <a:pt x="3827" y="1992"/>
                  </a:lnTo>
                  <a:lnTo>
                    <a:pt x="3780" y="1992"/>
                  </a:lnTo>
                  <a:lnTo>
                    <a:pt x="3763" y="1975"/>
                  </a:lnTo>
                  <a:lnTo>
                    <a:pt x="3773" y="1975"/>
                  </a:lnTo>
                  <a:lnTo>
                    <a:pt x="3773" y="1975"/>
                  </a:lnTo>
                  <a:lnTo>
                    <a:pt x="3773" y="1975"/>
                  </a:lnTo>
                  <a:close/>
                  <a:moveTo>
                    <a:pt x="3062" y="2003"/>
                  </a:moveTo>
                  <a:lnTo>
                    <a:pt x="3071" y="2008"/>
                  </a:lnTo>
                  <a:lnTo>
                    <a:pt x="3057" y="2003"/>
                  </a:lnTo>
                  <a:lnTo>
                    <a:pt x="3062" y="2003"/>
                  </a:lnTo>
                  <a:lnTo>
                    <a:pt x="3062" y="2003"/>
                  </a:lnTo>
                  <a:lnTo>
                    <a:pt x="3062" y="2003"/>
                  </a:lnTo>
                  <a:close/>
                  <a:moveTo>
                    <a:pt x="2932" y="2140"/>
                  </a:moveTo>
                  <a:lnTo>
                    <a:pt x="2911" y="2119"/>
                  </a:lnTo>
                  <a:lnTo>
                    <a:pt x="2915" y="2103"/>
                  </a:lnTo>
                  <a:lnTo>
                    <a:pt x="2948" y="2103"/>
                  </a:lnTo>
                  <a:lnTo>
                    <a:pt x="2991" y="2081"/>
                  </a:lnTo>
                  <a:lnTo>
                    <a:pt x="2974" y="2065"/>
                  </a:lnTo>
                  <a:lnTo>
                    <a:pt x="2986" y="2065"/>
                  </a:lnTo>
                  <a:lnTo>
                    <a:pt x="2974" y="2058"/>
                  </a:lnTo>
                  <a:lnTo>
                    <a:pt x="2974" y="2048"/>
                  </a:lnTo>
                  <a:lnTo>
                    <a:pt x="3019" y="2065"/>
                  </a:lnTo>
                  <a:lnTo>
                    <a:pt x="2991" y="2041"/>
                  </a:lnTo>
                  <a:lnTo>
                    <a:pt x="3003" y="2013"/>
                  </a:lnTo>
                  <a:lnTo>
                    <a:pt x="3024" y="2008"/>
                  </a:lnTo>
                  <a:lnTo>
                    <a:pt x="3062" y="2029"/>
                  </a:lnTo>
                  <a:lnTo>
                    <a:pt x="3057" y="2029"/>
                  </a:lnTo>
                  <a:lnTo>
                    <a:pt x="3062" y="2048"/>
                  </a:lnTo>
                  <a:lnTo>
                    <a:pt x="3071" y="2029"/>
                  </a:lnTo>
                  <a:lnTo>
                    <a:pt x="3095" y="2058"/>
                  </a:lnTo>
                  <a:lnTo>
                    <a:pt x="3137" y="2081"/>
                  </a:lnTo>
                  <a:lnTo>
                    <a:pt x="3137" y="2115"/>
                  </a:lnTo>
                  <a:lnTo>
                    <a:pt x="3147" y="2119"/>
                  </a:lnTo>
                  <a:lnTo>
                    <a:pt x="3147" y="2098"/>
                  </a:lnTo>
                  <a:lnTo>
                    <a:pt x="3154" y="2086"/>
                  </a:lnTo>
                  <a:lnTo>
                    <a:pt x="3170" y="2136"/>
                  </a:lnTo>
                  <a:lnTo>
                    <a:pt x="3208" y="2140"/>
                  </a:lnTo>
                  <a:lnTo>
                    <a:pt x="3192" y="2157"/>
                  </a:lnTo>
                  <a:lnTo>
                    <a:pt x="3170" y="2152"/>
                  </a:lnTo>
                  <a:lnTo>
                    <a:pt x="3137" y="2181"/>
                  </a:lnTo>
                  <a:lnTo>
                    <a:pt x="3116" y="2192"/>
                  </a:lnTo>
                  <a:lnTo>
                    <a:pt x="3007" y="2157"/>
                  </a:lnTo>
                  <a:lnTo>
                    <a:pt x="2991" y="2136"/>
                  </a:lnTo>
                  <a:lnTo>
                    <a:pt x="2986" y="2152"/>
                  </a:lnTo>
                  <a:lnTo>
                    <a:pt x="2974" y="2152"/>
                  </a:lnTo>
                  <a:lnTo>
                    <a:pt x="2953" y="2140"/>
                  </a:lnTo>
                  <a:lnTo>
                    <a:pt x="2953" y="2124"/>
                  </a:lnTo>
                  <a:lnTo>
                    <a:pt x="2932" y="2140"/>
                  </a:lnTo>
                  <a:lnTo>
                    <a:pt x="2932" y="2140"/>
                  </a:lnTo>
                  <a:lnTo>
                    <a:pt x="2932" y="2140"/>
                  </a:lnTo>
                  <a:close/>
                  <a:moveTo>
                    <a:pt x="3470" y="2025"/>
                  </a:moveTo>
                  <a:lnTo>
                    <a:pt x="3456" y="2013"/>
                  </a:lnTo>
                  <a:lnTo>
                    <a:pt x="3478" y="2008"/>
                  </a:lnTo>
                  <a:lnTo>
                    <a:pt x="3470" y="2025"/>
                  </a:lnTo>
                  <a:lnTo>
                    <a:pt x="3470" y="2025"/>
                  </a:lnTo>
                  <a:lnTo>
                    <a:pt x="3470" y="2025"/>
                  </a:lnTo>
                  <a:close/>
                  <a:moveTo>
                    <a:pt x="4096" y="2008"/>
                  </a:moveTo>
                  <a:lnTo>
                    <a:pt x="4108" y="2013"/>
                  </a:lnTo>
                  <a:lnTo>
                    <a:pt x="4087" y="2008"/>
                  </a:lnTo>
                  <a:lnTo>
                    <a:pt x="4096" y="2008"/>
                  </a:lnTo>
                  <a:lnTo>
                    <a:pt x="4096" y="2008"/>
                  </a:lnTo>
                  <a:lnTo>
                    <a:pt x="4096" y="2008"/>
                  </a:lnTo>
                  <a:close/>
                  <a:moveTo>
                    <a:pt x="4028" y="2025"/>
                  </a:moveTo>
                  <a:lnTo>
                    <a:pt x="4016" y="2029"/>
                  </a:lnTo>
                  <a:lnTo>
                    <a:pt x="4000" y="2025"/>
                  </a:lnTo>
                  <a:lnTo>
                    <a:pt x="4028" y="2025"/>
                  </a:lnTo>
                  <a:lnTo>
                    <a:pt x="4028" y="2025"/>
                  </a:lnTo>
                  <a:lnTo>
                    <a:pt x="4028" y="2025"/>
                  </a:lnTo>
                  <a:close/>
                  <a:moveTo>
                    <a:pt x="4297" y="2025"/>
                  </a:moveTo>
                  <a:lnTo>
                    <a:pt x="4314" y="2013"/>
                  </a:lnTo>
                  <a:lnTo>
                    <a:pt x="4323" y="2029"/>
                  </a:lnTo>
                  <a:lnTo>
                    <a:pt x="4302" y="2041"/>
                  </a:lnTo>
                  <a:lnTo>
                    <a:pt x="4271" y="2041"/>
                  </a:lnTo>
                  <a:lnTo>
                    <a:pt x="4281" y="2058"/>
                  </a:lnTo>
                  <a:lnTo>
                    <a:pt x="4243" y="2029"/>
                  </a:lnTo>
                  <a:lnTo>
                    <a:pt x="4217" y="2029"/>
                  </a:lnTo>
                  <a:lnTo>
                    <a:pt x="4248" y="2013"/>
                  </a:lnTo>
                  <a:lnTo>
                    <a:pt x="4297" y="2025"/>
                  </a:lnTo>
                  <a:lnTo>
                    <a:pt x="4297" y="2025"/>
                  </a:lnTo>
                  <a:lnTo>
                    <a:pt x="4297" y="2025"/>
                  </a:lnTo>
                  <a:close/>
                  <a:moveTo>
                    <a:pt x="4082" y="2013"/>
                  </a:moveTo>
                  <a:lnTo>
                    <a:pt x="4104" y="2029"/>
                  </a:lnTo>
                  <a:lnTo>
                    <a:pt x="4082" y="2025"/>
                  </a:lnTo>
                  <a:lnTo>
                    <a:pt x="4082" y="2013"/>
                  </a:lnTo>
                  <a:lnTo>
                    <a:pt x="4082" y="2013"/>
                  </a:lnTo>
                  <a:lnTo>
                    <a:pt x="4082" y="2013"/>
                  </a:lnTo>
                  <a:close/>
                  <a:moveTo>
                    <a:pt x="4411" y="2025"/>
                  </a:moveTo>
                  <a:lnTo>
                    <a:pt x="4422" y="2041"/>
                  </a:lnTo>
                  <a:lnTo>
                    <a:pt x="4356" y="2065"/>
                  </a:lnTo>
                  <a:lnTo>
                    <a:pt x="4411" y="2025"/>
                  </a:lnTo>
                  <a:lnTo>
                    <a:pt x="4411" y="2025"/>
                  </a:lnTo>
                  <a:lnTo>
                    <a:pt x="4411" y="2025"/>
                  </a:lnTo>
                  <a:close/>
                  <a:moveTo>
                    <a:pt x="2731" y="2029"/>
                  </a:moveTo>
                  <a:lnTo>
                    <a:pt x="2731" y="2041"/>
                  </a:lnTo>
                  <a:lnTo>
                    <a:pt x="2722" y="2029"/>
                  </a:lnTo>
                  <a:lnTo>
                    <a:pt x="2731" y="2029"/>
                  </a:lnTo>
                  <a:lnTo>
                    <a:pt x="2731" y="2029"/>
                  </a:lnTo>
                  <a:lnTo>
                    <a:pt x="2731" y="2029"/>
                  </a:lnTo>
                  <a:close/>
                  <a:moveTo>
                    <a:pt x="378" y="2119"/>
                  </a:moveTo>
                  <a:lnTo>
                    <a:pt x="385" y="2119"/>
                  </a:lnTo>
                  <a:lnTo>
                    <a:pt x="357" y="2115"/>
                  </a:lnTo>
                  <a:lnTo>
                    <a:pt x="357" y="2086"/>
                  </a:lnTo>
                  <a:lnTo>
                    <a:pt x="385" y="2103"/>
                  </a:lnTo>
                  <a:lnTo>
                    <a:pt x="362" y="2086"/>
                  </a:lnTo>
                  <a:lnTo>
                    <a:pt x="385" y="2081"/>
                  </a:lnTo>
                  <a:lnTo>
                    <a:pt x="411" y="2086"/>
                  </a:lnTo>
                  <a:lnTo>
                    <a:pt x="400" y="2065"/>
                  </a:lnTo>
                  <a:lnTo>
                    <a:pt x="411" y="2065"/>
                  </a:lnTo>
                  <a:lnTo>
                    <a:pt x="466" y="2065"/>
                  </a:lnTo>
                  <a:lnTo>
                    <a:pt x="466" y="2041"/>
                  </a:lnTo>
                  <a:lnTo>
                    <a:pt x="454" y="2029"/>
                  </a:lnTo>
                  <a:lnTo>
                    <a:pt x="475" y="2029"/>
                  </a:lnTo>
                  <a:lnTo>
                    <a:pt x="475" y="2048"/>
                  </a:lnTo>
                  <a:lnTo>
                    <a:pt x="508" y="2048"/>
                  </a:lnTo>
                  <a:lnTo>
                    <a:pt x="466" y="2103"/>
                  </a:lnTo>
                  <a:lnTo>
                    <a:pt x="449" y="2119"/>
                  </a:lnTo>
                  <a:lnTo>
                    <a:pt x="475" y="2157"/>
                  </a:lnTo>
                  <a:lnTo>
                    <a:pt x="466" y="2157"/>
                  </a:lnTo>
                  <a:lnTo>
                    <a:pt x="433" y="2119"/>
                  </a:lnTo>
                  <a:lnTo>
                    <a:pt x="423" y="2136"/>
                  </a:lnTo>
                  <a:lnTo>
                    <a:pt x="357" y="2124"/>
                  </a:lnTo>
                  <a:lnTo>
                    <a:pt x="357" y="2115"/>
                  </a:lnTo>
                  <a:lnTo>
                    <a:pt x="378" y="2119"/>
                  </a:lnTo>
                  <a:lnTo>
                    <a:pt x="378" y="2119"/>
                  </a:lnTo>
                  <a:lnTo>
                    <a:pt x="378" y="2119"/>
                  </a:lnTo>
                  <a:close/>
                  <a:moveTo>
                    <a:pt x="5129" y="2029"/>
                  </a:moveTo>
                  <a:lnTo>
                    <a:pt x="5129" y="2041"/>
                  </a:lnTo>
                  <a:lnTo>
                    <a:pt x="5129" y="2058"/>
                  </a:lnTo>
                  <a:lnTo>
                    <a:pt x="5107" y="2048"/>
                  </a:lnTo>
                  <a:lnTo>
                    <a:pt x="5129" y="2029"/>
                  </a:lnTo>
                  <a:lnTo>
                    <a:pt x="5129" y="2029"/>
                  </a:lnTo>
                  <a:lnTo>
                    <a:pt x="5129" y="2029"/>
                  </a:lnTo>
                  <a:close/>
                  <a:moveTo>
                    <a:pt x="130" y="2058"/>
                  </a:moveTo>
                  <a:lnTo>
                    <a:pt x="114" y="2048"/>
                  </a:lnTo>
                  <a:lnTo>
                    <a:pt x="130" y="2041"/>
                  </a:lnTo>
                  <a:lnTo>
                    <a:pt x="152" y="2048"/>
                  </a:lnTo>
                  <a:lnTo>
                    <a:pt x="130" y="2058"/>
                  </a:lnTo>
                  <a:lnTo>
                    <a:pt x="130" y="2058"/>
                  </a:lnTo>
                  <a:lnTo>
                    <a:pt x="130" y="2058"/>
                  </a:lnTo>
                  <a:close/>
                  <a:moveTo>
                    <a:pt x="3192" y="2048"/>
                  </a:moveTo>
                  <a:lnTo>
                    <a:pt x="3201" y="2058"/>
                  </a:lnTo>
                  <a:lnTo>
                    <a:pt x="3192" y="2081"/>
                  </a:lnTo>
                  <a:lnTo>
                    <a:pt x="3180" y="2081"/>
                  </a:lnTo>
                  <a:lnTo>
                    <a:pt x="3180" y="2070"/>
                  </a:lnTo>
                  <a:lnTo>
                    <a:pt x="3180" y="2058"/>
                  </a:lnTo>
                  <a:lnTo>
                    <a:pt x="3170" y="2048"/>
                  </a:lnTo>
                  <a:lnTo>
                    <a:pt x="3163" y="2081"/>
                  </a:lnTo>
                  <a:lnTo>
                    <a:pt x="3154" y="2070"/>
                  </a:lnTo>
                  <a:lnTo>
                    <a:pt x="3154" y="2058"/>
                  </a:lnTo>
                  <a:lnTo>
                    <a:pt x="3163" y="2048"/>
                  </a:lnTo>
                  <a:lnTo>
                    <a:pt x="3192" y="2048"/>
                  </a:lnTo>
                  <a:lnTo>
                    <a:pt x="3192" y="2048"/>
                  </a:lnTo>
                  <a:lnTo>
                    <a:pt x="3192" y="2048"/>
                  </a:lnTo>
                  <a:close/>
                  <a:moveTo>
                    <a:pt x="5150" y="2058"/>
                  </a:moveTo>
                  <a:lnTo>
                    <a:pt x="5138" y="2058"/>
                  </a:lnTo>
                  <a:lnTo>
                    <a:pt x="5167" y="2048"/>
                  </a:lnTo>
                  <a:lnTo>
                    <a:pt x="5150" y="2058"/>
                  </a:lnTo>
                  <a:lnTo>
                    <a:pt x="5150" y="2058"/>
                  </a:lnTo>
                  <a:lnTo>
                    <a:pt x="5150" y="2058"/>
                  </a:lnTo>
                  <a:close/>
                  <a:moveTo>
                    <a:pt x="3147" y="2048"/>
                  </a:moveTo>
                  <a:lnTo>
                    <a:pt x="3147" y="2081"/>
                  </a:lnTo>
                  <a:lnTo>
                    <a:pt x="3109" y="2048"/>
                  </a:lnTo>
                  <a:lnTo>
                    <a:pt x="3147" y="2048"/>
                  </a:lnTo>
                  <a:lnTo>
                    <a:pt x="3147" y="2048"/>
                  </a:lnTo>
                  <a:lnTo>
                    <a:pt x="3147" y="2048"/>
                  </a:lnTo>
                  <a:close/>
                  <a:moveTo>
                    <a:pt x="2802" y="2058"/>
                  </a:moveTo>
                  <a:lnTo>
                    <a:pt x="2807" y="2065"/>
                  </a:lnTo>
                  <a:lnTo>
                    <a:pt x="2793" y="2070"/>
                  </a:lnTo>
                  <a:lnTo>
                    <a:pt x="2793" y="2065"/>
                  </a:lnTo>
                  <a:lnTo>
                    <a:pt x="2776" y="2058"/>
                  </a:lnTo>
                  <a:lnTo>
                    <a:pt x="2785" y="2048"/>
                  </a:lnTo>
                  <a:lnTo>
                    <a:pt x="2802" y="2058"/>
                  </a:lnTo>
                  <a:lnTo>
                    <a:pt x="2802" y="2058"/>
                  </a:lnTo>
                  <a:lnTo>
                    <a:pt x="2802" y="2058"/>
                  </a:lnTo>
                  <a:close/>
                  <a:moveTo>
                    <a:pt x="3563" y="2065"/>
                  </a:moveTo>
                  <a:lnTo>
                    <a:pt x="3563" y="2081"/>
                  </a:lnTo>
                  <a:lnTo>
                    <a:pt x="3558" y="2086"/>
                  </a:lnTo>
                  <a:lnTo>
                    <a:pt x="3541" y="2081"/>
                  </a:lnTo>
                  <a:lnTo>
                    <a:pt x="3563" y="2065"/>
                  </a:lnTo>
                  <a:lnTo>
                    <a:pt x="3563" y="2065"/>
                  </a:lnTo>
                  <a:lnTo>
                    <a:pt x="3563" y="2065"/>
                  </a:lnTo>
                  <a:close/>
                  <a:moveTo>
                    <a:pt x="4481" y="2065"/>
                  </a:moveTo>
                  <a:lnTo>
                    <a:pt x="4512" y="2065"/>
                  </a:lnTo>
                  <a:lnTo>
                    <a:pt x="4512" y="2081"/>
                  </a:lnTo>
                  <a:lnTo>
                    <a:pt x="4486" y="2103"/>
                  </a:lnTo>
                  <a:lnTo>
                    <a:pt x="4465" y="2103"/>
                  </a:lnTo>
                  <a:lnTo>
                    <a:pt x="4460" y="2086"/>
                  </a:lnTo>
                  <a:lnTo>
                    <a:pt x="4465" y="2070"/>
                  </a:lnTo>
                  <a:lnTo>
                    <a:pt x="4481" y="2065"/>
                  </a:lnTo>
                  <a:lnTo>
                    <a:pt x="4481" y="2065"/>
                  </a:lnTo>
                  <a:lnTo>
                    <a:pt x="4481" y="2065"/>
                  </a:lnTo>
                  <a:close/>
                  <a:moveTo>
                    <a:pt x="400" y="2081"/>
                  </a:moveTo>
                  <a:lnTo>
                    <a:pt x="385" y="2070"/>
                  </a:lnTo>
                  <a:lnTo>
                    <a:pt x="400" y="2070"/>
                  </a:lnTo>
                  <a:lnTo>
                    <a:pt x="400" y="2081"/>
                  </a:lnTo>
                  <a:lnTo>
                    <a:pt x="400" y="2081"/>
                  </a:lnTo>
                  <a:lnTo>
                    <a:pt x="400" y="2081"/>
                  </a:lnTo>
                  <a:close/>
                  <a:moveTo>
                    <a:pt x="4389" y="2070"/>
                  </a:moveTo>
                  <a:lnTo>
                    <a:pt x="4406" y="2081"/>
                  </a:lnTo>
                  <a:lnTo>
                    <a:pt x="4356" y="2136"/>
                  </a:lnTo>
                  <a:lnTo>
                    <a:pt x="4335" y="2140"/>
                  </a:lnTo>
                  <a:lnTo>
                    <a:pt x="4318" y="2136"/>
                  </a:lnTo>
                  <a:lnTo>
                    <a:pt x="4335" y="2115"/>
                  </a:lnTo>
                  <a:lnTo>
                    <a:pt x="4356" y="2103"/>
                  </a:lnTo>
                  <a:lnTo>
                    <a:pt x="4368" y="2081"/>
                  </a:lnTo>
                  <a:lnTo>
                    <a:pt x="4389" y="2070"/>
                  </a:lnTo>
                  <a:lnTo>
                    <a:pt x="4389" y="2070"/>
                  </a:lnTo>
                  <a:lnTo>
                    <a:pt x="4389" y="2070"/>
                  </a:lnTo>
                  <a:close/>
                  <a:moveTo>
                    <a:pt x="3541" y="2098"/>
                  </a:moveTo>
                  <a:lnTo>
                    <a:pt x="3525" y="2081"/>
                  </a:lnTo>
                  <a:lnTo>
                    <a:pt x="3532" y="2070"/>
                  </a:lnTo>
                  <a:lnTo>
                    <a:pt x="3546" y="2086"/>
                  </a:lnTo>
                  <a:lnTo>
                    <a:pt x="3541" y="2098"/>
                  </a:lnTo>
                  <a:lnTo>
                    <a:pt x="3541" y="2098"/>
                  </a:lnTo>
                  <a:lnTo>
                    <a:pt x="3541" y="2098"/>
                  </a:lnTo>
                  <a:close/>
                  <a:moveTo>
                    <a:pt x="2769" y="2098"/>
                  </a:moveTo>
                  <a:lnTo>
                    <a:pt x="2769" y="2115"/>
                  </a:lnTo>
                  <a:lnTo>
                    <a:pt x="2755" y="2115"/>
                  </a:lnTo>
                  <a:lnTo>
                    <a:pt x="2759" y="2098"/>
                  </a:lnTo>
                  <a:lnTo>
                    <a:pt x="2769" y="2098"/>
                  </a:lnTo>
                  <a:lnTo>
                    <a:pt x="2769" y="2098"/>
                  </a:lnTo>
                  <a:lnTo>
                    <a:pt x="2769" y="2098"/>
                  </a:lnTo>
                  <a:close/>
                  <a:moveTo>
                    <a:pt x="3563" y="2115"/>
                  </a:moveTo>
                  <a:lnTo>
                    <a:pt x="3570" y="2115"/>
                  </a:lnTo>
                  <a:lnTo>
                    <a:pt x="3558" y="2115"/>
                  </a:lnTo>
                  <a:lnTo>
                    <a:pt x="3563" y="2115"/>
                  </a:lnTo>
                  <a:lnTo>
                    <a:pt x="3563" y="2115"/>
                  </a:lnTo>
                  <a:lnTo>
                    <a:pt x="3563" y="2115"/>
                  </a:lnTo>
                  <a:close/>
                  <a:moveTo>
                    <a:pt x="2868" y="2103"/>
                  </a:moveTo>
                  <a:lnTo>
                    <a:pt x="2878" y="2119"/>
                  </a:lnTo>
                  <a:lnTo>
                    <a:pt x="2878" y="2124"/>
                  </a:lnTo>
                  <a:lnTo>
                    <a:pt x="2861" y="2119"/>
                  </a:lnTo>
                  <a:lnTo>
                    <a:pt x="2868" y="2103"/>
                  </a:lnTo>
                  <a:lnTo>
                    <a:pt x="2868" y="2103"/>
                  </a:lnTo>
                  <a:lnTo>
                    <a:pt x="2868" y="2103"/>
                  </a:lnTo>
                  <a:close/>
                  <a:moveTo>
                    <a:pt x="2856" y="2119"/>
                  </a:moveTo>
                  <a:lnTo>
                    <a:pt x="2868" y="2136"/>
                  </a:lnTo>
                  <a:lnTo>
                    <a:pt x="2861" y="2140"/>
                  </a:lnTo>
                  <a:lnTo>
                    <a:pt x="2856" y="2157"/>
                  </a:lnTo>
                  <a:lnTo>
                    <a:pt x="2830" y="2152"/>
                  </a:lnTo>
                  <a:lnTo>
                    <a:pt x="2830" y="2119"/>
                  </a:lnTo>
                  <a:lnTo>
                    <a:pt x="2856" y="2119"/>
                  </a:lnTo>
                  <a:lnTo>
                    <a:pt x="2856" y="2119"/>
                  </a:lnTo>
                  <a:lnTo>
                    <a:pt x="2856" y="2119"/>
                  </a:lnTo>
                  <a:close/>
                  <a:moveTo>
                    <a:pt x="3584" y="2124"/>
                  </a:moveTo>
                  <a:lnTo>
                    <a:pt x="3570" y="2119"/>
                  </a:lnTo>
                  <a:lnTo>
                    <a:pt x="3584" y="2119"/>
                  </a:lnTo>
                  <a:lnTo>
                    <a:pt x="3584" y="2124"/>
                  </a:lnTo>
                  <a:lnTo>
                    <a:pt x="3584" y="2124"/>
                  </a:lnTo>
                  <a:lnTo>
                    <a:pt x="3584" y="2124"/>
                  </a:lnTo>
                  <a:close/>
                  <a:moveTo>
                    <a:pt x="5129" y="2124"/>
                  </a:moveTo>
                  <a:lnTo>
                    <a:pt x="5129" y="2136"/>
                  </a:lnTo>
                  <a:lnTo>
                    <a:pt x="5124" y="2124"/>
                  </a:lnTo>
                  <a:lnTo>
                    <a:pt x="5129" y="2124"/>
                  </a:lnTo>
                  <a:lnTo>
                    <a:pt x="5129" y="2124"/>
                  </a:lnTo>
                  <a:lnTo>
                    <a:pt x="5129" y="2124"/>
                  </a:lnTo>
                  <a:close/>
                  <a:moveTo>
                    <a:pt x="3579" y="2157"/>
                  </a:moveTo>
                  <a:lnTo>
                    <a:pt x="3579" y="2152"/>
                  </a:lnTo>
                  <a:lnTo>
                    <a:pt x="3579" y="2140"/>
                  </a:lnTo>
                  <a:lnTo>
                    <a:pt x="3596" y="2152"/>
                  </a:lnTo>
                  <a:lnTo>
                    <a:pt x="3579" y="2157"/>
                  </a:lnTo>
                  <a:lnTo>
                    <a:pt x="3579" y="2157"/>
                  </a:lnTo>
                  <a:lnTo>
                    <a:pt x="3579" y="2157"/>
                  </a:lnTo>
                  <a:close/>
                  <a:moveTo>
                    <a:pt x="2759" y="2152"/>
                  </a:moveTo>
                  <a:lnTo>
                    <a:pt x="2759" y="2157"/>
                  </a:lnTo>
                  <a:lnTo>
                    <a:pt x="2748" y="2176"/>
                  </a:lnTo>
                  <a:lnTo>
                    <a:pt x="2717" y="2157"/>
                  </a:lnTo>
                  <a:lnTo>
                    <a:pt x="2738" y="2140"/>
                  </a:lnTo>
                  <a:lnTo>
                    <a:pt x="2759" y="2152"/>
                  </a:lnTo>
                  <a:lnTo>
                    <a:pt x="2759" y="2152"/>
                  </a:lnTo>
                  <a:lnTo>
                    <a:pt x="2759" y="2152"/>
                  </a:lnTo>
                  <a:close/>
                  <a:moveTo>
                    <a:pt x="4626" y="2157"/>
                  </a:moveTo>
                  <a:lnTo>
                    <a:pt x="4642" y="2181"/>
                  </a:lnTo>
                  <a:lnTo>
                    <a:pt x="4642" y="2209"/>
                  </a:lnTo>
                  <a:lnTo>
                    <a:pt x="4595" y="2181"/>
                  </a:lnTo>
                  <a:lnTo>
                    <a:pt x="4611" y="2157"/>
                  </a:lnTo>
                  <a:lnTo>
                    <a:pt x="4626" y="2157"/>
                  </a:lnTo>
                  <a:lnTo>
                    <a:pt x="4626" y="2157"/>
                  </a:lnTo>
                  <a:lnTo>
                    <a:pt x="4626" y="2157"/>
                  </a:lnTo>
                  <a:close/>
                  <a:moveTo>
                    <a:pt x="4642" y="2157"/>
                  </a:moveTo>
                  <a:lnTo>
                    <a:pt x="4663" y="2176"/>
                  </a:lnTo>
                  <a:lnTo>
                    <a:pt x="4637" y="2169"/>
                  </a:lnTo>
                  <a:lnTo>
                    <a:pt x="4642" y="2157"/>
                  </a:lnTo>
                  <a:lnTo>
                    <a:pt x="4642" y="2157"/>
                  </a:lnTo>
                  <a:lnTo>
                    <a:pt x="4642" y="2157"/>
                  </a:lnTo>
                  <a:close/>
                  <a:moveTo>
                    <a:pt x="4368" y="2192"/>
                  </a:moveTo>
                  <a:lnTo>
                    <a:pt x="4352" y="2181"/>
                  </a:lnTo>
                  <a:lnTo>
                    <a:pt x="4373" y="2176"/>
                  </a:lnTo>
                  <a:lnTo>
                    <a:pt x="4356" y="2169"/>
                  </a:lnTo>
                  <a:lnTo>
                    <a:pt x="4389" y="2169"/>
                  </a:lnTo>
                  <a:lnTo>
                    <a:pt x="4368" y="2192"/>
                  </a:lnTo>
                  <a:lnTo>
                    <a:pt x="4368" y="2192"/>
                  </a:lnTo>
                  <a:lnTo>
                    <a:pt x="4368" y="2192"/>
                  </a:lnTo>
                  <a:close/>
                  <a:moveTo>
                    <a:pt x="2516" y="2176"/>
                  </a:moveTo>
                  <a:lnTo>
                    <a:pt x="2521" y="2181"/>
                  </a:lnTo>
                  <a:lnTo>
                    <a:pt x="2504" y="2176"/>
                  </a:lnTo>
                  <a:lnTo>
                    <a:pt x="2516" y="2176"/>
                  </a:lnTo>
                  <a:lnTo>
                    <a:pt x="2516" y="2176"/>
                  </a:lnTo>
                  <a:lnTo>
                    <a:pt x="2516" y="2176"/>
                  </a:lnTo>
                  <a:close/>
                  <a:moveTo>
                    <a:pt x="2542" y="2176"/>
                  </a:moveTo>
                  <a:lnTo>
                    <a:pt x="2570" y="2192"/>
                  </a:lnTo>
                  <a:lnTo>
                    <a:pt x="2542" y="2197"/>
                  </a:lnTo>
                  <a:lnTo>
                    <a:pt x="2521" y="2176"/>
                  </a:lnTo>
                  <a:lnTo>
                    <a:pt x="2542" y="2176"/>
                  </a:lnTo>
                  <a:lnTo>
                    <a:pt x="2542" y="2176"/>
                  </a:lnTo>
                  <a:lnTo>
                    <a:pt x="2542" y="2176"/>
                  </a:lnTo>
                  <a:close/>
                  <a:moveTo>
                    <a:pt x="2129" y="2176"/>
                  </a:moveTo>
                  <a:lnTo>
                    <a:pt x="2138" y="2176"/>
                  </a:lnTo>
                  <a:lnTo>
                    <a:pt x="2122" y="2176"/>
                  </a:lnTo>
                  <a:lnTo>
                    <a:pt x="2129" y="2176"/>
                  </a:lnTo>
                  <a:lnTo>
                    <a:pt x="2129" y="2176"/>
                  </a:lnTo>
                  <a:lnTo>
                    <a:pt x="2129" y="2176"/>
                  </a:lnTo>
                  <a:close/>
                  <a:moveTo>
                    <a:pt x="2122" y="2181"/>
                  </a:moveTo>
                  <a:lnTo>
                    <a:pt x="2100" y="2181"/>
                  </a:lnTo>
                  <a:lnTo>
                    <a:pt x="2122" y="2176"/>
                  </a:lnTo>
                  <a:lnTo>
                    <a:pt x="2122" y="2181"/>
                  </a:lnTo>
                  <a:lnTo>
                    <a:pt x="2122" y="2181"/>
                  </a:lnTo>
                  <a:lnTo>
                    <a:pt x="2122" y="2181"/>
                  </a:lnTo>
                  <a:close/>
                  <a:moveTo>
                    <a:pt x="4675" y="2192"/>
                  </a:moveTo>
                  <a:lnTo>
                    <a:pt x="4696" y="2209"/>
                  </a:lnTo>
                  <a:lnTo>
                    <a:pt x="4680" y="2214"/>
                  </a:lnTo>
                  <a:lnTo>
                    <a:pt x="4675" y="2197"/>
                  </a:lnTo>
                  <a:lnTo>
                    <a:pt x="4675" y="2192"/>
                  </a:lnTo>
                  <a:lnTo>
                    <a:pt x="4675" y="2192"/>
                  </a:lnTo>
                  <a:lnTo>
                    <a:pt x="4675" y="2192"/>
                  </a:lnTo>
                  <a:close/>
                  <a:moveTo>
                    <a:pt x="2868" y="2197"/>
                  </a:moveTo>
                  <a:lnTo>
                    <a:pt x="2868" y="2214"/>
                  </a:lnTo>
                  <a:lnTo>
                    <a:pt x="2861" y="2209"/>
                  </a:lnTo>
                  <a:lnTo>
                    <a:pt x="2868" y="2197"/>
                  </a:lnTo>
                  <a:lnTo>
                    <a:pt x="2868" y="2197"/>
                  </a:lnTo>
                  <a:lnTo>
                    <a:pt x="2868" y="2197"/>
                  </a:lnTo>
                  <a:close/>
                  <a:moveTo>
                    <a:pt x="4340" y="2197"/>
                  </a:moveTo>
                  <a:lnTo>
                    <a:pt x="4368" y="2214"/>
                  </a:lnTo>
                  <a:lnTo>
                    <a:pt x="4340" y="2226"/>
                  </a:lnTo>
                  <a:lnTo>
                    <a:pt x="4335" y="2214"/>
                  </a:lnTo>
                  <a:lnTo>
                    <a:pt x="4340" y="2197"/>
                  </a:lnTo>
                  <a:lnTo>
                    <a:pt x="4340" y="2197"/>
                  </a:lnTo>
                  <a:lnTo>
                    <a:pt x="4340" y="2197"/>
                  </a:lnTo>
                  <a:close/>
                  <a:moveTo>
                    <a:pt x="4512" y="2341"/>
                  </a:moveTo>
                  <a:lnTo>
                    <a:pt x="4481" y="2337"/>
                  </a:lnTo>
                  <a:lnTo>
                    <a:pt x="4474" y="2308"/>
                  </a:lnTo>
                  <a:lnTo>
                    <a:pt x="4465" y="2285"/>
                  </a:lnTo>
                  <a:lnTo>
                    <a:pt x="4503" y="2214"/>
                  </a:lnTo>
                  <a:lnTo>
                    <a:pt x="4574" y="2209"/>
                  </a:lnTo>
                  <a:lnTo>
                    <a:pt x="4621" y="2214"/>
                  </a:lnTo>
                  <a:lnTo>
                    <a:pt x="4626" y="2230"/>
                  </a:lnTo>
                  <a:lnTo>
                    <a:pt x="4621" y="2252"/>
                  </a:lnTo>
                  <a:lnTo>
                    <a:pt x="4626" y="2292"/>
                  </a:lnTo>
                  <a:lnTo>
                    <a:pt x="4621" y="2308"/>
                  </a:lnTo>
                  <a:lnTo>
                    <a:pt x="4567" y="2337"/>
                  </a:lnTo>
                  <a:lnTo>
                    <a:pt x="4512" y="2341"/>
                  </a:lnTo>
                  <a:lnTo>
                    <a:pt x="4512" y="2341"/>
                  </a:lnTo>
                  <a:lnTo>
                    <a:pt x="4512" y="2341"/>
                  </a:lnTo>
                  <a:close/>
                  <a:moveTo>
                    <a:pt x="3827" y="2226"/>
                  </a:moveTo>
                  <a:lnTo>
                    <a:pt x="3834" y="2263"/>
                  </a:lnTo>
                  <a:lnTo>
                    <a:pt x="3818" y="2280"/>
                  </a:lnTo>
                  <a:lnTo>
                    <a:pt x="3796" y="2268"/>
                  </a:lnTo>
                  <a:lnTo>
                    <a:pt x="3796" y="2252"/>
                  </a:lnTo>
                  <a:lnTo>
                    <a:pt x="3801" y="2247"/>
                  </a:lnTo>
                  <a:lnTo>
                    <a:pt x="3785" y="2235"/>
                  </a:lnTo>
                  <a:lnTo>
                    <a:pt x="3811" y="2209"/>
                  </a:lnTo>
                  <a:lnTo>
                    <a:pt x="3827" y="2214"/>
                  </a:lnTo>
                  <a:lnTo>
                    <a:pt x="3827" y="2226"/>
                  </a:lnTo>
                  <a:lnTo>
                    <a:pt x="3827" y="2226"/>
                  </a:lnTo>
                  <a:lnTo>
                    <a:pt x="3827" y="2226"/>
                  </a:lnTo>
                  <a:close/>
                  <a:moveTo>
                    <a:pt x="5237" y="2230"/>
                  </a:moveTo>
                  <a:lnTo>
                    <a:pt x="5214" y="2226"/>
                  </a:lnTo>
                  <a:lnTo>
                    <a:pt x="5247" y="2214"/>
                  </a:lnTo>
                  <a:lnTo>
                    <a:pt x="5237" y="2230"/>
                  </a:lnTo>
                  <a:lnTo>
                    <a:pt x="5237" y="2230"/>
                  </a:lnTo>
                  <a:lnTo>
                    <a:pt x="5237" y="2230"/>
                  </a:lnTo>
                  <a:close/>
                  <a:moveTo>
                    <a:pt x="4696" y="2214"/>
                  </a:moveTo>
                  <a:lnTo>
                    <a:pt x="4696" y="2230"/>
                  </a:lnTo>
                  <a:lnTo>
                    <a:pt x="4692" y="2226"/>
                  </a:lnTo>
                  <a:lnTo>
                    <a:pt x="4696" y="2214"/>
                  </a:lnTo>
                  <a:lnTo>
                    <a:pt x="4696" y="2214"/>
                  </a:lnTo>
                  <a:lnTo>
                    <a:pt x="4696" y="2214"/>
                  </a:lnTo>
                  <a:close/>
                  <a:moveTo>
                    <a:pt x="2570" y="2226"/>
                  </a:moveTo>
                  <a:lnTo>
                    <a:pt x="2559" y="2235"/>
                  </a:lnTo>
                  <a:lnTo>
                    <a:pt x="2554" y="2230"/>
                  </a:lnTo>
                  <a:lnTo>
                    <a:pt x="2570" y="2226"/>
                  </a:lnTo>
                  <a:lnTo>
                    <a:pt x="2570" y="2226"/>
                  </a:lnTo>
                  <a:lnTo>
                    <a:pt x="2570" y="2226"/>
                  </a:lnTo>
                  <a:close/>
                  <a:moveTo>
                    <a:pt x="5285" y="2226"/>
                  </a:moveTo>
                  <a:lnTo>
                    <a:pt x="5301" y="2230"/>
                  </a:lnTo>
                  <a:lnTo>
                    <a:pt x="5285" y="2230"/>
                  </a:lnTo>
                  <a:lnTo>
                    <a:pt x="5285" y="2226"/>
                  </a:lnTo>
                  <a:lnTo>
                    <a:pt x="5285" y="2226"/>
                  </a:lnTo>
                  <a:lnTo>
                    <a:pt x="5285" y="2226"/>
                  </a:lnTo>
                  <a:close/>
                  <a:moveTo>
                    <a:pt x="4718" y="2247"/>
                  </a:moveTo>
                  <a:lnTo>
                    <a:pt x="4746" y="2247"/>
                  </a:lnTo>
                  <a:lnTo>
                    <a:pt x="4746" y="2268"/>
                  </a:lnTo>
                  <a:lnTo>
                    <a:pt x="4734" y="2280"/>
                  </a:lnTo>
                  <a:lnTo>
                    <a:pt x="4675" y="2268"/>
                  </a:lnTo>
                  <a:lnTo>
                    <a:pt x="4649" y="2263"/>
                  </a:lnTo>
                  <a:lnTo>
                    <a:pt x="4642" y="2247"/>
                  </a:lnTo>
                  <a:lnTo>
                    <a:pt x="4675" y="2226"/>
                  </a:lnTo>
                  <a:lnTo>
                    <a:pt x="4692" y="2235"/>
                  </a:lnTo>
                  <a:lnTo>
                    <a:pt x="4718" y="2247"/>
                  </a:lnTo>
                  <a:lnTo>
                    <a:pt x="4718" y="2247"/>
                  </a:lnTo>
                  <a:lnTo>
                    <a:pt x="4718" y="2247"/>
                  </a:lnTo>
                  <a:close/>
                  <a:moveTo>
                    <a:pt x="2214" y="2230"/>
                  </a:moveTo>
                  <a:lnTo>
                    <a:pt x="2219" y="2247"/>
                  </a:lnTo>
                  <a:lnTo>
                    <a:pt x="2209" y="2235"/>
                  </a:lnTo>
                  <a:lnTo>
                    <a:pt x="2214" y="2230"/>
                  </a:lnTo>
                  <a:lnTo>
                    <a:pt x="2214" y="2230"/>
                  </a:lnTo>
                  <a:lnTo>
                    <a:pt x="2214" y="2230"/>
                  </a:lnTo>
                  <a:close/>
                  <a:moveTo>
                    <a:pt x="2948" y="2235"/>
                  </a:moveTo>
                  <a:lnTo>
                    <a:pt x="2948" y="2247"/>
                  </a:lnTo>
                  <a:lnTo>
                    <a:pt x="2937" y="2235"/>
                  </a:lnTo>
                  <a:lnTo>
                    <a:pt x="2948" y="2235"/>
                  </a:lnTo>
                  <a:lnTo>
                    <a:pt x="2948" y="2235"/>
                  </a:lnTo>
                  <a:lnTo>
                    <a:pt x="2948" y="2235"/>
                  </a:lnTo>
                  <a:close/>
                  <a:moveTo>
                    <a:pt x="2252" y="2247"/>
                  </a:moveTo>
                  <a:lnTo>
                    <a:pt x="2252" y="2263"/>
                  </a:lnTo>
                  <a:lnTo>
                    <a:pt x="2230" y="2247"/>
                  </a:lnTo>
                  <a:lnTo>
                    <a:pt x="2252" y="2247"/>
                  </a:lnTo>
                  <a:lnTo>
                    <a:pt x="2252" y="2247"/>
                  </a:lnTo>
                  <a:lnTo>
                    <a:pt x="2252" y="2247"/>
                  </a:lnTo>
                  <a:close/>
                  <a:moveTo>
                    <a:pt x="3024" y="2263"/>
                  </a:moveTo>
                  <a:lnTo>
                    <a:pt x="3019" y="2263"/>
                  </a:lnTo>
                  <a:lnTo>
                    <a:pt x="3024" y="2263"/>
                  </a:lnTo>
                  <a:lnTo>
                    <a:pt x="3024" y="2263"/>
                  </a:lnTo>
                  <a:lnTo>
                    <a:pt x="3024" y="2263"/>
                  </a:lnTo>
                  <a:close/>
                  <a:moveTo>
                    <a:pt x="1895" y="2263"/>
                  </a:moveTo>
                  <a:lnTo>
                    <a:pt x="1874" y="2263"/>
                  </a:lnTo>
                  <a:lnTo>
                    <a:pt x="1895" y="2263"/>
                  </a:lnTo>
                  <a:lnTo>
                    <a:pt x="1895" y="2263"/>
                  </a:lnTo>
                  <a:lnTo>
                    <a:pt x="1895" y="2263"/>
                  </a:lnTo>
                  <a:close/>
                  <a:moveTo>
                    <a:pt x="2306" y="2308"/>
                  </a:moveTo>
                  <a:lnTo>
                    <a:pt x="2306" y="2285"/>
                  </a:lnTo>
                  <a:lnTo>
                    <a:pt x="2318" y="2285"/>
                  </a:lnTo>
                  <a:lnTo>
                    <a:pt x="2322" y="2303"/>
                  </a:lnTo>
                  <a:lnTo>
                    <a:pt x="2306" y="2308"/>
                  </a:lnTo>
                  <a:lnTo>
                    <a:pt x="2306" y="2308"/>
                  </a:lnTo>
                  <a:lnTo>
                    <a:pt x="2306" y="2308"/>
                  </a:lnTo>
                  <a:close/>
                  <a:moveTo>
                    <a:pt x="5410" y="2292"/>
                  </a:moveTo>
                  <a:lnTo>
                    <a:pt x="5415" y="2303"/>
                  </a:lnTo>
                  <a:lnTo>
                    <a:pt x="5398" y="2303"/>
                  </a:lnTo>
                  <a:lnTo>
                    <a:pt x="5410" y="2292"/>
                  </a:lnTo>
                  <a:lnTo>
                    <a:pt x="5410" y="2292"/>
                  </a:lnTo>
                  <a:lnTo>
                    <a:pt x="5410" y="2292"/>
                  </a:lnTo>
                  <a:close/>
                  <a:moveTo>
                    <a:pt x="2285" y="2292"/>
                  </a:moveTo>
                  <a:lnTo>
                    <a:pt x="2289" y="2292"/>
                  </a:lnTo>
                  <a:lnTo>
                    <a:pt x="2285" y="2292"/>
                  </a:lnTo>
                  <a:lnTo>
                    <a:pt x="2285" y="2292"/>
                  </a:lnTo>
                  <a:lnTo>
                    <a:pt x="2285" y="2292"/>
                  </a:lnTo>
                  <a:close/>
                  <a:moveTo>
                    <a:pt x="2306" y="2308"/>
                  </a:moveTo>
                  <a:lnTo>
                    <a:pt x="2301" y="2308"/>
                  </a:lnTo>
                  <a:lnTo>
                    <a:pt x="2301" y="2303"/>
                  </a:lnTo>
                  <a:lnTo>
                    <a:pt x="2306" y="2308"/>
                  </a:lnTo>
                  <a:lnTo>
                    <a:pt x="2306" y="2308"/>
                  </a:lnTo>
                  <a:lnTo>
                    <a:pt x="2306" y="2308"/>
                  </a:lnTo>
                  <a:close/>
                  <a:moveTo>
                    <a:pt x="2289" y="2308"/>
                  </a:moveTo>
                  <a:lnTo>
                    <a:pt x="2285" y="2303"/>
                  </a:lnTo>
                  <a:lnTo>
                    <a:pt x="2289" y="2303"/>
                  </a:lnTo>
                  <a:lnTo>
                    <a:pt x="2289" y="2308"/>
                  </a:lnTo>
                  <a:lnTo>
                    <a:pt x="2289" y="2308"/>
                  </a:lnTo>
                  <a:lnTo>
                    <a:pt x="2289" y="2308"/>
                  </a:lnTo>
                  <a:close/>
                  <a:moveTo>
                    <a:pt x="2322" y="2308"/>
                  </a:moveTo>
                  <a:lnTo>
                    <a:pt x="2322" y="2337"/>
                  </a:lnTo>
                  <a:lnTo>
                    <a:pt x="2306" y="2320"/>
                  </a:lnTo>
                  <a:lnTo>
                    <a:pt x="2322" y="2308"/>
                  </a:lnTo>
                  <a:lnTo>
                    <a:pt x="2322" y="2308"/>
                  </a:lnTo>
                  <a:lnTo>
                    <a:pt x="2322" y="2308"/>
                  </a:lnTo>
                  <a:close/>
                  <a:moveTo>
                    <a:pt x="5436" y="2337"/>
                  </a:moveTo>
                  <a:lnTo>
                    <a:pt x="5415" y="2337"/>
                  </a:lnTo>
                  <a:lnTo>
                    <a:pt x="5431" y="2325"/>
                  </a:lnTo>
                  <a:lnTo>
                    <a:pt x="5448" y="2337"/>
                  </a:lnTo>
                  <a:lnTo>
                    <a:pt x="5436" y="2337"/>
                  </a:lnTo>
                  <a:lnTo>
                    <a:pt x="5436" y="2337"/>
                  </a:lnTo>
                  <a:lnTo>
                    <a:pt x="5436" y="2337"/>
                  </a:lnTo>
                  <a:close/>
                  <a:moveTo>
                    <a:pt x="2339" y="2337"/>
                  </a:moveTo>
                  <a:lnTo>
                    <a:pt x="2339" y="2341"/>
                  </a:lnTo>
                  <a:lnTo>
                    <a:pt x="2339" y="2337"/>
                  </a:lnTo>
                  <a:lnTo>
                    <a:pt x="2339" y="2337"/>
                  </a:lnTo>
                  <a:lnTo>
                    <a:pt x="2339" y="2337"/>
                  </a:lnTo>
                  <a:close/>
                  <a:moveTo>
                    <a:pt x="2344" y="2341"/>
                  </a:moveTo>
                  <a:lnTo>
                    <a:pt x="2360" y="2358"/>
                  </a:lnTo>
                  <a:lnTo>
                    <a:pt x="2344" y="2358"/>
                  </a:lnTo>
                  <a:lnTo>
                    <a:pt x="2344" y="2341"/>
                  </a:lnTo>
                  <a:lnTo>
                    <a:pt x="2344" y="2341"/>
                  </a:lnTo>
                  <a:lnTo>
                    <a:pt x="2344" y="2341"/>
                  </a:lnTo>
                  <a:close/>
                  <a:moveTo>
                    <a:pt x="5474" y="2358"/>
                  </a:moveTo>
                  <a:lnTo>
                    <a:pt x="5500" y="2346"/>
                  </a:lnTo>
                  <a:lnTo>
                    <a:pt x="5516" y="2346"/>
                  </a:lnTo>
                  <a:lnTo>
                    <a:pt x="5490" y="2363"/>
                  </a:lnTo>
                  <a:lnTo>
                    <a:pt x="5474" y="2358"/>
                  </a:lnTo>
                  <a:lnTo>
                    <a:pt x="5474" y="2358"/>
                  </a:lnTo>
                  <a:lnTo>
                    <a:pt x="5474" y="2358"/>
                  </a:lnTo>
                  <a:close/>
                  <a:moveTo>
                    <a:pt x="5474" y="2363"/>
                  </a:moveTo>
                  <a:lnTo>
                    <a:pt x="5462" y="2358"/>
                  </a:lnTo>
                  <a:lnTo>
                    <a:pt x="5474" y="2363"/>
                  </a:lnTo>
                  <a:lnTo>
                    <a:pt x="5474" y="2363"/>
                  </a:lnTo>
                  <a:lnTo>
                    <a:pt x="5474" y="2363"/>
                  </a:lnTo>
                  <a:close/>
                  <a:moveTo>
                    <a:pt x="5462" y="2363"/>
                  </a:moveTo>
                  <a:lnTo>
                    <a:pt x="5469" y="2374"/>
                  </a:lnTo>
                  <a:lnTo>
                    <a:pt x="5462" y="2363"/>
                  </a:lnTo>
                  <a:lnTo>
                    <a:pt x="5462" y="2363"/>
                  </a:lnTo>
                  <a:lnTo>
                    <a:pt x="5462" y="2363"/>
                  </a:lnTo>
                  <a:close/>
                  <a:moveTo>
                    <a:pt x="2306" y="2363"/>
                  </a:moveTo>
                  <a:lnTo>
                    <a:pt x="2322" y="2374"/>
                  </a:lnTo>
                  <a:lnTo>
                    <a:pt x="2318" y="2379"/>
                  </a:lnTo>
                  <a:lnTo>
                    <a:pt x="2306" y="2363"/>
                  </a:lnTo>
                  <a:lnTo>
                    <a:pt x="2306" y="2363"/>
                  </a:lnTo>
                  <a:lnTo>
                    <a:pt x="2306" y="2363"/>
                  </a:lnTo>
                  <a:close/>
                  <a:moveTo>
                    <a:pt x="5192" y="2429"/>
                  </a:moveTo>
                  <a:lnTo>
                    <a:pt x="5200" y="2436"/>
                  </a:lnTo>
                  <a:lnTo>
                    <a:pt x="5192" y="2436"/>
                  </a:lnTo>
                  <a:lnTo>
                    <a:pt x="5192" y="2429"/>
                  </a:lnTo>
                  <a:lnTo>
                    <a:pt x="5192" y="2429"/>
                  </a:lnTo>
                  <a:lnTo>
                    <a:pt x="5192" y="2429"/>
                  </a:lnTo>
                  <a:close/>
                  <a:moveTo>
                    <a:pt x="5204" y="2448"/>
                  </a:moveTo>
                  <a:lnTo>
                    <a:pt x="5221" y="2452"/>
                  </a:lnTo>
                  <a:lnTo>
                    <a:pt x="5192" y="2436"/>
                  </a:lnTo>
                  <a:lnTo>
                    <a:pt x="5204" y="2448"/>
                  </a:lnTo>
                  <a:lnTo>
                    <a:pt x="5204" y="2448"/>
                  </a:lnTo>
                  <a:lnTo>
                    <a:pt x="5204" y="2448"/>
                  </a:lnTo>
                  <a:close/>
                  <a:moveTo>
                    <a:pt x="4070" y="2457"/>
                  </a:moveTo>
                  <a:lnTo>
                    <a:pt x="4066" y="2469"/>
                  </a:lnTo>
                  <a:lnTo>
                    <a:pt x="4049" y="2452"/>
                  </a:lnTo>
                  <a:lnTo>
                    <a:pt x="4070" y="2457"/>
                  </a:lnTo>
                  <a:lnTo>
                    <a:pt x="4070" y="2457"/>
                  </a:lnTo>
                  <a:lnTo>
                    <a:pt x="4070" y="2457"/>
                  </a:lnTo>
                  <a:close/>
                  <a:moveTo>
                    <a:pt x="5523" y="2457"/>
                  </a:moveTo>
                  <a:lnTo>
                    <a:pt x="5528" y="2457"/>
                  </a:lnTo>
                  <a:lnTo>
                    <a:pt x="5507" y="2457"/>
                  </a:lnTo>
                  <a:lnTo>
                    <a:pt x="5523" y="2457"/>
                  </a:lnTo>
                  <a:lnTo>
                    <a:pt x="5523" y="2457"/>
                  </a:lnTo>
                  <a:lnTo>
                    <a:pt x="5523" y="2457"/>
                  </a:lnTo>
                  <a:close/>
                  <a:moveTo>
                    <a:pt x="4000" y="2485"/>
                  </a:moveTo>
                  <a:lnTo>
                    <a:pt x="4016" y="2502"/>
                  </a:lnTo>
                  <a:lnTo>
                    <a:pt x="4016" y="2514"/>
                  </a:lnTo>
                  <a:lnTo>
                    <a:pt x="4054" y="2523"/>
                  </a:lnTo>
                  <a:lnTo>
                    <a:pt x="4044" y="2530"/>
                  </a:lnTo>
                  <a:lnTo>
                    <a:pt x="4011" y="2530"/>
                  </a:lnTo>
                  <a:lnTo>
                    <a:pt x="4016" y="2514"/>
                  </a:lnTo>
                  <a:lnTo>
                    <a:pt x="3990" y="2514"/>
                  </a:lnTo>
                  <a:lnTo>
                    <a:pt x="3990" y="2502"/>
                  </a:lnTo>
                  <a:lnTo>
                    <a:pt x="3974" y="2485"/>
                  </a:lnTo>
                  <a:lnTo>
                    <a:pt x="3962" y="2474"/>
                  </a:lnTo>
                  <a:lnTo>
                    <a:pt x="4000" y="2485"/>
                  </a:lnTo>
                  <a:lnTo>
                    <a:pt x="4000" y="2485"/>
                  </a:lnTo>
                  <a:lnTo>
                    <a:pt x="4000" y="2485"/>
                  </a:lnTo>
                  <a:close/>
                  <a:moveTo>
                    <a:pt x="3936" y="2490"/>
                  </a:moveTo>
                  <a:lnTo>
                    <a:pt x="3957" y="2523"/>
                  </a:lnTo>
                  <a:lnTo>
                    <a:pt x="3945" y="2540"/>
                  </a:lnTo>
                  <a:lnTo>
                    <a:pt x="3919" y="2514"/>
                  </a:lnTo>
                  <a:lnTo>
                    <a:pt x="3919" y="2490"/>
                  </a:lnTo>
                  <a:lnTo>
                    <a:pt x="3936" y="2490"/>
                  </a:lnTo>
                  <a:lnTo>
                    <a:pt x="3936" y="2490"/>
                  </a:lnTo>
                  <a:lnTo>
                    <a:pt x="3936" y="2490"/>
                  </a:lnTo>
                  <a:close/>
                  <a:moveTo>
                    <a:pt x="5528" y="2502"/>
                  </a:moveTo>
                  <a:lnTo>
                    <a:pt x="5528" y="2507"/>
                  </a:lnTo>
                  <a:lnTo>
                    <a:pt x="5523" y="2490"/>
                  </a:lnTo>
                  <a:lnTo>
                    <a:pt x="5528" y="2502"/>
                  </a:lnTo>
                  <a:lnTo>
                    <a:pt x="5528" y="2502"/>
                  </a:lnTo>
                  <a:lnTo>
                    <a:pt x="5528" y="2502"/>
                  </a:lnTo>
                  <a:close/>
                  <a:moveTo>
                    <a:pt x="4264" y="2745"/>
                  </a:moveTo>
                  <a:lnTo>
                    <a:pt x="4205" y="2785"/>
                  </a:lnTo>
                  <a:lnTo>
                    <a:pt x="4134" y="2762"/>
                  </a:lnTo>
                  <a:lnTo>
                    <a:pt x="4104" y="2762"/>
                  </a:lnTo>
                  <a:lnTo>
                    <a:pt x="4104" y="2752"/>
                  </a:lnTo>
                  <a:lnTo>
                    <a:pt x="4108" y="2745"/>
                  </a:lnTo>
                  <a:lnTo>
                    <a:pt x="4108" y="2729"/>
                  </a:lnTo>
                  <a:lnTo>
                    <a:pt x="4066" y="2729"/>
                  </a:lnTo>
                  <a:lnTo>
                    <a:pt x="4054" y="2724"/>
                  </a:lnTo>
                  <a:lnTo>
                    <a:pt x="4070" y="2707"/>
                  </a:lnTo>
                  <a:lnTo>
                    <a:pt x="4066" y="2696"/>
                  </a:lnTo>
                  <a:lnTo>
                    <a:pt x="4028" y="2712"/>
                  </a:lnTo>
                  <a:lnTo>
                    <a:pt x="4016" y="2724"/>
                  </a:lnTo>
                  <a:lnTo>
                    <a:pt x="4028" y="2729"/>
                  </a:lnTo>
                  <a:lnTo>
                    <a:pt x="4028" y="2745"/>
                  </a:lnTo>
                  <a:lnTo>
                    <a:pt x="3978" y="2769"/>
                  </a:lnTo>
                  <a:lnTo>
                    <a:pt x="3957" y="2802"/>
                  </a:lnTo>
                  <a:lnTo>
                    <a:pt x="3910" y="2823"/>
                  </a:lnTo>
                  <a:lnTo>
                    <a:pt x="3886" y="2818"/>
                  </a:lnTo>
                  <a:lnTo>
                    <a:pt x="3881" y="2790"/>
                  </a:lnTo>
                  <a:lnTo>
                    <a:pt x="3886" y="2762"/>
                  </a:lnTo>
                  <a:lnTo>
                    <a:pt x="3881" y="2752"/>
                  </a:lnTo>
                  <a:lnTo>
                    <a:pt x="3818" y="2762"/>
                  </a:lnTo>
                  <a:lnTo>
                    <a:pt x="3796" y="2778"/>
                  </a:lnTo>
                  <a:lnTo>
                    <a:pt x="3773" y="2762"/>
                  </a:lnTo>
                  <a:lnTo>
                    <a:pt x="3796" y="2729"/>
                  </a:lnTo>
                  <a:lnTo>
                    <a:pt x="3839" y="2712"/>
                  </a:lnTo>
                  <a:lnTo>
                    <a:pt x="3834" y="2674"/>
                  </a:lnTo>
                  <a:lnTo>
                    <a:pt x="3834" y="2651"/>
                  </a:lnTo>
                  <a:lnTo>
                    <a:pt x="3848" y="2625"/>
                  </a:lnTo>
                  <a:lnTo>
                    <a:pt x="3839" y="2613"/>
                  </a:lnTo>
                  <a:lnTo>
                    <a:pt x="3848" y="2596"/>
                  </a:lnTo>
                  <a:lnTo>
                    <a:pt x="3848" y="2563"/>
                  </a:lnTo>
                  <a:lnTo>
                    <a:pt x="3855" y="2514"/>
                  </a:lnTo>
                  <a:lnTo>
                    <a:pt x="3893" y="2502"/>
                  </a:lnTo>
                  <a:lnTo>
                    <a:pt x="3893" y="2514"/>
                  </a:lnTo>
                  <a:lnTo>
                    <a:pt x="3919" y="2514"/>
                  </a:lnTo>
                  <a:lnTo>
                    <a:pt x="3924" y="2530"/>
                  </a:lnTo>
                  <a:lnTo>
                    <a:pt x="3903" y="2540"/>
                  </a:lnTo>
                  <a:lnTo>
                    <a:pt x="3924" y="2556"/>
                  </a:lnTo>
                  <a:lnTo>
                    <a:pt x="3936" y="2580"/>
                  </a:lnTo>
                  <a:lnTo>
                    <a:pt x="3941" y="2580"/>
                  </a:lnTo>
                  <a:lnTo>
                    <a:pt x="3957" y="2547"/>
                  </a:lnTo>
                  <a:lnTo>
                    <a:pt x="3962" y="2556"/>
                  </a:lnTo>
                  <a:lnTo>
                    <a:pt x="3990" y="2563"/>
                  </a:lnTo>
                  <a:lnTo>
                    <a:pt x="3978" y="2568"/>
                  </a:lnTo>
                  <a:lnTo>
                    <a:pt x="3990" y="2580"/>
                  </a:lnTo>
                  <a:lnTo>
                    <a:pt x="4044" y="2585"/>
                  </a:lnTo>
                  <a:lnTo>
                    <a:pt x="4054" y="2613"/>
                  </a:lnTo>
                  <a:lnTo>
                    <a:pt x="4125" y="2641"/>
                  </a:lnTo>
                  <a:lnTo>
                    <a:pt x="4158" y="2667"/>
                  </a:lnTo>
                  <a:lnTo>
                    <a:pt x="4158" y="2691"/>
                  </a:lnTo>
                  <a:lnTo>
                    <a:pt x="4163" y="2707"/>
                  </a:lnTo>
                  <a:lnTo>
                    <a:pt x="4141" y="2724"/>
                  </a:lnTo>
                  <a:lnTo>
                    <a:pt x="4179" y="2712"/>
                  </a:lnTo>
                  <a:lnTo>
                    <a:pt x="4210" y="2724"/>
                  </a:lnTo>
                  <a:lnTo>
                    <a:pt x="4210" y="2712"/>
                  </a:lnTo>
                  <a:lnTo>
                    <a:pt x="4217" y="2707"/>
                  </a:lnTo>
                  <a:lnTo>
                    <a:pt x="4243" y="2724"/>
                  </a:lnTo>
                  <a:lnTo>
                    <a:pt x="4243" y="2729"/>
                  </a:lnTo>
                  <a:lnTo>
                    <a:pt x="4243" y="2736"/>
                  </a:lnTo>
                  <a:lnTo>
                    <a:pt x="4264" y="2745"/>
                  </a:lnTo>
                  <a:lnTo>
                    <a:pt x="4264" y="2745"/>
                  </a:lnTo>
                  <a:lnTo>
                    <a:pt x="4264" y="2745"/>
                  </a:lnTo>
                  <a:close/>
                  <a:moveTo>
                    <a:pt x="4044" y="2507"/>
                  </a:moveTo>
                  <a:lnTo>
                    <a:pt x="4028" y="2507"/>
                  </a:lnTo>
                  <a:lnTo>
                    <a:pt x="4049" y="2507"/>
                  </a:lnTo>
                  <a:lnTo>
                    <a:pt x="4044" y="2507"/>
                  </a:lnTo>
                  <a:lnTo>
                    <a:pt x="4044" y="2507"/>
                  </a:lnTo>
                  <a:lnTo>
                    <a:pt x="4044" y="2507"/>
                  </a:lnTo>
                  <a:close/>
                  <a:moveTo>
                    <a:pt x="5523" y="2523"/>
                  </a:moveTo>
                  <a:lnTo>
                    <a:pt x="5528" y="2530"/>
                  </a:lnTo>
                  <a:lnTo>
                    <a:pt x="5523" y="2530"/>
                  </a:lnTo>
                  <a:lnTo>
                    <a:pt x="5507" y="2523"/>
                  </a:lnTo>
                  <a:lnTo>
                    <a:pt x="5523" y="2523"/>
                  </a:lnTo>
                  <a:lnTo>
                    <a:pt x="5523" y="2523"/>
                  </a:lnTo>
                  <a:lnTo>
                    <a:pt x="5523" y="2523"/>
                  </a:lnTo>
                  <a:close/>
                  <a:moveTo>
                    <a:pt x="5485" y="2530"/>
                  </a:moveTo>
                  <a:lnTo>
                    <a:pt x="5490" y="2540"/>
                  </a:lnTo>
                  <a:lnTo>
                    <a:pt x="5474" y="2540"/>
                  </a:lnTo>
                  <a:lnTo>
                    <a:pt x="5485" y="2530"/>
                  </a:lnTo>
                  <a:lnTo>
                    <a:pt x="5485" y="2530"/>
                  </a:lnTo>
                  <a:lnTo>
                    <a:pt x="5485" y="2530"/>
                  </a:lnTo>
                  <a:close/>
                  <a:moveTo>
                    <a:pt x="5452" y="2568"/>
                  </a:moveTo>
                  <a:lnTo>
                    <a:pt x="5462" y="2568"/>
                  </a:lnTo>
                  <a:lnTo>
                    <a:pt x="5448" y="2568"/>
                  </a:lnTo>
                  <a:lnTo>
                    <a:pt x="5452" y="2568"/>
                  </a:lnTo>
                  <a:lnTo>
                    <a:pt x="5452" y="2568"/>
                  </a:lnTo>
                  <a:lnTo>
                    <a:pt x="5452" y="2568"/>
                  </a:lnTo>
                  <a:close/>
                  <a:moveTo>
                    <a:pt x="5448" y="2613"/>
                  </a:moveTo>
                  <a:lnTo>
                    <a:pt x="5452" y="2618"/>
                  </a:lnTo>
                  <a:lnTo>
                    <a:pt x="5436" y="2613"/>
                  </a:lnTo>
                  <a:lnTo>
                    <a:pt x="5448" y="2613"/>
                  </a:lnTo>
                  <a:lnTo>
                    <a:pt x="5448" y="2613"/>
                  </a:lnTo>
                  <a:lnTo>
                    <a:pt x="5448" y="2613"/>
                  </a:lnTo>
                  <a:close/>
                  <a:moveTo>
                    <a:pt x="5313" y="2641"/>
                  </a:moveTo>
                  <a:lnTo>
                    <a:pt x="5313" y="2651"/>
                  </a:lnTo>
                  <a:lnTo>
                    <a:pt x="5301" y="2667"/>
                  </a:lnTo>
                  <a:lnTo>
                    <a:pt x="5285" y="2667"/>
                  </a:lnTo>
                  <a:lnTo>
                    <a:pt x="5301" y="2641"/>
                  </a:lnTo>
                  <a:lnTo>
                    <a:pt x="5313" y="2641"/>
                  </a:lnTo>
                  <a:lnTo>
                    <a:pt x="5313" y="2641"/>
                  </a:lnTo>
                  <a:lnTo>
                    <a:pt x="5313" y="2641"/>
                  </a:lnTo>
                  <a:close/>
                  <a:moveTo>
                    <a:pt x="4734" y="2658"/>
                  </a:moveTo>
                  <a:lnTo>
                    <a:pt x="4729" y="2679"/>
                  </a:lnTo>
                  <a:lnTo>
                    <a:pt x="4718" y="2679"/>
                  </a:lnTo>
                  <a:lnTo>
                    <a:pt x="4729" y="2667"/>
                  </a:lnTo>
                  <a:lnTo>
                    <a:pt x="4718" y="2658"/>
                  </a:lnTo>
                  <a:lnTo>
                    <a:pt x="4734" y="2658"/>
                  </a:lnTo>
                  <a:lnTo>
                    <a:pt x="4734" y="2658"/>
                  </a:lnTo>
                  <a:lnTo>
                    <a:pt x="4734" y="2658"/>
                  </a:lnTo>
                  <a:close/>
                  <a:moveTo>
                    <a:pt x="4680" y="2658"/>
                  </a:moveTo>
                  <a:lnTo>
                    <a:pt x="4692" y="2667"/>
                  </a:lnTo>
                  <a:lnTo>
                    <a:pt x="4675" y="2658"/>
                  </a:lnTo>
                  <a:lnTo>
                    <a:pt x="4680" y="2658"/>
                  </a:lnTo>
                  <a:lnTo>
                    <a:pt x="4680" y="2658"/>
                  </a:lnTo>
                  <a:lnTo>
                    <a:pt x="4680" y="2658"/>
                  </a:lnTo>
                  <a:close/>
                  <a:moveTo>
                    <a:pt x="4718" y="2667"/>
                  </a:moveTo>
                  <a:lnTo>
                    <a:pt x="4713" y="2674"/>
                  </a:lnTo>
                  <a:lnTo>
                    <a:pt x="4718" y="2667"/>
                  </a:lnTo>
                  <a:lnTo>
                    <a:pt x="4718" y="2667"/>
                  </a:lnTo>
                  <a:lnTo>
                    <a:pt x="4718" y="2667"/>
                  </a:lnTo>
                  <a:close/>
                  <a:moveTo>
                    <a:pt x="4675" y="2667"/>
                  </a:moveTo>
                  <a:lnTo>
                    <a:pt x="4692" y="2674"/>
                  </a:lnTo>
                  <a:lnTo>
                    <a:pt x="4663" y="2667"/>
                  </a:lnTo>
                  <a:lnTo>
                    <a:pt x="4675" y="2667"/>
                  </a:lnTo>
                  <a:lnTo>
                    <a:pt x="4675" y="2667"/>
                  </a:lnTo>
                  <a:lnTo>
                    <a:pt x="4675" y="2667"/>
                  </a:lnTo>
                  <a:close/>
                  <a:moveTo>
                    <a:pt x="5339" y="2674"/>
                  </a:moveTo>
                  <a:lnTo>
                    <a:pt x="5344" y="2679"/>
                  </a:lnTo>
                  <a:lnTo>
                    <a:pt x="5339" y="2691"/>
                  </a:lnTo>
                  <a:lnTo>
                    <a:pt x="5327" y="2674"/>
                  </a:lnTo>
                  <a:lnTo>
                    <a:pt x="5339" y="2674"/>
                  </a:lnTo>
                  <a:lnTo>
                    <a:pt x="5339" y="2674"/>
                  </a:lnTo>
                  <a:lnTo>
                    <a:pt x="5339" y="2674"/>
                  </a:lnTo>
                  <a:close/>
                  <a:moveTo>
                    <a:pt x="4718" y="2674"/>
                  </a:moveTo>
                  <a:lnTo>
                    <a:pt x="4718" y="2691"/>
                  </a:lnTo>
                  <a:lnTo>
                    <a:pt x="4713" y="2679"/>
                  </a:lnTo>
                  <a:lnTo>
                    <a:pt x="4718" y="2674"/>
                  </a:lnTo>
                  <a:lnTo>
                    <a:pt x="4718" y="2674"/>
                  </a:lnTo>
                  <a:lnTo>
                    <a:pt x="4718" y="2674"/>
                  </a:lnTo>
                  <a:close/>
                  <a:moveTo>
                    <a:pt x="4701" y="2679"/>
                  </a:moveTo>
                  <a:lnTo>
                    <a:pt x="4701" y="2691"/>
                  </a:lnTo>
                  <a:lnTo>
                    <a:pt x="4701" y="2679"/>
                  </a:lnTo>
                  <a:lnTo>
                    <a:pt x="4701" y="2679"/>
                  </a:lnTo>
                  <a:lnTo>
                    <a:pt x="4701" y="2679"/>
                  </a:lnTo>
                  <a:close/>
                  <a:moveTo>
                    <a:pt x="5327" y="2679"/>
                  </a:moveTo>
                  <a:lnTo>
                    <a:pt x="5339" y="2691"/>
                  </a:lnTo>
                  <a:lnTo>
                    <a:pt x="5327" y="2696"/>
                  </a:lnTo>
                  <a:lnTo>
                    <a:pt x="5322" y="2679"/>
                  </a:lnTo>
                  <a:lnTo>
                    <a:pt x="5327" y="2679"/>
                  </a:lnTo>
                  <a:lnTo>
                    <a:pt x="5327" y="2679"/>
                  </a:lnTo>
                  <a:lnTo>
                    <a:pt x="5327" y="2679"/>
                  </a:lnTo>
                  <a:close/>
                  <a:moveTo>
                    <a:pt x="4583" y="2679"/>
                  </a:moveTo>
                  <a:lnTo>
                    <a:pt x="4595" y="2679"/>
                  </a:lnTo>
                  <a:lnTo>
                    <a:pt x="4583" y="2691"/>
                  </a:lnTo>
                  <a:lnTo>
                    <a:pt x="4583" y="2679"/>
                  </a:lnTo>
                  <a:lnTo>
                    <a:pt x="4583" y="2679"/>
                  </a:lnTo>
                  <a:lnTo>
                    <a:pt x="4583" y="2679"/>
                  </a:lnTo>
                  <a:close/>
                  <a:moveTo>
                    <a:pt x="5360" y="2691"/>
                  </a:moveTo>
                  <a:lnTo>
                    <a:pt x="5365" y="2696"/>
                  </a:lnTo>
                  <a:lnTo>
                    <a:pt x="5355" y="2691"/>
                  </a:lnTo>
                  <a:lnTo>
                    <a:pt x="5360" y="2691"/>
                  </a:lnTo>
                  <a:lnTo>
                    <a:pt x="5360" y="2691"/>
                  </a:lnTo>
                  <a:lnTo>
                    <a:pt x="5360" y="2691"/>
                  </a:lnTo>
                  <a:close/>
                  <a:moveTo>
                    <a:pt x="5365" y="2707"/>
                  </a:moveTo>
                  <a:lnTo>
                    <a:pt x="5360" y="2707"/>
                  </a:lnTo>
                  <a:lnTo>
                    <a:pt x="5365" y="2707"/>
                  </a:lnTo>
                  <a:lnTo>
                    <a:pt x="5365" y="2707"/>
                  </a:lnTo>
                  <a:lnTo>
                    <a:pt x="5365" y="2707"/>
                  </a:lnTo>
                  <a:close/>
                  <a:moveTo>
                    <a:pt x="5327" y="2707"/>
                  </a:moveTo>
                  <a:lnTo>
                    <a:pt x="5339" y="2712"/>
                  </a:lnTo>
                  <a:lnTo>
                    <a:pt x="5327" y="2707"/>
                  </a:lnTo>
                  <a:lnTo>
                    <a:pt x="5327" y="2707"/>
                  </a:lnTo>
                  <a:lnTo>
                    <a:pt x="5327" y="2707"/>
                  </a:lnTo>
                  <a:close/>
                  <a:moveTo>
                    <a:pt x="4444" y="2724"/>
                  </a:moveTo>
                  <a:lnTo>
                    <a:pt x="4432" y="2729"/>
                  </a:lnTo>
                  <a:lnTo>
                    <a:pt x="4422" y="2724"/>
                  </a:lnTo>
                  <a:lnTo>
                    <a:pt x="4448" y="2724"/>
                  </a:lnTo>
                  <a:lnTo>
                    <a:pt x="4444" y="2724"/>
                  </a:lnTo>
                  <a:lnTo>
                    <a:pt x="4444" y="2724"/>
                  </a:lnTo>
                  <a:lnTo>
                    <a:pt x="4444" y="2724"/>
                  </a:lnTo>
                  <a:close/>
                  <a:moveTo>
                    <a:pt x="5360" y="2736"/>
                  </a:moveTo>
                  <a:lnTo>
                    <a:pt x="5360" y="2745"/>
                  </a:lnTo>
                  <a:lnTo>
                    <a:pt x="5365" y="2745"/>
                  </a:lnTo>
                  <a:lnTo>
                    <a:pt x="5377" y="2752"/>
                  </a:lnTo>
                  <a:lnTo>
                    <a:pt x="5339" y="2745"/>
                  </a:lnTo>
                  <a:lnTo>
                    <a:pt x="5360" y="2736"/>
                  </a:lnTo>
                  <a:lnTo>
                    <a:pt x="5360" y="2736"/>
                  </a:lnTo>
                  <a:lnTo>
                    <a:pt x="5360" y="2736"/>
                  </a:lnTo>
                  <a:close/>
                  <a:moveTo>
                    <a:pt x="5377" y="2736"/>
                  </a:moveTo>
                  <a:lnTo>
                    <a:pt x="5393" y="2736"/>
                  </a:lnTo>
                  <a:lnTo>
                    <a:pt x="5393" y="2745"/>
                  </a:lnTo>
                  <a:lnTo>
                    <a:pt x="5377" y="2736"/>
                  </a:lnTo>
                  <a:lnTo>
                    <a:pt x="5377" y="2736"/>
                  </a:lnTo>
                  <a:lnTo>
                    <a:pt x="5377" y="2736"/>
                  </a:lnTo>
                  <a:close/>
                  <a:moveTo>
                    <a:pt x="5377" y="2745"/>
                  </a:moveTo>
                  <a:lnTo>
                    <a:pt x="5381" y="2752"/>
                  </a:lnTo>
                  <a:lnTo>
                    <a:pt x="5377" y="2752"/>
                  </a:lnTo>
                  <a:lnTo>
                    <a:pt x="5377" y="2745"/>
                  </a:lnTo>
                  <a:lnTo>
                    <a:pt x="5377" y="2745"/>
                  </a:lnTo>
                  <a:lnTo>
                    <a:pt x="5377" y="2745"/>
                  </a:lnTo>
                  <a:close/>
                  <a:moveTo>
                    <a:pt x="4789" y="2752"/>
                  </a:moveTo>
                  <a:lnTo>
                    <a:pt x="4798" y="2752"/>
                  </a:lnTo>
                  <a:lnTo>
                    <a:pt x="4789" y="2752"/>
                  </a:lnTo>
                  <a:lnTo>
                    <a:pt x="4789" y="2752"/>
                  </a:lnTo>
                  <a:lnTo>
                    <a:pt x="4789" y="2752"/>
                  </a:lnTo>
                  <a:close/>
                  <a:moveTo>
                    <a:pt x="4512" y="2785"/>
                  </a:moveTo>
                  <a:lnTo>
                    <a:pt x="4519" y="2785"/>
                  </a:lnTo>
                  <a:lnTo>
                    <a:pt x="4512" y="2790"/>
                  </a:lnTo>
                  <a:lnTo>
                    <a:pt x="4486" y="2790"/>
                  </a:lnTo>
                  <a:lnTo>
                    <a:pt x="4460" y="2762"/>
                  </a:lnTo>
                  <a:lnTo>
                    <a:pt x="4481" y="2762"/>
                  </a:lnTo>
                  <a:lnTo>
                    <a:pt x="4512" y="2769"/>
                  </a:lnTo>
                  <a:lnTo>
                    <a:pt x="4512" y="2785"/>
                  </a:lnTo>
                  <a:lnTo>
                    <a:pt x="4512" y="2785"/>
                  </a:lnTo>
                  <a:lnTo>
                    <a:pt x="4512" y="2785"/>
                  </a:lnTo>
                  <a:close/>
                  <a:moveTo>
                    <a:pt x="5377" y="2762"/>
                  </a:moveTo>
                  <a:lnTo>
                    <a:pt x="5381" y="2785"/>
                  </a:lnTo>
                  <a:lnTo>
                    <a:pt x="5398" y="2807"/>
                  </a:lnTo>
                  <a:lnTo>
                    <a:pt x="5365" y="2785"/>
                  </a:lnTo>
                  <a:lnTo>
                    <a:pt x="5365" y="2769"/>
                  </a:lnTo>
                  <a:lnTo>
                    <a:pt x="5377" y="2762"/>
                  </a:lnTo>
                  <a:lnTo>
                    <a:pt x="5377" y="2762"/>
                  </a:lnTo>
                  <a:lnTo>
                    <a:pt x="5377" y="2762"/>
                  </a:lnTo>
                  <a:close/>
                  <a:moveTo>
                    <a:pt x="5393" y="2762"/>
                  </a:moveTo>
                  <a:lnTo>
                    <a:pt x="5393" y="2785"/>
                  </a:lnTo>
                  <a:lnTo>
                    <a:pt x="5381" y="2769"/>
                  </a:lnTo>
                  <a:lnTo>
                    <a:pt x="5393" y="2762"/>
                  </a:lnTo>
                  <a:lnTo>
                    <a:pt x="5393" y="2762"/>
                  </a:lnTo>
                  <a:lnTo>
                    <a:pt x="5393" y="2762"/>
                  </a:lnTo>
                  <a:close/>
                  <a:moveTo>
                    <a:pt x="3470" y="2769"/>
                  </a:moveTo>
                  <a:lnTo>
                    <a:pt x="3487" y="2769"/>
                  </a:lnTo>
                  <a:lnTo>
                    <a:pt x="3470" y="2769"/>
                  </a:lnTo>
                  <a:lnTo>
                    <a:pt x="3470" y="2769"/>
                  </a:lnTo>
                  <a:lnTo>
                    <a:pt x="3470" y="2769"/>
                  </a:lnTo>
                  <a:close/>
                  <a:moveTo>
                    <a:pt x="4822" y="2769"/>
                  </a:moveTo>
                  <a:lnTo>
                    <a:pt x="4826" y="2778"/>
                  </a:lnTo>
                  <a:lnTo>
                    <a:pt x="4822" y="2778"/>
                  </a:lnTo>
                  <a:lnTo>
                    <a:pt x="4822" y="2769"/>
                  </a:lnTo>
                  <a:lnTo>
                    <a:pt x="4822" y="2769"/>
                  </a:lnTo>
                  <a:lnTo>
                    <a:pt x="4822" y="2769"/>
                  </a:lnTo>
                  <a:close/>
                  <a:moveTo>
                    <a:pt x="5339" y="2778"/>
                  </a:moveTo>
                  <a:lnTo>
                    <a:pt x="5339" y="2790"/>
                  </a:lnTo>
                  <a:lnTo>
                    <a:pt x="5327" y="2778"/>
                  </a:lnTo>
                  <a:lnTo>
                    <a:pt x="5339" y="2778"/>
                  </a:lnTo>
                  <a:lnTo>
                    <a:pt x="5339" y="2778"/>
                  </a:lnTo>
                  <a:lnTo>
                    <a:pt x="5339" y="2778"/>
                  </a:lnTo>
                  <a:close/>
                  <a:moveTo>
                    <a:pt x="4406" y="2778"/>
                  </a:moveTo>
                  <a:lnTo>
                    <a:pt x="4444" y="2785"/>
                  </a:lnTo>
                  <a:lnTo>
                    <a:pt x="4448" y="2807"/>
                  </a:lnTo>
                  <a:lnTo>
                    <a:pt x="4422" y="2823"/>
                  </a:lnTo>
                  <a:lnTo>
                    <a:pt x="4378" y="2785"/>
                  </a:lnTo>
                  <a:lnTo>
                    <a:pt x="4406" y="2778"/>
                  </a:lnTo>
                  <a:lnTo>
                    <a:pt x="4406" y="2778"/>
                  </a:lnTo>
                  <a:lnTo>
                    <a:pt x="4406" y="2778"/>
                  </a:lnTo>
                  <a:close/>
                  <a:moveTo>
                    <a:pt x="5129" y="2807"/>
                  </a:moveTo>
                  <a:lnTo>
                    <a:pt x="5138" y="2818"/>
                  </a:lnTo>
                  <a:lnTo>
                    <a:pt x="5129" y="2807"/>
                  </a:lnTo>
                  <a:lnTo>
                    <a:pt x="5129" y="2807"/>
                  </a:lnTo>
                  <a:lnTo>
                    <a:pt x="5129" y="2807"/>
                  </a:lnTo>
                  <a:close/>
                  <a:moveTo>
                    <a:pt x="5192" y="2823"/>
                  </a:moveTo>
                  <a:lnTo>
                    <a:pt x="5200" y="2840"/>
                  </a:lnTo>
                  <a:lnTo>
                    <a:pt x="5183" y="2823"/>
                  </a:lnTo>
                  <a:lnTo>
                    <a:pt x="5192" y="2823"/>
                  </a:lnTo>
                  <a:lnTo>
                    <a:pt x="5192" y="2823"/>
                  </a:lnTo>
                  <a:lnTo>
                    <a:pt x="5192" y="2823"/>
                  </a:lnTo>
                  <a:close/>
                  <a:moveTo>
                    <a:pt x="4125" y="2840"/>
                  </a:moveTo>
                  <a:lnTo>
                    <a:pt x="4151" y="2847"/>
                  </a:lnTo>
                  <a:lnTo>
                    <a:pt x="4141" y="2873"/>
                  </a:lnTo>
                  <a:lnTo>
                    <a:pt x="4066" y="2929"/>
                  </a:lnTo>
                  <a:lnTo>
                    <a:pt x="4044" y="2918"/>
                  </a:lnTo>
                  <a:lnTo>
                    <a:pt x="4016" y="2934"/>
                  </a:lnTo>
                  <a:lnTo>
                    <a:pt x="4016" y="2913"/>
                  </a:lnTo>
                  <a:lnTo>
                    <a:pt x="4000" y="2901"/>
                  </a:lnTo>
                  <a:lnTo>
                    <a:pt x="4044" y="2847"/>
                  </a:lnTo>
                  <a:lnTo>
                    <a:pt x="4066" y="2856"/>
                  </a:lnTo>
                  <a:lnTo>
                    <a:pt x="4125" y="2840"/>
                  </a:lnTo>
                  <a:lnTo>
                    <a:pt x="4125" y="2840"/>
                  </a:lnTo>
                  <a:lnTo>
                    <a:pt x="4125" y="2840"/>
                  </a:lnTo>
                  <a:close/>
                  <a:moveTo>
                    <a:pt x="5221" y="2847"/>
                  </a:moveTo>
                  <a:lnTo>
                    <a:pt x="5237" y="2856"/>
                  </a:lnTo>
                  <a:lnTo>
                    <a:pt x="5221" y="2847"/>
                  </a:lnTo>
                  <a:lnTo>
                    <a:pt x="5221" y="2847"/>
                  </a:lnTo>
                  <a:lnTo>
                    <a:pt x="5221" y="2847"/>
                  </a:lnTo>
                  <a:close/>
                  <a:moveTo>
                    <a:pt x="4935" y="2863"/>
                  </a:moveTo>
                  <a:lnTo>
                    <a:pt x="4966" y="2880"/>
                  </a:lnTo>
                  <a:lnTo>
                    <a:pt x="4928" y="2889"/>
                  </a:lnTo>
                  <a:lnTo>
                    <a:pt x="4918" y="2863"/>
                  </a:lnTo>
                  <a:lnTo>
                    <a:pt x="4897" y="2856"/>
                  </a:lnTo>
                  <a:lnTo>
                    <a:pt x="4890" y="2847"/>
                  </a:lnTo>
                  <a:lnTo>
                    <a:pt x="4935" y="2863"/>
                  </a:lnTo>
                  <a:lnTo>
                    <a:pt x="4935" y="2863"/>
                  </a:lnTo>
                  <a:lnTo>
                    <a:pt x="4935" y="2863"/>
                  </a:lnTo>
                  <a:close/>
                  <a:moveTo>
                    <a:pt x="4663" y="2863"/>
                  </a:moveTo>
                  <a:lnTo>
                    <a:pt x="4701" y="2880"/>
                  </a:lnTo>
                  <a:lnTo>
                    <a:pt x="4649" y="2863"/>
                  </a:lnTo>
                  <a:lnTo>
                    <a:pt x="4663" y="2863"/>
                  </a:lnTo>
                  <a:lnTo>
                    <a:pt x="4663" y="2863"/>
                  </a:lnTo>
                  <a:lnTo>
                    <a:pt x="4663" y="2863"/>
                  </a:lnTo>
                  <a:close/>
                  <a:moveTo>
                    <a:pt x="4432" y="2880"/>
                  </a:moveTo>
                  <a:lnTo>
                    <a:pt x="4444" y="2880"/>
                  </a:lnTo>
                  <a:lnTo>
                    <a:pt x="4432" y="2889"/>
                  </a:lnTo>
                  <a:lnTo>
                    <a:pt x="4432" y="2880"/>
                  </a:lnTo>
                  <a:lnTo>
                    <a:pt x="4432" y="2880"/>
                  </a:lnTo>
                  <a:lnTo>
                    <a:pt x="4432" y="2880"/>
                  </a:lnTo>
                  <a:close/>
                  <a:moveTo>
                    <a:pt x="4422" y="2880"/>
                  </a:moveTo>
                  <a:lnTo>
                    <a:pt x="4427" y="2889"/>
                  </a:lnTo>
                  <a:lnTo>
                    <a:pt x="4411" y="2889"/>
                  </a:lnTo>
                  <a:lnTo>
                    <a:pt x="4422" y="2880"/>
                  </a:lnTo>
                  <a:lnTo>
                    <a:pt x="4422" y="2880"/>
                  </a:lnTo>
                  <a:lnTo>
                    <a:pt x="4422" y="2880"/>
                  </a:lnTo>
                  <a:close/>
                  <a:moveTo>
                    <a:pt x="5377" y="2889"/>
                  </a:moveTo>
                  <a:lnTo>
                    <a:pt x="5360" y="2901"/>
                  </a:lnTo>
                  <a:lnTo>
                    <a:pt x="5327" y="2896"/>
                  </a:lnTo>
                  <a:lnTo>
                    <a:pt x="5344" y="2889"/>
                  </a:lnTo>
                  <a:lnTo>
                    <a:pt x="5377" y="2889"/>
                  </a:lnTo>
                  <a:lnTo>
                    <a:pt x="5377" y="2889"/>
                  </a:lnTo>
                  <a:lnTo>
                    <a:pt x="5377" y="2889"/>
                  </a:lnTo>
                  <a:close/>
                  <a:moveTo>
                    <a:pt x="4314" y="2967"/>
                  </a:moveTo>
                  <a:lnTo>
                    <a:pt x="4302" y="2991"/>
                  </a:lnTo>
                  <a:lnTo>
                    <a:pt x="4285" y="3000"/>
                  </a:lnTo>
                  <a:lnTo>
                    <a:pt x="4259" y="2967"/>
                  </a:lnTo>
                  <a:lnTo>
                    <a:pt x="4259" y="2934"/>
                  </a:lnTo>
                  <a:lnTo>
                    <a:pt x="4281" y="2901"/>
                  </a:lnTo>
                  <a:lnTo>
                    <a:pt x="4318" y="2901"/>
                  </a:lnTo>
                  <a:lnTo>
                    <a:pt x="4323" y="2918"/>
                  </a:lnTo>
                  <a:lnTo>
                    <a:pt x="4323" y="2929"/>
                  </a:lnTo>
                  <a:lnTo>
                    <a:pt x="4314" y="2967"/>
                  </a:lnTo>
                  <a:lnTo>
                    <a:pt x="4314" y="2967"/>
                  </a:lnTo>
                  <a:lnTo>
                    <a:pt x="4314" y="2967"/>
                  </a:lnTo>
                  <a:close/>
                  <a:moveTo>
                    <a:pt x="5268" y="2934"/>
                  </a:moveTo>
                  <a:lnTo>
                    <a:pt x="5259" y="2934"/>
                  </a:lnTo>
                  <a:lnTo>
                    <a:pt x="5268" y="2929"/>
                  </a:lnTo>
                  <a:lnTo>
                    <a:pt x="5268" y="2934"/>
                  </a:lnTo>
                  <a:lnTo>
                    <a:pt x="5268" y="2934"/>
                  </a:lnTo>
                  <a:lnTo>
                    <a:pt x="5268" y="2934"/>
                  </a:lnTo>
                  <a:close/>
                  <a:moveTo>
                    <a:pt x="5322" y="2955"/>
                  </a:moveTo>
                  <a:lnTo>
                    <a:pt x="5344" y="2974"/>
                  </a:lnTo>
                  <a:lnTo>
                    <a:pt x="5339" y="2974"/>
                  </a:lnTo>
                  <a:lnTo>
                    <a:pt x="5313" y="2955"/>
                  </a:lnTo>
                  <a:lnTo>
                    <a:pt x="5313" y="2951"/>
                  </a:lnTo>
                  <a:lnTo>
                    <a:pt x="5322" y="2955"/>
                  </a:lnTo>
                  <a:lnTo>
                    <a:pt x="5322" y="2955"/>
                  </a:lnTo>
                  <a:lnTo>
                    <a:pt x="5322" y="2955"/>
                  </a:lnTo>
                  <a:close/>
                  <a:moveTo>
                    <a:pt x="3364" y="2967"/>
                  </a:moveTo>
                  <a:lnTo>
                    <a:pt x="3352" y="2955"/>
                  </a:lnTo>
                  <a:lnTo>
                    <a:pt x="3369" y="2955"/>
                  </a:lnTo>
                  <a:lnTo>
                    <a:pt x="3364" y="2967"/>
                  </a:lnTo>
                  <a:lnTo>
                    <a:pt x="3364" y="2967"/>
                  </a:lnTo>
                  <a:lnTo>
                    <a:pt x="3364" y="2967"/>
                  </a:lnTo>
                  <a:close/>
                  <a:moveTo>
                    <a:pt x="5285" y="2967"/>
                  </a:moveTo>
                  <a:lnTo>
                    <a:pt x="5285" y="2974"/>
                  </a:lnTo>
                  <a:lnTo>
                    <a:pt x="5259" y="2974"/>
                  </a:lnTo>
                  <a:lnTo>
                    <a:pt x="5285" y="2967"/>
                  </a:lnTo>
                  <a:lnTo>
                    <a:pt x="5285" y="2967"/>
                  </a:lnTo>
                  <a:lnTo>
                    <a:pt x="5285" y="2967"/>
                  </a:lnTo>
                  <a:close/>
                  <a:moveTo>
                    <a:pt x="5355" y="2991"/>
                  </a:moveTo>
                  <a:lnTo>
                    <a:pt x="5355" y="3000"/>
                  </a:lnTo>
                  <a:lnTo>
                    <a:pt x="5355" y="3007"/>
                  </a:lnTo>
                  <a:lnTo>
                    <a:pt x="5339" y="3024"/>
                  </a:lnTo>
                  <a:lnTo>
                    <a:pt x="5301" y="2991"/>
                  </a:lnTo>
                  <a:lnTo>
                    <a:pt x="5327" y="2984"/>
                  </a:lnTo>
                  <a:lnTo>
                    <a:pt x="5355" y="2991"/>
                  </a:lnTo>
                  <a:lnTo>
                    <a:pt x="5355" y="2991"/>
                  </a:lnTo>
                  <a:lnTo>
                    <a:pt x="5355" y="2991"/>
                  </a:lnTo>
                  <a:close/>
                  <a:moveTo>
                    <a:pt x="4982" y="3057"/>
                  </a:moveTo>
                  <a:lnTo>
                    <a:pt x="4982" y="3062"/>
                  </a:lnTo>
                  <a:lnTo>
                    <a:pt x="4973" y="3057"/>
                  </a:lnTo>
                  <a:lnTo>
                    <a:pt x="4982" y="3057"/>
                  </a:lnTo>
                  <a:lnTo>
                    <a:pt x="4982" y="3057"/>
                  </a:lnTo>
                  <a:lnTo>
                    <a:pt x="4982" y="3057"/>
                  </a:lnTo>
                  <a:close/>
                  <a:moveTo>
                    <a:pt x="5124" y="3111"/>
                  </a:moveTo>
                  <a:lnTo>
                    <a:pt x="5138" y="3118"/>
                  </a:lnTo>
                  <a:lnTo>
                    <a:pt x="5129" y="3123"/>
                  </a:lnTo>
                  <a:lnTo>
                    <a:pt x="5091" y="3140"/>
                  </a:lnTo>
                  <a:lnTo>
                    <a:pt x="5112" y="3100"/>
                  </a:lnTo>
                  <a:lnTo>
                    <a:pt x="5124" y="3111"/>
                  </a:lnTo>
                  <a:lnTo>
                    <a:pt x="5124" y="3111"/>
                  </a:lnTo>
                  <a:lnTo>
                    <a:pt x="5124" y="3111"/>
                  </a:lnTo>
                  <a:close/>
                  <a:moveTo>
                    <a:pt x="5365" y="3123"/>
                  </a:moveTo>
                  <a:lnTo>
                    <a:pt x="5365" y="3135"/>
                  </a:lnTo>
                  <a:lnTo>
                    <a:pt x="5339" y="3118"/>
                  </a:lnTo>
                  <a:lnTo>
                    <a:pt x="5355" y="3118"/>
                  </a:lnTo>
                  <a:lnTo>
                    <a:pt x="5365" y="3123"/>
                  </a:lnTo>
                  <a:lnTo>
                    <a:pt x="5365" y="3123"/>
                  </a:lnTo>
                  <a:lnTo>
                    <a:pt x="5365" y="3123"/>
                  </a:lnTo>
                  <a:close/>
                  <a:moveTo>
                    <a:pt x="4281" y="3177"/>
                  </a:moveTo>
                  <a:lnTo>
                    <a:pt x="4281" y="3189"/>
                  </a:lnTo>
                  <a:lnTo>
                    <a:pt x="4264" y="3194"/>
                  </a:lnTo>
                  <a:lnTo>
                    <a:pt x="4281" y="3177"/>
                  </a:lnTo>
                  <a:lnTo>
                    <a:pt x="4281" y="3177"/>
                  </a:lnTo>
                  <a:lnTo>
                    <a:pt x="4281" y="3177"/>
                  </a:lnTo>
                  <a:close/>
                  <a:moveTo>
                    <a:pt x="5398" y="3177"/>
                  </a:moveTo>
                  <a:lnTo>
                    <a:pt x="5398" y="3194"/>
                  </a:lnTo>
                  <a:lnTo>
                    <a:pt x="5381" y="3194"/>
                  </a:lnTo>
                  <a:lnTo>
                    <a:pt x="5398" y="3177"/>
                  </a:lnTo>
                  <a:lnTo>
                    <a:pt x="5398" y="3177"/>
                  </a:lnTo>
                  <a:lnTo>
                    <a:pt x="5398" y="3177"/>
                  </a:lnTo>
                  <a:close/>
                  <a:moveTo>
                    <a:pt x="4264" y="3206"/>
                  </a:moveTo>
                  <a:lnTo>
                    <a:pt x="4259" y="3206"/>
                  </a:lnTo>
                  <a:lnTo>
                    <a:pt x="4264" y="3194"/>
                  </a:lnTo>
                  <a:lnTo>
                    <a:pt x="4264" y="3206"/>
                  </a:lnTo>
                  <a:lnTo>
                    <a:pt x="4264" y="3206"/>
                  </a:lnTo>
                  <a:lnTo>
                    <a:pt x="4264" y="3206"/>
                  </a:lnTo>
                  <a:close/>
                  <a:moveTo>
                    <a:pt x="5037" y="3263"/>
                  </a:moveTo>
                  <a:lnTo>
                    <a:pt x="5037" y="3279"/>
                  </a:lnTo>
                  <a:lnTo>
                    <a:pt x="5025" y="3279"/>
                  </a:lnTo>
                  <a:lnTo>
                    <a:pt x="5020" y="3263"/>
                  </a:lnTo>
                  <a:lnTo>
                    <a:pt x="5037" y="3263"/>
                  </a:lnTo>
                  <a:lnTo>
                    <a:pt x="5037" y="3263"/>
                  </a:lnTo>
                  <a:lnTo>
                    <a:pt x="5037" y="3263"/>
                  </a:lnTo>
                  <a:close/>
                  <a:moveTo>
                    <a:pt x="4373" y="3305"/>
                  </a:moveTo>
                  <a:lnTo>
                    <a:pt x="4389" y="3322"/>
                  </a:lnTo>
                  <a:lnTo>
                    <a:pt x="4373" y="3317"/>
                  </a:lnTo>
                  <a:lnTo>
                    <a:pt x="4373" y="3305"/>
                  </a:lnTo>
                  <a:lnTo>
                    <a:pt x="4373" y="3305"/>
                  </a:lnTo>
                  <a:lnTo>
                    <a:pt x="4373" y="3305"/>
                  </a:lnTo>
                  <a:close/>
                  <a:moveTo>
                    <a:pt x="5150" y="3338"/>
                  </a:moveTo>
                  <a:lnTo>
                    <a:pt x="5150" y="3350"/>
                  </a:lnTo>
                  <a:lnTo>
                    <a:pt x="5145" y="3350"/>
                  </a:lnTo>
                  <a:lnTo>
                    <a:pt x="5150" y="3338"/>
                  </a:lnTo>
                  <a:lnTo>
                    <a:pt x="5150" y="3338"/>
                  </a:lnTo>
                  <a:lnTo>
                    <a:pt x="5150" y="3338"/>
                  </a:lnTo>
                  <a:close/>
                  <a:moveTo>
                    <a:pt x="5544" y="3395"/>
                  </a:moveTo>
                  <a:lnTo>
                    <a:pt x="5544" y="3407"/>
                  </a:lnTo>
                  <a:lnTo>
                    <a:pt x="5528" y="3395"/>
                  </a:lnTo>
                  <a:lnTo>
                    <a:pt x="5537" y="3390"/>
                  </a:lnTo>
                  <a:lnTo>
                    <a:pt x="5544" y="3395"/>
                  </a:lnTo>
                  <a:lnTo>
                    <a:pt x="5544" y="3395"/>
                  </a:lnTo>
                  <a:lnTo>
                    <a:pt x="5544" y="3395"/>
                  </a:lnTo>
                  <a:close/>
                  <a:moveTo>
                    <a:pt x="5570" y="3407"/>
                  </a:moveTo>
                  <a:lnTo>
                    <a:pt x="5561" y="3411"/>
                  </a:lnTo>
                  <a:lnTo>
                    <a:pt x="5544" y="3407"/>
                  </a:lnTo>
                  <a:lnTo>
                    <a:pt x="5554" y="3395"/>
                  </a:lnTo>
                  <a:lnTo>
                    <a:pt x="5570" y="3407"/>
                  </a:lnTo>
                  <a:lnTo>
                    <a:pt x="5570" y="3407"/>
                  </a:lnTo>
                  <a:lnTo>
                    <a:pt x="5570" y="3407"/>
                  </a:lnTo>
                  <a:close/>
                  <a:moveTo>
                    <a:pt x="4297" y="3416"/>
                  </a:moveTo>
                  <a:lnTo>
                    <a:pt x="4285" y="3444"/>
                  </a:lnTo>
                  <a:lnTo>
                    <a:pt x="4285" y="3428"/>
                  </a:lnTo>
                  <a:lnTo>
                    <a:pt x="4297" y="3416"/>
                  </a:lnTo>
                  <a:lnTo>
                    <a:pt x="4297" y="3416"/>
                  </a:lnTo>
                  <a:lnTo>
                    <a:pt x="4297" y="3416"/>
                  </a:lnTo>
                  <a:close/>
                  <a:moveTo>
                    <a:pt x="5544" y="3433"/>
                  </a:moveTo>
                  <a:lnTo>
                    <a:pt x="5537" y="3428"/>
                  </a:lnTo>
                  <a:lnTo>
                    <a:pt x="5544" y="3416"/>
                  </a:lnTo>
                  <a:lnTo>
                    <a:pt x="5554" y="3428"/>
                  </a:lnTo>
                  <a:lnTo>
                    <a:pt x="5544" y="3433"/>
                  </a:lnTo>
                  <a:lnTo>
                    <a:pt x="5544" y="3433"/>
                  </a:lnTo>
                  <a:lnTo>
                    <a:pt x="5544" y="3433"/>
                  </a:lnTo>
                  <a:close/>
                  <a:moveTo>
                    <a:pt x="5570" y="3428"/>
                  </a:moveTo>
                  <a:lnTo>
                    <a:pt x="5570" y="3444"/>
                  </a:lnTo>
                  <a:lnTo>
                    <a:pt x="5544" y="3433"/>
                  </a:lnTo>
                  <a:lnTo>
                    <a:pt x="5570" y="3428"/>
                  </a:lnTo>
                  <a:lnTo>
                    <a:pt x="5570" y="3428"/>
                  </a:lnTo>
                  <a:lnTo>
                    <a:pt x="5570" y="3428"/>
                  </a:lnTo>
                  <a:close/>
                  <a:moveTo>
                    <a:pt x="4503" y="3444"/>
                  </a:moveTo>
                  <a:lnTo>
                    <a:pt x="4512" y="3449"/>
                  </a:lnTo>
                  <a:lnTo>
                    <a:pt x="4503" y="3444"/>
                  </a:lnTo>
                  <a:lnTo>
                    <a:pt x="4503" y="3444"/>
                  </a:lnTo>
                  <a:lnTo>
                    <a:pt x="4503" y="3444"/>
                  </a:lnTo>
                  <a:close/>
                  <a:moveTo>
                    <a:pt x="5561" y="3444"/>
                  </a:moveTo>
                  <a:lnTo>
                    <a:pt x="5570" y="3449"/>
                  </a:lnTo>
                  <a:lnTo>
                    <a:pt x="5554" y="3449"/>
                  </a:lnTo>
                  <a:lnTo>
                    <a:pt x="5561" y="3444"/>
                  </a:lnTo>
                  <a:lnTo>
                    <a:pt x="5561" y="3444"/>
                  </a:lnTo>
                  <a:lnTo>
                    <a:pt x="5561" y="3444"/>
                  </a:lnTo>
                  <a:close/>
                  <a:moveTo>
                    <a:pt x="5582" y="3489"/>
                  </a:moveTo>
                  <a:lnTo>
                    <a:pt x="5570" y="3506"/>
                  </a:lnTo>
                  <a:lnTo>
                    <a:pt x="5582" y="3506"/>
                  </a:lnTo>
                  <a:lnTo>
                    <a:pt x="5582" y="3522"/>
                  </a:lnTo>
                  <a:lnTo>
                    <a:pt x="5570" y="3506"/>
                  </a:lnTo>
                  <a:lnTo>
                    <a:pt x="5575" y="3489"/>
                  </a:lnTo>
                  <a:lnTo>
                    <a:pt x="5582" y="3489"/>
                  </a:lnTo>
                  <a:lnTo>
                    <a:pt x="5582" y="3489"/>
                  </a:lnTo>
                  <a:lnTo>
                    <a:pt x="5582" y="3489"/>
                  </a:lnTo>
                  <a:close/>
                  <a:moveTo>
                    <a:pt x="4297" y="3489"/>
                  </a:moveTo>
                  <a:lnTo>
                    <a:pt x="4297" y="3506"/>
                  </a:lnTo>
                  <a:lnTo>
                    <a:pt x="4285" y="3499"/>
                  </a:lnTo>
                  <a:lnTo>
                    <a:pt x="4297" y="3489"/>
                  </a:lnTo>
                  <a:lnTo>
                    <a:pt x="4297" y="3489"/>
                  </a:lnTo>
                  <a:lnTo>
                    <a:pt x="4297" y="3489"/>
                  </a:lnTo>
                  <a:close/>
                  <a:moveTo>
                    <a:pt x="4285" y="3499"/>
                  </a:moveTo>
                  <a:lnTo>
                    <a:pt x="4285" y="3506"/>
                  </a:lnTo>
                  <a:lnTo>
                    <a:pt x="4281" y="3506"/>
                  </a:lnTo>
                  <a:lnTo>
                    <a:pt x="4285" y="3499"/>
                  </a:lnTo>
                  <a:lnTo>
                    <a:pt x="4285" y="3499"/>
                  </a:lnTo>
                  <a:lnTo>
                    <a:pt x="4285" y="3499"/>
                  </a:lnTo>
                  <a:close/>
                  <a:moveTo>
                    <a:pt x="4314" y="3506"/>
                  </a:moveTo>
                  <a:lnTo>
                    <a:pt x="4314" y="3518"/>
                  </a:lnTo>
                  <a:lnTo>
                    <a:pt x="4314" y="3522"/>
                  </a:lnTo>
                  <a:lnTo>
                    <a:pt x="4314" y="3506"/>
                  </a:lnTo>
                  <a:lnTo>
                    <a:pt x="4314" y="3506"/>
                  </a:lnTo>
                  <a:lnTo>
                    <a:pt x="4314" y="3506"/>
                  </a:lnTo>
                  <a:close/>
                  <a:moveTo>
                    <a:pt x="5599" y="3522"/>
                  </a:moveTo>
                  <a:lnTo>
                    <a:pt x="5599" y="3518"/>
                  </a:lnTo>
                  <a:lnTo>
                    <a:pt x="5608" y="3518"/>
                  </a:lnTo>
                  <a:lnTo>
                    <a:pt x="5599" y="3522"/>
                  </a:lnTo>
                  <a:lnTo>
                    <a:pt x="5599" y="3522"/>
                  </a:lnTo>
                  <a:lnTo>
                    <a:pt x="5599" y="3522"/>
                  </a:lnTo>
                  <a:close/>
                  <a:moveTo>
                    <a:pt x="4335" y="3518"/>
                  </a:moveTo>
                  <a:lnTo>
                    <a:pt x="4340" y="3522"/>
                  </a:lnTo>
                  <a:lnTo>
                    <a:pt x="4323" y="3522"/>
                  </a:lnTo>
                  <a:lnTo>
                    <a:pt x="4335" y="3518"/>
                  </a:lnTo>
                  <a:lnTo>
                    <a:pt x="4335" y="3518"/>
                  </a:lnTo>
                  <a:lnTo>
                    <a:pt x="4335" y="3518"/>
                  </a:lnTo>
                  <a:close/>
                  <a:moveTo>
                    <a:pt x="4297" y="3610"/>
                  </a:moveTo>
                  <a:lnTo>
                    <a:pt x="4314" y="3572"/>
                  </a:lnTo>
                  <a:lnTo>
                    <a:pt x="4285" y="3600"/>
                  </a:lnTo>
                  <a:lnTo>
                    <a:pt x="4281" y="3593"/>
                  </a:lnTo>
                  <a:lnTo>
                    <a:pt x="4281" y="3584"/>
                  </a:lnTo>
                  <a:lnTo>
                    <a:pt x="4302" y="3560"/>
                  </a:lnTo>
                  <a:lnTo>
                    <a:pt x="4318" y="3527"/>
                  </a:lnTo>
                  <a:lnTo>
                    <a:pt x="4318" y="3539"/>
                  </a:lnTo>
                  <a:lnTo>
                    <a:pt x="4314" y="3572"/>
                  </a:lnTo>
                  <a:lnTo>
                    <a:pt x="4318" y="3560"/>
                  </a:lnTo>
                  <a:lnTo>
                    <a:pt x="4323" y="3527"/>
                  </a:lnTo>
                  <a:lnTo>
                    <a:pt x="4352" y="3539"/>
                  </a:lnTo>
                  <a:lnTo>
                    <a:pt x="4335" y="3593"/>
                  </a:lnTo>
                  <a:lnTo>
                    <a:pt x="4352" y="3544"/>
                  </a:lnTo>
                  <a:lnTo>
                    <a:pt x="4323" y="3600"/>
                  </a:lnTo>
                  <a:lnTo>
                    <a:pt x="4335" y="3560"/>
                  </a:lnTo>
                  <a:lnTo>
                    <a:pt x="4318" y="3600"/>
                  </a:lnTo>
                  <a:lnTo>
                    <a:pt x="4297" y="3610"/>
                  </a:lnTo>
                  <a:lnTo>
                    <a:pt x="4297" y="3610"/>
                  </a:lnTo>
                  <a:lnTo>
                    <a:pt x="4297" y="3610"/>
                  </a:lnTo>
                  <a:close/>
                  <a:moveTo>
                    <a:pt x="5570" y="3527"/>
                  </a:moveTo>
                  <a:lnTo>
                    <a:pt x="5599" y="3539"/>
                  </a:lnTo>
                  <a:lnTo>
                    <a:pt x="5570" y="3539"/>
                  </a:lnTo>
                  <a:lnTo>
                    <a:pt x="5582" y="3539"/>
                  </a:lnTo>
                  <a:lnTo>
                    <a:pt x="5570" y="3527"/>
                  </a:lnTo>
                  <a:lnTo>
                    <a:pt x="5570" y="3527"/>
                  </a:lnTo>
                  <a:lnTo>
                    <a:pt x="5570" y="3527"/>
                  </a:lnTo>
                  <a:close/>
                  <a:moveTo>
                    <a:pt x="4271" y="3572"/>
                  </a:moveTo>
                  <a:lnTo>
                    <a:pt x="4271" y="3555"/>
                  </a:lnTo>
                  <a:lnTo>
                    <a:pt x="4297" y="3544"/>
                  </a:lnTo>
                  <a:lnTo>
                    <a:pt x="4314" y="3527"/>
                  </a:lnTo>
                  <a:lnTo>
                    <a:pt x="4302" y="3555"/>
                  </a:lnTo>
                  <a:lnTo>
                    <a:pt x="4271" y="3572"/>
                  </a:lnTo>
                  <a:lnTo>
                    <a:pt x="4271" y="3572"/>
                  </a:lnTo>
                  <a:lnTo>
                    <a:pt x="4271" y="3572"/>
                  </a:lnTo>
                  <a:close/>
                  <a:moveTo>
                    <a:pt x="4352" y="3572"/>
                  </a:moveTo>
                  <a:lnTo>
                    <a:pt x="4356" y="3544"/>
                  </a:lnTo>
                  <a:lnTo>
                    <a:pt x="4373" y="3539"/>
                  </a:lnTo>
                  <a:lnTo>
                    <a:pt x="4373" y="3572"/>
                  </a:lnTo>
                  <a:lnTo>
                    <a:pt x="4352" y="3572"/>
                  </a:lnTo>
                  <a:lnTo>
                    <a:pt x="4352" y="3572"/>
                  </a:lnTo>
                  <a:lnTo>
                    <a:pt x="4352" y="3572"/>
                  </a:lnTo>
                  <a:close/>
                  <a:moveTo>
                    <a:pt x="5570" y="3544"/>
                  </a:moveTo>
                  <a:lnTo>
                    <a:pt x="5582" y="3555"/>
                  </a:lnTo>
                  <a:lnTo>
                    <a:pt x="5554" y="3544"/>
                  </a:lnTo>
                  <a:lnTo>
                    <a:pt x="5570" y="3544"/>
                  </a:lnTo>
                  <a:lnTo>
                    <a:pt x="5570" y="3544"/>
                  </a:lnTo>
                  <a:lnTo>
                    <a:pt x="5570" y="3544"/>
                  </a:lnTo>
                  <a:close/>
                  <a:moveTo>
                    <a:pt x="5608" y="3572"/>
                  </a:moveTo>
                  <a:lnTo>
                    <a:pt x="5613" y="3584"/>
                  </a:lnTo>
                  <a:lnTo>
                    <a:pt x="5592" y="3577"/>
                  </a:lnTo>
                  <a:lnTo>
                    <a:pt x="5608" y="3572"/>
                  </a:lnTo>
                  <a:lnTo>
                    <a:pt x="5608" y="3572"/>
                  </a:lnTo>
                  <a:lnTo>
                    <a:pt x="5608" y="3572"/>
                  </a:lnTo>
                  <a:close/>
                  <a:moveTo>
                    <a:pt x="4352" y="3577"/>
                  </a:moveTo>
                  <a:lnTo>
                    <a:pt x="4352" y="3584"/>
                  </a:lnTo>
                  <a:lnTo>
                    <a:pt x="4340" y="3610"/>
                  </a:lnTo>
                  <a:lnTo>
                    <a:pt x="4352" y="3577"/>
                  </a:lnTo>
                  <a:lnTo>
                    <a:pt x="4352" y="3577"/>
                  </a:lnTo>
                  <a:lnTo>
                    <a:pt x="4352" y="3577"/>
                  </a:lnTo>
                  <a:close/>
                  <a:moveTo>
                    <a:pt x="5629" y="3593"/>
                  </a:moveTo>
                  <a:lnTo>
                    <a:pt x="5613" y="3600"/>
                  </a:lnTo>
                  <a:lnTo>
                    <a:pt x="5625" y="3593"/>
                  </a:lnTo>
                  <a:lnTo>
                    <a:pt x="5629" y="3593"/>
                  </a:lnTo>
                  <a:lnTo>
                    <a:pt x="5629" y="3593"/>
                  </a:lnTo>
                  <a:lnTo>
                    <a:pt x="5629" y="3593"/>
                  </a:lnTo>
                  <a:close/>
                  <a:moveTo>
                    <a:pt x="5613" y="3593"/>
                  </a:moveTo>
                  <a:lnTo>
                    <a:pt x="5608" y="3600"/>
                  </a:lnTo>
                  <a:lnTo>
                    <a:pt x="5608" y="3593"/>
                  </a:lnTo>
                  <a:lnTo>
                    <a:pt x="5613" y="3593"/>
                  </a:lnTo>
                  <a:lnTo>
                    <a:pt x="5613" y="3593"/>
                  </a:lnTo>
                  <a:lnTo>
                    <a:pt x="5613" y="3593"/>
                  </a:lnTo>
                  <a:close/>
                  <a:moveTo>
                    <a:pt x="763" y="3683"/>
                  </a:moveTo>
                  <a:lnTo>
                    <a:pt x="756" y="3704"/>
                  </a:lnTo>
                  <a:lnTo>
                    <a:pt x="747" y="3711"/>
                  </a:lnTo>
                  <a:lnTo>
                    <a:pt x="740" y="3704"/>
                  </a:lnTo>
                  <a:lnTo>
                    <a:pt x="763" y="3683"/>
                  </a:lnTo>
                  <a:lnTo>
                    <a:pt x="763" y="3683"/>
                  </a:lnTo>
                  <a:lnTo>
                    <a:pt x="763" y="3683"/>
                  </a:lnTo>
                  <a:close/>
                  <a:moveTo>
                    <a:pt x="5826" y="3695"/>
                  </a:moveTo>
                  <a:lnTo>
                    <a:pt x="5826" y="3704"/>
                  </a:lnTo>
                  <a:lnTo>
                    <a:pt x="5830" y="3704"/>
                  </a:lnTo>
                  <a:lnTo>
                    <a:pt x="5814" y="3711"/>
                  </a:lnTo>
                  <a:lnTo>
                    <a:pt x="5809" y="3704"/>
                  </a:lnTo>
                  <a:lnTo>
                    <a:pt x="5826" y="3695"/>
                  </a:lnTo>
                  <a:lnTo>
                    <a:pt x="5826" y="3695"/>
                  </a:lnTo>
                  <a:lnTo>
                    <a:pt x="5826" y="3695"/>
                  </a:lnTo>
                  <a:close/>
                  <a:moveTo>
                    <a:pt x="740" y="3704"/>
                  </a:moveTo>
                  <a:lnTo>
                    <a:pt x="740" y="3711"/>
                  </a:lnTo>
                  <a:lnTo>
                    <a:pt x="735" y="3711"/>
                  </a:lnTo>
                  <a:lnTo>
                    <a:pt x="740" y="3704"/>
                  </a:lnTo>
                  <a:lnTo>
                    <a:pt x="740" y="3704"/>
                  </a:lnTo>
                  <a:lnTo>
                    <a:pt x="740" y="3704"/>
                  </a:lnTo>
                  <a:close/>
                  <a:moveTo>
                    <a:pt x="719" y="3728"/>
                  </a:moveTo>
                  <a:lnTo>
                    <a:pt x="702" y="3744"/>
                  </a:lnTo>
                  <a:lnTo>
                    <a:pt x="709" y="3721"/>
                  </a:lnTo>
                  <a:lnTo>
                    <a:pt x="719" y="3728"/>
                  </a:lnTo>
                  <a:lnTo>
                    <a:pt x="719" y="3728"/>
                  </a:lnTo>
                  <a:lnTo>
                    <a:pt x="719" y="3728"/>
                  </a:lnTo>
                  <a:close/>
                  <a:moveTo>
                    <a:pt x="5868" y="3728"/>
                  </a:moveTo>
                  <a:lnTo>
                    <a:pt x="5878" y="3737"/>
                  </a:lnTo>
                  <a:lnTo>
                    <a:pt x="5868" y="3737"/>
                  </a:lnTo>
                  <a:lnTo>
                    <a:pt x="5868" y="3728"/>
                  </a:lnTo>
                  <a:lnTo>
                    <a:pt x="5868" y="3728"/>
                  </a:lnTo>
                  <a:lnTo>
                    <a:pt x="5868" y="3728"/>
                  </a:lnTo>
                  <a:close/>
                  <a:moveTo>
                    <a:pt x="719" y="3766"/>
                  </a:moveTo>
                  <a:lnTo>
                    <a:pt x="726" y="3777"/>
                  </a:lnTo>
                  <a:lnTo>
                    <a:pt x="719" y="3766"/>
                  </a:lnTo>
                  <a:lnTo>
                    <a:pt x="719" y="3766"/>
                  </a:lnTo>
                  <a:lnTo>
                    <a:pt x="719" y="3766"/>
                  </a:lnTo>
                  <a:close/>
                  <a:moveTo>
                    <a:pt x="756" y="3766"/>
                  </a:moveTo>
                  <a:lnTo>
                    <a:pt x="763" y="3766"/>
                  </a:lnTo>
                  <a:lnTo>
                    <a:pt x="756" y="3777"/>
                  </a:lnTo>
                  <a:lnTo>
                    <a:pt x="756" y="3766"/>
                  </a:lnTo>
                  <a:lnTo>
                    <a:pt x="756" y="3766"/>
                  </a:lnTo>
                  <a:lnTo>
                    <a:pt x="756" y="3766"/>
                  </a:lnTo>
                  <a:close/>
                  <a:moveTo>
                    <a:pt x="563" y="3815"/>
                  </a:moveTo>
                  <a:lnTo>
                    <a:pt x="558" y="3799"/>
                  </a:lnTo>
                  <a:lnTo>
                    <a:pt x="558" y="3782"/>
                  </a:lnTo>
                  <a:lnTo>
                    <a:pt x="558" y="3766"/>
                  </a:lnTo>
                  <a:lnTo>
                    <a:pt x="596" y="3777"/>
                  </a:lnTo>
                  <a:lnTo>
                    <a:pt x="584" y="3794"/>
                  </a:lnTo>
                  <a:lnTo>
                    <a:pt x="600" y="3777"/>
                  </a:lnTo>
                  <a:lnTo>
                    <a:pt x="617" y="3777"/>
                  </a:lnTo>
                  <a:lnTo>
                    <a:pt x="626" y="3799"/>
                  </a:lnTo>
                  <a:lnTo>
                    <a:pt x="584" y="3815"/>
                  </a:lnTo>
                  <a:lnTo>
                    <a:pt x="600" y="3822"/>
                  </a:lnTo>
                  <a:lnTo>
                    <a:pt x="626" y="3815"/>
                  </a:lnTo>
                  <a:lnTo>
                    <a:pt x="626" y="3782"/>
                  </a:lnTo>
                  <a:lnTo>
                    <a:pt x="655" y="3766"/>
                  </a:lnTo>
                  <a:lnTo>
                    <a:pt x="638" y="3822"/>
                  </a:lnTo>
                  <a:lnTo>
                    <a:pt x="638" y="3848"/>
                  </a:lnTo>
                  <a:lnTo>
                    <a:pt x="633" y="3860"/>
                  </a:lnTo>
                  <a:lnTo>
                    <a:pt x="612" y="3860"/>
                  </a:lnTo>
                  <a:lnTo>
                    <a:pt x="626" y="3872"/>
                  </a:lnTo>
                  <a:lnTo>
                    <a:pt x="600" y="3872"/>
                  </a:lnTo>
                  <a:lnTo>
                    <a:pt x="584" y="3855"/>
                  </a:lnTo>
                  <a:lnTo>
                    <a:pt x="596" y="3855"/>
                  </a:lnTo>
                  <a:lnTo>
                    <a:pt x="579" y="3855"/>
                  </a:lnTo>
                  <a:lnTo>
                    <a:pt x="584" y="3848"/>
                  </a:lnTo>
                  <a:lnTo>
                    <a:pt x="600" y="3855"/>
                  </a:lnTo>
                  <a:lnTo>
                    <a:pt x="574" y="3839"/>
                  </a:lnTo>
                  <a:lnTo>
                    <a:pt x="563" y="3822"/>
                  </a:lnTo>
                  <a:lnTo>
                    <a:pt x="574" y="3822"/>
                  </a:lnTo>
                  <a:lnTo>
                    <a:pt x="563" y="3815"/>
                  </a:lnTo>
                  <a:lnTo>
                    <a:pt x="563" y="3815"/>
                  </a:lnTo>
                  <a:lnTo>
                    <a:pt x="563" y="3815"/>
                  </a:lnTo>
                  <a:close/>
                  <a:moveTo>
                    <a:pt x="747" y="3777"/>
                  </a:moveTo>
                  <a:lnTo>
                    <a:pt x="756" y="3794"/>
                  </a:lnTo>
                  <a:lnTo>
                    <a:pt x="747" y="3799"/>
                  </a:lnTo>
                  <a:lnTo>
                    <a:pt x="740" y="3799"/>
                  </a:lnTo>
                  <a:lnTo>
                    <a:pt x="747" y="3782"/>
                  </a:lnTo>
                  <a:lnTo>
                    <a:pt x="735" y="3794"/>
                  </a:lnTo>
                  <a:lnTo>
                    <a:pt x="726" y="3794"/>
                  </a:lnTo>
                  <a:lnTo>
                    <a:pt x="735" y="3799"/>
                  </a:lnTo>
                  <a:lnTo>
                    <a:pt x="726" y="3799"/>
                  </a:lnTo>
                  <a:lnTo>
                    <a:pt x="726" y="3782"/>
                  </a:lnTo>
                  <a:lnTo>
                    <a:pt x="747" y="3777"/>
                  </a:lnTo>
                  <a:lnTo>
                    <a:pt x="747" y="3777"/>
                  </a:lnTo>
                  <a:lnTo>
                    <a:pt x="747" y="3777"/>
                  </a:lnTo>
                  <a:close/>
                  <a:moveTo>
                    <a:pt x="801" y="3860"/>
                  </a:moveTo>
                  <a:lnTo>
                    <a:pt x="789" y="3848"/>
                  </a:lnTo>
                  <a:lnTo>
                    <a:pt x="778" y="3832"/>
                  </a:lnTo>
                  <a:lnTo>
                    <a:pt x="773" y="3822"/>
                  </a:lnTo>
                  <a:lnTo>
                    <a:pt x="778" y="3822"/>
                  </a:lnTo>
                  <a:lnTo>
                    <a:pt x="763" y="3815"/>
                  </a:lnTo>
                  <a:lnTo>
                    <a:pt x="756" y="3799"/>
                  </a:lnTo>
                  <a:lnTo>
                    <a:pt x="773" y="3806"/>
                  </a:lnTo>
                  <a:lnTo>
                    <a:pt x="811" y="3848"/>
                  </a:lnTo>
                  <a:lnTo>
                    <a:pt x="811" y="3860"/>
                  </a:lnTo>
                  <a:lnTo>
                    <a:pt x="801" y="3860"/>
                  </a:lnTo>
                  <a:lnTo>
                    <a:pt x="801" y="3860"/>
                  </a:lnTo>
                  <a:lnTo>
                    <a:pt x="801" y="3860"/>
                  </a:lnTo>
                  <a:close/>
                  <a:moveTo>
                    <a:pt x="756" y="3806"/>
                  </a:moveTo>
                  <a:lnTo>
                    <a:pt x="763" y="3832"/>
                  </a:lnTo>
                  <a:lnTo>
                    <a:pt x="747" y="3815"/>
                  </a:lnTo>
                  <a:lnTo>
                    <a:pt x="756" y="3806"/>
                  </a:lnTo>
                  <a:lnTo>
                    <a:pt x="756" y="3806"/>
                  </a:lnTo>
                  <a:lnTo>
                    <a:pt x="756" y="3806"/>
                  </a:lnTo>
                  <a:close/>
                  <a:moveTo>
                    <a:pt x="853" y="3815"/>
                  </a:moveTo>
                  <a:lnTo>
                    <a:pt x="832" y="3848"/>
                  </a:lnTo>
                  <a:lnTo>
                    <a:pt x="832" y="3822"/>
                  </a:lnTo>
                  <a:lnTo>
                    <a:pt x="853" y="3815"/>
                  </a:lnTo>
                  <a:lnTo>
                    <a:pt x="853" y="3815"/>
                  </a:lnTo>
                  <a:lnTo>
                    <a:pt x="853" y="3815"/>
                  </a:lnTo>
                  <a:close/>
                  <a:moveTo>
                    <a:pt x="747" y="3822"/>
                  </a:moveTo>
                  <a:lnTo>
                    <a:pt x="778" y="3839"/>
                  </a:lnTo>
                  <a:lnTo>
                    <a:pt x="794" y="3860"/>
                  </a:lnTo>
                  <a:lnTo>
                    <a:pt x="778" y="3872"/>
                  </a:lnTo>
                  <a:lnTo>
                    <a:pt x="735" y="3832"/>
                  </a:lnTo>
                  <a:lnTo>
                    <a:pt x="740" y="3822"/>
                  </a:lnTo>
                  <a:lnTo>
                    <a:pt x="747" y="3822"/>
                  </a:lnTo>
                  <a:lnTo>
                    <a:pt x="747" y="3822"/>
                  </a:lnTo>
                  <a:lnTo>
                    <a:pt x="747" y="3822"/>
                  </a:lnTo>
                  <a:close/>
                  <a:moveTo>
                    <a:pt x="844" y="3832"/>
                  </a:moveTo>
                  <a:lnTo>
                    <a:pt x="848" y="3855"/>
                  </a:lnTo>
                  <a:lnTo>
                    <a:pt x="832" y="3855"/>
                  </a:lnTo>
                  <a:lnTo>
                    <a:pt x="844" y="3832"/>
                  </a:lnTo>
                  <a:lnTo>
                    <a:pt x="844" y="3832"/>
                  </a:lnTo>
                  <a:lnTo>
                    <a:pt x="844" y="3832"/>
                  </a:lnTo>
                  <a:close/>
                  <a:moveTo>
                    <a:pt x="5970" y="3839"/>
                  </a:moveTo>
                  <a:lnTo>
                    <a:pt x="5977" y="3839"/>
                  </a:lnTo>
                  <a:lnTo>
                    <a:pt x="5977" y="3848"/>
                  </a:lnTo>
                  <a:lnTo>
                    <a:pt x="5960" y="3839"/>
                  </a:lnTo>
                  <a:lnTo>
                    <a:pt x="5970" y="3839"/>
                  </a:lnTo>
                  <a:lnTo>
                    <a:pt x="5970" y="3839"/>
                  </a:lnTo>
                  <a:lnTo>
                    <a:pt x="5970" y="3839"/>
                  </a:lnTo>
                  <a:close/>
                  <a:moveTo>
                    <a:pt x="815" y="3848"/>
                  </a:moveTo>
                  <a:lnTo>
                    <a:pt x="815" y="3855"/>
                  </a:lnTo>
                  <a:lnTo>
                    <a:pt x="811" y="3848"/>
                  </a:lnTo>
                  <a:lnTo>
                    <a:pt x="815" y="3848"/>
                  </a:lnTo>
                  <a:lnTo>
                    <a:pt x="815" y="3848"/>
                  </a:lnTo>
                  <a:lnTo>
                    <a:pt x="815" y="3848"/>
                  </a:lnTo>
                  <a:close/>
                  <a:moveTo>
                    <a:pt x="4281" y="3848"/>
                  </a:moveTo>
                  <a:lnTo>
                    <a:pt x="4281" y="3855"/>
                  </a:lnTo>
                  <a:lnTo>
                    <a:pt x="4271" y="3855"/>
                  </a:lnTo>
                  <a:lnTo>
                    <a:pt x="4281" y="3848"/>
                  </a:lnTo>
                  <a:lnTo>
                    <a:pt x="4281" y="3848"/>
                  </a:lnTo>
                  <a:lnTo>
                    <a:pt x="4281" y="3848"/>
                  </a:lnTo>
                  <a:close/>
                  <a:moveTo>
                    <a:pt x="827" y="3855"/>
                  </a:moveTo>
                  <a:lnTo>
                    <a:pt x="832" y="3872"/>
                  </a:lnTo>
                  <a:lnTo>
                    <a:pt x="815" y="3872"/>
                  </a:lnTo>
                  <a:lnTo>
                    <a:pt x="827" y="3855"/>
                  </a:lnTo>
                  <a:lnTo>
                    <a:pt x="827" y="3855"/>
                  </a:lnTo>
                  <a:lnTo>
                    <a:pt x="827" y="3855"/>
                  </a:lnTo>
                  <a:close/>
                  <a:moveTo>
                    <a:pt x="832" y="3905"/>
                  </a:moveTo>
                  <a:lnTo>
                    <a:pt x="853" y="3877"/>
                  </a:lnTo>
                  <a:lnTo>
                    <a:pt x="844" y="3872"/>
                  </a:lnTo>
                  <a:lnTo>
                    <a:pt x="853" y="3877"/>
                  </a:lnTo>
                  <a:lnTo>
                    <a:pt x="832" y="3893"/>
                  </a:lnTo>
                  <a:lnTo>
                    <a:pt x="844" y="3855"/>
                  </a:lnTo>
                  <a:lnTo>
                    <a:pt x="870" y="3872"/>
                  </a:lnTo>
                  <a:lnTo>
                    <a:pt x="870" y="3877"/>
                  </a:lnTo>
                  <a:lnTo>
                    <a:pt x="870" y="3917"/>
                  </a:lnTo>
                  <a:lnTo>
                    <a:pt x="865" y="3926"/>
                  </a:lnTo>
                  <a:lnTo>
                    <a:pt x="865" y="3888"/>
                  </a:lnTo>
                  <a:lnTo>
                    <a:pt x="853" y="3917"/>
                  </a:lnTo>
                  <a:lnTo>
                    <a:pt x="844" y="3910"/>
                  </a:lnTo>
                  <a:lnTo>
                    <a:pt x="832" y="3905"/>
                  </a:lnTo>
                  <a:lnTo>
                    <a:pt x="832" y="3905"/>
                  </a:lnTo>
                  <a:lnTo>
                    <a:pt x="832" y="3905"/>
                  </a:lnTo>
                  <a:close/>
                  <a:moveTo>
                    <a:pt x="617" y="3893"/>
                  </a:moveTo>
                  <a:lnTo>
                    <a:pt x="626" y="3888"/>
                  </a:lnTo>
                  <a:lnTo>
                    <a:pt x="600" y="3877"/>
                  </a:lnTo>
                  <a:lnTo>
                    <a:pt x="596" y="3872"/>
                  </a:lnTo>
                  <a:lnTo>
                    <a:pt x="626" y="3872"/>
                  </a:lnTo>
                  <a:lnTo>
                    <a:pt x="650" y="3860"/>
                  </a:lnTo>
                  <a:lnTo>
                    <a:pt x="664" y="3877"/>
                  </a:lnTo>
                  <a:lnTo>
                    <a:pt x="633" y="3877"/>
                  </a:lnTo>
                  <a:lnTo>
                    <a:pt x="655" y="3888"/>
                  </a:lnTo>
                  <a:lnTo>
                    <a:pt x="655" y="3893"/>
                  </a:lnTo>
                  <a:lnTo>
                    <a:pt x="633" y="3893"/>
                  </a:lnTo>
                  <a:lnTo>
                    <a:pt x="638" y="3893"/>
                  </a:lnTo>
                  <a:lnTo>
                    <a:pt x="671" y="3943"/>
                  </a:lnTo>
                  <a:lnTo>
                    <a:pt x="688" y="3943"/>
                  </a:lnTo>
                  <a:lnTo>
                    <a:pt x="681" y="3950"/>
                  </a:lnTo>
                  <a:lnTo>
                    <a:pt x="693" y="3950"/>
                  </a:lnTo>
                  <a:lnTo>
                    <a:pt x="702" y="3966"/>
                  </a:lnTo>
                  <a:lnTo>
                    <a:pt x="688" y="3966"/>
                  </a:lnTo>
                  <a:lnTo>
                    <a:pt x="664" y="3950"/>
                  </a:lnTo>
                  <a:lnTo>
                    <a:pt x="664" y="3943"/>
                  </a:lnTo>
                  <a:lnTo>
                    <a:pt x="626" y="3910"/>
                  </a:lnTo>
                  <a:lnTo>
                    <a:pt x="638" y="3910"/>
                  </a:lnTo>
                  <a:lnTo>
                    <a:pt x="633" y="3905"/>
                  </a:lnTo>
                  <a:lnTo>
                    <a:pt x="626" y="3910"/>
                  </a:lnTo>
                  <a:lnTo>
                    <a:pt x="612" y="3888"/>
                  </a:lnTo>
                  <a:lnTo>
                    <a:pt x="617" y="3893"/>
                  </a:lnTo>
                  <a:lnTo>
                    <a:pt x="617" y="3893"/>
                  </a:lnTo>
                  <a:lnTo>
                    <a:pt x="617" y="3893"/>
                  </a:lnTo>
                  <a:close/>
                  <a:moveTo>
                    <a:pt x="4205" y="3860"/>
                  </a:moveTo>
                  <a:lnTo>
                    <a:pt x="4226" y="3893"/>
                  </a:lnTo>
                  <a:lnTo>
                    <a:pt x="4226" y="3910"/>
                  </a:lnTo>
                  <a:lnTo>
                    <a:pt x="4134" y="3877"/>
                  </a:lnTo>
                  <a:lnTo>
                    <a:pt x="4151" y="3860"/>
                  </a:lnTo>
                  <a:lnTo>
                    <a:pt x="4205" y="3860"/>
                  </a:lnTo>
                  <a:lnTo>
                    <a:pt x="4205" y="3860"/>
                  </a:lnTo>
                  <a:lnTo>
                    <a:pt x="4205" y="3860"/>
                  </a:lnTo>
                  <a:close/>
                  <a:moveTo>
                    <a:pt x="811" y="3860"/>
                  </a:moveTo>
                  <a:lnTo>
                    <a:pt x="827" y="3888"/>
                  </a:lnTo>
                  <a:lnTo>
                    <a:pt x="801" y="3872"/>
                  </a:lnTo>
                  <a:lnTo>
                    <a:pt x="811" y="3860"/>
                  </a:lnTo>
                  <a:lnTo>
                    <a:pt x="811" y="3860"/>
                  </a:lnTo>
                  <a:lnTo>
                    <a:pt x="811" y="3860"/>
                  </a:lnTo>
                  <a:close/>
                  <a:moveTo>
                    <a:pt x="4285" y="3872"/>
                  </a:moveTo>
                  <a:lnTo>
                    <a:pt x="4297" y="3872"/>
                  </a:lnTo>
                  <a:lnTo>
                    <a:pt x="4281" y="3877"/>
                  </a:lnTo>
                  <a:lnTo>
                    <a:pt x="4285" y="3872"/>
                  </a:lnTo>
                  <a:lnTo>
                    <a:pt x="4285" y="3872"/>
                  </a:lnTo>
                  <a:lnTo>
                    <a:pt x="4285" y="3872"/>
                  </a:lnTo>
                  <a:close/>
                  <a:moveTo>
                    <a:pt x="794" y="3872"/>
                  </a:moveTo>
                  <a:lnTo>
                    <a:pt x="801" y="3877"/>
                  </a:lnTo>
                  <a:lnTo>
                    <a:pt x="794" y="3872"/>
                  </a:lnTo>
                  <a:lnTo>
                    <a:pt x="794" y="3872"/>
                  </a:lnTo>
                  <a:lnTo>
                    <a:pt x="794" y="3872"/>
                  </a:lnTo>
                  <a:close/>
                  <a:moveTo>
                    <a:pt x="5977" y="3877"/>
                  </a:moveTo>
                  <a:lnTo>
                    <a:pt x="5970" y="3877"/>
                  </a:lnTo>
                  <a:lnTo>
                    <a:pt x="5977" y="3877"/>
                  </a:lnTo>
                  <a:lnTo>
                    <a:pt x="5977" y="3877"/>
                  </a:lnTo>
                  <a:lnTo>
                    <a:pt x="5977" y="3877"/>
                  </a:lnTo>
                  <a:close/>
                  <a:moveTo>
                    <a:pt x="801" y="3877"/>
                  </a:moveTo>
                  <a:lnTo>
                    <a:pt x="811" y="3877"/>
                  </a:lnTo>
                  <a:lnTo>
                    <a:pt x="794" y="3877"/>
                  </a:lnTo>
                  <a:lnTo>
                    <a:pt x="801" y="3877"/>
                  </a:lnTo>
                  <a:lnTo>
                    <a:pt x="801" y="3877"/>
                  </a:lnTo>
                  <a:lnTo>
                    <a:pt x="801" y="3877"/>
                  </a:lnTo>
                  <a:close/>
                  <a:moveTo>
                    <a:pt x="801" y="3888"/>
                  </a:moveTo>
                  <a:lnTo>
                    <a:pt x="794" y="3877"/>
                  </a:lnTo>
                  <a:lnTo>
                    <a:pt x="801" y="3888"/>
                  </a:lnTo>
                  <a:lnTo>
                    <a:pt x="801" y="3888"/>
                  </a:lnTo>
                  <a:lnTo>
                    <a:pt x="801" y="3888"/>
                  </a:lnTo>
                  <a:close/>
                  <a:moveTo>
                    <a:pt x="903" y="3905"/>
                  </a:moveTo>
                  <a:lnTo>
                    <a:pt x="898" y="3926"/>
                  </a:lnTo>
                  <a:lnTo>
                    <a:pt x="886" y="3905"/>
                  </a:lnTo>
                  <a:lnTo>
                    <a:pt x="903" y="3905"/>
                  </a:lnTo>
                  <a:lnTo>
                    <a:pt x="903" y="3905"/>
                  </a:lnTo>
                  <a:lnTo>
                    <a:pt x="903" y="3905"/>
                  </a:lnTo>
                  <a:close/>
                  <a:moveTo>
                    <a:pt x="827" y="3905"/>
                  </a:moveTo>
                  <a:lnTo>
                    <a:pt x="848" y="3917"/>
                  </a:lnTo>
                  <a:lnTo>
                    <a:pt x="848" y="3933"/>
                  </a:lnTo>
                  <a:lnTo>
                    <a:pt x="827" y="3910"/>
                  </a:lnTo>
                  <a:lnTo>
                    <a:pt x="827" y="3905"/>
                  </a:lnTo>
                  <a:lnTo>
                    <a:pt x="827" y="3905"/>
                  </a:lnTo>
                  <a:lnTo>
                    <a:pt x="827" y="3905"/>
                  </a:lnTo>
                  <a:close/>
                  <a:moveTo>
                    <a:pt x="886" y="3905"/>
                  </a:moveTo>
                  <a:lnTo>
                    <a:pt x="898" y="3933"/>
                  </a:lnTo>
                  <a:lnTo>
                    <a:pt x="882" y="3943"/>
                  </a:lnTo>
                  <a:lnTo>
                    <a:pt x="882" y="3910"/>
                  </a:lnTo>
                  <a:lnTo>
                    <a:pt x="886" y="3905"/>
                  </a:lnTo>
                  <a:lnTo>
                    <a:pt x="886" y="3905"/>
                  </a:lnTo>
                  <a:lnTo>
                    <a:pt x="886" y="3905"/>
                  </a:lnTo>
                  <a:close/>
                  <a:moveTo>
                    <a:pt x="671" y="3910"/>
                  </a:moveTo>
                  <a:lnTo>
                    <a:pt x="671" y="3917"/>
                  </a:lnTo>
                  <a:lnTo>
                    <a:pt x="664" y="3926"/>
                  </a:lnTo>
                  <a:lnTo>
                    <a:pt x="655" y="3910"/>
                  </a:lnTo>
                  <a:lnTo>
                    <a:pt x="671" y="3910"/>
                  </a:lnTo>
                  <a:lnTo>
                    <a:pt x="671" y="3910"/>
                  </a:lnTo>
                  <a:lnTo>
                    <a:pt x="671" y="3910"/>
                  </a:lnTo>
                  <a:close/>
                  <a:moveTo>
                    <a:pt x="870" y="3917"/>
                  </a:moveTo>
                  <a:lnTo>
                    <a:pt x="882" y="3943"/>
                  </a:lnTo>
                  <a:lnTo>
                    <a:pt x="853" y="3926"/>
                  </a:lnTo>
                  <a:lnTo>
                    <a:pt x="870" y="3917"/>
                  </a:lnTo>
                  <a:lnTo>
                    <a:pt x="870" y="3917"/>
                  </a:lnTo>
                  <a:lnTo>
                    <a:pt x="870" y="3917"/>
                  </a:lnTo>
                  <a:close/>
                  <a:moveTo>
                    <a:pt x="870" y="3933"/>
                  </a:moveTo>
                  <a:lnTo>
                    <a:pt x="865" y="3959"/>
                  </a:lnTo>
                  <a:lnTo>
                    <a:pt x="853" y="3933"/>
                  </a:lnTo>
                  <a:lnTo>
                    <a:pt x="870" y="3933"/>
                  </a:lnTo>
                  <a:lnTo>
                    <a:pt x="870" y="3933"/>
                  </a:lnTo>
                  <a:lnTo>
                    <a:pt x="870" y="3933"/>
                  </a:lnTo>
                  <a:close/>
                  <a:moveTo>
                    <a:pt x="941" y="3966"/>
                  </a:moveTo>
                  <a:lnTo>
                    <a:pt x="936" y="3983"/>
                  </a:lnTo>
                  <a:lnTo>
                    <a:pt x="919" y="3983"/>
                  </a:lnTo>
                  <a:lnTo>
                    <a:pt x="924" y="3959"/>
                  </a:lnTo>
                  <a:lnTo>
                    <a:pt x="962" y="3943"/>
                  </a:lnTo>
                  <a:lnTo>
                    <a:pt x="962" y="3950"/>
                  </a:lnTo>
                  <a:lnTo>
                    <a:pt x="941" y="3966"/>
                  </a:lnTo>
                  <a:lnTo>
                    <a:pt x="941" y="3966"/>
                  </a:lnTo>
                  <a:lnTo>
                    <a:pt x="941" y="3966"/>
                  </a:lnTo>
                  <a:close/>
                  <a:moveTo>
                    <a:pt x="903" y="3943"/>
                  </a:moveTo>
                  <a:lnTo>
                    <a:pt x="908" y="3950"/>
                  </a:lnTo>
                  <a:lnTo>
                    <a:pt x="898" y="3950"/>
                  </a:lnTo>
                  <a:lnTo>
                    <a:pt x="903" y="3943"/>
                  </a:lnTo>
                  <a:lnTo>
                    <a:pt x="903" y="3943"/>
                  </a:lnTo>
                  <a:lnTo>
                    <a:pt x="903" y="3943"/>
                  </a:lnTo>
                  <a:close/>
                  <a:moveTo>
                    <a:pt x="919" y="3950"/>
                  </a:moveTo>
                  <a:lnTo>
                    <a:pt x="919" y="3966"/>
                  </a:lnTo>
                  <a:lnTo>
                    <a:pt x="903" y="3959"/>
                  </a:lnTo>
                  <a:lnTo>
                    <a:pt x="919" y="3950"/>
                  </a:lnTo>
                  <a:lnTo>
                    <a:pt x="919" y="3950"/>
                  </a:lnTo>
                  <a:lnTo>
                    <a:pt x="919" y="3950"/>
                  </a:lnTo>
                  <a:close/>
                  <a:moveTo>
                    <a:pt x="898" y="3966"/>
                  </a:moveTo>
                  <a:lnTo>
                    <a:pt x="886" y="3959"/>
                  </a:lnTo>
                  <a:lnTo>
                    <a:pt x="898" y="3959"/>
                  </a:lnTo>
                  <a:lnTo>
                    <a:pt x="898" y="3966"/>
                  </a:lnTo>
                  <a:lnTo>
                    <a:pt x="898" y="3966"/>
                  </a:lnTo>
                  <a:lnTo>
                    <a:pt x="898" y="3966"/>
                  </a:lnTo>
                  <a:close/>
                  <a:moveTo>
                    <a:pt x="886" y="3959"/>
                  </a:moveTo>
                  <a:lnTo>
                    <a:pt x="882" y="3966"/>
                  </a:lnTo>
                  <a:lnTo>
                    <a:pt x="886" y="3959"/>
                  </a:lnTo>
                  <a:lnTo>
                    <a:pt x="886" y="3959"/>
                  </a:lnTo>
                  <a:lnTo>
                    <a:pt x="886" y="3959"/>
                  </a:lnTo>
                  <a:close/>
                  <a:moveTo>
                    <a:pt x="903" y="3966"/>
                  </a:moveTo>
                  <a:lnTo>
                    <a:pt x="898" y="3983"/>
                  </a:lnTo>
                  <a:lnTo>
                    <a:pt x="898" y="3966"/>
                  </a:lnTo>
                  <a:lnTo>
                    <a:pt x="903" y="3966"/>
                  </a:lnTo>
                  <a:lnTo>
                    <a:pt x="903" y="3966"/>
                  </a:lnTo>
                  <a:lnTo>
                    <a:pt x="903" y="3966"/>
                  </a:lnTo>
                  <a:close/>
                  <a:moveTo>
                    <a:pt x="908" y="3966"/>
                  </a:moveTo>
                  <a:lnTo>
                    <a:pt x="919" y="3966"/>
                  </a:lnTo>
                  <a:lnTo>
                    <a:pt x="919" y="3971"/>
                  </a:lnTo>
                  <a:lnTo>
                    <a:pt x="903" y="3971"/>
                  </a:lnTo>
                  <a:lnTo>
                    <a:pt x="908" y="3966"/>
                  </a:lnTo>
                  <a:lnTo>
                    <a:pt x="908" y="3966"/>
                  </a:lnTo>
                  <a:lnTo>
                    <a:pt x="908" y="3966"/>
                  </a:lnTo>
                  <a:close/>
                  <a:moveTo>
                    <a:pt x="693" y="3966"/>
                  </a:moveTo>
                  <a:lnTo>
                    <a:pt x="702" y="3971"/>
                  </a:lnTo>
                  <a:lnTo>
                    <a:pt x="702" y="3988"/>
                  </a:lnTo>
                  <a:lnTo>
                    <a:pt x="693" y="3971"/>
                  </a:lnTo>
                  <a:lnTo>
                    <a:pt x="693" y="3966"/>
                  </a:lnTo>
                  <a:lnTo>
                    <a:pt x="693" y="3966"/>
                  </a:lnTo>
                  <a:lnTo>
                    <a:pt x="693" y="3966"/>
                  </a:lnTo>
                  <a:close/>
                  <a:moveTo>
                    <a:pt x="4323" y="3971"/>
                  </a:moveTo>
                  <a:lnTo>
                    <a:pt x="4318" y="3988"/>
                  </a:lnTo>
                  <a:lnTo>
                    <a:pt x="4302" y="3988"/>
                  </a:lnTo>
                  <a:lnTo>
                    <a:pt x="4302" y="3983"/>
                  </a:lnTo>
                  <a:lnTo>
                    <a:pt x="4323" y="3971"/>
                  </a:lnTo>
                  <a:lnTo>
                    <a:pt x="4323" y="3971"/>
                  </a:lnTo>
                  <a:lnTo>
                    <a:pt x="4323" y="3971"/>
                  </a:lnTo>
                  <a:close/>
                  <a:moveTo>
                    <a:pt x="919" y="3971"/>
                  </a:moveTo>
                  <a:lnTo>
                    <a:pt x="908" y="4004"/>
                  </a:lnTo>
                  <a:lnTo>
                    <a:pt x="903" y="4004"/>
                  </a:lnTo>
                  <a:lnTo>
                    <a:pt x="898" y="4000"/>
                  </a:lnTo>
                  <a:lnTo>
                    <a:pt x="903" y="3971"/>
                  </a:lnTo>
                  <a:lnTo>
                    <a:pt x="919" y="3971"/>
                  </a:lnTo>
                  <a:lnTo>
                    <a:pt x="919" y="3971"/>
                  </a:lnTo>
                  <a:lnTo>
                    <a:pt x="919" y="3971"/>
                  </a:lnTo>
                  <a:close/>
                  <a:moveTo>
                    <a:pt x="908" y="4004"/>
                  </a:moveTo>
                  <a:lnTo>
                    <a:pt x="919" y="4037"/>
                  </a:lnTo>
                  <a:lnTo>
                    <a:pt x="903" y="4021"/>
                  </a:lnTo>
                  <a:lnTo>
                    <a:pt x="908" y="4004"/>
                  </a:lnTo>
                  <a:lnTo>
                    <a:pt x="908" y="4004"/>
                  </a:lnTo>
                  <a:lnTo>
                    <a:pt x="908" y="4004"/>
                  </a:lnTo>
                  <a:close/>
                  <a:moveTo>
                    <a:pt x="6116" y="4316"/>
                  </a:moveTo>
                  <a:lnTo>
                    <a:pt x="6133" y="4304"/>
                  </a:lnTo>
                  <a:lnTo>
                    <a:pt x="6133" y="4316"/>
                  </a:lnTo>
                  <a:lnTo>
                    <a:pt x="6137" y="4297"/>
                  </a:lnTo>
                  <a:lnTo>
                    <a:pt x="6154" y="4304"/>
                  </a:lnTo>
                  <a:lnTo>
                    <a:pt x="6170" y="4292"/>
                  </a:lnTo>
                  <a:lnTo>
                    <a:pt x="6170" y="4297"/>
                  </a:lnTo>
                  <a:lnTo>
                    <a:pt x="6154" y="4321"/>
                  </a:lnTo>
                  <a:lnTo>
                    <a:pt x="6149" y="4321"/>
                  </a:lnTo>
                  <a:lnTo>
                    <a:pt x="6121" y="4337"/>
                  </a:lnTo>
                  <a:lnTo>
                    <a:pt x="6111" y="4337"/>
                  </a:lnTo>
                  <a:lnTo>
                    <a:pt x="6111" y="4349"/>
                  </a:lnTo>
                  <a:lnTo>
                    <a:pt x="6121" y="4354"/>
                  </a:lnTo>
                  <a:lnTo>
                    <a:pt x="6111" y="4354"/>
                  </a:lnTo>
                  <a:lnTo>
                    <a:pt x="6133" y="4354"/>
                  </a:lnTo>
                  <a:lnTo>
                    <a:pt x="6111" y="4375"/>
                  </a:lnTo>
                  <a:lnTo>
                    <a:pt x="6116" y="4392"/>
                  </a:lnTo>
                  <a:lnTo>
                    <a:pt x="6133" y="4403"/>
                  </a:lnTo>
                  <a:lnTo>
                    <a:pt x="6137" y="4375"/>
                  </a:lnTo>
                  <a:lnTo>
                    <a:pt x="6154" y="4354"/>
                  </a:lnTo>
                  <a:lnTo>
                    <a:pt x="6170" y="4354"/>
                  </a:lnTo>
                  <a:lnTo>
                    <a:pt x="6175" y="4337"/>
                  </a:lnTo>
                  <a:lnTo>
                    <a:pt x="6187" y="4349"/>
                  </a:lnTo>
                  <a:lnTo>
                    <a:pt x="6175" y="4354"/>
                  </a:lnTo>
                  <a:lnTo>
                    <a:pt x="6154" y="4392"/>
                  </a:lnTo>
                  <a:lnTo>
                    <a:pt x="6163" y="4408"/>
                  </a:lnTo>
                  <a:lnTo>
                    <a:pt x="6175" y="4392"/>
                  </a:lnTo>
                  <a:lnTo>
                    <a:pt x="6187" y="4375"/>
                  </a:lnTo>
                  <a:lnTo>
                    <a:pt x="6201" y="4403"/>
                  </a:lnTo>
                  <a:lnTo>
                    <a:pt x="6187" y="4415"/>
                  </a:lnTo>
                  <a:lnTo>
                    <a:pt x="6175" y="4465"/>
                  </a:lnTo>
                  <a:lnTo>
                    <a:pt x="6163" y="4481"/>
                  </a:lnTo>
                  <a:lnTo>
                    <a:pt x="6149" y="4470"/>
                  </a:lnTo>
                  <a:lnTo>
                    <a:pt x="6133" y="4481"/>
                  </a:lnTo>
                  <a:lnTo>
                    <a:pt x="6133" y="4432"/>
                  </a:lnTo>
                  <a:lnTo>
                    <a:pt x="6100" y="4465"/>
                  </a:lnTo>
                  <a:lnTo>
                    <a:pt x="6083" y="4465"/>
                  </a:lnTo>
                  <a:lnTo>
                    <a:pt x="6095" y="4448"/>
                  </a:lnTo>
                  <a:lnTo>
                    <a:pt x="6111" y="4408"/>
                  </a:lnTo>
                  <a:lnTo>
                    <a:pt x="6100" y="4375"/>
                  </a:lnTo>
                  <a:lnTo>
                    <a:pt x="6083" y="4370"/>
                  </a:lnTo>
                  <a:lnTo>
                    <a:pt x="6066" y="4408"/>
                  </a:lnTo>
                  <a:lnTo>
                    <a:pt x="6057" y="4415"/>
                  </a:lnTo>
                  <a:lnTo>
                    <a:pt x="6066" y="4392"/>
                  </a:lnTo>
                  <a:lnTo>
                    <a:pt x="6057" y="4408"/>
                  </a:lnTo>
                  <a:lnTo>
                    <a:pt x="6041" y="4408"/>
                  </a:lnTo>
                  <a:lnTo>
                    <a:pt x="6015" y="4460"/>
                  </a:lnTo>
                  <a:lnTo>
                    <a:pt x="5986" y="4465"/>
                  </a:lnTo>
                  <a:lnTo>
                    <a:pt x="5960" y="4448"/>
                  </a:lnTo>
                  <a:lnTo>
                    <a:pt x="5970" y="4441"/>
                  </a:lnTo>
                  <a:lnTo>
                    <a:pt x="6003" y="4432"/>
                  </a:lnTo>
                  <a:lnTo>
                    <a:pt x="6015" y="4408"/>
                  </a:lnTo>
                  <a:lnTo>
                    <a:pt x="6041" y="4392"/>
                  </a:lnTo>
                  <a:lnTo>
                    <a:pt x="6029" y="4392"/>
                  </a:lnTo>
                  <a:lnTo>
                    <a:pt x="6041" y="4375"/>
                  </a:lnTo>
                  <a:lnTo>
                    <a:pt x="6024" y="4392"/>
                  </a:lnTo>
                  <a:lnTo>
                    <a:pt x="6003" y="4387"/>
                  </a:lnTo>
                  <a:lnTo>
                    <a:pt x="6003" y="4403"/>
                  </a:lnTo>
                  <a:lnTo>
                    <a:pt x="5991" y="4408"/>
                  </a:lnTo>
                  <a:lnTo>
                    <a:pt x="5986" y="4403"/>
                  </a:lnTo>
                  <a:lnTo>
                    <a:pt x="5970" y="4408"/>
                  </a:lnTo>
                  <a:lnTo>
                    <a:pt x="5977" y="4392"/>
                  </a:lnTo>
                  <a:lnTo>
                    <a:pt x="5948" y="4403"/>
                  </a:lnTo>
                  <a:lnTo>
                    <a:pt x="5986" y="4387"/>
                  </a:lnTo>
                  <a:lnTo>
                    <a:pt x="5970" y="4387"/>
                  </a:lnTo>
                  <a:lnTo>
                    <a:pt x="5977" y="4359"/>
                  </a:lnTo>
                  <a:lnTo>
                    <a:pt x="5970" y="4375"/>
                  </a:lnTo>
                  <a:lnTo>
                    <a:pt x="5953" y="4387"/>
                  </a:lnTo>
                  <a:lnTo>
                    <a:pt x="5953" y="4375"/>
                  </a:lnTo>
                  <a:lnTo>
                    <a:pt x="5948" y="4392"/>
                  </a:lnTo>
                  <a:lnTo>
                    <a:pt x="5901" y="4403"/>
                  </a:lnTo>
                  <a:lnTo>
                    <a:pt x="5814" y="4387"/>
                  </a:lnTo>
                  <a:lnTo>
                    <a:pt x="5738" y="4392"/>
                  </a:lnTo>
                  <a:lnTo>
                    <a:pt x="5733" y="4392"/>
                  </a:lnTo>
                  <a:lnTo>
                    <a:pt x="5722" y="4370"/>
                  </a:lnTo>
                  <a:lnTo>
                    <a:pt x="5792" y="4316"/>
                  </a:lnTo>
                  <a:lnTo>
                    <a:pt x="5776" y="4304"/>
                  </a:lnTo>
                  <a:lnTo>
                    <a:pt x="5733" y="4316"/>
                  </a:lnTo>
                  <a:lnTo>
                    <a:pt x="5771" y="4281"/>
                  </a:lnTo>
                  <a:lnTo>
                    <a:pt x="5755" y="4297"/>
                  </a:lnTo>
                  <a:lnTo>
                    <a:pt x="5771" y="4304"/>
                  </a:lnTo>
                  <a:lnTo>
                    <a:pt x="5792" y="4248"/>
                  </a:lnTo>
                  <a:lnTo>
                    <a:pt x="5792" y="4259"/>
                  </a:lnTo>
                  <a:lnTo>
                    <a:pt x="5830" y="4264"/>
                  </a:lnTo>
                  <a:lnTo>
                    <a:pt x="5814" y="4264"/>
                  </a:lnTo>
                  <a:lnTo>
                    <a:pt x="5809" y="4248"/>
                  </a:lnTo>
                  <a:lnTo>
                    <a:pt x="5826" y="4248"/>
                  </a:lnTo>
                  <a:lnTo>
                    <a:pt x="5830" y="4248"/>
                  </a:lnTo>
                  <a:lnTo>
                    <a:pt x="5814" y="4248"/>
                  </a:lnTo>
                  <a:lnTo>
                    <a:pt x="5826" y="4243"/>
                  </a:lnTo>
                  <a:lnTo>
                    <a:pt x="5809" y="4243"/>
                  </a:lnTo>
                  <a:lnTo>
                    <a:pt x="5809" y="4226"/>
                  </a:lnTo>
                  <a:lnTo>
                    <a:pt x="5826" y="4210"/>
                  </a:lnTo>
                  <a:lnTo>
                    <a:pt x="5840" y="4222"/>
                  </a:lnTo>
                  <a:lnTo>
                    <a:pt x="5830" y="4210"/>
                  </a:lnTo>
                  <a:lnTo>
                    <a:pt x="5826" y="4205"/>
                  </a:lnTo>
                  <a:lnTo>
                    <a:pt x="5863" y="4115"/>
                  </a:lnTo>
                  <a:lnTo>
                    <a:pt x="5878" y="4111"/>
                  </a:lnTo>
                  <a:lnTo>
                    <a:pt x="5863" y="4111"/>
                  </a:lnTo>
                  <a:lnTo>
                    <a:pt x="5894" y="4082"/>
                  </a:lnTo>
                  <a:lnTo>
                    <a:pt x="5901" y="4077"/>
                  </a:lnTo>
                  <a:lnTo>
                    <a:pt x="5894" y="4070"/>
                  </a:lnTo>
                  <a:lnTo>
                    <a:pt x="5906" y="4061"/>
                  </a:lnTo>
                  <a:lnTo>
                    <a:pt x="5906" y="4054"/>
                  </a:lnTo>
                  <a:lnTo>
                    <a:pt x="5915" y="4044"/>
                  </a:lnTo>
                  <a:lnTo>
                    <a:pt x="5970" y="4016"/>
                  </a:lnTo>
                  <a:lnTo>
                    <a:pt x="5970" y="4025"/>
                  </a:lnTo>
                  <a:lnTo>
                    <a:pt x="5986" y="4025"/>
                  </a:lnTo>
                  <a:lnTo>
                    <a:pt x="5977" y="4021"/>
                  </a:lnTo>
                  <a:lnTo>
                    <a:pt x="6003" y="4021"/>
                  </a:lnTo>
                  <a:lnTo>
                    <a:pt x="5991" y="4044"/>
                  </a:lnTo>
                  <a:lnTo>
                    <a:pt x="5953" y="4044"/>
                  </a:lnTo>
                  <a:lnTo>
                    <a:pt x="5960" y="4061"/>
                  </a:lnTo>
                  <a:lnTo>
                    <a:pt x="5977" y="4054"/>
                  </a:lnTo>
                  <a:lnTo>
                    <a:pt x="5977" y="4070"/>
                  </a:lnTo>
                  <a:lnTo>
                    <a:pt x="5953" y="4099"/>
                  </a:lnTo>
                  <a:lnTo>
                    <a:pt x="5953" y="4082"/>
                  </a:lnTo>
                  <a:lnTo>
                    <a:pt x="5948" y="4115"/>
                  </a:lnTo>
                  <a:lnTo>
                    <a:pt x="5906" y="4170"/>
                  </a:lnTo>
                  <a:lnTo>
                    <a:pt x="5906" y="4188"/>
                  </a:lnTo>
                  <a:lnTo>
                    <a:pt x="5901" y="4193"/>
                  </a:lnTo>
                  <a:lnTo>
                    <a:pt x="5906" y="4193"/>
                  </a:lnTo>
                  <a:lnTo>
                    <a:pt x="5901" y="4210"/>
                  </a:lnTo>
                  <a:lnTo>
                    <a:pt x="5953" y="4153"/>
                  </a:lnTo>
                  <a:lnTo>
                    <a:pt x="5977" y="4181"/>
                  </a:lnTo>
                  <a:lnTo>
                    <a:pt x="6003" y="4170"/>
                  </a:lnTo>
                  <a:lnTo>
                    <a:pt x="6003" y="4181"/>
                  </a:lnTo>
                  <a:lnTo>
                    <a:pt x="5953" y="4205"/>
                  </a:lnTo>
                  <a:lnTo>
                    <a:pt x="5970" y="4205"/>
                  </a:lnTo>
                  <a:lnTo>
                    <a:pt x="5953" y="4226"/>
                  </a:lnTo>
                  <a:lnTo>
                    <a:pt x="5970" y="4222"/>
                  </a:lnTo>
                  <a:lnTo>
                    <a:pt x="5986" y="4226"/>
                  </a:lnTo>
                  <a:lnTo>
                    <a:pt x="5991" y="4222"/>
                  </a:lnTo>
                  <a:lnTo>
                    <a:pt x="5991" y="4226"/>
                  </a:lnTo>
                  <a:lnTo>
                    <a:pt x="6007" y="4222"/>
                  </a:lnTo>
                  <a:lnTo>
                    <a:pt x="6007" y="4238"/>
                  </a:lnTo>
                  <a:lnTo>
                    <a:pt x="6007" y="4210"/>
                  </a:lnTo>
                  <a:lnTo>
                    <a:pt x="6024" y="4210"/>
                  </a:lnTo>
                  <a:lnTo>
                    <a:pt x="6007" y="4259"/>
                  </a:lnTo>
                  <a:lnTo>
                    <a:pt x="6024" y="4226"/>
                  </a:lnTo>
                  <a:lnTo>
                    <a:pt x="6045" y="4243"/>
                  </a:lnTo>
                  <a:lnTo>
                    <a:pt x="6062" y="4210"/>
                  </a:lnTo>
                  <a:lnTo>
                    <a:pt x="6066" y="4222"/>
                  </a:lnTo>
                  <a:lnTo>
                    <a:pt x="6066" y="4243"/>
                  </a:lnTo>
                  <a:lnTo>
                    <a:pt x="6078" y="4226"/>
                  </a:lnTo>
                  <a:lnTo>
                    <a:pt x="6083" y="4226"/>
                  </a:lnTo>
                  <a:lnTo>
                    <a:pt x="6100" y="4222"/>
                  </a:lnTo>
                  <a:lnTo>
                    <a:pt x="6116" y="4226"/>
                  </a:lnTo>
                  <a:lnTo>
                    <a:pt x="6137" y="4243"/>
                  </a:lnTo>
                  <a:lnTo>
                    <a:pt x="6133" y="4259"/>
                  </a:lnTo>
                  <a:lnTo>
                    <a:pt x="6116" y="4259"/>
                  </a:lnTo>
                  <a:lnTo>
                    <a:pt x="6121" y="4264"/>
                  </a:lnTo>
                  <a:lnTo>
                    <a:pt x="6095" y="4281"/>
                  </a:lnTo>
                  <a:lnTo>
                    <a:pt x="6116" y="4281"/>
                  </a:lnTo>
                  <a:lnTo>
                    <a:pt x="6111" y="4297"/>
                  </a:lnTo>
                  <a:lnTo>
                    <a:pt x="6116" y="4292"/>
                  </a:lnTo>
                  <a:lnTo>
                    <a:pt x="6111" y="4297"/>
                  </a:lnTo>
                  <a:lnTo>
                    <a:pt x="6111" y="4292"/>
                  </a:lnTo>
                  <a:lnTo>
                    <a:pt x="6133" y="4292"/>
                  </a:lnTo>
                  <a:lnTo>
                    <a:pt x="6100" y="4304"/>
                  </a:lnTo>
                  <a:lnTo>
                    <a:pt x="6116" y="4304"/>
                  </a:lnTo>
                  <a:lnTo>
                    <a:pt x="6116" y="4316"/>
                  </a:lnTo>
                  <a:lnTo>
                    <a:pt x="6116" y="4316"/>
                  </a:lnTo>
                  <a:lnTo>
                    <a:pt x="6116" y="4316"/>
                  </a:lnTo>
                  <a:close/>
                  <a:moveTo>
                    <a:pt x="6100" y="4316"/>
                  </a:moveTo>
                  <a:lnTo>
                    <a:pt x="6095" y="4321"/>
                  </a:lnTo>
                  <a:lnTo>
                    <a:pt x="6116" y="4316"/>
                  </a:lnTo>
                  <a:lnTo>
                    <a:pt x="6100" y="4316"/>
                  </a:lnTo>
                  <a:lnTo>
                    <a:pt x="6100" y="4316"/>
                  </a:lnTo>
                  <a:lnTo>
                    <a:pt x="6100" y="4316"/>
                  </a:lnTo>
                  <a:close/>
                  <a:moveTo>
                    <a:pt x="5991" y="4077"/>
                  </a:moveTo>
                  <a:lnTo>
                    <a:pt x="5991" y="4082"/>
                  </a:lnTo>
                  <a:lnTo>
                    <a:pt x="5986" y="4082"/>
                  </a:lnTo>
                  <a:lnTo>
                    <a:pt x="5991" y="4077"/>
                  </a:lnTo>
                  <a:lnTo>
                    <a:pt x="5991" y="4077"/>
                  </a:lnTo>
                  <a:lnTo>
                    <a:pt x="5991" y="4077"/>
                  </a:lnTo>
                  <a:close/>
                  <a:moveTo>
                    <a:pt x="936" y="4082"/>
                  </a:moveTo>
                  <a:lnTo>
                    <a:pt x="936" y="4094"/>
                  </a:lnTo>
                  <a:lnTo>
                    <a:pt x="924" y="4082"/>
                  </a:lnTo>
                  <a:lnTo>
                    <a:pt x="936" y="4082"/>
                  </a:lnTo>
                  <a:lnTo>
                    <a:pt x="936" y="4082"/>
                  </a:lnTo>
                  <a:lnTo>
                    <a:pt x="936" y="4082"/>
                  </a:lnTo>
                  <a:close/>
                  <a:moveTo>
                    <a:pt x="1096" y="4137"/>
                  </a:moveTo>
                  <a:lnTo>
                    <a:pt x="1113" y="4181"/>
                  </a:lnTo>
                  <a:lnTo>
                    <a:pt x="1134" y="4193"/>
                  </a:lnTo>
                  <a:lnTo>
                    <a:pt x="1125" y="4205"/>
                  </a:lnTo>
                  <a:lnTo>
                    <a:pt x="1139" y="4222"/>
                  </a:lnTo>
                  <a:lnTo>
                    <a:pt x="1193" y="4243"/>
                  </a:lnTo>
                  <a:lnTo>
                    <a:pt x="1222" y="4281"/>
                  </a:lnTo>
                  <a:lnTo>
                    <a:pt x="1226" y="4297"/>
                  </a:lnTo>
                  <a:lnTo>
                    <a:pt x="1231" y="4292"/>
                  </a:lnTo>
                  <a:lnTo>
                    <a:pt x="1243" y="4321"/>
                  </a:lnTo>
                  <a:lnTo>
                    <a:pt x="1231" y="4316"/>
                  </a:lnTo>
                  <a:lnTo>
                    <a:pt x="1222" y="4333"/>
                  </a:lnTo>
                  <a:lnTo>
                    <a:pt x="1118" y="4292"/>
                  </a:lnTo>
                  <a:lnTo>
                    <a:pt x="1113" y="4281"/>
                  </a:lnTo>
                  <a:lnTo>
                    <a:pt x="1134" y="4259"/>
                  </a:lnTo>
                  <a:lnTo>
                    <a:pt x="1134" y="4243"/>
                  </a:lnTo>
                  <a:lnTo>
                    <a:pt x="1125" y="4264"/>
                  </a:lnTo>
                  <a:lnTo>
                    <a:pt x="1087" y="4276"/>
                  </a:lnTo>
                  <a:lnTo>
                    <a:pt x="1070" y="4259"/>
                  </a:lnTo>
                  <a:lnTo>
                    <a:pt x="1080" y="4243"/>
                  </a:lnTo>
                  <a:lnTo>
                    <a:pt x="1070" y="4248"/>
                  </a:lnTo>
                  <a:lnTo>
                    <a:pt x="1063" y="4238"/>
                  </a:lnTo>
                  <a:lnTo>
                    <a:pt x="1049" y="4243"/>
                  </a:lnTo>
                  <a:lnTo>
                    <a:pt x="1059" y="4226"/>
                  </a:lnTo>
                  <a:lnTo>
                    <a:pt x="1059" y="4238"/>
                  </a:lnTo>
                  <a:lnTo>
                    <a:pt x="1042" y="4226"/>
                  </a:lnTo>
                  <a:lnTo>
                    <a:pt x="1016" y="4226"/>
                  </a:lnTo>
                  <a:lnTo>
                    <a:pt x="1011" y="4210"/>
                  </a:lnTo>
                  <a:lnTo>
                    <a:pt x="1049" y="4205"/>
                  </a:lnTo>
                  <a:lnTo>
                    <a:pt x="1011" y="4193"/>
                  </a:lnTo>
                  <a:lnTo>
                    <a:pt x="1004" y="4181"/>
                  </a:lnTo>
                  <a:lnTo>
                    <a:pt x="995" y="4181"/>
                  </a:lnTo>
                  <a:lnTo>
                    <a:pt x="974" y="4188"/>
                  </a:lnTo>
                  <a:lnTo>
                    <a:pt x="962" y="4170"/>
                  </a:lnTo>
                  <a:lnTo>
                    <a:pt x="974" y="4165"/>
                  </a:lnTo>
                  <a:lnTo>
                    <a:pt x="957" y="4170"/>
                  </a:lnTo>
                  <a:lnTo>
                    <a:pt x="941" y="4153"/>
                  </a:lnTo>
                  <a:lnTo>
                    <a:pt x="919" y="4165"/>
                  </a:lnTo>
                  <a:lnTo>
                    <a:pt x="924" y="4148"/>
                  </a:lnTo>
                  <a:lnTo>
                    <a:pt x="924" y="4137"/>
                  </a:lnTo>
                  <a:lnTo>
                    <a:pt x="919" y="4137"/>
                  </a:lnTo>
                  <a:lnTo>
                    <a:pt x="919" y="4127"/>
                  </a:lnTo>
                  <a:lnTo>
                    <a:pt x="941" y="4127"/>
                  </a:lnTo>
                  <a:lnTo>
                    <a:pt x="952" y="4132"/>
                  </a:lnTo>
                  <a:lnTo>
                    <a:pt x="941" y="4127"/>
                  </a:lnTo>
                  <a:lnTo>
                    <a:pt x="957" y="4115"/>
                  </a:lnTo>
                  <a:lnTo>
                    <a:pt x="919" y="4111"/>
                  </a:lnTo>
                  <a:lnTo>
                    <a:pt x="941" y="4115"/>
                  </a:lnTo>
                  <a:lnTo>
                    <a:pt x="908" y="4132"/>
                  </a:lnTo>
                  <a:lnTo>
                    <a:pt x="886" y="4115"/>
                  </a:lnTo>
                  <a:lnTo>
                    <a:pt x="886" y="4099"/>
                  </a:lnTo>
                  <a:lnTo>
                    <a:pt x="919" y="4094"/>
                  </a:lnTo>
                  <a:lnTo>
                    <a:pt x="962" y="4111"/>
                  </a:lnTo>
                  <a:lnTo>
                    <a:pt x="1096" y="4137"/>
                  </a:lnTo>
                  <a:lnTo>
                    <a:pt x="1096" y="4137"/>
                  </a:lnTo>
                  <a:lnTo>
                    <a:pt x="1096" y="4137"/>
                  </a:lnTo>
                  <a:close/>
                  <a:moveTo>
                    <a:pt x="995" y="4099"/>
                  </a:moveTo>
                  <a:lnTo>
                    <a:pt x="990" y="4094"/>
                  </a:lnTo>
                  <a:lnTo>
                    <a:pt x="1011" y="4094"/>
                  </a:lnTo>
                  <a:lnTo>
                    <a:pt x="995" y="4099"/>
                  </a:lnTo>
                  <a:lnTo>
                    <a:pt x="995" y="4099"/>
                  </a:lnTo>
                  <a:lnTo>
                    <a:pt x="995" y="4099"/>
                  </a:lnTo>
                  <a:close/>
                  <a:moveTo>
                    <a:pt x="1033" y="4094"/>
                  </a:moveTo>
                  <a:lnTo>
                    <a:pt x="1042" y="4099"/>
                  </a:lnTo>
                  <a:lnTo>
                    <a:pt x="1033" y="4111"/>
                  </a:lnTo>
                  <a:lnTo>
                    <a:pt x="1011" y="4111"/>
                  </a:lnTo>
                  <a:lnTo>
                    <a:pt x="1033" y="4094"/>
                  </a:lnTo>
                  <a:lnTo>
                    <a:pt x="1033" y="4094"/>
                  </a:lnTo>
                  <a:lnTo>
                    <a:pt x="1033" y="4094"/>
                  </a:lnTo>
                  <a:close/>
                  <a:moveTo>
                    <a:pt x="1004" y="4099"/>
                  </a:moveTo>
                  <a:lnTo>
                    <a:pt x="1016" y="4099"/>
                  </a:lnTo>
                  <a:lnTo>
                    <a:pt x="1011" y="4111"/>
                  </a:lnTo>
                  <a:lnTo>
                    <a:pt x="1004" y="4099"/>
                  </a:lnTo>
                  <a:lnTo>
                    <a:pt x="1004" y="4099"/>
                  </a:lnTo>
                  <a:lnTo>
                    <a:pt x="1004" y="4099"/>
                  </a:lnTo>
                  <a:close/>
                  <a:moveTo>
                    <a:pt x="990" y="4115"/>
                  </a:moveTo>
                  <a:lnTo>
                    <a:pt x="974" y="4111"/>
                  </a:lnTo>
                  <a:lnTo>
                    <a:pt x="995" y="4111"/>
                  </a:lnTo>
                  <a:lnTo>
                    <a:pt x="990" y="4115"/>
                  </a:lnTo>
                  <a:lnTo>
                    <a:pt x="990" y="4115"/>
                  </a:lnTo>
                  <a:lnTo>
                    <a:pt x="990" y="4115"/>
                  </a:lnTo>
                  <a:close/>
                  <a:moveTo>
                    <a:pt x="1016" y="4111"/>
                  </a:moveTo>
                  <a:lnTo>
                    <a:pt x="1026" y="4115"/>
                  </a:lnTo>
                  <a:lnTo>
                    <a:pt x="1011" y="4115"/>
                  </a:lnTo>
                  <a:lnTo>
                    <a:pt x="1016" y="4111"/>
                  </a:lnTo>
                  <a:lnTo>
                    <a:pt x="1016" y="4111"/>
                  </a:lnTo>
                  <a:lnTo>
                    <a:pt x="1016" y="4111"/>
                  </a:lnTo>
                  <a:close/>
                  <a:moveTo>
                    <a:pt x="1033" y="4115"/>
                  </a:moveTo>
                  <a:lnTo>
                    <a:pt x="1011" y="4127"/>
                  </a:lnTo>
                  <a:lnTo>
                    <a:pt x="1033" y="4115"/>
                  </a:lnTo>
                  <a:lnTo>
                    <a:pt x="1033" y="4115"/>
                  </a:lnTo>
                  <a:lnTo>
                    <a:pt x="1033" y="4115"/>
                  </a:lnTo>
                  <a:close/>
                  <a:moveTo>
                    <a:pt x="1063" y="4127"/>
                  </a:moveTo>
                  <a:lnTo>
                    <a:pt x="1070" y="4132"/>
                  </a:lnTo>
                  <a:lnTo>
                    <a:pt x="1059" y="4132"/>
                  </a:lnTo>
                  <a:lnTo>
                    <a:pt x="1063" y="4127"/>
                  </a:lnTo>
                  <a:lnTo>
                    <a:pt x="1063" y="4127"/>
                  </a:lnTo>
                  <a:lnTo>
                    <a:pt x="1063" y="4127"/>
                  </a:lnTo>
                  <a:close/>
                  <a:moveTo>
                    <a:pt x="1096" y="4127"/>
                  </a:moveTo>
                  <a:lnTo>
                    <a:pt x="1096" y="4132"/>
                  </a:lnTo>
                  <a:lnTo>
                    <a:pt x="1087" y="4132"/>
                  </a:lnTo>
                  <a:lnTo>
                    <a:pt x="1096" y="4127"/>
                  </a:lnTo>
                  <a:lnTo>
                    <a:pt x="1096" y="4127"/>
                  </a:lnTo>
                  <a:lnTo>
                    <a:pt x="1096" y="4127"/>
                  </a:lnTo>
                  <a:close/>
                  <a:moveTo>
                    <a:pt x="1101" y="4132"/>
                  </a:moveTo>
                  <a:lnTo>
                    <a:pt x="1118" y="4148"/>
                  </a:lnTo>
                  <a:lnTo>
                    <a:pt x="1113" y="4153"/>
                  </a:lnTo>
                  <a:lnTo>
                    <a:pt x="1113" y="4137"/>
                  </a:lnTo>
                  <a:lnTo>
                    <a:pt x="1096" y="4137"/>
                  </a:lnTo>
                  <a:lnTo>
                    <a:pt x="1101" y="4132"/>
                  </a:lnTo>
                  <a:lnTo>
                    <a:pt x="1101" y="4132"/>
                  </a:lnTo>
                  <a:lnTo>
                    <a:pt x="1101" y="4132"/>
                  </a:lnTo>
                  <a:close/>
                  <a:moveTo>
                    <a:pt x="1080" y="4132"/>
                  </a:moveTo>
                  <a:lnTo>
                    <a:pt x="1070" y="4132"/>
                  </a:lnTo>
                  <a:lnTo>
                    <a:pt x="1087" y="4132"/>
                  </a:lnTo>
                  <a:lnTo>
                    <a:pt x="1080" y="4132"/>
                  </a:lnTo>
                  <a:lnTo>
                    <a:pt x="1080" y="4132"/>
                  </a:lnTo>
                  <a:lnTo>
                    <a:pt x="1080" y="4132"/>
                  </a:lnTo>
                  <a:close/>
                  <a:moveTo>
                    <a:pt x="1139" y="4137"/>
                  </a:moveTo>
                  <a:lnTo>
                    <a:pt x="1151" y="4148"/>
                  </a:lnTo>
                  <a:lnTo>
                    <a:pt x="1139" y="4153"/>
                  </a:lnTo>
                  <a:lnTo>
                    <a:pt x="1134" y="4148"/>
                  </a:lnTo>
                  <a:lnTo>
                    <a:pt x="1139" y="4137"/>
                  </a:lnTo>
                  <a:lnTo>
                    <a:pt x="1139" y="4137"/>
                  </a:lnTo>
                  <a:lnTo>
                    <a:pt x="1139" y="4137"/>
                  </a:lnTo>
                  <a:close/>
                  <a:moveTo>
                    <a:pt x="1134" y="4137"/>
                  </a:moveTo>
                  <a:lnTo>
                    <a:pt x="1139" y="4153"/>
                  </a:lnTo>
                  <a:lnTo>
                    <a:pt x="1134" y="4165"/>
                  </a:lnTo>
                  <a:lnTo>
                    <a:pt x="1125" y="4148"/>
                  </a:lnTo>
                  <a:lnTo>
                    <a:pt x="1134" y="4137"/>
                  </a:lnTo>
                  <a:lnTo>
                    <a:pt x="1134" y="4137"/>
                  </a:lnTo>
                  <a:lnTo>
                    <a:pt x="1134" y="4137"/>
                  </a:lnTo>
                  <a:close/>
                  <a:moveTo>
                    <a:pt x="1096" y="4148"/>
                  </a:moveTo>
                  <a:lnTo>
                    <a:pt x="1113" y="4148"/>
                  </a:lnTo>
                  <a:lnTo>
                    <a:pt x="1113" y="4170"/>
                  </a:lnTo>
                  <a:lnTo>
                    <a:pt x="1096" y="4148"/>
                  </a:lnTo>
                  <a:lnTo>
                    <a:pt x="1096" y="4148"/>
                  </a:lnTo>
                  <a:lnTo>
                    <a:pt x="1096" y="4148"/>
                  </a:lnTo>
                  <a:close/>
                  <a:moveTo>
                    <a:pt x="1125" y="4148"/>
                  </a:moveTo>
                  <a:lnTo>
                    <a:pt x="1134" y="4165"/>
                  </a:lnTo>
                  <a:lnTo>
                    <a:pt x="1125" y="4165"/>
                  </a:lnTo>
                  <a:lnTo>
                    <a:pt x="1118" y="4165"/>
                  </a:lnTo>
                  <a:lnTo>
                    <a:pt x="1125" y="4148"/>
                  </a:lnTo>
                  <a:lnTo>
                    <a:pt x="1125" y="4148"/>
                  </a:lnTo>
                  <a:lnTo>
                    <a:pt x="1125" y="4148"/>
                  </a:lnTo>
                  <a:close/>
                  <a:moveTo>
                    <a:pt x="5436" y="4188"/>
                  </a:moveTo>
                  <a:lnTo>
                    <a:pt x="5500" y="4210"/>
                  </a:lnTo>
                  <a:lnTo>
                    <a:pt x="5523" y="4226"/>
                  </a:lnTo>
                  <a:lnTo>
                    <a:pt x="5544" y="4238"/>
                  </a:lnTo>
                  <a:lnTo>
                    <a:pt x="5561" y="4248"/>
                  </a:lnTo>
                  <a:lnTo>
                    <a:pt x="5528" y="4259"/>
                  </a:lnTo>
                  <a:lnTo>
                    <a:pt x="5462" y="4243"/>
                  </a:lnTo>
                  <a:lnTo>
                    <a:pt x="5431" y="4226"/>
                  </a:lnTo>
                  <a:lnTo>
                    <a:pt x="5410" y="4205"/>
                  </a:lnTo>
                  <a:lnTo>
                    <a:pt x="5365" y="4188"/>
                  </a:lnTo>
                  <a:lnTo>
                    <a:pt x="5381" y="4170"/>
                  </a:lnTo>
                  <a:lnTo>
                    <a:pt x="5436" y="4188"/>
                  </a:lnTo>
                  <a:lnTo>
                    <a:pt x="5436" y="4188"/>
                  </a:lnTo>
                  <a:lnTo>
                    <a:pt x="5436" y="4188"/>
                  </a:lnTo>
                  <a:close/>
                  <a:moveTo>
                    <a:pt x="1004" y="4181"/>
                  </a:moveTo>
                  <a:lnTo>
                    <a:pt x="1011" y="4193"/>
                  </a:lnTo>
                  <a:lnTo>
                    <a:pt x="1011" y="4210"/>
                  </a:lnTo>
                  <a:lnTo>
                    <a:pt x="990" y="4193"/>
                  </a:lnTo>
                  <a:lnTo>
                    <a:pt x="990" y="4188"/>
                  </a:lnTo>
                  <a:lnTo>
                    <a:pt x="1004" y="4181"/>
                  </a:lnTo>
                  <a:lnTo>
                    <a:pt x="1004" y="4181"/>
                  </a:lnTo>
                  <a:lnTo>
                    <a:pt x="1004" y="4181"/>
                  </a:lnTo>
                  <a:close/>
                  <a:moveTo>
                    <a:pt x="1189" y="4222"/>
                  </a:moveTo>
                  <a:lnTo>
                    <a:pt x="1151" y="4188"/>
                  </a:lnTo>
                  <a:lnTo>
                    <a:pt x="1172" y="4193"/>
                  </a:lnTo>
                  <a:lnTo>
                    <a:pt x="1189" y="4222"/>
                  </a:lnTo>
                  <a:lnTo>
                    <a:pt x="1189" y="4222"/>
                  </a:lnTo>
                  <a:lnTo>
                    <a:pt x="1189" y="4222"/>
                  </a:lnTo>
                  <a:close/>
                  <a:moveTo>
                    <a:pt x="1193" y="4193"/>
                  </a:moveTo>
                  <a:lnTo>
                    <a:pt x="1189" y="4205"/>
                  </a:lnTo>
                  <a:lnTo>
                    <a:pt x="1177" y="4205"/>
                  </a:lnTo>
                  <a:lnTo>
                    <a:pt x="1193" y="4193"/>
                  </a:lnTo>
                  <a:lnTo>
                    <a:pt x="1193" y="4193"/>
                  </a:lnTo>
                  <a:lnTo>
                    <a:pt x="1193" y="4193"/>
                  </a:lnTo>
                  <a:close/>
                  <a:moveTo>
                    <a:pt x="6095" y="4193"/>
                  </a:moveTo>
                  <a:lnTo>
                    <a:pt x="6100" y="4205"/>
                  </a:lnTo>
                  <a:lnTo>
                    <a:pt x="6078" y="4210"/>
                  </a:lnTo>
                  <a:lnTo>
                    <a:pt x="6078" y="4193"/>
                  </a:lnTo>
                  <a:lnTo>
                    <a:pt x="6095" y="4193"/>
                  </a:lnTo>
                  <a:lnTo>
                    <a:pt x="6095" y="4193"/>
                  </a:lnTo>
                  <a:lnTo>
                    <a:pt x="6095" y="4193"/>
                  </a:lnTo>
                  <a:close/>
                  <a:moveTo>
                    <a:pt x="6062" y="4205"/>
                  </a:moveTo>
                  <a:lnTo>
                    <a:pt x="6041" y="4222"/>
                  </a:lnTo>
                  <a:lnTo>
                    <a:pt x="6041" y="4210"/>
                  </a:lnTo>
                  <a:lnTo>
                    <a:pt x="6045" y="4210"/>
                  </a:lnTo>
                  <a:lnTo>
                    <a:pt x="6062" y="4205"/>
                  </a:lnTo>
                  <a:lnTo>
                    <a:pt x="6062" y="4205"/>
                  </a:lnTo>
                  <a:lnTo>
                    <a:pt x="6062" y="4205"/>
                  </a:lnTo>
                  <a:close/>
                  <a:moveTo>
                    <a:pt x="5986" y="4205"/>
                  </a:moveTo>
                  <a:lnTo>
                    <a:pt x="5991" y="4210"/>
                  </a:lnTo>
                  <a:lnTo>
                    <a:pt x="5977" y="4210"/>
                  </a:lnTo>
                  <a:lnTo>
                    <a:pt x="5986" y="4205"/>
                  </a:lnTo>
                  <a:lnTo>
                    <a:pt x="5986" y="4205"/>
                  </a:lnTo>
                  <a:lnTo>
                    <a:pt x="5986" y="4205"/>
                  </a:lnTo>
                  <a:close/>
                  <a:moveTo>
                    <a:pt x="1243" y="4222"/>
                  </a:moveTo>
                  <a:lnTo>
                    <a:pt x="1231" y="4226"/>
                  </a:lnTo>
                  <a:lnTo>
                    <a:pt x="1231" y="4222"/>
                  </a:lnTo>
                  <a:lnTo>
                    <a:pt x="1243" y="4222"/>
                  </a:lnTo>
                  <a:lnTo>
                    <a:pt x="1243" y="4222"/>
                  </a:lnTo>
                  <a:lnTo>
                    <a:pt x="1243" y="4222"/>
                  </a:lnTo>
                  <a:close/>
                  <a:moveTo>
                    <a:pt x="1042" y="4226"/>
                  </a:moveTo>
                  <a:lnTo>
                    <a:pt x="1049" y="4243"/>
                  </a:lnTo>
                  <a:lnTo>
                    <a:pt x="1033" y="4238"/>
                  </a:lnTo>
                  <a:lnTo>
                    <a:pt x="1033" y="4226"/>
                  </a:lnTo>
                  <a:lnTo>
                    <a:pt x="1042" y="4226"/>
                  </a:lnTo>
                  <a:lnTo>
                    <a:pt x="1042" y="4226"/>
                  </a:lnTo>
                  <a:lnTo>
                    <a:pt x="1042" y="4226"/>
                  </a:lnTo>
                  <a:close/>
                  <a:moveTo>
                    <a:pt x="1063" y="4243"/>
                  </a:moveTo>
                  <a:lnTo>
                    <a:pt x="1063" y="4248"/>
                  </a:lnTo>
                  <a:lnTo>
                    <a:pt x="1059" y="4243"/>
                  </a:lnTo>
                  <a:lnTo>
                    <a:pt x="1063" y="4243"/>
                  </a:lnTo>
                  <a:lnTo>
                    <a:pt x="1063" y="4243"/>
                  </a:lnTo>
                  <a:lnTo>
                    <a:pt x="1063" y="4243"/>
                  </a:lnTo>
                  <a:close/>
                  <a:moveTo>
                    <a:pt x="1205" y="4248"/>
                  </a:moveTo>
                  <a:lnTo>
                    <a:pt x="1210" y="4248"/>
                  </a:lnTo>
                  <a:lnTo>
                    <a:pt x="1205" y="4248"/>
                  </a:lnTo>
                  <a:lnTo>
                    <a:pt x="1205" y="4248"/>
                  </a:lnTo>
                  <a:lnTo>
                    <a:pt x="1205" y="4248"/>
                  </a:lnTo>
                  <a:close/>
                  <a:moveTo>
                    <a:pt x="1222" y="4259"/>
                  </a:moveTo>
                  <a:lnTo>
                    <a:pt x="1243" y="4276"/>
                  </a:lnTo>
                  <a:lnTo>
                    <a:pt x="1226" y="4264"/>
                  </a:lnTo>
                  <a:lnTo>
                    <a:pt x="1222" y="4259"/>
                  </a:lnTo>
                  <a:lnTo>
                    <a:pt x="1222" y="4259"/>
                  </a:lnTo>
                  <a:lnTo>
                    <a:pt x="1222" y="4259"/>
                  </a:lnTo>
                  <a:close/>
                  <a:moveTo>
                    <a:pt x="1226" y="4276"/>
                  </a:moveTo>
                  <a:lnTo>
                    <a:pt x="1231" y="4292"/>
                  </a:lnTo>
                  <a:lnTo>
                    <a:pt x="1226" y="4292"/>
                  </a:lnTo>
                  <a:lnTo>
                    <a:pt x="1226" y="4276"/>
                  </a:lnTo>
                  <a:lnTo>
                    <a:pt x="1226" y="4276"/>
                  </a:lnTo>
                  <a:lnTo>
                    <a:pt x="1226" y="4276"/>
                  </a:lnTo>
                  <a:close/>
                  <a:moveTo>
                    <a:pt x="6133" y="4337"/>
                  </a:moveTo>
                  <a:lnTo>
                    <a:pt x="6133" y="4349"/>
                  </a:lnTo>
                  <a:lnTo>
                    <a:pt x="6121" y="4354"/>
                  </a:lnTo>
                  <a:lnTo>
                    <a:pt x="6111" y="4337"/>
                  </a:lnTo>
                  <a:lnTo>
                    <a:pt x="6133" y="4337"/>
                  </a:lnTo>
                  <a:lnTo>
                    <a:pt x="6133" y="4337"/>
                  </a:lnTo>
                  <a:lnTo>
                    <a:pt x="6133" y="4337"/>
                  </a:lnTo>
                  <a:close/>
                  <a:moveTo>
                    <a:pt x="5365" y="4354"/>
                  </a:moveTo>
                  <a:lnTo>
                    <a:pt x="5365" y="4359"/>
                  </a:lnTo>
                  <a:lnTo>
                    <a:pt x="5360" y="4359"/>
                  </a:lnTo>
                  <a:lnTo>
                    <a:pt x="5365" y="4354"/>
                  </a:lnTo>
                  <a:lnTo>
                    <a:pt x="5365" y="4354"/>
                  </a:lnTo>
                  <a:lnTo>
                    <a:pt x="5365" y="4354"/>
                  </a:lnTo>
                  <a:close/>
                  <a:moveTo>
                    <a:pt x="5365" y="4359"/>
                  </a:moveTo>
                  <a:lnTo>
                    <a:pt x="5360" y="4375"/>
                  </a:lnTo>
                  <a:lnTo>
                    <a:pt x="5355" y="4375"/>
                  </a:lnTo>
                  <a:lnTo>
                    <a:pt x="5355" y="4370"/>
                  </a:lnTo>
                  <a:lnTo>
                    <a:pt x="5365" y="4359"/>
                  </a:lnTo>
                  <a:lnTo>
                    <a:pt x="5365" y="4359"/>
                  </a:lnTo>
                  <a:lnTo>
                    <a:pt x="5365" y="4359"/>
                  </a:lnTo>
                  <a:close/>
                  <a:moveTo>
                    <a:pt x="5970" y="4387"/>
                  </a:moveTo>
                  <a:lnTo>
                    <a:pt x="5970" y="4392"/>
                  </a:lnTo>
                  <a:lnTo>
                    <a:pt x="5953" y="4387"/>
                  </a:lnTo>
                  <a:lnTo>
                    <a:pt x="5970" y="4387"/>
                  </a:lnTo>
                  <a:lnTo>
                    <a:pt x="5970" y="4387"/>
                  </a:lnTo>
                  <a:lnTo>
                    <a:pt x="5970" y="4387"/>
                  </a:lnTo>
                  <a:close/>
                  <a:moveTo>
                    <a:pt x="6095" y="4392"/>
                  </a:moveTo>
                  <a:lnTo>
                    <a:pt x="6083" y="4408"/>
                  </a:lnTo>
                  <a:lnTo>
                    <a:pt x="6078" y="4408"/>
                  </a:lnTo>
                  <a:lnTo>
                    <a:pt x="6095" y="4392"/>
                  </a:lnTo>
                  <a:lnTo>
                    <a:pt x="6095" y="4392"/>
                  </a:lnTo>
                  <a:lnTo>
                    <a:pt x="6095" y="4392"/>
                  </a:lnTo>
                  <a:close/>
                  <a:moveTo>
                    <a:pt x="5582" y="4392"/>
                  </a:moveTo>
                  <a:lnTo>
                    <a:pt x="5570" y="4403"/>
                  </a:lnTo>
                  <a:lnTo>
                    <a:pt x="5544" y="4425"/>
                  </a:lnTo>
                  <a:lnTo>
                    <a:pt x="5554" y="4425"/>
                  </a:lnTo>
                  <a:lnTo>
                    <a:pt x="5537" y="4425"/>
                  </a:lnTo>
                  <a:lnTo>
                    <a:pt x="5544" y="4408"/>
                  </a:lnTo>
                  <a:lnTo>
                    <a:pt x="5582" y="4392"/>
                  </a:lnTo>
                  <a:lnTo>
                    <a:pt x="5582" y="4392"/>
                  </a:lnTo>
                  <a:lnTo>
                    <a:pt x="5582" y="4392"/>
                  </a:lnTo>
                  <a:close/>
                  <a:moveTo>
                    <a:pt x="5523" y="4503"/>
                  </a:moveTo>
                  <a:lnTo>
                    <a:pt x="5500" y="4519"/>
                  </a:lnTo>
                  <a:lnTo>
                    <a:pt x="5507" y="4526"/>
                  </a:lnTo>
                  <a:lnTo>
                    <a:pt x="5507" y="4536"/>
                  </a:lnTo>
                  <a:lnTo>
                    <a:pt x="5485" y="4543"/>
                  </a:lnTo>
                  <a:lnTo>
                    <a:pt x="5474" y="4526"/>
                  </a:lnTo>
                  <a:lnTo>
                    <a:pt x="5462" y="4519"/>
                  </a:lnTo>
                  <a:lnTo>
                    <a:pt x="5474" y="4514"/>
                  </a:lnTo>
                  <a:lnTo>
                    <a:pt x="5452" y="4526"/>
                  </a:lnTo>
                  <a:lnTo>
                    <a:pt x="5419" y="4519"/>
                  </a:lnTo>
                  <a:lnTo>
                    <a:pt x="5415" y="4514"/>
                  </a:lnTo>
                  <a:lnTo>
                    <a:pt x="5415" y="4503"/>
                  </a:lnTo>
                  <a:lnTo>
                    <a:pt x="5393" y="4503"/>
                  </a:lnTo>
                  <a:lnTo>
                    <a:pt x="5393" y="4481"/>
                  </a:lnTo>
                  <a:lnTo>
                    <a:pt x="5377" y="4481"/>
                  </a:lnTo>
                  <a:lnTo>
                    <a:pt x="5365" y="4470"/>
                  </a:lnTo>
                  <a:lnTo>
                    <a:pt x="5398" y="4441"/>
                  </a:lnTo>
                  <a:lnTo>
                    <a:pt x="5398" y="4460"/>
                  </a:lnTo>
                  <a:lnTo>
                    <a:pt x="5393" y="4465"/>
                  </a:lnTo>
                  <a:lnTo>
                    <a:pt x="5415" y="4481"/>
                  </a:lnTo>
                  <a:lnTo>
                    <a:pt x="5415" y="4498"/>
                  </a:lnTo>
                  <a:lnTo>
                    <a:pt x="5419" y="4498"/>
                  </a:lnTo>
                  <a:lnTo>
                    <a:pt x="5419" y="4486"/>
                  </a:lnTo>
                  <a:lnTo>
                    <a:pt x="5452" y="4503"/>
                  </a:lnTo>
                  <a:lnTo>
                    <a:pt x="5544" y="4498"/>
                  </a:lnTo>
                  <a:lnTo>
                    <a:pt x="5523" y="4503"/>
                  </a:lnTo>
                  <a:lnTo>
                    <a:pt x="5523" y="4503"/>
                  </a:lnTo>
                  <a:lnTo>
                    <a:pt x="5523" y="4503"/>
                  </a:lnTo>
                  <a:close/>
                  <a:moveTo>
                    <a:pt x="5608" y="4552"/>
                  </a:moveTo>
                  <a:lnTo>
                    <a:pt x="5599" y="4569"/>
                  </a:lnTo>
                  <a:lnTo>
                    <a:pt x="5625" y="4569"/>
                  </a:lnTo>
                  <a:lnTo>
                    <a:pt x="5646" y="4543"/>
                  </a:lnTo>
                  <a:lnTo>
                    <a:pt x="5651" y="4536"/>
                  </a:lnTo>
                  <a:lnTo>
                    <a:pt x="5629" y="4552"/>
                  </a:lnTo>
                  <a:lnTo>
                    <a:pt x="5625" y="4543"/>
                  </a:lnTo>
                  <a:lnTo>
                    <a:pt x="5663" y="4519"/>
                  </a:lnTo>
                  <a:lnTo>
                    <a:pt x="5637" y="4536"/>
                  </a:lnTo>
                  <a:lnTo>
                    <a:pt x="5663" y="4514"/>
                  </a:lnTo>
                  <a:lnTo>
                    <a:pt x="5689" y="4519"/>
                  </a:lnTo>
                  <a:lnTo>
                    <a:pt x="5689" y="4526"/>
                  </a:lnTo>
                  <a:lnTo>
                    <a:pt x="5689" y="4543"/>
                  </a:lnTo>
                  <a:lnTo>
                    <a:pt x="5667" y="4552"/>
                  </a:lnTo>
                  <a:lnTo>
                    <a:pt x="5663" y="4569"/>
                  </a:lnTo>
                  <a:lnTo>
                    <a:pt x="5646" y="4576"/>
                  </a:lnTo>
                  <a:lnTo>
                    <a:pt x="5599" y="4576"/>
                  </a:lnTo>
                  <a:lnTo>
                    <a:pt x="5582" y="4576"/>
                  </a:lnTo>
                  <a:lnTo>
                    <a:pt x="5575" y="4569"/>
                  </a:lnTo>
                  <a:lnTo>
                    <a:pt x="5575" y="4536"/>
                  </a:lnTo>
                  <a:lnTo>
                    <a:pt x="5575" y="4526"/>
                  </a:lnTo>
                  <a:lnTo>
                    <a:pt x="5592" y="4519"/>
                  </a:lnTo>
                  <a:lnTo>
                    <a:pt x="5637" y="4448"/>
                  </a:lnTo>
                  <a:lnTo>
                    <a:pt x="5646" y="4448"/>
                  </a:lnTo>
                  <a:lnTo>
                    <a:pt x="5646" y="4460"/>
                  </a:lnTo>
                  <a:lnTo>
                    <a:pt x="5663" y="4465"/>
                  </a:lnTo>
                  <a:lnTo>
                    <a:pt x="5637" y="4519"/>
                  </a:lnTo>
                  <a:lnTo>
                    <a:pt x="5651" y="4514"/>
                  </a:lnTo>
                  <a:lnTo>
                    <a:pt x="5637" y="4526"/>
                  </a:lnTo>
                  <a:lnTo>
                    <a:pt x="5599" y="4543"/>
                  </a:lnTo>
                  <a:lnTo>
                    <a:pt x="5629" y="4536"/>
                  </a:lnTo>
                  <a:lnTo>
                    <a:pt x="5625" y="4543"/>
                  </a:lnTo>
                  <a:lnTo>
                    <a:pt x="5608" y="4552"/>
                  </a:lnTo>
                  <a:lnTo>
                    <a:pt x="5613" y="4552"/>
                  </a:lnTo>
                  <a:lnTo>
                    <a:pt x="5608" y="4552"/>
                  </a:lnTo>
                  <a:lnTo>
                    <a:pt x="5608" y="4552"/>
                  </a:lnTo>
                  <a:lnTo>
                    <a:pt x="5608" y="4552"/>
                  </a:lnTo>
                  <a:close/>
                  <a:moveTo>
                    <a:pt x="5613" y="4576"/>
                  </a:moveTo>
                  <a:lnTo>
                    <a:pt x="5608" y="4581"/>
                  </a:lnTo>
                  <a:lnTo>
                    <a:pt x="5599" y="4581"/>
                  </a:lnTo>
                  <a:lnTo>
                    <a:pt x="5613" y="4576"/>
                  </a:lnTo>
                  <a:lnTo>
                    <a:pt x="5613" y="4576"/>
                  </a:lnTo>
                  <a:lnTo>
                    <a:pt x="5613" y="4576"/>
                  </a:lnTo>
                  <a:close/>
                  <a:moveTo>
                    <a:pt x="5204" y="4647"/>
                  </a:moveTo>
                  <a:lnTo>
                    <a:pt x="5204" y="4654"/>
                  </a:lnTo>
                  <a:lnTo>
                    <a:pt x="5200" y="4663"/>
                  </a:lnTo>
                  <a:lnTo>
                    <a:pt x="5204" y="4647"/>
                  </a:lnTo>
                  <a:lnTo>
                    <a:pt x="5204" y="4647"/>
                  </a:lnTo>
                  <a:lnTo>
                    <a:pt x="5204" y="4647"/>
                  </a:lnTo>
                  <a:close/>
                  <a:moveTo>
                    <a:pt x="5679" y="4720"/>
                  </a:moveTo>
                  <a:lnTo>
                    <a:pt x="5700" y="4720"/>
                  </a:lnTo>
                  <a:lnTo>
                    <a:pt x="5689" y="4725"/>
                  </a:lnTo>
                  <a:lnTo>
                    <a:pt x="5679" y="4720"/>
                  </a:lnTo>
                  <a:lnTo>
                    <a:pt x="5679" y="4720"/>
                  </a:lnTo>
                  <a:lnTo>
                    <a:pt x="5679" y="472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0" name="Freeform 409">
              <a:extLst>
                <a:ext uri="{FF2B5EF4-FFF2-40B4-BE49-F238E27FC236}">
                  <a16:creationId xmlns:a16="http://schemas.microsoft.com/office/drawing/2014/main" id="{D610723F-76EE-444A-81CD-CE11DDD9C9AD}"/>
                </a:ext>
              </a:extLst>
            </p:cNvPr>
            <p:cNvSpPr>
              <a:spLocks noEditPoints="1"/>
            </p:cNvSpPr>
            <p:nvPr/>
          </p:nvSpPr>
          <p:spPr bwMode="gray">
            <a:xfrm>
              <a:off x="16093173" y="3766490"/>
              <a:ext cx="119791" cy="102117"/>
            </a:xfrm>
            <a:custGeom>
              <a:avLst/>
              <a:gdLst>
                <a:gd name="T0" fmla="*/ 28 w 366"/>
                <a:gd name="T1" fmla="*/ 187 h 312"/>
                <a:gd name="T2" fmla="*/ 12 w 366"/>
                <a:gd name="T3" fmla="*/ 147 h 312"/>
                <a:gd name="T4" fmla="*/ 0 w 366"/>
                <a:gd name="T5" fmla="*/ 97 h 312"/>
                <a:gd name="T6" fmla="*/ 21 w 366"/>
                <a:gd name="T7" fmla="*/ 76 h 312"/>
                <a:gd name="T8" fmla="*/ 28 w 366"/>
                <a:gd name="T9" fmla="*/ 66 h 312"/>
                <a:gd name="T10" fmla="*/ 59 w 366"/>
                <a:gd name="T11" fmla="*/ 22 h 312"/>
                <a:gd name="T12" fmla="*/ 114 w 366"/>
                <a:gd name="T13" fmla="*/ 22 h 312"/>
                <a:gd name="T14" fmla="*/ 189 w 366"/>
                <a:gd name="T15" fmla="*/ 22 h 312"/>
                <a:gd name="T16" fmla="*/ 199 w 366"/>
                <a:gd name="T17" fmla="*/ 22 h 312"/>
                <a:gd name="T18" fmla="*/ 227 w 366"/>
                <a:gd name="T19" fmla="*/ 38 h 312"/>
                <a:gd name="T20" fmla="*/ 258 w 366"/>
                <a:gd name="T21" fmla="*/ 55 h 312"/>
                <a:gd name="T22" fmla="*/ 258 w 366"/>
                <a:gd name="T23" fmla="*/ 22 h 312"/>
                <a:gd name="T24" fmla="*/ 274 w 366"/>
                <a:gd name="T25" fmla="*/ 10 h 312"/>
                <a:gd name="T26" fmla="*/ 295 w 366"/>
                <a:gd name="T27" fmla="*/ 5 h 312"/>
                <a:gd name="T28" fmla="*/ 366 w 366"/>
                <a:gd name="T29" fmla="*/ 0 h 312"/>
                <a:gd name="T30" fmla="*/ 359 w 366"/>
                <a:gd name="T31" fmla="*/ 55 h 312"/>
                <a:gd name="T32" fmla="*/ 366 w 366"/>
                <a:gd name="T33" fmla="*/ 81 h 312"/>
                <a:gd name="T34" fmla="*/ 366 w 366"/>
                <a:gd name="T35" fmla="*/ 147 h 312"/>
                <a:gd name="T36" fmla="*/ 359 w 366"/>
                <a:gd name="T37" fmla="*/ 175 h 312"/>
                <a:gd name="T38" fmla="*/ 333 w 366"/>
                <a:gd name="T39" fmla="*/ 170 h 312"/>
                <a:gd name="T40" fmla="*/ 279 w 366"/>
                <a:gd name="T41" fmla="*/ 192 h 312"/>
                <a:gd name="T42" fmla="*/ 258 w 366"/>
                <a:gd name="T43" fmla="*/ 208 h 312"/>
                <a:gd name="T44" fmla="*/ 241 w 366"/>
                <a:gd name="T45" fmla="*/ 225 h 312"/>
                <a:gd name="T46" fmla="*/ 269 w 366"/>
                <a:gd name="T47" fmla="*/ 263 h 312"/>
                <a:gd name="T48" fmla="*/ 241 w 366"/>
                <a:gd name="T49" fmla="*/ 263 h 312"/>
                <a:gd name="T50" fmla="*/ 215 w 366"/>
                <a:gd name="T51" fmla="*/ 274 h 312"/>
                <a:gd name="T52" fmla="*/ 189 w 366"/>
                <a:gd name="T53" fmla="*/ 274 h 312"/>
                <a:gd name="T54" fmla="*/ 182 w 366"/>
                <a:gd name="T55" fmla="*/ 296 h 312"/>
                <a:gd name="T56" fmla="*/ 151 w 366"/>
                <a:gd name="T57" fmla="*/ 312 h 312"/>
                <a:gd name="T58" fmla="*/ 114 w 366"/>
                <a:gd name="T59" fmla="*/ 296 h 312"/>
                <a:gd name="T60" fmla="*/ 80 w 366"/>
                <a:gd name="T61" fmla="*/ 296 h 312"/>
                <a:gd name="T62" fmla="*/ 97 w 366"/>
                <a:gd name="T63" fmla="*/ 274 h 312"/>
                <a:gd name="T64" fmla="*/ 76 w 366"/>
                <a:gd name="T65" fmla="*/ 274 h 312"/>
                <a:gd name="T66" fmla="*/ 54 w 366"/>
                <a:gd name="T67" fmla="*/ 241 h 312"/>
                <a:gd name="T68" fmla="*/ 43 w 366"/>
                <a:gd name="T69" fmla="*/ 220 h 312"/>
                <a:gd name="T70" fmla="*/ 43 w 366"/>
                <a:gd name="T71" fmla="*/ 220 h 312"/>
                <a:gd name="T72" fmla="*/ 43 w 366"/>
                <a:gd name="T73" fmla="*/ 225 h 312"/>
                <a:gd name="T74" fmla="*/ 43 w 366"/>
                <a:gd name="T75" fmla="*/ 220 h 312"/>
                <a:gd name="T76" fmla="*/ 66 w 366"/>
                <a:gd name="T77" fmla="*/ 286 h 312"/>
                <a:gd name="T78" fmla="*/ 66 w 366"/>
                <a:gd name="T79" fmla="*/ 286 h 312"/>
                <a:gd name="T80" fmla="*/ 66 w 366"/>
                <a:gd name="T81" fmla="*/ 286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6" h="312">
                  <a:moveTo>
                    <a:pt x="43" y="220"/>
                  </a:moveTo>
                  <a:lnTo>
                    <a:pt x="28" y="187"/>
                  </a:lnTo>
                  <a:lnTo>
                    <a:pt x="28" y="163"/>
                  </a:lnTo>
                  <a:lnTo>
                    <a:pt x="12" y="147"/>
                  </a:lnTo>
                  <a:lnTo>
                    <a:pt x="12" y="121"/>
                  </a:lnTo>
                  <a:lnTo>
                    <a:pt x="0" y="97"/>
                  </a:lnTo>
                  <a:lnTo>
                    <a:pt x="7" y="76"/>
                  </a:lnTo>
                  <a:lnTo>
                    <a:pt x="21" y="76"/>
                  </a:lnTo>
                  <a:lnTo>
                    <a:pt x="12" y="66"/>
                  </a:lnTo>
                  <a:lnTo>
                    <a:pt x="28" y="66"/>
                  </a:lnTo>
                  <a:lnTo>
                    <a:pt x="43" y="38"/>
                  </a:lnTo>
                  <a:lnTo>
                    <a:pt x="59" y="22"/>
                  </a:lnTo>
                  <a:lnTo>
                    <a:pt x="92" y="10"/>
                  </a:lnTo>
                  <a:lnTo>
                    <a:pt x="114" y="22"/>
                  </a:lnTo>
                  <a:lnTo>
                    <a:pt x="173" y="10"/>
                  </a:lnTo>
                  <a:lnTo>
                    <a:pt x="189" y="22"/>
                  </a:lnTo>
                  <a:lnTo>
                    <a:pt x="189" y="38"/>
                  </a:lnTo>
                  <a:lnTo>
                    <a:pt x="199" y="22"/>
                  </a:lnTo>
                  <a:lnTo>
                    <a:pt x="215" y="43"/>
                  </a:lnTo>
                  <a:lnTo>
                    <a:pt x="227" y="38"/>
                  </a:lnTo>
                  <a:lnTo>
                    <a:pt x="253" y="55"/>
                  </a:lnTo>
                  <a:lnTo>
                    <a:pt x="258" y="55"/>
                  </a:lnTo>
                  <a:lnTo>
                    <a:pt x="269" y="43"/>
                  </a:lnTo>
                  <a:lnTo>
                    <a:pt x="258" y="22"/>
                  </a:lnTo>
                  <a:lnTo>
                    <a:pt x="274" y="22"/>
                  </a:lnTo>
                  <a:lnTo>
                    <a:pt x="274" y="10"/>
                  </a:lnTo>
                  <a:lnTo>
                    <a:pt x="279" y="10"/>
                  </a:lnTo>
                  <a:lnTo>
                    <a:pt x="295" y="5"/>
                  </a:lnTo>
                  <a:lnTo>
                    <a:pt x="312" y="26"/>
                  </a:lnTo>
                  <a:lnTo>
                    <a:pt x="366" y="0"/>
                  </a:lnTo>
                  <a:lnTo>
                    <a:pt x="350" y="38"/>
                  </a:lnTo>
                  <a:lnTo>
                    <a:pt x="359" y="55"/>
                  </a:lnTo>
                  <a:lnTo>
                    <a:pt x="359" y="59"/>
                  </a:lnTo>
                  <a:lnTo>
                    <a:pt x="366" y="81"/>
                  </a:lnTo>
                  <a:lnTo>
                    <a:pt x="359" y="121"/>
                  </a:lnTo>
                  <a:lnTo>
                    <a:pt x="366" y="147"/>
                  </a:lnTo>
                  <a:lnTo>
                    <a:pt x="366" y="170"/>
                  </a:lnTo>
                  <a:lnTo>
                    <a:pt x="359" y="175"/>
                  </a:lnTo>
                  <a:lnTo>
                    <a:pt x="350" y="170"/>
                  </a:lnTo>
                  <a:lnTo>
                    <a:pt x="333" y="170"/>
                  </a:lnTo>
                  <a:lnTo>
                    <a:pt x="307" y="192"/>
                  </a:lnTo>
                  <a:lnTo>
                    <a:pt x="279" y="192"/>
                  </a:lnTo>
                  <a:lnTo>
                    <a:pt x="291" y="220"/>
                  </a:lnTo>
                  <a:lnTo>
                    <a:pt x="258" y="208"/>
                  </a:lnTo>
                  <a:lnTo>
                    <a:pt x="253" y="220"/>
                  </a:lnTo>
                  <a:lnTo>
                    <a:pt x="241" y="225"/>
                  </a:lnTo>
                  <a:lnTo>
                    <a:pt x="241" y="246"/>
                  </a:lnTo>
                  <a:lnTo>
                    <a:pt x="269" y="263"/>
                  </a:lnTo>
                  <a:lnTo>
                    <a:pt x="269" y="279"/>
                  </a:lnTo>
                  <a:lnTo>
                    <a:pt x="241" y="263"/>
                  </a:lnTo>
                  <a:lnTo>
                    <a:pt x="220" y="274"/>
                  </a:lnTo>
                  <a:lnTo>
                    <a:pt x="215" y="274"/>
                  </a:lnTo>
                  <a:lnTo>
                    <a:pt x="199" y="274"/>
                  </a:lnTo>
                  <a:lnTo>
                    <a:pt x="189" y="274"/>
                  </a:lnTo>
                  <a:lnTo>
                    <a:pt x="189" y="286"/>
                  </a:lnTo>
                  <a:lnTo>
                    <a:pt x="182" y="296"/>
                  </a:lnTo>
                  <a:lnTo>
                    <a:pt x="161" y="303"/>
                  </a:lnTo>
                  <a:lnTo>
                    <a:pt x="151" y="312"/>
                  </a:lnTo>
                  <a:lnTo>
                    <a:pt x="135" y="296"/>
                  </a:lnTo>
                  <a:lnTo>
                    <a:pt x="114" y="296"/>
                  </a:lnTo>
                  <a:lnTo>
                    <a:pt x="92" y="303"/>
                  </a:lnTo>
                  <a:lnTo>
                    <a:pt x="80" y="296"/>
                  </a:lnTo>
                  <a:lnTo>
                    <a:pt x="97" y="286"/>
                  </a:lnTo>
                  <a:lnTo>
                    <a:pt x="97" y="274"/>
                  </a:lnTo>
                  <a:lnTo>
                    <a:pt x="80" y="258"/>
                  </a:lnTo>
                  <a:lnTo>
                    <a:pt x="76" y="274"/>
                  </a:lnTo>
                  <a:lnTo>
                    <a:pt x="59" y="274"/>
                  </a:lnTo>
                  <a:lnTo>
                    <a:pt x="54" y="241"/>
                  </a:lnTo>
                  <a:lnTo>
                    <a:pt x="43" y="225"/>
                  </a:lnTo>
                  <a:lnTo>
                    <a:pt x="43" y="220"/>
                  </a:lnTo>
                  <a:lnTo>
                    <a:pt x="54" y="220"/>
                  </a:lnTo>
                  <a:lnTo>
                    <a:pt x="43" y="220"/>
                  </a:lnTo>
                  <a:lnTo>
                    <a:pt x="38" y="208"/>
                  </a:lnTo>
                  <a:lnTo>
                    <a:pt x="43" y="225"/>
                  </a:lnTo>
                  <a:lnTo>
                    <a:pt x="43" y="220"/>
                  </a:lnTo>
                  <a:lnTo>
                    <a:pt x="43" y="220"/>
                  </a:lnTo>
                  <a:lnTo>
                    <a:pt x="43" y="220"/>
                  </a:lnTo>
                  <a:close/>
                  <a:moveTo>
                    <a:pt x="66" y="286"/>
                  </a:moveTo>
                  <a:lnTo>
                    <a:pt x="59" y="279"/>
                  </a:lnTo>
                  <a:lnTo>
                    <a:pt x="66" y="286"/>
                  </a:lnTo>
                  <a:lnTo>
                    <a:pt x="66" y="286"/>
                  </a:lnTo>
                  <a:lnTo>
                    <a:pt x="66" y="286"/>
                  </a:lnTo>
                  <a:lnTo>
                    <a:pt x="66" y="286"/>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1" name="Freeform 410">
              <a:extLst>
                <a:ext uri="{FF2B5EF4-FFF2-40B4-BE49-F238E27FC236}">
                  <a16:creationId xmlns:a16="http://schemas.microsoft.com/office/drawing/2014/main" id="{8A0D9A3F-A35E-4697-9A6A-34B63A2A2F9D}"/>
                </a:ext>
              </a:extLst>
            </p:cNvPr>
            <p:cNvSpPr>
              <a:spLocks/>
            </p:cNvSpPr>
            <p:nvPr/>
          </p:nvSpPr>
          <p:spPr bwMode="gray">
            <a:xfrm>
              <a:off x="14052806" y="3551783"/>
              <a:ext cx="241218" cy="384246"/>
            </a:xfrm>
            <a:custGeom>
              <a:avLst/>
              <a:gdLst>
                <a:gd name="T0" fmla="*/ 17 w 737"/>
                <a:gd name="T1" fmla="*/ 720 h 1174"/>
                <a:gd name="T2" fmla="*/ 17 w 737"/>
                <a:gd name="T3" fmla="*/ 659 h 1174"/>
                <a:gd name="T4" fmla="*/ 69 w 737"/>
                <a:gd name="T5" fmla="*/ 569 h 1174"/>
                <a:gd name="T6" fmla="*/ 161 w 737"/>
                <a:gd name="T7" fmla="*/ 264 h 1174"/>
                <a:gd name="T8" fmla="*/ 156 w 737"/>
                <a:gd name="T9" fmla="*/ 198 h 1174"/>
                <a:gd name="T10" fmla="*/ 123 w 737"/>
                <a:gd name="T11" fmla="*/ 144 h 1174"/>
                <a:gd name="T12" fmla="*/ 107 w 737"/>
                <a:gd name="T13" fmla="*/ 33 h 1174"/>
                <a:gd name="T14" fmla="*/ 452 w 737"/>
                <a:gd name="T15" fmla="*/ 137 h 1174"/>
                <a:gd name="T16" fmla="*/ 737 w 737"/>
                <a:gd name="T17" fmla="*/ 581 h 1174"/>
                <a:gd name="T18" fmla="*/ 666 w 737"/>
                <a:gd name="T19" fmla="*/ 588 h 1174"/>
                <a:gd name="T20" fmla="*/ 666 w 737"/>
                <a:gd name="T21" fmla="*/ 621 h 1174"/>
                <a:gd name="T22" fmla="*/ 645 w 737"/>
                <a:gd name="T23" fmla="*/ 654 h 1174"/>
                <a:gd name="T24" fmla="*/ 641 w 737"/>
                <a:gd name="T25" fmla="*/ 692 h 1174"/>
                <a:gd name="T26" fmla="*/ 607 w 737"/>
                <a:gd name="T27" fmla="*/ 720 h 1174"/>
                <a:gd name="T28" fmla="*/ 603 w 737"/>
                <a:gd name="T29" fmla="*/ 770 h 1174"/>
                <a:gd name="T30" fmla="*/ 603 w 737"/>
                <a:gd name="T31" fmla="*/ 803 h 1174"/>
                <a:gd name="T32" fmla="*/ 615 w 737"/>
                <a:gd name="T33" fmla="*/ 791 h 1174"/>
                <a:gd name="T34" fmla="*/ 631 w 737"/>
                <a:gd name="T35" fmla="*/ 819 h 1174"/>
                <a:gd name="T36" fmla="*/ 641 w 737"/>
                <a:gd name="T37" fmla="*/ 881 h 1174"/>
                <a:gd name="T38" fmla="*/ 662 w 737"/>
                <a:gd name="T39" fmla="*/ 885 h 1174"/>
                <a:gd name="T40" fmla="*/ 662 w 737"/>
                <a:gd name="T41" fmla="*/ 930 h 1174"/>
                <a:gd name="T42" fmla="*/ 577 w 737"/>
                <a:gd name="T43" fmla="*/ 952 h 1174"/>
                <a:gd name="T44" fmla="*/ 570 w 737"/>
                <a:gd name="T45" fmla="*/ 987 h 1174"/>
                <a:gd name="T46" fmla="*/ 548 w 737"/>
                <a:gd name="T47" fmla="*/ 996 h 1174"/>
                <a:gd name="T48" fmla="*/ 494 w 737"/>
                <a:gd name="T49" fmla="*/ 1046 h 1174"/>
                <a:gd name="T50" fmla="*/ 463 w 737"/>
                <a:gd name="T51" fmla="*/ 1053 h 1174"/>
                <a:gd name="T52" fmla="*/ 392 w 737"/>
                <a:gd name="T53" fmla="*/ 1070 h 1174"/>
                <a:gd name="T54" fmla="*/ 397 w 737"/>
                <a:gd name="T55" fmla="*/ 1098 h 1174"/>
                <a:gd name="T56" fmla="*/ 291 w 737"/>
                <a:gd name="T57" fmla="*/ 1141 h 1174"/>
                <a:gd name="T58" fmla="*/ 220 w 737"/>
                <a:gd name="T59" fmla="*/ 1157 h 1174"/>
                <a:gd name="T60" fmla="*/ 211 w 737"/>
                <a:gd name="T61" fmla="*/ 1164 h 1174"/>
                <a:gd name="T62" fmla="*/ 144 w 737"/>
                <a:gd name="T63" fmla="*/ 1174 h 1174"/>
                <a:gd name="T64" fmla="*/ 144 w 737"/>
                <a:gd name="T65" fmla="*/ 1152 h 1174"/>
                <a:gd name="T66" fmla="*/ 59 w 737"/>
                <a:gd name="T67" fmla="*/ 1053 h 1174"/>
                <a:gd name="T68" fmla="*/ 52 w 737"/>
                <a:gd name="T69" fmla="*/ 996 h 1174"/>
                <a:gd name="T70" fmla="*/ 161 w 737"/>
                <a:gd name="T71" fmla="*/ 996 h 1174"/>
                <a:gd name="T72" fmla="*/ 114 w 737"/>
                <a:gd name="T73" fmla="*/ 935 h 1174"/>
                <a:gd name="T74" fmla="*/ 114 w 737"/>
                <a:gd name="T75" fmla="*/ 885 h 1174"/>
                <a:gd name="T76" fmla="*/ 102 w 737"/>
                <a:gd name="T77" fmla="*/ 843 h 1174"/>
                <a:gd name="T78" fmla="*/ 76 w 737"/>
                <a:gd name="T79" fmla="*/ 791 h 1174"/>
                <a:gd name="T80" fmla="*/ 48 w 737"/>
                <a:gd name="T81" fmla="*/ 770 h 1174"/>
                <a:gd name="T82" fmla="*/ 48 w 737"/>
                <a:gd name="T83" fmla="*/ 770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7" h="1174">
                  <a:moveTo>
                    <a:pt x="48" y="770"/>
                  </a:moveTo>
                  <a:lnTo>
                    <a:pt x="17" y="720"/>
                  </a:lnTo>
                  <a:lnTo>
                    <a:pt x="0" y="663"/>
                  </a:lnTo>
                  <a:lnTo>
                    <a:pt x="17" y="659"/>
                  </a:lnTo>
                  <a:lnTo>
                    <a:pt x="31" y="626"/>
                  </a:lnTo>
                  <a:lnTo>
                    <a:pt x="69" y="569"/>
                  </a:lnTo>
                  <a:lnTo>
                    <a:pt x="144" y="486"/>
                  </a:lnTo>
                  <a:lnTo>
                    <a:pt x="161" y="264"/>
                  </a:lnTo>
                  <a:lnTo>
                    <a:pt x="178" y="231"/>
                  </a:lnTo>
                  <a:lnTo>
                    <a:pt x="156" y="198"/>
                  </a:lnTo>
                  <a:lnTo>
                    <a:pt x="156" y="182"/>
                  </a:lnTo>
                  <a:lnTo>
                    <a:pt x="123" y="144"/>
                  </a:lnTo>
                  <a:lnTo>
                    <a:pt x="123" y="104"/>
                  </a:lnTo>
                  <a:lnTo>
                    <a:pt x="107" y="33"/>
                  </a:lnTo>
                  <a:lnTo>
                    <a:pt x="178" y="0"/>
                  </a:lnTo>
                  <a:lnTo>
                    <a:pt x="452" y="137"/>
                  </a:lnTo>
                  <a:lnTo>
                    <a:pt x="737" y="293"/>
                  </a:lnTo>
                  <a:lnTo>
                    <a:pt x="737" y="581"/>
                  </a:lnTo>
                  <a:lnTo>
                    <a:pt x="678" y="581"/>
                  </a:lnTo>
                  <a:lnTo>
                    <a:pt x="666" y="588"/>
                  </a:lnTo>
                  <a:lnTo>
                    <a:pt x="666" y="604"/>
                  </a:lnTo>
                  <a:lnTo>
                    <a:pt x="666" y="621"/>
                  </a:lnTo>
                  <a:lnTo>
                    <a:pt x="645" y="642"/>
                  </a:lnTo>
                  <a:lnTo>
                    <a:pt x="645" y="654"/>
                  </a:lnTo>
                  <a:lnTo>
                    <a:pt x="631" y="659"/>
                  </a:lnTo>
                  <a:lnTo>
                    <a:pt x="641" y="692"/>
                  </a:lnTo>
                  <a:lnTo>
                    <a:pt x="615" y="708"/>
                  </a:lnTo>
                  <a:lnTo>
                    <a:pt x="607" y="720"/>
                  </a:lnTo>
                  <a:lnTo>
                    <a:pt x="624" y="748"/>
                  </a:lnTo>
                  <a:lnTo>
                    <a:pt x="603" y="770"/>
                  </a:lnTo>
                  <a:lnTo>
                    <a:pt x="586" y="791"/>
                  </a:lnTo>
                  <a:lnTo>
                    <a:pt x="603" y="803"/>
                  </a:lnTo>
                  <a:lnTo>
                    <a:pt x="607" y="803"/>
                  </a:lnTo>
                  <a:lnTo>
                    <a:pt x="615" y="791"/>
                  </a:lnTo>
                  <a:lnTo>
                    <a:pt x="631" y="803"/>
                  </a:lnTo>
                  <a:lnTo>
                    <a:pt x="631" y="819"/>
                  </a:lnTo>
                  <a:lnTo>
                    <a:pt x="645" y="848"/>
                  </a:lnTo>
                  <a:lnTo>
                    <a:pt x="641" y="881"/>
                  </a:lnTo>
                  <a:lnTo>
                    <a:pt x="657" y="885"/>
                  </a:lnTo>
                  <a:lnTo>
                    <a:pt x="662" y="885"/>
                  </a:lnTo>
                  <a:lnTo>
                    <a:pt x="666" y="902"/>
                  </a:lnTo>
                  <a:lnTo>
                    <a:pt x="662" y="930"/>
                  </a:lnTo>
                  <a:lnTo>
                    <a:pt x="631" y="919"/>
                  </a:lnTo>
                  <a:lnTo>
                    <a:pt x="577" y="952"/>
                  </a:lnTo>
                  <a:lnTo>
                    <a:pt x="577" y="975"/>
                  </a:lnTo>
                  <a:lnTo>
                    <a:pt x="570" y="987"/>
                  </a:lnTo>
                  <a:lnTo>
                    <a:pt x="555" y="996"/>
                  </a:lnTo>
                  <a:lnTo>
                    <a:pt x="548" y="996"/>
                  </a:lnTo>
                  <a:lnTo>
                    <a:pt x="518" y="1041"/>
                  </a:lnTo>
                  <a:lnTo>
                    <a:pt x="494" y="1046"/>
                  </a:lnTo>
                  <a:lnTo>
                    <a:pt x="485" y="1063"/>
                  </a:lnTo>
                  <a:lnTo>
                    <a:pt x="463" y="1053"/>
                  </a:lnTo>
                  <a:lnTo>
                    <a:pt x="452" y="1063"/>
                  </a:lnTo>
                  <a:lnTo>
                    <a:pt x="392" y="1070"/>
                  </a:lnTo>
                  <a:lnTo>
                    <a:pt x="383" y="1079"/>
                  </a:lnTo>
                  <a:lnTo>
                    <a:pt x="397" y="1098"/>
                  </a:lnTo>
                  <a:lnTo>
                    <a:pt x="359" y="1136"/>
                  </a:lnTo>
                  <a:lnTo>
                    <a:pt x="291" y="1141"/>
                  </a:lnTo>
                  <a:lnTo>
                    <a:pt x="237" y="1174"/>
                  </a:lnTo>
                  <a:lnTo>
                    <a:pt x="220" y="1157"/>
                  </a:lnTo>
                  <a:lnTo>
                    <a:pt x="220" y="1152"/>
                  </a:lnTo>
                  <a:lnTo>
                    <a:pt x="211" y="1164"/>
                  </a:lnTo>
                  <a:lnTo>
                    <a:pt x="178" y="1174"/>
                  </a:lnTo>
                  <a:lnTo>
                    <a:pt x="144" y="1174"/>
                  </a:lnTo>
                  <a:lnTo>
                    <a:pt x="156" y="1157"/>
                  </a:lnTo>
                  <a:lnTo>
                    <a:pt x="144" y="1152"/>
                  </a:lnTo>
                  <a:lnTo>
                    <a:pt x="123" y="1103"/>
                  </a:lnTo>
                  <a:lnTo>
                    <a:pt x="59" y="1053"/>
                  </a:lnTo>
                  <a:lnTo>
                    <a:pt x="38" y="1025"/>
                  </a:lnTo>
                  <a:lnTo>
                    <a:pt x="52" y="996"/>
                  </a:lnTo>
                  <a:lnTo>
                    <a:pt x="90" y="996"/>
                  </a:lnTo>
                  <a:lnTo>
                    <a:pt x="161" y="996"/>
                  </a:lnTo>
                  <a:lnTo>
                    <a:pt x="140" y="975"/>
                  </a:lnTo>
                  <a:lnTo>
                    <a:pt x="114" y="935"/>
                  </a:lnTo>
                  <a:lnTo>
                    <a:pt x="114" y="902"/>
                  </a:lnTo>
                  <a:lnTo>
                    <a:pt x="114" y="885"/>
                  </a:lnTo>
                  <a:lnTo>
                    <a:pt x="114" y="843"/>
                  </a:lnTo>
                  <a:lnTo>
                    <a:pt x="102" y="843"/>
                  </a:lnTo>
                  <a:lnTo>
                    <a:pt x="102" y="803"/>
                  </a:lnTo>
                  <a:lnTo>
                    <a:pt x="76" y="791"/>
                  </a:lnTo>
                  <a:lnTo>
                    <a:pt x="69" y="770"/>
                  </a:lnTo>
                  <a:lnTo>
                    <a:pt x="48" y="770"/>
                  </a:lnTo>
                  <a:lnTo>
                    <a:pt x="48" y="770"/>
                  </a:lnTo>
                  <a:lnTo>
                    <a:pt x="48" y="77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2" name="Freeform 411">
              <a:extLst>
                <a:ext uri="{FF2B5EF4-FFF2-40B4-BE49-F238E27FC236}">
                  <a16:creationId xmlns:a16="http://schemas.microsoft.com/office/drawing/2014/main" id="{01D4CCAF-770A-4D80-9170-771B640AE6BB}"/>
                </a:ext>
              </a:extLst>
            </p:cNvPr>
            <p:cNvSpPr>
              <a:spLocks noEditPoints="1"/>
            </p:cNvSpPr>
            <p:nvPr/>
          </p:nvSpPr>
          <p:spPr bwMode="gray">
            <a:xfrm>
              <a:off x="15572117" y="3881698"/>
              <a:ext cx="51058" cy="91970"/>
            </a:xfrm>
            <a:custGeom>
              <a:avLst/>
              <a:gdLst>
                <a:gd name="T0" fmla="*/ 17 w 156"/>
                <a:gd name="T1" fmla="*/ 182 h 281"/>
                <a:gd name="T2" fmla="*/ 12 w 156"/>
                <a:gd name="T3" fmla="*/ 116 h 281"/>
                <a:gd name="T4" fmla="*/ 12 w 156"/>
                <a:gd name="T5" fmla="*/ 111 h 281"/>
                <a:gd name="T6" fmla="*/ 12 w 156"/>
                <a:gd name="T7" fmla="*/ 133 h 281"/>
                <a:gd name="T8" fmla="*/ 17 w 156"/>
                <a:gd name="T9" fmla="*/ 133 h 281"/>
                <a:gd name="T10" fmla="*/ 17 w 156"/>
                <a:gd name="T11" fmla="*/ 95 h 281"/>
                <a:gd name="T12" fmla="*/ 28 w 156"/>
                <a:gd name="T13" fmla="*/ 88 h 281"/>
                <a:gd name="T14" fmla="*/ 28 w 156"/>
                <a:gd name="T15" fmla="*/ 59 h 281"/>
                <a:gd name="T16" fmla="*/ 33 w 156"/>
                <a:gd name="T17" fmla="*/ 55 h 281"/>
                <a:gd name="T18" fmla="*/ 33 w 156"/>
                <a:gd name="T19" fmla="*/ 33 h 281"/>
                <a:gd name="T20" fmla="*/ 38 w 156"/>
                <a:gd name="T21" fmla="*/ 22 h 281"/>
                <a:gd name="T22" fmla="*/ 33 w 156"/>
                <a:gd name="T23" fmla="*/ 17 h 281"/>
                <a:gd name="T24" fmla="*/ 71 w 156"/>
                <a:gd name="T25" fmla="*/ 33 h 281"/>
                <a:gd name="T26" fmla="*/ 28 w 156"/>
                <a:gd name="T27" fmla="*/ 5 h 281"/>
                <a:gd name="T28" fmla="*/ 28 w 156"/>
                <a:gd name="T29" fmla="*/ 0 h 281"/>
                <a:gd name="T30" fmla="*/ 33 w 156"/>
                <a:gd name="T31" fmla="*/ 0 h 281"/>
                <a:gd name="T32" fmla="*/ 54 w 156"/>
                <a:gd name="T33" fmla="*/ 17 h 281"/>
                <a:gd name="T34" fmla="*/ 38 w 156"/>
                <a:gd name="T35" fmla="*/ 0 h 281"/>
                <a:gd name="T36" fmla="*/ 50 w 156"/>
                <a:gd name="T37" fmla="*/ 0 h 281"/>
                <a:gd name="T38" fmla="*/ 85 w 156"/>
                <a:gd name="T39" fmla="*/ 38 h 281"/>
                <a:gd name="T40" fmla="*/ 92 w 156"/>
                <a:gd name="T41" fmla="*/ 59 h 281"/>
                <a:gd name="T42" fmla="*/ 102 w 156"/>
                <a:gd name="T43" fmla="*/ 59 h 281"/>
                <a:gd name="T44" fmla="*/ 106 w 156"/>
                <a:gd name="T45" fmla="*/ 88 h 281"/>
                <a:gd name="T46" fmla="*/ 118 w 156"/>
                <a:gd name="T47" fmla="*/ 95 h 281"/>
                <a:gd name="T48" fmla="*/ 106 w 156"/>
                <a:gd name="T49" fmla="*/ 95 h 281"/>
                <a:gd name="T50" fmla="*/ 123 w 156"/>
                <a:gd name="T51" fmla="*/ 95 h 281"/>
                <a:gd name="T52" fmla="*/ 123 w 156"/>
                <a:gd name="T53" fmla="*/ 116 h 281"/>
                <a:gd name="T54" fmla="*/ 156 w 156"/>
                <a:gd name="T55" fmla="*/ 170 h 281"/>
                <a:gd name="T56" fmla="*/ 156 w 156"/>
                <a:gd name="T57" fmla="*/ 206 h 281"/>
                <a:gd name="T58" fmla="*/ 139 w 156"/>
                <a:gd name="T59" fmla="*/ 244 h 281"/>
                <a:gd name="T60" fmla="*/ 118 w 156"/>
                <a:gd name="T61" fmla="*/ 260 h 281"/>
                <a:gd name="T62" fmla="*/ 71 w 156"/>
                <a:gd name="T63" fmla="*/ 281 h 281"/>
                <a:gd name="T64" fmla="*/ 38 w 156"/>
                <a:gd name="T65" fmla="*/ 277 h 281"/>
                <a:gd name="T66" fmla="*/ 33 w 156"/>
                <a:gd name="T67" fmla="*/ 260 h 281"/>
                <a:gd name="T68" fmla="*/ 17 w 156"/>
                <a:gd name="T69" fmla="*/ 222 h 281"/>
                <a:gd name="T70" fmla="*/ 17 w 156"/>
                <a:gd name="T71" fmla="*/ 182 h 281"/>
                <a:gd name="T72" fmla="*/ 17 w 156"/>
                <a:gd name="T73" fmla="*/ 182 h 281"/>
                <a:gd name="T74" fmla="*/ 17 w 156"/>
                <a:gd name="T75" fmla="*/ 182 h 281"/>
                <a:gd name="T76" fmla="*/ 17 w 156"/>
                <a:gd name="T77" fmla="*/ 5 h 281"/>
                <a:gd name="T78" fmla="*/ 28 w 156"/>
                <a:gd name="T79" fmla="*/ 17 h 281"/>
                <a:gd name="T80" fmla="*/ 17 w 156"/>
                <a:gd name="T81" fmla="*/ 5 h 281"/>
                <a:gd name="T82" fmla="*/ 17 w 156"/>
                <a:gd name="T83" fmla="*/ 5 h 281"/>
                <a:gd name="T84" fmla="*/ 17 w 156"/>
                <a:gd name="T85" fmla="*/ 5 h 281"/>
                <a:gd name="T86" fmla="*/ 17 w 156"/>
                <a:gd name="T87" fmla="*/ 5 h 281"/>
                <a:gd name="T88" fmla="*/ 12 w 156"/>
                <a:gd name="T89" fmla="*/ 55 h 281"/>
                <a:gd name="T90" fmla="*/ 17 w 156"/>
                <a:gd name="T91" fmla="*/ 59 h 281"/>
                <a:gd name="T92" fmla="*/ 0 w 156"/>
                <a:gd name="T93" fmla="*/ 55 h 281"/>
                <a:gd name="T94" fmla="*/ 12 w 156"/>
                <a:gd name="T95" fmla="*/ 55 h 281"/>
                <a:gd name="T96" fmla="*/ 12 w 156"/>
                <a:gd name="T97" fmla="*/ 55 h 281"/>
                <a:gd name="T98" fmla="*/ 12 w 156"/>
                <a:gd name="T99" fmla="*/ 55 h 281"/>
                <a:gd name="T100" fmla="*/ 144 w 156"/>
                <a:gd name="T101" fmla="*/ 154 h 281"/>
                <a:gd name="T102" fmla="*/ 156 w 156"/>
                <a:gd name="T103" fmla="*/ 170 h 281"/>
                <a:gd name="T104" fmla="*/ 144 w 156"/>
                <a:gd name="T105" fmla="*/ 149 h 281"/>
                <a:gd name="T106" fmla="*/ 144 w 156"/>
                <a:gd name="T107" fmla="*/ 154 h 281"/>
                <a:gd name="T108" fmla="*/ 144 w 156"/>
                <a:gd name="T109" fmla="*/ 154 h 281"/>
                <a:gd name="T110" fmla="*/ 144 w 156"/>
                <a:gd name="T111" fmla="*/ 15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6" h="281">
                  <a:moveTo>
                    <a:pt x="17" y="182"/>
                  </a:moveTo>
                  <a:lnTo>
                    <a:pt x="12" y="116"/>
                  </a:lnTo>
                  <a:lnTo>
                    <a:pt x="12" y="111"/>
                  </a:lnTo>
                  <a:lnTo>
                    <a:pt x="12" y="133"/>
                  </a:lnTo>
                  <a:lnTo>
                    <a:pt x="17" y="133"/>
                  </a:lnTo>
                  <a:lnTo>
                    <a:pt x="17" y="95"/>
                  </a:lnTo>
                  <a:lnTo>
                    <a:pt x="28" y="88"/>
                  </a:lnTo>
                  <a:lnTo>
                    <a:pt x="28" y="59"/>
                  </a:lnTo>
                  <a:lnTo>
                    <a:pt x="33" y="55"/>
                  </a:lnTo>
                  <a:lnTo>
                    <a:pt x="33" y="33"/>
                  </a:lnTo>
                  <a:lnTo>
                    <a:pt x="38" y="22"/>
                  </a:lnTo>
                  <a:lnTo>
                    <a:pt x="33" y="17"/>
                  </a:lnTo>
                  <a:lnTo>
                    <a:pt x="71" y="33"/>
                  </a:lnTo>
                  <a:lnTo>
                    <a:pt x="28" y="5"/>
                  </a:lnTo>
                  <a:lnTo>
                    <a:pt x="28" y="0"/>
                  </a:lnTo>
                  <a:lnTo>
                    <a:pt x="33" y="0"/>
                  </a:lnTo>
                  <a:lnTo>
                    <a:pt x="54" y="17"/>
                  </a:lnTo>
                  <a:lnTo>
                    <a:pt x="38" y="0"/>
                  </a:lnTo>
                  <a:lnTo>
                    <a:pt x="50" y="0"/>
                  </a:lnTo>
                  <a:lnTo>
                    <a:pt x="85" y="38"/>
                  </a:lnTo>
                  <a:lnTo>
                    <a:pt x="92" y="59"/>
                  </a:lnTo>
                  <a:lnTo>
                    <a:pt x="102" y="59"/>
                  </a:lnTo>
                  <a:lnTo>
                    <a:pt x="106" y="88"/>
                  </a:lnTo>
                  <a:lnTo>
                    <a:pt x="118" y="95"/>
                  </a:lnTo>
                  <a:lnTo>
                    <a:pt x="106" y="95"/>
                  </a:lnTo>
                  <a:lnTo>
                    <a:pt x="123" y="95"/>
                  </a:lnTo>
                  <a:lnTo>
                    <a:pt x="123" y="116"/>
                  </a:lnTo>
                  <a:lnTo>
                    <a:pt x="156" y="170"/>
                  </a:lnTo>
                  <a:lnTo>
                    <a:pt x="156" y="206"/>
                  </a:lnTo>
                  <a:lnTo>
                    <a:pt x="139" y="244"/>
                  </a:lnTo>
                  <a:lnTo>
                    <a:pt x="118" y="260"/>
                  </a:lnTo>
                  <a:lnTo>
                    <a:pt x="71" y="281"/>
                  </a:lnTo>
                  <a:lnTo>
                    <a:pt x="38" y="277"/>
                  </a:lnTo>
                  <a:lnTo>
                    <a:pt x="33" y="260"/>
                  </a:lnTo>
                  <a:lnTo>
                    <a:pt x="17" y="222"/>
                  </a:lnTo>
                  <a:lnTo>
                    <a:pt x="17" y="182"/>
                  </a:lnTo>
                  <a:lnTo>
                    <a:pt x="17" y="182"/>
                  </a:lnTo>
                  <a:lnTo>
                    <a:pt x="17" y="182"/>
                  </a:lnTo>
                  <a:close/>
                  <a:moveTo>
                    <a:pt x="17" y="5"/>
                  </a:moveTo>
                  <a:lnTo>
                    <a:pt x="28" y="17"/>
                  </a:lnTo>
                  <a:lnTo>
                    <a:pt x="17" y="5"/>
                  </a:lnTo>
                  <a:lnTo>
                    <a:pt x="17" y="5"/>
                  </a:lnTo>
                  <a:lnTo>
                    <a:pt x="17" y="5"/>
                  </a:lnTo>
                  <a:lnTo>
                    <a:pt x="17" y="5"/>
                  </a:lnTo>
                  <a:close/>
                  <a:moveTo>
                    <a:pt x="12" y="55"/>
                  </a:moveTo>
                  <a:lnTo>
                    <a:pt x="17" y="59"/>
                  </a:lnTo>
                  <a:lnTo>
                    <a:pt x="0" y="55"/>
                  </a:lnTo>
                  <a:lnTo>
                    <a:pt x="12" y="55"/>
                  </a:lnTo>
                  <a:lnTo>
                    <a:pt x="12" y="55"/>
                  </a:lnTo>
                  <a:lnTo>
                    <a:pt x="12" y="55"/>
                  </a:lnTo>
                  <a:close/>
                  <a:moveTo>
                    <a:pt x="144" y="154"/>
                  </a:moveTo>
                  <a:lnTo>
                    <a:pt x="156" y="170"/>
                  </a:lnTo>
                  <a:lnTo>
                    <a:pt x="144" y="149"/>
                  </a:lnTo>
                  <a:lnTo>
                    <a:pt x="144" y="154"/>
                  </a:lnTo>
                  <a:lnTo>
                    <a:pt x="144" y="154"/>
                  </a:lnTo>
                  <a:lnTo>
                    <a:pt x="144" y="154"/>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3" name="Freeform 412">
              <a:extLst>
                <a:ext uri="{FF2B5EF4-FFF2-40B4-BE49-F238E27FC236}">
                  <a16:creationId xmlns:a16="http://schemas.microsoft.com/office/drawing/2014/main" id="{DA8F54AF-709C-4279-BA5D-D9E8F4EA7393}"/>
                </a:ext>
              </a:extLst>
            </p:cNvPr>
            <p:cNvSpPr>
              <a:spLocks/>
            </p:cNvSpPr>
            <p:nvPr/>
          </p:nvSpPr>
          <p:spPr bwMode="gray">
            <a:xfrm>
              <a:off x="13999457" y="4027018"/>
              <a:ext cx="170849" cy="205870"/>
            </a:xfrm>
            <a:custGeom>
              <a:avLst/>
              <a:gdLst>
                <a:gd name="T0" fmla="*/ 123 w 522"/>
                <a:gd name="T1" fmla="*/ 589 h 629"/>
                <a:gd name="T2" fmla="*/ 107 w 522"/>
                <a:gd name="T3" fmla="*/ 596 h 629"/>
                <a:gd name="T4" fmla="*/ 85 w 522"/>
                <a:gd name="T5" fmla="*/ 612 h 629"/>
                <a:gd name="T6" fmla="*/ 59 w 522"/>
                <a:gd name="T7" fmla="*/ 629 h 629"/>
                <a:gd name="T8" fmla="*/ 48 w 522"/>
                <a:gd name="T9" fmla="*/ 596 h 629"/>
                <a:gd name="T10" fmla="*/ 5 w 522"/>
                <a:gd name="T11" fmla="*/ 534 h 629"/>
                <a:gd name="T12" fmla="*/ 48 w 522"/>
                <a:gd name="T13" fmla="*/ 534 h 629"/>
                <a:gd name="T14" fmla="*/ 52 w 522"/>
                <a:gd name="T15" fmla="*/ 522 h 629"/>
                <a:gd name="T16" fmla="*/ 38 w 522"/>
                <a:gd name="T17" fmla="*/ 501 h 629"/>
                <a:gd name="T18" fmla="*/ 38 w 522"/>
                <a:gd name="T19" fmla="*/ 468 h 629"/>
                <a:gd name="T20" fmla="*/ 38 w 522"/>
                <a:gd name="T21" fmla="*/ 452 h 629"/>
                <a:gd name="T22" fmla="*/ 48 w 522"/>
                <a:gd name="T23" fmla="*/ 444 h 629"/>
                <a:gd name="T24" fmla="*/ 69 w 522"/>
                <a:gd name="T25" fmla="*/ 444 h 629"/>
                <a:gd name="T26" fmla="*/ 90 w 522"/>
                <a:gd name="T27" fmla="*/ 407 h 629"/>
                <a:gd name="T28" fmla="*/ 107 w 522"/>
                <a:gd name="T29" fmla="*/ 395 h 629"/>
                <a:gd name="T30" fmla="*/ 128 w 522"/>
                <a:gd name="T31" fmla="*/ 440 h 629"/>
                <a:gd name="T32" fmla="*/ 182 w 522"/>
                <a:gd name="T33" fmla="*/ 423 h 629"/>
                <a:gd name="T34" fmla="*/ 211 w 522"/>
                <a:gd name="T35" fmla="*/ 444 h 629"/>
                <a:gd name="T36" fmla="*/ 232 w 522"/>
                <a:gd name="T37" fmla="*/ 407 h 629"/>
                <a:gd name="T38" fmla="*/ 232 w 522"/>
                <a:gd name="T39" fmla="*/ 340 h 629"/>
                <a:gd name="T40" fmla="*/ 232 w 522"/>
                <a:gd name="T41" fmla="*/ 300 h 629"/>
                <a:gd name="T42" fmla="*/ 211 w 522"/>
                <a:gd name="T43" fmla="*/ 284 h 629"/>
                <a:gd name="T44" fmla="*/ 194 w 522"/>
                <a:gd name="T45" fmla="*/ 279 h 629"/>
                <a:gd name="T46" fmla="*/ 211 w 522"/>
                <a:gd name="T47" fmla="*/ 229 h 629"/>
                <a:gd name="T48" fmla="*/ 237 w 522"/>
                <a:gd name="T49" fmla="*/ 201 h 629"/>
                <a:gd name="T50" fmla="*/ 182 w 522"/>
                <a:gd name="T51" fmla="*/ 168 h 629"/>
                <a:gd name="T52" fmla="*/ 144 w 522"/>
                <a:gd name="T53" fmla="*/ 168 h 629"/>
                <a:gd name="T54" fmla="*/ 156 w 522"/>
                <a:gd name="T55" fmla="*/ 111 h 629"/>
                <a:gd name="T56" fmla="*/ 265 w 522"/>
                <a:gd name="T57" fmla="*/ 118 h 629"/>
                <a:gd name="T58" fmla="*/ 345 w 522"/>
                <a:gd name="T59" fmla="*/ 152 h 629"/>
                <a:gd name="T60" fmla="*/ 345 w 522"/>
                <a:gd name="T61" fmla="*/ 111 h 629"/>
                <a:gd name="T62" fmla="*/ 378 w 522"/>
                <a:gd name="T63" fmla="*/ 62 h 629"/>
                <a:gd name="T64" fmla="*/ 383 w 522"/>
                <a:gd name="T65" fmla="*/ 7 h 629"/>
                <a:gd name="T66" fmla="*/ 447 w 522"/>
                <a:gd name="T67" fmla="*/ 0 h 629"/>
                <a:gd name="T68" fmla="*/ 468 w 522"/>
                <a:gd name="T69" fmla="*/ 7 h 629"/>
                <a:gd name="T70" fmla="*/ 492 w 522"/>
                <a:gd name="T71" fmla="*/ 19 h 629"/>
                <a:gd name="T72" fmla="*/ 522 w 522"/>
                <a:gd name="T73" fmla="*/ 19 h 629"/>
                <a:gd name="T74" fmla="*/ 485 w 522"/>
                <a:gd name="T75" fmla="*/ 102 h 629"/>
                <a:gd name="T76" fmla="*/ 480 w 522"/>
                <a:gd name="T77" fmla="*/ 201 h 629"/>
                <a:gd name="T78" fmla="*/ 463 w 522"/>
                <a:gd name="T79" fmla="*/ 279 h 629"/>
                <a:gd name="T80" fmla="*/ 437 w 522"/>
                <a:gd name="T81" fmla="*/ 340 h 629"/>
                <a:gd name="T82" fmla="*/ 378 w 522"/>
                <a:gd name="T83" fmla="*/ 407 h 629"/>
                <a:gd name="T84" fmla="*/ 362 w 522"/>
                <a:gd name="T85" fmla="*/ 506 h 629"/>
                <a:gd name="T86" fmla="*/ 307 w 522"/>
                <a:gd name="T87" fmla="*/ 555 h 629"/>
                <a:gd name="T88" fmla="*/ 286 w 522"/>
                <a:gd name="T89" fmla="*/ 579 h 629"/>
                <a:gd name="T90" fmla="*/ 248 w 522"/>
                <a:gd name="T91" fmla="*/ 617 h 629"/>
                <a:gd name="T92" fmla="*/ 232 w 522"/>
                <a:gd name="T93" fmla="*/ 596 h 629"/>
                <a:gd name="T94" fmla="*/ 232 w 522"/>
                <a:gd name="T95" fmla="*/ 579 h 629"/>
                <a:gd name="T96" fmla="*/ 182 w 522"/>
                <a:gd name="T97" fmla="*/ 589 h 629"/>
                <a:gd name="T98" fmla="*/ 166 w 522"/>
                <a:gd name="T99" fmla="*/ 612 h 629"/>
                <a:gd name="T100" fmla="*/ 140 w 522"/>
                <a:gd name="T101" fmla="*/ 596 h 629"/>
                <a:gd name="T102" fmla="*/ 140 w 522"/>
                <a:gd name="T103" fmla="*/ 605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2" h="629">
                  <a:moveTo>
                    <a:pt x="140" y="605"/>
                  </a:moveTo>
                  <a:lnTo>
                    <a:pt x="123" y="589"/>
                  </a:lnTo>
                  <a:lnTo>
                    <a:pt x="114" y="589"/>
                  </a:lnTo>
                  <a:lnTo>
                    <a:pt x="107" y="596"/>
                  </a:lnTo>
                  <a:lnTo>
                    <a:pt x="90" y="605"/>
                  </a:lnTo>
                  <a:lnTo>
                    <a:pt x="85" y="612"/>
                  </a:lnTo>
                  <a:lnTo>
                    <a:pt x="76" y="612"/>
                  </a:lnTo>
                  <a:lnTo>
                    <a:pt x="59" y="629"/>
                  </a:lnTo>
                  <a:lnTo>
                    <a:pt x="48" y="612"/>
                  </a:lnTo>
                  <a:lnTo>
                    <a:pt x="48" y="596"/>
                  </a:lnTo>
                  <a:lnTo>
                    <a:pt x="0" y="551"/>
                  </a:lnTo>
                  <a:lnTo>
                    <a:pt x="5" y="534"/>
                  </a:lnTo>
                  <a:lnTo>
                    <a:pt x="31" y="522"/>
                  </a:lnTo>
                  <a:lnTo>
                    <a:pt x="48" y="534"/>
                  </a:lnTo>
                  <a:lnTo>
                    <a:pt x="52" y="534"/>
                  </a:lnTo>
                  <a:lnTo>
                    <a:pt x="52" y="522"/>
                  </a:lnTo>
                  <a:lnTo>
                    <a:pt x="59" y="506"/>
                  </a:lnTo>
                  <a:lnTo>
                    <a:pt x="38" y="501"/>
                  </a:lnTo>
                  <a:lnTo>
                    <a:pt x="48" y="485"/>
                  </a:lnTo>
                  <a:lnTo>
                    <a:pt x="38" y="468"/>
                  </a:lnTo>
                  <a:lnTo>
                    <a:pt x="31" y="478"/>
                  </a:lnTo>
                  <a:lnTo>
                    <a:pt x="38" y="452"/>
                  </a:lnTo>
                  <a:lnTo>
                    <a:pt x="31" y="440"/>
                  </a:lnTo>
                  <a:lnTo>
                    <a:pt x="48" y="444"/>
                  </a:lnTo>
                  <a:lnTo>
                    <a:pt x="59" y="440"/>
                  </a:lnTo>
                  <a:lnTo>
                    <a:pt x="69" y="444"/>
                  </a:lnTo>
                  <a:lnTo>
                    <a:pt x="90" y="440"/>
                  </a:lnTo>
                  <a:lnTo>
                    <a:pt x="90" y="407"/>
                  </a:lnTo>
                  <a:lnTo>
                    <a:pt x="102" y="407"/>
                  </a:lnTo>
                  <a:lnTo>
                    <a:pt x="107" y="395"/>
                  </a:lnTo>
                  <a:lnTo>
                    <a:pt x="123" y="407"/>
                  </a:lnTo>
                  <a:lnTo>
                    <a:pt x="128" y="440"/>
                  </a:lnTo>
                  <a:lnTo>
                    <a:pt x="166" y="444"/>
                  </a:lnTo>
                  <a:lnTo>
                    <a:pt x="182" y="423"/>
                  </a:lnTo>
                  <a:lnTo>
                    <a:pt x="194" y="444"/>
                  </a:lnTo>
                  <a:lnTo>
                    <a:pt x="211" y="444"/>
                  </a:lnTo>
                  <a:lnTo>
                    <a:pt x="220" y="411"/>
                  </a:lnTo>
                  <a:lnTo>
                    <a:pt x="232" y="407"/>
                  </a:lnTo>
                  <a:lnTo>
                    <a:pt x="237" y="357"/>
                  </a:lnTo>
                  <a:lnTo>
                    <a:pt x="232" y="340"/>
                  </a:lnTo>
                  <a:lnTo>
                    <a:pt x="237" y="312"/>
                  </a:lnTo>
                  <a:lnTo>
                    <a:pt x="232" y="300"/>
                  </a:lnTo>
                  <a:lnTo>
                    <a:pt x="215" y="300"/>
                  </a:lnTo>
                  <a:lnTo>
                    <a:pt x="211" y="284"/>
                  </a:lnTo>
                  <a:lnTo>
                    <a:pt x="194" y="284"/>
                  </a:lnTo>
                  <a:lnTo>
                    <a:pt x="194" y="279"/>
                  </a:lnTo>
                  <a:lnTo>
                    <a:pt x="199" y="246"/>
                  </a:lnTo>
                  <a:lnTo>
                    <a:pt x="211" y="229"/>
                  </a:lnTo>
                  <a:lnTo>
                    <a:pt x="220" y="222"/>
                  </a:lnTo>
                  <a:lnTo>
                    <a:pt x="237" y="201"/>
                  </a:lnTo>
                  <a:lnTo>
                    <a:pt x="215" y="168"/>
                  </a:lnTo>
                  <a:lnTo>
                    <a:pt x="182" y="168"/>
                  </a:lnTo>
                  <a:lnTo>
                    <a:pt x="144" y="185"/>
                  </a:lnTo>
                  <a:lnTo>
                    <a:pt x="144" y="168"/>
                  </a:lnTo>
                  <a:lnTo>
                    <a:pt x="140" y="147"/>
                  </a:lnTo>
                  <a:lnTo>
                    <a:pt x="156" y="111"/>
                  </a:lnTo>
                  <a:lnTo>
                    <a:pt x="237" y="111"/>
                  </a:lnTo>
                  <a:lnTo>
                    <a:pt x="265" y="118"/>
                  </a:lnTo>
                  <a:lnTo>
                    <a:pt x="324" y="128"/>
                  </a:lnTo>
                  <a:lnTo>
                    <a:pt x="345" y="152"/>
                  </a:lnTo>
                  <a:lnTo>
                    <a:pt x="355" y="147"/>
                  </a:lnTo>
                  <a:lnTo>
                    <a:pt x="345" y="111"/>
                  </a:lnTo>
                  <a:lnTo>
                    <a:pt x="355" y="102"/>
                  </a:lnTo>
                  <a:lnTo>
                    <a:pt x="378" y="62"/>
                  </a:lnTo>
                  <a:lnTo>
                    <a:pt x="378" y="41"/>
                  </a:lnTo>
                  <a:lnTo>
                    <a:pt x="383" y="7"/>
                  </a:lnTo>
                  <a:lnTo>
                    <a:pt x="437" y="7"/>
                  </a:lnTo>
                  <a:lnTo>
                    <a:pt x="447" y="0"/>
                  </a:lnTo>
                  <a:lnTo>
                    <a:pt x="468" y="7"/>
                  </a:lnTo>
                  <a:lnTo>
                    <a:pt x="468" y="7"/>
                  </a:lnTo>
                  <a:lnTo>
                    <a:pt x="492" y="7"/>
                  </a:lnTo>
                  <a:lnTo>
                    <a:pt x="492" y="19"/>
                  </a:lnTo>
                  <a:lnTo>
                    <a:pt x="518" y="0"/>
                  </a:lnTo>
                  <a:lnTo>
                    <a:pt x="522" y="19"/>
                  </a:lnTo>
                  <a:lnTo>
                    <a:pt x="522" y="41"/>
                  </a:lnTo>
                  <a:lnTo>
                    <a:pt x="485" y="102"/>
                  </a:lnTo>
                  <a:lnTo>
                    <a:pt x="485" y="156"/>
                  </a:lnTo>
                  <a:lnTo>
                    <a:pt x="480" y="201"/>
                  </a:lnTo>
                  <a:lnTo>
                    <a:pt x="480" y="239"/>
                  </a:lnTo>
                  <a:lnTo>
                    <a:pt x="463" y="279"/>
                  </a:lnTo>
                  <a:lnTo>
                    <a:pt x="463" y="312"/>
                  </a:lnTo>
                  <a:lnTo>
                    <a:pt x="437" y="340"/>
                  </a:lnTo>
                  <a:lnTo>
                    <a:pt x="400" y="357"/>
                  </a:lnTo>
                  <a:lnTo>
                    <a:pt x="378" y="407"/>
                  </a:lnTo>
                  <a:lnTo>
                    <a:pt x="355" y="423"/>
                  </a:lnTo>
                  <a:lnTo>
                    <a:pt x="362" y="506"/>
                  </a:lnTo>
                  <a:lnTo>
                    <a:pt x="329" y="551"/>
                  </a:lnTo>
                  <a:lnTo>
                    <a:pt x="307" y="555"/>
                  </a:lnTo>
                  <a:lnTo>
                    <a:pt x="307" y="572"/>
                  </a:lnTo>
                  <a:lnTo>
                    <a:pt x="286" y="579"/>
                  </a:lnTo>
                  <a:lnTo>
                    <a:pt x="265" y="612"/>
                  </a:lnTo>
                  <a:lnTo>
                    <a:pt x="248" y="617"/>
                  </a:lnTo>
                  <a:lnTo>
                    <a:pt x="232" y="617"/>
                  </a:lnTo>
                  <a:lnTo>
                    <a:pt x="232" y="596"/>
                  </a:lnTo>
                  <a:lnTo>
                    <a:pt x="237" y="589"/>
                  </a:lnTo>
                  <a:lnTo>
                    <a:pt x="232" y="579"/>
                  </a:lnTo>
                  <a:lnTo>
                    <a:pt x="199" y="589"/>
                  </a:lnTo>
                  <a:lnTo>
                    <a:pt x="182" y="589"/>
                  </a:lnTo>
                  <a:lnTo>
                    <a:pt x="182" y="612"/>
                  </a:lnTo>
                  <a:lnTo>
                    <a:pt x="166" y="612"/>
                  </a:lnTo>
                  <a:lnTo>
                    <a:pt x="161" y="617"/>
                  </a:lnTo>
                  <a:lnTo>
                    <a:pt x="140" y="596"/>
                  </a:lnTo>
                  <a:lnTo>
                    <a:pt x="140" y="605"/>
                  </a:lnTo>
                  <a:lnTo>
                    <a:pt x="140" y="605"/>
                  </a:lnTo>
                  <a:lnTo>
                    <a:pt x="140" y="605"/>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4" name="Freeform 413">
              <a:extLst>
                <a:ext uri="{FF2B5EF4-FFF2-40B4-BE49-F238E27FC236}">
                  <a16:creationId xmlns:a16="http://schemas.microsoft.com/office/drawing/2014/main" id="{2218A85C-0DCE-4758-B052-3E052DDBCA07}"/>
                </a:ext>
              </a:extLst>
            </p:cNvPr>
            <p:cNvSpPr>
              <a:spLocks noEditPoints="1"/>
            </p:cNvSpPr>
            <p:nvPr/>
          </p:nvSpPr>
          <p:spPr bwMode="gray">
            <a:xfrm>
              <a:off x="14024331" y="3987087"/>
              <a:ext cx="439887" cy="446760"/>
            </a:xfrm>
            <a:custGeom>
              <a:avLst/>
              <a:gdLst>
                <a:gd name="T0" fmla="*/ 38 w 1344"/>
                <a:gd name="T1" fmla="*/ 819 h 1365"/>
                <a:gd name="T2" fmla="*/ 28 w 1344"/>
                <a:gd name="T3" fmla="*/ 748 h 1365"/>
                <a:gd name="T4" fmla="*/ 87 w 1344"/>
                <a:gd name="T5" fmla="*/ 737 h 1365"/>
                <a:gd name="T6" fmla="*/ 125 w 1344"/>
                <a:gd name="T7" fmla="*/ 708 h 1365"/>
                <a:gd name="T8" fmla="*/ 158 w 1344"/>
                <a:gd name="T9" fmla="*/ 737 h 1365"/>
                <a:gd name="T10" fmla="*/ 234 w 1344"/>
                <a:gd name="T11" fmla="*/ 692 h 1365"/>
                <a:gd name="T12" fmla="*/ 281 w 1344"/>
                <a:gd name="T13" fmla="*/ 543 h 1365"/>
                <a:gd name="T14" fmla="*/ 390 w 1344"/>
                <a:gd name="T15" fmla="*/ 432 h 1365"/>
                <a:gd name="T16" fmla="*/ 411 w 1344"/>
                <a:gd name="T17" fmla="*/ 276 h 1365"/>
                <a:gd name="T18" fmla="*/ 458 w 1344"/>
                <a:gd name="T19" fmla="*/ 99 h 1365"/>
                <a:gd name="T20" fmla="*/ 503 w 1344"/>
                <a:gd name="T21" fmla="*/ 16 h 1365"/>
                <a:gd name="T22" fmla="*/ 588 w 1344"/>
                <a:gd name="T23" fmla="*/ 70 h 1365"/>
                <a:gd name="T24" fmla="*/ 713 w 1344"/>
                <a:gd name="T25" fmla="*/ 87 h 1365"/>
                <a:gd name="T26" fmla="*/ 751 w 1344"/>
                <a:gd name="T27" fmla="*/ 44 h 1365"/>
                <a:gd name="T28" fmla="*/ 857 w 1344"/>
                <a:gd name="T29" fmla="*/ 16 h 1365"/>
                <a:gd name="T30" fmla="*/ 933 w 1344"/>
                <a:gd name="T31" fmla="*/ 0 h 1365"/>
                <a:gd name="T32" fmla="*/ 1020 w 1344"/>
                <a:gd name="T33" fmla="*/ 16 h 1365"/>
                <a:gd name="T34" fmla="*/ 1091 w 1344"/>
                <a:gd name="T35" fmla="*/ 44 h 1365"/>
                <a:gd name="T36" fmla="*/ 1198 w 1344"/>
                <a:gd name="T37" fmla="*/ 70 h 1365"/>
                <a:gd name="T38" fmla="*/ 1235 w 1344"/>
                <a:gd name="T39" fmla="*/ 70 h 1365"/>
                <a:gd name="T40" fmla="*/ 1290 w 1344"/>
                <a:gd name="T41" fmla="*/ 127 h 1365"/>
                <a:gd name="T42" fmla="*/ 1311 w 1344"/>
                <a:gd name="T43" fmla="*/ 144 h 1365"/>
                <a:gd name="T44" fmla="*/ 1311 w 1344"/>
                <a:gd name="T45" fmla="*/ 214 h 1365"/>
                <a:gd name="T46" fmla="*/ 1268 w 1344"/>
                <a:gd name="T47" fmla="*/ 304 h 1365"/>
                <a:gd name="T48" fmla="*/ 1231 w 1344"/>
                <a:gd name="T49" fmla="*/ 382 h 1365"/>
                <a:gd name="T50" fmla="*/ 1188 w 1344"/>
                <a:gd name="T51" fmla="*/ 526 h 1365"/>
                <a:gd name="T52" fmla="*/ 1181 w 1344"/>
                <a:gd name="T53" fmla="*/ 588 h 1365"/>
                <a:gd name="T54" fmla="*/ 1205 w 1344"/>
                <a:gd name="T55" fmla="*/ 682 h 1365"/>
                <a:gd name="T56" fmla="*/ 1214 w 1344"/>
                <a:gd name="T57" fmla="*/ 819 h 1365"/>
                <a:gd name="T58" fmla="*/ 1273 w 1344"/>
                <a:gd name="T59" fmla="*/ 904 h 1365"/>
                <a:gd name="T60" fmla="*/ 1167 w 1344"/>
                <a:gd name="T61" fmla="*/ 1025 h 1365"/>
                <a:gd name="T62" fmla="*/ 1150 w 1344"/>
                <a:gd name="T63" fmla="*/ 1126 h 1365"/>
                <a:gd name="T64" fmla="*/ 1143 w 1344"/>
                <a:gd name="T65" fmla="*/ 1247 h 1365"/>
                <a:gd name="T66" fmla="*/ 1214 w 1344"/>
                <a:gd name="T67" fmla="*/ 1287 h 1365"/>
                <a:gd name="T68" fmla="*/ 1219 w 1344"/>
                <a:gd name="T69" fmla="*/ 1358 h 1365"/>
                <a:gd name="T70" fmla="*/ 1181 w 1344"/>
                <a:gd name="T71" fmla="*/ 1358 h 1365"/>
                <a:gd name="T72" fmla="*/ 1096 w 1344"/>
                <a:gd name="T73" fmla="*/ 1280 h 1365"/>
                <a:gd name="T74" fmla="*/ 1053 w 1344"/>
                <a:gd name="T75" fmla="*/ 1225 h 1365"/>
                <a:gd name="T76" fmla="*/ 966 w 1344"/>
                <a:gd name="T77" fmla="*/ 1247 h 1365"/>
                <a:gd name="T78" fmla="*/ 881 w 1344"/>
                <a:gd name="T79" fmla="*/ 1209 h 1365"/>
                <a:gd name="T80" fmla="*/ 827 w 1344"/>
                <a:gd name="T81" fmla="*/ 1176 h 1365"/>
                <a:gd name="T82" fmla="*/ 730 w 1344"/>
                <a:gd name="T83" fmla="*/ 1181 h 1365"/>
                <a:gd name="T84" fmla="*/ 713 w 1344"/>
                <a:gd name="T85" fmla="*/ 1136 h 1365"/>
                <a:gd name="T86" fmla="*/ 680 w 1344"/>
                <a:gd name="T87" fmla="*/ 1003 h 1365"/>
                <a:gd name="T88" fmla="*/ 588 w 1344"/>
                <a:gd name="T89" fmla="*/ 914 h 1365"/>
                <a:gd name="T90" fmla="*/ 520 w 1344"/>
                <a:gd name="T91" fmla="*/ 892 h 1365"/>
                <a:gd name="T92" fmla="*/ 444 w 1344"/>
                <a:gd name="T93" fmla="*/ 959 h 1365"/>
                <a:gd name="T94" fmla="*/ 406 w 1344"/>
                <a:gd name="T95" fmla="*/ 970 h 1365"/>
                <a:gd name="T96" fmla="*/ 319 w 1344"/>
                <a:gd name="T97" fmla="*/ 848 h 1365"/>
                <a:gd name="T98" fmla="*/ 272 w 1344"/>
                <a:gd name="T99" fmla="*/ 810 h 1365"/>
                <a:gd name="T100" fmla="*/ 54 w 1344"/>
                <a:gd name="T101" fmla="*/ 810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4" h="1365">
                  <a:moveTo>
                    <a:pt x="272" y="810"/>
                  </a:moveTo>
                  <a:lnTo>
                    <a:pt x="71" y="810"/>
                  </a:lnTo>
                  <a:lnTo>
                    <a:pt x="50" y="810"/>
                  </a:lnTo>
                  <a:lnTo>
                    <a:pt x="38" y="819"/>
                  </a:lnTo>
                  <a:lnTo>
                    <a:pt x="16" y="819"/>
                  </a:lnTo>
                  <a:lnTo>
                    <a:pt x="0" y="803"/>
                  </a:lnTo>
                  <a:lnTo>
                    <a:pt x="28" y="803"/>
                  </a:lnTo>
                  <a:lnTo>
                    <a:pt x="28" y="748"/>
                  </a:lnTo>
                  <a:lnTo>
                    <a:pt x="50" y="732"/>
                  </a:lnTo>
                  <a:lnTo>
                    <a:pt x="66" y="725"/>
                  </a:lnTo>
                  <a:lnTo>
                    <a:pt x="66" y="715"/>
                  </a:lnTo>
                  <a:lnTo>
                    <a:pt x="87" y="737"/>
                  </a:lnTo>
                  <a:lnTo>
                    <a:pt x="92" y="732"/>
                  </a:lnTo>
                  <a:lnTo>
                    <a:pt x="109" y="732"/>
                  </a:lnTo>
                  <a:lnTo>
                    <a:pt x="109" y="708"/>
                  </a:lnTo>
                  <a:lnTo>
                    <a:pt x="125" y="708"/>
                  </a:lnTo>
                  <a:lnTo>
                    <a:pt x="158" y="699"/>
                  </a:lnTo>
                  <a:lnTo>
                    <a:pt x="163" y="708"/>
                  </a:lnTo>
                  <a:lnTo>
                    <a:pt x="158" y="715"/>
                  </a:lnTo>
                  <a:lnTo>
                    <a:pt x="158" y="737"/>
                  </a:lnTo>
                  <a:lnTo>
                    <a:pt x="172" y="737"/>
                  </a:lnTo>
                  <a:lnTo>
                    <a:pt x="189" y="732"/>
                  </a:lnTo>
                  <a:lnTo>
                    <a:pt x="210" y="699"/>
                  </a:lnTo>
                  <a:lnTo>
                    <a:pt x="234" y="692"/>
                  </a:lnTo>
                  <a:lnTo>
                    <a:pt x="234" y="675"/>
                  </a:lnTo>
                  <a:lnTo>
                    <a:pt x="255" y="670"/>
                  </a:lnTo>
                  <a:lnTo>
                    <a:pt x="286" y="625"/>
                  </a:lnTo>
                  <a:lnTo>
                    <a:pt x="281" y="543"/>
                  </a:lnTo>
                  <a:lnTo>
                    <a:pt x="302" y="526"/>
                  </a:lnTo>
                  <a:lnTo>
                    <a:pt x="324" y="477"/>
                  </a:lnTo>
                  <a:lnTo>
                    <a:pt x="361" y="460"/>
                  </a:lnTo>
                  <a:lnTo>
                    <a:pt x="390" y="432"/>
                  </a:lnTo>
                  <a:lnTo>
                    <a:pt x="390" y="399"/>
                  </a:lnTo>
                  <a:lnTo>
                    <a:pt x="406" y="359"/>
                  </a:lnTo>
                  <a:lnTo>
                    <a:pt x="406" y="321"/>
                  </a:lnTo>
                  <a:lnTo>
                    <a:pt x="411" y="276"/>
                  </a:lnTo>
                  <a:lnTo>
                    <a:pt x="411" y="222"/>
                  </a:lnTo>
                  <a:lnTo>
                    <a:pt x="449" y="160"/>
                  </a:lnTo>
                  <a:lnTo>
                    <a:pt x="449" y="139"/>
                  </a:lnTo>
                  <a:lnTo>
                    <a:pt x="458" y="99"/>
                  </a:lnTo>
                  <a:lnTo>
                    <a:pt x="449" y="70"/>
                  </a:lnTo>
                  <a:lnTo>
                    <a:pt x="458" y="70"/>
                  </a:lnTo>
                  <a:lnTo>
                    <a:pt x="482" y="33"/>
                  </a:lnTo>
                  <a:lnTo>
                    <a:pt x="503" y="16"/>
                  </a:lnTo>
                  <a:lnTo>
                    <a:pt x="534" y="16"/>
                  </a:lnTo>
                  <a:lnTo>
                    <a:pt x="572" y="44"/>
                  </a:lnTo>
                  <a:lnTo>
                    <a:pt x="583" y="54"/>
                  </a:lnTo>
                  <a:lnTo>
                    <a:pt x="588" y="70"/>
                  </a:lnTo>
                  <a:lnTo>
                    <a:pt x="621" y="66"/>
                  </a:lnTo>
                  <a:lnTo>
                    <a:pt x="638" y="82"/>
                  </a:lnTo>
                  <a:lnTo>
                    <a:pt x="676" y="82"/>
                  </a:lnTo>
                  <a:lnTo>
                    <a:pt x="713" y="87"/>
                  </a:lnTo>
                  <a:lnTo>
                    <a:pt x="730" y="82"/>
                  </a:lnTo>
                  <a:lnTo>
                    <a:pt x="730" y="66"/>
                  </a:lnTo>
                  <a:lnTo>
                    <a:pt x="735" y="66"/>
                  </a:lnTo>
                  <a:lnTo>
                    <a:pt x="751" y="44"/>
                  </a:lnTo>
                  <a:lnTo>
                    <a:pt x="789" y="54"/>
                  </a:lnTo>
                  <a:lnTo>
                    <a:pt x="798" y="49"/>
                  </a:lnTo>
                  <a:lnTo>
                    <a:pt x="857" y="28"/>
                  </a:lnTo>
                  <a:lnTo>
                    <a:pt x="857" y="16"/>
                  </a:lnTo>
                  <a:lnTo>
                    <a:pt x="881" y="33"/>
                  </a:lnTo>
                  <a:lnTo>
                    <a:pt x="919" y="28"/>
                  </a:lnTo>
                  <a:lnTo>
                    <a:pt x="928" y="0"/>
                  </a:lnTo>
                  <a:lnTo>
                    <a:pt x="933" y="0"/>
                  </a:lnTo>
                  <a:lnTo>
                    <a:pt x="966" y="11"/>
                  </a:lnTo>
                  <a:lnTo>
                    <a:pt x="983" y="11"/>
                  </a:lnTo>
                  <a:lnTo>
                    <a:pt x="1004" y="28"/>
                  </a:lnTo>
                  <a:lnTo>
                    <a:pt x="1020" y="16"/>
                  </a:lnTo>
                  <a:lnTo>
                    <a:pt x="1025" y="28"/>
                  </a:lnTo>
                  <a:lnTo>
                    <a:pt x="1042" y="11"/>
                  </a:lnTo>
                  <a:lnTo>
                    <a:pt x="1075" y="28"/>
                  </a:lnTo>
                  <a:lnTo>
                    <a:pt x="1091" y="44"/>
                  </a:lnTo>
                  <a:lnTo>
                    <a:pt x="1096" y="54"/>
                  </a:lnTo>
                  <a:lnTo>
                    <a:pt x="1134" y="82"/>
                  </a:lnTo>
                  <a:lnTo>
                    <a:pt x="1167" y="54"/>
                  </a:lnTo>
                  <a:lnTo>
                    <a:pt x="1198" y="70"/>
                  </a:lnTo>
                  <a:lnTo>
                    <a:pt x="1214" y="49"/>
                  </a:lnTo>
                  <a:lnTo>
                    <a:pt x="1219" y="49"/>
                  </a:lnTo>
                  <a:lnTo>
                    <a:pt x="1235" y="54"/>
                  </a:lnTo>
                  <a:lnTo>
                    <a:pt x="1235" y="70"/>
                  </a:lnTo>
                  <a:lnTo>
                    <a:pt x="1257" y="87"/>
                  </a:lnTo>
                  <a:lnTo>
                    <a:pt x="1268" y="103"/>
                  </a:lnTo>
                  <a:lnTo>
                    <a:pt x="1290" y="103"/>
                  </a:lnTo>
                  <a:lnTo>
                    <a:pt x="1290" y="127"/>
                  </a:lnTo>
                  <a:lnTo>
                    <a:pt x="1306" y="120"/>
                  </a:lnTo>
                  <a:lnTo>
                    <a:pt x="1311" y="139"/>
                  </a:lnTo>
                  <a:lnTo>
                    <a:pt x="1311" y="139"/>
                  </a:lnTo>
                  <a:lnTo>
                    <a:pt x="1311" y="144"/>
                  </a:lnTo>
                  <a:lnTo>
                    <a:pt x="1306" y="165"/>
                  </a:lnTo>
                  <a:lnTo>
                    <a:pt x="1311" y="181"/>
                  </a:lnTo>
                  <a:lnTo>
                    <a:pt x="1294" y="210"/>
                  </a:lnTo>
                  <a:lnTo>
                    <a:pt x="1311" y="214"/>
                  </a:lnTo>
                  <a:lnTo>
                    <a:pt x="1323" y="214"/>
                  </a:lnTo>
                  <a:lnTo>
                    <a:pt x="1344" y="231"/>
                  </a:lnTo>
                  <a:lnTo>
                    <a:pt x="1285" y="304"/>
                  </a:lnTo>
                  <a:lnTo>
                    <a:pt x="1268" y="304"/>
                  </a:lnTo>
                  <a:lnTo>
                    <a:pt x="1257" y="321"/>
                  </a:lnTo>
                  <a:lnTo>
                    <a:pt x="1242" y="325"/>
                  </a:lnTo>
                  <a:lnTo>
                    <a:pt x="1242" y="349"/>
                  </a:lnTo>
                  <a:lnTo>
                    <a:pt x="1231" y="382"/>
                  </a:lnTo>
                  <a:lnTo>
                    <a:pt x="1219" y="453"/>
                  </a:lnTo>
                  <a:lnTo>
                    <a:pt x="1219" y="486"/>
                  </a:lnTo>
                  <a:lnTo>
                    <a:pt x="1198" y="505"/>
                  </a:lnTo>
                  <a:lnTo>
                    <a:pt x="1188" y="526"/>
                  </a:lnTo>
                  <a:lnTo>
                    <a:pt x="1188" y="548"/>
                  </a:lnTo>
                  <a:lnTo>
                    <a:pt x="1167" y="559"/>
                  </a:lnTo>
                  <a:lnTo>
                    <a:pt x="1176" y="581"/>
                  </a:lnTo>
                  <a:lnTo>
                    <a:pt x="1181" y="588"/>
                  </a:lnTo>
                  <a:lnTo>
                    <a:pt x="1181" y="588"/>
                  </a:lnTo>
                  <a:lnTo>
                    <a:pt x="1198" y="604"/>
                  </a:lnTo>
                  <a:lnTo>
                    <a:pt x="1198" y="670"/>
                  </a:lnTo>
                  <a:lnTo>
                    <a:pt x="1205" y="682"/>
                  </a:lnTo>
                  <a:lnTo>
                    <a:pt x="1205" y="708"/>
                  </a:lnTo>
                  <a:lnTo>
                    <a:pt x="1205" y="748"/>
                  </a:lnTo>
                  <a:lnTo>
                    <a:pt x="1219" y="803"/>
                  </a:lnTo>
                  <a:lnTo>
                    <a:pt x="1214" y="819"/>
                  </a:lnTo>
                  <a:lnTo>
                    <a:pt x="1219" y="843"/>
                  </a:lnTo>
                  <a:lnTo>
                    <a:pt x="1231" y="864"/>
                  </a:lnTo>
                  <a:lnTo>
                    <a:pt x="1252" y="881"/>
                  </a:lnTo>
                  <a:lnTo>
                    <a:pt x="1273" y="904"/>
                  </a:lnTo>
                  <a:lnTo>
                    <a:pt x="1306" y="975"/>
                  </a:lnTo>
                  <a:lnTo>
                    <a:pt x="1176" y="1003"/>
                  </a:lnTo>
                  <a:lnTo>
                    <a:pt x="1176" y="1015"/>
                  </a:lnTo>
                  <a:lnTo>
                    <a:pt x="1167" y="1025"/>
                  </a:lnTo>
                  <a:lnTo>
                    <a:pt x="1134" y="1058"/>
                  </a:lnTo>
                  <a:lnTo>
                    <a:pt x="1143" y="1065"/>
                  </a:lnTo>
                  <a:lnTo>
                    <a:pt x="1160" y="1098"/>
                  </a:lnTo>
                  <a:lnTo>
                    <a:pt x="1150" y="1126"/>
                  </a:lnTo>
                  <a:lnTo>
                    <a:pt x="1160" y="1159"/>
                  </a:lnTo>
                  <a:lnTo>
                    <a:pt x="1150" y="1176"/>
                  </a:lnTo>
                  <a:lnTo>
                    <a:pt x="1134" y="1225"/>
                  </a:lnTo>
                  <a:lnTo>
                    <a:pt x="1143" y="1247"/>
                  </a:lnTo>
                  <a:lnTo>
                    <a:pt x="1167" y="1263"/>
                  </a:lnTo>
                  <a:lnTo>
                    <a:pt x="1181" y="1287"/>
                  </a:lnTo>
                  <a:lnTo>
                    <a:pt x="1198" y="1287"/>
                  </a:lnTo>
                  <a:lnTo>
                    <a:pt x="1214" y="1287"/>
                  </a:lnTo>
                  <a:lnTo>
                    <a:pt x="1214" y="1270"/>
                  </a:lnTo>
                  <a:lnTo>
                    <a:pt x="1235" y="1270"/>
                  </a:lnTo>
                  <a:lnTo>
                    <a:pt x="1235" y="1365"/>
                  </a:lnTo>
                  <a:lnTo>
                    <a:pt x="1219" y="1358"/>
                  </a:lnTo>
                  <a:lnTo>
                    <a:pt x="1231" y="1346"/>
                  </a:lnTo>
                  <a:lnTo>
                    <a:pt x="1219" y="1346"/>
                  </a:lnTo>
                  <a:lnTo>
                    <a:pt x="1188" y="1358"/>
                  </a:lnTo>
                  <a:lnTo>
                    <a:pt x="1181" y="1358"/>
                  </a:lnTo>
                  <a:lnTo>
                    <a:pt x="1160" y="1325"/>
                  </a:lnTo>
                  <a:lnTo>
                    <a:pt x="1150" y="1320"/>
                  </a:lnTo>
                  <a:lnTo>
                    <a:pt x="1143" y="1292"/>
                  </a:lnTo>
                  <a:lnTo>
                    <a:pt x="1096" y="1280"/>
                  </a:lnTo>
                  <a:lnTo>
                    <a:pt x="1079" y="1280"/>
                  </a:lnTo>
                  <a:lnTo>
                    <a:pt x="1075" y="1254"/>
                  </a:lnTo>
                  <a:lnTo>
                    <a:pt x="1058" y="1237"/>
                  </a:lnTo>
                  <a:lnTo>
                    <a:pt x="1053" y="1225"/>
                  </a:lnTo>
                  <a:lnTo>
                    <a:pt x="1042" y="1230"/>
                  </a:lnTo>
                  <a:lnTo>
                    <a:pt x="1037" y="1247"/>
                  </a:lnTo>
                  <a:lnTo>
                    <a:pt x="1025" y="1254"/>
                  </a:lnTo>
                  <a:lnTo>
                    <a:pt x="966" y="1247"/>
                  </a:lnTo>
                  <a:lnTo>
                    <a:pt x="928" y="1230"/>
                  </a:lnTo>
                  <a:lnTo>
                    <a:pt x="919" y="1209"/>
                  </a:lnTo>
                  <a:lnTo>
                    <a:pt x="919" y="1197"/>
                  </a:lnTo>
                  <a:lnTo>
                    <a:pt x="881" y="1209"/>
                  </a:lnTo>
                  <a:lnTo>
                    <a:pt x="857" y="1214"/>
                  </a:lnTo>
                  <a:lnTo>
                    <a:pt x="853" y="1209"/>
                  </a:lnTo>
                  <a:lnTo>
                    <a:pt x="857" y="1192"/>
                  </a:lnTo>
                  <a:lnTo>
                    <a:pt x="827" y="1176"/>
                  </a:lnTo>
                  <a:lnTo>
                    <a:pt x="820" y="1181"/>
                  </a:lnTo>
                  <a:lnTo>
                    <a:pt x="789" y="1181"/>
                  </a:lnTo>
                  <a:lnTo>
                    <a:pt x="768" y="1192"/>
                  </a:lnTo>
                  <a:lnTo>
                    <a:pt x="730" y="1181"/>
                  </a:lnTo>
                  <a:lnTo>
                    <a:pt x="702" y="1197"/>
                  </a:lnTo>
                  <a:lnTo>
                    <a:pt x="702" y="1176"/>
                  </a:lnTo>
                  <a:lnTo>
                    <a:pt x="713" y="1169"/>
                  </a:lnTo>
                  <a:lnTo>
                    <a:pt x="713" y="1136"/>
                  </a:lnTo>
                  <a:lnTo>
                    <a:pt x="697" y="1103"/>
                  </a:lnTo>
                  <a:lnTo>
                    <a:pt x="680" y="1086"/>
                  </a:lnTo>
                  <a:lnTo>
                    <a:pt x="676" y="1065"/>
                  </a:lnTo>
                  <a:lnTo>
                    <a:pt x="680" y="1003"/>
                  </a:lnTo>
                  <a:lnTo>
                    <a:pt x="676" y="959"/>
                  </a:lnTo>
                  <a:lnTo>
                    <a:pt x="680" y="930"/>
                  </a:lnTo>
                  <a:lnTo>
                    <a:pt x="676" y="914"/>
                  </a:lnTo>
                  <a:lnTo>
                    <a:pt x="588" y="914"/>
                  </a:lnTo>
                  <a:lnTo>
                    <a:pt x="595" y="892"/>
                  </a:lnTo>
                  <a:lnTo>
                    <a:pt x="572" y="892"/>
                  </a:lnTo>
                  <a:lnTo>
                    <a:pt x="572" y="892"/>
                  </a:lnTo>
                  <a:lnTo>
                    <a:pt x="520" y="892"/>
                  </a:lnTo>
                  <a:lnTo>
                    <a:pt x="520" y="930"/>
                  </a:lnTo>
                  <a:lnTo>
                    <a:pt x="503" y="937"/>
                  </a:lnTo>
                  <a:lnTo>
                    <a:pt x="503" y="959"/>
                  </a:lnTo>
                  <a:lnTo>
                    <a:pt x="444" y="959"/>
                  </a:lnTo>
                  <a:lnTo>
                    <a:pt x="444" y="959"/>
                  </a:lnTo>
                  <a:lnTo>
                    <a:pt x="416" y="970"/>
                  </a:lnTo>
                  <a:lnTo>
                    <a:pt x="416" y="970"/>
                  </a:lnTo>
                  <a:lnTo>
                    <a:pt x="406" y="970"/>
                  </a:lnTo>
                  <a:lnTo>
                    <a:pt x="378" y="970"/>
                  </a:lnTo>
                  <a:lnTo>
                    <a:pt x="335" y="904"/>
                  </a:lnTo>
                  <a:lnTo>
                    <a:pt x="335" y="892"/>
                  </a:lnTo>
                  <a:lnTo>
                    <a:pt x="319" y="848"/>
                  </a:lnTo>
                  <a:lnTo>
                    <a:pt x="319" y="836"/>
                  </a:lnTo>
                  <a:lnTo>
                    <a:pt x="307" y="819"/>
                  </a:lnTo>
                  <a:lnTo>
                    <a:pt x="272" y="810"/>
                  </a:lnTo>
                  <a:lnTo>
                    <a:pt x="272" y="810"/>
                  </a:lnTo>
                  <a:lnTo>
                    <a:pt x="272" y="810"/>
                  </a:lnTo>
                  <a:close/>
                  <a:moveTo>
                    <a:pt x="38" y="819"/>
                  </a:moveTo>
                  <a:lnTo>
                    <a:pt x="50" y="810"/>
                  </a:lnTo>
                  <a:lnTo>
                    <a:pt x="54" y="810"/>
                  </a:lnTo>
                  <a:lnTo>
                    <a:pt x="38" y="819"/>
                  </a:lnTo>
                  <a:lnTo>
                    <a:pt x="38" y="819"/>
                  </a:lnTo>
                  <a:lnTo>
                    <a:pt x="38" y="81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5" name="Freeform 414">
              <a:extLst>
                <a:ext uri="{FF2B5EF4-FFF2-40B4-BE49-F238E27FC236}">
                  <a16:creationId xmlns:a16="http://schemas.microsoft.com/office/drawing/2014/main" id="{F6EAE736-70F5-4FF0-AEE5-787E47DBECA0}"/>
                </a:ext>
              </a:extLst>
            </p:cNvPr>
            <p:cNvSpPr>
              <a:spLocks noEditPoints="1"/>
            </p:cNvSpPr>
            <p:nvPr/>
          </p:nvSpPr>
          <p:spPr bwMode="gray">
            <a:xfrm>
              <a:off x="15434653" y="2715867"/>
              <a:ext cx="1403121" cy="966507"/>
            </a:xfrm>
            <a:custGeom>
              <a:avLst/>
              <a:gdLst>
                <a:gd name="T0" fmla="*/ 361 w 4287"/>
                <a:gd name="T1" fmla="*/ 1833 h 2953"/>
                <a:gd name="T2" fmla="*/ 314 w 4287"/>
                <a:gd name="T3" fmla="*/ 1606 h 2953"/>
                <a:gd name="T4" fmla="*/ 54 w 4287"/>
                <a:gd name="T5" fmla="*/ 1462 h 2953"/>
                <a:gd name="T6" fmla="*/ 7 w 4287"/>
                <a:gd name="T7" fmla="*/ 1273 h 2953"/>
                <a:gd name="T8" fmla="*/ 233 w 4287"/>
                <a:gd name="T9" fmla="*/ 1146 h 2953"/>
                <a:gd name="T10" fmla="*/ 474 w 4287"/>
                <a:gd name="T11" fmla="*/ 869 h 2953"/>
                <a:gd name="T12" fmla="*/ 777 w 4287"/>
                <a:gd name="T13" fmla="*/ 614 h 2953"/>
                <a:gd name="T14" fmla="*/ 999 w 4287"/>
                <a:gd name="T15" fmla="*/ 432 h 2953"/>
                <a:gd name="T16" fmla="*/ 1216 w 4287"/>
                <a:gd name="T17" fmla="*/ 680 h 2953"/>
                <a:gd name="T18" fmla="*/ 1821 w 4287"/>
                <a:gd name="T19" fmla="*/ 1014 h 2953"/>
                <a:gd name="T20" fmla="*/ 2581 w 4287"/>
                <a:gd name="T21" fmla="*/ 985 h 2953"/>
                <a:gd name="T22" fmla="*/ 3030 w 4287"/>
                <a:gd name="T23" fmla="*/ 669 h 2953"/>
                <a:gd name="T24" fmla="*/ 3099 w 4287"/>
                <a:gd name="T25" fmla="*/ 520 h 2953"/>
                <a:gd name="T26" fmla="*/ 3191 w 4287"/>
                <a:gd name="T27" fmla="*/ 298 h 2953"/>
                <a:gd name="T28" fmla="*/ 3569 w 4287"/>
                <a:gd name="T29" fmla="*/ 26 h 2953"/>
                <a:gd name="T30" fmla="*/ 3732 w 4287"/>
                <a:gd name="T31" fmla="*/ 222 h 2953"/>
                <a:gd name="T32" fmla="*/ 3947 w 4287"/>
                <a:gd name="T33" fmla="*/ 425 h 2953"/>
                <a:gd name="T34" fmla="*/ 4287 w 4287"/>
                <a:gd name="T35" fmla="*/ 553 h 2953"/>
                <a:gd name="T36" fmla="*/ 4055 w 4287"/>
                <a:gd name="T37" fmla="*/ 796 h 2953"/>
                <a:gd name="T38" fmla="*/ 3921 w 4287"/>
                <a:gd name="T39" fmla="*/ 1025 h 2953"/>
                <a:gd name="T40" fmla="*/ 3607 w 4287"/>
                <a:gd name="T41" fmla="*/ 1195 h 2953"/>
                <a:gd name="T42" fmla="*/ 3363 w 4287"/>
                <a:gd name="T43" fmla="*/ 1295 h 2953"/>
                <a:gd name="T44" fmla="*/ 3283 w 4287"/>
                <a:gd name="T45" fmla="*/ 1207 h 2953"/>
                <a:gd name="T46" fmla="*/ 3203 w 4287"/>
                <a:gd name="T47" fmla="*/ 1472 h 2953"/>
                <a:gd name="T48" fmla="*/ 3408 w 4287"/>
                <a:gd name="T49" fmla="*/ 1495 h 2953"/>
                <a:gd name="T50" fmla="*/ 3278 w 4287"/>
                <a:gd name="T51" fmla="*/ 1540 h 2953"/>
                <a:gd name="T52" fmla="*/ 3354 w 4287"/>
                <a:gd name="T53" fmla="*/ 1862 h 2953"/>
                <a:gd name="T54" fmla="*/ 3300 w 4287"/>
                <a:gd name="T55" fmla="*/ 1888 h 2953"/>
                <a:gd name="T56" fmla="*/ 3370 w 4287"/>
                <a:gd name="T57" fmla="*/ 2048 h 2953"/>
                <a:gd name="T58" fmla="*/ 3363 w 4287"/>
                <a:gd name="T59" fmla="*/ 2105 h 2953"/>
                <a:gd name="T60" fmla="*/ 3295 w 4287"/>
                <a:gd name="T61" fmla="*/ 2199 h 2953"/>
                <a:gd name="T62" fmla="*/ 3245 w 4287"/>
                <a:gd name="T63" fmla="*/ 2294 h 2953"/>
                <a:gd name="T64" fmla="*/ 3191 w 4287"/>
                <a:gd name="T65" fmla="*/ 2343 h 2953"/>
                <a:gd name="T66" fmla="*/ 3170 w 4287"/>
                <a:gd name="T67" fmla="*/ 2426 h 2953"/>
                <a:gd name="T68" fmla="*/ 3120 w 4287"/>
                <a:gd name="T69" fmla="*/ 2492 h 2953"/>
                <a:gd name="T70" fmla="*/ 2938 w 4287"/>
                <a:gd name="T71" fmla="*/ 2608 h 2953"/>
                <a:gd name="T72" fmla="*/ 2841 w 4287"/>
                <a:gd name="T73" fmla="*/ 2624 h 2953"/>
                <a:gd name="T74" fmla="*/ 2787 w 4287"/>
                <a:gd name="T75" fmla="*/ 2653 h 2953"/>
                <a:gd name="T76" fmla="*/ 2624 w 4287"/>
                <a:gd name="T77" fmla="*/ 2698 h 2953"/>
                <a:gd name="T78" fmla="*/ 2591 w 4287"/>
                <a:gd name="T79" fmla="*/ 2776 h 2953"/>
                <a:gd name="T80" fmla="*/ 2522 w 4287"/>
                <a:gd name="T81" fmla="*/ 2698 h 2953"/>
                <a:gd name="T82" fmla="*/ 2430 w 4287"/>
                <a:gd name="T83" fmla="*/ 2691 h 2953"/>
                <a:gd name="T84" fmla="*/ 2241 w 4287"/>
                <a:gd name="T85" fmla="*/ 2580 h 2953"/>
                <a:gd name="T86" fmla="*/ 1972 w 4287"/>
                <a:gd name="T87" fmla="*/ 2624 h 2953"/>
                <a:gd name="T88" fmla="*/ 1851 w 4287"/>
                <a:gd name="T89" fmla="*/ 2681 h 2953"/>
                <a:gd name="T90" fmla="*/ 1691 w 4287"/>
                <a:gd name="T91" fmla="*/ 2525 h 2953"/>
                <a:gd name="T92" fmla="*/ 1766 w 4287"/>
                <a:gd name="T93" fmla="*/ 2294 h 2953"/>
                <a:gd name="T94" fmla="*/ 1582 w 4287"/>
                <a:gd name="T95" fmla="*/ 2126 h 2953"/>
                <a:gd name="T96" fmla="*/ 1313 w 4287"/>
                <a:gd name="T97" fmla="*/ 2216 h 2953"/>
                <a:gd name="T98" fmla="*/ 1015 w 4287"/>
                <a:gd name="T99" fmla="*/ 2204 h 2953"/>
                <a:gd name="T100" fmla="*/ 810 w 4287"/>
                <a:gd name="T101" fmla="*/ 2150 h 2953"/>
                <a:gd name="T102" fmla="*/ 529 w 4287"/>
                <a:gd name="T103" fmla="*/ 2039 h 2953"/>
                <a:gd name="T104" fmla="*/ 3229 w 4287"/>
                <a:gd name="T105" fmla="*/ 1866 h 2953"/>
                <a:gd name="T106" fmla="*/ 3401 w 4287"/>
                <a:gd name="T107" fmla="*/ 2032 h 2953"/>
                <a:gd name="T108" fmla="*/ 3418 w 4287"/>
                <a:gd name="T109" fmla="*/ 2048 h 2953"/>
                <a:gd name="T110" fmla="*/ 3337 w 4287"/>
                <a:gd name="T111" fmla="*/ 2192 h 2953"/>
                <a:gd name="T112" fmla="*/ 3115 w 4287"/>
                <a:gd name="T113" fmla="*/ 2476 h 2953"/>
                <a:gd name="T114" fmla="*/ 2851 w 4287"/>
                <a:gd name="T115" fmla="*/ 2641 h 2953"/>
                <a:gd name="T116" fmla="*/ 2683 w 4287"/>
                <a:gd name="T117" fmla="*/ 2691 h 2953"/>
                <a:gd name="T118" fmla="*/ 2570 w 4287"/>
                <a:gd name="T119" fmla="*/ 2731 h 2953"/>
                <a:gd name="T120" fmla="*/ 2560 w 4287"/>
                <a:gd name="T121" fmla="*/ 2809 h 2953"/>
                <a:gd name="T122" fmla="*/ 2527 w 4287"/>
                <a:gd name="T123" fmla="*/ 2941 h 2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87" h="2953">
                  <a:moveTo>
                    <a:pt x="524" y="2032"/>
                  </a:moveTo>
                  <a:lnTo>
                    <a:pt x="491" y="2010"/>
                  </a:lnTo>
                  <a:lnTo>
                    <a:pt x="460" y="1999"/>
                  </a:lnTo>
                  <a:lnTo>
                    <a:pt x="470" y="1982"/>
                  </a:lnTo>
                  <a:lnTo>
                    <a:pt x="437" y="1973"/>
                  </a:lnTo>
                  <a:lnTo>
                    <a:pt x="415" y="1973"/>
                  </a:lnTo>
                  <a:lnTo>
                    <a:pt x="385" y="1928"/>
                  </a:lnTo>
                  <a:lnTo>
                    <a:pt x="368" y="1944"/>
                  </a:lnTo>
                  <a:lnTo>
                    <a:pt x="361" y="1937"/>
                  </a:lnTo>
                  <a:lnTo>
                    <a:pt x="361" y="1921"/>
                  </a:lnTo>
                  <a:lnTo>
                    <a:pt x="368" y="1916"/>
                  </a:lnTo>
                  <a:lnTo>
                    <a:pt x="352" y="1904"/>
                  </a:lnTo>
                  <a:lnTo>
                    <a:pt x="361" y="1888"/>
                  </a:lnTo>
                  <a:lnTo>
                    <a:pt x="340" y="1866"/>
                  </a:lnTo>
                  <a:lnTo>
                    <a:pt x="340" y="1845"/>
                  </a:lnTo>
                  <a:lnTo>
                    <a:pt x="361" y="1833"/>
                  </a:lnTo>
                  <a:lnTo>
                    <a:pt x="361" y="1850"/>
                  </a:lnTo>
                  <a:lnTo>
                    <a:pt x="378" y="1862"/>
                  </a:lnTo>
                  <a:lnTo>
                    <a:pt x="394" y="1850"/>
                  </a:lnTo>
                  <a:lnTo>
                    <a:pt x="399" y="1850"/>
                  </a:lnTo>
                  <a:lnTo>
                    <a:pt x="415" y="1828"/>
                  </a:lnTo>
                  <a:lnTo>
                    <a:pt x="399" y="1812"/>
                  </a:lnTo>
                  <a:lnTo>
                    <a:pt x="406" y="1795"/>
                  </a:lnTo>
                  <a:lnTo>
                    <a:pt x="378" y="1776"/>
                  </a:lnTo>
                  <a:lnTo>
                    <a:pt x="361" y="1760"/>
                  </a:lnTo>
                  <a:lnTo>
                    <a:pt x="361" y="1717"/>
                  </a:lnTo>
                  <a:lnTo>
                    <a:pt x="378" y="1706"/>
                  </a:lnTo>
                  <a:lnTo>
                    <a:pt x="378" y="1701"/>
                  </a:lnTo>
                  <a:lnTo>
                    <a:pt x="352" y="1684"/>
                  </a:lnTo>
                  <a:lnTo>
                    <a:pt x="330" y="1677"/>
                  </a:lnTo>
                  <a:lnTo>
                    <a:pt x="309" y="1623"/>
                  </a:lnTo>
                  <a:lnTo>
                    <a:pt x="314" y="1606"/>
                  </a:lnTo>
                  <a:lnTo>
                    <a:pt x="297" y="1606"/>
                  </a:lnTo>
                  <a:lnTo>
                    <a:pt x="271" y="1606"/>
                  </a:lnTo>
                  <a:lnTo>
                    <a:pt x="233" y="1595"/>
                  </a:lnTo>
                  <a:lnTo>
                    <a:pt x="205" y="1583"/>
                  </a:lnTo>
                  <a:lnTo>
                    <a:pt x="205" y="1573"/>
                  </a:lnTo>
                  <a:lnTo>
                    <a:pt x="184" y="1583"/>
                  </a:lnTo>
                  <a:lnTo>
                    <a:pt x="179" y="1566"/>
                  </a:lnTo>
                  <a:lnTo>
                    <a:pt x="163" y="1557"/>
                  </a:lnTo>
                  <a:lnTo>
                    <a:pt x="167" y="1540"/>
                  </a:lnTo>
                  <a:lnTo>
                    <a:pt x="163" y="1512"/>
                  </a:lnTo>
                  <a:lnTo>
                    <a:pt x="146" y="1500"/>
                  </a:lnTo>
                  <a:lnTo>
                    <a:pt x="129" y="1500"/>
                  </a:lnTo>
                  <a:lnTo>
                    <a:pt x="125" y="1484"/>
                  </a:lnTo>
                  <a:lnTo>
                    <a:pt x="108" y="1479"/>
                  </a:lnTo>
                  <a:lnTo>
                    <a:pt x="70" y="1479"/>
                  </a:lnTo>
                  <a:lnTo>
                    <a:pt x="54" y="1462"/>
                  </a:lnTo>
                  <a:lnTo>
                    <a:pt x="82" y="1455"/>
                  </a:lnTo>
                  <a:lnTo>
                    <a:pt x="82" y="1462"/>
                  </a:lnTo>
                  <a:lnTo>
                    <a:pt x="92" y="1462"/>
                  </a:lnTo>
                  <a:lnTo>
                    <a:pt x="113" y="1446"/>
                  </a:lnTo>
                  <a:lnTo>
                    <a:pt x="92" y="1422"/>
                  </a:lnTo>
                  <a:lnTo>
                    <a:pt x="96" y="1417"/>
                  </a:lnTo>
                  <a:lnTo>
                    <a:pt x="82" y="1389"/>
                  </a:lnTo>
                  <a:lnTo>
                    <a:pt x="92" y="1363"/>
                  </a:lnTo>
                  <a:lnTo>
                    <a:pt x="54" y="1347"/>
                  </a:lnTo>
                  <a:lnTo>
                    <a:pt x="37" y="1347"/>
                  </a:lnTo>
                  <a:lnTo>
                    <a:pt x="28" y="1351"/>
                  </a:lnTo>
                  <a:lnTo>
                    <a:pt x="16" y="1347"/>
                  </a:lnTo>
                  <a:lnTo>
                    <a:pt x="7" y="1318"/>
                  </a:lnTo>
                  <a:lnTo>
                    <a:pt x="16" y="1311"/>
                  </a:lnTo>
                  <a:lnTo>
                    <a:pt x="0" y="1295"/>
                  </a:lnTo>
                  <a:lnTo>
                    <a:pt x="7" y="1273"/>
                  </a:lnTo>
                  <a:lnTo>
                    <a:pt x="16" y="1273"/>
                  </a:lnTo>
                  <a:lnTo>
                    <a:pt x="21" y="1262"/>
                  </a:lnTo>
                  <a:lnTo>
                    <a:pt x="16" y="1252"/>
                  </a:lnTo>
                  <a:lnTo>
                    <a:pt x="28" y="1224"/>
                  </a:lnTo>
                  <a:lnTo>
                    <a:pt x="54" y="1219"/>
                  </a:lnTo>
                  <a:lnTo>
                    <a:pt x="75" y="1202"/>
                  </a:lnTo>
                  <a:lnTo>
                    <a:pt x="92" y="1202"/>
                  </a:lnTo>
                  <a:lnTo>
                    <a:pt x="82" y="1186"/>
                  </a:lnTo>
                  <a:lnTo>
                    <a:pt x="113" y="1195"/>
                  </a:lnTo>
                  <a:lnTo>
                    <a:pt x="134" y="1179"/>
                  </a:lnTo>
                  <a:lnTo>
                    <a:pt x="146" y="1202"/>
                  </a:lnTo>
                  <a:lnTo>
                    <a:pt x="179" y="1195"/>
                  </a:lnTo>
                  <a:lnTo>
                    <a:pt x="189" y="1202"/>
                  </a:lnTo>
                  <a:lnTo>
                    <a:pt x="217" y="1179"/>
                  </a:lnTo>
                  <a:lnTo>
                    <a:pt x="217" y="1162"/>
                  </a:lnTo>
                  <a:lnTo>
                    <a:pt x="233" y="1146"/>
                  </a:lnTo>
                  <a:lnTo>
                    <a:pt x="314" y="1141"/>
                  </a:lnTo>
                  <a:lnTo>
                    <a:pt x="330" y="1125"/>
                  </a:lnTo>
                  <a:lnTo>
                    <a:pt x="340" y="1108"/>
                  </a:lnTo>
                  <a:lnTo>
                    <a:pt x="399" y="1075"/>
                  </a:lnTo>
                  <a:lnTo>
                    <a:pt x="432" y="1068"/>
                  </a:lnTo>
                  <a:lnTo>
                    <a:pt x="437" y="1058"/>
                  </a:lnTo>
                  <a:lnTo>
                    <a:pt x="460" y="1051"/>
                  </a:lnTo>
                  <a:lnTo>
                    <a:pt x="460" y="1042"/>
                  </a:lnTo>
                  <a:lnTo>
                    <a:pt x="470" y="1035"/>
                  </a:lnTo>
                  <a:lnTo>
                    <a:pt x="460" y="1002"/>
                  </a:lnTo>
                  <a:lnTo>
                    <a:pt x="470" y="985"/>
                  </a:lnTo>
                  <a:lnTo>
                    <a:pt x="491" y="980"/>
                  </a:lnTo>
                  <a:lnTo>
                    <a:pt x="474" y="969"/>
                  </a:lnTo>
                  <a:lnTo>
                    <a:pt x="507" y="957"/>
                  </a:lnTo>
                  <a:lnTo>
                    <a:pt x="503" y="931"/>
                  </a:lnTo>
                  <a:lnTo>
                    <a:pt x="474" y="869"/>
                  </a:lnTo>
                  <a:lnTo>
                    <a:pt x="474" y="829"/>
                  </a:lnTo>
                  <a:lnTo>
                    <a:pt x="486" y="820"/>
                  </a:lnTo>
                  <a:lnTo>
                    <a:pt x="470" y="813"/>
                  </a:lnTo>
                  <a:lnTo>
                    <a:pt x="448" y="813"/>
                  </a:lnTo>
                  <a:lnTo>
                    <a:pt x="437" y="803"/>
                  </a:lnTo>
                  <a:lnTo>
                    <a:pt x="453" y="791"/>
                  </a:lnTo>
                  <a:lnTo>
                    <a:pt x="566" y="763"/>
                  </a:lnTo>
                  <a:lnTo>
                    <a:pt x="583" y="780"/>
                  </a:lnTo>
                  <a:lnTo>
                    <a:pt x="611" y="775"/>
                  </a:lnTo>
                  <a:lnTo>
                    <a:pt x="633" y="780"/>
                  </a:lnTo>
                  <a:lnTo>
                    <a:pt x="633" y="758"/>
                  </a:lnTo>
                  <a:lnTo>
                    <a:pt x="611" y="742"/>
                  </a:lnTo>
                  <a:lnTo>
                    <a:pt x="663" y="614"/>
                  </a:lnTo>
                  <a:lnTo>
                    <a:pt x="663" y="593"/>
                  </a:lnTo>
                  <a:lnTo>
                    <a:pt x="725" y="614"/>
                  </a:lnTo>
                  <a:lnTo>
                    <a:pt x="777" y="614"/>
                  </a:lnTo>
                  <a:lnTo>
                    <a:pt x="784" y="626"/>
                  </a:lnTo>
                  <a:lnTo>
                    <a:pt x="784" y="631"/>
                  </a:lnTo>
                  <a:lnTo>
                    <a:pt x="815" y="610"/>
                  </a:lnTo>
                  <a:lnTo>
                    <a:pt x="838" y="610"/>
                  </a:lnTo>
                  <a:lnTo>
                    <a:pt x="848" y="593"/>
                  </a:lnTo>
                  <a:lnTo>
                    <a:pt x="848" y="581"/>
                  </a:lnTo>
                  <a:lnTo>
                    <a:pt x="838" y="569"/>
                  </a:lnTo>
                  <a:lnTo>
                    <a:pt x="838" y="527"/>
                  </a:lnTo>
                  <a:lnTo>
                    <a:pt x="852" y="487"/>
                  </a:lnTo>
                  <a:lnTo>
                    <a:pt x="907" y="470"/>
                  </a:lnTo>
                  <a:lnTo>
                    <a:pt x="923" y="458"/>
                  </a:lnTo>
                  <a:lnTo>
                    <a:pt x="918" y="432"/>
                  </a:lnTo>
                  <a:lnTo>
                    <a:pt x="935" y="416"/>
                  </a:lnTo>
                  <a:lnTo>
                    <a:pt x="961" y="425"/>
                  </a:lnTo>
                  <a:lnTo>
                    <a:pt x="999" y="416"/>
                  </a:lnTo>
                  <a:lnTo>
                    <a:pt x="999" y="432"/>
                  </a:lnTo>
                  <a:lnTo>
                    <a:pt x="994" y="442"/>
                  </a:lnTo>
                  <a:lnTo>
                    <a:pt x="1015" y="458"/>
                  </a:lnTo>
                  <a:lnTo>
                    <a:pt x="1011" y="470"/>
                  </a:lnTo>
                  <a:lnTo>
                    <a:pt x="1048" y="487"/>
                  </a:lnTo>
                  <a:lnTo>
                    <a:pt x="1053" y="503"/>
                  </a:lnTo>
                  <a:lnTo>
                    <a:pt x="1086" y="520"/>
                  </a:lnTo>
                  <a:lnTo>
                    <a:pt x="1117" y="520"/>
                  </a:lnTo>
                  <a:lnTo>
                    <a:pt x="1133" y="536"/>
                  </a:lnTo>
                  <a:lnTo>
                    <a:pt x="1155" y="536"/>
                  </a:lnTo>
                  <a:lnTo>
                    <a:pt x="1155" y="543"/>
                  </a:lnTo>
                  <a:lnTo>
                    <a:pt x="1178" y="569"/>
                  </a:lnTo>
                  <a:lnTo>
                    <a:pt x="1188" y="581"/>
                  </a:lnTo>
                  <a:lnTo>
                    <a:pt x="1204" y="610"/>
                  </a:lnTo>
                  <a:lnTo>
                    <a:pt x="1216" y="626"/>
                  </a:lnTo>
                  <a:lnTo>
                    <a:pt x="1226" y="652"/>
                  </a:lnTo>
                  <a:lnTo>
                    <a:pt x="1216" y="680"/>
                  </a:lnTo>
                  <a:lnTo>
                    <a:pt x="1226" y="704"/>
                  </a:lnTo>
                  <a:lnTo>
                    <a:pt x="1204" y="725"/>
                  </a:lnTo>
                  <a:lnTo>
                    <a:pt x="1192" y="747"/>
                  </a:lnTo>
                  <a:lnTo>
                    <a:pt x="1209" y="775"/>
                  </a:lnTo>
                  <a:lnTo>
                    <a:pt x="1259" y="791"/>
                  </a:lnTo>
                  <a:lnTo>
                    <a:pt x="1405" y="796"/>
                  </a:lnTo>
                  <a:lnTo>
                    <a:pt x="1481" y="853"/>
                  </a:lnTo>
                  <a:lnTo>
                    <a:pt x="1502" y="858"/>
                  </a:lnTo>
                  <a:lnTo>
                    <a:pt x="1528" y="858"/>
                  </a:lnTo>
                  <a:lnTo>
                    <a:pt x="1528" y="886"/>
                  </a:lnTo>
                  <a:lnTo>
                    <a:pt x="1540" y="886"/>
                  </a:lnTo>
                  <a:lnTo>
                    <a:pt x="1566" y="947"/>
                  </a:lnTo>
                  <a:lnTo>
                    <a:pt x="1594" y="980"/>
                  </a:lnTo>
                  <a:lnTo>
                    <a:pt x="1594" y="997"/>
                  </a:lnTo>
                  <a:lnTo>
                    <a:pt x="1646" y="985"/>
                  </a:lnTo>
                  <a:lnTo>
                    <a:pt x="1821" y="1014"/>
                  </a:lnTo>
                  <a:lnTo>
                    <a:pt x="1873" y="997"/>
                  </a:lnTo>
                  <a:lnTo>
                    <a:pt x="1911" y="997"/>
                  </a:lnTo>
                  <a:lnTo>
                    <a:pt x="1981" y="1014"/>
                  </a:lnTo>
                  <a:lnTo>
                    <a:pt x="1998" y="1035"/>
                  </a:lnTo>
                  <a:lnTo>
                    <a:pt x="2040" y="1042"/>
                  </a:lnTo>
                  <a:lnTo>
                    <a:pt x="2090" y="1068"/>
                  </a:lnTo>
                  <a:lnTo>
                    <a:pt x="2123" y="1075"/>
                  </a:lnTo>
                  <a:lnTo>
                    <a:pt x="2166" y="1068"/>
                  </a:lnTo>
                  <a:lnTo>
                    <a:pt x="2166" y="1084"/>
                  </a:lnTo>
                  <a:lnTo>
                    <a:pt x="2199" y="1091"/>
                  </a:lnTo>
                  <a:lnTo>
                    <a:pt x="2203" y="1091"/>
                  </a:lnTo>
                  <a:lnTo>
                    <a:pt x="2220" y="1084"/>
                  </a:lnTo>
                  <a:lnTo>
                    <a:pt x="2258" y="1058"/>
                  </a:lnTo>
                  <a:lnTo>
                    <a:pt x="2376" y="1018"/>
                  </a:lnTo>
                  <a:lnTo>
                    <a:pt x="2506" y="1018"/>
                  </a:lnTo>
                  <a:lnTo>
                    <a:pt x="2581" y="985"/>
                  </a:lnTo>
                  <a:lnTo>
                    <a:pt x="2624" y="940"/>
                  </a:lnTo>
                  <a:lnTo>
                    <a:pt x="2690" y="907"/>
                  </a:lnTo>
                  <a:lnTo>
                    <a:pt x="2683" y="886"/>
                  </a:lnTo>
                  <a:lnTo>
                    <a:pt x="2652" y="853"/>
                  </a:lnTo>
                  <a:lnTo>
                    <a:pt x="2678" y="796"/>
                  </a:lnTo>
                  <a:lnTo>
                    <a:pt x="2700" y="780"/>
                  </a:lnTo>
                  <a:lnTo>
                    <a:pt x="2721" y="791"/>
                  </a:lnTo>
                  <a:lnTo>
                    <a:pt x="2754" y="803"/>
                  </a:lnTo>
                  <a:lnTo>
                    <a:pt x="2808" y="813"/>
                  </a:lnTo>
                  <a:lnTo>
                    <a:pt x="2867" y="775"/>
                  </a:lnTo>
                  <a:lnTo>
                    <a:pt x="2867" y="758"/>
                  </a:lnTo>
                  <a:lnTo>
                    <a:pt x="2938" y="758"/>
                  </a:lnTo>
                  <a:lnTo>
                    <a:pt x="2985" y="737"/>
                  </a:lnTo>
                  <a:lnTo>
                    <a:pt x="3002" y="692"/>
                  </a:lnTo>
                  <a:lnTo>
                    <a:pt x="3023" y="680"/>
                  </a:lnTo>
                  <a:lnTo>
                    <a:pt x="3030" y="669"/>
                  </a:lnTo>
                  <a:lnTo>
                    <a:pt x="3068" y="669"/>
                  </a:lnTo>
                  <a:lnTo>
                    <a:pt x="3068" y="652"/>
                  </a:lnTo>
                  <a:lnTo>
                    <a:pt x="3099" y="652"/>
                  </a:lnTo>
                  <a:lnTo>
                    <a:pt x="3137" y="636"/>
                  </a:lnTo>
                  <a:lnTo>
                    <a:pt x="3170" y="647"/>
                  </a:lnTo>
                  <a:lnTo>
                    <a:pt x="3174" y="636"/>
                  </a:lnTo>
                  <a:lnTo>
                    <a:pt x="3207" y="647"/>
                  </a:lnTo>
                  <a:lnTo>
                    <a:pt x="3229" y="652"/>
                  </a:lnTo>
                  <a:lnTo>
                    <a:pt x="3245" y="636"/>
                  </a:lnTo>
                  <a:lnTo>
                    <a:pt x="3245" y="626"/>
                  </a:lnTo>
                  <a:lnTo>
                    <a:pt x="3229" y="598"/>
                  </a:lnTo>
                  <a:lnTo>
                    <a:pt x="3191" y="569"/>
                  </a:lnTo>
                  <a:lnTo>
                    <a:pt x="3191" y="553"/>
                  </a:lnTo>
                  <a:lnTo>
                    <a:pt x="3170" y="543"/>
                  </a:lnTo>
                  <a:lnTo>
                    <a:pt x="3153" y="520"/>
                  </a:lnTo>
                  <a:lnTo>
                    <a:pt x="3099" y="520"/>
                  </a:lnTo>
                  <a:lnTo>
                    <a:pt x="3068" y="553"/>
                  </a:lnTo>
                  <a:lnTo>
                    <a:pt x="3040" y="536"/>
                  </a:lnTo>
                  <a:lnTo>
                    <a:pt x="2992" y="536"/>
                  </a:lnTo>
                  <a:lnTo>
                    <a:pt x="2969" y="553"/>
                  </a:lnTo>
                  <a:lnTo>
                    <a:pt x="2948" y="527"/>
                  </a:lnTo>
                  <a:lnTo>
                    <a:pt x="2938" y="515"/>
                  </a:lnTo>
                  <a:lnTo>
                    <a:pt x="2959" y="499"/>
                  </a:lnTo>
                  <a:lnTo>
                    <a:pt x="2959" y="470"/>
                  </a:lnTo>
                  <a:lnTo>
                    <a:pt x="2976" y="449"/>
                  </a:lnTo>
                  <a:lnTo>
                    <a:pt x="3023" y="354"/>
                  </a:lnTo>
                  <a:lnTo>
                    <a:pt x="3111" y="388"/>
                  </a:lnTo>
                  <a:lnTo>
                    <a:pt x="3153" y="347"/>
                  </a:lnTo>
                  <a:lnTo>
                    <a:pt x="3191" y="338"/>
                  </a:lnTo>
                  <a:lnTo>
                    <a:pt x="3207" y="331"/>
                  </a:lnTo>
                  <a:lnTo>
                    <a:pt x="3207" y="305"/>
                  </a:lnTo>
                  <a:lnTo>
                    <a:pt x="3191" y="298"/>
                  </a:lnTo>
                  <a:lnTo>
                    <a:pt x="3219" y="265"/>
                  </a:lnTo>
                  <a:lnTo>
                    <a:pt x="3224" y="248"/>
                  </a:lnTo>
                  <a:lnTo>
                    <a:pt x="3240" y="239"/>
                  </a:lnTo>
                  <a:lnTo>
                    <a:pt x="3262" y="182"/>
                  </a:lnTo>
                  <a:lnTo>
                    <a:pt x="3300" y="154"/>
                  </a:lnTo>
                  <a:lnTo>
                    <a:pt x="3309" y="132"/>
                  </a:lnTo>
                  <a:lnTo>
                    <a:pt x="3300" y="116"/>
                  </a:lnTo>
                  <a:lnTo>
                    <a:pt x="3300" y="95"/>
                  </a:lnTo>
                  <a:lnTo>
                    <a:pt x="3283" y="83"/>
                  </a:lnTo>
                  <a:lnTo>
                    <a:pt x="3262" y="95"/>
                  </a:lnTo>
                  <a:lnTo>
                    <a:pt x="3257" y="71"/>
                  </a:lnTo>
                  <a:lnTo>
                    <a:pt x="3309" y="21"/>
                  </a:lnTo>
                  <a:lnTo>
                    <a:pt x="3510" y="0"/>
                  </a:lnTo>
                  <a:lnTo>
                    <a:pt x="3543" y="17"/>
                  </a:lnTo>
                  <a:lnTo>
                    <a:pt x="3552" y="17"/>
                  </a:lnTo>
                  <a:lnTo>
                    <a:pt x="3569" y="26"/>
                  </a:lnTo>
                  <a:lnTo>
                    <a:pt x="3597" y="38"/>
                  </a:lnTo>
                  <a:lnTo>
                    <a:pt x="3618" y="26"/>
                  </a:lnTo>
                  <a:lnTo>
                    <a:pt x="3649" y="43"/>
                  </a:lnTo>
                  <a:lnTo>
                    <a:pt x="3656" y="54"/>
                  </a:lnTo>
                  <a:lnTo>
                    <a:pt x="3649" y="62"/>
                  </a:lnTo>
                  <a:lnTo>
                    <a:pt x="3677" y="78"/>
                  </a:lnTo>
                  <a:lnTo>
                    <a:pt x="3673" y="95"/>
                  </a:lnTo>
                  <a:lnTo>
                    <a:pt x="3687" y="95"/>
                  </a:lnTo>
                  <a:lnTo>
                    <a:pt x="3703" y="111"/>
                  </a:lnTo>
                  <a:lnTo>
                    <a:pt x="3694" y="132"/>
                  </a:lnTo>
                  <a:lnTo>
                    <a:pt x="3715" y="132"/>
                  </a:lnTo>
                  <a:lnTo>
                    <a:pt x="3703" y="149"/>
                  </a:lnTo>
                  <a:lnTo>
                    <a:pt x="3725" y="170"/>
                  </a:lnTo>
                  <a:lnTo>
                    <a:pt x="3732" y="203"/>
                  </a:lnTo>
                  <a:lnTo>
                    <a:pt x="3741" y="203"/>
                  </a:lnTo>
                  <a:lnTo>
                    <a:pt x="3732" y="222"/>
                  </a:lnTo>
                  <a:lnTo>
                    <a:pt x="3741" y="210"/>
                  </a:lnTo>
                  <a:lnTo>
                    <a:pt x="3741" y="239"/>
                  </a:lnTo>
                  <a:lnTo>
                    <a:pt x="3762" y="265"/>
                  </a:lnTo>
                  <a:lnTo>
                    <a:pt x="3770" y="281"/>
                  </a:lnTo>
                  <a:lnTo>
                    <a:pt x="3762" y="293"/>
                  </a:lnTo>
                  <a:lnTo>
                    <a:pt x="3770" y="305"/>
                  </a:lnTo>
                  <a:lnTo>
                    <a:pt x="3786" y="314"/>
                  </a:lnTo>
                  <a:lnTo>
                    <a:pt x="3779" y="331"/>
                  </a:lnTo>
                  <a:lnTo>
                    <a:pt x="3779" y="354"/>
                  </a:lnTo>
                  <a:lnTo>
                    <a:pt x="3800" y="376"/>
                  </a:lnTo>
                  <a:lnTo>
                    <a:pt x="3871" y="376"/>
                  </a:lnTo>
                  <a:lnTo>
                    <a:pt x="3892" y="404"/>
                  </a:lnTo>
                  <a:lnTo>
                    <a:pt x="3921" y="392"/>
                  </a:lnTo>
                  <a:lnTo>
                    <a:pt x="3925" y="404"/>
                  </a:lnTo>
                  <a:lnTo>
                    <a:pt x="3930" y="409"/>
                  </a:lnTo>
                  <a:lnTo>
                    <a:pt x="3947" y="425"/>
                  </a:lnTo>
                  <a:lnTo>
                    <a:pt x="3975" y="442"/>
                  </a:lnTo>
                  <a:lnTo>
                    <a:pt x="4001" y="442"/>
                  </a:lnTo>
                  <a:lnTo>
                    <a:pt x="3996" y="465"/>
                  </a:lnTo>
                  <a:lnTo>
                    <a:pt x="4013" y="499"/>
                  </a:lnTo>
                  <a:lnTo>
                    <a:pt x="4001" y="515"/>
                  </a:lnTo>
                  <a:lnTo>
                    <a:pt x="4018" y="527"/>
                  </a:lnTo>
                  <a:lnTo>
                    <a:pt x="4027" y="553"/>
                  </a:lnTo>
                  <a:lnTo>
                    <a:pt x="4136" y="553"/>
                  </a:lnTo>
                  <a:lnTo>
                    <a:pt x="4140" y="536"/>
                  </a:lnTo>
                  <a:lnTo>
                    <a:pt x="4174" y="515"/>
                  </a:lnTo>
                  <a:lnTo>
                    <a:pt x="4202" y="520"/>
                  </a:lnTo>
                  <a:lnTo>
                    <a:pt x="4216" y="499"/>
                  </a:lnTo>
                  <a:lnTo>
                    <a:pt x="4266" y="487"/>
                  </a:lnTo>
                  <a:lnTo>
                    <a:pt x="4287" y="499"/>
                  </a:lnTo>
                  <a:lnTo>
                    <a:pt x="4270" y="520"/>
                  </a:lnTo>
                  <a:lnTo>
                    <a:pt x="4287" y="553"/>
                  </a:lnTo>
                  <a:lnTo>
                    <a:pt x="4270" y="569"/>
                  </a:lnTo>
                  <a:lnTo>
                    <a:pt x="4249" y="581"/>
                  </a:lnTo>
                  <a:lnTo>
                    <a:pt x="4249" y="610"/>
                  </a:lnTo>
                  <a:lnTo>
                    <a:pt x="4244" y="610"/>
                  </a:lnTo>
                  <a:lnTo>
                    <a:pt x="4233" y="647"/>
                  </a:lnTo>
                  <a:lnTo>
                    <a:pt x="4228" y="664"/>
                  </a:lnTo>
                  <a:lnTo>
                    <a:pt x="4233" y="669"/>
                  </a:lnTo>
                  <a:lnTo>
                    <a:pt x="4228" y="680"/>
                  </a:lnTo>
                  <a:lnTo>
                    <a:pt x="4195" y="721"/>
                  </a:lnTo>
                  <a:lnTo>
                    <a:pt x="4195" y="742"/>
                  </a:lnTo>
                  <a:lnTo>
                    <a:pt x="4174" y="758"/>
                  </a:lnTo>
                  <a:lnTo>
                    <a:pt x="4174" y="780"/>
                  </a:lnTo>
                  <a:lnTo>
                    <a:pt x="4157" y="791"/>
                  </a:lnTo>
                  <a:lnTo>
                    <a:pt x="4093" y="775"/>
                  </a:lnTo>
                  <a:lnTo>
                    <a:pt x="4088" y="763"/>
                  </a:lnTo>
                  <a:lnTo>
                    <a:pt x="4055" y="796"/>
                  </a:lnTo>
                  <a:lnTo>
                    <a:pt x="4018" y="803"/>
                  </a:lnTo>
                  <a:lnTo>
                    <a:pt x="4034" y="820"/>
                  </a:lnTo>
                  <a:lnTo>
                    <a:pt x="4051" y="874"/>
                  </a:lnTo>
                  <a:lnTo>
                    <a:pt x="4039" y="924"/>
                  </a:lnTo>
                  <a:lnTo>
                    <a:pt x="4051" y="940"/>
                  </a:lnTo>
                  <a:lnTo>
                    <a:pt x="4034" y="964"/>
                  </a:lnTo>
                  <a:lnTo>
                    <a:pt x="4034" y="980"/>
                  </a:lnTo>
                  <a:lnTo>
                    <a:pt x="3985" y="997"/>
                  </a:lnTo>
                  <a:lnTo>
                    <a:pt x="3996" y="1002"/>
                  </a:lnTo>
                  <a:lnTo>
                    <a:pt x="3996" y="1018"/>
                  </a:lnTo>
                  <a:lnTo>
                    <a:pt x="3996" y="1014"/>
                  </a:lnTo>
                  <a:lnTo>
                    <a:pt x="3975" y="997"/>
                  </a:lnTo>
                  <a:lnTo>
                    <a:pt x="3975" y="980"/>
                  </a:lnTo>
                  <a:lnTo>
                    <a:pt x="3947" y="969"/>
                  </a:lnTo>
                  <a:lnTo>
                    <a:pt x="3930" y="1018"/>
                  </a:lnTo>
                  <a:lnTo>
                    <a:pt x="3921" y="1025"/>
                  </a:lnTo>
                  <a:lnTo>
                    <a:pt x="3909" y="1018"/>
                  </a:lnTo>
                  <a:lnTo>
                    <a:pt x="3904" y="1035"/>
                  </a:lnTo>
                  <a:lnTo>
                    <a:pt x="3876" y="1058"/>
                  </a:lnTo>
                  <a:lnTo>
                    <a:pt x="3817" y="1058"/>
                  </a:lnTo>
                  <a:lnTo>
                    <a:pt x="3824" y="1075"/>
                  </a:lnTo>
                  <a:lnTo>
                    <a:pt x="3833" y="1091"/>
                  </a:lnTo>
                  <a:lnTo>
                    <a:pt x="3824" y="1113"/>
                  </a:lnTo>
                  <a:lnTo>
                    <a:pt x="3762" y="1108"/>
                  </a:lnTo>
                  <a:lnTo>
                    <a:pt x="3741" y="1075"/>
                  </a:lnTo>
                  <a:lnTo>
                    <a:pt x="3715" y="1091"/>
                  </a:lnTo>
                  <a:lnTo>
                    <a:pt x="3711" y="1113"/>
                  </a:lnTo>
                  <a:lnTo>
                    <a:pt x="3677" y="1151"/>
                  </a:lnTo>
                  <a:lnTo>
                    <a:pt x="3656" y="1151"/>
                  </a:lnTo>
                  <a:lnTo>
                    <a:pt x="3635" y="1169"/>
                  </a:lnTo>
                  <a:lnTo>
                    <a:pt x="3607" y="1186"/>
                  </a:lnTo>
                  <a:lnTo>
                    <a:pt x="3607" y="1195"/>
                  </a:lnTo>
                  <a:lnTo>
                    <a:pt x="3597" y="1186"/>
                  </a:lnTo>
                  <a:lnTo>
                    <a:pt x="3564" y="1219"/>
                  </a:lnTo>
                  <a:lnTo>
                    <a:pt x="3552" y="1236"/>
                  </a:lnTo>
                  <a:lnTo>
                    <a:pt x="3543" y="1240"/>
                  </a:lnTo>
                  <a:lnTo>
                    <a:pt x="3514" y="1240"/>
                  </a:lnTo>
                  <a:lnTo>
                    <a:pt x="3493" y="1252"/>
                  </a:lnTo>
                  <a:lnTo>
                    <a:pt x="3477" y="1240"/>
                  </a:lnTo>
                  <a:lnTo>
                    <a:pt x="3488" y="1257"/>
                  </a:lnTo>
                  <a:lnTo>
                    <a:pt x="3422" y="1278"/>
                  </a:lnTo>
                  <a:lnTo>
                    <a:pt x="3392" y="1311"/>
                  </a:lnTo>
                  <a:lnTo>
                    <a:pt x="3370" y="1311"/>
                  </a:lnTo>
                  <a:lnTo>
                    <a:pt x="3370" y="1330"/>
                  </a:lnTo>
                  <a:lnTo>
                    <a:pt x="3333" y="1335"/>
                  </a:lnTo>
                  <a:lnTo>
                    <a:pt x="3333" y="1318"/>
                  </a:lnTo>
                  <a:lnTo>
                    <a:pt x="3370" y="1306"/>
                  </a:lnTo>
                  <a:lnTo>
                    <a:pt x="3363" y="1295"/>
                  </a:lnTo>
                  <a:lnTo>
                    <a:pt x="3380" y="1278"/>
                  </a:lnTo>
                  <a:lnTo>
                    <a:pt x="3363" y="1278"/>
                  </a:lnTo>
                  <a:lnTo>
                    <a:pt x="3354" y="1273"/>
                  </a:lnTo>
                  <a:lnTo>
                    <a:pt x="3337" y="1262"/>
                  </a:lnTo>
                  <a:lnTo>
                    <a:pt x="3363" y="1257"/>
                  </a:lnTo>
                  <a:lnTo>
                    <a:pt x="3354" y="1240"/>
                  </a:lnTo>
                  <a:lnTo>
                    <a:pt x="3385" y="1236"/>
                  </a:lnTo>
                  <a:lnTo>
                    <a:pt x="3418" y="1186"/>
                  </a:lnTo>
                  <a:lnTo>
                    <a:pt x="3401" y="1162"/>
                  </a:lnTo>
                  <a:lnTo>
                    <a:pt x="3337" y="1151"/>
                  </a:lnTo>
                  <a:lnTo>
                    <a:pt x="3325" y="1162"/>
                  </a:lnTo>
                  <a:lnTo>
                    <a:pt x="3316" y="1162"/>
                  </a:lnTo>
                  <a:lnTo>
                    <a:pt x="3325" y="1169"/>
                  </a:lnTo>
                  <a:lnTo>
                    <a:pt x="3309" y="1169"/>
                  </a:lnTo>
                  <a:lnTo>
                    <a:pt x="3295" y="1195"/>
                  </a:lnTo>
                  <a:lnTo>
                    <a:pt x="3283" y="1207"/>
                  </a:lnTo>
                  <a:lnTo>
                    <a:pt x="3224" y="1240"/>
                  </a:lnTo>
                  <a:lnTo>
                    <a:pt x="3207" y="1252"/>
                  </a:lnTo>
                  <a:lnTo>
                    <a:pt x="3203" y="1278"/>
                  </a:lnTo>
                  <a:lnTo>
                    <a:pt x="3174" y="1306"/>
                  </a:lnTo>
                  <a:lnTo>
                    <a:pt x="3186" y="1295"/>
                  </a:lnTo>
                  <a:lnTo>
                    <a:pt x="3153" y="1295"/>
                  </a:lnTo>
                  <a:lnTo>
                    <a:pt x="3137" y="1311"/>
                  </a:lnTo>
                  <a:lnTo>
                    <a:pt x="3115" y="1295"/>
                  </a:lnTo>
                  <a:lnTo>
                    <a:pt x="3094" y="1306"/>
                  </a:lnTo>
                  <a:lnTo>
                    <a:pt x="3082" y="1347"/>
                  </a:lnTo>
                  <a:lnTo>
                    <a:pt x="3094" y="1368"/>
                  </a:lnTo>
                  <a:lnTo>
                    <a:pt x="3120" y="1384"/>
                  </a:lnTo>
                  <a:lnTo>
                    <a:pt x="3170" y="1384"/>
                  </a:lnTo>
                  <a:lnTo>
                    <a:pt x="3186" y="1406"/>
                  </a:lnTo>
                  <a:lnTo>
                    <a:pt x="3174" y="1455"/>
                  </a:lnTo>
                  <a:lnTo>
                    <a:pt x="3203" y="1472"/>
                  </a:lnTo>
                  <a:lnTo>
                    <a:pt x="3240" y="1472"/>
                  </a:lnTo>
                  <a:lnTo>
                    <a:pt x="3245" y="1462"/>
                  </a:lnTo>
                  <a:lnTo>
                    <a:pt x="3245" y="1446"/>
                  </a:lnTo>
                  <a:lnTo>
                    <a:pt x="3309" y="1406"/>
                  </a:lnTo>
                  <a:lnTo>
                    <a:pt x="3316" y="1417"/>
                  </a:lnTo>
                  <a:lnTo>
                    <a:pt x="3333" y="1429"/>
                  </a:lnTo>
                  <a:lnTo>
                    <a:pt x="3363" y="1446"/>
                  </a:lnTo>
                  <a:lnTo>
                    <a:pt x="3401" y="1429"/>
                  </a:lnTo>
                  <a:lnTo>
                    <a:pt x="3408" y="1446"/>
                  </a:lnTo>
                  <a:lnTo>
                    <a:pt x="3434" y="1446"/>
                  </a:lnTo>
                  <a:lnTo>
                    <a:pt x="3439" y="1462"/>
                  </a:lnTo>
                  <a:lnTo>
                    <a:pt x="3422" y="1472"/>
                  </a:lnTo>
                  <a:lnTo>
                    <a:pt x="3422" y="1479"/>
                  </a:lnTo>
                  <a:lnTo>
                    <a:pt x="3434" y="1479"/>
                  </a:lnTo>
                  <a:lnTo>
                    <a:pt x="3434" y="1484"/>
                  </a:lnTo>
                  <a:lnTo>
                    <a:pt x="3408" y="1495"/>
                  </a:lnTo>
                  <a:lnTo>
                    <a:pt x="3408" y="1484"/>
                  </a:lnTo>
                  <a:lnTo>
                    <a:pt x="3392" y="1479"/>
                  </a:lnTo>
                  <a:lnTo>
                    <a:pt x="3363" y="1500"/>
                  </a:lnTo>
                  <a:lnTo>
                    <a:pt x="3363" y="1495"/>
                  </a:lnTo>
                  <a:lnTo>
                    <a:pt x="3325" y="1517"/>
                  </a:lnTo>
                  <a:lnTo>
                    <a:pt x="3309" y="1512"/>
                  </a:lnTo>
                  <a:lnTo>
                    <a:pt x="3309" y="1517"/>
                  </a:lnTo>
                  <a:lnTo>
                    <a:pt x="3316" y="1512"/>
                  </a:lnTo>
                  <a:lnTo>
                    <a:pt x="3325" y="1517"/>
                  </a:lnTo>
                  <a:lnTo>
                    <a:pt x="3316" y="1533"/>
                  </a:lnTo>
                  <a:lnTo>
                    <a:pt x="3309" y="1528"/>
                  </a:lnTo>
                  <a:lnTo>
                    <a:pt x="3300" y="1528"/>
                  </a:lnTo>
                  <a:lnTo>
                    <a:pt x="3300" y="1550"/>
                  </a:lnTo>
                  <a:lnTo>
                    <a:pt x="3278" y="1557"/>
                  </a:lnTo>
                  <a:lnTo>
                    <a:pt x="3278" y="1550"/>
                  </a:lnTo>
                  <a:lnTo>
                    <a:pt x="3278" y="1540"/>
                  </a:lnTo>
                  <a:lnTo>
                    <a:pt x="3262" y="1550"/>
                  </a:lnTo>
                  <a:lnTo>
                    <a:pt x="3271" y="1566"/>
                  </a:lnTo>
                  <a:lnTo>
                    <a:pt x="3245" y="1583"/>
                  </a:lnTo>
                  <a:lnTo>
                    <a:pt x="3245" y="1590"/>
                  </a:lnTo>
                  <a:lnTo>
                    <a:pt x="3229" y="1595"/>
                  </a:lnTo>
                  <a:lnTo>
                    <a:pt x="3207" y="1639"/>
                  </a:lnTo>
                  <a:lnTo>
                    <a:pt x="3203" y="1639"/>
                  </a:lnTo>
                  <a:lnTo>
                    <a:pt x="3191" y="1651"/>
                  </a:lnTo>
                  <a:lnTo>
                    <a:pt x="3203" y="1661"/>
                  </a:lnTo>
                  <a:lnTo>
                    <a:pt x="3219" y="1668"/>
                  </a:lnTo>
                  <a:lnTo>
                    <a:pt x="3229" y="1684"/>
                  </a:lnTo>
                  <a:lnTo>
                    <a:pt x="3271" y="1701"/>
                  </a:lnTo>
                  <a:lnTo>
                    <a:pt x="3283" y="1755"/>
                  </a:lnTo>
                  <a:lnTo>
                    <a:pt x="3316" y="1812"/>
                  </a:lnTo>
                  <a:lnTo>
                    <a:pt x="3316" y="1833"/>
                  </a:lnTo>
                  <a:lnTo>
                    <a:pt x="3354" y="1862"/>
                  </a:lnTo>
                  <a:lnTo>
                    <a:pt x="3354" y="1871"/>
                  </a:lnTo>
                  <a:lnTo>
                    <a:pt x="3380" y="1888"/>
                  </a:lnTo>
                  <a:lnTo>
                    <a:pt x="3385" y="1904"/>
                  </a:lnTo>
                  <a:lnTo>
                    <a:pt x="3385" y="1916"/>
                  </a:lnTo>
                  <a:lnTo>
                    <a:pt x="3347" y="1899"/>
                  </a:lnTo>
                  <a:lnTo>
                    <a:pt x="3325" y="1899"/>
                  </a:lnTo>
                  <a:lnTo>
                    <a:pt x="3295" y="1883"/>
                  </a:lnTo>
                  <a:lnTo>
                    <a:pt x="3262" y="1888"/>
                  </a:lnTo>
                  <a:lnTo>
                    <a:pt x="3240" y="1862"/>
                  </a:lnTo>
                  <a:lnTo>
                    <a:pt x="3229" y="1866"/>
                  </a:lnTo>
                  <a:lnTo>
                    <a:pt x="3224" y="1871"/>
                  </a:lnTo>
                  <a:lnTo>
                    <a:pt x="3240" y="1871"/>
                  </a:lnTo>
                  <a:lnTo>
                    <a:pt x="3245" y="1888"/>
                  </a:lnTo>
                  <a:lnTo>
                    <a:pt x="3262" y="1888"/>
                  </a:lnTo>
                  <a:lnTo>
                    <a:pt x="3283" y="1883"/>
                  </a:lnTo>
                  <a:lnTo>
                    <a:pt x="3300" y="1888"/>
                  </a:lnTo>
                  <a:lnTo>
                    <a:pt x="3309" y="1899"/>
                  </a:lnTo>
                  <a:lnTo>
                    <a:pt x="3300" y="1899"/>
                  </a:lnTo>
                  <a:lnTo>
                    <a:pt x="3333" y="1904"/>
                  </a:lnTo>
                  <a:lnTo>
                    <a:pt x="3370" y="1937"/>
                  </a:lnTo>
                  <a:lnTo>
                    <a:pt x="3385" y="1973"/>
                  </a:lnTo>
                  <a:lnTo>
                    <a:pt x="3385" y="1977"/>
                  </a:lnTo>
                  <a:lnTo>
                    <a:pt x="3354" y="1977"/>
                  </a:lnTo>
                  <a:lnTo>
                    <a:pt x="3325" y="1999"/>
                  </a:lnTo>
                  <a:lnTo>
                    <a:pt x="3309" y="2015"/>
                  </a:lnTo>
                  <a:lnTo>
                    <a:pt x="3283" y="2015"/>
                  </a:lnTo>
                  <a:lnTo>
                    <a:pt x="3262" y="2032"/>
                  </a:lnTo>
                  <a:lnTo>
                    <a:pt x="3295" y="2015"/>
                  </a:lnTo>
                  <a:lnTo>
                    <a:pt x="3295" y="2032"/>
                  </a:lnTo>
                  <a:lnTo>
                    <a:pt x="3309" y="2039"/>
                  </a:lnTo>
                  <a:lnTo>
                    <a:pt x="3347" y="2027"/>
                  </a:lnTo>
                  <a:lnTo>
                    <a:pt x="3370" y="2048"/>
                  </a:lnTo>
                  <a:lnTo>
                    <a:pt x="3401" y="2055"/>
                  </a:lnTo>
                  <a:lnTo>
                    <a:pt x="3370" y="2081"/>
                  </a:lnTo>
                  <a:lnTo>
                    <a:pt x="3363" y="2081"/>
                  </a:lnTo>
                  <a:lnTo>
                    <a:pt x="3354" y="2088"/>
                  </a:lnTo>
                  <a:lnTo>
                    <a:pt x="3380" y="2081"/>
                  </a:lnTo>
                  <a:lnTo>
                    <a:pt x="3380" y="2088"/>
                  </a:lnTo>
                  <a:lnTo>
                    <a:pt x="3385" y="2081"/>
                  </a:lnTo>
                  <a:lnTo>
                    <a:pt x="3380" y="2081"/>
                  </a:lnTo>
                  <a:lnTo>
                    <a:pt x="3385" y="2072"/>
                  </a:lnTo>
                  <a:lnTo>
                    <a:pt x="3392" y="2081"/>
                  </a:lnTo>
                  <a:lnTo>
                    <a:pt x="3385" y="2105"/>
                  </a:lnTo>
                  <a:lnTo>
                    <a:pt x="3392" y="2105"/>
                  </a:lnTo>
                  <a:lnTo>
                    <a:pt x="3385" y="2110"/>
                  </a:lnTo>
                  <a:lnTo>
                    <a:pt x="3380" y="2093"/>
                  </a:lnTo>
                  <a:lnTo>
                    <a:pt x="3380" y="2110"/>
                  </a:lnTo>
                  <a:lnTo>
                    <a:pt x="3363" y="2105"/>
                  </a:lnTo>
                  <a:lnTo>
                    <a:pt x="3354" y="2110"/>
                  </a:lnTo>
                  <a:lnTo>
                    <a:pt x="3370" y="2121"/>
                  </a:lnTo>
                  <a:lnTo>
                    <a:pt x="3370" y="2126"/>
                  </a:lnTo>
                  <a:lnTo>
                    <a:pt x="3354" y="2126"/>
                  </a:lnTo>
                  <a:lnTo>
                    <a:pt x="3370" y="2138"/>
                  </a:lnTo>
                  <a:lnTo>
                    <a:pt x="3363" y="2143"/>
                  </a:lnTo>
                  <a:lnTo>
                    <a:pt x="3347" y="2143"/>
                  </a:lnTo>
                  <a:lnTo>
                    <a:pt x="3333" y="2138"/>
                  </a:lnTo>
                  <a:lnTo>
                    <a:pt x="3354" y="2150"/>
                  </a:lnTo>
                  <a:lnTo>
                    <a:pt x="3370" y="2176"/>
                  </a:lnTo>
                  <a:lnTo>
                    <a:pt x="3363" y="2183"/>
                  </a:lnTo>
                  <a:lnTo>
                    <a:pt x="3354" y="2176"/>
                  </a:lnTo>
                  <a:lnTo>
                    <a:pt x="3347" y="2192"/>
                  </a:lnTo>
                  <a:lnTo>
                    <a:pt x="3337" y="2176"/>
                  </a:lnTo>
                  <a:lnTo>
                    <a:pt x="3316" y="2199"/>
                  </a:lnTo>
                  <a:lnTo>
                    <a:pt x="3295" y="2199"/>
                  </a:lnTo>
                  <a:lnTo>
                    <a:pt x="3316" y="2204"/>
                  </a:lnTo>
                  <a:lnTo>
                    <a:pt x="3316" y="2216"/>
                  </a:lnTo>
                  <a:lnTo>
                    <a:pt x="3295" y="2232"/>
                  </a:lnTo>
                  <a:lnTo>
                    <a:pt x="3300" y="2249"/>
                  </a:lnTo>
                  <a:lnTo>
                    <a:pt x="3283" y="2258"/>
                  </a:lnTo>
                  <a:lnTo>
                    <a:pt x="3278" y="2254"/>
                  </a:lnTo>
                  <a:lnTo>
                    <a:pt x="3271" y="2254"/>
                  </a:lnTo>
                  <a:lnTo>
                    <a:pt x="3271" y="2258"/>
                  </a:lnTo>
                  <a:lnTo>
                    <a:pt x="3283" y="2270"/>
                  </a:lnTo>
                  <a:lnTo>
                    <a:pt x="3271" y="2270"/>
                  </a:lnTo>
                  <a:lnTo>
                    <a:pt x="3271" y="2287"/>
                  </a:lnTo>
                  <a:lnTo>
                    <a:pt x="3257" y="2287"/>
                  </a:lnTo>
                  <a:lnTo>
                    <a:pt x="3262" y="2310"/>
                  </a:lnTo>
                  <a:lnTo>
                    <a:pt x="3245" y="2315"/>
                  </a:lnTo>
                  <a:lnTo>
                    <a:pt x="3262" y="2294"/>
                  </a:lnTo>
                  <a:lnTo>
                    <a:pt x="3245" y="2294"/>
                  </a:lnTo>
                  <a:lnTo>
                    <a:pt x="3245" y="2310"/>
                  </a:lnTo>
                  <a:lnTo>
                    <a:pt x="3240" y="2294"/>
                  </a:lnTo>
                  <a:lnTo>
                    <a:pt x="3229" y="2294"/>
                  </a:lnTo>
                  <a:lnTo>
                    <a:pt x="3229" y="2303"/>
                  </a:lnTo>
                  <a:lnTo>
                    <a:pt x="3224" y="2294"/>
                  </a:lnTo>
                  <a:lnTo>
                    <a:pt x="3224" y="2310"/>
                  </a:lnTo>
                  <a:lnTo>
                    <a:pt x="3229" y="2310"/>
                  </a:lnTo>
                  <a:lnTo>
                    <a:pt x="3240" y="2327"/>
                  </a:lnTo>
                  <a:lnTo>
                    <a:pt x="3229" y="2315"/>
                  </a:lnTo>
                  <a:lnTo>
                    <a:pt x="3224" y="2327"/>
                  </a:lnTo>
                  <a:lnTo>
                    <a:pt x="3229" y="2332"/>
                  </a:lnTo>
                  <a:lnTo>
                    <a:pt x="3240" y="2327"/>
                  </a:lnTo>
                  <a:lnTo>
                    <a:pt x="3245" y="2327"/>
                  </a:lnTo>
                  <a:lnTo>
                    <a:pt x="3229" y="2332"/>
                  </a:lnTo>
                  <a:lnTo>
                    <a:pt x="3219" y="2360"/>
                  </a:lnTo>
                  <a:lnTo>
                    <a:pt x="3191" y="2343"/>
                  </a:lnTo>
                  <a:lnTo>
                    <a:pt x="3207" y="2360"/>
                  </a:lnTo>
                  <a:lnTo>
                    <a:pt x="3224" y="2348"/>
                  </a:lnTo>
                  <a:lnTo>
                    <a:pt x="3229" y="2360"/>
                  </a:lnTo>
                  <a:lnTo>
                    <a:pt x="3224" y="2365"/>
                  </a:lnTo>
                  <a:lnTo>
                    <a:pt x="3224" y="2381"/>
                  </a:lnTo>
                  <a:lnTo>
                    <a:pt x="3219" y="2381"/>
                  </a:lnTo>
                  <a:lnTo>
                    <a:pt x="3229" y="2402"/>
                  </a:lnTo>
                  <a:lnTo>
                    <a:pt x="3207" y="2386"/>
                  </a:lnTo>
                  <a:lnTo>
                    <a:pt x="3191" y="2402"/>
                  </a:lnTo>
                  <a:lnTo>
                    <a:pt x="3207" y="2414"/>
                  </a:lnTo>
                  <a:lnTo>
                    <a:pt x="3191" y="2426"/>
                  </a:lnTo>
                  <a:lnTo>
                    <a:pt x="3186" y="2419"/>
                  </a:lnTo>
                  <a:lnTo>
                    <a:pt x="3186" y="2414"/>
                  </a:lnTo>
                  <a:lnTo>
                    <a:pt x="3174" y="2414"/>
                  </a:lnTo>
                  <a:lnTo>
                    <a:pt x="3186" y="2419"/>
                  </a:lnTo>
                  <a:lnTo>
                    <a:pt x="3170" y="2426"/>
                  </a:lnTo>
                  <a:lnTo>
                    <a:pt x="3186" y="2438"/>
                  </a:lnTo>
                  <a:lnTo>
                    <a:pt x="3165" y="2443"/>
                  </a:lnTo>
                  <a:lnTo>
                    <a:pt x="3165" y="2438"/>
                  </a:lnTo>
                  <a:lnTo>
                    <a:pt x="3153" y="2443"/>
                  </a:lnTo>
                  <a:lnTo>
                    <a:pt x="3153" y="2454"/>
                  </a:lnTo>
                  <a:lnTo>
                    <a:pt x="3170" y="2454"/>
                  </a:lnTo>
                  <a:lnTo>
                    <a:pt x="3153" y="2471"/>
                  </a:lnTo>
                  <a:lnTo>
                    <a:pt x="3148" y="2459"/>
                  </a:lnTo>
                  <a:lnTo>
                    <a:pt x="3132" y="2471"/>
                  </a:lnTo>
                  <a:lnTo>
                    <a:pt x="3120" y="2459"/>
                  </a:lnTo>
                  <a:lnTo>
                    <a:pt x="3111" y="2471"/>
                  </a:lnTo>
                  <a:lnTo>
                    <a:pt x="3115" y="2471"/>
                  </a:lnTo>
                  <a:lnTo>
                    <a:pt x="3115" y="2476"/>
                  </a:lnTo>
                  <a:lnTo>
                    <a:pt x="3099" y="2476"/>
                  </a:lnTo>
                  <a:lnTo>
                    <a:pt x="3115" y="2476"/>
                  </a:lnTo>
                  <a:lnTo>
                    <a:pt x="3120" y="2492"/>
                  </a:lnTo>
                  <a:lnTo>
                    <a:pt x="3094" y="2513"/>
                  </a:lnTo>
                  <a:lnTo>
                    <a:pt x="3099" y="2509"/>
                  </a:lnTo>
                  <a:lnTo>
                    <a:pt x="3082" y="2525"/>
                  </a:lnTo>
                  <a:lnTo>
                    <a:pt x="3061" y="2530"/>
                  </a:lnTo>
                  <a:lnTo>
                    <a:pt x="3056" y="2537"/>
                  </a:lnTo>
                  <a:lnTo>
                    <a:pt x="3040" y="2530"/>
                  </a:lnTo>
                  <a:lnTo>
                    <a:pt x="3023" y="2563"/>
                  </a:lnTo>
                  <a:lnTo>
                    <a:pt x="3007" y="2554"/>
                  </a:lnTo>
                  <a:lnTo>
                    <a:pt x="3030" y="2570"/>
                  </a:lnTo>
                  <a:lnTo>
                    <a:pt x="3007" y="2570"/>
                  </a:lnTo>
                  <a:lnTo>
                    <a:pt x="3007" y="2587"/>
                  </a:lnTo>
                  <a:lnTo>
                    <a:pt x="2992" y="2591"/>
                  </a:lnTo>
                  <a:lnTo>
                    <a:pt x="2959" y="2603"/>
                  </a:lnTo>
                  <a:lnTo>
                    <a:pt x="2948" y="2591"/>
                  </a:lnTo>
                  <a:lnTo>
                    <a:pt x="2938" y="2591"/>
                  </a:lnTo>
                  <a:lnTo>
                    <a:pt x="2938" y="2608"/>
                  </a:lnTo>
                  <a:lnTo>
                    <a:pt x="2917" y="2603"/>
                  </a:lnTo>
                  <a:lnTo>
                    <a:pt x="2893" y="2608"/>
                  </a:lnTo>
                  <a:lnTo>
                    <a:pt x="2893" y="2620"/>
                  </a:lnTo>
                  <a:lnTo>
                    <a:pt x="2884" y="2620"/>
                  </a:lnTo>
                  <a:lnTo>
                    <a:pt x="2884" y="2603"/>
                  </a:lnTo>
                  <a:lnTo>
                    <a:pt x="2867" y="2608"/>
                  </a:lnTo>
                  <a:lnTo>
                    <a:pt x="2879" y="2624"/>
                  </a:lnTo>
                  <a:lnTo>
                    <a:pt x="2867" y="2624"/>
                  </a:lnTo>
                  <a:lnTo>
                    <a:pt x="2863" y="2620"/>
                  </a:lnTo>
                  <a:lnTo>
                    <a:pt x="2846" y="2620"/>
                  </a:lnTo>
                  <a:lnTo>
                    <a:pt x="2851" y="2624"/>
                  </a:lnTo>
                  <a:lnTo>
                    <a:pt x="2863" y="2624"/>
                  </a:lnTo>
                  <a:lnTo>
                    <a:pt x="2851" y="2636"/>
                  </a:lnTo>
                  <a:lnTo>
                    <a:pt x="2851" y="2641"/>
                  </a:lnTo>
                  <a:lnTo>
                    <a:pt x="2829" y="2636"/>
                  </a:lnTo>
                  <a:lnTo>
                    <a:pt x="2841" y="2624"/>
                  </a:lnTo>
                  <a:lnTo>
                    <a:pt x="2825" y="2624"/>
                  </a:lnTo>
                  <a:lnTo>
                    <a:pt x="2813" y="2603"/>
                  </a:lnTo>
                  <a:lnTo>
                    <a:pt x="2808" y="2591"/>
                  </a:lnTo>
                  <a:lnTo>
                    <a:pt x="2796" y="2580"/>
                  </a:lnTo>
                  <a:lnTo>
                    <a:pt x="2825" y="2580"/>
                  </a:lnTo>
                  <a:lnTo>
                    <a:pt x="2813" y="2570"/>
                  </a:lnTo>
                  <a:lnTo>
                    <a:pt x="2796" y="2580"/>
                  </a:lnTo>
                  <a:lnTo>
                    <a:pt x="2796" y="2591"/>
                  </a:lnTo>
                  <a:lnTo>
                    <a:pt x="2792" y="2591"/>
                  </a:lnTo>
                  <a:lnTo>
                    <a:pt x="2796" y="2620"/>
                  </a:lnTo>
                  <a:lnTo>
                    <a:pt x="2796" y="2641"/>
                  </a:lnTo>
                  <a:lnTo>
                    <a:pt x="2796" y="2653"/>
                  </a:lnTo>
                  <a:lnTo>
                    <a:pt x="2792" y="2653"/>
                  </a:lnTo>
                  <a:lnTo>
                    <a:pt x="2775" y="2620"/>
                  </a:lnTo>
                  <a:lnTo>
                    <a:pt x="2792" y="2653"/>
                  </a:lnTo>
                  <a:lnTo>
                    <a:pt x="2787" y="2653"/>
                  </a:lnTo>
                  <a:lnTo>
                    <a:pt x="2775" y="2658"/>
                  </a:lnTo>
                  <a:lnTo>
                    <a:pt x="2770" y="2658"/>
                  </a:lnTo>
                  <a:lnTo>
                    <a:pt x="2770" y="2641"/>
                  </a:lnTo>
                  <a:lnTo>
                    <a:pt x="2759" y="2674"/>
                  </a:lnTo>
                  <a:lnTo>
                    <a:pt x="2754" y="2665"/>
                  </a:lnTo>
                  <a:lnTo>
                    <a:pt x="2737" y="2681"/>
                  </a:lnTo>
                  <a:lnTo>
                    <a:pt x="2733" y="2674"/>
                  </a:lnTo>
                  <a:lnTo>
                    <a:pt x="2716" y="2681"/>
                  </a:lnTo>
                  <a:lnTo>
                    <a:pt x="2683" y="2665"/>
                  </a:lnTo>
                  <a:lnTo>
                    <a:pt x="2690" y="2681"/>
                  </a:lnTo>
                  <a:lnTo>
                    <a:pt x="2683" y="2691"/>
                  </a:lnTo>
                  <a:lnTo>
                    <a:pt x="2666" y="2674"/>
                  </a:lnTo>
                  <a:lnTo>
                    <a:pt x="2678" y="2691"/>
                  </a:lnTo>
                  <a:lnTo>
                    <a:pt x="2666" y="2698"/>
                  </a:lnTo>
                  <a:lnTo>
                    <a:pt x="2629" y="2707"/>
                  </a:lnTo>
                  <a:lnTo>
                    <a:pt x="2624" y="2698"/>
                  </a:lnTo>
                  <a:lnTo>
                    <a:pt x="2624" y="2707"/>
                  </a:lnTo>
                  <a:lnTo>
                    <a:pt x="2629" y="2698"/>
                  </a:lnTo>
                  <a:lnTo>
                    <a:pt x="2607" y="2707"/>
                  </a:lnTo>
                  <a:lnTo>
                    <a:pt x="2598" y="2714"/>
                  </a:lnTo>
                  <a:lnTo>
                    <a:pt x="2607" y="2707"/>
                  </a:lnTo>
                  <a:lnTo>
                    <a:pt x="2598" y="2707"/>
                  </a:lnTo>
                  <a:lnTo>
                    <a:pt x="2598" y="2719"/>
                  </a:lnTo>
                  <a:lnTo>
                    <a:pt x="2591" y="2719"/>
                  </a:lnTo>
                  <a:lnTo>
                    <a:pt x="2581" y="2719"/>
                  </a:lnTo>
                  <a:lnTo>
                    <a:pt x="2581" y="2707"/>
                  </a:lnTo>
                  <a:lnTo>
                    <a:pt x="2581" y="2719"/>
                  </a:lnTo>
                  <a:lnTo>
                    <a:pt x="2560" y="2736"/>
                  </a:lnTo>
                  <a:lnTo>
                    <a:pt x="2560" y="2747"/>
                  </a:lnTo>
                  <a:lnTo>
                    <a:pt x="2577" y="2747"/>
                  </a:lnTo>
                  <a:lnTo>
                    <a:pt x="2577" y="2764"/>
                  </a:lnTo>
                  <a:lnTo>
                    <a:pt x="2591" y="2776"/>
                  </a:lnTo>
                  <a:lnTo>
                    <a:pt x="2577" y="2792"/>
                  </a:lnTo>
                  <a:lnTo>
                    <a:pt x="2553" y="2792"/>
                  </a:lnTo>
                  <a:lnTo>
                    <a:pt x="2544" y="2792"/>
                  </a:lnTo>
                  <a:lnTo>
                    <a:pt x="2544" y="2785"/>
                  </a:lnTo>
                  <a:lnTo>
                    <a:pt x="2553" y="2776"/>
                  </a:lnTo>
                  <a:lnTo>
                    <a:pt x="2539" y="2764"/>
                  </a:lnTo>
                  <a:lnTo>
                    <a:pt x="2527" y="2747"/>
                  </a:lnTo>
                  <a:lnTo>
                    <a:pt x="2539" y="2714"/>
                  </a:lnTo>
                  <a:lnTo>
                    <a:pt x="2553" y="2707"/>
                  </a:lnTo>
                  <a:lnTo>
                    <a:pt x="2539" y="2707"/>
                  </a:lnTo>
                  <a:lnTo>
                    <a:pt x="2539" y="2691"/>
                  </a:lnTo>
                  <a:lnTo>
                    <a:pt x="2539" y="2698"/>
                  </a:lnTo>
                  <a:lnTo>
                    <a:pt x="2527" y="2698"/>
                  </a:lnTo>
                  <a:lnTo>
                    <a:pt x="2522" y="2681"/>
                  </a:lnTo>
                  <a:lnTo>
                    <a:pt x="2522" y="2691"/>
                  </a:lnTo>
                  <a:lnTo>
                    <a:pt x="2522" y="2698"/>
                  </a:lnTo>
                  <a:lnTo>
                    <a:pt x="2489" y="2707"/>
                  </a:lnTo>
                  <a:lnTo>
                    <a:pt x="2489" y="2691"/>
                  </a:lnTo>
                  <a:lnTo>
                    <a:pt x="2473" y="2681"/>
                  </a:lnTo>
                  <a:lnTo>
                    <a:pt x="2468" y="2674"/>
                  </a:lnTo>
                  <a:lnTo>
                    <a:pt x="2473" y="2691"/>
                  </a:lnTo>
                  <a:lnTo>
                    <a:pt x="2468" y="2691"/>
                  </a:lnTo>
                  <a:lnTo>
                    <a:pt x="2463" y="2665"/>
                  </a:lnTo>
                  <a:lnTo>
                    <a:pt x="2447" y="2665"/>
                  </a:lnTo>
                  <a:lnTo>
                    <a:pt x="2447" y="2674"/>
                  </a:lnTo>
                  <a:lnTo>
                    <a:pt x="2451" y="2681"/>
                  </a:lnTo>
                  <a:lnTo>
                    <a:pt x="2447" y="2691"/>
                  </a:lnTo>
                  <a:lnTo>
                    <a:pt x="2435" y="2698"/>
                  </a:lnTo>
                  <a:lnTo>
                    <a:pt x="2447" y="2691"/>
                  </a:lnTo>
                  <a:lnTo>
                    <a:pt x="2435" y="2681"/>
                  </a:lnTo>
                  <a:lnTo>
                    <a:pt x="2430" y="2698"/>
                  </a:lnTo>
                  <a:lnTo>
                    <a:pt x="2430" y="2691"/>
                  </a:lnTo>
                  <a:lnTo>
                    <a:pt x="2414" y="2698"/>
                  </a:lnTo>
                  <a:lnTo>
                    <a:pt x="2397" y="2691"/>
                  </a:lnTo>
                  <a:lnTo>
                    <a:pt x="2364" y="2691"/>
                  </a:lnTo>
                  <a:lnTo>
                    <a:pt x="2359" y="2681"/>
                  </a:lnTo>
                  <a:lnTo>
                    <a:pt x="2343" y="2674"/>
                  </a:lnTo>
                  <a:lnTo>
                    <a:pt x="2343" y="2665"/>
                  </a:lnTo>
                  <a:lnTo>
                    <a:pt x="2322" y="2658"/>
                  </a:lnTo>
                  <a:lnTo>
                    <a:pt x="2322" y="2641"/>
                  </a:lnTo>
                  <a:lnTo>
                    <a:pt x="2312" y="2624"/>
                  </a:lnTo>
                  <a:lnTo>
                    <a:pt x="2326" y="2603"/>
                  </a:lnTo>
                  <a:lnTo>
                    <a:pt x="2322" y="2591"/>
                  </a:lnTo>
                  <a:lnTo>
                    <a:pt x="2305" y="2587"/>
                  </a:lnTo>
                  <a:lnTo>
                    <a:pt x="2289" y="2591"/>
                  </a:lnTo>
                  <a:lnTo>
                    <a:pt x="2284" y="2587"/>
                  </a:lnTo>
                  <a:lnTo>
                    <a:pt x="2258" y="2591"/>
                  </a:lnTo>
                  <a:lnTo>
                    <a:pt x="2241" y="2580"/>
                  </a:lnTo>
                  <a:lnTo>
                    <a:pt x="2229" y="2563"/>
                  </a:lnTo>
                  <a:lnTo>
                    <a:pt x="2199" y="2570"/>
                  </a:lnTo>
                  <a:lnTo>
                    <a:pt x="2182" y="2603"/>
                  </a:lnTo>
                  <a:lnTo>
                    <a:pt x="2175" y="2591"/>
                  </a:lnTo>
                  <a:lnTo>
                    <a:pt x="2161" y="2608"/>
                  </a:lnTo>
                  <a:lnTo>
                    <a:pt x="2149" y="2603"/>
                  </a:lnTo>
                  <a:lnTo>
                    <a:pt x="2149" y="2591"/>
                  </a:lnTo>
                  <a:lnTo>
                    <a:pt x="2133" y="2603"/>
                  </a:lnTo>
                  <a:lnTo>
                    <a:pt x="2128" y="2624"/>
                  </a:lnTo>
                  <a:lnTo>
                    <a:pt x="2107" y="2603"/>
                  </a:lnTo>
                  <a:lnTo>
                    <a:pt x="2095" y="2620"/>
                  </a:lnTo>
                  <a:lnTo>
                    <a:pt x="2078" y="2603"/>
                  </a:lnTo>
                  <a:lnTo>
                    <a:pt x="2069" y="2624"/>
                  </a:lnTo>
                  <a:lnTo>
                    <a:pt x="2024" y="2603"/>
                  </a:lnTo>
                  <a:lnTo>
                    <a:pt x="2003" y="2636"/>
                  </a:lnTo>
                  <a:lnTo>
                    <a:pt x="1972" y="2624"/>
                  </a:lnTo>
                  <a:lnTo>
                    <a:pt x="1960" y="2641"/>
                  </a:lnTo>
                  <a:lnTo>
                    <a:pt x="1965" y="2665"/>
                  </a:lnTo>
                  <a:lnTo>
                    <a:pt x="1972" y="2674"/>
                  </a:lnTo>
                  <a:lnTo>
                    <a:pt x="1972" y="2714"/>
                  </a:lnTo>
                  <a:lnTo>
                    <a:pt x="1981" y="2719"/>
                  </a:lnTo>
                  <a:lnTo>
                    <a:pt x="1972" y="2731"/>
                  </a:lnTo>
                  <a:lnTo>
                    <a:pt x="1960" y="2719"/>
                  </a:lnTo>
                  <a:lnTo>
                    <a:pt x="1944" y="2719"/>
                  </a:lnTo>
                  <a:lnTo>
                    <a:pt x="1934" y="2691"/>
                  </a:lnTo>
                  <a:lnTo>
                    <a:pt x="1927" y="2681"/>
                  </a:lnTo>
                  <a:lnTo>
                    <a:pt x="1889" y="2707"/>
                  </a:lnTo>
                  <a:lnTo>
                    <a:pt x="1880" y="2698"/>
                  </a:lnTo>
                  <a:lnTo>
                    <a:pt x="1863" y="2707"/>
                  </a:lnTo>
                  <a:lnTo>
                    <a:pt x="1859" y="2698"/>
                  </a:lnTo>
                  <a:lnTo>
                    <a:pt x="1859" y="2691"/>
                  </a:lnTo>
                  <a:lnTo>
                    <a:pt x="1851" y="2681"/>
                  </a:lnTo>
                  <a:lnTo>
                    <a:pt x="1851" y="2658"/>
                  </a:lnTo>
                  <a:lnTo>
                    <a:pt x="1788" y="2653"/>
                  </a:lnTo>
                  <a:lnTo>
                    <a:pt x="1809" y="2624"/>
                  </a:lnTo>
                  <a:lnTo>
                    <a:pt x="1804" y="2608"/>
                  </a:lnTo>
                  <a:lnTo>
                    <a:pt x="1821" y="2587"/>
                  </a:lnTo>
                  <a:lnTo>
                    <a:pt x="1821" y="2580"/>
                  </a:lnTo>
                  <a:lnTo>
                    <a:pt x="1788" y="2580"/>
                  </a:lnTo>
                  <a:lnTo>
                    <a:pt x="1771" y="2570"/>
                  </a:lnTo>
                  <a:lnTo>
                    <a:pt x="1771" y="2554"/>
                  </a:lnTo>
                  <a:lnTo>
                    <a:pt x="1766" y="2547"/>
                  </a:lnTo>
                  <a:lnTo>
                    <a:pt x="1766" y="2530"/>
                  </a:lnTo>
                  <a:lnTo>
                    <a:pt x="1755" y="2525"/>
                  </a:lnTo>
                  <a:lnTo>
                    <a:pt x="1755" y="2513"/>
                  </a:lnTo>
                  <a:lnTo>
                    <a:pt x="1771" y="2497"/>
                  </a:lnTo>
                  <a:lnTo>
                    <a:pt x="1717" y="2497"/>
                  </a:lnTo>
                  <a:lnTo>
                    <a:pt x="1691" y="2525"/>
                  </a:lnTo>
                  <a:lnTo>
                    <a:pt x="1679" y="2513"/>
                  </a:lnTo>
                  <a:lnTo>
                    <a:pt x="1696" y="2497"/>
                  </a:lnTo>
                  <a:lnTo>
                    <a:pt x="1691" y="2476"/>
                  </a:lnTo>
                  <a:lnTo>
                    <a:pt x="1679" y="2476"/>
                  </a:lnTo>
                  <a:lnTo>
                    <a:pt x="1679" y="2454"/>
                  </a:lnTo>
                  <a:lnTo>
                    <a:pt x="1696" y="2438"/>
                  </a:lnTo>
                  <a:lnTo>
                    <a:pt x="1696" y="2414"/>
                  </a:lnTo>
                  <a:lnTo>
                    <a:pt x="1700" y="2419"/>
                  </a:lnTo>
                  <a:lnTo>
                    <a:pt x="1712" y="2414"/>
                  </a:lnTo>
                  <a:lnTo>
                    <a:pt x="1729" y="2386"/>
                  </a:lnTo>
                  <a:lnTo>
                    <a:pt x="1733" y="2386"/>
                  </a:lnTo>
                  <a:lnTo>
                    <a:pt x="1750" y="2365"/>
                  </a:lnTo>
                  <a:lnTo>
                    <a:pt x="1755" y="2365"/>
                  </a:lnTo>
                  <a:lnTo>
                    <a:pt x="1750" y="2348"/>
                  </a:lnTo>
                  <a:lnTo>
                    <a:pt x="1766" y="2343"/>
                  </a:lnTo>
                  <a:lnTo>
                    <a:pt x="1766" y="2294"/>
                  </a:lnTo>
                  <a:lnTo>
                    <a:pt x="1755" y="2237"/>
                  </a:lnTo>
                  <a:lnTo>
                    <a:pt x="1745" y="2232"/>
                  </a:lnTo>
                  <a:lnTo>
                    <a:pt x="1733" y="2237"/>
                  </a:lnTo>
                  <a:lnTo>
                    <a:pt x="1717" y="2192"/>
                  </a:lnTo>
                  <a:lnTo>
                    <a:pt x="1712" y="2183"/>
                  </a:lnTo>
                  <a:lnTo>
                    <a:pt x="1679" y="2159"/>
                  </a:lnTo>
                  <a:lnTo>
                    <a:pt x="1674" y="2176"/>
                  </a:lnTo>
                  <a:lnTo>
                    <a:pt x="1663" y="2183"/>
                  </a:lnTo>
                  <a:lnTo>
                    <a:pt x="1646" y="2176"/>
                  </a:lnTo>
                  <a:lnTo>
                    <a:pt x="1641" y="2176"/>
                  </a:lnTo>
                  <a:lnTo>
                    <a:pt x="1620" y="2166"/>
                  </a:lnTo>
                  <a:lnTo>
                    <a:pt x="1594" y="2176"/>
                  </a:lnTo>
                  <a:lnTo>
                    <a:pt x="1594" y="2159"/>
                  </a:lnTo>
                  <a:lnTo>
                    <a:pt x="1608" y="2143"/>
                  </a:lnTo>
                  <a:lnTo>
                    <a:pt x="1603" y="2121"/>
                  </a:lnTo>
                  <a:lnTo>
                    <a:pt x="1582" y="2126"/>
                  </a:lnTo>
                  <a:lnTo>
                    <a:pt x="1582" y="2121"/>
                  </a:lnTo>
                  <a:lnTo>
                    <a:pt x="1594" y="2105"/>
                  </a:lnTo>
                  <a:lnTo>
                    <a:pt x="1587" y="2105"/>
                  </a:lnTo>
                  <a:lnTo>
                    <a:pt x="1570" y="2088"/>
                  </a:lnTo>
                  <a:lnTo>
                    <a:pt x="1540" y="2105"/>
                  </a:lnTo>
                  <a:lnTo>
                    <a:pt x="1528" y="2121"/>
                  </a:lnTo>
                  <a:lnTo>
                    <a:pt x="1485" y="2110"/>
                  </a:lnTo>
                  <a:lnTo>
                    <a:pt x="1474" y="2093"/>
                  </a:lnTo>
                  <a:lnTo>
                    <a:pt x="1448" y="2121"/>
                  </a:lnTo>
                  <a:lnTo>
                    <a:pt x="1426" y="2150"/>
                  </a:lnTo>
                  <a:lnTo>
                    <a:pt x="1389" y="2150"/>
                  </a:lnTo>
                  <a:lnTo>
                    <a:pt x="1372" y="2176"/>
                  </a:lnTo>
                  <a:lnTo>
                    <a:pt x="1339" y="2192"/>
                  </a:lnTo>
                  <a:lnTo>
                    <a:pt x="1339" y="2204"/>
                  </a:lnTo>
                  <a:lnTo>
                    <a:pt x="1322" y="2216"/>
                  </a:lnTo>
                  <a:lnTo>
                    <a:pt x="1313" y="2216"/>
                  </a:lnTo>
                  <a:lnTo>
                    <a:pt x="1285" y="2221"/>
                  </a:lnTo>
                  <a:lnTo>
                    <a:pt x="1263" y="2221"/>
                  </a:lnTo>
                  <a:lnTo>
                    <a:pt x="1263" y="2204"/>
                  </a:lnTo>
                  <a:lnTo>
                    <a:pt x="1242" y="2199"/>
                  </a:lnTo>
                  <a:lnTo>
                    <a:pt x="1226" y="2204"/>
                  </a:lnTo>
                  <a:lnTo>
                    <a:pt x="1178" y="2199"/>
                  </a:lnTo>
                  <a:lnTo>
                    <a:pt x="1178" y="2183"/>
                  </a:lnTo>
                  <a:lnTo>
                    <a:pt x="1150" y="2176"/>
                  </a:lnTo>
                  <a:lnTo>
                    <a:pt x="1117" y="2199"/>
                  </a:lnTo>
                  <a:lnTo>
                    <a:pt x="1070" y="2254"/>
                  </a:lnTo>
                  <a:lnTo>
                    <a:pt x="1065" y="2237"/>
                  </a:lnTo>
                  <a:lnTo>
                    <a:pt x="1070" y="2216"/>
                  </a:lnTo>
                  <a:lnTo>
                    <a:pt x="1070" y="2199"/>
                  </a:lnTo>
                  <a:lnTo>
                    <a:pt x="1053" y="2192"/>
                  </a:lnTo>
                  <a:lnTo>
                    <a:pt x="1041" y="2199"/>
                  </a:lnTo>
                  <a:lnTo>
                    <a:pt x="1015" y="2204"/>
                  </a:lnTo>
                  <a:lnTo>
                    <a:pt x="1015" y="2216"/>
                  </a:lnTo>
                  <a:lnTo>
                    <a:pt x="999" y="2204"/>
                  </a:lnTo>
                  <a:lnTo>
                    <a:pt x="989" y="2216"/>
                  </a:lnTo>
                  <a:lnTo>
                    <a:pt x="956" y="2216"/>
                  </a:lnTo>
                  <a:lnTo>
                    <a:pt x="918" y="2192"/>
                  </a:lnTo>
                  <a:lnTo>
                    <a:pt x="907" y="2192"/>
                  </a:lnTo>
                  <a:lnTo>
                    <a:pt x="902" y="2204"/>
                  </a:lnTo>
                  <a:lnTo>
                    <a:pt x="885" y="2199"/>
                  </a:lnTo>
                  <a:lnTo>
                    <a:pt x="885" y="2192"/>
                  </a:lnTo>
                  <a:lnTo>
                    <a:pt x="881" y="2192"/>
                  </a:lnTo>
                  <a:lnTo>
                    <a:pt x="881" y="2204"/>
                  </a:lnTo>
                  <a:lnTo>
                    <a:pt x="869" y="2204"/>
                  </a:lnTo>
                  <a:lnTo>
                    <a:pt x="864" y="2192"/>
                  </a:lnTo>
                  <a:lnTo>
                    <a:pt x="848" y="2183"/>
                  </a:lnTo>
                  <a:lnTo>
                    <a:pt x="810" y="2176"/>
                  </a:lnTo>
                  <a:lnTo>
                    <a:pt x="810" y="2150"/>
                  </a:lnTo>
                  <a:lnTo>
                    <a:pt x="800" y="2150"/>
                  </a:lnTo>
                  <a:lnTo>
                    <a:pt x="784" y="2159"/>
                  </a:lnTo>
                  <a:lnTo>
                    <a:pt x="763" y="2143"/>
                  </a:lnTo>
                  <a:lnTo>
                    <a:pt x="746" y="2126"/>
                  </a:lnTo>
                  <a:lnTo>
                    <a:pt x="739" y="2105"/>
                  </a:lnTo>
                  <a:lnTo>
                    <a:pt x="725" y="2105"/>
                  </a:lnTo>
                  <a:lnTo>
                    <a:pt x="708" y="2110"/>
                  </a:lnTo>
                  <a:lnTo>
                    <a:pt x="701" y="2110"/>
                  </a:lnTo>
                  <a:lnTo>
                    <a:pt x="670" y="2072"/>
                  </a:lnTo>
                  <a:lnTo>
                    <a:pt x="649" y="2072"/>
                  </a:lnTo>
                  <a:lnTo>
                    <a:pt x="616" y="2039"/>
                  </a:lnTo>
                  <a:lnTo>
                    <a:pt x="600" y="2039"/>
                  </a:lnTo>
                  <a:lnTo>
                    <a:pt x="595" y="2015"/>
                  </a:lnTo>
                  <a:lnTo>
                    <a:pt x="545" y="2015"/>
                  </a:lnTo>
                  <a:lnTo>
                    <a:pt x="545" y="2032"/>
                  </a:lnTo>
                  <a:lnTo>
                    <a:pt x="529" y="2039"/>
                  </a:lnTo>
                  <a:lnTo>
                    <a:pt x="524" y="2039"/>
                  </a:lnTo>
                  <a:lnTo>
                    <a:pt x="524" y="2032"/>
                  </a:lnTo>
                  <a:lnTo>
                    <a:pt x="524" y="2032"/>
                  </a:lnTo>
                  <a:lnTo>
                    <a:pt x="524" y="2032"/>
                  </a:lnTo>
                  <a:close/>
                  <a:moveTo>
                    <a:pt x="3354" y="1278"/>
                  </a:moveTo>
                  <a:lnTo>
                    <a:pt x="3337" y="1278"/>
                  </a:lnTo>
                  <a:lnTo>
                    <a:pt x="3354" y="1273"/>
                  </a:lnTo>
                  <a:lnTo>
                    <a:pt x="3354" y="1278"/>
                  </a:lnTo>
                  <a:lnTo>
                    <a:pt x="3354" y="1278"/>
                  </a:lnTo>
                  <a:lnTo>
                    <a:pt x="3354" y="1278"/>
                  </a:lnTo>
                  <a:close/>
                  <a:moveTo>
                    <a:pt x="3229" y="1866"/>
                  </a:moveTo>
                  <a:lnTo>
                    <a:pt x="3240" y="1866"/>
                  </a:lnTo>
                  <a:lnTo>
                    <a:pt x="3245" y="1883"/>
                  </a:lnTo>
                  <a:lnTo>
                    <a:pt x="3229" y="1866"/>
                  </a:lnTo>
                  <a:lnTo>
                    <a:pt x="3229" y="1866"/>
                  </a:lnTo>
                  <a:lnTo>
                    <a:pt x="3229" y="1866"/>
                  </a:lnTo>
                  <a:close/>
                  <a:moveTo>
                    <a:pt x="3337" y="1904"/>
                  </a:moveTo>
                  <a:lnTo>
                    <a:pt x="3347" y="1899"/>
                  </a:lnTo>
                  <a:lnTo>
                    <a:pt x="3385" y="1928"/>
                  </a:lnTo>
                  <a:lnTo>
                    <a:pt x="3363" y="1921"/>
                  </a:lnTo>
                  <a:lnTo>
                    <a:pt x="3337" y="1904"/>
                  </a:lnTo>
                  <a:lnTo>
                    <a:pt x="3337" y="1904"/>
                  </a:lnTo>
                  <a:lnTo>
                    <a:pt x="3337" y="1904"/>
                  </a:lnTo>
                  <a:close/>
                  <a:moveTo>
                    <a:pt x="3401" y="2027"/>
                  </a:moveTo>
                  <a:lnTo>
                    <a:pt x="3408" y="2015"/>
                  </a:lnTo>
                  <a:lnTo>
                    <a:pt x="3408" y="2027"/>
                  </a:lnTo>
                  <a:lnTo>
                    <a:pt x="3401" y="2027"/>
                  </a:lnTo>
                  <a:lnTo>
                    <a:pt x="3401" y="2027"/>
                  </a:lnTo>
                  <a:lnTo>
                    <a:pt x="3401" y="2027"/>
                  </a:lnTo>
                  <a:close/>
                  <a:moveTo>
                    <a:pt x="3392" y="2039"/>
                  </a:moveTo>
                  <a:lnTo>
                    <a:pt x="3392" y="2032"/>
                  </a:lnTo>
                  <a:lnTo>
                    <a:pt x="3401" y="2032"/>
                  </a:lnTo>
                  <a:lnTo>
                    <a:pt x="3418" y="2039"/>
                  </a:lnTo>
                  <a:lnTo>
                    <a:pt x="3418" y="2048"/>
                  </a:lnTo>
                  <a:lnTo>
                    <a:pt x="3392" y="2039"/>
                  </a:lnTo>
                  <a:lnTo>
                    <a:pt x="3392" y="2039"/>
                  </a:lnTo>
                  <a:lnTo>
                    <a:pt x="3392" y="2039"/>
                  </a:lnTo>
                  <a:close/>
                  <a:moveTo>
                    <a:pt x="3385" y="2039"/>
                  </a:moveTo>
                  <a:lnTo>
                    <a:pt x="3385" y="2048"/>
                  </a:lnTo>
                  <a:lnTo>
                    <a:pt x="3385" y="2039"/>
                  </a:lnTo>
                  <a:lnTo>
                    <a:pt x="3385" y="2039"/>
                  </a:lnTo>
                  <a:lnTo>
                    <a:pt x="3385" y="2039"/>
                  </a:lnTo>
                  <a:close/>
                  <a:moveTo>
                    <a:pt x="3418" y="2048"/>
                  </a:moveTo>
                  <a:lnTo>
                    <a:pt x="3422" y="2048"/>
                  </a:lnTo>
                  <a:lnTo>
                    <a:pt x="3422" y="2055"/>
                  </a:lnTo>
                  <a:lnTo>
                    <a:pt x="3418" y="2048"/>
                  </a:lnTo>
                  <a:lnTo>
                    <a:pt x="3418" y="2048"/>
                  </a:lnTo>
                  <a:lnTo>
                    <a:pt x="3418" y="2048"/>
                  </a:lnTo>
                  <a:close/>
                  <a:moveTo>
                    <a:pt x="3401" y="2072"/>
                  </a:moveTo>
                  <a:lnTo>
                    <a:pt x="3392" y="2065"/>
                  </a:lnTo>
                  <a:lnTo>
                    <a:pt x="3401" y="2065"/>
                  </a:lnTo>
                  <a:lnTo>
                    <a:pt x="3408" y="2072"/>
                  </a:lnTo>
                  <a:lnTo>
                    <a:pt x="3401" y="2072"/>
                  </a:lnTo>
                  <a:lnTo>
                    <a:pt x="3401" y="2072"/>
                  </a:lnTo>
                  <a:lnTo>
                    <a:pt x="3401" y="2072"/>
                  </a:lnTo>
                  <a:close/>
                  <a:moveTo>
                    <a:pt x="3385" y="2121"/>
                  </a:moveTo>
                  <a:lnTo>
                    <a:pt x="3385" y="2110"/>
                  </a:lnTo>
                  <a:lnTo>
                    <a:pt x="3392" y="2110"/>
                  </a:lnTo>
                  <a:lnTo>
                    <a:pt x="3385" y="2121"/>
                  </a:lnTo>
                  <a:lnTo>
                    <a:pt x="3385" y="2121"/>
                  </a:lnTo>
                  <a:lnTo>
                    <a:pt x="3385" y="2121"/>
                  </a:lnTo>
                  <a:close/>
                  <a:moveTo>
                    <a:pt x="3333" y="2192"/>
                  </a:moveTo>
                  <a:lnTo>
                    <a:pt x="3337" y="2183"/>
                  </a:lnTo>
                  <a:lnTo>
                    <a:pt x="3337" y="2192"/>
                  </a:lnTo>
                  <a:lnTo>
                    <a:pt x="3337" y="2199"/>
                  </a:lnTo>
                  <a:lnTo>
                    <a:pt x="3333" y="2192"/>
                  </a:lnTo>
                  <a:lnTo>
                    <a:pt x="3333" y="2192"/>
                  </a:lnTo>
                  <a:lnTo>
                    <a:pt x="3333" y="2192"/>
                  </a:lnTo>
                  <a:close/>
                  <a:moveTo>
                    <a:pt x="3229" y="2398"/>
                  </a:moveTo>
                  <a:lnTo>
                    <a:pt x="3229" y="2386"/>
                  </a:lnTo>
                  <a:lnTo>
                    <a:pt x="3240" y="2381"/>
                  </a:lnTo>
                  <a:lnTo>
                    <a:pt x="3240" y="2386"/>
                  </a:lnTo>
                  <a:lnTo>
                    <a:pt x="3240" y="2402"/>
                  </a:lnTo>
                  <a:lnTo>
                    <a:pt x="3229" y="2398"/>
                  </a:lnTo>
                  <a:lnTo>
                    <a:pt x="3229" y="2398"/>
                  </a:lnTo>
                  <a:lnTo>
                    <a:pt x="3229" y="2398"/>
                  </a:lnTo>
                  <a:close/>
                  <a:moveTo>
                    <a:pt x="3115" y="2476"/>
                  </a:moveTo>
                  <a:lnTo>
                    <a:pt x="3120" y="2471"/>
                  </a:lnTo>
                  <a:lnTo>
                    <a:pt x="3115" y="2476"/>
                  </a:lnTo>
                  <a:lnTo>
                    <a:pt x="3115" y="2476"/>
                  </a:lnTo>
                  <a:lnTo>
                    <a:pt x="3115" y="2476"/>
                  </a:lnTo>
                  <a:close/>
                  <a:moveTo>
                    <a:pt x="3077" y="2530"/>
                  </a:moveTo>
                  <a:lnTo>
                    <a:pt x="3068" y="2537"/>
                  </a:lnTo>
                  <a:lnTo>
                    <a:pt x="3061" y="2537"/>
                  </a:lnTo>
                  <a:lnTo>
                    <a:pt x="3068" y="2525"/>
                  </a:lnTo>
                  <a:lnTo>
                    <a:pt x="3077" y="2530"/>
                  </a:lnTo>
                  <a:lnTo>
                    <a:pt x="3077" y="2530"/>
                  </a:lnTo>
                  <a:lnTo>
                    <a:pt x="3077" y="2530"/>
                  </a:lnTo>
                  <a:close/>
                  <a:moveTo>
                    <a:pt x="3056" y="2547"/>
                  </a:moveTo>
                  <a:lnTo>
                    <a:pt x="3056" y="2554"/>
                  </a:lnTo>
                  <a:lnTo>
                    <a:pt x="3040" y="2554"/>
                  </a:lnTo>
                  <a:lnTo>
                    <a:pt x="3056" y="2547"/>
                  </a:lnTo>
                  <a:lnTo>
                    <a:pt x="3056" y="2547"/>
                  </a:lnTo>
                  <a:lnTo>
                    <a:pt x="3056" y="2547"/>
                  </a:lnTo>
                  <a:close/>
                  <a:moveTo>
                    <a:pt x="2846" y="2641"/>
                  </a:moveTo>
                  <a:lnTo>
                    <a:pt x="2851" y="2641"/>
                  </a:lnTo>
                  <a:lnTo>
                    <a:pt x="2846" y="2641"/>
                  </a:lnTo>
                  <a:lnTo>
                    <a:pt x="2846" y="2641"/>
                  </a:lnTo>
                  <a:lnTo>
                    <a:pt x="2846" y="2641"/>
                  </a:lnTo>
                  <a:close/>
                  <a:moveTo>
                    <a:pt x="2792" y="2658"/>
                  </a:moveTo>
                  <a:lnTo>
                    <a:pt x="2787" y="2658"/>
                  </a:lnTo>
                  <a:lnTo>
                    <a:pt x="2792" y="2658"/>
                  </a:lnTo>
                  <a:lnTo>
                    <a:pt x="2792" y="2658"/>
                  </a:lnTo>
                  <a:lnTo>
                    <a:pt x="2792" y="2658"/>
                  </a:lnTo>
                  <a:close/>
                  <a:moveTo>
                    <a:pt x="2742" y="2691"/>
                  </a:moveTo>
                  <a:lnTo>
                    <a:pt x="2742" y="2681"/>
                  </a:lnTo>
                  <a:lnTo>
                    <a:pt x="2754" y="2681"/>
                  </a:lnTo>
                  <a:lnTo>
                    <a:pt x="2742" y="2691"/>
                  </a:lnTo>
                  <a:lnTo>
                    <a:pt x="2742" y="2691"/>
                  </a:lnTo>
                  <a:lnTo>
                    <a:pt x="2742" y="2691"/>
                  </a:lnTo>
                  <a:close/>
                  <a:moveTo>
                    <a:pt x="2683" y="2698"/>
                  </a:moveTo>
                  <a:lnTo>
                    <a:pt x="2683" y="2691"/>
                  </a:lnTo>
                  <a:lnTo>
                    <a:pt x="2690" y="2691"/>
                  </a:lnTo>
                  <a:lnTo>
                    <a:pt x="2683" y="2698"/>
                  </a:lnTo>
                  <a:lnTo>
                    <a:pt x="2683" y="2698"/>
                  </a:lnTo>
                  <a:lnTo>
                    <a:pt x="2683" y="2698"/>
                  </a:lnTo>
                  <a:close/>
                  <a:moveTo>
                    <a:pt x="2591" y="2719"/>
                  </a:moveTo>
                  <a:lnTo>
                    <a:pt x="2598" y="2719"/>
                  </a:lnTo>
                  <a:lnTo>
                    <a:pt x="2591" y="2731"/>
                  </a:lnTo>
                  <a:lnTo>
                    <a:pt x="2581" y="2719"/>
                  </a:lnTo>
                  <a:lnTo>
                    <a:pt x="2591" y="2719"/>
                  </a:lnTo>
                  <a:lnTo>
                    <a:pt x="2591" y="2719"/>
                  </a:lnTo>
                  <a:lnTo>
                    <a:pt x="2591" y="2719"/>
                  </a:lnTo>
                  <a:close/>
                  <a:moveTo>
                    <a:pt x="2581" y="2731"/>
                  </a:moveTo>
                  <a:lnTo>
                    <a:pt x="2591" y="2731"/>
                  </a:lnTo>
                  <a:lnTo>
                    <a:pt x="2591" y="2736"/>
                  </a:lnTo>
                  <a:lnTo>
                    <a:pt x="2570" y="2736"/>
                  </a:lnTo>
                  <a:lnTo>
                    <a:pt x="2570" y="2731"/>
                  </a:lnTo>
                  <a:lnTo>
                    <a:pt x="2581" y="2731"/>
                  </a:lnTo>
                  <a:lnTo>
                    <a:pt x="2581" y="2731"/>
                  </a:lnTo>
                  <a:lnTo>
                    <a:pt x="2581" y="2731"/>
                  </a:lnTo>
                  <a:close/>
                  <a:moveTo>
                    <a:pt x="2527" y="2941"/>
                  </a:moveTo>
                  <a:lnTo>
                    <a:pt x="2522" y="2953"/>
                  </a:lnTo>
                  <a:lnTo>
                    <a:pt x="2515" y="2941"/>
                  </a:lnTo>
                  <a:lnTo>
                    <a:pt x="2463" y="2920"/>
                  </a:lnTo>
                  <a:lnTo>
                    <a:pt x="2451" y="2880"/>
                  </a:lnTo>
                  <a:lnTo>
                    <a:pt x="2463" y="2858"/>
                  </a:lnTo>
                  <a:lnTo>
                    <a:pt x="2506" y="2830"/>
                  </a:lnTo>
                  <a:lnTo>
                    <a:pt x="2489" y="2830"/>
                  </a:lnTo>
                  <a:lnTo>
                    <a:pt x="2506" y="2818"/>
                  </a:lnTo>
                  <a:lnTo>
                    <a:pt x="2515" y="2825"/>
                  </a:lnTo>
                  <a:lnTo>
                    <a:pt x="2522" y="2809"/>
                  </a:lnTo>
                  <a:lnTo>
                    <a:pt x="2553" y="2818"/>
                  </a:lnTo>
                  <a:lnTo>
                    <a:pt x="2560" y="2809"/>
                  </a:lnTo>
                  <a:lnTo>
                    <a:pt x="2591" y="2809"/>
                  </a:lnTo>
                  <a:lnTo>
                    <a:pt x="2598" y="2802"/>
                  </a:lnTo>
                  <a:lnTo>
                    <a:pt x="2607" y="2809"/>
                  </a:lnTo>
                  <a:lnTo>
                    <a:pt x="2614" y="2809"/>
                  </a:lnTo>
                  <a:lnTo>
                    <a:pt x="2624" y="2842"/>
                  </a:lnTo>
                  <a:lnTo>
                    <a:pt x="2607" y="2847"/>
                  </a:lnTo>
                  <a:lnTo>
                    <a:pt x="2591" y="2875"/>
                  </a:lnTo>
                  <a:lnTo>
                    <a:pt x="2581" y="2875"/>
                  </a:lnTo>
                  <a:lnTo>
                    <a:pt x="2591" y="2880"/>
                  </a:lnTo>
                  <a:lnTo>
                    <a:pt x="2591" y="2901"/>
                  </a:lnTo>
                  <a:lnTo>
                    <a:pt x="2560" y="2920"/>
                  </a:lnTo>
                  <a:lnTo>
                    <a:pt x="2553" y="2936"/>
                  </a:lnTo>
                  <a:lnTo>
                    <a:pt x="2539" y="2936"/>
                  </a:lnTo>
                  <a:lnTo>
                    <a:pt x="2527" y="2941"/>
                  </a:lnTo>
                  <a:lnTo>
                    <a:pt x="2527" y="2941"/>
                  </a:lnTo>
                  <a:lnTo>
                    <a:pt x="2527" y="2941"/>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6" name="Freeform 415">
              <a:extLst>
                <a:ext uri="{FF2B5EF4-FFF2-40B4-BE49-F238E27FC236}">
                  <a16:creationId xmlns:a16="http://schemas.microsoft.com/office/drawing/2014/main" id="{BA69FCE7-BCFF-4053-9DE0-C4B3116CCE64}"/>
                </a:ext>
              </a:extLst>
            </p:cNvPr>
            <p:cNvSpPr>
              <a:spLocks noEditPoints="1"/>
            </p:cNvSpPr>
            <p:nvPr/>
          </p:nvSpPr>
          <p:spPr bwMode="gray">
            <a:xfrm>
              <a:off x="11232491" y="4530400"/>
              <a:ext cx="987454" cy="1061423"/>
            </a:xfrm>
            <a:custGeom>
              <a:avLst/>
              <a:gdLst>
                <a:gd name="T0" fmla="*/ 2915 w 3017"/>
                <a:gd name="T1" fmla="*/ 404 h 3243"/>
                <a:gd name="T2" fmla="*/ 2736 w 3017"/>
                <a:gd name="T3" fmla="*/ 1103 h 3243"/>
                <a:gd name="T4" fmla="*/ 2698 w 3017"/>
                <a:gd name="T5" fmla="*/ 1609 h 3243"/>
                <a:gd name="T6" fmla="*/ 2643 w 3017"/>
                <a:gd name="T7" fmla="*/ 2086 h 3243"/>
                <a:gd name="T8" fmla="*/ 2596 w 3017"/>
                <a:gd name="T9" fmla="*/ 2490 h 3243"/>
                <a:gd name="T10" fmla="*/ 2811 w 3017"/>
                <a:gd name="T11" fmla="*/ 2877 h 3243"/>
                <a:gd name="T12" fmla="*/ 2651 w 3017"/>
                <a:gd name="T13" fmla="*/ 2939 h 3243"/>
                <a:gd name="T14" fmla="*/ 2596 w 3017"/>
                <a:gd name="T15" fmla="*/ 2917 h 3243"/>
                <a:gd name="T16" fmla="*/ 2551 w 3017"/>
                <a:gd name="T17" fmla="*/ 2877 h 3243"/>
                <a:gd name="T18" fmla="*/ 2537 w 3017"/>
                <a:gd name="T19" fmla="*/ 2872 h 3243"/>
                <a:gd name="T20" fmla="*/ 2466 w 3017"/>
                <a:gd name="T21" fmla="*/ 2712 h 3243"/>
                <a:gd name="T22" fmla="*/ 2483 w 3017"/>
                <a:gd name="T23" fmla="*/ 2580 h 3243"/>
                <a:gd name="T24" fmla="*/ 2504 w 3017"/>
                <a:gd name="T25" fmla="*/ 2457 h 3243"/>
                <a:gd name="T26" fmla="*/ 2407 w 3017"/>
                <a:gd name="T27" fmla="*/ 2358 h 3243"/>
                <a:gd name="T28" fmla="*/ 2483 w 3017"/>
                <a:gd name="T29" fmla="*/ 2346 h 3243"/>
                <a:gd name="T30" fmla="*/ 2542 w 3017"/>
                <a:gd name="T31" fmla="*/ 2069 h 3243"/>
                <a:gd name="T32" fmla="*/ 2483 w 3017"/>
                <a:gd name="T33" fmla="*/ 1857 h 3243"/>
                <a:gd name="T34" fmla="*/ 2665 w 3017"/>
                <a:gd name="T35" fmla="*/ 1165 h 3243"/>
                <a:gd name="T36" fmla="*/ 2736 w 3017"/>
                <a:gd name="T37" fmla="*/ 421 h 3243"/>
                <a:gd name="T38" fmla="*/ 2462 w 3017"/>
                <a:gd name="T39" fmla="*/ 2053 h 3243"/>
                <a:gd name="T40" fmla="*/ 2513 w 3017"/>
                <a:gd name="T41" fmla="*/ 2029 h 3243"/>
                <a:gd name="T42" fmla="*/ 2445 w 3017"/>
                <a:gd name="T43" fmla="*/ 2086 h 3243"/>
                <a:gd name="T44" fmla="*/ 2483 w 3017"/>
                <a:gd name="T45" fmla="*/ 2135 h 3243"/>
                <a:gd name="T46" fmla="*/ 2499 w 3017"/>
                <a:gd name="T47" fmla="*/ 2152 h 3243"/>
                <a:gd name="T48" fmla="*/ 2537 w 3017"/>
                <a:gd name="T49" fmla="*/ 2173 h 3243"/>
                <a:gd name="T50" fmla="*/ 2483 w 3017"/>
                <a:gd name="T51" fmla="*/ 2173 h 3243"/>
                <a:gd name="T52" fmla="*/ 2466 w 3017"/>
                <a:gd name="T53" fmla="*/ 2190 h 3243"/>
                <a:gd name="T54" fmla="*/ 2483 w 3017"/>
                <a:gd name="T55" fmla="*/ 2197 h 3243"/>
                <a:gd name="T56" fmla="*/ 2504 w 3017"/>
                <a:gd name="T57" fmla="*/ 2235 h 3243"/>
                <a:gd name="T58" fmla="*/ 2450 w 3017"/>
                <a:gd name="T59" fmla="*/ 2263 h 3243"/>
                <a:gd name="T60" fmla="*/ 2450 w 3017"/>
                <a:gd name="T61" fmla="*/ 2272 h 3243"/>
                <a:gd name="T62" fmla="*/ 2488 w 3017"/>
                <a:gd name="T63" fmla="*/ 2301 h 3243"/>
                <a:gd name="T64" fmla="*/ 2488 w 3017"/>
                <a:gd name="T65" fmla="*/ 2395 h 3243"/>
                <a:gd name="T66" fmla="*/ 2488 w 3017"/>
                <a:gd name="T67" fmla="*/ 2473 h 3243"/>
                <a:gd name="T68" fmla="*/ 2395 w 3017"/>
                <a:gd name="T69" fmla="*/ 2490 h 3243"/>
                <a:gd name="T70" fmla="*/ 2450 w 3017"/>
                <a:gd name="T71" fmla="*/ 2511 h 3243"/>
                <a:gd name="T72" fmla="*/ 2395 w 3017"/>
                <a:gd name="T73" fmla="*/ 2551 h 3243"/>
                <a:gd name="T74" fmla="*/ 2412 w 3017"/>
                <a:gd name="T75" fmla="*/ 2622 h 3243"/>
                <a:gd name="T76" fmla="*/ 2407 w 3017"/>
                <a:gd name="T77" fmla="*/ 2561 h 3243"/>
                <a:gd name="T78" fmla="*/ 2424 w 3017"/>
                <a:gd name="T79" fmla="*/ 2601 h 3243"/>
                <a:gd name="T80" fmla="*/ 2428 w 3017"/>
                <a:gd name="T81" fmla="*/ 2679 h 3243"/>
                <a:gd name="T82" fmla="*/ 2391 w 3017"/>
                <a:gd name="T83" fmla="*/ 2745 h 3243"/>
                <a:gd name="T84" fmla="*/ 2462 w 3017"/>
                <a:gd name="T85" fmla="*/ 2745 h 3243"/>
                <a:gd name="T86" fmla="*/ 2424 w 3017"/>
                <a:gd name="T87" fmla="*/ 2790 h 3243"/>
                <a:gd name="T88" fmla="*/ 2391 w 3017"/>
                <a:gd name="T89" fmla="*/ 2823 h 3243"/>
                <a:gd name="T90" fmla="*/ 2488 w 3017"/>
                <a:gd name="T91" fmla="*/ 2823 h 3243"/>
                <a:gd name="T92" fmla="*/ 2504 w 3017"/>
                <a:gd name="T93" fmla="*/ 2877 h 3243"/>
                <a:gd name="T94" fmla="*/ 2445 w 3017"/>
                <a:gd name="T95" fmla="*/ 2877 h 3243"/>
                <a:gd name="T96" fmla="*/ 2731 w 3017"/>
                <a:gd name="T97" fmla="*/ 3116 h 3243"/>
                <a:gd name="T98" fmla="*/ 2752 w 3017"/>
                <a:gd name="T99" fmla="*/ 3106 h 3243"/>
                <a:gd name="T100" fmla="*/ 2736 w 3017"/>
                <a:gd name="T101" fmla="*/ 2950 h 3243"/>
                <a:gd name="T102" fmla="*/ 2530 w 3017"/>
                <a:gd name="T103" fmla="*/ 2983 h 3243"/>
                <a:gd name="T104" fmla="*/ 2537 w 3017"/>
                <a:gd name="T105" fmla="*/ 3012 h 3243"/>
                <a:gd name="T106" fmla="*/ 2499 w 3017"/>
                <a:gd name="T107" fmla="*/ 3012 h 3243"/>
                <a:gd name="T108" fmla="*/ 2643 w 3017"/>
                <a:gd name="T109" fmla="*/ 3045 h 3243"/>
                <a:gd name="T110" fmla="*/ 2747 w 3017"/>
                <a:gd name="T111" fmla="*/ 3078 h 3243"/>
                <a:gd name="T112" fmla="*/ 2714 w 3017"/>
                <a:gd name="T113" fmla="*/ 3139 h 3243"/>
                <a:gd name="T114" fmla="*/ 2953 w 3017"/>
                <a:gd name="T115" fmla="*/ 3149 h 3243"/>
                <a:gd name="T116" fmla="*/ 2891 w 3017"/>
                <a:gd name="T117" fmla="*/ 3177 h 3243"/>
                <a:gd name="T118" fmla="*/ 2967 w 3017"/>
                <a:gd name="T119" fmla="*/ 3156 h 3243"/>
                <a:gd name="T120" fmla="*/ 2785 w 3017"/>
                <a:gd name="T121" fmla="*/ 3194 h 3243"/>
                <a:gd name="T122" fmla="*/ 2929 w 3017"/>
                <a:gd name="T123" fmla="*/ 3243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17" h="3243">
                  <a:moveTo>
                    <a:pt x="2736" y="66"/>
                  </a:moveTo>
                  <a:lnTo>
                    <a:pt x="2769" y="54"/>
                  </a:lnTo>
                  <a:lnTo>
                    <a:pt x="2785" y="38"/>
                  </a:lnTo>
                  <a:lnTo>
                    <a:pt x="2773" y="17"/>
                  </a:lnTo>
                  <a:lnTo>
                    <a:pt x="2790" y="17"/>
                  </a:lnTo>
                  <a:lnTo>
                    <a:pt x="2802" y="0"/>
                  </a:lnTo>
                  <a:lnTo>
                    <a:pt x="2811" y="38"/>
                  </a:lnTo>
                  <a:lnTo>
                    <a:pt x="2828" y="38"/>
                  </a:lnTo>
                  <a:lnTo>
                    <a:pt x="2823" y="50"/>
                  </a:lnTo>
                  <a:lnTo>
                    <a:pt x="2839" y="111"/>
                  </a:lnTo>
                  <a:lnTo>
                    <a:pt x="2877" y="144"/>
                  </a:lnTo>
                  <a:lnTo>
                    <a:pt x="2854" y="165"/>
                  </a:lnTo>
                  <a:lnTo>
                    <a:pt x="2865" y="182"/>
                  </a:lnTo>
                  <a:lnTo>
                    <a:pt x="2865" y="189"/>
                  </a:lnTo>
                  <a:lnTo>
                    <a:pt x="2854" y="199"/>
                  </a:lnTo>
                  <a:lnTo>
                    <a:pt x="2854" y="215"/>
                  </a:lnTo>
                  <a:lnTo>
                    <a:pt x="2854" y="222"/>
                  </a:lnTo>
                  <a:lnTo>
                    <a:pt x="2877" y="239"/>
                  </a:lnTo>
                  <a:lnTo>
                    <a:pt x="2865" y="250"/>
                  </a:lnTo>
                  <a:lnTo>
                    <a:pt x="2865" y="255"/>
                  </a:lnTo>
                  <a:lnTo>
                    <a:pt x="2877" y="260"/>
                  </a:lnTo>
                  <a:lnTo>
                    <a:pt x="2891" y="288"/>
                  </a:lnTo>
                  <a:lnTo>
                    <a:pt x="2891" y="310"/>
                  </a:lnTo>
                  <a:lnTo>
                    <a:pt x="2899" y="343"/>
                  </a:lnTo>
                  <a:lnTo>
                    <a:pt x="2908" y="350"/>
                  </a:lnTo>
                  <a:lnTo>
                    <a:pt x="2915" y="383"/>
                  </a:lnTo>
                  <a:lnTo>
                    <a:pt x="2915" y="404"/>
                  </a:lnTo>
                  <a:lnTo>
                    <a:pt x="2936" y="404"/>
                  </a:lnTo>
                  <a:lnTo>
                    <a:pt x="2962" y="404"/>
                  </a:lnTo>
                  <a:lnTo>
                    <a:pt x="2979" y="416"/>
                  </a:lnTo>
                  <a:lnTo>
                    <a:pt x="2953" y="494"/>
                  </a:lnTo>
                  <a:lnTo>
                    <a:pt x="2882" y="527"/>
                  </a:lnTo>
                  <a:lnTo>
                    <a:pt x="2865" y="548"/>
                  </a:lnTo>
                  <a:lnTo>
                    <a:pt x="2882" y="581"/>
                  </a:lnTo>
                  <a:lnTo>
                    <a:pt x="2865" y="581"/>
                  </a:lnTo>
                  <a:lnTo>
                    <a:pt x="2861" y="605"/>
                  </a:lnTo>
                  <a:lnTo>
                    <a:pt x="2877" y="659"/>
                  </a:lnTo>
                  <a:lnTo>
                    <a:pt x="2865" y="666"/>
                  </a:lnTo>
                  <a:lnTo>
                    <a:pt x="2861" y="683"/>
                  </a:lnTo>
                  <a:lnTo>
                    <a:pt x="2882" y="716"/>
                  </a:lnTo>
                  <a:lnTo>
                    <a:pt x="2877" y="732"/>
                  </a:lnTo>
                  <a:lnTo>
                    <a:pt x="2844" y="732"/>
                  </a:lnTo>
                  <a:lnTo>
                    <a:pt x="2823" y="803"/>
                  </a:lnTo>
                  <a:lnTo>
                    <a:pt x="2790" y="832"/>
                  </a:lnTo>
                  <a:lnTo>
                    <a:pt x="2785" y="886"/>
                  </a:lnTo>
                  <a:lnTo>
                    <a:pt x="2757" y="905"/>
                  </a:lnTo>
                  <a:lnTo>
                    <a:pt x="2773" y="976"/>
                  </a:lnTo>
                  <a:lnTo>
                    <a:pt x="2769" y="980"/>
                  </a:lnTo>
                  <a:lnTo>
                    <a:pt x="2752" y="992"/>
                  </a:lnTo>
                  <a:lnTo>
                    <a:pt x="2747" y="1025"/>
                  </a:lnTo>
                  <a:lnTo>
                    <a:pt x="2747" y="1037"/>
                  </a:lnTo>
                  <a:lnTo>
                    <a:pt x="2731" y="1054"/>
                  </a:lnTo>
                  <a:lnTo>
                    <a:pt x="2719" y="1082"/>
                  </a:lnTo>
                  <a:lnTo>
                    <a:pt x="2736" y="1103"/>
                  </a:lnTo>
                  <a:lnTo>
                    <a:pt x="2752" y="1108"/>
                  </a:lnTo>
                  <a:lnTo>
                    <a:pt x="2736" y="1124"/>
                  </a:lnTo>
                  <a:lnTo>
                    <a:pt x="2747" y="1136"/>
                  </a:lnTo>
                  <a:lnTo>
                    <a:pt x="2752" y="1160"/>
                  </a:lnTo>
                  <a:lnTo>
                    <a:pt x="2752" y="1176"/>
                  </a:lnTo>
                  <a:lnTo>
                    <a:pt x="2769" y="1193"/>
                  </a:lnTo>
                  <a:lnTo>
                    <a:pt x="2757" y="1214"/>
                  </a:lnTo>
                  <a:lnTo>
                    <a:pt x="2769" y="1219"/>
                  </a:lnTo>
                  <a:lnTo>
                    <a:pt x="2773" y="1219"/>
                  </a:lnTo>
                  <a:lnTo>
                    <a:pt x="2785" y="1231"/>
                  </a:lnTo>
                  <a:lnTo>
                    <a:pt x="2769" y="1259"/>
                  </a:lnTo>
                  <a:lnTo>
                    <a:pt x="2773" y="1292"/>
                  </a:lnTo>
                  <a:lnTo>
                    <a:pt x="2757" y="1304"/>
                  </a:lnTo>
                  <a:lnTo>
                    <a:pt x="2736" y="1370"/>
                  </a:lnTo>
                  <a:lnTo>
                    <a:pt x="2719" y="1380"/>
                  </a:lnTo>
                  <a:lnTo>
                    <a:pt x="2736" y="1387"/>
                  </a:lnTo>
                  <a:lnTo>
                    <a:pt x="2747" y="1424"/>
                  </a:lnTo>
                  <a:lnTo>
                    <a:pt x="2736" y="1453"/>
                  </a:lnTo>
                  <a:lnTo>
                    <a:pt x="2714" y="1458"/>
                  </a:lnTo>
                  <a:lnTo>
                    <a:pt x="2714" y="1474"/>
                  </a:lnTo>
                  <a:lnTo>
                    <a:pt x="2693" y="1481"/>
                  </a:lnTo>
                  <a:lnTo>
                    <a:pt x="2681" y="1507"/>
                  </a:lnTo>
                  <a:lnTo>
                    <a:pt x="2693" y="1531"/>
                  </a:lnTo>
                  <a:lnTo>
                    <a:pt x="2681" y="1547"/>
                  </a:lnTo>
                  <a:lnTo>
                    <a:pt x="2693" y="1564"/>
                  </a:lnTo>
                  <a:lnTo>
                    <a:pt x="2681" y="1580"/>
                  </a:lnTo>
                  <a:lnTo>
                    <a:pt x="2698" y="1609"/>
                  </a:lnTo>
                  <a:lnTo>
                    <a:pt x="2698" y="1642"/>
                  </a:lnTo>
                  <a:lnTo>
                    <a:pt x="2702" y="1658"/>
                  </a:lnTo>
                  <a:lnTo>
                    <a:pt x="2698" y="1663"/>
                  </a:lnTo>
                  <a:lnTo>
                    <a:pt x="2665" y="1680"/>
                  </a:lnTo>
                  <a:lnTo>
                    <a:pt x="2665" y="1713"/>
                  </a:lnTo>
                  <a:lnTo>
                    <a:pt x="2660" y="1746"/>
                  </a:lnTo>
                  <a:lnTo>
                    <a:pt x="2643" y="1736"/>
                  </a:lnTo>
                  <a:lnTo>
                    <a:pt x="2651" y="1769"/>
                  </a:lnTo>
                  <a:lnTo>
                    <a:pt x="2639" y="1791"/>
                  </a:lnTo>
                  <a:lnTo>
                    <a:pt x="2643" y="1802"/>
                  </a:lnTo>
                  <a:lnTo>
                    <a:pt x="2639" y="1807"/>
                  </a:lnTo>
                  <a:lnTo>
                    <a:pt x="2627" y="1840"/>
                  </a:lnTo>
                  <a:lnTo>
                    <a:pt x="2639" y="1857"/>
                  </a:lnTo>
                  <a:lnTo>
                    <a:pt x="2639" y="1913"/>
                  </a:lnTo>
                  <a:lnTo>
                    <a:pt x="2627" y="1918"/>
                  </a:lnTo>
                  <a:lnTo>
                    <a:pt x="2643" y="1951"/>
                  </a:lnTo>
                  <a:lnTo>
                    <a:pt x="2627" y="1958"/>
                  </a:lnTo>
                  <a:lnTo>
                    <a:pt x="2622" y="1958"/>
                  </a:lnTo>
                  <a:lnTo>
                    <a:pt x="2613" y="1975"/>
                  </a:lnTo>
                  <a:lnTo>
                    <a:pt x="2622" y="1975"/>
                  </a:lnTo>
                  <a:lnTo>
                    <a:pt x="2613" y="1996"/>
                  </a:lnTo>
                  <a:lnTo>
                    <a:pt x="2613" y="2041"/>
                  </a:lnTo>
                  <a:lnTo>
                    <a:pt x="2643" y="2046"/>
                  </a:lnTo>
                  <a:lnTo>
                    <a:pt x="2643" y="2062"/>
                  </a:lnTo>
                  <a:lnTo>
                    <a:pt x="2627" y="2062"/>
                  </a:lnTo>
                  <a:lnTo>
                    <a:pt x="2627" y="2069"/>
                  </a:lnTo>
                  <a:lnTo>
                    <a:pt x="2643" y="2086"/>
                  </a:lnTo>
                  <a:lnTo>
                    <a:pt x="2643" y="2095"/>
                  </a:lnTo>
                  <a:lnTo>
                    <a:pt x="2639" y="2102"/>
                  </a:lnTo>
                  <a:lnTo>
                    <a:pt x="2651" y="2119"/>
                  </a:lnTo>
                  <a:lnTo>
                    <a:pt x="2639" y="2135"/>
                  </a:lnTo>
                  <a:lnTo>
                    <a:pt x="2639" y="2157"/>
                  </a:lnTo>
                  <a:lnTo>
                    <a:pt x="2681" y="2157"/>
                  </a:lnTo>
                  <a:lnTo>
                    <a:pt x="2693" y="2161"/>
                  </a:lnTo>
                  <a:lnTo>
                    <a:pt x="2676" y="2190"/>
                  </a:lnTo>
                  <a:lnTo>
                    <a:pt x="2622" y="2190"/>
                  </a:lnTo>
                  <a:lnTo>
                    <a:pt x="2622" y="2206"/>
                  </a:lnTo>
                  <a:lnTo>
                    <a:pt x="2651" y="2206"/>
                  </a:lnTo>
                  <a:lnTo>
                    <a:pt x="2676" y="2235"/>
                  </a:lnTo>
                  <a:lnTo>
                    <a:pt x="2660" y="2251"/>
                  </a:lnTo>
                  <a:lnTo>
                    <a:pt x="2643" y="2263"/>
                  </a:lnTo>
                  <a:lnTo>
                    <a:pt x="2639" y="2268"/>
                  </a:lnTo>
                  <a:lnTo>
                    <a:pt x="2643" y="2284"/>
                  </a:lnTo>
                  <a:lnTo>
                    <a:pt x="2651" y="2301"/>
                  </a:lnTo>
                  <a:lnTo>
                    <a:pt x="2627" y="2317"/>
                  </a:lnTo>
                  <a:lnTo>
                    <a:pt x="2643" y="2324"/>
                  </a:lnTo>
                  <a:lnTo>
                    <a:pt x="2643" y="2362"/>
                  </a:lnTo>
                  <a:lnTo>
                    <a:pt x="2627" y="2374"/>
                  </a:lnTo>
                  <a:lnTo>
                    <a:pt x="2627" y="2395"/>
                  </a:lnTo>
                  <a:lnTo>
                    <a:pt x="2639" y="2412"/>
                  </a:lnTo>
                  <a:lnTo>
                    <a:pt x="2596" y="2433"/>
                  </a:lnTo>
                  <a:lnTo>
                    <a:pt x="2596" y="2440"/>
                  </a:lnTo>
                  <a:lnTo>
                    <a:pt x="2589" y="2473"/>
                  </a:lnTo>
                  <a:lnTo>
                    <a:pt x="2596" y="2490"/>
                  </a:lnTo>
                  <a:lnTo>
                    <a:pt x="2606" y="2511"/>
                  </a:lnTo>
                  <a:lnTo>
                    <a:pt x="2584" y="2523"/>
                  </a:lnTo>
                  <a:lnTo>
                    <a:pt x="2584" y="2551"/>
                  </a:lnTo>
                  <a:lnTo>
                    <a:pt x="2551" y="2568"/>
                  </a:lnTo>
                  <a:lnTo>
                    <a:pt x="2542" y="2596"/>
                  </a:lnTo>
                  <a:lnTo>
                    <a:pt x="2551" y="2601"/>
                  </a:lnTo>
                  <a:lnTo>
                    <a:pt x="2542" y="2601"/>
                  </a:lnTo>
                  <a:lnTo>
                    <a:pt x="2521" y="2601"/>
                  </a:lnTo>
                  <a:lnTo>
                    <a:pt x="2513" y="2622"/>
                  </a:lnTo>
                  <a:lnTo>
                    <a:pt x="2521" y="2650"/>
                  </a:lnTo>
                  <a:lnTo>
                    <a:pt x="2513" y="2655"/>
                  </a:lnTo>
                  <a:lnTo>
                    <a:pt x="2521" y="2662"/>
                  </a:lnTo>
                  <a:lnTo>
                    <a:pt x="2521" y="2679"/>
                  </a:lnTo>
                  <a:lnTo>
                    <a:pt x="2537" y="2695"/>
                  </a:lnTo>
                  <a:lnTo>
                    <a:pt x="2542" y="2733"/>
                  </a:lnTo>
                  <a:lnTo>
                    <a:pt x="2575" y="2728"/>
                  </a:lnTo>
                  <a:lnTo>
                    <a:pt x="2606" y="2728"/>
                  </a:lnTo>
                  <a:lnTo>
                    <a:pt x="2606" y="2761"/>
                  </a:lnTo>
                  <a:lnTo>
                    <a:pt x="2596" y="2773"/>
                  </a:lnTo>
                  <a:lnTo>
                    <a:pt x="2606" y="2783"/>
                  </a:lnTo>
                  <a:lnTo>
                    <a:pt x="2596" y="2806"/>
                  </a:lnTo>
                  <a:lnTo>
                    <a:pt x="2606" y="2828"/>
                  </a:lnTo>
                  <a:lnTo>
                    <a:pt x="2627" y="2844"/>
                  </a:lnTo>
                  <a:lnTo>
                    <a:pt x="2627" y="2856"/>
                  </a:lnTo>
                  <a:lnTo>
                    <a:pt x="2769" y="2856"/>
                  </a:lnTo>
                  <a:lnTo>
                    <a:pt x="2877" y="2894"/>
                  </a:lnTo>
                  <a:lnTo>
                    <a:pt x="2811" y="2877"/>
                  </a:lnTo>
                  <a:lnTo>
                    <a:pt x="2802" y="2884"/>
                  </a:lnTo>
                  <a:lnTo>
                    <a:pt x="2802" y="2894"/>
                  </a:lnTo>
                  <a:lnTo>
                    <a:pt x="2790" y="2910"/>
                  </a:lnTo>
                  <a:lnTo>
                    <a:pt x="2773" y="2901"/>
                  </a:lnTo>
                  <a:lnTo>
                    <a:pt x="2702" y="2927"/>
                  </a:lnTo>
                  <a:lnTo>
                    <a:pt x="2702" y="2950"/>
                  </a:lnTo>
                  <a:lnTo>
                    <a:pt x="2698" y="2988"/>
                  </a:lnTo>
                  <a:lnTo>
                    <a:pt x="2698" y="3028"/>
                  </a:lnTo>
                  <a:lnTo>
                    <a:pt x="2676" y="3045"/>
                  </a:lnTo>
                  <a:lnTo>
                    <a:pt x="2613" y="3021"/>
                  </a:lnTo>
                  <a:lnTo>
                    <a:pt x="2589" y="2995"/>
                  </a:lnTo>
                  <a:lnTo>
                    <a:pt x="2606" y="2983"/>
                  </a:lnTo>
                  <a:lnTo>
                    <a:pt x="2613" y="2983"/>
                  </a:lnTo>
                  <a:lnTo>
                    <a:pt x="2622" y="2988"/>
                  </a:lnTo>
                  <a:lnTo>
                    <a:pt x="2606" y="2995"/>
                  </a:lnTo>
                  <a:lnTo>
                    <a:pt x="2613" y="2995"/>
                  </a:lnTo>
                  <a:lnTo>
                    <a:pt x="2622" y="2988"/>
                  </a:lnTo>
                  <a:lnTo>
                    <a:pt x="2622" y="2972"/>
                  </a:lnTo>
                  <a:lnTo>
                    <a:pt x="2639" y="2972"/>
                  </a:lnTo>
                  <a:lnTo>
                    <a:pt x="2639" y="2995"/>
                  </a:lnTo>
                  <a:lnTo>
                    <a:pt x="2622" y="3012"/>
                  </a:lnTo>
                  <a:lnTo>
                    <a:pt x="2639" y="3005"/>
                  </a:lnTo>
                  <a:lnTo>
                    <a:pt x="2643" y="2972"/>
                  </a:lnTo>
                  <a:lnTo>
                    <a:pt x="2665" y="2967"/>
                  </a:lnTo>
                  <a:lnTo>
                    <a:pt x="2681" y="2939"/>
                  </a:lnTo>
                  <a:lnTo>
                    <a:pt x="2681" y="2934"/>
                  </a:lnTo>
                  <a:lnTo>
                    <a:pt x="2651" y="2939"/>
                  </a:lnTo>
                  <a:lnTo>
                    <a:pt x="2622" y="2967"/>
                  </a:lnTo>
                  <a:lnTo>
                    <a:pt x="2606" y="2955"/>
                  </a:lnTo>
                  <a:lnTo>
                    <a:pt x="2584" y="2967"/>
                  </a:lnTo>
                  <a:lnTo>
                    <a:pt x="2613" y="2972"/>
                  </a:lnTo>
                  <a:lnTo>
                    <a:pt x="2589" y="2972"/>
                  </a:lnTo>
                  <a:lnTo>
                    <a:pt x="2596" y="2983"/>
                  </a:lnTo>
                  <a:lnTo>
                    <a:pt x="2589" y="2988"/>
                  </a:lnTo>
                  <a:lnTo>
                    <a:pt x="2575" y="2988"/>
                  </a:lnTo>
                  <a:lnTo>
                    <a:pt x="2596" y="3005"/>
                  </a:lnTo>
                  <a:lnTo>
                    <a:pt x="2537" y="2972"/>
                  </a:lnTo>
                  <a:lnTo>
                    <a:pt x="2537" y="2967"/>
                  </a:lnTo>
                  <a:lnTo>
                    <a:pt x="2558" y="2972"/>
                  </a:lnTo>
                  <a:lnTo>
                    <a:pt x="2575" y="2983"/>
                  </a:lnTo>
                  <a:lnTo>
                    <a:pt x="2568" y="2972"/>
                  </a:lnTo>
                  <a:lnTo>
                    <a:pt x="2575" y="2967"/>
                  </a:lnTo>
                  <a:lnTo>
                    <a:pt x="2558" y="2967"/>
                  </a:lnTo>
                  <a:lnTo>
                    <a:pt x="2568" y="2955"/>
                  </a:lnTo>
                  <a:lnTo>
                    <a:pt x="2558" y="2939"/>
                  </a:lnTo>
                  <a:lnTo>
                    <a:pt x="2575" y="2927"/>
                  </a:lnTo>
                  <a:lnTo>
                    <a:pt x="2589" y="2934"/>
                  </a:lnTo>
                  <a:lnTo>
                    <a:pt x="2613" y="2917"/>
                  </a:lnTo>
                  <a:lnTo>
                    <a:pt x="2639" y="2927"/>
                  </a:lnTo>
                  <a:lnTo>
                    <a:pt x="2660" y="2917"/>
                  </a:lnTo>
                  <a:lnTo>
                    <a:pt x="2660" y="2910"/>
                  </a:lnTo>
                  <a:lnTo>
                    <a:pt x="2613" y="2910"/>
                  </a:lnTo>
                  <a:lnTo>
                    <a:pt x="2596" y="2910"/>
                  </a:lnTo>
                  <a:lnTo>
                    <a:pt x="2596" y="2917"/>
                  </a:lnTo>
                  <a:lnTo>
                    <a:pt x="2584" y="2917"/>
                  </a:lnTo>
                  <a:lnTo>
                    <a:pt x="2596" y="2910"/>
                  </a:lnTo>
                  <a:lnTo>
                    <a:pt x="2568" y="2910"/>
                  </a:lnTo>
                  <a:lnTo>
                    <a:pt x="2558" y="2917"/>
                  </a:lnTo>
                  <a:lnTo>
                    <a:pt x="2575" y="2917"/>
                  </a:lnTo>
                  <a:lnTo>
                    <a:pt x="2551" y="2939"/>
                  </a:lnTo>
                  <a:lnTo>
                    <a:pt x="2558" y="2955"/>
                  </a:lnTo>
                  <a:lnTo>
                    <a:pt x="2542" y="2967"/>
                  </a:lnTo>
                  <a:lnTo>
                    <a:pt x="2521" y="2955"/>
                  </a:lnTo>
                  <a:lnTo>
                    <a:pt x="2537" y="2939"/>
                  </a:lnTo>
                  <a:lnTo>
                    <a:pt x="2513" y="2934"/>
                  </a:lnTo>
                  <a:lnTo>
                    <a:pt x="2537" y="2934"/>
                  </a:lnTo>
                  <a:lnTo>
                    <a:pt x="2542" y="2910"/>
                  </a:lnTo>
                  <a:lnTo>
                    <a:pt x="2558" y="2910"/>
                  </a:lnTo>
                  <a:lnTo>
                    <a:pt x="2542" y="2901"/>
                  </a:lnTo>
                  <a:lnTo>
                    <a:pt x="2537" y="2927"/>
                  </a:lnTo>
                  <a:lnTo>
                    <a:pt x="2530" y="2917"/>
                  </a:lnTo>
                  <a:lnTo>
                    <a:pt x="2504" y="2927"/>
                  </a:lnTo>
                  <a:lnTo>
                    <a:pt x="2504" y="2917"/>
                  </a:lnTo>
                  <a:lnTo>
                    <a:pt x="2513" y="2910"/>
                  </a:lnTo>
                  <a:lnTo>
                    <a:pt x="2504" y="2901"/>
                  </a:lnTo>
                  <a:lnTo>
                    <a:pt x="2513" y="2884"/>
                  </a:lnTo>
                  <a:lnTo>
                    <a:pt x="2504" y="2861"/>
                  </a:lnTo>
                  <a:lnTo>
                    <a:pt x="2513" y="2877"/>
                  </a:lnTo>
                  <a:lnTo>
                    <a:pt x="2530" y="2877"/>
                  </a:lnTo>
                  <a:lnTo>
                    <a:pt x="2551" y="2861"/>
                  </a:lnTo>
                  <a:lnTo>
                    <a:pt x="2551" y="2877"/>
                  </a:lnTo>
                  <a:lnTo>
                    <a:pt x="2568" y="2884"/>
                  </a:lnTo>
                  <a:lnTo>
                    <a:pt x="2568" y="2861"/>
                  </a:lnTo>
                  <a:lnTo>
                    <a:pt x="2558" y="2877"/>
                  </a:lnTo>
                  <a:lnTo>
                    <a:pt x="2558" y="2861"/>
                  </a:lnTo>
                  <a:lnTo>
                    <a:pt x="2568" y="2856"/>
                  </a:lnTo>
                  <a:lnTo>
                    <a:pt x="2575" y="2856"/>
                  </a:lnTo>
                  <a:lnTo>
                    <a:pt x="2589" y="2877"/>
                  </a:lnTo>
                  <a:lnTo>
                    <a:pt x="2584" y="2884"/>
                  </a:lnTo>
                  <a:lnTo>
                    <a:pt x="2558" y="2901"/>
                  </a:lnTo>
                  <a:lnTo>
                    <a:pt x="2589" y="2884"/>
                  </a:lnTo>
                  <a:lnTo>
                    <a:pt x="2589" y="2877"/>
                  </a:lnTo>
                  <a:lnTo>
                    <a:pt x="2575" y="2856"/>
                  </a:lnTo>
                  <a:lnTo>
                    <a:pt x="2589" y="2856"/>
                  </a:lnTo>
                  <a:lnTo>
                    <a:pt x="2589" y="2839"/>
                  </a:lnTo>
                  <a:lnTo>
                    <a:pt x="2575" y="2816"/>
                  </a:lnTo>
                  <a:lnTo>
                    <a:pt x="2537" y="2806"/>
                  </a:lnTo>
                  <a:lnTo>
                    <a:pt x="2584" y="2839"/>
                  </a:lnTo>
                  <a:lnTo>
                    <a:pt x="2575" y="2839"/>
                  </a:lnTo>
                  <a:lnTo>
                    <a:pt x="2537" y="2823"/>
                  </a:lnTo>
                  <a:lnTo>
                    <a:pt x="2537" y="2828"/>
                  </a:lnTo>
                  <a:lnTo>
                    <a:pt x="2551" y="2839"/>
                  </a:lnTo>
                  <a:lnTo>
                    <a:pt x="2542" y="2844"/>
                  </a:lnTo>
                  <a:lnTo>
                    <a:pt x="2558" y="2844"/>
                  </a:lnTo>
                  <a:lnTo>
                    <a:pt x="2542" y="2856"/>
                  </a:lnTo>
                  <a:lnTo>
                    <a:pt x="2537" y="2861"/>
                  </a:lnTo>
                  <a:lnTo>
                    <a:pt x="2530" y="2823"/>
                  </a:lnTo>
                  <a:lnTo>
                    <a:pt x="2537" y="2872"/>
                  </a:lnTo>
                  <a:lnTo>
                    <a:pt x="2513" y="2861"/>
                  </a:lnTo>
                  <a:lnTo>
                    <a:pt x="2504" y="2839"/>
                  </a:lnTo>
                  <a:lnTo>
                    <a:pt x="2530" y="2861"/>
                  </a:lnTo>
                  <a:lnTo>
                    <a:pt x="2513" y="2828"/>
                  </a:lnTo>
                  <a:lnTo>
                    <a:pt x="2521" y="2828"/>
                  </a:lnTo>
                  <a:lnTo>
                    <a:pt x="2504" y="2839"/>
                  </a:lnTo>
                  <a:lnTo>
                    <a:pt x="2499" y="2823"/>
                  </a:lnTo>
                  <a:lnTo>
                    <a:pt x="2488" y="2823"/>
                  </a:lnTo>
                  <a:lnTo>
                    <a:pt x="2488" y="2799"/>
                  </a:lnTo>
                  <a:lnTo>
                    <a:pt x="2513" y="2823"/>
                  </a:lnTo>
                  <a:lnTo>
                    <a:pt x="2499" y="2783"/>
                  </a:lnTo>
                  <a:lnTo>
                    <a:pt x="2504" y="2790"/>
                  </a:lnTo>
                  <a:lnTo>
                    <a:pt x="2504" y="2773"/>
                  </a:lnTo>
                  <a:lnTo>
                    <a:pt x="2488" y="2783"/>
                  </a:lnTo>
                  <a:lnTo>
                    <a:pt x="2476" y="2783"/>
                  </a:lnTo>
                  <a:lnTo>
                    <a:pt x="2466" y="2761"/>
                  </a:lnTo>
                  <a:lnTo>
                    <a:pt x="2476" y="2750"/>
                  </a:lnTo>
                  <a:lnTo>
                    <a:pt x="2499" y="2750"/>
                  </a:lnTo>
                  <a:lnTo>
                    <a:pt x="2504" y="2728"/>
                  </a:lnTo>
                  <a:lnTo>
                    <a:pt x="2521" y="2733"/>
                  </a:lnTo>
                  <a:lnTo>
                    <a:pt x="2521" y="2728"/>
                  </a:lnTo>
                  <a:lnTo>
                    <a:pt x="2504" y="2717"/>
                  </a:lnTo>
                  <a:lnTo>
                    <a:pt x="2513" y="2707"/>
                  </a:lnTo>
                  <a:lnTo>
                    <a:pt x="2499" y="2717"/>
                  </a:lnTo>
                  <a:lnTo>
                    <a:pt x="2499" y="2745"/>
                  </a:lnTo>
                  <a:lnTo>
                    <a:pt x="2483" y="2745"/>
                  </a:lnTo>
                  <a:lnTo>
                    <a:pt x="2466" y="2712"/>
                  </a:lnTo>
                  <a:lnTo>
                    <a:pt x="2488" y="2717"/>
                  </a:lnTo>
                  <a:lnTo>
                    <a:pt x="2466" y="2707"/>
                  </a:lnTo>
                  <a:lnTo>
                    <a:pt x="2433" y="2688"/>
                  </a:lnTo>
                  <a:lnTo>
                    <a:pt x="2445" y="2679"/>
                  </a:lnTo>
                  <a:lnTo>
                    <a:pt x="2462" y="2672"/>
                  </a:lnTo>
                  <a:lnTo>
                    <a:pt x="2466" y="2688"/>
                  </a:lnTo>
                  <a:lnTo>
                    <a:pt x="2499" y="2695"/>
                  </a:lnTo>
                  <a:lnTo>
                    <a:pt x="2476" y="2688"/>
                  </a:lnTo>
                  <a:lnTo>
                    <a:pt x="2462" y="2662"/>
                  </a:lnTo>
                  <a:lnTo>
                    <a:pt x="2466" y="2662"/>
                  </a:lnTo>
                  <a:lnTo>
                    <a:pt x="2488" y="2672"/>
                  </a:lnTo>
                  <a:lnTo>
                    <a:pt x="2466" y="2655"/>
                  </a:lnTo>
                  <a:lnTo>
                    <a:pt x="2462" y="2650"/>
                  </a:lnTo>
                  <a:lnTo>
                    <a:pt x="2483" y="2639"/>
                  </a:lnTo>
                  <a:lnTo>
                    <a:pt x="2466" y="2639"/>
                  </a:lnTo>
                  <a:lnTo>
                    <a:pt x="2462" y="2634"/>
                  </a:lnTo>
                  <a:lnTo>
                    <a:pt x="2488" y="2622"/>
                  </a:lnTo>
                  <a:lnTo>
                    <a:pt x="2504" y="2639"/>
                  </a:lnTo>
                  <a:lnTo>
                    <a:pt x="2499" y="2634"/>
                  </a:lnTo>
                  <a:lnTo>
                    <a:pt x="2488" y="2622"/>
                  </a:lnTo>
                  <a:lnTo>
                    <a:pt x="2476" y="2617"/>
                  </a:lnTo>
                  <a:lnTo>
                    <a:pt x="2483" y="2601"/>
                  </a:lnTo>
                  <a:lnTo>
                    <a:pt x="2499" y="2606"/>
                  </a:lnTo>
                  <a:lnTo>
                    <a:pt x="2483" y="2601"/>
                  </a:lnTo>
                  <a:lnTo>
                    <a:pt x="2483" y="2584"/>
                  </a:lnTo>
                  <a:lnTo>
                    <a:pt x="2499" y="2580"/>
                  </a:lnTo>
                  <a:lnTo>
                    <a:pt x="2483" y="2580"/>
                  </a:lnTo>
                  <a:lnTo>
                    <a:pt x="2466" y="2622"/>
                  </a:lnTo>
                  <a:lnTo>
                    <a:pt x="2462" y="2617"/>
                  </a:lnTo>
                  <a:lnTo>
                    <a:pt x="2450" y="2551"/>
                  </a:lnTo>
                  <a:lnTo>
                    <a:pt x="2462" y="2544"/>
                  </a:lnTo>
                  <a:lnTo>
                    <a:pt x="2483" y="2551"/>
                  </a:lnTo>
                  <a:lnTo>
                    <a:pt x="2462" y="2544"/>
                  </a:lnTo>
                  <a:lnTo>
                    <a:pt x="2462" y="2539"/>
                  </a:lnTo>
                  <a:lnTo>
                    <a:pt x="2466" y="2523"/>
                  </a:lnTo>
                  <a:lnTo>
                    <a:pt x="2483" y="2528"/>
                  </a:lnTo>
                  <a:lnTo>
                    <a:pt x="2483" y="2523"/>
                  </a:lnTo>
                  <a:lnTo>
                    <a:pt x="2466" y="2511"/>
                  </a:lnTo>
                  <a:lnTo>
                    <a:pt x="2476" y="2511"/>
                  </a:lnTo>
                  <a:lnTo>
                    <a:pt x="2433" y="2485"/>
                  </a:lnTo>
                  <a:lnTo>
                    <a:pt x="2450" y="2485"/>
                  </a:lnTo>
                  <a:lnTo>
                    <a:pt x="2466" y="2506"/>
                  </a:lnTo>
                  <a:lnTo>
                    <a:pt x="2462" y="2485"/>
                  </a:lnTo>
                  <a:lnTo>
                    <a:pt x="2499" y="2485"/>
                  </a:lnTo>
                  <a:lnTo>
                    <a:pt x="2513" y="2506"/>
                  </a:lnTo>
                  <a:lnTo>
                    <a:pt x="2521" y="2495"/>
                  </a:lnTo>
                  <a:lnTo>
                    <a:pt x="2530" y="2495"/>
                  </a:lnTo>
                  <a:lnTo>
                    <a:pt x="2537" y="2490"/>
                  </a:lnTo>
                  <a:lnTo>
                    <a:pt x="2530" y="2495"/>
                  </a:lnTo>
                  <a:lnTo>
                    <a:pt x="2521" y="2490"/>
                  </a:lnTo>
                  <a:lnTo>
                    <a:pt x="2504" y="2473"/>
                  </a:lnTo>
                  <a:lnTo>
                    <a:pt x="2537" y="2485"/>
                  </a:lnTo>
                  <a:lnTo>
                    <a:pt x="2521" y="2473"/>
                  </a:lnTo>
                  <a:lnTo>
                    <a:pt x="2504" y="2457"/>
                  </a:lnTo>
                  <a:lnTo>
                    <a:pt x="2504" y="2452"/>
                  </a:lnTo>
                  <a:lnTo>
                    <a:pt x="2504" y="2433"/>
                  </a:lnTo>
                  <a:lnTo>
                    <a:pt x="2499" y="2457"/>
                  </a:lnTo>
                  <a:lnTo>
                    <a:pt x="2488" y="2469"/>
                  </a:lnTo>
                  <a:lnTo>
                    <a:pt x="2433" y="2457"/>
                  </a:lnTo>
                  <a:lnTo>
                    <a:pt x="2445" y="2440"/>
                  </a:lnTo>
                  <a:lnTo>
                    <a:pt x="2462" y="2440"/>
                  </a:lnTo>
                  <a:lnTo>
                    <a:pt x="2466" y="2457"/>
                  </a:lnTo>
                  <a:lnTo>
                    <a:pt x="2476" y="2457"/>
                  </a:lnTo>
                  <a:lnTo>
                    <a:pt x="2466" y="2457"/>
                  </a:lnTo>
                  <a:lnTo>
                    <a:pt x="2466" y="2452"/>
                  </a:lnTo>
                  <a:lnTo>
                    <a:pt x="2483" y="2440"/>
                  </a:lnTo>
                  <a:lnTo>
                    <a:pt x="2462" y="2440"/>
                  </a:lnTo>
                  <a:lnTo>
                    <a:pt x="2445" y="2428"/>
                  </a:lnTo>
                  <a:lnTo>
                    <a:pt x="2462" y="2412"/>
                  </a:lnTo>
                  <a:lnTo>
                    <a:pt x="2476" y="2412"/>
                  </a:lnTo>
                  <a:lnTo>
                    <a:pt x="2476" y="2417"/>
                  </a:lnTo>
                  <a:lnTo>
                    <a:pt x="2476" y="2412"/>
                  </a:lnTo>
                  <a:lnTo>
                    <a:pt x="2488" y="2395"/>
                  </a:lnTo>
                  <a:lnTo>
                    <a:pt x="2476" y="2384"/>
                  </a:lnTo>
                  <a:lnTo>
                    <a:pt x="2466" y="2374"/>
                  </a:lnTo>
                  <a:lnTo>
                    <a:pt x="2445" y="2374"/>
                  </a:lnTo>
                  <a:lnTo>
                    <a:pt x="2450" y="2379"/>
                  </a:lnTo>
                  <a:lnTo>
                    <a:pt x="2412" y="2374"/>
                  </a:lnTo>
                  <a:lnTo>
                    <a:pt x="2407" y="2358"/>
                  </a:lnTo>
                  <a:lnTo>
                    <a:pt x="2424" y="2341"/>
                  </a:lnTo>
                  <a:lnTo>
                    <a:pt x="2407" y="2358"/>
                  </a:lnTo>
                  <a:lnTo>
                    <a:pt x="2369" y="2374"/>
                  </a:lnTo>
                  <a:lnTo>
                    <a:pt x="2379" y="2362"/>
                  </a:lnTo>
                  <a:lnTo>
                    <a:pt x="2391" y="2379"/>
                  </a:lnTo>
                  <a:lnTo>
                    <a:pt x="2379" y="2384"/>
                  </a:lnTo>
                  <a:lnTo>
                    <a:pt x="2374" y="2384"/>
                  </a:lnTo>
                  <a:lnTo>
                    <a:pt x="2369" y="2362"/>
                  </a:lnTo>
                  <a:lnTo>
                    <a:pt x="2369" y="2346"/>
                  </a:lnTo>
                  <a:lnTo>
                    <a:pt x="2395" y="2329"/>
                  </a:lnTo>
                  <a:lnTo>
                    <a:pt x="2395" y="2341"/>
                  </a:lnTo>
                  <a:lnTo>
                    <a:pt x="2407" y="2317"/>
                  </a:lnTo>
                  <a:lnTo>
                    <a:pt x="2428" y="2308"/>
                  </a:lnTo>
                  <a:lnTo>
                    <a:pt x="2433" y="2284"/>
                  </a:lnTo>
                  <a:lnTo>
                    <a:pt x="2462" y="2284"/>
                  </a:lnTo>
                  <a:lnTo>
                    <a:pt x="2476" y="2284"/>
                  </a:lnTo>
                  <a:lnTo>
                    <a:pt x="2483" y="2301"/>
                  </a:lnTo>
                  <a:lnTo>
                    <a:pt x="2476" y="2308"/>
                  </a:lnTo>
                  <a:lnTo>
                    <a:pt x="2483" y="2301"/>
                  </a:lnTo>
                  <a:lnTo>
                    <a:pt x="2488" y="2308"/>
                  </a:lnTo>
                  <a:lnTo>
                    <a:pt x="2462" y="2324"/>
                  </a:lnTo>
                  <a:lnTo>
                    <a:pt x="2450" y="2317"/>
                  </a:lnTo>
                  <a:lnTo>
                    <a:pt x="2462" y="2324"/>
                  </a:lnTo>
                  <a:lnTo>
                    <a:pt x="2483" y="2317"/>
                  </a:lnTo>
                  <a:lnTo>
                    <a:pt x="2499" y="2329"/>
                  </a:lnTo>
                  <a:lnTo>
                    <a:pt x="2483" y="2317"/>
                  </a:lnTo>
                  <a:lnTo>
                    <a:pt x="2488" y="2317"/>
                  </a:lnTo>
                  <a:lnTo>
                    <a:pt x="2499" y="2324"/>
                  </a:lnTo>
                  <a:lnTo>
                    <a:pt x="2483" y="2346"/>
                  </a:lnTo>
                  <a:lnTo>
                    <a:pt x="2499" y="2358"/>
                  </a:lnTo>
                  <a:lnTo>
                    <a:pt x="2521" y="2308"/>
                  </a:lnTo>
                  <a:lnTo>
                    <a:pt x="2504" y="2329"/>
                  </a:lnTo>
                  <a:lnTo>
                    <a:pt x="2504" y="2301"/>
                  </a:lnTo>
                  <a:lnTo>
                    <a:pt x="2530" y="2272"/>
                  </a:lnTo>
                  <a:lnTo>
                    <a:pt x="2542" y="2268"/>
                  </a:lnTo>
                  <a:lnTo>
                    <a:pt x="2530" y="2268"/>
                  </a:lnTo>
                  <a:lnTo>
                    <a:pt x="2513" y="2272"/>
                  </a:lnTo>
                  <a:lnTo>
                    <a:pt x="2521" y="2251"/>
                  </a:lnTo>
                  <a:lnTo>
                    <a:pt x="2537" y="2235"/>
                  </a:lnTo>
                  <a:lnTo>
                    <a:pt x="2551" y="2251"/>
                  </a:lnTo>
                  <a:lnTo>
                    <a:pt x="2568" y="2247"/>
                  </a:lnTo>
                  <a:lnTo>
                    <a:pt x="2537" y="2230"/>
                  </a:lnTo>
                  <a:lnTo>
                    <a:pt x="2521" y="2235"/>
                  </a:lnTo>
                  <a:lnTo>
                    <a:pt x="2521" y="2230"/>
                  </a:lnTo>
                  <a:lnTo>
                    <a:pt x="2537" y="2218"/>
                  </a:lnTo>
                  <a:lnTo>
                    <a:pt x="2530" y="2206"/>
                  </a:lnTo>
                  <a:lnTo>
                    <a:pt x="2568" y="2190"/>
                  </a:lnTo>
                  <a:lnTo>
                    <a:pt x="2584" y="2161"/>
                  </a:lnTo>
                  <a:lnTo>
                    <a:pt x="2584" y="2157"/>
                  </a:lnTo>
                  <a:lnTo>
                    <a:pt x="2575" y="2161"/>
                  </a:lnTo>
                  <a:lnTo>
                    <a:pt x="2537" y="2135"/>
                  </a:lnTo>
                  <a:lnTo>
                    <a:pt x="2551" y="2102"/>
                  </a:lnTo>
                  <a:lnTo>
                    <a:pt x="2568" y="2102"/>
                  </a:lnTo>
                  <a:lnTo>
                    <a:pt x="2568" y="2095"/>
                  </a:lnTo>
                  <a:lnTo>
                    <a:pt x="2551" y="2095"/>
                  </a:lnTo>
                  <a:lnTo>
                    <a:pt x="2542" y="2069"/>
                  </a:lnTo>
                  <a:lnTo>
                    <a:pt x="2551" y="2062"/>
                  </a:lnTo>
                  <a:lnTo>
                    <a:pt x="2558" y="2053"/>
                  </a:lnTo>
                  <a:lnTo>
                    <a:pt x="2568" y="2041"/>
                  </a:lnTo>
                  <a:lnTo>
                    <a:pt x="2575" y="2041"/>
                  </a:lnTo>
                  <a:lnTo>
                    <a:pt x="2568" y="1996"/>
                  </a:lnTo>
                  <a:lnTo>
                    <a:pt x="2568" y="1991"/>
                  </a:lnTo>
                  <a:lnTo>
                    <a:pt x="2589" y="1996"/>
                  </a:lnTo>
                  <a:lnTo>
                    <a:pt x="2568" y="1968"/>
                  </a:lnTo>
                  <a:lnTo>
                    <a:pt x="2584" y="1958"/>
                  </a:lnTo>
                  <a:lnTo>
                    <a:pt x="2596" y="1984"/>
                  </a:lnTo>
                  <a:lnTo>
                    <a:pt x="2589" y="1942"/>
                  </a:lnTo>
                  <a:lnTo>
                    <a:pt x="2575" y="1942"/>
                  </a:lnTo>
                  <a:lnTo>
                    <a:pt x="2568" y="1935"/>
                  </a:lnTo>
                  <a:lnTo>
                    <a:pt x="2575" y="1930"/>
                  </a:lnTo>
                  <a:lnTo>
                    <a:pt x="2596" y="1918"/>
                  </a:lnTo>
                  <a:lnTo>
                    <a:pt x="2606" y="1897"/>
                  </a:lnTo>
                  <a:lnTo>
                    <a:pt x="2596" y="1918"/>
                  </a:lnTo>
                  <a:lnTo>
                    <a:pt x="2584" y="1918"/>
                  </a:lnTo>
                  <a:lnTo>
                    <a:pt x="2558" y="1902"/>
                  </a:lnTo>
                  <a:lnTo>
                    <a:pt x="2551" y="1902"/>
                  </a:lnTo>
                  <a:lnTo>
                    <a:pt x="2551" y="1918"/>
                  </a:lnTo>
                  <a:lnTo>
                    <a:pt x="2537" y="1930"/>
                  </a:lnTo>
                  <a:lnTo>
                    <a:pt x="2504" y="1930"/>
                  </a:lnTo>
                  <a:lnTo>
                    <a:pt x="2521" y="1902"/>
                  </a:lnTo>
                  <a:lnTo>
                    <a:pt x="2504" y="1913"/>
                  </a:lnTo>
                  <a:lnTo>
                    <a:pt x="2488" y="1902"/>
                  </a:lnTo>
                  <a:lnTo>
                    <a:pt x="2483" y="1857"/>
                  </a:lnTo>
                  <a:lnTo>
                    <a:pt x="2504" y="1819"/>
                  </a:lnTo>
                  <a:lnTo>
                    <a:pt x="2504" y="1791"/>
                  </a:lnTo>
                  <a:lnTo>
                    <a:pt x="2504" y="1786"/>
                  </a:lnTo>
                  <a:lnTo>
                    <a:pt x="2504" y="1774"/>
                  </a:lnTo>
                  <a:lnTo>
                    <a:pt x="2530" y="1769"/>
                  </a:lnTo>
                  <a:lnTo>
                    <a:pt x="2537" y="1729"/>
                  </a:lnTo>
                  <a:lnTo>
                    <a:pt x="2513" y="1642"/>
                  </a:lnTo>
                  <a:lnTo>
                    <a:pt x="2521" y="1609"/>
                  </a:lnTo>
                  <a:lnTo>
                    <a:pt x="2504" y="1585"/>
                  </a:lnTo>
                  <a:lnTo>
                    <a:pt x="2513" y="1564"/>
                  </a:lnTo>
                  <a:lnTo>
                    <a:pt x="2504" y="1552"/>
                  </a:lnTo>
                  <a:lnTo>
                    <a:pt x="2513" y="1535"/>
                  </a:lnTo>
                  <a:lnTo>
                    <a:pt x="2530" y="1535"/>
                  </a:lnTo>
                  <a:lnTo>
                    <a:pt x="2542" y="1531"/>
                  </a:lnTo>
                  <a:lnTo>
                    <a:pt x="2542" y="1498"/>
                  </a:lnTo>
                  <a:lnTo>
                    <a:pt x="2551" y="1498"/>
                  </a:lnTo>
                  <a:lnTo>
                    <a:pt x="2568" y="1436"/>
                  </a:lnTo>
                  <a:lnTo>
                    <a:pt x="2584" y="1424"/>
                  </a:lnTo>
                  <a:lnTo>
                    <a:pt x="2584" y="1403"/>
                  </a:lnTo>
                  <a:lnTo>
                    <a:pt x="2606" y="1363"/>
                  </a:lnTo>
                  <a:lnTo>
                    <a:pt x="2627" y="1309"/>
                  </a:lnTo>
                  <a:lnTo>
                    <a:pt x="2622" y="1287"/>
                  </a:lnTo>
                  <a:lnTo>
                    <a:pt x="2639" y="1259"/>
                  </a:lnTo>
                  <a:lnTo>
                    <a:pt x="2651" y="1252"/>
                  </a:lnTo>
                  <a:lnTo>
                    <a:pt x="2643" y="1202"/>
                  </a:lnTo>
                  <a:lnTo>
                    <a:pt x="2651" y="1198"/>
                  </a:lnTo>
                  <a:lnTo>
                    <a:pt x="2665" y="1165"/>
                  </a:lnTo>
                  <a:lnTo>
                    <a:pt x="2665" y="1148"/>
                  </a:lnTo>
                  <a:lnTo>
                    <a:pt x="2660" y="1136"/>
                  </a:lnTo>
                  <a:lnTo>
                    <a:pt x="2660" y="1091"/>
                  </a:lnTo>
                  <a:lnTo>
                    <a:pt x="2643" y="1013"/>
                  </a:lnTo>
                  <a:lnTo>
                    <a:pt x="2643" y="980"/>
                  </a:lnTo>
                  <a:lnTo>
                    <a:pt x="2665" y="976"/>
                  </a:lnTo>
                  <a:lnTo>
                    <a:pt x="2676" y="954"/>
                  </a:lnTo>
                  <a:lnTo>
                    <a:pt x="2676" y="914"/>
                  </a:lnTo>
                  <a:lnTo>
                    <a:pt x="2660" y="898"/>
                  </a:lnTo>
                  <a:lnTo>
                    <a:pt x="2660" y="869"/>
                  </a:lnTo>
                  <a:lnTo>
                    <a:pt x="2681" y="827"/>
                  </a:lnTo>
                  <a:lnTo>
                    <a:pt x="2693" y="787"/>
                  </a:lnTo>
                  <a:lnTo>
                    <a:pt x="2698" y="770"/>
                  </a:lnTo>
                  <a:lnTo>
                    <a:pt x="2698" y="737"/>
                  </a:lnTo>
                  <a:lnTo>
                    <a:pt x="2702" y="721"/>
                  </a:lnTo>
                  <a:lnTo>
                    <a:pt x="2702" y="716"/>
                  </a:lnTo>
                  <a:lnTo>
                    <a:pt x="2719" y="666"/>
                  </a:lnTo>
                  <a:lnTo>
                    <a:pt x="2719" y="643"/>
                  </a:lnTo>
                  <a:lnTo>
                    <a:pt x="2714" y="626"/>
                  </a:lnTo>
                  <a:lnTo>
                    <a:pt x="2736" y="593"/>
                  </a:lnTo>
                  <a:lnTo>
                    <a:pt x="2719" y="548"/>
                  </a:lnTo>
                  <a:lnTo>
                    <a:pt x="2731" y="482"/>
                  </a:lnTo>
                  <a:lnTo>
                    <a:pt x="2736" y="461"/>
                  </a:lnTo>
                  <a:lnTo>
                    <a:pt x="2731" y="454"/>
                  </a:lnTo>
                  <a:lnTo>
                    <a:pt x="2719" y="454"/>
                  </a:lnTo>
                  <a:lnTo>
                    <a:pt x="2719" y="421"/>
                  </a:lnTo>
                  <a:lnTo>
                    <a:pt x="2736" y="421"/>
                  </a:lnTo>
                  <a:lnTo>
                    <a:pt x="2747" y="404"/>
                  </a:lnTo>
                  <a:lnTo>
                    <a:pt x="2752" y="317"/>
                  </a:lnTo>
                  <a:lnTo>
                    <a:pt x="2757" y="293"/>
                  </a:lnTo>
                  <a:lnTo>
                    <a:pt x="2752" y="250"/>
                  </a:lnTo>
                  <a:lnTo>
                    <a:pt x="2757" y="189"/>
                  </a:lnTo>
                  <a:lnTo>
                    <a:pt x="2747" y="104"/>
                  </a:lnTo>
                  <a:lnTo>
                    <a:pt x="2747" y="71"/>
                  </a:lnTo>
                  <a:lnTo>
                    <a:pt x="2736" y="66"/>
                  </a:lnTo>
                  <a:lnTo>
                    <a:pt x="2736" y="66"/>
                  </a:lnTo>
                  <a:lnTo>
                    <a:pt x="2736" y="66"/>
                  </a:lnTo>
                  <a:close/>
                  <a:moveTo>
                    <a:pt x="0" y="737"/>
                  </a:moveTo>
                  <a:lnTo>
                    <a:pt x="0" y="732"/>
                  </a:lnTo>
                  <a:lnTo>
                    <a:pt x="17" y="732"/>
                  </a:lnTo>
                  <a:lnTo>
                    <a:pt x="0" y="737"/>
                  </a:lnTo>
                  <a:lnTo>
                    <a:pt x="0" y="737"/>
                  </a:lnTo>
                  <a:lnTo>
                    <a:pt x="0" y="737"/>
                  </a:lnTo>
                  <a:close/>
                  <a:moveTo>
                    <a:pt x="2138" y="1252"/>
                  </a:moveTo>
                  <a:lnTo>
                    <a:pt x="2143" y="1247"/>
                  </a:lnTo>
                  <a:lnTo>
                    <a:pt x="2152" y="1247"/>
                  </a:lnTo>
                  <a:lnTo>
                    <a:pt x="2138" y="1252"/>
                  </a:lnTo>
                  <a:lnTo>
                    <a:pt x="2138" y="1252"/>
                  </a:lnTo>
                  <a:lnTo>
                    <a:pt x="2138" y="1252"/>
                  </a:lnTo>
                  <a:close/>
                  <a:moveTo>
                    <a:pt x="2513" y="2029"/>
                  </a:moveTo>
                  <a:lnTo>
                    <a:pt x="2521" y="2046"/>
                  </a:lnTo>
                  <a:lnTo>
                    <a:pt x="2499" y="2046"/>
                  </a:lnTo>
                  <a:lnTo>
                    <a:pt x="2504" y="2069"/>
                  </a:lnTo>
                  <a:lnTo>
                    <a:pt x="2462" y="2053"/>
                  </a:lnTo>
                  <a:lnTo>
                    <a:pt x="2476" y="2024"/>
                  </a:lnTo>
                  <a:lnTo>
                    <a:pt x="2476" y="1996"/>
                  </a:lnTo>
                  <a:lnTo>
                    <a:pt x="2466" y="1991"/>
                  </a:lnTo>
                  <a:lnTo>
                    <a:pt x="2476" y="1968"/>
                  </a:lnTo>
                  <a:lnTo>
                    <a:pt x="2483" y="1951"/>
                  </a:lnTo>
                  <a:lnTo>
                    <a:pt x="2483" y="1930"/>
                  </a:lnTo>
                  <a:lnTo>
                    <a:pt x="2488" y="1930"/>
                  </a:lnTo>
                  <a:lnTo>
                    <a:pt x="2483" y="1935"/>
                  </a:lnTo>
                  <a:lnTo>
                    <a:pt x="2488" y="1935"/>
                  </a:lnTo>
                  <a:lnTo>
                    <a:pt x="2504" y="1930"/>
                  </a:lnTo>
                  <a:lnTo>
                    <a:pt x="2521" y="1935"/>
                  </a:lnTo>
                  <a:lnTo>
                    <a:pt x="2521" y="1942"/>
                  </a:lnTo>
                  <a:lnTo>
                    <a:pt x="2521" y="1951"/>
                  </a:lnTo>
                  <a:lnTo>
                    <a:pt x="2521" y="1958"/>
                  </a:lnTo>
                  <a:lnTo>
                    <a:pt x="2530" y="1968"/>
                  </a:lnTo>
                  <a:lnTo>
                    <a:pt x="2530" y="1975"/>
                  </a:lnTo>
                  <a:lnTo>
                    <a:pt x="2504" y="1975"/>
                  </a:lnTo>
                  <a:lnTo>
                    <a:pt x="2513" y="1991"/>
                  </a:lnTo>
                  <a:lnTo>
                    <a:pt x="2504" y="1991"/>
                  </a:lnTo>
                  <a:lnTo>
                    <a:pt x="2499" y="1984"/>
                  </a:lnTo>
                  <a:lnTo>
                    <a:pt x="2499" y="1991"/>
                  </a:lnTo>
                  <a:lnTo>
                    <a:pt x="2499" y="1996"/>
                  </a:lnTo>
                  <a:lnTo>
                    <a:pt x="2521" y="2013"/>
                  </a:lnTo>
                  <a:lnTo>
                    <a:pt x="2521" y="2024"/>
                  </a:lnTo>
                  <a:lnTo>
                    <a:pt x="2504" y="2024"/>
                  </a:lnTo>
                  <a:lnTo>
                    <a:pt x="2513" y="2029"/>
                  </a:lnTo>
                  <a:lnTo>
                    <a:pt x="2513" y="2029"/>
                  </a:lnTo>
                  <a:lnTo>
                    <a:pt x="2513" y="2029"/>
                  </a:lnTo>
                  <a:close/>
                  <a:moveTo>
                    <a:pt x="2589" y="1958"/>
                  </a:moveTo>
                  <a:lnTo>
                    <a:pt x="2584" y="1958"/>
                  </a:lnTo>
                  <a:lnTo>
                    <a:pt x="2589" y="1951"/>
                  </a:lnTo>
                  <a:lnTo>
                    <a:pt x="2589" y="1958"/>
                  </a:lnTo>
                  <a:lnTo>
                    <a:pt x="2589" y="1958"/>
                  </a:lnTo>
                  <a:lnTo>
                    <a:pt x="2589" y="1958"/>
                  </a:lnTo>
                  <a:close/>
                  <a:moveTo>
                    <a:pt x="2542" y="1975"/>
                  </a:moveTo>
                  <a:lnTo>
                    <a:pt x="2542" y="1968"/>
                  </a:lnTo>
                  <a:lnTo>
                    <a:pt x="2551" y="1968"/>
                  </a:lnTo>
                  <a:lnTo>
                    <a:pt x="2542" y="1975"/>
                  </a:lnTo>
                  <a:lnTo>
                    <a:pt x="2542" y="1975"/>
                  </a:lnTo>
                  <a:lnTo>
                    <a:pt x="2542" y="1975"/>
                  </a:lnTo>
                  <a:close/>
                  <a:moveTo>
                    <a:pt x="2521" y="1996"/>
                  </a:moveTo>
                  <a:lnTo>
                    <a:pt x="2504" y="1984"/>
                  </a:lnTo>
                  <a:lnTo>
                    <a:pt x="2521" y="1984"/>
                  </a:lnTo>
                  <a:lnTo>
                    <a:pt x="2521" y="1996"/>
                  </a:lnTo>
                  <a:lnTo>
                    <a:pt x="2521" y="1996"/>
                  </a:lnTo>
                  <a:lnTo>
                    <a:pt x="2521" y="1996"/>
                  </a:lnTo>
                  <a:close/>
                  <a:moveTo>
                    <a:pt x="2513" y="1996"/>
                  </a:moveTo>
                  <a:lnTo>
                    <a:pt x="2504" y="1996"/>
                  </a:lnTo>
                  <a:lnTo>
                    <a:pt x="2513" y="1996"/>
                  </a:lnTo>
                  <a:lnTo>
                    <a:pt x="2513" y="1996"/>
                  </a:lnTo>
                  <a:lnTo>
                    <a:pt x="2513" y="1996"/>
                  </a:lnTo>
                  <a:close/>
                  <a:moveTo>
                    <a:pt x="2428" y="2095"/>
                  </a:moveTo>
                  <a:lnTo>
                    <a:pt x="2424" y="2086"/>
                  </a:lnTo>
                  <a:lnTo>
                    <a:pt x="2445" y="2086"/>
                  </a:lnTo>
                  <a:lnTo>
                    <a:pt x="2428" y="2095"/>
                  </a:lnTo>
                  <a:lnTo>
                    <a:pt x="2428" y="2095"/>
                  </a:lnTo>
                  <a:lnTo>
                    <a:pt x="2428" y="2095"/>
                  </a:lnTo>
                  <a:close/>
                  <a:moveTo>
                    <a:pt x="2483" y="2119"/>
                  </a:moveTo>
                  <a:lnTo>
                    <a:pt x="2476" y="2107"/>
                  </a:lnTo>
                  <a:lnTo>
                    <a:pt x="2476" y="2102"/>
                  </a:lnTo>
                  <a:lnTo>
                    <a:pt x="2499" y="2102"/>
                  </a:lnTo>
                  <a:lnTo>
                    <a:pt x="2499" y="2107"/>
                  </a:lnTo>
                  <a:lnTo>
                    <a:pt x="2488" y="2107"/>
                  </a:lnTo>
                  <a:lnTo>
                    <a:pt x="2483" y="2119"/>
                  </a:lnTo>
                  <a:lnTo>
                    <a:pt x="2483" y="2119"/>
                  </a:lnTo>
                  <a:lnTo>
                    <a:pt x="2483" y="2119"/>
                  </a:lnTo>
                  <a:close/>
                  <a:moveTo>
                    <a:pt x="2542" y="2124"/>
                  </a:moveTo>
                  <a:lnTo>
                    <a:pt x="2537" y="2119"/>
                  </a:lnTo>
                  <a:lnTo>
                    <a:pt x="2537" y="2107"/>
                  </a:lnTo>
                  <a:lnTo>
                    <a:pt x="2542" y="2107"/>
                  </a:lnTo>
                  <a:lnTo>
                    <a:pt x="2542" y="2124"/>
                  </a:lnTo>
                  <a:lnTo>
                    <a:pt x="2542" y="2124"/>
                  </a:lnTo>
                  <a:lnTo>
                    <a:pt x="2542" y="2124"/>
                  </a:lnTo>
                  <a:close/>
                  <a:moveTo>
                    <a:pt x="2504" y="2135"/>
                  </a:moveTo>
                  <a:lnTo>
                    <a:pt x="2504" y="2119"/>
                  </a:lnTo>
                  <a:lnTo>
                    <a:pt x="2513" y="2124"/>
                  </a:lnTo>
                  <a:lnTo>
                    <a:pt x="2504" y="2135"/>
                  </a:lnTo>
                  <a:lnTo>
                    <a:pt x="2504" y="2135"/>
                  </a:lnTo>
                  <a:lnTo>
                    <a:pt x="2504" y="2135"/>
                  </a:lnTo>
                  <a:close/>
                  <a:moveTo>
                    <a:pt x="2488" y="2140"/>
                  </a:moveTo>
                  <a:lnTo>
                    <a:pt x="2483" y="2135"/>
                  </a:lnTo>
                  <a:lnTo>
                    <a:pt x="2488" y="2135"/>
                  </a:lnTo>
                  <a:lnTo>
                    <a:pt x="2488" y="2140"/>
                  </a:lnTo>
                  <a:lnTo>
                    <a:pt x="2488" y="2140"/>
                  </a:lnTo>
                  <a:lnTo>
                    <a:pt x="2488" y="2140"/>
                  </a:lnTo>
                  <a:close/>
                  <a:moveTo>
                    <a:pt x="2462" y="2140"/>
                  </a:moveTo>
                  <a:lnTo>
                    <a:pt x="2462" y="2135"/>
                  </a:lnTo>
                  <a:lnTo>
                    <a:pt x="2466" y="2135"/>
                  </a:lnTo>
                  <a:lnTo>
                    <a:pt x="2462" y="2140"/>
                  </a:lnTo>
                  <a:lnTo>
                    <a:pt x="2462" y="2140"/>
                  </a:lnTo>
                  <a:lnTo>
                    <a:pt x="2462" y="2140"/>
                  </a:lnTo>
                  <a:close/>
                  <a:moveTo>
                    <a:pt x="2483" y="2152"/>
                  </a:moveTo>
                  <a:lnTo>
                    <a:pt x="2476" y="2140"/>
                  </a:lnTo>
                  <a:lnTo>
                    <a:pt x="2483" y="2135"/>
                  </a:lnTo>
                  <a:lnTo>
                    <a:pt x="2488" y="2140"/>
                  </a:lnTo>
                  <a:lnTo>
                    <a:pt x="2483" y="2152"/>
                  </a:lnTo>
                  <a:lnTo>
                    <a:pt x="2483" y="2152"/>
                  </a:lnTo>
                  <a:lnTo>
                    <a:pt x="2483" y="2152"/>
                  </a:lnTo>
                  <a:close/>
                  <a:moveTo>
                    <a:pt x="2504" y="2152"/>
                  </a:moveTo>
                  <a:lnTo>
                    <a:pt x="2499" y="2140"/>
                  </a:lnTo>
                  <a:lnTo>
                    <a:pt x="2504" y="2140"/>
                  </a:lnTo>
                  <a:lnTo>
                    <a:pt x="2504" y="2152"/>
                  </a:lnTo>
                  <a:lnTo>
                    <a:pt x="2504" y="2152"/>
                  </a:lnTo>
                  <a:lnTo>
                    <a:pt x="2504" y="2152"/>
                  </a:lnTo>
                  <a:close/>
                  <a:moveTo>
                    <a:pt x="2499" y="2152"/>
                  </a:moveTo>
                  <a:lnTo>
                    <a:pt x="2488" y="2152"/>
                  </a:lnTo>
                  <a:lnTo>
                    <a:pt x="2499" y="2140"/>
                  </a:lnTo>
                  <a:lnTo>
                    <a:pt x="2499" y="2152"/>
                  </a:lnTo>
                  <a:lnTo>
                    <a:pt x="2499" y="2152"/>
                  </a:lnTo>
                  <a:lnTo>
                    <a:pt x="2499" y="2152"/>
                  </a:lnTo>
                  <a:close/>
                  <a:moveTo>
                    <a:pt x="2537" y="2157"/>
                  </a:moveTo>
                  <a:lnTo>
                    <a:pt x="2537" y="2152"/>
                  </a:lnTo>
                  <a:lnTo>
                    <a:pt x="2542" y="2157"/>
                  </a:lnTo>
                  <a:lnTo>
                    <a:pt x="2537" y="2157"/>
                  </a:lnTo>
                  <a:lnTo>
                    <a:pt x="2537" y="2157"/>
                  </a:lnTo>
                  <a:lnTo>
                    <a:pt x="2537" y="2157"/>
                  </a:lnTo>
                  <a:close/>
                  <a:moveTo>
                    <a:pt x="2488" y="2157"/>
                  </a:moveTo>
                  <a:lnTo>
                    <a:pt x="2476" y="2152"/>
                  </a:lnTo>
                  <a:lnTo>
                    <a:pt x="2488" y="2152"/>
                  </a:lnTo>
                  <a:lnTo>
                    <a:pt x="2488" y="2157"/>
                  </a:lnTo>
                  <a:lnTo>
                    <a:pt x="2488" y="2157"/>
                  </a:lnTo>
                  <a:lnTo>
                    <a:pt x="2488" y="2157"/>
                  </a:lnTo>
                  <a:close/>
                  <a:moveTo>
                    <a:pt x="2504" y="2157"/>
                  </a:moveTo>
                  <a:lnTo>
                    <a:pt x="2499" y="2157"/>
                  </a:lnTo>
                  <a:lnTo>
                    <a:pt x="2504" y="2152"/>
                  </a:lnTo>
                  <a:lnTo>
                    <a:pt x="2504" y="2157"/>
                  </a:lnTo>
                  <a:lnTo>
                    <a:pt x="2504" y="2157"/>
                  </a:lnTo>
                  <a:lnTo>
                    <a:pt x="2504" y="2157"/>
                  </a:lnTo>
                  <a:close/>
                  <a:moveTo>
                    <a:pt x="2568" y="2190"/>
                  </a:moveTo>
                  <a:lnTo>
                    <a:pt x="2537" y="2206"/>
                  </a:lnTo>
                  <a:lnTo>
                    <a:pt x="2530" y="2197"/>
                  </a:lnTo>
                  <a:lnTo>
                    <a:pt x="2537" y="2190"/>
                  </a:lnTo>
                  <a:lnTo>
                    <a:pt x="2530" y="2190"/>
                  </a:lnTo>
                  <a:lnTo>
                    <a:pt x="2521" y="2180"/>
                  </a:lnTo>
                  <a:lnTo>
                    <a:pt x="2537" y="2173"/>
                  </a:lnTo>
                  <a:lnTo>
                    <a:pt x="2537" y="2157"/>
                  </a:lnTo>
                  <a:lnTo>
                    <a:pt x="2551" y="2157"/>
                  </a:lnTo>
                  <a:lnTo>
                    <a:pt x="2575" y="2161"/>
                  </a:lnTo>
                  <a:lnTo>
                    <a:pt x="2568" y="2180"/>
                  </a:lnTo>
                  <a:lnTo>
                    <a:pt x="2551" y="2173"/>
                  </a:lnTo>
                  <a:lnTo>
                    <a:pt x="2568" y="2180"/>
                  </a:lnTo>
                  <a:lnTo>
                    <a:pt x="2568" y="2190"/>
                  </a:lnTo>
                  <a:lnTo>
                    <a:pt x="2568" y="2190"/>
                  </a:lnTo>
                  <a:lnTo>
                    <a:pt x="2568" y="2190"/>
                  </a:lnTo>
                  <a:close/>
                  <a:moveTo>
                    <a:pt x="2488" y="2161"/>
                  </a:moveTo>
                  <a:lnTo>
                    <a:pt x="2488" y="2157"/>
                  </a:lnTo>
                  <a:lnTo>
                    <a:pt x="2499" y="2157"/>
                  </a:lnTo>
                  <a:lnTo>
                    <a:pt x="2488" y="2161"/>
                  </a:lnTo>
                  <a:lnTo>
                    <a:pt x="2488" y="2161"/>
                  </a:lnTo>
                  <a:lnTo>
                    <a:pt x="2488" y="2161"/>
                  </a:lnTo>
                  <a:close/>
                  <a:moveTo>
                    <a:pt x="2462" y="2173"/>
                  </a:moveTo>
                  <a:lnTo>
                    <a:pt x="2445" y="2161"/>
                  </a:lnTo>
                  <a:lnTo>
                    <a:pt x="2462" y="2157"/>
                  </a:lnTo>
                  <a:lnTo>
                    <a:pt x="2466" y="2161"/>
                  </a:lnTo>
                  <a:lnTo>
                    <a:pt x="2462" y="2173"/>
                  </a:lnTo>
                  <a:lnTo>
                    <a:pt x="2462" y="2173"/>
                  </a:lnTo>
                  <a:lnTo>
                    <a:pt x="2462" y="2173"/>
                  </a:lnTo>
                  <a:close/>
                  <a:moveTo>
                    <a:pt x="2483" y="2173"/>
                  </a:moveTo>
                  <a:lnTo>
                    <a:pt x="2476" y="2157"/>
                  </a:lnTo>
                  <a:lnTo>
                    <a:pt x="2488" y="2161"/>
                  </a:lnTo>
                  <a:lnTo>
                    <a:pt x="2488" y="2173"/>
                  </a:lnTo>
                  <a:lnTo>
                    <a:pt x="2483" y="2173"/>
                  </a:lnTo>
                  <a:lnTo>
                    <a:pt x="2483" y="2173"/>
                  </a:lnTo>
                  <a:lnTo>
                    <a:pt x="2483" y="2173"/>
                  </a:lnTo>
                  <a:close/>
                  <a:moveTo>
                    <a:pt x="2462" y="2173"/>
                  </a:moveTo>
                  <a:lnTo>
                    <a:pt x="2462" y="2161"/>
                  </a:lnTo>
                  <a:lnTo>
                    <a:pt x="2466" y="2161"/>
                  </a:lnTo>
                  <a:lnTo>
                    <a:pt x="2476" y="2173"/>
                  </a:lnTo>
                  <a:lnTo>
                    <a:pt x="2462" y="2173"/>
                  </a:lnTo>
                  <a:lnTo>
                    <a:pt x="2462" y="2173"/>
                  </a:lnTo>
                  <a:lnTo>
                    <a:pt x="2462" y="2173"/>
                  </a:lnTo>
                  <a:close/>
                  <a:moveTo>
                    <a:pt x="2504" y="2190"/>
                  </a:moveTo>
                  <a:lnTo>
                    <a:pt x="2499" y="2173"/>
                  </a:lnTo>
                  <a:lnTo>
                    <a:pt x="2504" y="2173"/>
                  </a:lnTo>
                  <a:lnTo>
                    <a:pt x="2513" y="2180"/>
                  </a:lnTo>
                  <a:lnTo>
                    <a:pt x="2504" y="2190"/>
                  </a:lnTo>
                  <a:lnTo>
                    <a:pt x="2504" y="2190"/>
                  </a:lnTo>
                  <a:lnTo>
                    <a:pt x="2504" y="2190"/>
                  </a:lnTo>
                  <a:close/>
                  <a:moveTo>
                    <a:pt x="2428" y="2180"/>
                  </a:moveTo>
                  <a:lnTo>
                    <a:pt x="2428" y="2173"/>
                  </a:lnTo>
                  <a:lnTo>
                    <a:pt x="2433" y="2173"/>
                  </a:lnTo>
                  <a:lnTo>
                    <a:pt x="2428" y="2180"/>
                  </a:lnTo>
                  <a:lnTo>
                    <a:pt x="2428" y="2180"/>
                  </a:lnTo>
                  <a:lnTo>
                    <a:pt x="2428" y="2180"/>
                  </a:lnTo>
                  <a:close/>
                  <a:moveTo>
                    <a:pt x="2466" y="2190"/>
                  </a:moveTo>
                  <a:lnTo>
                    <a:pt x="2462" y="2180"/>
                  </a:lnTo>
                  <a:lnTo>
                    <a:pt x="2483" y="2173"/>
                  </a:lnTo>
                  <a:lnTo>
                    <a:pt x="2488" y="2180"/>
                  </a:lnTo>
                  <a:lnTo>
                    <a:pt x="2466" y="2190"/>
                  </a:lnTo>
                  <a:lnTo>
                    <a:pt x="2466" y="2190"/>
                  </a:lnTo>
                  <a:lnTo>
                    <a:pt x="2466" y="2190"/>
                  </a:lnTo>
                  <a:close/>
                  <a:moveTo>
                    <a:pt x="2450" y="2180"/>
                  </a:moveTo>
                  <a:lnTo>
                    <a:pt x="2433" y="2180"/>
                  </a:lnTo>
                  <a:lnTo>
                    <a:pt x="2445" y="2173"/>
                  </a:lnTo>
                  <a:lnTo>
                    <a:pt x="2450" y="2180"/>
                  </a:lnTo>
                  <a:lnTo>
                    <a:pt x="2450" y="2180"/>
                  </a:lnTo>
                  <a:lnTo>
                    <a:pt x="2450" y="2180"/>
                  </a:lnTo>
                  <a:close/>
                  <a:moveTo>
                    <a:pt x="2462" y="2197"/>
                  </a:moveTo>
                  <a:lnTo>
                    <a:pt x="2445" y="2190"/>
                  </a:lnTo>
                  <a:lnTo>
                    <a:pt x="2450" y="2190"/>
                  </a:lnTo>
                  <a:lnTo>
                    <a:pt x="2462" y="2197"/>
                  </a:lnTo>
                  <a:lnTo>
                    <a:pt x="2462" y="2197"/>
                  </a:lnTo>
                  <a:lnTo>
                    <a:pt x="2462" y="2197"/>
                  </a:lnTo>
                  <a:close/>
                  <a:moveTo>
                    <a:pt x="2504" y="2197"/>
                  </a:moveTo>
                  <a:lnTo>
                    <a:pt x="2504" y="2190"/>
                  </a:lnTo>
                  <a:lnTo>
                    <a:pt x="2513" y="2190"/>
                  </a:lnTo>
                  <a:lnTo>
                    <a:pt x="2504" y="2197"/>
                  </a:lnTo>
                  <a:lnTo>
                    <a:pt x="2504" y="2197"/>
                  </a:lnTo>
                  <a:lnTo>
                    <a:pt x="2504" y="2197"/>
                  </a:lnTo>
                  <a:close/>
                  <a:moveTo>
                    <a:pt x="2499" y="2206"/>
                  </a:moveTo>
                  <a:lnTo>
                    <a:pt x="2488" y="2197"/>
                  </a:lnTo>
                  <a:lnTo>
                    <a:pt x="2488" y="2190"/>
                  </a:lnTo>
                  <a:lnTo>
                    <a:pt x="2499" y="2206"/>
                  </a:lnTo>
                  <a:lnTo>
                    <a:pt x="2499" y="2206"/>
                  </a:lnTo>
                  <a:lnTo>
                    <a:pt x="2499" y="2206"/>
                  </a:lnTo>
                  <a:close/>
                  <a:moveTo>
                    <a:pt x="2483" y="2197"/>
                  </a:moveTo>
                  <a:lnTo>
                    <a:pt x="2476" y="2197"/>
                  </a:lnTo>
                  <a:lnTo>
                    <a:pt x="2488" y="2190"/>
                  </a:lnTo>
                  <a:lnTo>
                    <a:pt x="2483" y="2197"/>
                  </a:lnTo>
                  <a:lnTo>
                    <a:pt x="2483" y="2197"/>
                  </a:lnTo>
                  <a:lnTo>
                    <a:pt x="2483" y="2197"/>
                  </a:lnTo>
                  <a:close/>
                  <a:moveTo>
                    <a:pt x="2407" y="2206"/>
                  </a:moveTo>
                  <a:lnTo>
                    <a:pt x="2407" y="2197"/>
                  </a:lnTo>
                  <a:lnTo>
                    <a:pt x="2407" y="2190"/>
                  </a:lnTo>
                  <a:lnTo>
                    <a:pt x="2412" y="2197"/>
                  </a:lnTo>
                  <a:lnTo>
                    <a:pt x="2407" y="2206"/>
                  </a:lnTo>
                  <a:lnTo>
                    <a:pt x="2407" y="2206"/>
                  </a:lnTo>
                  <a:lnTo>
                    <a:pt x="2407" y="2206"/>
                  </a:lnTo>
                  <a:close/>
                  <a:moveTo>
                    <a:pt x="2466" y="2213"/>
                  </a:moveTo>
                  <a:lnTo>
                    <a:pt x="2462" y="2213"/>
                  </a:lnTo>
                  <a:lnTo>
                    <a:pt x="2476" y="2197"/>
                  </a:lnTo>
                  <a:lnTo>
                    <a:pt x="2488" y="2206"/>
                  </a:lnTo>
                  <a:lnTo>
                    <a:pt x="2466" y="2213"/>
                  </a:lnTo>
                  <a:lnTo>
                    <a:pt x="2466" y="2213"/>
                  </a:lnTo>
                  <a:lnTo>
                    <a:pt x="2466" y="2213"/>
                  </a:lnTo>
                  <a:close/>
                  <a:moveTo>
                    <a:pt x="2504" y="2235"/>
                  </a:moveTo>
                  <a:lnTo>
                    <a:pt x="2466" y="2230"/>
                  </a:lnTo>
                  <a:lnTo>
                    <a:pt x="2466" y="2218"/>
                  </a:lnTo>
                  <a:lnTo>
                    <a:pt x="2499" y="2213"/>
                  </a:lnTo>
                  <a:lnTo>
                    <a:pt x="2504" y="2218"/>
                  </a:lnTo>
                  <a:lnTo>
                    <a:pt x="2504" y="2235"/>
                  </a:lnTo>
                  <a:lnTo>
                    <a:pt x="2504" y="2235"/>
                  </a:lnTo>
                  <a:lnTo>
                    <a:pt x="2504" y="2235"/>
                  </a:lnTo>
                  <a:close/>
                  <a:moveTo>
                    <a:pt x="2462" y="2235"/>
                  </a:moveTo>
                  <a:lnTo>
                    <a:pt x="2450" y="2230"/>
                  </a:lnTo>
                  <a:lnTo>
                    <a:pt x="2462" y="2218"/>
                  </a:lnTo>
                  <a:lnTo>
                    <a:pt x="2466" y="2230"/>
                  </a:lnTo>
                  <a:lnTo>
                    <a:pt x="2462" y="2235"/>
                  </a:lnTo>
                  <a:lnTo>
                    <a:pt x="2462" y="2235"/>
                  </a:lnTo>
                  <a:lnTo>
                    <a:pt x="2462" y="2235"/>
                  </a:lnTo>
                  <a:close/>
                  <a:moveTo>
                    <a:pt x="2483" y="2247"/>
                  </a:moveTo>
                  <a:lnTo>
                    <a:pt x="2476" y="2230"/>
                  </a:lnTo>
                  <a:lnTo>
                    <a:pt x="2483" y="2230"/>
                  </a:lnTo>
                  <a:lnTo>
                    <a:pt x="2499" y="2235"/>
                  </a:lnTo>
                  <a:lnTo>
                    <a:pt x="2483" y="2247"/>
                  </a:lnTo>
                  <a:lnTo>
                    <a:pt x="2483" y="2247"/>
                  </a:lnTo>
                  <a:lnTo>
                    <a:pt x="2483" y="2247"/>
                  </a:lnTo>
                  <a:close/>
                  <a:moveTo>
                    <a:pt x="2462" y="2247"/>
                  </a:moveTo>
                  <a:lnTo>
                    <a:pt x="2445" y="2235"/>
                  </a:lnTo>
                  <a:lnTo>
                    <a:pt x="2462" y="2235"/>
                  </a:lnTo>
                  <a:lnTo>
                    <a:pt x="2462" y="2247"/>
                  </a:lnTo>
                  <a:lnTo>
                    <a:pt x="2462" y="2247"/>
                  </a:lnTo>
                  <a:lnTo>
                    <a:pt x="2462" y="2247"/>
                  </a:lnTo>
                  <a:close/>
                  <a:moveTo>
                    <a:pt x="2488" y="2251"/>
                  </a:moveTo>
                  <a:lnTo>
                    <a:pt x="2483" y="2247"/>
                  </a:lnTo>
                  <a:lnTo>
                    <a:pt x="2499" y="2247"/>
                  </a:lnTo>
                  <a:lnTo>
                    <a:pt x="2488" y="2251"/>
                  </a:lnTo>
                  <a:lnTo>
                    <a:pt x="2488" y="2251"/>
                  </a:lnTo>
                  <a:lnTo>
                    <a:pt x="2488" y="2251"/>
                  </a:lnTo>
                  <a:close/>
                  <a:moveTo>
                    <a:pt x="2450" y="2263"/>
                  </a:moveTo>
                  <a:lnTo>
                    <a:pt x="2445" y="2263"/>
                  </a:lnTo>
                  <a:lnTo>
                    <a:pt x="2450" y="2247"/>
                  </a:lnTo>
                  <a:lnTo>
                    <a:pt x="2450" y="2263"/>
                  </a:lnTo>
                  <a:lnTo>
                    <a:pt x="2450" y="2263"/>
                  </a:lnTo>
                  <a:lnTo>
                    <a:pt x="2450" y="2263"/>
                  </a:lnTo>
                  <a:close/>
                  <a:moveTo>
                    <a:pt x="2476" y="2263"/>
                  </a:moveTo>
                  <a:lnTo>
                    <a:pt x="2483" y="2247"/>
                  </a:lnTo>
                  <a:lnTo>
                    <a:pt x="2499" y="2251"/>
                  </a:lnTo>
                  <a:lnTo>
                    <a:pt x="2499" y="2263"/>
                  </a:lnTo>
                  <a:lnTo>
                    <a:pt x="2483" y="2251"/>
                  </a:lnTo>
                  <a:lnTo>
                    <a:pt x="2476" y="2263"/>
                  </a:lnTo>
                  <a:lnTo>
                    <a:pt x="2476" y="2263"/>
                  </a:lnTo>
                  <a:lnTo>
                    <a:pt x="2476" y="2263"/>
                  </a:lnTo>
                  <a:close/>
                  <a:moveTo>
                    <a:pt x="2504" y="2272"/>
                  </a:moveTo>
                  <a:lnTo>
                    <a:pt x="2499" y="2268"/>
                  </a:lnTo>
                  <a:lnTo>
                    <a:pt x="2504" y="2251"/>
                  </a:lnTo>
                  <a:lnTo>
                    <a:pt x="2513" y="2251"/>
                  </a:lnTo>
                  <a:lnTo>
                    <a:pt x="2504" y="2272"/>
                  </a:lnTo>
                  <a:lnTo>
                    <a:pt x="2504" y="2272"/>
                  </a:lnTo>
                  <a:lnTo>
                    <a:pt x="2504" y="2272"/>
                  </a:lnTo>
                  <a:close/>
                  <a:moveTo>
                    <a:pt x="2450" y="2272"/>
                  </a:moveTo>
                  <a:lnTo>
                    <a:pt x="2450" y="2263"/>
                  </a:lnTo>
                  <a:lnTo>
                    <a:pt x="2462" y="2251"/>
                  </a:lnTo>
                  <a:lnTo>
                    <a:pt x="2466" y="2268"/>
                  </a:lnTo>
                  <a:lnTo>
                    <a:pt x="2450" y="2272"/>
                  </a:lnTo>
                  <a:lnTo>
                    <a:pt x="2450" y="2272"/>
                  </a:lnTo>
                  <a:lnTo>
                    <a:pt x="2450" y="2272"/>
                  </a:lnTo>
                  <a:close/>
                  <a:moveTo>
                    <a:pt x="2483" y="2272"/>
                  </a:moveTo>
                  <a:lnTo>
                    <a:pt x="2476" y="2263"/>
                  </a:lnTo>
                  <a:lnTo>
                    <a:pt x="2483" y="2263"/>
                  </a:lnTo>
                  <a:lnTo>
                    <a:pt x="2488" y="2268"/>
                  </a:lnTo>
                  <a:lnTo>
                    <a:pt x="2483" y="2272"/>
                  </a:lnTo>
                  <a:lnTo>
                    <a:pt x="2483" y="2272"/>
                  </a:lnTo>
                  <a:lnTo>
                    <a:pt x="2483" y="2272"/>
                  </a:lnTo>
                  <a:close/>
                  <a:moveTo>
                    <a:pt x="2433" y="2272"/>
                  </a:moveTo>
                  <a:lnTo>
                    <a:pt x="2433" y="2268"/>
                  </a:lnTo>
                  <a:lnTo>
                    <a:pt x="2445" y="2263"/>
                  </a:lnTo>
                  <a:lnTo>
                    <a:pt x="2445" y="2272"/>
                  </a:lnTo>
                  <a:lnTo>
                    <a:pt x="2433" y="2272"/>
                  </a:lnTo>
                  <a:lnTo>
                    <a:pt x="2433" y="2272"/>
                  </a:lnTo>
                  <a:lnTo>
                    <a:pt x="2433" y="2272"/>
                  </a:lnTo>
                  <a:close/>
                  <a:moveTo>
                    <a:pt x="2483" y="2289"/>
                  </a:moveTo>
                  <a:lnTo>
                    <a:pt x="2476" y="2284"/>
                  </a:lnTo>
                  <a:lnTo>
                    <a:pt x="2483" y="2272"/>
                  </a:lnTo>
                  <a:lnTo>
                    <a:pt x="2488" y="2284"/>
                  </a:lnTo>
                  <a:lnTo>
                    <a:pt x="2483" y="2289"/>
                  </a:lnTo>
                  <a:lnTo>
                    <a:pt x="2483" y="2289"/>
                  </a:lnTo>
                  <a:lnTo>
                    <a:pt x="2483" y="2289"/>
                  </a:lnTo>
                  <a:close/>
                  <a:moveTo>
                    <a:pt x="2488" y="2301"/>
                  </a:moveTo>
                  <a:lnTo>
                    <a:pt x="2488" y="2289"/>
                  </a:lnTo>
                  <a:lnTo>
                    <a:pt x="2504" y="2284"/>
                  </a:lnTo>
                  <a:lnTo>
                    <a:pt x="2504" y="2289"/>
                  </a:lnTo>
                  <a:lnTo>
                    <a:pt x="2488" y="2301"/>
                  </a:lnTo>
                  <a:lnTo>
                    <a:pt x="2488" y="2301"/>
                  </a:lnTo>
                  <a:lnTo>
                    <a:pt x="2488" y="2301"/>
                  </a:lnTo>
                  <a:close/>
                  <a:moveTo>
                    <a:pt x="2412" y="2308"/>
                  </a:moveTo>
                  <a:lnTo>
                    <a:pt x="2407" y="2301"/>
                  </a:lnTo>
                  <a:lnTo>
                    <a:pt x="2424" y="2301"/>
                  </a:lnTo>
                  <a:lnTo>
                    <a:pt x="2412" y="2301"/>
                  </a:lnTo>
                  <a:lnTo>
                    <a:pt x="2407" y="2289"/>
                  </a:lnTo>
                  <a:lnTo>
                    <a:pt x="2424" y="2289"/>
                  </a:lnTo>
                  <a:lnTo>
                    <a:pt x="2433" y="2284"/>
                  </a:lnTo>
                  <a:lnTo>
                    <a:pt x="2428" y="2301"/>
                  </a:lnTo>
                  <a:lnTo>
                    <a:pt x="2412" y="2308"/>
                  </a:lnTo>
                  <a:lnTo>
                    <a:pt x="2412" y="2308"/>
                  </a:lnTo>
                  <a:lnTo>
                    <a:pt x="2412" y="2308"/>
                  </a:lnTo>
                  <a:close/>
                  <a:moveTo>
                    <a:pt x="2504" y="2301"/>
                  </a:moveTo>
                  <a:lnTo>
                    <a:pt x="2499" y="2301"/>
                  </a:lnTo>
                  <a:lnTo>
                    <a:pt x="2499" y="2289"/>
                  </a:lnTo>
                  <a:lnTo>
                    <a:pt x="2504" y="2301"/>
                  </a:lnTo>
                  <a:lnTo>
                    <a:pt x="2504" y="2301"/>
                  </a:lnTo>
                  <a:lnTo>
                    <a:pt x="2504" y="2301"/>
                  </a:lnTo>
                  <a:close/>
                  <a:moveTo>
                    <a:pt x="2499" y="2317"/>
                  </a:moveTo>
                  <a:lnTo>
                    <a:pt x="2488" y="2301"/>
                  </a:lnTo>
                  <a:lnTo>
                    <a:pt x="2504" y="2308"/>
                  </a:lnTo>
                  <a:lnTo>
                    <a:pt x="2499" y="2317"/>
                  </a:lnTo>
                  <a:lnTo>
                    <a:pt x="2499" y="2317"/>
                  </a:lnTo>
                  <a:lnTo>
                    <a:pt x="2499" y="2317"/>
                  </a:lnTo>
                  <a:close/>
                  <a:moveTo>
                    <a:pt x="2476" y="2400"/>
                  </a:moveTo>
                  <a:lnTo>
                    <a:pt x="2476" y="2395"/>
                  </a:lnTo>
                  <a:lnTo>
                    <a:pt x="2488" y="2395"/>
                  </a:lnTo>
                  <a:lnTo>
                    <a:pt x="2476" y="2400"/>
                  </a:lnTo>
                  <a:lnTo>
                    <a:pt x="2476" y="2400"/>
                  </a:lnTo>
                  <a:lnTo>
                    <a:pt x="2476" y="2400"/>
                  </a:lnTo>
                  <a:close/>
                  <a:moveTo>
                    <a:pt x="2450" y="2400"/>
                  </a:moveTo>
                  <a:lnTo>
                    <a:pt x="2450" y="2395"/>
                  </a:lnTo>
                  <a:lnTo>
                    <a:pt x="2462" y="2395"/>
                  </a:lnTo>
                  <a:lnTo>
                    <a:pt x="2450" y="2400"/>
                  </a:lnTo>
                  <a:lnTo>
                    <a:pt x="2450" y="2400"/>
                  </a:lnTo>
                  <a:lnTo>
                    <a:pt x="2450" y="2400"/>
                  </a:lnTo>
                  <a:close/>
                  <a:moveTo>
                    <a:pt x="2412" y="2457"/>
                  </a:moveTo>
                  <a:lnTo>
                    <a:pt x="2407" y="2452"/>
                  </a:lnTo>
                  <a:lnTo>
                    <a:pt x="2424" y="2457"/>
                  </a:lnTo>
                  <a:lnTo>
                    <a:pt x="2412" y="2457"/>
                  </a:lnTo>
                  <a:lnTo>
                    <a:pt x="2412" y="2457"/>
                  </a:lnTo>
                  <a:lnTo>
                    <a:pt x="2412" y="2457"/>
                  </a:lnTo>
                  <a:close/>
                  <a:moveTo>
                    <a:pt x="2407" y="2469"/>
                  </a:moveTo>
                  <a:lnTo>
                    <a:pt x="2391" y="2457"/>
                  </a:lnTo>
                  <a:lnTo>
                    <a:pt x="2407" y="2452"/>
                  </a:lnTo>
                  <a:lnTo>
                    <a:pt x="2412" y="2469"/>
                  </a:lnTo>
                  <a:lnTo>
                    <a:pt x="2407" y="2469"/>
                  </a:lnTo>
                  <a:lnTo>
                    <a:pt x="2407" y="2469"/>
                  </a:lnTo>
                  <a:lnTo>
                    <a:pt x="2407" y="2469"/>
                  </a:lnTo>
                  <a:close/>
                  <a:moveTo>
                    <a:pt x="2462" y="2485"/>
                  </a:moveTo>
                  <a:lnTo>
                    <a:pt x="2450" y="2473"/>
                  </a:lnTo>
                  <a:lnTo>
                    <a:pt x="2466" y="2469"/>
                  </a:lnTo>
                  <a:lnTo>
                    <a:pt x="2499" y="2473"/>
                  </a:lnTo>
                  <a:lnTo>
                    <a:pt x="2488" y="2473"/>
                  </a:lnTo>
                  <a:lnTo>
                    <a:pt x="2462" y="2485"/>
                  </a:lnTo>
                  <a:lnTo>
                    <a:pt x="2462" y="2485"/>
                  </a:lnTo>
                  <a:lnTo>
                    <a:pt x="2462" y="2485"/>
                  </a:lnTo>
                  <a:close/>
                  <a:moveTo>
                    <a:pt x="2424" y="2490"/>
                  </a:moveTo>
                  <a:lnTo>
                    <a:pt x="2412" y="2485"/>
                  </a:lnTo>
                  <a:lnTo>
                    <a:pt x="2395" y="2485"/>
                  </a:lnTo>
                  <a:lnTo>
                    <a:pt x="2428" y="2469"/>
                  </a:lnTo>
                  <a:lnTo>
                    <a:pt x="2428" y="2485"/>
                  </a:lnTo>
                  <a:lnTo>
                    <a:pt x="2424" y="2490"/>
                  </a:lnTo>
                  <a:lnTo>
                    <a:pt x="2424" y="2490"/>
                  </a:lnTo>
                  <a:lnTo>
                    <a:pt x="2424" y="2490"/>
                  </a:lnTo>
                  <a:close/>
                  <a:moveTo>
                    <a:pt x="2395" y="2544"/>
                  </a:moveTo>
                  <a:lnTo>
                    <a:pt x="2395" y="2539"/>
                  </a:lnTo>
                  <a:lnTo>
                    <a:pt x="2391" y="2523"/>
                  </a:lnTo>
                  <a:lnTo>
                    <a:pt x="2374" y="2523"/>
                  </a:lnTo>
                  <a:lnTo>
                    <a:pt x="2391" y="2506"/>
                  </a:lnTo>
                  <a:lnTo>
                    <a:pt x="2374" y="2511"/>
                  </a:lnTo>
                  <a:lnTo>
                    <a:pt x="2374" y="2490"/>
                  </a:lnTo>
                  <a:lnTo>
                    <a:pt x="2379" y="2485"/>
                  </a:lnTo>
                  <a:lnTo>
                    <a:pt x="2391" y="2485"/>
                  </a:lnTo>
                  <a:lnTo>
                    <a:pt x="2407" y="2528"/>
                  </a:lnTo>
                  <a:lnTo>
                    <a:pt x="2407" y="2539"/>
                  </a:lnTo>
                  <a:lnTo>
                    <a:pt x="2395" y="2544"/>
                  </a:lnTo>
                  <a:lnTo>
                    <a:pt x="2395" y="2544"/>
                  </a:lnTo>
                  <a:lnTo>
                    <a:pt x="2395" y="2544"/>
                  </a:lnTo>
                  <a:close/>
                  <a:moveTo>
                    <a:pt x="2412" y="2523"/>
                  </a:moveTo>
                  <a:lnTo>
                    <a:pt x="2395" y="2490"/>
                  </a:lnTo>
                  <a:lnTo>
                    <a:pt x="2428" y="2495"/>
                  </a:lnTo>
                  <a:lnTo>
                    <a:pt x="2428" y="2511"/>
                  </a:lnTo>
                  <a:lnTo>
                    <a:pt x="2412" y="2523"/>
                  </a:lnTo>
                  <a:lnTo>
                    <a:pt x="2412" y="2523"/>
                  </a:lnTo>
                  <a:lnTo>
                    <a:pt x="2412" y="2523"/>
                  </a:lnTo>
                  <a:close/>
                  <a:moveTo>
                    <a:pt x="2445" y="2511"/>
                  </a:moveTo>
                  <a:lnTo>
                    <a:pt x="2445" y="2506"/>
                  </a:lnTo>
                  <a:lnTo>
                    <a:pt x="2445" y="2490"/>
                  </a:lnTo>
                  <a:lnTo>
                    <a:pt x="2462" y="2506"/>
                  </a:lnTo>
                  <a:lnTo>
                    <a:pt x="2445" y="2511"/>
                  </a:lnTo>
                  <a:lnTo>
                    <a:pt x="2445" y="2511"/>
                  </a:lnTo>
                  <a:lnTo>
                    <a:pt x="2445" y="2511"/>
                  </a:lnTo>
                  <a:close/>
                  <a:moveTo>
                    <a:pt x="2445" y="2544"/>
                  </a:moveTo>
                  <a:lnTo>
                    <a:pt x="2412" y="2539"/>
                  </a:lnTo>
                  <a:lnTo>
                    <a:pt x="2412" y="2528"/>
                  </a:lnTo>
                  <a:lnTo>
                    <a:pt x="2424" y="2523"/>
                  </a:lnTo>
                  <a:lnTo>
                    <a:pt x="2433" y="2523"/>
                  </a:lnTo>
                  <a:lnTo>
                    <a:pt x="2428" y="2511"/>
                  </a:lnTo>
                  <a:lnTo>
                    <a:pt x="2433" y="2490"/>
                  </a:lnTo>
                  <a:lnTo>
                    <a:pt x="2445" y="2523"/>
                  </a:lnTo>
                  <a:lnTo>
                    <a:pt x="2445" y="2539"/>
                  </a:lnTo>
                  <a:lnTo>
                    <a:pt x="2450" y="2539"/>
                  </a:lnTo>
                  <a:lnTo>
                    <a:pt x="2445" y="2544"/>
                  </a:lnTo>
                  <a:lnTo>
                    <a:pt x="2445" y="2544"/>
                  </a:lnTo>
                  <a:lnTo>
                    <a:pt x="2445" y="2544"/>
                  </a:lnTo>
                  <a:close/>
                  <a:moveTo>
                    <a:pt x="2466" y="2523"/>
                  </a:moveTo>
                  <a:lnTo>
                    <a:pt x="2450" y="2511"/>
                  </a:lnTo>
                  <a:lnTo>
                    <a:pt x="2462" y="2506"/>
                  </a:lnTo>
                  <a:lnTo>
                    <a:pt x="2466" y="2523"/>
                  </a:lnTo>
                  <a:lnTo>
                    <a:pt x="2466" y="2523"/>
                  </a:lnTo>
                  <a:lnTo>
                    <a:pt x="2466" y="2523"/>
                  </a:lnTo>
                  <a:close/>
                  <a:moveTo>
                    <a:pt x="2483" y="2528"/>
                  </a:moveTo>
                  <a:lnTo>
                    <a:pt x="2466" y="2511"/>
                  </a:lnTo>
                  <a:lnTo>
                    <a:pt x="2483" y="2523"/>
                  </a:lnTo>
                  <a:lnTo>
                    <a:pt x="2483" y="2528"/>
                  </a:lnTo>
                  <a:lnTo>
                    <a:pt x="2483" y="2528"/>
                  </a:lnTo>
                  <a:lnTo>
                    <a:pt x="2483" y="2528"/>
                  </a:lnTo>
                  <a:close/>
                  <a:moveTo>
                    <a:pt x="2450" y="2528"/>
                  </a:moveTo>
                  <a:lnTo>
                    <a:pt x="2450" y="2523"/>
                  </a:lnTo>
                  <a:lnTo>
                    <a:pt x="2466" y="2523"/>
                  </a:lnTo>
                  <a:lnTo>
                    <a:pt x="2450" y="2528"/>
                  </a:lnTo>
                  <a:lnTo>
                    <a:pt x="2450" y="2528"/>
                  </a:lnTo>
                  <a:lnTo>
                    <a:pt x="2450" y="2528"/>
                  </a:lnTo>
                  <a:close/>
                  <a:moveTo>
                    <a:pt x="2374" y="2544"/>
                  </a:moveTo>
                  <a:lnTo>
                    <a:pt x="2379" y="2539"/>
                  </a:lnTo>
                  <a:lnTo>
                    <a:pt x="2369" y="2539"/>
                  </a:lnTo>
                  <a:lnTo>
                    <a:pt x="2374" y="2523"/>
                  </a:lnTo>
                  <a:lnTo>
                    <a:pt x="2391" y="2523"/>
                  </a:lnTo>
                  <a:lnTo>
                    <a:pt x="2391" y="2539"/>
                  </a:lnTo>
                  <a:lnTo>
                    <a:pt x="2374" y="2544"/>
                  </a:lnTo>
                  <a:lnTo>
                    <a:pt x="2374" y="2544"/>
                  </a:lnTo>
                  <a:lnTo>
                    <a:pt x="2374" y="2544"/>
                  </a:lnTo>
                  <a:close/>
                  <a:moveTo>
                    <a:pt x="2407" y="2561"/>
                  </a:moveTo>
                  <a:lnTo>
                    <a:pt x="2395" y="2551"/>
                  </a:lnTo>
                  <a:lnTo>
                    <a:pt x="2412" y="2539"/>
                  </a:lnTo>
                  <a:lnTo>
                    <a:pt x="2407" y="2561"/>
                  </a:lnTo>
                  <a:lnTo>
                    <a:pt x="2407" y="2561"/>
                  </a:lnTo>
                  <a:lnTo>
                    <a:pt x="2407" y="2561"/>
                  </a:lnTo>
                  <a:close/>
                  <a:moveTo>
                    <a:pt x="2374" y="2551"/>
                  </a:moveTo>
                  <a:lnTo>
                    <a:pt x="2369" y="2544"/>
                  </a:lnTo>
                  <a:lnTo>
                    <a:pt x="2391" y="2539"/>
                  </a:lnTo>
                  <a:lnTo>
                    <a:pt x="2395" y="2544"/>
                  </a:lnTo>
                  <a:lnTo>
                    <a:pt x="2374" y="2551"/>
                  </a:lnTo>
                  <a:lnTo>
                    <a:pt x="2374" y="2551"/>
                  </a:lnTo>
                  <a:lnTo>
                    <a:pt x="2374" y="2551"/>
                  </a:lnTo>
                  <a:close/>
                  <a:moveTo>
                    <a:pt x="2412" y="2551"/>
                  </a:moveTo>
                  <a:lnTo>
                    <a:pt x="2412" y="2539"/>
                  </a:lnTo>
                  <a:lnTo>
                    <a:pt x="2428" y="2544"/>
                  </a:lnTo>
                  <a:lnTo>
                    <a:pt x="2412" y="2551"/>
                  </a:lnTo>
                  <a:lnTo>
                    <a:pt x="2412" y="2551"/>
                  </a:lnTo>
                  <a:lnTo>
                    <a:pt x="2412" y="2551"/>
                  </a:lnTo>
                  <a:close/>
                  <a:moveTo>
                    <a:pt x="2428" y="2672"/>
                  </a:moveTo>
                  <a:lnTo>
                    <a:pt x="2424" y="2662"/>
                  </a:lnTo>
                  <a:lnTo>
                    <a:pt x="2433" y="2662"/>
                  </a:lnTo>
                  <a:lnTo>
                    <a:pt x="2433" y="2655"/>
                  </a:lnTo>
                  <a:lnTo>
                    <a:pt x="2424" y="2662"/>
                  </a:lnTo>
                  <a:lnTo>
                    <a:pt x="2424" y="2639"/>
                  </a:lnTo>
                  <a:lnTo>
                    <a:pt x="2424" y="2622"/>
                  </a:lnTo>
                  <a:lnTo>
                    <a:pt x="2433" y="2606"/>
                  </a:lnTo>
                  <a:lnTo>
                    <a:pt x="2424" y="2622"/>
                  </a:lnTo>
                  <a:lnTo>
                    <a:pt x="2412" y="2622"/>
                  </a:lnTo>
                  <a:lnTo>
                    <a:pt x="2412" y="2655"/>
                  </a:lnTo>
                  <a:lnTo>
                    <a:pt x="2407" y="2655"/>
                  </a:lnTo>
                  <a:lnTo>
                    <a:pt x="2391" y="2634"/>
                  </a:lnTo>
                  <a:lnTo>
                    <a:pt x="2395" y="2617"/>
                  </a:lnTo>
                  <a:lnTo>
                    <a:pt x="2379" y="2617"/>
                  </a:lnTo>
                  <a:lnTo>
                    <a:pt x="2379" y="2601"/>
                  </a:lnTo>
                  <a:lnTo>
                    <a:pt x="2391" y="2601"/>
                  </a:lnTo>
                  <a:lnTo>
                    <a:pt x="2407" y="2617"/>
                  </a:lnTo>
                  <a:lnTo>
                    <a:pt x="2391" y="2601"/>
                  </a:lnTo>
                  <a:lnTo>
                    <a:pt x="2407" y="2606"/>
                  </a:lnTo>
                  <a:lnTo>
                    <a:pt x="2407" y="2596"/>
                  </a:lnTo>
                  <a:lnTo>
                    <a:pt x="2424" y="2601"/>
                  </a:lnTo>
                  <a:lnTo>
                    <a:pt x="2428" y="2584"/>
                  </a:lnTo>
                  <a:lnTo>
                    <a:pt x="2412" y="2561"/>
                  </a:lnTo>
                  <a:lnTo>
                    <a:pt x="2428" y="2544"/>
                  </a:lnTo>
                  <a:lnTo>
                    <a:pt x="2450" y="2544"/>
                  </a:lnTo>
                  <a:lnTo>
                    <a:pt x="2450" y="2601"/>
                  </a:lnTo>
                  <a:lnTo>
                    <a:pt x="2445" y="2639"/>
                  </a:lnTo>
                  <a:lnTo>
                    <a:pt x="2450" y="2634"/>
                  </a:lnTo>
                  <a:lnTo>
                    <a:pt x="2462" y="2639"/>
                  </a:lnTo>
                  <a:lnTo>
                    <a:pt x="2450" y="2662"/>
                  </a:lnTo>
                  <a:lnTo>
                    <a:pt x="2428" y="2672"/>
                  </a:lnTo>
                  <a:lnTo>
                    <a:pt x="2428" y="2672"/>
                  </a:lnTo>
                  <a:lnTo>
                    <a:pt x="2428" y="2672"/>
                  </a:lnTo>
                  <a:close/>
                  <a:moveTo>
                    <a:pt x="2395" y="2568"/>
                  </a:moveTo>
                  <a:lnTo>
                    <a:pt x="2391" y="2551"/>
                  </a:lnTo>
                  <a:lnTo>
                    <a:pt x="2407" y="2561"/>
                  </a:lnTo>
                  <a:lnTo>
                    <a:pt x="2412" y="2568"/>
                  </a:lnTo>
                  <a:lnTo>
                    <a:pt x="2395" y="2568"/>
                  </a:lnTo>
                  <a:lnTo>
                    <a:pt x="2395" y="2568"/>
                  </a:lnTo>
                  <a:lnTo>
                    <a:pt x="2395" y="2568"/>
                  </a:lnTo>
                  <a:close/>
                  <a:moveTo>
                    <a:pt x="2395" y="2584"/>
                  </a:moveTo>
                  <a:lnTo>
                    <a:pt x="2391" y="2568"/>
                  </a:lnTo>
                  <a:lnTo>
                    <a:pt x="2379" y="2580"/>
                  </a:lnTo>
                  <a:lnTo>
                    <a:pt x="2369" y="2561"/>
                  </a:lnTo>
                  <a:lnTo>
                    <a:pt x="2391" y="2561"/>
                  </a:lnTo>
                  <a:lnTo>
                    <a:pt x="2395" y="2580"/>
                  </a:lnTo>
                  <a:lnTo>
                    <a:pt x="2395" y="2584"/>
                  </a:lnTo>
                  <a:lnTo>
                    <a:pt x="2395" y="2584"/>
                  </a:lnTo>
                  <a:lnTo>
                    <a:pt x="2395" y="2584"/>
                  </a:lnTo>
                  <a:close/>
                  <a:moveTo>
                    <a:pt x="2374" y="2601"/>
                  </a:moveTo>
                  <a:lnTo>
                    <a:pt x="2369" y="2596"/>
                  </a:lnTo>
                  <a:lnTo>
                    <a:pt x="2391" y="2568"/>
                  </a:lnTo>
                  <a:lnTo>
                    <a:pt x="2395" y="2584"/>
                  </a:lnTo>
                  <a:lnTo>
                    <a:pt x="2374" y="2601"/>
                  </a:lnTo>
                  <a:lnTo>
                    <a:pt x="2374" y="2601"/>
                  </a:lnTo>
                  <a:lnTo>
                    <a:pt x="2374" y="2601"/>
                  </a:lnTo>
                  <a:close/>
                  <a:moveTo>
                    <a:pt x="2424" y="2601"/>
                  </a:moveTo>
                  <a:lnTo>
                    <a:pt x="2395" y="2584"/>
                  </a:lnTo>
                  <a:lnTo>
                    <a:pt x="2407" y="2580"/>
                  </a:lnTo>
                  <a:lnTo>
                    <a:pt x="2412" y="2580"/>
                  </a:lnTo>
                  <a:lnTo>
                    <a:pt x="2424" y="2584"/>
                  </a:lnTo>
                  <a:lnTo>
                    <a:pt x="2424" y="2601"/>
                  </a:lnTo>
                  <a:lnTo>
                    <a:pt x="2424" y="2601"/>
                  </a:lnTo>
                  <a:lnTo>
                    <a:pt x="2424" y="2601"/>
                  </a:lnTo>
                  <a:close/>
                  <a:moveTo>
                    <a:pt x="2450" y="2634"/>
                  </a:moveTo>
                  <a:lnTo>
                    <a:pt x="2450" y="2617"/>
                  </a:lnTo>
                  <a:lnTo>
                    <a:pt x="2466" y="2622"/>
                  </a:lnTo>
                  <a:lnTo>
                    <a:pt x="2450" y="2634"/>
                  </a:lnTo>
                  <a:lnTo>
                    <a:pt x="2450" y="2634"/>
                  </a:lnTo>
                  <a:lnTo>
                    <a:pt x="2450" y="2634"/>
                  </a:lnTo>
                  <a:close/>
                  <a:moveTo>
                    <a:pt x="2407" y="2655"/>
                  </a:moveTo>
                  <a:lnTo>
                    <a:pt x="2379" y="2650"/>
                  </a:lnTo>
                  <a:lnTo>
                    <a:pt x="2374" y="2650"/>
                  </a:lnTo>
                  <a:lnTo>
                    <a:pt x="2374" y="2634"/>
                  </a:lnTo>
                  <a:lnTo>
                    <a:pt x="2391" y="2634"/>
                  </a:lnTo>
                  <a:lnTo>
                    <a:pt x="2407" y="2655"/>
                  </a:lnTo>
                  <a:lnTo>
                    <a:pt x="2407" y="2655"/>
                  </a:lnTo>
                  <a:lnTo>
                    <a:pt x="2407" y="2655"/>
                  </a:lnTo>
                  <a:close/>
                  <a:moveTo>
                    <a:pt x="2412" y="2695"/>
                  </a:moveTo>
                  <a:lnTo>
                    <a:pt x="2395" y="2712"/>
                  </a:lnTo>
                  <a:lnTo>
                    <a:pt x="2391" y="2707"/>
                  </a:lnTo>
                  <a:lnTo>
                    <a:pt x="2395" y="2695"/>
                  </a:lnTo>
                  <a:lnTo>
                    <a:pt x="2379" y="2707"/>
                  </a:lnTo>
                  <a:lnTo>
                    <a:pt x="2391" y="2679"/>
                  </a:lnTo>
                  <a:lnTo>
                    <a:pt x="2407" y="2688"/>
                  </a:lnTo>
                  <a:lnTo>
                    <a:pt x="2391" y="2672"/>
                  </a:lnTo>
                  <a:lnTo>
                    <a:pt x="2407" y="2672"/>
                  </a:lnTo>
                  <a:lnTo>
                    <a:pt x="2412" y="2679"/>
                  </a:lnTo>
                  <a:lnTo>
                    <a:pt x="2412" y="2688"/>
                  </a:lnTo>
                  <a:lnTo>
                    <a:pt x="2428" y="2679"/>
                  </a:lnTo>
                  <a:lnTo>
                    <a:pt x="2428" y="2688"/>
                  </a:lnTo>
                  <a:lnTo>
                    <a:pt x="2412" y="2695"/>
                  </a:lnTo>
                  <a:lnTo>
                    <a:pt x="2412" y="2695"/>
                  </a:lnTo>
                  <a:lnTo>
                    <a:pt x="2412" y="2695"/>
                  </a:lnTo>
                  <a:close/>
                  <a:moveTo>
                    <a:pt x="2428" y="2712"/>
                  </a:moveTo>
                  <a:lnTo>
                    <a:pt x="2428" y="2707"/>
                  </a:lnTo>
                  <a:lnTo>
                    <a:pt x="2445" y="2707"/>
                  </a:lnTo>
                  <a:lnTo>
                    <a:pt x="2428" y="2712"/>
                  </a:lnTo>
                  <a:lnTo>
                    <a:pt x="2428" y="2712"/>
                  </a:lnTo>
                  <a:lnTo>
                    <a:pt x="2428" y="2712"/>
                  </a:lnTo>
                  <a:close/>
                  <a:moveTo>
                    <a:pt x="2466" y="2745"/>
                  </a:moveTo>
                  <a:lnTo>
                    <a:pt x="2445" y="2728"/>
                  </a:lnTo>
                  <a:lnTo>
                    <a:pt x="2450" y="2717"/>
                  </a:lnTo>
                  <a:lnTo>
                    <a:pt x="2433" y="2712"/>
                  </a:lnTo>
                  <a:lnTo>
                    <a:pt x="2445" y="2707"/>
                  </a:lnTo>
                  <a:lnTo>
                    <a:pt x="2462" y="2712"/>
                  </a:lnTo>
                  <a:lnTo>
                    <a:pt x="2476" y="2745"/>
                  </a:lnTo>
                  <a:lnTo>
                    <a:pt x="2466" y="2745"/>
                  </a:lnTo>
                  <a:lnTo>
                    <a:pt x="2466" y="2745"/>
                  </a:lnTo>
                  <a:lnTo>
                    <a:pt x="2466" y="2745"/>
                  </a:lnTo>
                  <a:close/>
                  <a:moveTo>
                    <a:pt x="2391" y="2745"/>
                  </a:moveTo>
                  <a:lnTo>
                    <a:pt x="2374" y="2728"/>
                  </a:lnTo>
                  <a:lnTo>
                    <a:pt x="2391" y="2728"/>
                  </a:lnTo>
                  <a:lnTo>
                    <a:pt x="2379" y="2712"/>
                  </a:lnTo>
                  <a:lnTo>
                    <a:pt x="2407" y="2712"/>
                  </a:lnTo>
                  <a:lnTo>
                    <a:pt x="2395" y="2717"/>
                  </a:lnTo>
                  <a:lnTo>
                    <a:pt x="2391" y="2745"/>
                  </a:lnTo>
                  <a:lnTo>
                    <a:pt x="2391" y="2745"/>
                  </a:lnTo>
                  <a:lnTo>
                    <a:pt x="2391" y="2745"/>
                  </a:lnTo>
                  <a:close/>
                  <a:moveTo>
                    <a:pt x="2433" y="2717"/>
                  </a:moveTo>
                  <a:lnTo>
                    <a:pt x="2433" y="2712"/>
                  </a:lnTo>
                  <a:lnTo>
                    <a:pt x="2445" y="2717"/>
                  </a:lnTo>
                  <a:lnTo>
                    <a:pt x="2433" y="2717"/>
                  </a:lnTo>
                  <a:lnTo>
                    <a:pt x="2433" y="2717"/>
                  </a:lnTo>
                  <a:lnTo>
                    <a:pt x="2433" y="2717"/>
                  </a:lnTo>
                  <a:close/>
                  <a:moveTo>
                    <a:pt x="2412" y="2745"/>
                  </a:moveTo>
                  <a:lnTo>
                    <a:pt x="2407" y="2733"/>
                  </a:lnTo>
                  <a:lnTo>
                    <a:pt x="2412" y="2728"/>
                  </a:lnTo>
                  <a:lnTo>
                    <a:pt x="2412" y="2745"/>
                  </a:lnTo>
                  <a:lnTo>
                    <a:pt x="2412" y="2745"/>
                  </a:lnTo>
                  <a:lnTo>
                    <a:pt x="2412" y="2745"/>
                  </a:lnTo>
                  <a:close/>
                  <a:moveTo>
                    <a:pt x="2433" y="2750"/>
                  </a:moveTo>
                  <a:lnTo>
                    <a:pt x="2424" y="2750"/>
                  </a:lnTo>
                  <a:lnTo>
                    <a:pt x="2424" y="2733"/>
                  </a:lnTo>
                  <a:lnTo>
                    <a:pt x="2428" y="2733"/>
                  </a:lnTo>
                  <a:lnTo>
                    <a:pt x="2433" y="2750"/>
                  </a:lnTo>
                  <a:lnTo>
                    <a:pt x="2433" y="2750"/>
                  </a:lnTo>
                  <a:lnTo>
                    <a:pt x="2433" y="2750"/>
                  </a:lnTo>
                  <a:close/>
                  <a:moveTo>
                    <a:pt x="2433" y="2773"/>
                  </a:moveTo>
                  <a:lnTo>
                    <a:pt x="2424" y="2766"/>
                  </a:lnTo>
                  <a:lnTo>
                    <a:pt x="2424" y="2750"/>
                  </a:lnTo>
                  <a:lnTo>
                    <a:pt x="2445" y="2750"/>
                  </a:lnTo>
                  <a:lnTo>
                    <a:pt x="2433" y="2733"/>
                  </a:lnTo>
                  <a:lnTo>
                    <a:pt x="2462" y="2745"/>
                  </a:lnTo>
                  <a:lnTo>
                    <a:pt x="2462" y="2766"/>
                  </a:lnTo>
                  <a:lnTo>
                    <a:pt x="2450" y="2761"/>
                  </a:lnTo>
                  <a:lnTo>
                    <a:pt x="2433" y="2773"/>
                  </a:lnTo>
                  <a:lnTo>
                    <a:pt x="2433" y="2773"/>
                  </a:lnTo>
                  <a:lnTo>
                    <a:pt x="2433" y="2773"/>
                  </a:lnTo>
                  <a:close/>
                  <a:moveTo>
                    <a:pt x="2466" y="2783"/>
                  </a:moveTo>
                  <a:lnTo>
                    <a:pt x="2462" y="2750"/>
                  </a:lnTo>
                  <a:lnTo>
                    <a:pt x="2476" y="2783"/>
                  </a:lnTo>
                  <a:lnTo>
                    <a:pt x="2466" y="2783"/>
                  </a:lnTo>
                  <a:lnTo>
                    <a:pt x="2466" y="2783"/>
                  </a:lnTo>
                  <a:lnTo>
                    <a:pt x="2466" y="2783"/>
                  </a:lnTo>
                  <a:close/>
                  <a:moveTo>
                    <a:pt x="2450" y="2783"/>
                  </a:moveTo>
                  <a:lnTo>
                    <a:pt x="2445" y="2766"/>
                  </a:lnTo>
                  <a:lnTo>
                    <a:pt x="2450" y="2766"/>
                  </a:lnTo>
                  <a:lnTo>
                    <a:pt x="2462" y="2773"/>
                  </a:lnTo>
                  <a:lnTo>
                    <a:pt x="2450" y="2783"/>
                  </a:lnTo>
                  <a:lnTo>
                    <a:pt x="2450" y="2783"/>
                  </a:lnTo>
                  <a:lnTo>
                    <a:pt x="2450" y="2783"/>
                  </a:lnTo>
                  <a:close/>
                  <a:moveTo>
                    <a:pt x="2412" y="2773"/>
                  </a:moveTo>
                  <a:lnTo>
                    <a:pt x="2424" y="2766"/>
                  </a:lnTo>
                  <a:lnTo>
                    <a:pt x="2424" y="2773"/>
                  </a:lnTo>
                  <a:lnTo>
                    <a:pt x="2412" y="2773"/>
                  </a:lnTo>
                  <a:lnTo>
                    <a:pt x="2412" y="2773"/>
                  </a:lnTo>
                  <a:lnTo>
                    <a:pt x="2412" y="2773"/>
                  </a:lnTo>
                  <a:close/>
                  <a:moveTo>
                    <a:pt x="2412" y="2806"/>
                  </a:moveTo>
                  <a:lnTo>
                    <a:pt x="2428" y="2790"/>
                  </a:lnTo>
                  <a:lnTo>
                    <a:pt x="2424" y="2790"/>
                  </a:lnTo>
                  <a:lnTo>
                    <a:pt x="2428" y="2783"/>
                  </a:lnTo>
                  <a:lnTo>
                    <a:pt x="2445" y="2783"/>
                  </a:lnTo>
                  <a:lnTo>
                    <a:pt x="2445" y="2790"/>
                  </a:lnTo>
                  <a:lnTo>
                    <a:pt x="2445" y="2799"/>
                  </a:lnTo>
                  <a:lnTo>
                    <a:pt x="2433" y="2790"/>
                  </a:lnTo>
                  <a:lnTo>
                    <a:pt x="2412" y="2806"/>
                  </a:lnTo>
                  <a:lnTo>
                    <a:pt x="2412" y="2806"/>
                  </a:lnTo>
                  <a:lnTo>
                    <a:pt x="2412" y="2806"/>
                  </a:lnTo>
                  <a:close/>
                  <a:moveTo>
                    <a:pt x="2483" y="2799"/>
                  </a:moveTo>
                  <a:lnTo>
                    <a:pt x="2476" y="2783"/>
                  </a:lnTo>
                  <a:lnTo>
                    <a:pt x="2488" y="2783"/>
                  </a:lnTo>
                  <a:lnTo>
                    <a:pt x="2488" y="2790"/>
                  </a:lnTo>
                  <a:lnTo>
                    <a:pt x="2483" y="2799"/>
                  </a:lnTo>
                  <a:lnTo>
                    <a:pt x="2483" y="2799"/>
                  </a:lnTo>
                  <a:lnTo>
                    <a:pt x="2483" y="2799"/>
                  </a:lnTo>
                  <a:close/>
                  <a:moveTo>
                    <a:pt x="2499" y="2799"/>
                  </a:moveTo>
                  <a:lnTo>
                    <a:pt x="2488" y="2790"/>
                  </a:lnTo>
                  <a:lnTo>
                    <a:pt x="2499" y="2783"/>
                  </a:lnTo>
                  <a:lnTo>
                    <a:pt x="2499" y="2799"/>
                  </a:lnTo>
                  <a:lnTo>
                    <a:pt x="2499" y="2799"/>
                  </a:lnTo>
                  <a:lnTo>
                    <a:pt x="2499" y="2799"/>
                  </a:lnTo>
                  <a:close/>
                  <a:moveTo>
                    <a:pt x="2391" y="2823"/>
                  </a:moveTo>
                  <a:lnTo>
                    <a:pt x="2395" y="2790"/>
                  </a:lnTo>
                  <a:lnTo>
                    <a:pt x="2412" y="2790"/>
                  </a:lnTo>
                  <a:lnTo>
                    <a:pt x="2407" y="2816"/>
                  </a:lnTo>
                  <a:lnTo>
                    <a:pt x="2391" y="2823"/>
                  </a:lnTo>
                  <a:lnTo>
                    <a:pt x="2391" y="2823"/>
                  </a:lnTo>
                  <a:lnTo>
                    <a:pt x="2391" y="2823"/>
                  </a:lnTo>
                  <a:close/>
                  <a:moveTo>
                    <a:pt x="2476" y="2806"/>
                  </a:moveTo>
                  <a:lnTo>
                    <a:pt x="2466" y="2799"/>
                  </a:lnTo>
                  <a:lnTo>
                    <a:pt x="2466" y="2790"/>
                  </a:lnTo>
                  <a:lnTo>
                    <a:pt x="2476" y="2790"/>
                  </a:lnTo>
                  <a:lnTo>
                    <a:pt x="2476" y="2806"/>
                  </a:lnTo>
                  <a:lnTo>
                    <a:pt x="2476" y="2806"/>
                  </a:lnTo>
                  <a:lnTo>
                    <a:pt x="2476" y="2806"/>
                  </a:lnTo>
                  <a:close/>
                  <a:moveTo>
                    <a:pt x="2483" y="2839"/>
                  </a:moveTo>
                  <a:lnTo>
                    <a:pt x="2466" y="2828"/>
                  </a:lnTo>
                  <a:lnTo>
                    <a:pt x="2476" y="2816"/>
                  </a:lnTo>
                  <a:lnTo>
                    <a:pt x="2488" y="2828"/>
                  </a:lnTo>
                  <a:lnTo>
                    <a:pt x="2483" y="2839"/>
                  </a:lnTo>
                  <a:lnTo>
                    <a:pt x="2483" y="2839"/>
                  </a:lnTo>
                  <a:lnTo>
                    <a:pt x="2483" y="2839"/>
                  </a:lnTo>
                  <a:close/>
                  <a:moveTo>
                    <a:pt x="2412" y="2872"/>
                  </a:moveTo>
                  <a:lnTo>
                    <a:pt x="2412" y="2856"/>
                  </a:lnTo>
                  <a:lnTo>
                    <a:pt x="2424" y="2839"/>
                  </a:lnTo>
                  <a:lnTo>
                    <a:pt x="2428" y="2839"/>
                  </a:lnTo>
                  <a:lnTo>
                    <a:pt x="2424" y="2823"/>
                  </a:lnTo>
                  <a:lnTo>
                    <a:pt x="2428" y="2823"/>
                  </a:lnTo>
                  <a:lnTo>
                    <a:pt x="2428" y="2839"/>
                  </a:lnTo>
                  <a:lnTo>
                    <a:pt x="2412" y="2872"/>
                  </a:lnTo>
                  <a:lnTo>
                    <a:pt x="2412" y="2872"/>
                  </a:lnTo>
                  <a:lnTo>
                    <a:pt x="2412" y="2872"/>
                  </a:lnTo>
                  <a:close/>
                  <a:moveTo>
                    <a:pt x="2499" y="2839"/>
                  </a:moveTo>
                  <a:lnTo>
                    <a:pt x="2488" y="2823"/>
                  </a:lnTo>
                  <a:lnTo>
                    <a:pt x="2499" y="2828"/>
                  </a:lnTo>
                  <a:lnTo>
                    <a:pt x="2499" y="2839"/>
                  </a:lnTo>
                  <a:lnTo>
                    <a:pt x="2499" y="2839"/>
                  </a:lnTo>
                  <a:lnTo>
                    <a:pt x="2499" y="2839"/>
                  </a:lnTo>
                  <a:close/>
                  <a:moveTo>
                    <a:pt x="2476" y="2856"/>
                  </a:moveTo>
                  <a:lnTo>
                    <a:pt x="2462" y="2844"/>
                  </a:lnTo>
                  <a:lnTo>
                    <a:pt x="2450" y="2828"/>
                  </a:lnTo>
                  <a:lnTo>
                    <a:pt x="2476" y="2844"/>
                  </a:lnTo>
                  <a:lnTo>
                    <a:pt x="2476" y="2856"/>
                  </a:lnTo>
                  <a:lnTo>
                    <a:pt x="2476" y="2856"/>
                  </a:lnTo>
                  <a:lnTo>
                    <a:pt x="2476" y="2856"/>
                  </a:lnTo>
                  <a:close/>
                  <a:moveTo>
                    <a:pt x="2407" y="2844"/>
                  </a:moveTo>
                  <a:lnTo>
                    <a:pt x="2412" y="2828"/>
                  </a:lnTo>
                  <a:lnTo>
                    <a:pt x="2407" y="2844"/>
                  </a:lnTo>
                  <a:lnTo>
                    <a:pt x="2407" y="2844"/>
                  </a:lnTo>
                  <a:lnTo>
                    <a:pt x="2407" y="2844"/>
                  </a:lnTo>
                  <a:close/>
                  <a:moveTo>
                    <a:pt x="2424" y="2872"/>
                  </a:moveTo>
                  <a:lnTo>
                    <a:pt x="2428" y="2839"/>
                  </a:lnTo>
                  <a:lnTo>
                    <a:pt x="2445" y="2839"/>
                  </a:lnTo>
                  <a:lnTo>
                    <a:pt x="2424" y="2872"/>
                  </a:lnTo>
                  <a:lnTo>
                    <a:pt x="2424" y="2872"/>
                  </a:lnTo>
                  <a:lnTo>
                    <a:pt x="2424" y="2872"/>
                  </a:lnTo>
                  <a:close/>
                  <a:moveTo>
                    <a:pt x="2504" y="2877"/>
                  </a:moveTo>
                  <a:lnTo>
                    <a:pt x="2476" y="2856"/>
                  </a:lnTo>
                  <a:lnTo>
                    <a:pt x="2476" y="2844"/>
                  </a:lnTo>
                  <a:lnTo>
                    <a:pt x="2499" y="2861"/>
                  </a:lnTo>
                  <a:lnTo>
                    <a:pt x="2504" y="2877"/>
                  </a:lnTo>
                  <a:lnTo>
                    <a:pt x="2504" y="2877"/>
                  </a:lnTo>
                  <a:lnTo>
                    <a:pt x="2504" y="2877"/>
                  </a:lnTo>
                  <a:close/>
                  <a:moveTo>
                    <a:pt x="2428" y="2877"/>
                  </a:moveTo>
                  <a:lnTo>
                    <a:pt x="2428" y="2872"/>
                  </a:lnTo>
                  <a:lnTo>
                    <a:pt x="2445" y="2861"/>
                  </a:lnTo>
                  <a:lnTo>
                    <a:pt x="2428" y="2877"/>
                  </a:lnTo>
                  <a:lnTo>
                    <a:pt x="2428" y="2877"/>
                  </a:lnTo>
                  <a:lnTo>
                    <a:pt x="2428" y="2877"/>
                  </a:lnTo>
                  <a:close/>
                  <a:moveTo>
                    <a:pt x="2476" y="2894"/>
                  </a:moveTo>
                  <a:lnTo>
                    <a:pt x="2466" y="2877"/>
                  </a:lnTo>
                  <a:lnTo>
                    <a:pt x="2476" y="2877"/>
                  </a:lnTo>
                  <a:lnTo>
                    <a:pt x="2450" y="2872"/>
                  </a:lnTo>
                  <a:lnTo>
                    <a:pt x="2466" y="2861"/>
                  </a:lnTo>
                  <a:lnTo>
                    <a:pt x="2488" y="2884"/>
                  </a:lnTo>
                  <a:lnTo>
                    <a:pt x="2476" y="2894"/>
                  </a:lnTo>
                  <a:lnTo>
                    <a:pt x="2476" y="2894"/>
                  </a:lnTo>
                  <a:lnTo>
                    <a:pt x="2476" y="2894"/>
                  </a:lnTo>
                  <a:close/>
                  <a:moveTo>
                    <a:pt x="2499" y="2894"/>
                  </a:moveTo>
                  <a:lnTo>
                    <a:pt x="2476" y="2872"/>
                  </a:lnTo>
                  <a:lnTo>
                    <a:pt x="2499" y="2884"/>
                  </a:lnTo>
                  <a:lnTo>
                    <a:pt x="2504" y="2894"/>
                  </a:lnTo>
                  <a:lnTo>
                    <a:pt x="2499" y="2894"/>
                  </a:lnTo>
                  <a:lnTo>
                    <a:pt x="2499" y="2894"/>
                  </a:lnTo>
                  <a:lnTo>
                    <a:pt x="2499" y="2894"/>
                  </a:lnTo>
                  <a:close/>
                  <a:moveTo>
                    <a:pt x="2428" y="2884"/>
                  </a:moveTo>
                  <a:lnTo>
                    <a:pt x="2428" y="2877"/>
                  </a:lnTo>
                  <a:lnTo>
                    <a:pt x="2445" y="2877"/>
                  </a:lnTo>
                  <a:lnTo>
                    <a:pt x="2428" y="2884"/>
                  </a:lnTo>
                  <a:lnTo>
                    <a:pt x="2428" y="2884"/>
                  </a:lnTo>
                  <a:lnTo>
                    <a:pt x="2428" y="2884"/>
                  </a:lnTo>
                  <a:close/>
                  <a:moveTo>
                    <a:pt x="2488" y="2927"/>
                  </a:moveTo>
                  <a:lnTo>
                    <a:pt x="2483" y="2910"/>
                  </a:lnTo>
                  <a:lnTo>
                    <a:pt x="2504" y="2894"/>
                  </a:lnTo>
                  <a:lnTo>
                    <a:pt x="2504" y="2901"/>
                  </a:lnTo>
                  <a:lnTo>
                    <a:pt x="2504" y="2917"/>
                  </a:lnTo>
                  <a:lnTo>
                    <a:pt x="2488" y="2927"/>
                  </a:lnTo>
                  <a:lnTo>
                    <a:pt x="2488" y="2927"/>
                  </a:lnTo>
                  <a:lnTo>
                    <a:pt x="2488" y="2927"/>
                  </a:lnTo>
                  <a:close/>
                  <a:moveTo>
                    <a:pt x="2861" y="2917"/>
                  </a:moveTo>
                  <a:lnTo>
                    <a:pt x="2861" y="3132"/>
                  </a:lnTo>
                  <a:lnTo>
                    <a:pt x="2861" y="3139"/>
                  </a:lnTo>
                  <a:lnTo>
                    <a:pt x="2844" y="3132"/>
                  </a:lnTo>
                  <a:lnTo>
                    <a:pt x="2854" y="3139"/>
                  </a:lnTo>
                  <a:lnTo>
                    <a:pt x="2828" y="3149"/>
                  </a:lnTo>
                  <a:lnTo>
                    <a:pt x="2790" y="3132"/>
                  </a:lnTo>
                  <a:lnTo>
                    <a:pt x="2790" y="3123"/>
                  </a:lnTo>
                  <a:lnTo>
                    <a:pt x="2785" y="3132"/>
                  </a:lnTo>
                  <a:lnTo>
                    <a:pt x="2747" y="3139"/>
                  </a:lnTo>
                  <a:lnTo>
                    <a:pt x="2747" y="3132"/>
                  </a:lnTo>
                  <a:lnTo>
                    <a:pt x="2747" y="3123"/>
                  </a:lnTo>
                  <a:lnTo>
                    <a:pt x="2736" y="3132"/>
                  </a:lnTo>
                  <a:lnTo>
                    <a:pt x="2714" y="3139"/>
                  </a:lnTo>
                  <a:lnTo>
                    <a:pt x="2702" y="3132"/>
                  </a:lnTo>
                  <a:lnTo>
                    <a:pt x="2731" y="3116"/>
                  </a:lnTo>
                  <a:lnTo>
                    <a:pt x="2693" y="3132"/>
                  </a:lnTo>
                  <a:lnTo>
                    <a:pt x="2698" y="3116"/>
                  </a:lnTo>
                  <a:lnTo>
                    <a:pt x="2676" y="3123"/>
                  </a:lnTo>
                  <a:lnTo>
                    <a:pt x="2665" y="3106"/>
                  </a:lnTo>
                  <a:lnTo>
                    <a:pt x="2660" y="3123"/>
                  </a:lnTo>
                  <a:lnTo>
                    <a:pt x="2643" y="3116"/>
                  </a:lnTo>
                  <a:lnTo>
                    <a:pt x="2627" y="3116"/>
                  </a:lnTo>
                  <a:lnTo>
                    <a:pt x="2622" y="3099"/>
                  </a:lnTo>
                  <a:lnTo>
                    <a:pt x="2627" y="3099"/>
                  </a:lnTo>
                  <a:lnTo>
                    <a:pt x="2643" y="3106"/>
                  </a:lnTo>
                  <a:lnTo>
                    <a:pt x="2651" y="3106"/>
                  </a:lnTo>
                  <a:lnTo>
                    <a:pt x="2639" y="3095"/>
                  </a:lnTo>
                  <a:lnTo>
                    <a:pt x="2643" y="3095"/>
                  </a:lnTo>
                  <a:lnTo>
                    <a:pt x="2651" y="3099"/>
                  </a:lnTo>
                  <a:lnTo>
                    <a:pt x="2660" y="3099"/>
                  </a:lnTo>
                  <a:lnTo>
                    <a:pt x="2651" y="3095"/>
                  </a:lnTo>
                  <a:lnTo>
                    <a:pt x="2665" y="3095"/>
                  </a:lnTo>
                  <a:lnTo>
                    <a:pt x="2698" y="3099"/>
                  </a:lnTo>
                  <a:lnTo>
                    <a:pt x="2698" y="3083"/>
                  </a:lnTo>
                  <a:lnTo>
                    <a:pt x="2702" y="3083"/>
                  </a:lnTo>
                  <a:lnTo>
                    <a:pt x="2719" y="3083"/>
                  </a:lnTo>
                  <a:lnTo>
                    <a:pt x="2714" y="3106"/>
                  </a:lnTo>
                  <a:lnTo>
                    <a:pt x="2719" y="3116"/>
                  </a:lnTo>
                  <a:lnTo>
                    <a:pt x="2714" y="3106"/>
                  </a:lnTo>
                  <a:lnTo>
                    <a:pt x="2719" y="3095"/>
                  </a:lnTo>
                  <a:lnTo>
                    <a:pt x="2747" y="3106"/>
                  </a:lnTo>
                  <a:lnTo>
                    <a:pt x="2752" y="3106"/>
                  </a:lnTo>
                  <a:lnTo>
                    <a:pt x="2736" y="3095"/>
                  </a:lnTo>
                  <a:lnTo>
                    <a:pt x="2719" y="3083"/>
                  </a:lnTo>
                  <a:lnTo>
                    <a:pt x="2702" y="3078"/>
                  </a:lnTo>
                  <a:lnTo>
                    <a:pt x="2702" y="3066"/>
                  </a:lnTo>
                  <a:lnTo>
                    <a:pt x="2752" y="3095"/>
                  </a:lnTo>
                  <a:lnTo>
                    <a:pt x="2757" y="3095"/>
                  </a:lnTo>
                  <a:lnTo>
                    <a:pt x="2752" y="3083"/>
                  </a:lnTo>
                  <a:lnTo>
                    <a:pt x="2757" y="3078"/>
                  </a:lnTo>
                  <a:lnTo>
                    <a:pt x="2785" y="3106"/>
                  </a:lnTo>
                  <a:lnTo>
                    <a:pt x="2773" y="3083"/>
                  </a:lnTo>
                  <a:lnTo>
                    <a:pt x="2823" y="3099"/>
                  </a:lnTo>
                  <a:lnTo>
                    <a:pt x="2806" y="3116"/>
                  </a:lnTo>
                  <a:lnTo>
                    <a:pt x="2806" y="3123"/>
                  </a:lnTo>
                  <a:lnTo>
                    <a:pt x="2811" y="3106"/>
                  </a:lnTo>
                  <a:lnTo>
                    <a:pt x="2823" y="3106"/>
                  </a:lnTo>
                  <a:lnTo>
                    <a:pt x="2823" y="3099"/>
                  </a:lnTo>
                  <a:lnTo>
                    <a:pt x="2839" y="3095"/>
                  </a:lnTo>
                  <a:lnTo>
                    <a:pt x="2757" y="3061"/>
                  </a:lnTo>
                  <a:lnTo>
                    <a:pt x="2752" y="3038"/>
                  </a:lnTo>
                  <a:lnTo>
                    <a:pt x="2769" y="3021"/>
                  </a:lnTo>
                  <a:lnTo>
                    <a:pt x="2811" y="3005"/>
                  </a:lnTo>
                  <a:lnTo>
                    <a:pt x="2806" y="2988"/>
                  </a:lnTo>
                  <a:lnTo>
                    <a:pt x="2773" y="2988"/>
                  </a:lnTo>
                  <a:lnTo>
                    <a:pt x="2752" y="2995"/>
                  </a:lnTo>
                  <a:lnTo>
                    <a:pt x="2736" y="2988"/>
                  </a:lnTo>
                  <a:lnTo>
                    <a:pt x="2736" y="2955"/>
                  </a:lnTo>
                  <a:lnTo>
                    <a:pt x="2736" y="2950"/>
                  </a:lnTo>
                  <a:lnTo>
                    <a:pt x="2747" y="2955"/>
                  </a:lnTo>
                  <a:lnTo>
                    <a:pt x="2752" y="2955"/>
                  </a:lnTo>
                  <a:lnTo>
                    <a:pt x="2757" y="2939"/>
                  </a:lnTo>
                  <a:lnTo>
                    <a:pt x="2736" y="2934"/>
                  </a:lnTo>
                  <a:lnTo>
                    <a:pt x="2752" y="2927"/>
                  </a:lnTo>
                  <a:lnTo>
                    <a:pt x="2769" y="2934"/>
                  </a:lnTo>
                  <a:lnTo>
                    <a:pt x="2785" y="2934"/>
                  </a:lnTo>
                  <a:lnTo>
                    <a:pt x="2790" y="2910"/>
                  </a:lnTo>
                  <a:lnTo>
                    <a:pt x="2806" y="2901"/>
                  </a:lnTo>
                  <a:lnTo>
                    <a:pt x="2823" y="2927"/>
                  </a:lnTo>
                  <a:lnTo>
                    <a:pt x="2844" y="2910"/>
                  </a:lnTo>
                  <a:lnTo>
                    <a:pt x="2861" y="2917"/>
                  </a:lnTo>
                  <a:lnTo>
                    <a:pt x="2861" y="2917"/>
                  </a:lnTo>
                  <a:lnTo>
                    <a:pt x="2861" y="2917"/>
                  </a:lnTo>
                  <a:close/>
                  <a:moveTo>
                    <a:pt x="2530" y="2983"/>
                  </a:moveTo>
                  <a:lnTo>
                    <a:pt x="2551" y="2988"/>
                  </a:lnTo>
                  <a:lnTo>
                    <a:pt x="2521" y="2988"/>
                  </a:lnTo>
                  <a:lnTo>
                    <a:pt x="2488" y="2955"/>
                  </a:lnTo>
                  <a:lnTo>
                    <a:pt x="2462" y="2967"/>
                  </a:lnTo>
                  <a:lnTo>
                    <a:pt x="2433" y="2934"/>
                  </a:lnTo>
                  <a:lnTo>
                    <a:pt x="2433" y="2927"/>
                  </a:lnTo>
                  <a:lnTo>
                    <a:pt x="2462" y="2950"/>
                  </a:lnTo>
                  <a:lnTo>
                    <a:pt x="2513" y="2955"/>
                  </a:lnTo>
                  <a:lnTo>
                    <a:pt x="2521" y="2983"/>
                  </a:lnTo>
                  <a:lnTo>
                    <a:pt x="2521" y="2967"/>
                  </a:lnTo>
                  <a:lnTo>
                    <a:pt x="2537" y="2983"/>
                  </a:lnTo>
                  <a:lnTo>
                    <a:pt x="2530" y="2983"/>
                  </a:lnTo>
                  <a:lnTo>
                    <a:pt x="2530" y="2983"/>
                  </a:lnTo>
                  <a:lnTo>
                    <a:pt x="2530" y="2983"/>
                  </a:lnTo>
                  <a:close/>
                  <a:moveTo>
                    <a:pt x="2530" y="2950"/>
                  </a:moveTo>
                  <a:lnTo>
                    <a:pt x="2504" y="2939"/>
                  </a:lnTo>
                  <a:lnTo>
                    <a:pt x="2521" y="2939"/>
                  </a:lnTo>
                  <a:lnTo>
                    <a:pt x="2530" y="2950"/>
                  </a:lnTo>
                  <a:lnTo>
                    <a:pt x="2530" y="2950"/>
                  </a:lnTo>
                  <a:lnTo>
                    <a:pt x="2530" y="2950"/>
                  </a:lnTo>
                  <a:close/>
                  <a:moveTo>
                    <a:pt x="2521" y="2995"/>
                  </a:moveTo>
                  <a:lnTo>
                    <a:pt x="2530" y="3005"/>
                  </a:lnTo>
                  <a:lnTo>
                    <a:pt x="2521" y="3012"/>
                  </a:lnTo>
                  <a:lnTo>
                    <a:pt x="2499" y="2995"/>
                  </a:lnTo>
                  <a:lnTo>
                    <a:pt x="2513" y="2995"/>
                  </a:lnTo>
                  <a:lnTo>
                    <a:pt x="2521" y="2995"/>
                  </a:lnTo>
                  <a:lnTo>
                    <a:pt x="2513" y="2988"/>
                  </a:lnTo>
                  <a:lnTo>
                    <a:pt x="2521" y="2995"/>
                  </a:lnTo>
                  <a:lnTo>
                    <a:pt x="2521" y="2995"/>
                  </a:lnTo>
                  <a:lnTo>
                    <a:pt x="2521" y="2995"/>
                  </a:lnTo>
                  <a:close/>
                  <a:moveTo>
                    <a:pt x="2537" y="3038"/>
                  </a:moveTo>
                  <a:lnTo>
                    <a:pt x="2537" y="3021"/>
                  </a:lnTo>
                  <a:lnTo>
                    <a:pt x="2513" y="3028"/>
                  </a:lnTo>
                  <a:lnTo>
                    <a:pt x="2521" y="3021"/>
                  </a:lnTo>
                  <a:lnTo>
                    <a:pt x="2513" y="3012"/>
                  </a:lnTo>
                  <a:lnTo>
                    <a:pt x="2521" y="3012"/>
                  </a:lnTo>
                  <a:lnTo>
                    <a:pt x="2537" y="3021"/>
                  </a:lnTo>
                  <a:lnTo>
                    <a:pt x="2558" y="3021"/>
                  </a:lnTo>
                  <a:lnTo>
                    <a:pt x="2537" y="3012"/>
                  </a:lnTo>
                  <a:lnTo>
                    <a:pt x="2521" y="2995"/>
                  </a:lnTo>
                  <a:lnTo>
                    <a:pt x="2542" y="3005"/>
                  </a:lnTo>
                  <a:lnTo>
                    <a:pt x="2542" y="2995"/>
                  </a:lnTo>
                  <a:lnTo>
                    <a:pt x="2551" y="2995"/>
                  </a:lnTo>
                  <a:lnTo>
                    <a:pt x="2558" y="2995"/>
                  </a:lnTo>
                  <a:lnTo>
                    <a:pt x="2558" y="3021"/>
                  </a:lnTo>
                  <a:lnTo>
                    <a:pt x="2568" y="2995"/>
                  </a:lnTo>
                  <a:lnTo>
                    <a:pt x="2575" y="3012"/>
                  </a:lnTo>
                  <a:lnTo>
                    <a:pt x="2589" y="3012"/>
                  </a:lnTo>
                  <a:lnTo>
                    <a:pt x="2589" y="3028"/>
                  </a:lnTo>
                  <a:lnTo>
                    <a:pt x="2596" y="3021"/>
                  </a:lnTo>
                  <a:lnTo>
                    <a:pt x="2613" y="3038"/>
                  </a:lnTo>
                  <a:lnTo>
                    <a:pt x="2596" y="3045"/>
                  </a:lnTo>
                  <a:lnTo>
                    <a:pt x="2596" y="3061"/>
                  </a:lnTo>
                  <a:lnTo>
                    <a:pt x="2568" y="3066"/>
                  </a:lnTo>
                  <a:lnTo>
                    <a:pt x="2551" y="3061"/>
                  </a:lnTo>
                  <a:lnTo>
                    <a:pt x="2568" y="3050"/>
                  </a:lnTo>
                  <a:lnTo>
                    <a:pt x="2575" y="3038"/>
                  </a:lnTo>
                  <a:lnTo>
                    <a:pt x="2551" y="3038"/>
                  </a:lnTo>
                  <a:lnTo>
                    <a:pt x="2542" y="3050"/>
                  </a:lnTo>
                  <a:lnTo>
                    <a:pt x="2537" y="3038"/>
                  </a:lnTo>
                  <a:lnTo>
                    <a:pt x="2537" y="3038"/>
                  </a:lnTo>
                  <a:lnTo>
                    <a:pt x="2537" y="3038"/>
                  </a:lnTo>
                  <a:close/>
                  <a:moveTo>
                    <a:pt x="2499" y="3012"/>
                  </a:moveTo>
                  <a:lnTo>
                    <a:pt x="2499" y="2995"/>
                  </a:lnTo>
                  <a:lnTo>
                    <a:pt x="2504" y="3005"/>
                  </a:lnTo>
                  <a:lnTo>
                    <a:pt x="2499" y="3012"/>
                  </a:lnTo>
                  <a:lnTo>
                    <a:pt x="2499" y="3012"/>
                  </a:lnTo>
                  <a:lnTo>
                    <a:pt x="2499" y="3012"/>
                  </a:lnTo>
                  <a:close/>
                  <a:moveTo>
                    <a:pt x="2731" y="3078"/>
                  </a:moveTo>
                  <a:lnTo>
                    <a:pt x="2702" y="3061"/>
                  </a:lnTo>
                  <a:lnTo>
                    <a:pt x="2698" y="3038"/>
                  </a:lnTo>
                  <a:lnTo>
                    <a:pt x="2719" y="3038"/>
                  </a:lnTo>
                  <a:lnTo>
                    <a:pt x="2714" y="3021"/>
                  </a:lnTo>
                  <a:lnTo>
                    <a:pt x="2731" y="3012"/>
                  </a:lnTo>
                  <a:lnTo>
                    <a:pt x="2736" y="3050"/>
                  </a:lnTo>
                  <a:lnTo>
                    <a:pt x="2731" y="3050"/>
                  </a:lnTo>
                  <a:lnTo>
                    <a:pt x="2719" y="3045"/>
                  </a:lnTo>
                  <a:lnTo>
                    <a:pt x="2731" y="3078"/>
                  </a:lnTo>
                  <a:lnTo>
                    <a:pt x="2731" y="3078"/>
                  </a:lnTo>
                  <a:lnTo>
                    <a:pt x="2731" y="3078"/>
                  </a:lnTo>
                  <a:close/>
                  <a:moveTo>
                    <a:pt x="2643" y="3045"/>
                  </a:moveTo>
                  <a:lnTo>
                    <a:pt x="2651" y="3061"/>
                  </a:lnTo>
                  <a:lnTo>
                    <a:pt x="2643" y="3066"/>
                  </a:lnTo>
                  <a:lnTo>
                    <a:pt x="2627" y="3050"/>
                  </a:lnTo>
                  <a:lnTo>
                    <a:pt x="2643" y="3078"/>
                  </a:lnTo>
                  <a:lnTo>
                    <a:pt x="2639" y="3083"/>
                  </a:lnTo>
                  <a:lnTo>
                    <a:pt x="2613" y="3061"/>
                  </a:lnTo>
                  <a:lnTo>
                    <a:pt x="2606" y="3045"/>
                  </a:lnTo>
                  <a:lnTo>
                    <a:pt x="2622" y="3050"/>
                  </a:lnTo>
                  <a:lnTo>
                    <a:pt x="2627" y="3038"/>
                  </a:lnTo>
                  <a:lnTo>
                    <a:pt x="2643" y="3045"/>
                  </a:lnTo>
                  <a:lnTo>
                    <a:pt x="2643" y="3045"/>
                  </a:lnTo>
                  <a:lnTo>
                    <a:pt x="2643" y="3045"/>
                  </a:lnTo>
                  <a:close/>
                  <a:moveTo>
                    <a:pt x="2676" y="3050"/>
                  </a:moveTo>
                  <a:lnTo>
                    <a:pt x="2693" y="3061"/>
                  </a:lnTo>
                  <a:lnTo>
                    <a:pt x="2698" y="3078"/>
                  </a:lnTo>
                  <a:lnTo>
                    <a:pt x="2681" y="3095"/>
                  </a:lnTo>
                  <a:lnTo>
                    <a:pt x="2665" y="3083"/>
                  </a:lnTo>
                  <a:lnTo>
                    <a:pt x="2660" y="3066"/>
                  </a:lnTo>
                  <a:lnTo>
                    <a:pt x="2665" y="3061"/>
                  </a:lnTo>
                  <a:lnTo>
                    <a:pt x="2660" y="3078"/>
                  </a:lnTo>
                  <a:lnTo>
                    <a:pt x="2643" y="3066"/>
                  </a:lnTo>
                  <a:lnTo>
                    <a:pt x="2651" y="3045"/>
                  </a:lnTo>
                  <a:lnTo>
                    <a:pt x="2676" y="3050"/>
                  </a:lnTo>
                  <a:lnTo>
                    <a:pt x="2676" y="3050"/>
                  </a:lnTo>
                  <a:lnTo>
                    <a:pt x="2676" y="3050"/>
                  </a:lnTo>
                  <a:close/>
                  <a:moveTo>
                    <a:pt x="2537" y="3066"/>
                  </a:moveTo>
                  <a:lnTo>
                    <a:pt x="2521" y="3061"/>
                  </a:lnTo>
                  <a:lnTo>
                    <a:pt x="2542" y="3061"/>
                  </a:lnTo>
                  <a:lnTo>
                    <a:pt x="2537" y="3066"/>
                  </a:lnTo>
                  <a:lnTo>
                    <a:pt x="2537" y="3066"/>
                  </a:lnTo>
                  <a:lnTo>
                    <a:pt x="2537" y="3066"/>
                  </a:lnTo>
                  <a:close/>
                  <a:moveTo>
                    <a:pt x="2606" y="3061"/>
                  </a:moveTo>
                  <a:lnTo>
                    <a:pt x="2613" y="3066"/>
                  </a:lnTo>
                  <a:lnTo>
                    <a:pt x="2606" y="3078"/>
                  </a:lnTo>
                  <a:lnTo>
                    <a:pt x="2589" y="3078"/>
                  </a:lnTo>
                  <a:lnTo>
                    <a:pt x="2606" y="3061"/>
                  </a:lnTo>
                  <a:lnTo>
                    <a:pt x="2606" y="3061"/>
                  </a:lnTo>
                  <a:lnTo>
                    <a:pt x="2606" y="3061"/>
                  </a:lnTo>
                  <a:close/>
                  <a:moveTo>
                    <a:pt x="2747" y="3078"/>
                  </a:moveTo>
                  <a:lnTo>
                    <a:pt x="2731" y="3066"/>
                  </a:lnTo>
                  <a:lnTo>
                    <a:pt x="2752" y="3078"/>
                  </a:lnTo>
                  <a:lnTo>
                    <a:pt x="2747" y="3078"/>
                  </a:lnTo>
                  <a:lnTo>
                    <a:pt x="2747" y="3078"/>
                  </a:lnTo>
                  <a:lnTo>
                    <a:pt x="2747" y="3078"/>
                  </a:lnTo>
                  <a:close/>
                  <a:moveTo>
                    <a:pt x="2589" y="3095"/>
                  </a:moveTo>
                  <a:lnTo>
                    <a:pt x="2589" y="3083"/>
                  </a:lnTo>
                  <a:lnTo>
                    <a:pt x="2606" y="3083"/>
                  </a:lnTo>
                  <a:lnTo>
                    <a:pt x="2589" y="3095"/>
                  </a:lnTo>
                  <a:lnTo>
                    <a:pt x="2589" y="3095"/>
                  </a:lnTo>
                  <a:lnTo>
                    <a:pt x="2589" y="3095"/>
                  </a:lnTo>
                  <a:close/>
                  <a:moveTo>
                    <a:pt x="2627" y="3132"/>
                  </a:moveTo>
                  <a:lnTo>
                    <a:pt x="2622" y="3116"/>
                  </a:lnTo>
                  <a:lnTo>
                    <a:pt x="2627" y="3123"/>
                  </a:lnTo>
                  <a:lnTo>
                    <a:pt x="2627" y="3132"/>
                  </a:lnTo>
                  <a:lnTo>
                    <a:pt x="2627" y="3132"/>
                  </a:lnTo>
                  <a:lnTo>
                    <a:pt x="2627" y="3132"/>
                  </a:lnTo>
                  <a:close/>
                  <a:moveTo>
                    <a:pt x="2693" y="3149"/>
                  </a:moveTo>
                  <a:lnTo>
                    <a:pt x="2660" y="3139"/>
                  </a:lnTo>
                  <a:lnTo>
                    <a:pt x="2665" y="3132"/>
                  </a:lnTo>
                  <a:lnTo>
                    <a:pt x="2698" y="3149"/>
                  </a:lnTo>
                  <a:lnTo>
                    <a:pt x="2693" y="3149"/>
                  </a:lnTo>
                  <a:lnTo>
                    <a:pt x="2693" y="3149"/>
                  </a:lnTo>
                  <a:lnTo>
                    <a:pt x="2693" y="3149"/>
                  </a:lnTo>
                  <a:close/>
                  <a:moveTo>
                    <a:pt x="2731" y="3139"/>
                  </a:moveTo>
                  <a:lnTo>
                    <a:pt x="2736" y="3139"/>
                  </a:lnTo>
                  <a:lnTo>
                    <a:pt x="2714" y="3139"/>
                  </a:lnTo>
                  <a:lnTo>
                    <a:pt x="2731" y="3139"/>
                  </a:lnTo>
                  <a:lnTo>
                    <a:pt x="2731" y="3139"/>
                  </a:lnTo>
                  <a:lnTo>
                    <a:pt x="2731" y="3139"/>
                  </a:lnTo>
                  <a:close/>
                  <a:moveTo>
                    <a:pt x="2769" y="3156"/>
                  </a:moveTo>
                  <a:lnTo>
                    <a:pt x="2769" y="3149"/>
                  </a:lnTo>
                  <a:lnTo>
                    <a:pt x="2773" y="3139"/>
                  </a:lnTo>
                  <a:lnTo>
                    <a:pt x="2823" y="3149"/>
                  </a:lnTo>
                  <a:lnTo>
                    <a:pt x="2769" y="3156"/>
                  </a:lnTo>
                  <a:lnTo>
                    <a:pt x="2769" y="3156"/>
                  </a:lnTo>
                  <a:lnTo>
                    <a:pt x="2769" y="3156"/>
                  </a:lnTo>
                  <a:close/>
                  <a:moveTo>
                    <a:pt x="2736" y="3139"/>
                  </a:moveTo>
                  <a:lnTo>
                    <a:pt x="2714" y="3156"/>
                  </a:lnTo>
                  <a:lnTo>
                    <a:pt x="2747" y="3156"/>
                  </a:lnTo>
                  <a:lnTo>
                    <a:pt x="2747" y="3161"/>
                  </a:lnTo>
                  <a:lnTo>
                    <a:pt x="2736" y="3161"/>
                  </a:lnTo>
                  <a:lnTo>
                    <a:pt x="2736" y="3172"/>
                  </a:lnTo>
                  <a:lnTo>
                    <a:pt x="2731" y="3172"/>
                  </a:lnTo>
                  <a:lnTo>
                    <a:pt x="2719" y="3161"/>
                  </a:lnTo>
                  <a:lnTo>
                    <a:pt x="2714" y="3161"/>
                  </a:lnTo>
                  <a:lnTo>
                    <a:pt x="2693" y="3156"/>
                  </a:lnTo>
                  <a:lnTo>
                    <a:pt x="2698" y="3149"/>
                  </a:lnTo>
                  <a:lnTo>
                    <a:pt x="2719" y="3149"/>
                  </a:lnTo>
                  <a:lnTo>
                    <a:pt x="2736" y="3139"/>
                  </a:lnTo>
                  <a:lnTo>
                    <a:pt x="2736" y="3139"/>
                  </a:lnTo>
                  <a:lnTo>
                    <a:pt x="2736" y="3139"/>
                  </a:lnTo>
                  <a:close/>
                  <a:moveTo>
                    <a:pt x="2899" y="3139"/>
                  </a:moveTo>
                  <a:lnTo>
                    <a:pt x="2953" y="3149"/>
                  </a:lnTo>
                  <a:lnTo>
                    <a:pt x="2967" y="3161"/>
                  </a:lnTo>
                  <a:lnTo>
                    <a:pt x="2962" y="3177"/>
                  </a:lnTo>
                  <a:lnTo>
                    <a:pt x="2946" y="3177"/>
                  </a:lnTo>
                  <a:lnTo>
                    <a:pt x="2946" y="3172"/>
                  </a:lnTo>
                  <a:lnTo>
                    <a:pt x="2936" y="3172"/>
                  </a:lnTo>
                  <a:lnTo>
                    <a:pt x="2929" y="3177"/>
                  </a:lnTo>
                  <a:lnTo>
                    <a:pt x="2915" y="3177"/>
                  </a:lnTo>
                  <a:lnTo>
                    <a:pt x="2915" y="3172"/>
                  </a:lnTo>
                  <a:lnTo>
                    <a:pt x="2899" y="3177"/>
                  </a:lnTo>
                  <a:lnTo>
                    <a:pt x="2891" y="3149"/>
                  </a:lnTo>
                  <a:lnTo>
                    <a:pt x="2877" y="3149"/>
                  </a:lnTo>
                  <a:lnTo>
                    <a:pt x="2899" y="3139"/>
                  </a:lnTo>
                  <a:lnTo>
                    <a:pt x="2899" y="3139"/>
                  </a:lnTo>
                  <a:lnTo>
                    <a:pt x="2899" y="3139"/>
                  </a:lnTo>
                  <a:close/>
                  <a:moveTo>
                    <a:pt x="2802" y="3189"/>
                  </a:moveTo>
                  <a:lnTo>
                    <a:pt x="2785" y="3177"/>
                  </a:lnTo>
                  <a:lnTo>
                    <a:pt x="2802" y="3172"/>
                  </a:lnTo>
                  <a:lnTo>
                    <a:pt x="2773" y="3177"/>
                  </a:lnTo>
                  <a:lnTo>
                    <a:pt x="2757" y="3161"/>
                  </a:lnTo>
                  <a:lnTo>
                    <a:pt x="2773" y="3156"/>
                  </a:lnTo>
                  <a:lnTo>
                    <a:pt x="2865" y="3149"/>
                  </a:lnTo>
                  <a:lnTo>
                    <a:pt x="2882" y="3156"/>
                  </a:lnTo>
                  <a:lnTo>
                    <a:pt x="2861" y="3172"/>
                  </a:lnTo>
                  <a:lnTo>
                    <a:pt x="2828" y="3156"/>
                  </a:lnTo>
                  <a:lnTo>
                    <a:pt x="2854" y="3172"/>
                  </a:lnTo>
                  <a:lnTo>
                    <a:pt x="2882" y="3172"/>
                  </a:lnTo>
                  <a:lnTo>
                    <a:pt x="2891" y="3177"/>
                  </a:lnTo>
                  <a:lnTo>
                    <a:pt x="2854" y="3177"/>
                  </a:lnTo>
                  <a:lnTo>
                    <a:pt x="2891" y="3194"/>
                  </a:lnTo>
                  <a:lnTo>
                    <a:pt x="2908" y="3210"/>
                  </a:lnTo>
                  <a:lnTo>
                    <a:pt x="2899" y="3227"/>
                  </a:lnTo>
                  <a:lnTo>
                    <a:pt x="2877" y="3206"/>
                  </a:lnTo>
                  <a:lnTo>
                    <a:pt x="2844" y="3206"/>
                  </a:lnTo>
                  <a:lnTo>
                    <a:pt x="2839" y="3194"/>
                  </a:lnTo>
                  <a:lnTo>
                    <a:pt x="2854" y="3189"/>
                  </a:lnTo>
                  <a:lnTo>
                    <a:pt x="2844" y="3189"/>
                  </a:lnTo>
                  <a:lnTo>
                    <a:pt x="2844" y="3172"/>
                  </a:lnTo>
                  <a:lnTo>
                    <a:pt x="2828" y="3177"/>
                  </a:lnTo>
                  <a:lnTo>
                    <a:pt x="2823" y="3161"/>
                  </a:lnTo>
                  <a:lnTo>
                    <a:pt x="2806" y="3172"/>
                  </a:lnTo>
                  <a:lnTo>
                    <a:pt x="2811" y="3172"/>
                  </a:lnTo>
                  <a:lnTo>
                    <a:pt x="2806" y="3177"/>
                  </a:lnTo>
                  <a:lnTo>
                    <a:pt x="2811" y="3194"/>
                  </a:lnTo>
                  <a:lnTo>
                    <a:pt x="2823" y="3194"/>
                  </a:lnTo>
                  <a:lnTo>
                    <a:pt x="2823" y="3206"/>
                  </a:lnTo>
                  <a:lnTo>
                    <a:pt x="2806" y="3206"/>
                  </a:lnTo>
                  <a:lnTo>
                    <a:pt x="2802" y="3194"/>
                  </a:lnTo>
                  <a:lnTo>
                    <a:pt x="2806" y="3189"/>
                  </a:lnTo>
                  <a:lnTo>
                    <a:pt x="2802" y="3189"/>
                  </a:lnTo>
                  <a:lnTo>
                    <a:pt x="2802" y="3189"/>
                  </a:lnTo>
                  <a:lnTo>
                    <a:pt x="2802" y="3189"/>
                  </a:lnTo>
                  <a:close/>
                  <a:moveTo>
                    <a:pt x="2979" y="3156"/>
                  </a:moveTo>
                  <a:lnTo>
                    <a:pt x="2988" y="3161"/>
                  </a:lnTo>
                  <a:lnTo>
                    <a:pt x="2967" y="3156"/>
                  </a:lnTo>
                  <a:lnTo>
                    <a:pt x="2979" y="3156"/>
                  </a:lnTo>
                  <a:lnTo>
                    <a:pt x="2979" y="3156"/>
                  </a:lnTo>
                  <a:lnTo>
                    <a:pt x="2979" y="3156"/>
                  </a:lnTo>
                  <a:close/>
                  <a:moveTo>
                    <a:pt x="3005" y="3177"/>
                  </a:moveTo>
                  <a:lnTo>
                    <a:pt x="3000" y="3172"/>
                  </a:lnTo>
                  <a:lnTo>
                    <a:pt x="3017" y="3172"/>
                  </a:lnTo>
                  <a:lnTo>
                    <a:pt x="3005" y="3177"/>
                  </a:lnTo>
                  <a:lnTo>
                    <a:pt x="3005" y="3177"/>
                  </a:lnTo>
                  <a:lnTo>
                    <a:pt x="3005" y="3177"/>
                  </a:lnTo>
                  <a:close/>
                  <a:moveTo>
                    <a:pt x="2984" y="3177"/>
                  </a:moveTo>
                  <a:lnTo>
                    <a:pt x="2984" y="3189"/>
                  </a:lnTo>
                  <a:lnTo>
                    <a:pt x="2967" y="3189"/>
                  </a:lnTo>
                  <a:lnTo>
                    <a:pt x="2979" y="3177"/>
                  </a:lnTo>
                  <a:lnTo>
                    <a:pt x="2984" y="3177"/>
                  </a:lnTo>
                  <a:lnTo>
                    <a:pt x="2984" y="3177"/>
                  </a:lnTo>
                  <a:lnTo>
                    <a:pt x="2984" y="3177"/>
                  </a:lnTo>
                  <a:close/>
                  <a:moveTo>
                    <a:pt x="2769" y="3189"/>
                  </a:moveTo>
                  <a:lnTo>
                    <a:pt x="2757" y="3177"/>
                  </a:lnTo>
                  <a:lnTo>
                    <a:pt x="2769" y="3177"/>
                  </a:lnTo>
                  <a:lnTo>
                    <a:pt x="2769" y="3189"/>
                  </a:lnTo>
                  <a:lnTo>
                    <a:pt x="2769" y="3189"/>
                  </a:lnTo>
                  <a:lnTo>
                    <a:pt x="2769" y="3189"/>
                  </a:lnTo>
                  <a:close/>
                  <a:moveTo>
                    <a:pt x="2785" y="3194"/>
                  </a:moveTo>
                  <a:lnTo>
                    <a:pt x="2785" y="3189"/>
                  </a:lnTo>
                  <a:lnTo>
                    <a:pt x="2790" y="3189"/>
                  </a:lnTo>
                  <a:lnTo>
                    <a:pt x="2785" y="3194"/>
                  </a:lnTo>
                  <a:lnTo>
                    <a:pt x="2785" y="3194"/>
                  </a:lnTo>
                  <a:lnTo>
                    <a:pt x="2785" y="3194"/>
                  </a:lnTo>
                  <a:close/>
                  <a:moveTo>
                    <a:pt x="2925" y="3210"/>
                  </a:moveTo>
                  <a:lnTo>
                    <a:pt x="2929" y="3206"/>
                  </a:lnTo>
                  <a:lnTo>
                    <a:pt x="2936" y="3206"/>
                  </a:lnTo>
                  <a:lnTo>
                    <a:pt x="2925" y="3210"/>
                  </a:lnTo>
                  <a:lnTo>
                    <a:pt x="2925" y="3210"/>
                  </a:lnTo>
                  <a:lnTo>
                    <a:pt x="2925" y="3210"/>
                  </a:lnTo>
                  <a:close/>
                  <a:moveTo>
                    <a:pt x="2953" y="3234"/>
                  </a:moveTo>
                  <a:lnTo>
                    <a:pt x="2936" y="3227"/>
                  </a:lnTo>
                  <a:lnTo>
                    <a:pt x="2936" y="3217"/>
                  </a:lnTo>
                  <a:lnTo>
                    <a:pt x="2953" y="3210"/>
                  </a:lnTo>
                  <a:lnTo>
                    <a:pt x="2962" y="3227"/>
                  </a:lnTo>
                  <a:lnTo>
                    <a:pt x="2953" y="3234"/>
                  </a:lnTo>
                  <a:lnTo>
                    <a:pt x="2953" y="3234"/>
                  </a:lnTo>
                  <a:lnTo>
                    <a:pt x="2953" y="3234"/>
                  </a:lnTo>
                  <a:close/>
                  <a:moveTo>
                    <a:pt x="2967" y="3243"/>
                  </a:moveTo>
                  <a:lnTo>
                    <a:pt x="2962" y="3243"/>
                  </a:lnTo>
                  <a:lnTo>
                    <a:pt x="2967" y="3234"/>
                  </a:lnTo>
                  <a:lnTo>
                    <a:pt x="2967" y="3243"/>
                  </a:lnTo>
                  <a:lnTo>
                    <a:pt x="2967" y="3243"/>
                  </a:lnTo>
                  <a:lnTo>
                    <a:pt x="2967" y="3243"/>
                  </a:lnTo>
                  <a:close/>
                  <a:moveTo>
                    <a:pt x="2929" y="3243"/>
                  </a:moveTo>
                  <a:lnTo>
                    <a:pt x="2915" y="3234"/>
                  </a:lnTo>
                  <a:lnTo>
                    <a:pt x="2936" y="3234"/>
                  </a:lnTo>
                  <a:lnTo>
                    <a:pt x="2929" y="3243"/>
                  </a:lnTo>
                  <a:lnTo>
                    <a:pt x="2929" y="3243"/>
                  </a:lnTo>
                  <a:lnTo>
                    <a:pt x="2929" y="3243"/>
                  </a:lnTo>
                  <a:close/>
                  <a:moveTo>
                    <a:pt x="2962" y="3243"/>
                  </a:moveTo>
                  <a:lnTo>
                    <a:pt x="2946" y="3234"/>
                  </a:lnTo>
                  <a:lnTo>
                    <a:pt x="2962" y="3234"/>
                  </a:lnTo>
                  <a:lnTo>
                    <a:pt x="2962" y="3243"/>
                  </a:lnTo>
                  <a:lnTo>
                    <a:pt x="2962" y="3243"/>
                  </a:lnTo>
                  <a:lnTo>
                    <a:pt x="2962" y="3243"/>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7" name="Freeform 416">
              <a:extLst>
                <a:ext uri="{FF2B5EF4-FFF2-40B4-BE49-F238E27FC236}">
                  <a16:creationId xmlns:a16="http://schemas.microsoft.com/office/drawing/2014/main" id="{29B0D498-F83E-49DB-B5D2-5A10AE20FA5F}"/>
                </a:ext>
              </a:extLst>
            </p:cNvPr>
            <p:cNvSpPr>
              <a:spLocks/>
            </p:cNvSpPr>
            <p:nvPr/>
          </p:nvSpPr>
          <p:spPr bwMode="gray">
            <a:xfrm>
              <a:off x="13939234" y="3804456"/>
              <a:ext cx="176413" cy="272311"/>
            </a:xfrm>
            <a:custGeom>
              <a:avLst/>
              <a:gdLst>
                <a:gd name="T0" fmla="*/ 21 w 539"/>
                <a:gd name="T1" fmla="*/ 572 h 832"/>
                <a:gd name="T2" fmla="*/ 26 w 539"/>
                <a:gd name="T3" fmla="*/ 522 h 832"/>
                <a:gd name="T4" fmla="*/ 80 w 539"/>
                <a:gd name="T5" fmla="*/ 477 h 832"/>
                <a:gd name="T6" fmla="*/ 97 w 539"/>
                <a:gd name="T7" fmla="*/ 461 h 832"/>
                <a:gd name="T8" fmla="*/ 123 w 539"/>
                <a:gd name="T9" fmla="*/ 449 h 832"/>
                <a:gd name="T10" fmla="*/ 144 w 539"/>
                <a:gd name="T11" fmla="*/ 437 h 832"/>
                <a:gd name="T12" fmla="*/ 182 w 539"/>
                <a:gd name="T13" fmla="*/ 482 h 832"/>
                <a:gd name="T14" fmla="*/ 215 w 539"/>
                <a:gd name="T15" fmla="*/ 465 h 832"/>
                <a:gd name="T16" fmla="*/ 236 w 539"/>
                <a:gd name="T17" fmla="*/ 437 h 832"/>
                <a:gd name="T18" fmla="*/ 232 w 539"/>
                <a:gd name="T19" fmla="*/ 421 h 832"/>
                <a:gd name="T20" fmla="*/ 243 w 539"/>
                <a:gd name="T21" fmla="*/ 387 h 832"/>
                <a:gd name="T22" fmla="*/ 258 w 539"/>
                <a:gd name="T23" fmla="*/ 338 h 832"/>
                <a:gd name="T24" fmla="*/ 274 w 539"/>
                <a:gd name="T25" fmla="*/ 326 h 832"/>
                <a:gd name="T26" fmla="*/ 295 w 539"/>
                <a:gd name="T27" fmla="*/ 317 h 832"/>
                <a:gd name="T28" fmla="*/ 328 w 539"/>
                <a:gd name="T29" fmla="*/ 255 h 832"/>
                <a:gd name="T30" fmla="*/ 345 w 539"/>
                <a:gd name="T31" fmla="*/ 215 h 832"/>
                <a:gd name="T32" fmla="*/ 366 w 539"/>
                <a:gd name="T33" fmla="*/ 149 h 832"/>
                <a:gd name="T34" fmla="*/ 399 w 539"/>
                <a:gd name="T35" fmla="*/ 132 h 832"/>
                <a:gd name="T36" fmla="*/ 432 w 539"/>
                <a:gd name="T37" fmla="*/ 95 h 832"/>
                <a:gd name="T38" fmla="*/ 421 w 539"/>
                <a:gd name="T39" fmla="*/ 54 h 832"/>
                <a:gd name="T40" fmla="*/ 395 w 539"/>
                <a:gd name="T41" fmla="*/ 0 h 832"/>
                <a:gd name="T42" fmla="*/ 421 w 539"/>
                <a:gd name="T43" fmla="*/ 21 h 832"/>
                <a:gd name="T44" fmla="*/ 449 w 539"/>
                <a:gd name="T45" fmla="*/ 71 h 832"/>
                <a:gd name="T46" fmla="*/ 458 w 539"/>
                <a:gd name="T47" fmla="*/ 116 h 832"/>
                <a:gd name="T48" fmla="*/ 458 w 539"/>
                <a:gd name="T49" fmla="*/ 165 h 832"/>
                <a:gd name="T50" fmla="*/ 508 w 539"/>
                <a:gd name="T51" fmla="*/ 227 h 832"/>
                <a:gd name="T52" fmla="*/ 399 w 539"/>
                <a:gd name="T53" fmla="*/ 227 h 832"/>
                <a:gd name="T54" fmla="*/ 404 w 539"/>
                <a:gd name="T55" fmla="*/ 281 h 832"/>
                <a:gd name="T56" fmla="*/ 491 w 539"/>
                <a:gd name="T57" fmla="*/ 383 h 832"/>
                <a:gd name="T58" fmla="*/ 491 w 539"/>
                <a:gd name="T59" fmla="*/ 404 h 832"/>
                <a:gd name="T60" fmla="*/ 449 w 539"/>
                <a:gd name="T61" fmla="*/ 494 h 832"/>
                <a:gd name="T62" fmla="*/ 421 w 539"/>
                <a:gd name="T63" fmla="*/ 522 h 832"/>
                <a:gd name="T64" fmla="*/ 432 w 539"/>
                <a:gd name="T65" fmla="*/ 548 h 832"/>
                <a:gd name="T66" fmla="*/ 432 w 539"/>
                <a:gd name="T67" fmla="*/ 572 h 832"/>
                <a:gd name="T68" fmla="*/ 458 w 539"/>
                <a:gd name="T69" fmla="*/ 631 h 832"/>
                <a:gd name="T70" fmla="*/ 458 w 539"/>
                <a:gd name="T71" fmla="*/ 659 h 832"/>
                <a:gd name="T72" fmla="*/ 529 w 539"/>
                <a:gd name="T73" fmla="*/ 737 h 832"/>
                <a:gd name="T74" fmla="*/ 539 w 539"/>
                <a:gd name="T75" fmla="*/ 782 h 832"/>
                <a:gd name="T76" fmla="*/ 539 w 539"/>
                <a:gd name="T77" fmla="*/ 827 h 832"/>
                <a:gd name="T78" fmla="*/ 508 w 539"/>
                <a:gd name="T79" fmla="*/ 810 h 832"/>
                <a:gd name="T80" fmla="*/ 421 w 539"/>
                <a:gd name="T81" fmla="*/ 794 h 832"/>
                <a:gd name="T82" fmla="*/ 328 w 539"/>
                <a:gd name="T83" fmla="*/ 782 h 832"/>
                <a:gd name="T84" fmla="*/ 269 w 539"/>
                <a:gd name="T85" fmla="*/ 782 h 832"/>
                <a:gd name="T86" fmla="*/ 199 w 539"/>
                <a:gd name="T87" fmla="*/ 794 h 832"/>
                <a:gd name="T88" fmla="*/ 90 w 539"/>
                <a:gd name="T89" fmla="*/ 777 h 832"/>
                <a:gd name="T90" fmla="*/ 97 w 539"/>
                <a:gd name="T91" fmla="*/ 716 h 832"/>
                <a:gd name="T92" fmla="*/ 90 w 539"/>
                <a:gd name="T93" fmla="*/ 687 h 832"/>
                <a:gd name="T94" fmla="*/ 76 w 539"/>
                <a:gd name="T95" fmla="*/ 671 h 832"/>
                <a:gd name="T96" fmla="*/ 69 w 539"/>
                <a:gd name="T97" fmla="*/ 650 h 832"/>
                <a:gd name="T98" fmla="*/ 69 w 539"/>
                <a:gd name="T99" fmla="*/ 666 h 832"/>
                <a:gd name="T100" fmla="*/ 26 w 539"/>
                <a:gd name="T101" fmla="*/ 614 h 832"/>
                <a:gd name="T102" fmla="*/ 26 w 539"/>
                <a:gd name="T103" fmla="*/ 614 h 832"/>
                <a:gd name="T104" fmla="*/ 14 w 539"/>
                <a:gd name="T105" fmla="*/ 626 h 832"/>
                <a:gd name="T106" fmla="*/ 5 w 539"/>
                <a:gd name="T107" fmla="*/ 605 h 832"/>
                <a:gd name="T108" fmla="*/ 5 w 539"/>
                <a:gd name="T109" fmla="*/ 605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9" h="832">
                  <a:moveTo>
                    <a:pt x="5" y="605"/>
                  </a:moveTo>
                  <a:lnTo>
                    <a:pt x="21" y="572"/>
                  </a:lnTo>
                  <a:lnTo>
                    <a:pt x="26" y="548"/>
                  </a:lnTo>
                  <a:lnTo>
                    <a:pt x="26" y="522"/>
                  </a:lnTo>
                  <a:lnTo>
                    <a:pt x="59" y="494"/>
                  </a:lnTo>
                  <a:lnTo>
                    <a:pt x="80" y="477"/>
                  </a:lnTo>
                  <a:lnTo>
                    <a:pt x="90" y="461"/>
                  </a:lnTo>
                  <a:lnTo>
                    <a:pt x="97" y="461"/>
                  </a:lnTo>
                  <a:lnTo>
                    <a:pt x="113" y="444"/>
                  </a:lnTo>
                  <a:lnTo>
                    <a:pt x="123" y="449"/>
                  </a:lnTo>
                  <a:lnTo>
                    <a:pt x="144" y="449"/>
                  </a:lnTo>
                  <a:lnTo>
                    <a:pt x="144" y="437"/>
                  </a:lnTo>
                  <a:lnTo>
                    <a:pt x="182" y="461"/>
                  </a:lnTo>
                  <a:lnTo>
                    <a:pt x="182" y="482"/>
                  </a:lnTo>
                  <a:lnTo>
                    <a:pt x="199" y="482"/>
                  </a:lnTo>
                  <a:lnTo>
                    <a:pt x="215" y="465"/>
                  </a:lnTo>
                  <a:lnTo>
                    <a:pt x="215" y="449"/>
                  </a:lnTo>
                  <a:lnTo>
                    <a:pt x="236" y="437"/>
                  </a:lnTo>
                  <a:lnTo>
                    <a:pt x="232" y="421"/>
                  </a:lnTo>
                  <a:lnTo>
                    <a:pt x="232" y="421"/>
                  </a:lnTo>
                  <a:lnTo>
                    <a:pt x="243" y="404"/>
                  </a:lnTo>
                  <a:lnTo>
                    <a:pt x="243" y="387"/>
                  </a:lnTo>
                  <a:lnTo>
                    <a:pt x="258" y="371"/>
                  </a:lnTo>
                  <a:lnTo>
                    <a:pt x="258" y="338"/>
                  </a:lnTo>
                  <a:lnTo>
                    <a:pt x="274" y="333"/>
                  </a:lnTo>
                  <a:lnTo>
                    <a:pt x="274" y="326"/>
                  </a:lnTo>
                  <a:lnTo>
                    <a:pt x="291" y="326"/>
                  </a:lnTo>
                  <a:lnTo>
                    <a:pt x="295" y="317"/>
                  </a:lnTo>
                  <a:lnTo>
                    <a:pt x="307" y="272"/>
                  </a:lnTo>
                  <a:lnTo>
                    <a:pt x="328" y="255"/>
                  </a:lnTo>
                  <a:lnTo>
                    <a:pt x="340" y="222"/>
                  </a:lnTo>
                  <a:lnTo>
                    <a:pt x="345" y="215"/>
                  </a:lnTo>
                  <a:lnTo>
                    <a:pt x="350" y="182"/>
                  </a:lnTo>
                  <a:lnTo>
                    <a:pt x="366" y="149"/>
                  </a:lnTo>
                  <a:lnTo>
                    <a:pt x="383" y="132"/>
                  </a:lnTo>
                  <a:lnTo>
                    <a:pt x="399" y="132"/>
                  </a:lnTo>
                  <a:lnTo>
                    <a:pt x="432" y="111"/>
                  </a:lnTo>
                  <a:lnTo>
                    <a:pt x="432" y="95"/>
                  </a:lnTo>
                  <a:lnTo>
                    <a:pt x="432" y="59"/>
                  </a:lnTo>
                  <a:lnTo>
                    <a:pt x="421" y="54"/>
                  </a:lnTo>
                  <a:lnTo>
                    <a:pt x="399" y="50"/>
                  </a:lnTo>
                  <a:lnTo>
                    <a:pt x="395" y="0"/>
                  </a:lnTo>
                  <a:lnTo>
                    <a:pt x="416" y="0"/>
                  </a:lnTo>
                  <a:lnTo>
                    <a:pt x="421" y="21"/>
                  </a:lnTo>
                  <a:lnTo>
                    <a:pt x="449" y="33"/>
                  </a:lnTo>
                  <a:lnTo>
                    <a:pt x="449" y="71"/>
                  </a:lnTo>
                  <a:lnTo>
                    <a:pt x="458" y="71"/>
                  </a:lnTo>
                  <a:lnTo>
                    <a:pt x="458" y="116"/>
                  </a:lnTo>
                  <a:lnTo>
                    <a:pt x="458" y="132"/>
                  </a:lnTo>
                  <a:lnTo>
                    <a:pt x="458" y="165"/>
                  </a:lnTo>
                  <a:lnTo>
                    <a:pt x="487" y="206"/>
                  </a:lnTo>
                  <a:lnTo>
                    <a:pt x="508" y="227"/>
                  </a:lnTo>
                  <a:lnTo>
                    <a:pt x="437" y="227"/>
                  </a:lnTo>
                  <a:lnTo>
                    <a:pt x="399" y="227"/>
                  </a:lnTo>
                  <a:lnTo>
                    <a:pt x="383" y="255"/>
                  </a:lnTo>
                  <a:lnTo>
                    <a:pt x="404" y="281"/>
                  </a:lnTo>
                  <a:lnTo>
                    <a:pt x="470" y="333"/>
                  </a:lnTo>
                  <a:lnTo>
                    <a:pt x="491" y="383"/>
                  </a:lnTo>
                  <a:lnTo>
                    <a:pt x="501" y="387"/>
                  </a:lnTo>
                  <a:lnTo>
                    <a:pt x="491" y="404"/>
                  </a:lnTo>
                  <a:lnTo>
                    <a:pt x="470" y="428"/>
                  </a:lnTo>
                  <a:lnTo>
                    <a:pt x="449" y="494"/>
                  </a:lnTo>
                  <a:lnTo>
                    <a:pt x="416" y="515"/>
                  </a:lnTo>
                  <a:lnTo>
                    <a:pt x="421" y="522"/>
                  </a:lnTo>
                  <a:lnTo>
                    <a:pt x="432" y="522"/>
                  </a:lnTo>
                  <a:lnTo>
                    <a:pt x="432" y="548"/>
                  </a:lnTo>
                  <a:lnTo>
                    <a:pt x="421" y="560"/>
                  </a:lnTo>
                  <a:lnTo>
                    <a:pt x="432" y="572"/>
                  </a:lnTo>
                  <a:lnTo>
                    <a:pt x="437" y="614"/>
                  </a:lnTo>
                  <a:lnTo>
                    <a:pt x="458" y="631"/>
                  </a:lnTo>
                  <a:lnTo>
                    <a:pt x="470" y="659"/>
                  </a:lnTo>
                  <a:lnTo>
                    <a:pt x="458" y="659"/>
                  </a:lnTo>
                  <a:lnTo>
                    <a:pt x="475" y="683"/>
                  </a:lnTo>
                  <a:lnTo>
                    <a:pt x="529" y="737"/>
                  </a:lnTo>
                  <a:lnTo>
                    <a:pt x="529" y="770"/>
                  </a:lnTo>
                  <a:lnTo>
                    <a:pt x="539" y="782"/>
                  </a:lnTo>
                  <a:lnTo>
                    <a:pt x="529" y="794"/>
                  </a:lnTo>
                  <a:lnTo>
                    <a:pt x="539" y="827"/>
                  </a:lnTo>
                  <a:lnTo>
                    <a:pt x="529" y="832"/>
                  </a:lnTo>
                  <a:lnTo>
                    <a:pt x="508" y="810"/>
                  </a:lnTo>
                  <a:lnTo>
                    <a:pt x="449" y="798"/>
                  </a:lnTo>
                  <a:lnTo>
                    <a:pt x="421" y="794"/>
                  </a:lnTo>
                  <a:lnTo>
                    <a:pt x="340" y="794"/>
                  </a:lnTo>
                  <a:lnTo>
                    <a:pt x="328" y="782"/>
                  </a:lnTo>
                  <a:lnTo>
                    <a:pt x="295" y="782"/>
                  </a:lnTo>
                  <a:lnTo>
                    <a:pt x="269" y="782"/>
                  </a:lnTo>
                  <a:lnTo>
                    <a:pt x="199" y="782"/>
                  </a:lnTo>
                  <a:lnTo>
                    <a:pt x="199" y="794"/>
                  </a:lnTo>
                  <a:lnTo>
                    <a:pt x="106" y="794"/>
                  </a:lnTo>
                  <a:lnTo>
                    <a:pt x="90" y="777"/>
                  </a:lnTo>
                  <a:lnTo>
                    <a:pt x="106" y="725"/>
                  </a:lnTo>
                  <a:lnTo>
                    <a:pt x="97" y="716"/>
                  </a:lnTo>
                  <a:lnTo>
                    <a:pt x="80" y="687"/>
                  </a:lnTo>
                  <a:lnTo>
                    <a:pt x="90" y="687"/>
                  </a:lnTo>
                  <a:lnTo>
                    <a:pt x="80" y="687"/>
                  </a:lnTo>
                  <a:lnTo>
                    <a:pt x="76" y="671"/>
                  </a:lnTo>
                  <a:lnTo>
                    <a:pt x="80" y="666"/>
                  </a:lnTo>
                  <a:lnTo>
                    <a:pt x="69" y="650"/>
                  </a:lnTo>
                  <a:lnTo>
                    <a:pt x="76" y="659"/>
                  </a:lnTo>
                  <a:lnTo>
                    <a:pt x="69" y="666"/>
                  </a:lnTo>
                  <a:lnTo>
                    <a:pt x="38" y="650"/>
                  </a:lnTo>
                  <a:lnTo>
                    <a:pt x="26" y="614"/>
                  </a:lnTo>
                  <a:lnTo>
                    <a:pt x="21" y="609"/>
                  </a:lnTo>
                  <a:lnTo>
                    <a:pt x="26" y="614"/>
                  </a:lnTo>
                  <a:lnTo>
                    <a:pt x="14" y="609"/>
                  </a:lnTo>
                  <a:lnTo>
                    <a:pt x="14" y="626"/>
                  </a:lnTo>
                  <a:lnTo>
                    <a:pt x="0" y="614"/>
                  </a:lnTo>
                  <a:lnTo>
                    <a:pt x="5" y="605"/>
                  </a:lnTo>
                  <a:lnTo>
                    <a:pt x="5" y="605"/>
                  </a:lnTo>
                  <a:lnTo>
                    <a:pt x="5" y="605"/>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8" name="Freeform 417">
              <a:extLst>
                <a:ext uri="{FF2B5EF4-FFF2-40B4-BE49-F238E27FC236}">
                  <a16:creationId xmlns:a16="http://schemas.microsoft.com/office/drawing/2014/main" id="{7B414860-C0A1-4EBF-984A-34BCC39D43E2}"/>
                </a:ext>
              </a:extLst>
            </p:cNvPr>
            <p:cNvSpPr>
              <a:spLocks noEditPoints="1"/>
            </p:cNvSpPr>
            <p:nvPr/>
          </p:nvSpPr>
          <p:spPr bwMode="gray">
            <a:xfrm>
              <a:off x="14736529" y="4384426"/>
              <a:ext cx="30111" cy="23893"/>
            </a:xfrm>
            <a:custGeom>
              <a:avLst/>
              <a:gdLst>
                <a:gd name="T0" fmla="*/ 16 w 92"/>
                <a:gd name="T1" fmla="*/ 40 h 73"/>
                <a:gd name="T2" fmla="*/ 0 w 92"/>
                <a:gd name="T3" fmla="*/ 21 h 73"/>
                <a:gd name="T4" fmla="*/ 0 w 92"/>
                <a:gd name="T5" fmla="*/ 0 h 73"/>
                <a:gd name="T6" fmla="*/ 16 w 92"/>
                <a:gd name="T7" fmla="*/ 0 h 73"/>
                <a:gd name="T8" fmla="*/ 16 w 92"/>
                <a:gd name="T9" fmla="*/ 40 h 73"/>
                <a:gd name="T10" fmla="*/ 16 w 92"/>
                <a:gd name="T11" fmla="*/ 40 h 73"/>
                <a:gd name="T12" fmla="*/ 16 w 92"/>
                <a:gd name="T13" fmla="*/ 40 h 73"/>
                <a:gd name="T14" fmla="*/ 92 w 92"/>
                <a:gd name="T15" fmla="*/ 73 h 73"/>
                <a:gd name="T16" fmla="*/ 70 w 92"/>
                <a:gd name="T17" fmla="*/ 56 h 73"/>
                <a:gd name="T18" fmla="*/ 80 w 92"/>
                <a:gd name="T19" fmla="*/ 56 h 73"/>
                <a:gd name="T20" fmla="*/ 85 w 92"/>
                <a:gd name="T21" fmla="*/ 49 h 73"/>
                <a:gd name="T22" fmla="*/ 92 w 92"/>
                <a:gd name="T23" fmla="*/ 73 h 73"/>
                <a:gd name="T24" fmla="*/ 92 w 92"/>
                <a:gd name="T25" fmla="*/ 73 h 73"/>
                <a:gd name="T26" fmla="*/ 92 w 92"/>
                <a:gd name="T27" fmla="*/ 73 h 73"/>
                <a:gd name="T28" fmla="*/ 49 w 92"/>
                <a:gd name="T29" fmla="*/ 73 h 73"/>
                <a:gd name="T30" fmla="*/ 33 w 92"/>
                <a:gd name="T31" fmla="*/ 73 h 73"/>
                <a:gd name="T32" fmla="*/ 33 w 92"/>
                <a:gd name="T33" fmla="*/ 66 h 73"/>
                <a:gd name="T34" fmla="*/ 49 w 92"/>
                <a:gd name="T35" fmla="*/ 73 h 73"/>
                <a:gd name="T36" fmla="*/ 49 w 92"/>
                <a:gd name="T37" fmla="*/ 73 h 73"/>
                <a:gd name="T38" fmla="*/ 49 w 92"/>
                <a:gd name="T3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 h="73">
                  <a:moveTo>
                    <a:pt x="16" y="40"/>
                  </a:moveTo>
                  <a:lnTo>
                    <a:pt x="0" y="21"/>
                  </a:lnTo>
                  <a:lnTo>
                    <a:pt x="0" y="0"/>
                  </a:lnTo>
                  <a:lnTo>
                    <a:pt x="16" y="0"/>
                  </a:lnTo>
                  <a:lnTo>
                    <a:pt x="16" y="40"/>
                  </a:lnTo>
                  <a:lnTo>
                    <a:pt x="16" y="40"/>
                  </a:lnTo>
                  <a:lnTo>
                    <a:pt x="16" y="40"/>
                  </a:lnTo>
                  <a:close/>
                  <a:moveTo>
                    <a:pt x="92" y="73"/>
                  </a:moveTo>
                  <a:lnTo>
                    <a:pt x="70" y="56"/>
                  </a:lnTo>
                  <a:lnTo>
                    <a:pt x="80" y="56"/>
                  </a:lnTo>
                  <a:lnTo>
                    <a:pt x="85" y="49"/>
                  </a:lnTo>
                  <a:lnTo>
                    <a:pt x="92" y="73"/>
                  </a:lnTo>
                  <a:lnTo>
                    <a:pt x="92" y="73"/>
                  </a:lnTo>
                  <a:lnTo>
                    <a:pt x="92" y="73"/>
                  </a:lnTo>
                  <a:close/>
                  <a:moveTo>
                    <a:pt x="49" y="73"/>
                  </a:moveTo>
                  <a:lnTo>
                    <a:pt x="33" y="73"/>
                  </a:lnTo>
                  <a:lnTo>
                    <a:pt x="33" y="66"/>
                  </a:lnTo>
                  <a:lnTo>
                    <a:pt x="49" y="73"/>
                  </a:lnTo>
                  <a:lnTo>
                    <a:pt x="49" y="73"/>
                  </a:lnTo>
                  <a:lnTo>
                    <a:pt x="49" y="73"/>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9" name="Freeform 418">
              <a:extLst>
                <a:ext uri="{FF2B5EF4-FFF2-40B4-BE49-F238E27FC236}">
                  <a16:creationId xmlns:a16="http://schemas.microsoft.com/office/drawing/2014/main" id="{642A3839-40C1-49B1-A12D-289C1810751F}"/>
                </a:ext>
              </a:extLst>
            </p:cNvPr>
            <p:cNvSpPr>
              <a:spLocks noEditPoints="1"/>
            </p:cNvSpPr>
            <p:nvPr/>
          </p:nvSpPr>
          <p:spPr bwMode="gray">
            <a:xfrm>
              <a:off x="11927669" y="3820821"/>
              <a:ext cx="280493" cy="393411"/>
            </a:xfrm>
            <a:custGeom>
              <a:avLst/>
              <a:gdLst>
                <a:gd name="T0" fmla="*/ 92 w 857"/>
                <a:gd name="T1" fmla="*/ 337 h 1202"/>
                <a:gd name="T2" fmla="*/ 134 w 857"/>
                <a:gd name="T3" fmla="*/ 321 h 1202"/>
                <a:gd name="T4" fmla="*/ 146 w 857"/>
                <a:gd name="T5" fmla="*/ 304 h 1202"/>
                <a:gd name="T6" fmla="*/ 163 w 857"/>
                <a:gd name="T7" fmla="*/ 288 h 1202"/>
                <a:gd name="T8" fmla="*/ 243 w 857"/>
                <a:gd name="T9" fmla="*/ 212 h 1202"/>
                <a:gd name="T10" fmla="*/ 269 w 857"/>
                <a:gd name="T11" fmla="*/ 122 h 1202"/>
                <a:gd name="T12" fmla="*/ 323 w 857"/>
                <a:gd name="T13" fmla="*/ 101 h 1202"/>
                <a:gd name="T14" fmla="*/ 335 w 857"/>
                <a:gd name="T15" fmla="*/ 122 h 1202"/>
                <a:gd name="T16" fmla="*/ 479 w 857"/>
                <a:gd name="T17" fmla="*/ 40 h 1202"/>
                <a:gd name="T18" fmla="*/ 496 w 857"/>
                <a:gd name="T19" fmla="*/ 11 h 1202"/>
                <a:gd name="T20" fmla="*/ 517 w 857"/>
                <a:gd name="T21" fmla="*/ 0 h 1202"/>
                <a:gd name="T22" fmla="*/ 503 w 857"/>
                <a:gd name="T23" fmla="*/ 56 h 1202"/>
                <a:gd name="T24" fmla="*/ 427 w 857"/>
                <a:gd name="T25" fmla="*/ 193 h 1202"/>
                <a:gd name="T26" fmla="*/ 441 w 857"/>
                <a:gd name="T27" fmla="*/ 245 h 1202"/>
                <a:gd name="T28" fmla="*/ 465 w 857"/>
                <a:gd name="T29" fmla="*/ 321 h 1202"/>
                <a:gd name="T30" fmla="*/ 524 w 857"/>
                <a:gd name="T31" fmla="*/ 389 h 1202"/>
                <a:gd name="T32" fmla="*/ 630 w 857"/>
                <a:gd name="T33" fmla="*/ 394 h 1202"/>
                <a:gd name="T34" fmla="*/ 701 w 857"/>
                <a:gd name="T35" fmla="*/ 448 h 1202"/>
                <a:gd name="T36" fmla="*/ 819 w 857"/>
                <a:gd name="T37" fmla="*/ 448 h 1202"/>
                <a:gd name="T38" fmla="*/ 789 w 857"/>
                <a:gd name="T39" fmla="*/ 510 h 1202"/>
                <a:gd name="T40" fmla="*/ 827 w 857"/>
                <a:gd name="T41" fmla="*/ 654 h 1202"/>
                <a:gd name="T42" fmla="*/ 836 w 857"/>
                <a:gd name="T43" fmla="*/ 732 h 1202"/>
                <a:gd name="T44" fmla="*/ 827 w 857"/>
                <a:gd name="T45" fmla="*/ 744 h 1202"/>
                <a:gd name="T46" fmla="*/ 756 w 857"/>
                <a:gd name="T47" fmla="*/ 765 h 1202"/>
                <a:gd name="T48" fmla="*/ 647 w 857"/>
                <a:gd name="T49" fmla="*/ 819 h 1202"/>
                <a:gd name="T50" fmla="*/ 685 w 857"/>
                <a:gd name="T51" fmla="*/ 852 h 1202"/>
                <a:gd name="T52" fmla="*/ 664 w 857"/>
                <a:gd name="T53" fmla="*/ 930 h 1202"/>
                <a:gd name="T54" fmla="*/ 642 w 857"/>
                <a:gd name="T55" fmla="*/ 1202 h 1202"/>
                <a:gd name="T56" fmla="*/ 630 w 857"/>
                <a:gd name="T57" fmla="*/ 1098 h 1202"/>
                <a:gd name="T58" fmla="*/ 541 w 857"/>
                <a:gd name="T59" fmla="*/ 1070 h 1202"/>
                <a:gd name="T60" fmla="*/ 479 w 857"/>
                <a:gd name="T61" fmla="*/ 1074 h 1202"/>
                <a:gd name="T62" fmla="*/ 415 w 857"/>
                <a:gd name="T63" fmla="*/ 1070 h 1202"/>
                <a:gd name="T64" fmla="*/ 411 w 857"/>
                <a:gd name="T65" fmla="*/ 1037 h 1202"/>
                <a:gd name="T66" fmla="*/ 340 w 857"/>
                <a:gd name="T67" fmla="*/ 970 h 1202"/>
                <a:gd name="T68" fmla="*/ 297 w 857"/>
                <a:gd name="T69" fmla="*/ 914 h 1202"/>
                <a:gd name="T70" fmla="*/ 215 w 857"/>
                <a:gd name="T71" fmla="*/ 876 h 1202"/>
                <a:gd name="T72" fmla="*/ 177 w 857"/>
                <a:gd name="T73" fmla="*/ 888 h 1202"/>
                <a:gd name="T74" fmla="*/ 101 w 857"/>
                <a:gd name="T75" fmla="*/ 836 h 1202"/>
                <a:gd name="T76" fmla="*/ 16 w 857"/>
                <a:gd name="T77" fmla="*/ 786 h 1202"/>
                <a:gd name="T78" fmla="*/ 38 w 857"/>
                <a:gd name="T79" fmla="*/ 760 h 1202"/>
                <a:gd name="T80" fmla="*/ 54 w 857"/>
                <a:gd name="T81" fmla="*/ 720 h 1202"/>
                <a:gd name="T82" fmla="*/ 87 w 857"/>
                <a:gd name="T83" fmla="*/ 708 h 1202"/>
                <a:gd name="T84" fmla="*/ 118 w 857"/>
                <a:gd name="T85" fmla="*/ 654 h 1202"/>
                <a:gd name="T86" fmla="*/ 125 w 857"/>
                <a:gd name="T87" fmla="*/ 616 h 1202"/>
                <a:gd name="T88" fmla="*/ 118 w 857"/>
                <a:gd name="T89" fmla="*/ 609 h 1202"/>
                <a:gd name="T90" fmla="*/ 125 w 857"/>
                <a:gd name="T91" fmla="*/ 567 h 1202"/>
                <a:gd name="T92" fmla="*/ 134 w 857"/>
                <a:gd name="T93" fmla="*/ 482 h 1202"/>
                <a:gd name="T94" fmla="*/ 125 w 857"/>
                <a:gd name="T95" fmla="*/ 427 h 1202"/>
                <a:gd name="T96" fmla="*/ 118 w 857"/>
                <a:gd name="T97" fmla="*/ 583 h 1202"/>
                <a:gd name="T98" fmla="*/ 118 w 857"/>
                <a:gd name="T99" fmla="*/ 583 h 1202"/>
                <a:gd name="T100" fmla="*/ 118 w 857"/>
                <a:gd name="T101" fmla="*/ 609 h 1202"/>
                <a:gd name="T102" fmla="*/ 118 w 857"/>
                <a:gd name="T103" fmla="*/ 666 h 1202"/>
                <a:gd name="T104" fmla="*/ 118 w 857"/>
                <a:gd name="T105" fmla="*/ 666 h 1202"/>
                <a:gd name="T106" fmla="*/ 108 w 857"/>
                <a:gd name="T107" fmla="*/ 675 h 1202"/>
                <a:gd name="T108" fmla="*/ 108 w 857"/>
                <a:gd name="T109" fmla="*/ 671 h 1202"/>
                <a:gd name="T110" fmla="*/ 87 w 857"/>
                <a:gd name="T111" fmla="*/ 708 h 1202"/>
                <a:gd name="T112" fmla="*/ 71 w 857"/>
                <a:gd name="T113" fmla="*/ 708 h 1202"/>
                <a:gd name="T114" fmla="*/ 80 w 857"/>
                <a:gd name="T115" fmla="*/ 720 h 1202"/>
                <a:gd name="T116" fmla="*/ 71 w 857"/>
                <a:gd name="T117" fmla="*/ 72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7" h="1202">
                  <a:moveTo>
                    <a:pt x="87" y="378"/>
                  </a:moveTo>
                  <a:lnTo>
                    <a:pt x="92" y="361"/>
                  </a:lnTo>
                  <a:lnTo>
                    <a:pt x="92" y="354"/>
                  </a:lnTo>
                  <a:lnTo>
                    <a:pt x="92" y="337"/>
                  </a:lnTo>
                  <a:lnTo>
                    <a:pt x="108" y="354"/>
                  </a:lnTo>
                  <a:lnTo>
                    <a:pt x="125" y="345"/>
                  </a:lnTo>
                  <a:lnTo>
                    <a:pt x="125" y="337"/>
                  </a:lnTo>
                  <a:lnTo>
                    <a:pt x="134" y="321"/>
                  </a:lnTo>
                  <a:lnTo>
                    <a:pt x="134" y="316"/>
                  </a:lnTo>
                  <a:lnTo>
                    <a:pt x="118" y="283"/>
                  </a:lnTo>
                  <a:lnTo>
                    <a:pt x="125" y="278"/>
                  </a:lnTo>
                  <a:lnTo>
                    <a:pt x="146" y="304"/>
                  </a:lnTo>
                  <a:lnTo>
                    <a:pt x="156" y="316"/>
                  </a:lnTo>
                  <a:lnTo>
                    <a:pt x="156" y="321"/>
                  </a:lnTo>
                  <a:lnTo>
                    <a:pt x="163" y="333"/>
                  </a:lnTo>
                  <a:lnTo>
                    <a:pt x="163" y="288"/>
                  </a:lnTo>
                  <a:lnTo>
                    <a:pt x="156" y="283"/>
                  </a:lnTo>
                  <a:lnTo>
                    <a:pt x="193" y="250"/>
                  </a:lnTo>
                  <a:lnTo>
                    <a:pt x="210" y="229"/>
                  </a:lnTo>
                  <a:lnTo>
                    <a:pt x="243" y="212"/>
                  </a:lnTo>
                  <a:lnTo>
                    <a:pt x="248" y="205"/>
                  </a:lnTo>
                  <a:lnTo>
                    <a:pt x="243" y="193"/>
                  </a:lnTo>
                  <a:lnTo>
                    <a:pt x="252" y="134"/>
                  </a:lnTo>
                  <a:lnTo>
                    <a:pt x="269" y="122"/>
                  </a:lnTo>
                  <a:lnTo>
                    <a:pt x="269" y="118"/>
                  </a:lnTo>
                  <a:lnTo>
                    <a:pt x="286" y="111"/>
                  </a:lnTo>
                  <a:lnTo>
                    <a:pt x="297" y="94"/>
                  </a:lnTo>
                  <a:lnTo>
                    <a:pt x="323" y="101"/>
                  </a:lnTo>
                  <a:lnTo>
                    <a:pt x="340" y="101"/>
                  </a:lnTo>
                  <a:lnTo>
                    <a:pt x="319" y="111"/>
                  </a:lnTo>
                  <a:lnTo>
                    <a:pt x="319" y="118"/>
                  </a:lnTo>
                  <a:lnTo>
                    <a:pt x="335" y="122"/>
                  </a:lnTo>
                  <a:lnTo>
                    <a:pt x="352" y="78"/>
                  </a:lnTo>
                  <a:lnTo>
                    <a:pt x="411" y="85"/>
                  </a:lnTo>
                  <a:lnTo>
                    <a:pt x="449" y="56"/>
                  </a:lnTo>
                  <a:lnTo>
                    <a:pt x="479" y="40"/>
                  </a:lnTo>
                  <a:lnTo>
                    <a:pt x="486" y="23"/>
                  </a:lnTo>
                  <a:lnTo>
                    <a:pt x="486" y="11"/>
                  </a:lnTo>
                  <a:lnTo>
                    <a:pt x="503" y="11"/>
                  </a:lnTo>
                  <a:lnTo>
                    <a:pt x="496" y="11"/>
                  </a:lnTo>
                  <a:lnTo>
                    <a:pt x="503" y="23"/>
                  </a:lnTo>
                  <a:lnTo>
                    <a:pt x="524" y="0"/>
                  </a:lnTo>
                  <a:lnTo>
                    <a:pt x="517" y="0"/>
                  </a:lnTo>
                  <a:lnTo>
                    <a:pt x="517" y="0"/>
                  </a:lnTo>
                  <a:lnTo>
                    <a:pt x="555" y="7"/>
                  </a:lnTo>
                  <a:lnTo>
                    <a:pt x="555" y="28"/>
                  </a:lnTo>
                  <a:lnTo>
                    <a:pt x="550" y="40"/>
                  </a:lnTo>
                  <a:lnTo>
                    <a:pt x="503" y="56"/>
                  </a:lnTo>
                  <a:lnTo>
                    <a:pt x="486" y="85"/>
                  </a:lnTo>
                  <a:lnTo>
                    <a:pt x="465" y="94"/>
                  </a:lnTo>
                  <a:lnTo>
                    <a:pt x="432" y="139"/>
                  </a:lnTo>
                  <a:lnTo>
                    <a:pt x="427" y="193"/>
                  </a:lnTo>
                  <a:lnTo>
                    <a:pt x="404" y="234"/>
                  </a:lnTo>
                  <a:lnTo>
                    <a:pt x="427" y="229"/>
                  </a:lnTo>
                  <a:lnTo>
                    <a:pt x="432" y="234"/>
                  </a:lnTo>
                  <a:lnTo>
                    <a:pt x="441" y="245"/>
                  </a:lnTo>
                  <a:lnTo>
                    <a:pt x="449" y="278"/>
                  </a:lnTo>
                  <a:lnTo>
                    <a:pt x="470" y="288"/>
                  </a:lnTo>
                  <a:lnTo>
                    <a:pt x="470" y="316"/>
                  </a:lnTo>
                  <a:lnTo>
                    <a:pt x="465" y="321"/>
                  </a:lnTo>
                  <a:lnTo>
                    <a:pt x="465" y="354"/>
                  </a:lnTo>
                  <a:lnTo>
                    <a:pt x="486" y="373"/>
                  </a:lnTo>
                  <a:lnTo>
                    <a:pt x="496" y="394"/>
                  </a:lnTo>
                  <a:lnTo>
                    <a:pt x="524" y="389"/>
                  </a:lnTo>
                  <a:lnTo>
                    <a:pt x="555" y="394"/>
                  </a:lnTo>
                  <a:lnTo>
                    <a:pt x="588" y="389"/>
                  </a:lnTo>
                  <a:lnTo>
                    <a:pt x="621" y="394"/>
                  </a:lnTo>
                  <a:lnTo>
                    <a:pt x="630" y="394"/>
                  </a:lnTo>
                  <a:lnTo>
                    <a:pt x="680" y="456"/>
                  </a:lnTo>
                  <a:lnTo>
                    <a:pt x="685" y="456"/>
                  </a:lnTo>
                  <a:lnTo>
                    <a:pt x="697" y="456"/>
                  </a:lnTo>
                  <a:lnTo>
                    <a:pt x="701" y="448"/>
                  </a:lnTo>
                  <a:lnTo>
                    <a:pt x="734" y="456"/>
                  </a:lnTo>
                  <a:lnTo>
                    <a:pt x="782" y="448"/>
                  </a:lnTo>
                  <a:lnTo>
                    <a:pt x="789" y="444"/>
                  </a:lnTo>
                  <a:lnTo>
                    <a:pt x="819" y="448"/>
                  </a:lnTo>
                  <a:lnTo>
                    <a:pt x="819" y="465"/>
                  </a:lnTo>
                  <a:lnTo>
                    <a:pt x="805" y="482"/>
                  </a:lnTo>
                  <a:lnTo>
                    <a:pt x="805" y="498"/>
                  </a:lnTo>
                  <a:lnTo>
                    <a:pt x="789" y="510"/>
                  </a:lnTo>
                  <a:lnTo>
                    <a:pt x="789" y="567"/>
                  </a:lnTo>
                  <a:lnTo>
                    <a:pt x="805" y="621"/>
                  </a:lnTo>
                  <a:lnTo>
                    <a:pt x="810" y="633"/>
                  </a:lnTo>
                  <a:lnTo>
                    <a:pt x="827" y="654"/>
                  </a:lnTo>
                  <a:lnTo>
                    <a:pt x="789" y="692"/>
                  </a:lnTo>
                  <a:lnTo>
                    <a:pt x="805" y="692"/>
                  </a:lnTo>
                  <a:lnTo>
                    <a:pt x="836" y="727"/>
                  </a:lnTo>
                  <a:lnTo>
                    <a:pt x="836" y="732"/>
                  </a:lnTo>
                  <a:lnTo>
                    <a:pt x="857" y="815"/>
                  </a:lnTo>
                  <a:lnTo>
                    <a:pt x="843" y="815"/>
                  </a:lnTo>
                  <a:lnTo>
                    <a:pt x="843" y="782"/>
                  </a:lnTo>
                  <a:lnTo>
                    <a:pt x="827" y="744"/>
                  </a:lnTo>
                  <a:lnTo>
                    <a:pt x="819" y="744"/>
                  </a:lnTo>
                  <a:lnTo>
                    <a:pt x="789" y="777"/>
                  </a:lnTo>
                  <a:lnTo>
                    <a:pt x="767" y="760"/>
                  </a:lnTo>
                  <a:lnTo>
                    <a:pt x="756" y="765"/>
                  </a:lnTo>
                  <a:lnTo>
                    <a:pt x="767" y="777"/>
                  </a:lnTo>
                  <a:lnTo>
                    <a:pt x="675" y="765"/>
                  </a:lnTo>
                  <a:lnTo>
                    <a:pt x="647" y="777"/>
                  </a:lnTo>
                  <a:lnTo>
                    <a:pt x="647" y="819"/>
                  </a:lnTo>
                  <a:lnTo>
                    <a:pt x="685" y="819"/>
                  </a:lnTo>
                  <a:lnTo>
                    <a:pt x="697" y="836"/>
                  </a:lnTo>
                  <a:lnTo>
                    <a:pt x="701" y="852"/>
                  </a:lnTo>
                  <a:lnTo>
                    <a:pt x="685" y="852"/>
                  </a:lnTo>
                  <a:lnTo>
                    <a:pt x="680" y="848"/>
                  </a:lnTo>
                  <a:lnTo>
                    <a:pt x="630" y="852"/>
                  </a:lnTo>
                  <a:lnTo>
                    <a:pt x="630" y="909"/>
                  </a:lnTo>
                  <a:lnTo>
                    <a:pt x="664" y="930"/>
                  </a:lnTo>
                  <a:lnTo>
                    <a:pt x="664" y="947"/>
                  </a:lnTo>
                  <a:lnTo>
                    <a:pt x="680" y="970"/>
                  </a:lnTo>
                  <a:lnTo>
                    <a:pt x="680" y="996"/>
                  </a:lnTo>
                  <a:lnTo>
                    <a:pt x="642" y="1202"/>
                  </a:lnTo>
                  <a:lnTo>
                    <a:pt x="621" y="1169"/>
                  </a:lnTo>
                  <a:lnTo>
                    <a:pt x="604" y="1181"/>
                  </a:lnTo>
                  <a:lnTo>
                    <a:pt x="588" y="1169"/>
                  </a:lnTo>
                  <a:lnTo>
                    <a:pt x="630" y="1098"/>
                  </a:lnTo>
                  <a:lnTo>
                    <a:pt x="621" y="1074"/>
                  </a:lnTo>
                  <a:lnTo>
                    <a:pt x="593" y="1074"/>
                  </a:lnTo>
                  <a:lnTo>
                    <a:pt x="578" y="1058"/>
                  </a:lnTo>
                  <a:lnTo>
                    <a:pt x="541" y="1070"/>
                  </a:lnTo>
                  <a:lnTo>
                    <a:pt x="517" y="1058"/>
                  </a:lnTo>
                  <a:lnTo>
                    <a:pt x="517" y="1053"/>
                  </a:lnTo>
                  <a:lnTo>
                    <a:pt x="503" y="1070"/>
                  </a:lnTo>
                  <a:lnTo>
                    <a:pt x="479" y="1074"/>
                  </a:lnTo>
                  <a:lnTo>
                    <a:pt x="458" y="1070"/>
                  </a:lnTo>
                  <a:lnTo>
                    <a:pt x="432" y="1074"/>
                  </a:lnTo>
                  <a:lnTo>
                    <a:pt x="432" y="1070"/>
                  </a:lnTo>
                  <a:lnTo>
                    <a:pt x="415" y="1070"/>
                  </a:lnTo>
                  <a:lnTo>
                    <a:pt x="427" y="1053"/>
                  </a:lnTo>
                  <a:lnTo>
                    <a:pt x="415" y="1025"/>
                  </a:lnTo>
                  <a:lnTo>
                    <a:pt x="415" y="1025"/>
                  </a:lnTo>
                  <a:lnTo>
                    <a:pt x="411" y="1037"/>
                  </a:lnTo>
                  <a:lnTo>
                    <a:pt x="394" y="1020"/>
                  </a:lnTo>
                  <a:lnTo>
                    <a:pt x="394" y="1013"/>
                  </a:lnTo>
                  <a:lnTo>
                    <a:pt x="389" y="996"/>
                  </a:lnTo>
                  <a:lnTo>
                    <a:pt x="340" y="970"/>
                  </a:lnTo>
                  <a:lnTo>
                    <a:pt x="335" y="942"/>
                  </a:lnTo>
                  <a:lnTo>
                    <a:pt x="307" y="926"/>
                  </a:lnTo>
                  <a:lnTo>
                    <a:pt x="302" y="909"/>
                  </a:lnTo>
                  <a:lnTo>
                    <a:pt x="297" y="914"/>
                  </a:lnTo>
                  <a:lnTo>
                    <a:pt x="269" y="904"/>
                  </a:lnTo>
                  <a:lnTo>
                    <a:pt x="269" y="909"/>
                  </a:lnTo>
                  <a:lnTo>
                    <a:pt x="231" y="893"/>
                  </a:lnTo>
                  <a:lnTo>
                    <a:pt x="215" y="876"/>
                  </a:lnTo>
                  <a:lnTo>
                    <a:pt x="201" y="869"/>
                  </a:lnTo>
                  <a:lnTo>
                    <a:pt x="189" y="869"/>
                  </a:lnTo>
                  <a:lnTo>
                    <a:pt x="189" y="876"/>
                  </a:lnTo>
                  <a:lnTo>
                    <a:pt x="177" y="888"/>
                  </a:lnTo>
                  <a:lnTo>
                    <a:pt x="125" y="869"/>
                  </a:lnTo>
                  <a:lnTo>
                    <a:pt x="118" y="852"/>
                  </a:lnTo>
                  <a:lnTo>
                    <a:pt x="101" y="848"/>
                  </a:lnTo>
                  <a:lnTo>
                    <a:pt x="101" y="836"/>
                  </a:lnTo>
                  <a:lnTo>
                    <a:pt x="87" y="836"/>
                  </a:lnTo>
                  <a:lnTo>
                    <a:pt x="71" y="831"/>
                  </a:lnTo>
                  <a:lnTo>
                    <a:pt x="26" y="798"/>
                  </a:lnTo>
                  <a:lnTo>
                    <a:pt x="16" y="786"/>
                  </a:lnTo>
                  <a:lnTo>
                    <a:pt x="0" y="782"/>
                  </a:lnTo>
                  <a:lnTo>
                    <a:pt x="16" y="765"/>
                  </a:lnTo>
                  <a:lnTo>
                    <a:pt x="38" y="777"/>
                  </a:lnTo>
                  <a:lnTo>
                    <a:pt x="38" y="760"/>
                  </a:lnTo>
                  <a:lnTo>
                    <a:pt x="33" y="744"/>
                  </a:lnTo>
                  <a:lnTo>
                    <a:pt x="38" y="727"/>
                  </a:lnTo>
                  <a:lnTo>
                    <a:pt x="49" y="720"/>
                  </a:lnTo>
                  <a:lnTo>
                    <a:pt x="54" y="720"/>
                  </a:lnTo>
                  <a:lnTo>
                    <a:pt x="64" y="720"/>
                  </a:lnTo>
                  <a:lnTo>
                    <a:pt x="80" y="720"/>
                  </a:lnTo>
                  <a:lnTo>
                    <a:pt x="80" y="704"/>
                  </a:lnTo>
                  <a:lnTo>
                    <a:pt x="87" y="708"/>
                  </a:lnTo>
                  <a:lnTo>
                    <a:pt x="92" y="708"/>
                  </a:lnTo>
                  <a:lnTo>
                    <a:pt x="92" y="704"/>
                  </a:lnTo>
                  <a:lnTo>
                    <a:pt x="118" y="666"/>
                  </a:lnTo>
                  <a:lnTo>
                    <a:pt x="118" y="654"/>
                  </a:lnTo>
                  <a:lnTo>
                    <a:pt x="139" y="633"/>
                  </a:lnTo>
                  <a:lnTo>
                    <a:pt x="146" y="616"/>
                  </a:lnTo>
                  <a:lnTo>
                    <a:pt x="134" y="621"/>
                  </a:lnTo>
                  <a:lnTo>
                    <a:pt x="125" y="616"/>
                  </a:lnTo>
                  <a:lnTo>
                    <a:pt x="134" y="609"/>
                  </a:lnTo>
                  <a:lnTo>
                    <a:pt x="134" y="600"/>
                  </a:lnTo>
                  <a:lnTo>
                    <a:pt x="125" y="616"/>
                  </a:lnTo>
                  <a:lnTo>
                    <a:pt x="118" y="609"/>
                  </a:lnTo>
                  <a:lnTo>
                    <a:pt x="118" y="600"/>
                  </a:lnTo>
                  <a:lnTo>
                    <a:pt x="134" y="593"/>
                  </a:lnTo>
                  <a:lnTo>
                    <a:pt x="118" y="583"/>
                  </a:lnTo>
                  <a:lnTo>
                    <a:pt x="125" y="567"/>
                  </a:lnTo>
                  <a:lnTo>
                    <a:pt x="125" y="522"/>
                  </a:lnTo>
                  <a:lnTo>
                    <a:pt x="118" y="505"/>
                  </a:lnTo>
                  <a:lnTo>
                    <a:pt x="108" y="498"/>
                  </a:lnTo>
                  <a:lnTo>
                    <a:pt x="134" y="482"/>
                  </a:lnTo>
                  <a:lnTo>
                    <a:pt x="118" y="448"/>
                  </a:lnTo>
                  <a:lnTo>
                    <a:pt x="118" y="444"/>
                  </a:lnTo>
                  <a:lnTo>
                    <a:pt x="118" y="448"/>
                  </a:lnTo>
                  <a:lnTo>
                    <a:pt x="125" y="427"/>
                  </a:lnTo>
                  <a:lnTo>
                    <a:pt x="87" y="378"/>
                  </a:lnTo>
                  <a:lnTo>
                    <a:pt x="87" y="378"/>
                  </a:lnTo>
                  <a:lnTo>
                    <a:pt x="87" y="378"/>
                  </a:lnTo>
                  <a:close/>
                  <a:moveTo>
                    <a:pt x="118" y="583"/>
                  </a:moveTo>
                  <a:lnTo>
                    <a:pt x="125" y="593"/>
                  </a:lnTo>
                  <a:lnTo>
                    <a:pt x="108" y="593"/>
                  </a:lnTo>
                  <a:lnTo>
                    <a:pt x="118" y="583"/>
                  </a:lnTo>
                  <a:lnTo>
                    <a:pt x="118" y="583"/>
                  </a:lnTo>
                  <a:lnTo>
                    <a:pt x="118" y="583"/>
                  </a:lnTo>
                  <a:close/>
                  <a:moveTo>
                    <a:pt x="108" y="600"/>
                  </a:moveTo>
                  <a:lnTo>
                    <a:pt x="118" y="600"/>
                  </a:lnTo>
                  <a:lnTo>
                    <a:pt x="118" y="609"/>
                  </a:lnTo>
                  <a:lnTo>
                    <a:pt x="108" y="600"/>
                  </a:lnTo>
                  <a:lnTo>
                    <a:pt x="108" y="600"/>
                  </a:lnTo>
                  <a:lnTo>
                    <a:pt x="108" y="600"/>
                  </a:lnTo>
                  <a:close/>
                  <a:moveTo>
                    <a:pt x="118" y="666"/>
                  </a:moveTo>
                  <a:lnTo>
                    <a:pt x="108" y="666"/>
                  </a:lnTo>
                  <a:lnTo>
                    <a:pt x="118" y="666"/>
                  </a:lnTo>
                  <a:lnTo>
                    <a:pt x="118" y="666"/>
                  </a:lnTo>
                  <a:lnTo>
                    <a:pt x="118" y="666"/>
                  </a:lnTo>
                  <a:lnTo>
                    <a:pt x="118" y="666"/>
                  </a:lnTo>
                  <a:close/>
                  <a:moveTo>
                    <a:pt x="108" y="671"/>
                  </a:moveTo>
                  <a:lnTo>
                    <a:pt x="108" y="666"/>
                  </a:lnTo>
                  <a:lnTo>
                    <a:pt x="108" y="675"/>
                  </a:lnTo>
                  <a:lnTo>
                    <a:pt x="101" y="675"/>
                  </a:lnTo>
                  <a:lnTo>
                    <a:pt x="108" y="671"/>
                  </a:lnTo>
                  <a:lnTo>
                    <a:pt x="108" y="671"/>
                  </a:lnTo>
                  <a:lnTo>
                    <a:pt x="108" y="671"/>
                  </a:lnTo>
                  <a:close/>
                  <a:moveTo>
                    <a:pt x="87" y="708"/>
                  </a:moveTo>
                  <a:lnTo>
                    <a:pt x="87" y="704"/>
                  </a:lnTo>
                  <a:lnTo>
                    <a:pt x="92" y="708"/>
                  </a:lnTo>
                  <a:lnTo>
                    <a:pt x="87" y="708"/>
                  </a:lnTo>
                  <a:lnTo>
                    <a:pt x="87" y="708"/>
                  </a:lnTo>
                  <a:lnTo>
                    <a:pt x="87" y="708"/>
                  </a:lnTo>
                  <a:close/>
                  <a:moveTo>
                    <a:pt x="80" y="720"/>
                  </a:moveTo>
                  <a:lnTo>
                    <a:pt x="71" y="708"/>
                  </a:lnTo>
                  <a:lnTo>
                    <a:pt x="80" y="704"/>
                  </a:lnTo>
                  <a:lnTo>
                    <a:pt x="80" y="720"/>
                  </a:lnTo>
                  <a:lnTo>
                    <a:pt x="80" y="720"/>
                  </a:lnTo>
                  <a:lnTo>
                    <a:pt x="80" y="720"/>
                  </a:lnTo>
                  <a:close/>
                  <a:moveTo>
                    <a:pt x="71" y="720"/>
                  </a:moveTo>
                  <a:lnTo>
                    <a:pt x="64" y="708"/>
                  </a:lnTo>
                  <a:lnTo>
                    <a:pt x="71" y="708"/>
                  </a:lnTo>
                  <a:lnTo>
                    <a:pt x="71" y="720"/>
                  </a:lnTo>
                  <a:lnTo>
                    <a:pt x="71" y="720"/>
                  </a:lnTo>
                  <a:lnTo>
                    <a:pt x="71" y="72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0" name="Freeform 419">
              <a:extLst>
                <a:ext uri="{FF2B5EF4-FFF2-40B4-BE49-F238E27FC236}">
                  <a16:creationId xmlns:a16="http://schemas.microsoft.com/office/drawing/2014/main" id="{4AE62755-6058-422A-A276-A4D8C8821B59}"/>
                </a:ext>
              </a:extLst>
            </p:cNvPr>
            <p:cNvSpPr>
              <a:spLocks noEditPoints="1"/>
            </p:cNvSpPr>
            <p:nvPr/>
          </p:nvSpPr>
          <p:spPr bwMode="gray">
            <a:xfrm>
              <a:off x="17073427" y="3751107"/>
              <a:ext cx="18656" cy="29457"/>
            </a:xfrm>
            <a:custGeom>
              <a:avLst/>
              <a:gdLst>
                <a:gd name="T0" fmla="*/ 52 w 57"/>
                <a:gd name="T1" fmla="*/ 10 h 90"/>
                <a:gd name="T2" fmla="*/ 52 w 57"/>
                <a:gd name="T3" fmla="*/ 10 h 90"/>
                <a:gd name="T4" fmla="*/ 57 w 57"/>
                <a:gd name="T5" fmla="*/ 0 h 90"/>
                <a:gd name="T6" fmla="*/ 52 w 57"/>
                <a:gd name="T7" fmla="*/ 10 h 90"/>
                <a:gd name="T8" fmla="*/ 52 w 57"/>
                <a:gd name="T9" fmla="*/ 10 h 90"/>
                <a:gd name="T10" fmla="*/ 52 w 57"/>
                <a:gd name="T11" fmla="*/ 10 h 90"/>
                <a:gd name="T12" fmla="*/ 45 w 57"/>
                <a:gd name="T13" fmla="*/ 28 h 90"/>
                <a:gd name="T14" fmla="*/ 33 w 57"/>
                <a:gd name="T15" fmla="*/ 17 h 90"/>
                <a:gd name="T16" fmla="*/ 45 w 57"/>
                <a:gd name="T17" fmla="*/ 10 h 90"/>
                <a:gd name="T18" fmla="*/ 45 w 57"/>
                <a:gd name="T19" fmla="*/ 28 h 90"/>
                <a:gd name="T20" fmla="*/ 45 w 57"/>
                <a:gd name="T21" fmla="*/ 28 h 90"/>
                <a:gd name="T22" fmla="*/ 45 w 57"/>
                <a:gd name="T23" fmla="*/ 28 h 90"/>
                <a:gd name="T24" fmla="*/ 12 w 57"/>
                <a:gd name="T25" fmla="*/ 90 h 90"/>
                <a:gd name="T26" fmla="*/ 0 w 57"/>
                <a:gd name="T27" fmla="*/ 83 h 90"/>
                <a:gd name="T28" fmla="*/ 17 w 57"/>
                <a:gd name="T29" fmla="*/ 83 h 90"/>
                <a:gd name="T30" fmla="*/ 12 w 57"/>
                <a:gd name="T31" fmla="*/ 90 h 90"/>
                <a:gd name="T32" fmla="*/ 12 w 57"/>
                <a:gd name="T33" fmla="*/ 90 h 90"/>
                <a:gd name="T34" fmla="*/ 12 w 57"/>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90">
                  <a:moveTo>
                    <a:pt x="52" y="10"/>
                  </a:moveTo>
                  <a:lnTo>
                    <a:pt x="52" y="10"/>
                  </a:lnTo>
                  <a:lnTo>
                    <a:pt x="57" y="0"/>
                  </a:lnTo>
                  <a:lnTo>
                    <a:pt x="52" y="10"/>
                  </a:lnTo>
                  <a:lnTo>
                    <a:pt x="52" y="10"/>
                  </a:lnTo>
                  <a:lnTo>
                    <a:pt x="52" y="10"/>
                  </a:lnTo>
                  <a:close/>
                  <a:moveTo>
                    <a:pt x="45" y="28"/>
                  </a:moveTo>
                  <a:lnTo>
                    <a:pt x="33" y="17"/>
                  </a:lnTo>
                  <a:lnTo>
                    <a:pt x="45" y="10"/>
                  </a:lnTo>
                  <a:lnTo>
                    <a:pt x="45" y="28"/>
                  </a:lnTo>
                  <a:lnTo>
                    <a:pt x="45" y="28"/>
                  </a:lnTo>
                  <a:lnTo>
                    <a:pt x="45" y="28"/>
                  </a:lnTo>
                  <a:close/>
                  <a:moveTo>
                    <a:pt x="12" y="90"/>
                  </a:moveTo>
                  <a:lnTo>
                    <a:pt x="0" y="83"/>
                  </a:lnTo>
                  <a:lnTo>
                    <a:pt x="17" y="83"/>
                  </a:lnTo>
                  <a:lnTo>
                    <a:pt x="12" y="90"/>
                  </a:lnTo>
                  <a:lnTo>
                    <a:pt x="12" y="90"/>
                  </a:lnTo>
                  <a:lnTo>
                    <a:pt x="12" y="9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1" name="Freeform 420">
              <a:extLst>
                <a:ext uri="{FF2B5EF4-FFF2-40B4-BE49-F238E27FC236}">
                  <a16:creationId xmlns:a16="http://schemas.microsoft.com/office/drawing/2014/main" id="{05D39E5A-CD8A-431B-B670-679582A6E50A}"/>
                </a:ext>
              </a:extLst>
            </p:cNvPr>
            <p:cNvSpPr>
              <a:spLocks/>
            </p:cNvSpPr>
            <p:nvPr/>
          </p:nvSpPr>
          <p:spPr bwMode="gray">
            <a:xfrm>
              <a:off x="11772858" y="3847659"/>
              <a:ext cx="75933" cy="75933"/>
            </a:xfrm>
            <a:custGeom>
              <a:avLst/>
              <a:gdLst>
                <a:gd name="T0" fmla="*/ 232 w 232"/>
                <a:gd name="T1" fmla="*/ 121 h 232"/>
                <a:gd name="T2" fmla="*/ 232 w 232"/>
                <a:gd name="T3" fmla="*/ 128 h 232"/>
                <a:gd name="T4" fmla="*/ 215 w 232"/>
                <a:gd name="T5" fmla="*/ 121 h 232"/>
                <a:gd name="T6" fmla="*/ 206 w 232"/>
                <a:gd name="T7" fmla="*/ 128 h 232"/>
                <a:gd name="T8" fmla="*/ 206 w 232"/>
                <a:gd name="T9" fmla="*/ 161 h 232"/>
                <a:gd name="T10" fmla="*/ 222 w 232"/>
                <a:gd name="T11" fmla="*/ 166 h 232"/>
                <a:gd name="T12" fmla="*/ 206 w 232"/>
                <a:gd name="T13" fmla="*/ 182 h 232"/>
                <a:gd name="T14" fmla="*/ 215 w 232"/>
                <a:gd name="T15" fmla="*/ 199 h 232"/>
                <a:gd name="T16" fmla="*/ 201 w 232"/>
                <a:gd name="T17" fmla="*/ 215 h 232"/>
                <a:gd name="T18" fmla="*/ 206 w 232"/>
                <a:gd name="T19" fmla="*/ 215 h 232"/>
                <a:gd name="T20" fmla="*/ 206 w 232"/>
                <a:gd name="T21" fmla="*/ 232 h 232"/>
                <a:gd name="T22" fmla="*/ 206 w 232"/>
                <a:gd name="T23" fmla="*/ 220 h 232"/>
                <a:gd name="T24" fmla="*/ 189 w 232"/>
                <a:gd name="T25" fmla="*/ 203 h 232"/>
                <a:gd name="T26" fmla="*/ 201 w 232"/>
                <a:gd name="T27" fmla="*/ 203 h 232"/>
                <a:gd name="T28" fmla="*/ 189 w 232"/>
                <a:gd name="T29" fmla="*/ 194 h 232"/>
                <a:gd name="T30" fmla="*/ 180 w 232"/>
                <a:gd name="T31" fmla="*/ 182 h 232"/>
                <a:gd name="T32" fmla="*/ 168 w 232"/>
                <a:gd name="T33" fmla="*/ 182 h 232"/>
                <a:gd name="T34" fmla="*/ 185 w 232"/>
                <a:gd name="T35" fmla="*/ 199 h 232"/>
                <a:gd name="T36" fmla="*/ 185 w 232"/>
                <a:gd name="T37" fmla="*/ 203 h 232"/>
                <a:gd name="T38" fmla="*/ 151 w 232"/>
                <a:gd name="T39" fmla="*/ 194 h 232"/>
                <a:gd name="T40" fmla="*/ 163 w 232"/>
                <a:gd name="T41" fmla="*/ 177 h 232"/>
                <a:gd name="T42" fmla="*/ 163 w 232"/>
                <a:gd name="T43" fmla="*/ 161 h 232"/>
                <a:gd name="T44" fmla="*/ 114 w 232"/>
                <a:gd name="T45" fmla="*/ 128 h 232"/>
                <a:gd name="T46" fmla="*/ 92 w 232"/>
                <a:gd name="T47" fmla="*/ 121 h 232"/>
                <a:gd name="T48" fmla="*/ 81 w 232"/>
                <a:gd name="T49" fmla="*/ 95 h 232"/>
                <a:gd name="T50" fmla="*/ 43 w 232"/>
                <a:gd name="T51" fmla="*/ 83 h 232"/>
                <a:gd name="T52" fmla="*/ 43 w 232"/>
                <a:gd name="T53" fmla="*/ 88 h 232"/>
                <a:gd name="T54" fmla="*/ 71 w 232"/>
                <a:gd name="T55" fmla="*/ 104 h 232"/>
                <a:gd name="T56" fmla="*/ 55 w 232"/>
                <a:gd name="T57" fmla="*/ 121 h 232"/>
                <a:gd name="T58" fmla="*/ 38 w 232"/>
                <a:gd name="T59" fmla="*/ 104 h 232"/>
                <a:gd name="T60" fmla="*/ 17 w 232"/>
                <a:gd name="T61" fmla="*/ 95 h 232"/>
                <a:gd name="T62" fmla="*/ 0 w 232"/>
                <a:gd name="T63" fmla="*/ 66 h 232"/>
                <a:gd name="T64" fmla="*/ 22 w 232"/>
                <a:gd name="T65" fmla="*/ 50 h 232"/>
                <a:gd name="T66" fmla="*/ 17 w 232"/>
                <a:gd name="T67" fmla="*/ 33 h 232"/>
                <a:gd name="T68" fmla="*/ 0 w 232"/>
                <a:gd name="T69" fmla="*/ 29 h 232"/>
                <a:gd name="T70" fmla="*/ 17 w 232"/>
                <a:gd name="T71" fmla="*/ 29 h 232"/>
                <a:gd name="T72" fmla="*/ 17 w 232"/>
                <a:gd name="T73" fmla="*/ 17 h 232"/>
                <a:gd name="T74" fmla="*/ 22 w 232"/>
                <a:gd name="T75" fmla="*/ 0 h 232"/>
                <a:gd name="T76" fmla="*/ 71 w 232"/>
                <a:gd name="T77" fmla="*/ 29 h 232"/>
                <a:gd name="T78" fmla="*/ 81 w 232"/>
                <a:gd name="T79" fmla="*/ 17 h 232"/>
                <a:gd name="T80" fmla="*/ 135 w 232"/>
                <a:gd name="T81" fmla="*/ 38 h 232"/>
                <a:gd name="T82" fmla="*/ 151 w 232"/>
                <a:gd name="T83" fmla="*/ 33 h 232"/>
                <a:gd name="T84" fmla="*/ 163 w 232"/>
                <a:gd name="T85" fmla="*/ 29 h 232"/>
                <a:gd name="T86" fmla="*/ 180 w 232"/>
                <a:gd name="T87" fmla="*/ 71 h 232"/>
                <a:gd name="T88" fmla="*/ 222 w 232"/>
                <a:gd name="T89" fmla="*/ 121 h 232"/>
                <a:gd name="T90" fmla="*/ 232 w 232"/>
                <a:gd name="T91" fmla="*/ 121 h 232"/>
                <a:gd name="T92" fmla="*/ 232 w 232"/>
                <a:gd name="T93" fmla="*/ 121 h 232"/>
                <a:gd name="T94" fmla="*/ 232 w 232"/>
                <a:gd name="T95" fmla="*/ 12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2" h="232">
                  <a:moveTo>
                    <a:pt x="232" y="121"/>
                  </a:moveTo>
                  <a:lnTo>
                    <a:pt x="232" y="128"/>
                  </a:lnTo>
                  <a:lnTo>
                    <a:pt x="215" y="121"/>
                  </a:lnTo>
                  <a:lnTo>
                    <a:pt x="206" y="128"/>
                  </a:lnTo>
                  <a:lnTo>
                    <a:pt x="206" y="161"/>
                  </a:lnTo>
                  <a:lnTo>
                    <a:pt x="222" y="166"/>
                  </a:lnTo>
                  <a:lnTo>
                    <a:pt x="206" y="182"/>
                  </a:lnTo>
                  <a:lnTo>
                    <a:pt x="215" y="199"/>
                  </a:lnTo>
                  <a:lnTo>
                    <a:pt x="201" y="215"/>
                  </a:lnTo>
                  <a:lnTo>
                    <a:pt x="206" y="215"/>
                  </a:lnTo>
                  <a:lnTo>
                    <a:pt x="206" y="232"/>
                  </a:lnTo>
                  <a:lnTo>
                    <a:pt x="206" y="220"/>
                  </a:lnTo>
                  <a:lnTo>
                    <a:pt x="189" y="203"/>
                  </a:lnTo>
                  <a:lnTo>
                    <a:pt x="201" y="203"/>
                  </a:lnTo>
                  <a:lnTo>
                    <a:pt x="189" y="194"/>
                  </a:lnTo>
                  <a:lnTo>
                    <a:pt x="180" y="182"/>
                  </a:lnTo>
                  <a:lnTo>
                    <a:pt x="168" y="182"/>
                  </a:lnTo>
                  <a:lnTo>
                    <a:pt x="185" y="199"/>
                  </a:lnTo>
                  <a:lnTo>
                    <a:pt x="185" y="203"/>
                  </a:lnTo>
                  <a:lnTo>
                    <a:pt x="151" y="194"/>
                  </a:lnTo>
                  <a:lnTo>
                    <a:pt x="163" y="177"/>
                  </a:lnTo>
                  <a:lnTo>
                    <a:pt x="163" y="161"/>
                  </a:lnTo>
                  <a:lnTo>
                    <a:pt x="114" y="128"/>
                  </a:lnTo>
                  <a:lnTo>
                    <a:pt x="92" y="121"/>
                  </a:lnTo>
                  <a:lnTo>
                    <a:pt x="81" y="95"/>
                  </a:lnTo>
                  <a:lnTo>
                    <a:pt x="43" y="83"/>
                  </a:lnTo>
                  <a:lnTo>
                    <a:pt x="43" y="88"/>
                  </a:lnTo>
                  <a:lnTo>
                    <a:pt x="71" y="104"/>
                  </a:lnTo>
                  <a:lnTo>
                    <a:pt x="55" y="121"/>
                  </a:lnTo>
                  <a:lnTo>
                    <a:pt x="38" y="104"/>
                  </a:lnTo>
                  <a:lnTo>
                    <a:pt x="17" y="95"/>
                  </a:lnTo>
                  <a:lnTo>
                    <a:pt x="0" y="66"/>
                  </a:lnTo>
                  <a:lnTo>
                    <a:pt x="22" y="50"/>
                  </a:lnTo>
                  <a:lnTo>
                    <a:pt x="17" y="33"/>
                  </a:lnTo>
                  <a:lnTo>
                    <a:pt x="0" y="29"/>
                  </a:lnTo>
                  <a:lnTo>
                    <a:pt x="17" y="29"/>
                  </a:lnTo>
                  <a:lnTo>
                    <a:pt x="17" y="17"/>
                  </a:lnTo>
                  <a:lnTo>
                    <a:pt x="22" y="0"/>
                  </a:lnTo>
                  <a:lnTo>
                    <a:pt x="71" y="29"/>
                  </a:lnTo>
                  <a:lnTo>
                    <a:pt x="81" y="17"/>
                  </a:lnTo>
                  <a:lnTo>
                    <a:pt x="135" y="38"/>
                  </a:lnTo>
                  <a:lnTo>
                    <a:pt x="151" y="33"/>
                  </a:lnTo>
                  <a:lnTo>
                    <a:pt x="163" y="29"/>
                  </a:lnTo>
                  <a:lnTo>
                    <a:pt x="180" y="71"/>
                  </a:lnTo>
                  <a:lnTo>
                    <a:pt x="222" y="121"/>
                  </a:lnTo>
                  <a:lnTo>
                    <a:pt x="232" y="121"/>
                  </a:lnTo>
                  <a:lnTo>
                    <a:pt x="232" y="121"/>
                  </a:lnTo>
                  <a:lnTo>
                    <a:pt x="232" y="121"/>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2" name="Freeform 421">
              <a:extLst>
                <a:ext uri="{FF2B5EF4-FFF2-40B4-BE49-F238E27FC236}">
                  <a16:creationId xmlns:a16="http://schemas.microsoft.com/office/drawing/2014/main" id="{FD881E87-9575-4654-B113-ED462CAC4A55}"/>
                </a:ext>
              </a:extLst>
            </p:cNvPr>
            <p:cNvSpPr>
              <a:spLocks/>
            </p:cNvSpPr>
            <p:nvPr/>
          </p:nvSpPr>
          <p:spPr bwMode="gray">
            <a:xfrm>
              <a:off x="14075390" y="3853223"/>
              <a:ext cx="299804" cy="206524"/>
            </a:xfrm>
            <a:custGeom>
              <a:avLst/>
              <a:gdLst>
                <a:gd name="T0" fmla="*/ 416 w 916"/>
                <a:gd name="T1" fmla="*/ 453 h 631"/>
                <a:gd name="T2" fmla="*/ 345 w 916"/>
                <a:gd name="T3" fmla="*/ 427 h 631"/>
                <a:gd name="T4" fmla="*/ 302 w 916"/>
                <a:gd name="T5" fmla="*/ 482 h 631"/>
                <a:gd name="T6" fmla="*/ 302 w 916"/>
                <a:gd name="T7" fmla="*/ 510 h 631"/>
                <a:gd name="T8" fmla="*/ 286 w 916"/>
                <a:gd name="T9" fmla="*/ 531 h 631"/>
                <a:gd name="T10" fmla="*/ 260 w 916"/>
                <a:gd name="T11" fmla="*/ 536 h 631"/>
                <a:gd name="T12" fmla="*/ 236 w 916"/>
                <a:gd name="T13" fmla="*/ 536 h 631"/>
                <a:gd name="T14" fmla="*/ 205 w 916"/>
                <a:gd name="T15" fmla="*/ 536 h 631"/>
                <a:gd name="T16" fmla="*/ 144 w 916"/>
                <a:gd name="T17" fmla="*/ 572 h 631"/>
                <a:gd name="T18" fmla="*/ 123 w 916"/>
                <a:gd name="T19" fmla="*/ 631 h 631"/>
                <a:gd name="T20" fmla="*/ 113 w 916"/>
                <a:gd name="T21" fmla="*/ 588 h 631"/>
                <a:gd name="T22" fmla="*/ 42 w 916"/>
                <a:gd name="T23" fmla="*/ 510 h 631"/>
                <a:gd name="T24" fmla="*/ 42 w 916"/>
                <a:gd name="T25" fmla="*/ 482 h 631"/>
                <a:gd name="T26" fmla="*/ 16 w 916"/>
                <a:gd name="T27" fmla="*/ 420 h 631"/>
                <a:gd name="T28" fmla="*/ 16 w 916"/>
                <a:gd name="T29" fmla="*/ 399 h 631"/>
                <a:gd name="T30" fmla="*/ 5 w 916"/>
                <a:gd name="T31" fmla="*/ 371 h 631"/>
                <a:gd name="T32" fmla="*/ 31 w 916"/>
                <a:gd name="T33" fmla="*/ 342 h 631"/>
                <a:gd name="T34" fmla="*/ 75 w 916"/>
                <a:gd name="T35" fmla="*/ 255 h 631"/>
                <a:gd name="T36" fmla="*/ 139 w 916"/>
                <a:gd name="T37" fmla="*/ 243 h 631"/>
                <a:gd name="T38" fmla="*/ 151 w 916"/>
                <a:gd name="T39" fmla="*/ 238 h 631"/>
                <a:gd name="T40" fmla="*/ 220 w 916"/>
                <a:gd name="T41" fmla="*/ 222 h 631"/>
                <a:gd name="T42" fmla="*/ 328 w 916"/>
                <a:gd name="T43" fmla="*/ 177 h 631"/>
                <a:gd name="T44" fmla="*/ 323 w 916"/>
                <a:gd name="T45" fmla="*/ 149 h 631"/>
                <a:gd name="T46" fmla="*/ 394 w 916"/>
                <a:gd name="T47" fmla="*/ 132 h 631"/>
                <a:gd name="T48" fmla="*/ 425 w 916"/>
                <a:gd name="T49" fmla="*/ 127 h 631"/>
                <a:gd name="T50" fmla="*/ 479 w 916"/>
                <a:gd name="T51" fmla="*/ 78 h 631"/>
                <a:gd name="T52" fmla="*/ 501 w 916"/>
                <a:gd name="T53" fmla="*/ 66 h 631"/>
                <a:gd name="T54" fmla="*/ 508 w 916"/>
                <a:gd name="T55" fmla="*/ 33 h 631"/>
                <a:gd name="T56" fmla="*/ 593 w 916"/>
                <a:gd name="T57" fmla="*/ 12 h 631"/>
                <a:gd name="T58" fmla="*/ 647 w 916"/>
                <a:gd name="T59" fmla="*/ 90 h 631"/>
                <a:gd name="T60" fmla="*/ 642 w 916"/>
                <a:gd name="T61" fmla="*/ 132 h 631"/>
                <a:gd name="T62" fmla="*/ 642 w 916"/>
                <a:gd name="T63" fmla="*/ 149 h 631"/>
                <a:gd name="T64" fmla="*/ 685 w 916"/>
                <a:gd name="T65" fmla="*/ 168 h 631"/>
                <a:gd name="T66" fmla="*/ 685 w 916"/>
                <a:gd name="T67" fmla="*/ 184 h 631"/>
                <a:gd name="T68" fmla="*/ 723 w 916"/>
                <a:gd name="T69" fmla="*/ 205 h 631"/>
                <a:gd name="T70" fmla="*/ 760 w 916"/>
                <a:gd name="T71" fmla="*/ 234 h 631"/>
                <a:gd name="T72" fmla="*/ 756 w 916"/>
                <a:gd name="T73" fmla="*/ 255 h 631"/>
                <a:gd name="T74" fmla="*/ 810 w 916"/>
                <a:gd name="T75" fmla="*/ 293 h 631"/>
                <a:gd name="T76" fmla="*/ 841 w 916"/>
                <a:gd name="T77" fmla="*/ 316 h 631"/>
                <a:gd name="T78" fmla="*/ 848 w 916"/>
                <a:gd name="T79" fmla="*/ 349 h 631"/>
                <a:gd name="T80" fmla="*/ 869 w 916"/>
                <a:gd name="T81" fmla="*/ 366 h 631"/>
                <a:gd name="T82" fmla="*/ 902 w 916"/>
                <a:gd name="T83" fmla="*/ 399 h 631"/>
                <a:gd name="T84" fmla="*/ 916 w 916"/>
                <a:gd name="T85" fmla="*/ 437 h 631"/>
                <a:gd name="T86" fmla="*/ 869 w 916"/>
                <a:gd name="T87" fmla="*/ 437 h 631"/>
                <a:gd name="T88" fmla="*/ 848 w 916"/>
                <a:gd name="T89" fmla="*/ 437 h 631"/>
                <a:gd name="T90" fmla="*/ 810 w 916"/>
                <a:gd name="T91" fmla="*/ 420 h 631"/>
                <a:gd name="T92" fmla="*/ 772 w 916"/>
                <a:gd name="T93" fmla="*/ 411 h 631"/>
                <a:gd name="T94" fmla="*/ 723 w 916"/>
                <a:gd name="T95" fmla="*/ 444 h 631"/>
                <a:gd name="T96" fmla="*/ 701 w 916"/>
                <a:gd name="T97" fmla="*/ 437 h 631"/>
                <a:gd name="T98" fmla="*/ 631 w 916"/>
                <a:gd name="T99" fmla="*/ 465 h 631"/>
                <a:gd name="T100" fmla="*/ 576 w 916"/>
                <a:gd name="T101" fmla="*/ 477 h 631"/>
                <a:gd name="T102" fmla="*/ 572 w 916"/>
                <a:gd name="T103" fmla="*/ 494 h 631"/>
                <a:gd name="T104" fmla="*/ 517 w 916"/>
                <a:gd name="T105" fmla="*/ 494 h 631"/>
                <a:gd name="T106" fmla="*/ 463 w 916"/>
                <a:gd name="T107" fmla="*/ 477 h 631"/>
                <a:gd name="T108" fmla="*/ 425 w 916"/>
                <a:gd name="T109" fmla="*/ 465 h 631"/>
                <a:gd name="T110" fmla="*/ 425 w 916"/>
                <a:gd name="T111" fmla="*/ 465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16" h="631">
                  <a:moveTo>
                    <a:pt x="425" y="465"/>
                  </a:moveTo>
                  <a:lnTo>
                    <a:pt x="416" y="453"/>
                  </a:lnTo>
                  <a:lnTo>
                    <a:pt x="378" y="427"/>
                  </a:lnTo>
                  <a:lnTo>
                    <a:pt x="345" y="427"/>
                  </a:lnTo>
                  <a:lnTo>
                    <a:pt x="323" y="444"/>
                  </a:lnTo>
                  <a:lnTo>
                    <a:pt x="302" y="482"/>
                  </a:lnTo>
                  <a:lnTo>
                    <a:pt x="290" y="482"/>
                  </a:lnTo>
                  <a:lnTo>
                    <a:pt x="302" y="510"/>
                  </a:lnTo>
                  <a:lnTo>
                    <a:pt x="290" y="548"/>
                  </a:lnTo>
                  <a:lnTo>
                    <a:pt x="286" y="531"/>
                  </a:lnTo>
                  <a:lnTo>
                    <a:pt x="260" y="548"/>
                  </a:lnTo>
                  <a:lnTo>
                    <a:pt x="260" y="536"/>
                  </a:lnTo>
                  <a:lnTo>
                    <a:pt x="236" y="536"/>
                  </a:lnTo>
                  <a:lnTo>
                    <a:pt x="236" y="536"/>
                  </a:lnTo>
                  <a:lnTo>
                    <a:pt x="215" y="531"/>
                  </a:lnTo>
                  <a:lnTo>
                    <a:pt x="205" y="536"/>
                  </a:lnTo>
                  <a:lnTo>
                    <a:pt x="151" y="536"/>
                  </a:lnTo>
                  <a:lnTo>
                    <a:pt x="144" y="572"/>
                  </a:lnTo>
                  <a:lnTo>
                    <a:pt x="144" y="593"/>
                  </a:lnTo>
                  <a:lnTo>
                    <a:pt x="123" y="631"/>
                  </a:lnTo>
                  <a:lnTo>
                    <a:pt x="113" y="621"/>
                  </a:lnTo>
                  <a:lnTo>
                    <a:pt x="113" y="588"/>
                  </a:lnTo>
                  <a:lnTo>
                    <a:pt x="59" y="531"/>
                  </a:lnTo>
                  <a:lnTo>
                    <a:pt x="42" y="510"/>
                  </a:lnTo>
                  <a:lnTo>
                    <a:pt x="54" y="510"/>
                  </a:lnTo>
                  <a:lnTo>
                    <a:pt x="42" y="482"/>
                  </a:lnTo>
                  <a:lnTo>
                    <a:pt x="21" y="465"/>
                  </a:lnTo>
                  <a:lnTo>
                    <a:pt x="16" y="420"/>
                  </a:lnTo>
                  <a:lnTo>
                    <a:pt x="5" y="411"/>
                  </a:lnTo>
                  <a:lnTo>
                    <a:pt x="16" y="399"/>
                  </a:lnTo>
                  <a:lnTo>
                    <a:pt x="16" y="371"/>
                  </a:lnTo>
                  <a:lnTo>
                    <a:pt x="5" y="371"/>
                  </a:lnTo>
                  <a:lnTo>
                    <a:pt x="0" y="366"/>
                  </a:lnTo>
                  <a:lnTo>
                    <a:pt x="31" y="342"/>
                  </a:lnTo>
                  <a:lnTo>
                    <a:pt x="54" y="276"/>
                  </a:lnTo>
                  <a:lnTo>
                    <a:pt x="75" y="255"/>
                  </a:lnTo>
                  <a:lnTo>
                    <a:pt x="106" y="255"/>
                  </a:lnTo>
                  <a:lnTo>
                    <a:pt x="139" y="243"/>
                  </a:lnTo>
                  <a:lnTo>
                    <a:pt x="151" y="234"/>
                  </a:lnTo>
                  <a:lnTo>
                    <a:pt x="151" y="238"/>
                  </a:lnTo>
                  <a:lnTo>
                    <a:pt x="168" y="255"/>
                  </a:lnTo>
                  <a:lnTo>
                    <a:pt x="220" y="222"/>
                  </a:lnTo>
                  <a:lnTo>
                    <a:pt x="290" y="217"/>
                  </a:lnTo>
                  <a:lnTo>
                    <a:pt x="328" y="177"/>
                  </a:lnTo>
                  <a:lnTo>
                    <a:pt x="312" y="160"/>
                  </a:lnTo>
                  <a:lnTo>
                    <a:pt x="323" y="149"/>
                  </a:lnTo>
                  <a:lnTo>
                    <a:pt x="383" y="144"/>
                  </a:lnTo>
                  <a:lnTo>
                    <a:pt x="394" y="132"/>
                  </a:lnTo>
                  <a:lnTo>
                    <a:pt x="416" y="144"/>
                  </a:lnTo>
                  <a:lnTo>
                    <a:pt x="425" y="127"/>
                  </a:lnTo>
                  <a:lnTo>
                    <a:pt x="449" y="123"/>
                  </a:lnTo>
                  <a:lnTo>
                    <a:pt x="479" y="78"/>
                  </a:lnTo>
                  <a:lnTo>
                    <a:pt x="486" y="78"/>
                  </a:lnTo>
                  <a:lnTo>
                    <a:pt x="501" y="66"/>
                  </a:lnTo>
                  <a:lnTo>
                    <a:pt x="508" y="57"/>
                  </a:lnTo>
                  <a:lnTo>
                    <a:pt x="508" y="33"/>
                  </a:lnTo>
                  <a:lnTo>
                    <a:pt x="562" y="0"/>
                  </a:lnTo>
                  <a:lnTo>
                    <a:pt x="593" y="12"/>
                  </a:lnTo>
                  <a:lnTo>
                    <a:pt x="626" y="40"/>
                  </a:lnTo>
                  <a:lnTo>
                    <a:pt x="647" y="90"/>
                  </a:lnTo>
                  <a:lnTo>
                    <a:pt x="647" y="127"/>
                  </a:lnTo>
                  <a:lnTo>
                    <a:pt x="642" y="132"/>
                  </a:lnTo>
                  <a:lnTo>
                    <a:pt x="631" y="144"/>
                  </a:lnTo>
                  <a:lnTo>
                    <a:pt x="642" y="149"/>
                  </a:lnTo>
                  <a:lnTo>
                    <a:pt x="642" y="168"/>
                  </a:lnTo>
                  <a:lnTo>
                    <a:pt x="685" y="168"/>
                  </a:lnTo>
                  <a:lnTo>
                    <a:pt x="697" y="177"/>
                  </a:lnTo>
                  <a:lnTo>
                    <a:pt x="685" y="184"/>
                  </a:lnTo>
                  <a:lnTo>
                    <a:pt x="685" y="201"/>
                  </a:lnTo>
                  <a:lnTo>
                    <a:pt x="723" y="205"/>
                  </a:lnTo>
                  <a:lnTo>
                    <a:pt x="751" y="234"/>
                  </a:lnTo>
                  <a:lnTo>
                    <a:pt x="760" y="234"/>
                  </a:lnTo>
                  <a:lnTo>
                    <a:pt x="760" y="243"/>
                  </a:lnTo>
                  <a:lnTo>
                    <a:pt x="756" y="255"/>
                  </a:lnTo>
                  <a:lnTo>
                    <a:pt x="756" y="255"/>
                  </a:lnTo>
                  <a:lnTo>
                    <a:pt x="810" y="293"/>
                  </a:lnTo>
                  <a:lnTo>
                    <a:pt x="815" y="300"/>
                  </a:lnTo>
                  <a:lnTo>
                    <a:pt x="841" y="316"/>
                  </a:lnTo>
                  <a:lnTo>
                    <a:pt x="831" y="333"/>
                  </a:lnTo>
                  <a:lnTo>
                    <a:pt x="848" y="349"/>
                  </a:lnTo>
                  <a:lnTo>
                    <a:pt x="841" y="354"/>
                  </a:lnTo>
                  <a:lnTo>
                    <a:pt x="869" y="366"/>
                  </a:lnTo>
                  <a:lnTo>
                    <a:pt x="895" y="383"/>
                  </a:lnTo>
                  <a:lnTo>
                    <a:pt x="902" y="399"/>
                  </a:lnTo>
                  <a:lnTo>
                    <a:pt x="902" y="411"/>
                  </a:lnTo>
                  <a:lnTo>
                    <a:pt x="916" y="437"/>
                  </a:lnTo>
                  <a:lnTo>
                    <a:pt x="886" y="420"/>
                  </a:lnTo>
                  <a:lnTo>
                    <a:pt x="869" y="437"/>
                  </a:lnTo>
                  <a:lnTo>
                    <a:pt x="864" y="427"/>
                  </a:lnTo>
                  <a:lnTo>
                    <a:pt x="848" y="437"/>
                  </a:lnTo>
                  <a:lnTo>
                    <a:pt x="827" y="420"/>
                  </a:lnTo>
                  <a:lnTo>
                    <a:pt x="810" y="420"/>
                  </a:lnTo>
                  <a:lnTo>
                    <a:pt x="777" y="411"/>
                  </a:lnTo>
                  <a:lnTo>
                    <a:pt x="772" y="411"/>
                  </a:lnTo>
                  <a:lnTo>
                    <a:pt x="760" y="437"/>
                  </a:lnTo>
                  <a:lnTo>
                    <a:pt x="723" y="444"/>
                  </a:lnTo>
                  <a:lnTo>
                    <a:pt x="701" y="427"/>
                  </a:lnTo>
                  <a:lnTo>
                    <a:pt x="701" y="437"/>
                  </a:lnTo>
                  <a:lnTo>
                    <a:pt x="642" y="460"/>
                  </a:lnTo>
                  <a:lnTo>
                    <a:pt x="631" y="465"/>
                  </a:lnTo>
                  <a:lnTo>
                    <a:pt x="593" y="453"/>
                  </a:lnTo>
                  <a:lnTo>
                    <a:pt x="576" y="477"/>
                  </a:lnTo>
                  <a:lnTo>
                    <a:pt x="572" y="477"/>
                  </a:lnTo>
                  <a:lnTo>
                    <a:pt x="572" y="494"/>
                  </a:lnTo>
                  <a:lnTo>
                    <a:pt x="555" y="498"/>
                  </a:lnTo>
                  <a:lnTo>
                    <a:pt x="517" y="494"/>
                  </a:lnTo>
                  <a:lnTo>
                    <a:pt x="479" y="494"/>
                  </a:lnTo>
                  <a:lnTo>
                    <a:pt x="463" y="477"/>
                  </a:lnTo>
                  <a:lnTo>
                    <a:pt x="432" y="482"/>
                  </a:lnTo>
                  <a:lnTo>
                    <a:pt x="425" y="465"/>
                  </a:lnTo>
                  <a:lnTo>
                    <a:pt x="425" y="465"/>
                  </a:lnTo>
                  <a:lnTo>
                    <a:pt x="425" y="465"/>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3" name="Freeform 422">
              <a:extLst>
                <a:ext uri="{FF2B5EF4-FFF2-40B4-BE49-F238E27FC236}">
                  <a16:creationId xmlns:a16="http://schemas.microsoft.com/office/drawing/2014/main" id="{8F1C60BF-29A7-481A-B898-0E74AC487441}"/>
                </a:ext>
              </a:extLst>
            </p:cNvPr>
            <p:cNvSpPr>
              <a:spLocks noEditPoints="1"/>
            </p:cNvSpPr>
            <p:nvPr/>
          </p:nvSpPr>
          <p:spPr bwMode="gray">
            <a:xfrm>
              <a:off x="11795441" y="3557020"/>
              <a:ext cx="247436" cy="84443"/>
            </a:xfrm>
            <a:custGeom>
              <a:avLst/>
              <a:gdLst>
                <a:gd name="T0" fmla="*/ 685 w 756"/>
                <a:gd name="T1" fmla="*/ 241 h 258"/>
                <a:gd name="T2" fmla="*/ 605 w 756"/>
                <a:gd name="T3" fmla="*/ 241 h 258"/>
                <a:gd name="T4" fmla="*/ 545 w 756"/>
                <a:gd name="T5" fmla="*/ 217 h 258"/>
                <a:gd name="T6" fmla="*/ 475 w 756"/>
                <a:gd name="T7" fmla="*/ 196 h 258"/>
                <a:gd name="T8" fmla="*/ 432 w 756"/>
                <a:gd name="T9" fmla="*/ 123 h 258"/>
                <a:gd name="T10" fmla="*/ 314 w 756"/>
                <a:gd name="T11" fmla="*/ 95 h 258"/>
                <a:gd name="T12" fmla="*/ 281 w 756"/>
                <a:gd name="T13" fmla="*/ 90 h 258"/>
                <a:gd name="T14" fmla="*/ 243 w 756"/>
                <a:gd name="T15" fmla="*/ 83 h 258"/>
                <a:gd name="T16" fmla="*/ 227 w 756"/>
                <a:gd name="T17" fmla="*/ 57 h 258"/>
                <a:gd name="T18" fmla="*/ 151 w 756"/>
                <a:gd name="T19" fmla="*/ 40 h 258"/>
                <a:gd name="T20" fmla="*/ 59 w 756"/>
                <a:gd name="T21" fmla="*/ 95 h 258"/>
                <a:gd name="T22" fmla="*/ 28 w 756"/>
                <a:gd name="T23" fmla="*/ 95 h 258"/>
                <a:gd name="T24" fmla="*/ 28 w 756"/>
                <a:gd name="T25" fmla="*/ 90 h 258"/>
                <a:gd name="T26" fmla="*/ 54 w 756"/>
                <a:gd name="T27" fmla="*/ 50 h 258"/>
                <a:gd name="T28" fmla="*/ 189 w 756"/>
                <a:gd name="T29" fmla="*/ 0 h 258"/>
                <a:gd name="T30" fmla="*/ 260 w 756"/>
                <a:gd name="T31" fmla="*/ 0 h 258"/>
                <a:gd name="T32" fmla="*/ 297 w 756"/>
                <a:gd name="T33" fmla="*/ 12 h 258"/>
                <a:gd name="T34" fmla="*/ 368 w 756"/>
                <a:gd name="T35" fmla="*/ 33 h 258"/>
                <a:gd name="T36" fmla="*/ 444 w 756"/>
                <a:gd name="T37" fmla="*/ 66 h 258"/>
                <a:gd name="T38" fmla="*/ 524 w 756"/>
                <a:gd name="T39" fmla="*/ 111 h 258"/>
                <a:gd name="T40" fmla="*/ 508 w 756"/>
                <a:gd name="T41" fmla="*/ 106 h 258"/>
                <a:gd name="T42" fmla="*/ 545 w 756"/>
                <a:gd name="T43" fmla="*/ 123 h 258"/>
                <a:gd name="T44" fmla="*/ 545 w 756"/>
                <a:gd name="T45" fmla="*/ 123 h 258"/>
                <a:gd name="T46" fmla="*/ 567 w 756"/>
                <a:gd name="T47" fmla="*/ 140 h 258"/>
                <a:gd name="T48" fmla="*/ 595 w 756"/>
                <a:gd name="T49" fmla="*/ 151 h 258"/>
                <a:gd name="T50" fmla="*/ 621 w 756"/>
                <a:gd name="T51" fmla="*/ 163 h 258"/>
                <a:gd name="T52" fmla="*/ 647 w 756"/>
                <a:gd name="T53" fmla="*/ 180 h 258"/>
                <a:gd name="T54" fmla="*/ 701 w 756"/>
                <a:gd name="T55" fmla="*/ 196 h 258"/>
                <a:gd name="T56" fmla="*/ 744 w 756"/>
                <a:gd name="T57" fmla="*/ 241 h 258"/>
                <a:gd name="T58" fmla="*/ 685 w 756"/>
                <a:gd name="T59" fmla="*/ 253 h 258"/>
                <a:gd name="T60" fmla="*/ 437 w 756"/>
                <a:gd name="T61" fmla="*/ 50 h 258"/>
                <a:gd name="T62" fmla="*/ 453 w 756"/>
                <a:gd name="T63" fmla="*/ 57 h 258"/>
                <a:gd name="T64" fmla="*/ 486 w 756"/>
                <a:gd name="T65" fmla="*/ 73 h 258"/>
                <a:gd name="T66" fmla="*/ 486 w 756"/>
                <a:gd name="T67" fmla="*/ 73 h 258"/>
                <a:gd name="T68" fmla="*/ 491 w 756"/>
                <a:gd name="T69" fmla="*/ 83 h 258"/>
                <a:gd name="T70" fmla="*/ 491 w 756"/>
                <a:gd name="T71" fmla="*/ 73 h 258"/>
                <a:gd name="T72" fmla="*/ 491 w 756"/>
                <a:gd name="T73" fmla="*/ 83 h 258"/>
                <a:gd name="T74" fmla="*/ 508 w 756"/>
                <a:gd name="T75" fmla="*/ 90 h 258"/>
                <a:gd name="T76" fmla="*/ 508 w 756"/>
                <a:gd name="T77" fmla="*/ 95 h 258"/>
                <a:gd name="T78" fmla="*/ 120 w 756"/>
                <a:gd name="T79" fmla="*/ 123 h 258"/>
                <a:gd name="T80" fmla="*/ 130 w 756"/>
                <a:gd name="T81" fmla="*/ 106 h 258"/>
                <a:gd name="T82" fmla="*/ 168 w 756"/>
                <a:gd name="T83" fmla="*/ 123 h 258"/>
                <a:gd name="T84" fmla="*/ 134 w 756"/>
                <a:gd name="T85" fmla="*/ 14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6" h="258">
                  <a:moveTo>
                    <a:pt x="685" y="253"/>
                  </a:moveTo>
                  <a:lnTo>
                    <a:pt x="685" y="253"/>
                  </a:lnTo>
                  <a:lnTo>
                    <a:pt x="685" y="241"/>
                  </a:lnTo>
                  <a:lnTo>
                    <a:pt x="685" y="253"/>
                  </a:lnTo>
                  <a:lnTo>
                    <a:pt x="675" y="253"/>
                  </a:lnTo>
                  <a:lnTo>
                    <a:pt x="605" y="241"/>
                  </a:lnTo>
                  <a:lnTo>
                    <a:pt x="496" y="258"/>
                  </a:lnTo>
                  <a:lnTo>
                    <a:pt x="512" y="241"/>
                  </a:lnTo>
                  <a:lnTo>
                    <a:pt x="545" y="217"/>
                  </a:lnTo>
                  <a:lnTo>
                    <a:pt x="545" y="208"/>
                  </a:lnTo>
                  <a:lnTo>
                    <a:pt x="541" y="196"/>
                  </a:lnTo>
                  <a:lnTo>
                    <a:pt x="475" y="196"/>
                  </a:lnTo>
                  <a:lnTo>
                    <a:pt x="444" y="168"/>
                  </a:lnTo>
                  <a:lnTo>
                    <a:pt x="437" y="128"/>
                  </a:lnTo>
                  <a:lnTo>
                    <a:pt x="432" y="123"/>
                  </a:lnTo>
                  <a:lnTo>
                    <a:pt x="399" y="128"/>
                  </a:lnTo>
                  <a:lnTo>
                    <a:pt x="345" y="111"/>
                  </a:lnTo>
                  <a:lnTo>
                    <a:pt x="314" y="95"/>
                  </a:lnTo>
                  <a:lnTo>
                    <a:pt x="307" y="83"/>
                  </a:lnTo>
                  <a:lnTo>
                    <a:pt x="297" y="90"/>
                  </a:lnTo>
                  <a:lnTo>
                    <a:pt x="281" y="90"/>
                  </a:lnTo>
                  <a:lnTo>
                    <a:pt x="260" y="83"/>
                  </a:lnTo>
                  <a:lnTo>
                    <a:pt x="243" y="90"/>
                  </a:lnTo>
                  <a:lnTo>
                    <a:pt x="243" y="83"/>
                  </a:lnTo>
                  <a:lnTo>
                    <a:pt x="217" y="83"/>
                  </a:lnTo>
                  <a:lnTo>
                    <a:pt x="189" y="66"/>
                  </a:lnTo>
                  <a:lnTo>
                    <a:pt x="227" y="57"/>
                  </a:lnTo>
                  <a:lnTo>
                    <a:pt x="227" y="50"/>
                  </a:lnTo>
                  <a:lnTo>
                    <a:pt x="217" y="40"/>
                  </a:lnTo>
                  <a:lnTo>
                    <a:pt x="151" y="40"/>
                  </a:lnTo>
                  <a:lnTo>
                    <a:pt x="108" y="73"/>
                  </a:lnTo>
                  <a:lnTo>
                    <a:pt x="66" y="83"/>
                  </a:lnTo>
                  <a:lnTo>
                    <a:pt x="59" y="95"/>
                  </a:lnTo>
                  <a:lnTo>
                    <a:pt x="45" y="95"/>
                  </a:lnTo>
                  <a:lnTo>
                    <a:pt x="28" y="111"/>
                  </a:lnTo>
                  <a:lnTo>
                    <a:pt x="28" y="95"/>
                  </a:lnTo>
                  <a:lnTo>
                    <a:pt x="7" y="106"/>
                  </a:lnTo>
                  <a:lnTo>
                    <a:pt x="0" y="106"/>
                  </a:lnTo>
                  <a:lnTo>
                    <a:pt x="28" y="90"/>
                  </a:lnTo>
                  <a:lnTo>
                    <a:pt x="38" y="90"/>
                  </a:lnTo>
                  <a:lnTo>
                    <a:pt x="28" y="73"/>
                  </a:lnTo>
                  <a:lnTo>
                    <a:pt x="54" y="50"/>
                  </a:lnTo>
                  <a:lnTo>
                    <a:pt x="113" y="17"/>
                  </a:lnTo>
                  <a:lnTo>
                    <a:pt x="134" y="17"/>
                  </a:lnTo>
                  <a:lnTo>
                    <a:pt x="189" y="0"/>
                  </a:lnTo>
                  <a:lnTo>
                    <a:pt x="227" y="0"/>
                  </a:lnTo>
                  <a:lnTo>
                    <a:pt x="238" y="12"/>
                  </a:lnTo>
                  <a:lnTo>
                    <a:pt x="260" y="0"/>
                  </a:lnTo>
                  <a:lnTo>
                    <a:pt x="255" y="12"/>
                  </a:lnTo>
                  <a:lnTo>
                    <a:pt x="260" y="17"/>
                  </a:lnTo>
                  <a:lnTo>
                    <a:pt x="297" y="12"/>
                  </a:lnTo>
                  <a:lnTo>
                    <a:pt x="323" y="21"/>
                  </a:lnTo>
                  <a:lnTo>
                    <a:pt x="335" y="17"/>
                  </a:lnTo>
                  <a:lnTo>
                    <a:pt x="368" y="33"/>
                  </a:lnTo>
                  <a:lnTo>
                    <a:pt x="390" y="66"/>
                  </a:lnTo>
                  <a:lnTo>
                    <a:pt x="420" y="66"/>
                  </a:lnTo>
                  <a:lnTo>
                    <a:pt x="444" y="66"/>
                  </a:lnTo>
                  <a:lnTo>
                    <a:pt x="475" y="90"/>
                  </a:lnTo>
                  <a:lnTo>
                    <a:pt x="496" y="106"/>
                  </a:lnTo>
                  <a:lnTo>
                    <a:pt x="524" y="111"/>
                  </a:lnTo>
                  <a:lnTo>
                    <a:pt x="524" y="123"/>
                  </a:lnTo>
                  <a:lnTo>
                    <a:pt x="529" y="123"/>
                  </a:lnTo>
                  <a:lnTo>
                    <a:pt x="508" y="106"/>
                  </a:lnTo>
                  <a:lnTo>
                    <a:pt x="512" y="95"/>
                  </a:lnTo>
                  <a:lnTo>
                    <a:pt x="545" y="123"/>
                  </a:lnTo>
                  <a:lnTo>
                    <a:pt x="545" y="123"/>
                  </a:lnTo>
                  <a:lnTo>
                    <a:pt x="529" y="123"/>
                  </a:lnTo>
                  <a:lnTo>
                    <a:pt x="541" y="128"/>
                  </a:lnTo>
                  <a:lnTo>
                    <a:pt x="545" y="123"/>
                  </a:lnTo>
                  <a:lnTo>
                    <a:pt x="562" y="140"/>
                  </a:lnTo>
                  <a:lnTo>
                    <a:pt x="562" y="147"/>
                  </a:lnTo>
                  <a:lnTo>
                    <a:pt x="567" y="140"/>
                  </a:lnTo>
                  <a:lnTo>
                    <a:pt x="579" y="147"/>
                  </a:lnTo>
                  <a:lnTo>
                    <a:pt x="583" y="151"/>
                  </a:lnTo>
                  <a:lnTo>
                    <a:pt x="595" y="151"/>
                  </a:lnTo>
                  <a:lnTo>
                    <a:pt x="595" y="147"/>
                  </a:lnTo>
                  <a:lnTo>
                    <a:pt x="600" y="147"/>
                  </a:lnTo>
                  <a:lnTo>
                    <a:pt x="621" y="163"/>
                  </a:lnTo>
                  <a:lnTo>
                    <a:pt x="647" y="163"/>
                  </a:lnTo>
                  <a:lnTo>
                    <a:pt x="654" y="168"/>
                  </a:lnTo>
                  <a:lnTo>
                    <a:pt x="647" y="180"/>
                  </a:lnTo>
                  <a:lnTo>
                    <a:pt x="638" y="184"/>
                  </a:lnTo>
                  <a:lnTo>
                    <a:pt x="638" y="196"/>
                  </a:lnTo>
                  <a:lnTo>
                    <a:pt x="701" y="196"/>
                  </a:lnTo>
                  <a:lnTo>
                    <a:pt x="730" y="217"/>
                  </a:lnTo>
                  <a:lnTo>
                    <a:pt x="756" y="225"/>
                  </a:lnTo>
                  <a:lnTo>
                    <a:pt x="744" y="241"/>
                  </a:lnTo>
                  <a:lnTo>
                    <a:pt x="706" y="241"/>
                  </a:lnTo>
                  <a:lnTo>
                    <a:pt x="685" y="253"/>
                  </a:lnTo>
                  <a:lnTo>
                    <a:pt x="685" y="253"/>
                  </a:lnTo>
                  <a:lnTo>
                    <a:pt x="685" y="253"/>
                  </a:lnTo>
                  <a:close/>
                  <a:moveTo>
                    <a:pt x="453" y="57"/>
                  </a:moveTo>
                  <a:lnTo>
                    <a:pt x="437" y="50"/>
                  </a:lnTo>
                  <a:lnTo>
                    <a:pt x="453" y="50"/>
                  </a:lnTo>
                  <a:lnTo>
                    <a:pt x="458" y="57"/>
                  </a:lnTo>
                  <a:lnTo>
                    <a:pt x="453" y="57"/>
                  </a:lnTo>
                  <a:lnTo>
                    <a:pt x="453" y="57"/>
                  </a:lnTo>
                  <a:lnTo>
                    <a:pt x="453" y="57"/>
                  </a:lnTo>
                  <a:close/>
                  <a:moveTo>
                    <a:pt x="486" y="73"/>
                  </a:moveTo>
                  <a:lnTo>
                    <a:pt x="458" y="57"/>
                  </a:lnTo>
                  <a:lnTo>
                    <a:pt x="475" y="57"/>
                  </a:lnTo>
                  <a:lnTo>
                    <a:pt x="486" y="73"/>
                  </a:lnTo>
                  <a:lnTo>
                    <a:pt x="486" y="73"/>
                  </a:lnTo>
                  <a:lnTo>
                    <a:pt x="486" y="73"/>
                  </a:lnTo>
                  <a:close/>
                  <a:moveTo>
                    <a:pt x="491" y="83"/>
                  </a:moveTo>
                  <a:lnTo>
                    <a:pt x="475" y="83"/>
                  </a:lnTo>
                  <a:lnTo>
                    <a:pt x="486" y="73"/>
                  </a:lnTo>
                  <a:lnTo>
                    <a:pt x="491" y="73"/>
                  </a:lnTo>
                  <a:lnTo>
                    <a:pt x="491" y="83"/>
                  </a:lnTo>
                  <a:lnTo>
                    <a:pt x="491" y="83"/>
                  </a:lnTo>
                  <a:lnTo>
                    <a:pt x="491" y="83"/>
                  </a:lnTo>
                  <a:close/>
                  <a:moveTo>
                    <a:pt x="508" y="95"/>
                  </a:moveTo>
                  <a:lnTo>
                    <a:pt x="486" y="83"/>
                  </a:lnTo>
                  <a:lnTo>
                    <a:pt x="508" y="90"/>
                  </a:lnTo>
                  <a:lnTo>
                    <a:pt x="508" y="95"/>
                  </a:lnTo>
                  <a:lnTo>
                    <a:pt x="508" y="95"/>
                  </a:lnTo>
                  <a:lnTo>
                    <a:pt x="508" y="95"/>
                  </a:lnTo>
                  <a:close/>
                  <a:moveTo>
                    <a:pt x="134" y="140"/>
                  </a:moveTo>
                  <a:lnTo>
                    <a:pt x="130" y="140"/>
                  </a:lnTo>
                  <a:lnTo>
                    <a:pt x="120" y="123"/>
                  </a:lnTo>
                  <a:lnTo>
                    <a:pt x="130" y="128"/>
                  </a:lnTo>
                  <a:lnTo>
                    <a:pt x="134" y="123"/>
                  </a:lnTo>
                  <a:lnTo>
                    <a:pt x="130" y="106"/>
                  </a:lnTo>
                  <a:lnTo>
                    <a:pt x="134" y="95"/>
                  </a:lnTo>
                  <a:lnTo>
                    <a:pt x="151" y="95"/>
                  </a:lnTo>
                  <a:lnTo>
                    <a:pt x="168" y="123"/>
                  </a:lnTo>
                  <a:lnTo>
                    <a:pt x="134" y="140"/>
                  </a:lnTo>
                  <a:lnTo>
                    <a:pt x="134" y="140"/>
                  </a:lnTo>
                  <a:lnTo>
                    <a:pt x="134" y="14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4" name="Freeform 423">
              <a:extLst>
                <a:ext uri="{FF2B5EF4-FFF2-40B4-BE49-F238E27FC236}">
                  <a16:creationId xmlns:a16="http://schemas.microsoft.com/office/drawing/2014/main" id="{A565FCD7-4748-4A87-B0A8-1AF44C4FC38F}"/>
                </a:ext>
              </a:extLst>
            </p:cNvPr>
            <p:cNvSpPr>
              <a:spLocks noEditPoints="1"/>
            </p:cNvSpPr>
            <p:nvPr/>
          </p:nvSpPr>
          <p:spPr bwMode="gray">
            <a:xfrm>
              <a:off x="13163869" y="3705612"/>
              <a:ext cx="60223" cy="56295"/>
            </a:xfrm>
            <a:custGeom>
              <a:avLst/>
              <a:gdLst>
                <a:gd name="T0" fmla="*/ 0 w 184"/>
                <a:gd name="T1" fmla="*/ 19 h 172"/>
                <a:gd name="T2" fmla="*/ 0 w 184"/>
                <a:gd name="T3" fmla="*/ 7 h 172"/>
                <a:gd name="T4" fmla="*/ 16 w 184"/>
                <a:gd name="T5" fmla="*/ 0 h 172"/>
                <a:gd name="T6" fmla="*/ 21 w 184"/>
                <a:gd name="T7" fmla="*/ 7 h 172"/>
                <a:gd name="T8" fmla="*/ 0 w 184"/>
                <a:gd name="T9" fmla="*/ 19 h 172"/>
                <a:gd name="T10" fmla="*/ 0 w 184"/>
                <a:gd name="T11" fmla="*/ 19 h 172"/>
                <a:gd name="T12" fmla="*/ 0 w 184"/>
                <a:gd name="T13" fmla="*/ 19 h 172"/>
                <a:gd name="T14" fmla="*/ 21 w 184"/>
                <a:gd name="T15" fmla="*/ 28 h 172"/>
                <a:gd name="T16" fmla="*/ 16 w 184"/>
                <a:gd name="T17" fmla="*/ 23 h 172"/>
                <a:gd name="T18" fmla="*/ 21 w 184"/>
                <a:gd name="T19" fmla="*/ 19 h 172"/>
                <a:gd name="T20" fmla="*/ 33 w 184"/>
                <a:gd name="T21" fmla="*/ 23 h 172"/>
                <a:gd name="T22" fmla="*/ 21 w 184"/>
                <a:gd name="T23" fmla="*/ 28 h 172"/>
                <a:gd name="T24" fmla="*/ 21 w 184"/>
                <a:gd name="T25" fmla="*/ 28 h 172"/>
                <a:gd name="T26" fmla="*/ 21 w 184"/>
                <a:gd name="T27" fmla="*/ 28 h 172"/>
                <a:gd name="T28" fmla="*/ 71 w 184"/>
                <a:gd name="T29" fmla="*/ 45 h 172"/>
                <a:gd name="T30" fmla="*/ 59 w 184"/>
                <a:gd name="T31" fmla="*/ 40 h 172"/>
                <a:gd name="T32" fmla="*/ 92 w 184"/>
                <a:gd name="T33" fmla="*/ 45 h 172"/>
                <a:gd name="T34" fmla="*/ 71 w 184"/>
                <a:gd name="T35" fmla="*/ 40 h 172"/>
                <a:gd name="T36" fmla="*/ 71 w 184"/>
                <a:gd name="T37" fmla="*/ 45 h 172"/>
                <a:gd name="T38" fmla="*/ 71 w 184"/>
                <a:gd name="T39" fmla="*/ 45 h 172"/>
                <a:gd name="T40" fmla="*/ 71 w 184"/>
                <a:gd name="T41" fmla="*/ 45 h 172"/>
                <a:gd name="T42" fmla="*/ 179 w 184"/>
                <a:gd name="T43" fmla="*/ 85 h 172"/>
                <a:gd name="T44" fmla="*/ 163 w 184"/>
                <a:gd name="T45" fmla="*/ 85 h 172"/>
                <a:gd name="T46" fmla="*/ 179 w 184"/>
                <a:gd name="T47" fmla="*/ 73 h 172"/>
                <a:gd name="T48" fmla="*/ 184 w 184"/>
                <a:gd name="T49" fmla="*/ 78 h 172"/>
                <a:gd name="T50" fmla="*/ 179 w 184"/>
                <a:gd name="T51" fmla="*/ 85 h 172"/>
                <a:gd name="T52" fmla="*/ 179 w 184"/>
                <a:gd name="T53" fmla="*/ 85 h 172"/>
                <a:gd name="T54" fmla="*/ 179 w 184"/>
                <a:gd name="T55" fmla="*/ 85 h 172"/>
                <a:gd name="T56" fmla="*/ 125 w 184"/>
                <a:gd name="T57" fmla="*/ 167 h 172"/>
                <a:gd name="T58" fmla="*/ 109 w 184"/>
                <a:gd name="T59" fmla="*/ 156 h 172"/>
                <a:gd name="T60" fmla="*/ 118 w 184"/>
                <a:gd name="T61" fmla="*/ 139 h 172"/>
                <a:gd name="T62" fmla="*/ 130 w 184"/>
                <a:gd name="T63" fmla="*/ 156 h 172"/>
                <a:gd name="T64" fmla="*/ 125 w 184"/>
                <a:gd name="T65" fmla="*/ 167 h 172"/>
                <a:gd name="T66" fmla="*/ 125 w 184"/>
                <a:gd name="T67" fmla="*/ 167 h 172"/>
                <a:gd name="T68" fmla="*/ 125 w 184"/>
                <a:gd name="T69" fmla="*/ 167 h 172"/>
                <a:gd name="T70" fmla="*/ 59 w 184"/>
                <a:gd name="T71" fmla="*/ 172 h 172"/>
                <a:gd name="T72" fmla="*/ 54 w 184"/>
                <a:gd name="T73" fmla="*/ 167 h 172"/>
                <a:gd name="T74" fmla="*/ 59 w 184"/>
                <a:gd name="T75" fmla="*/ 156 h 172"/>
                <a:gd name="T76" fmla="*/ 71 w 184"/>
                <a:gd name="T77" fmla="*/ 167 h 172"/>
                <a:gd name="T78" fmla="*/ 59 w 184"/>
                <a:gd name="T79" fmla="*/ 172 h 172"/>
                <a:gd name="T80" fmla="*/ 59 w 184"/>
                <a:gd name="T81" fmla="*/ 172 h 172"/>
                <a:gd name="T82" fmla="*/ 59 w 184"/>
                <a:gd name="T8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4" h="172">
                  <a:moveTo>
                    <a:pt x="0" y="19"/>
                  </a:moveTo>
                  <a:lnTo>
                    <a:pt x="0" y="7"/>
                  </a:lnTo>
                  <a:lnTo>
                    <a:pt x="16" y="0"/>
                  </a:lnTo>
                  <a:lnTo>
                    <a:pt x="21" y="7"/>
                  </a:lnTo>
                  <a:lnTo>
                    <a:pt x="0" y="19"/>
                  </a:lnTo>
                  <a:lnTo>
                    <a:pt x="0" y="19"/>
                  </a:lnTo>
                  <a:lnTo>
                    <a:pt x="0" y="19"/>
                  </a:lnTo>
                  <a:close/>
                  <a:moveTo>
                    <a:pt x="21" y="28"/>
                  </a:moveTo>
                  <a:lnTo>
                    <a:pt x="16" y="23"/>
                  </a:lnTo>
                  <a:lnTo>
                    <a:pt x="21" y="19"/>
                  </a:lnTo>
                  <a:lnTo>
                    <a:pt x="33" y="23"/>
                  </a:lnTo>
                  <a:lnTo>
                    <a:pt x="21" y="28"/>
                  </a:lnTo>
                  <a:lnTo>
                    <a:pt x="21" y="28"/>
                  </a:lnTo>
                  <a:lnTo>
                    <a:pt x="21" y="28"/>
                  </a:lnTo>
                  <a:close/>
                  <a:moveTo>
                    <a:pt x="71" y="45"/>
                  </a:moveTo>
                  <a:lnTo>
                    <a:pt x="59" y="40"/>
                  </a:lnTo>
                  <a:lnTo>
                    <a:pt x="92" y="45"/>
                  </a:lnTo>
                  <a:lnTo>
                    <a:pt x="71" y="40"/>
                  </a:lnTo>
                  <a:lnTo>
                    <a:pt x="71" y="45"/>
                  </a:lnTo>
                  <a:lnTo>
                    <a:pt x="71" y="45"/>
                  </a:lnTo>
                  <a:lnTo>
                    <a:pt x="71" y="45"/>
                  </a:lnTo>
                  <a:close/>
                  <a:moveTo>
                    <a:pt x="179" y="85"/>
                  </a:moveTo>
                  <a:lnTo>
                    <a:pt x="163" y="85"/>
                  </a:lnTo>
                  <a:lnTo>
                    <a:pt x="179" y="73"/>
                  </a:lnTo>
                  <a:lnTo>
                    <a:pt x="184" y="78"/>
                  </a:lnTo>
                  <a:lnTo>
                    <a:pt x="179" y="85"/>
                  </a:lnTo>
                  <a:lnTo>
                    <a:pt x="179" y="85"/>
                  </a:lnTo>
                  <a:lnTo>
                    <a:pt x="179" y="85"/>
                  </a:lnTo>
                  <a:close/>
                  <a:moveTo>
                    <a:pt x="125" y="167"/>
                  </a:moveTo>
                  <a:lnTo>
                    <a:pt x="109" y="156"/>
                  </a:lnTo>
                  <a:lnTo>
                    <a:pt x="118" y="139"/>
                  </a:lnTo>
                  <a:lnTo>
                    <a:pt x="130" y="156"/>
                  </a:lnTo>
                  <a:lnTo>
                    <a:pt x="125" y="167"/>
                  </a:lnTo>
                  <a:lnTo>
                    <a:pt x="125" y="167"/>
                  </a:lnTo>
                  <a:lnTo>
                    <a:pt x="125" y="167"/>
                  </a:lnTo>
                  <a:close/>
                  <a:moveTo>
                    <a:pt x="59" y="172"/>
                  </a:moveTo>
                  <a:lnTo>
                    <a:pt x="54" y="167"/>
                  </a:lnTo>
                  <a:lnTo>
                    <a:pt x="59" y="156"/>
                  </a:lnTo>
                  <a:lnTo>
                    <a:pt x="71" y="167"/>
                  </a:lnTo>
                  <a:lnTo>
                    <a:pt x="59" y="172"/>
                  </a:lnTo>
                  <a:lnTo>
                    <a:pt x="59" y="172"/>
                  </a:lnTo>
                  <a:lnTo>
                    <a:pt x="59" y="172"/>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5" name="Freeform 424">
              <a:extLst>
                <a:ext uri="{FF2B5EF4-FFF2-40B4-BE49-F238E27FC236}">
                  <a16:creationId xmlns:a16="http://schemas.microsoft.com/office/drawing/2014/main" id="{50F6A1DB-0106-4855-935B-BE20E286B368}"/>
                </a:ext>
              </a:extLst>
            </p:cNvPr>
            <p:cNvSpPr>
              <a:spLocks/>
            </p:cNvSpPr>
            <p:nvPr/>
          </p:nvSpPr>
          <p:spPr bwMode="gray">
            <a:xfrm>
              <a:off x="14483529" y="3235614"/>
              <a:ext cx="52695" cy="29130"/>
            </a:xfrm>
            <a:custGeom>
              <a:avLst/>
              <a:gdLst>
                <a:gd name="T0" fmla="*/ 71 w 161"/>
                <a:gd name="T1" fmla="*/ 77 h 89"/>
                <a:gd name="T2" fmla="*/ 64 w 161"/>
                <a:gd name="T3" fmla="*/ 77 h 89"/>
                <a:gd name="T4" fmla="*/ 54 w 161"/>
                <a:gd name="T5" fmla="*/ 89 h 89"/>
                <a:gd name="T6" fmla="*/ 50 w 161"/>
                <a:gd name="T7" fmla="*/ 77 h 89"/>
                <a:gd name="T8" fmla="*/ 17 w 161"/>
                <a:gd name="T9" fmla="*/ 77 h 89"/>
                <a:gd name="T10" fmla="*/ 0 w 161"/>
                <a:gd name="T11" fmla="*/ 49 h 89"/>
                <a:gd name="T12" fmla="*/ 17 w 161"/>
                <a:gd name="T13" fmla="*/ 56 h 89"/>
                <a:gd name="T14" fmla="*/ 33 w 161"/>
                <a:gd name="T15" fmla="*/ 40 h 89"/>
                <a:gd name="T16" fmla="*/ 50 w 161"/>
                <a:gd name="T17" fmla="*/ 40 h 89"/>
                <a:gd name="T18" fmla="*/ 50 w 161"/>
                <a:gd name="T19" fmla="*/ 21 h 89"/>
                <a:gd name="T20" fmla="*/ 102 w 161"/>
                <a:gd name="T21" fmla="*/ 21 h 89"/>
                <a:gd name="T22" fmla="*/ 161 w 161"/>
                <a:gd name="T23" fmla="*/ 0 h 89"/>
                <a:gd name="T24" fmla="*/ 118 w 161"/>
                <a:gd name="T25" fmla="*/ 33 h 89"/>
                <a:gd name="T26" fmla="*/ 118 w 161"/>
                <a:gd name="T27" fmla="*/ 40 h 89"/>
                <a:gd name="T28" fmla="*/ 132 w 161"/>
                <a:gd name="T29" fmla="*/ 56 h 89"/>
                <a:gd name="T30" fmla="*/ 102 w 161"/>
                <a:gd name="T31" fmla="*/ 56 h 89"/>
                <a:gd name="T32" fmla="*/ 102 w 161"/>
                <a:gd name="T33" fmla="*/ 73 h 89"/>
                <a:gd name="T34" fmla="*/ 71 w 161"/>
                <a:gd name="T35" fmla="*/ 77 h 89"/>
                <a:gd name="T36" fmla="*/ 71 w 161"/>
                <a:gd name="T37" fmla="*/ 77 h 89"/>
                <a:gd name="T38" fmla="*/ 71 w 161"/>
                <a:gd name="T39" fmla="*/ 7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1" h="89">
                  <a:moveTo>
                    <a:pt x="71" y="77"/>
                  </a:moveTo>
                  <a:lnTo>
                    <a:pt x="64" y="77"/>
                  </a:lnTo>
                  <a:lnTo>
                    <a:pt x="54" y="89"/>
                  </a:lnTo>
                  <a:lnTo>
                    <a:pt x="50" y="77"/>
                  </a:lnTo>
                  <a:lnTo>
                    <a:pt x="17" y="77"/>
                  </a:lnTo>
                  <a:lnTo>
                    <a:pt x="0" y="49"/>
                  </a:lnTo>
                  <a:lnTo>
                    <a:pt x="17" y="56"/>
                  </a:lnTo>
                  <a:lnTo>
                    <a:pt x="33" y="40"/>
                  </a:lnTo>
                  <a:lnTo>
                    <a:pt x="50" y="40"/>
                  </a:lnTo>
                  <a:lnTo>
                    <a:pt x="50" y="21"/>
                  </a:lnTo>
                  <a:lnTo>
                    <a:pt x="102" y="21"/>
                  </a:lnTo>
                  <a:lnTo>
                    <a:pt x="161" y="0"/>
                  </a:lnTo>
                  <a:lnTo>
                    <a:pt x="118" y="33"/>
                  </a:lnTo>
                  <a:lnTo>
                    <a:pt x="118" y="40"/>
                  </a:lnTo>
                  <a:lnTo>
                    <a:pt x="132" y="56"/>
                  </a:lnTo>
                  <a:lnTo>
                    <a:pt x="102" y="56"/>
                  </a:lnTo>
                  <a:lnTo>
                    <a:pt x="102" y="73"/>
                  </a:lnTo>
                  <a:lnTo>
                    <a:pt x="71" y="77"/>
                  </a:lnTo>
                  <a:lnTo>
                    <a:pt x="71" y="77"/>
                  </a:lnTo>
                  <a:lnTo>
                    <a:pt x="71" y="7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6" name="Freeform 425">
              <a:extLst>
                <a:ext uri="{FF2B5EF4-FFF2-40B4-BE49-F238E27FC236}">
                  <a16:creationId xmlns:a16="http://schemas.microsoft.com/office/drawing/2014/main" id="{7DF24D90-CDD6-4D4F-9E60-1FEAD79ECED2}"/>
                </a:ext>
              </a:extLst>
            </p:cNvPr>
            <p:cNvSpPr>
              <a:spLocks noEditPoints="1"/>
            </p:cNvSpPr>
            <p:nvPr/>
          </p:nvSpPr>
          <p:spPr bwMode="gray">
            <a:xfrm>
              <a:off x="13930724" y="2575130"/>
              <a:ext cx="162339" cy="105062"/>
            </a:xfrm>
            <a:custGeom>
              <a:avLst/>
              <a:gdLst>
                <a:gd name="T0" fmla="*/ 10 w 496"/>
                <a:gd name="T1" fmla="*/ 111 h 321"/>
                <a:gd name="T2" fmla="*/ 123 w 496"/>
                <a:gd name="T3" fmla="*/ 12 h 321"/>
                <a:gd name="T4" fmla="*/ 156 w 496"/>
                <a:gd name="T5" fmla="*/ 78 h 321"/>
                <a:gd name="T6" fmla="*/ 43 w 496"/>
                <a:gd name="T7" fmla="*/ 83 h 321"/>
                <a:gd name="T8" fmla="*/ 206 w 496"/>
                <a:gd name="T9" fmla="*/ 57 h 321"/>
                <a:gd name="T10" fmla="*/ 206 w 496"/>
                <a:gd name="T11" fmla="*/ 57 h 321"/>
                <a:gd name="T12" fmla="*/ 43 w 496"/>
                <a:gd name="T13" fmla="*/ 267 h 321"/>
                <a:gd name="T14" fmla="*/ 43 w 496"/>
                <a:gd name="T15" fmla="*/ 267 h 321"/>
                <a:gd name="T16" fmla="*/ 0 w 496"/>
                <a:gd name="T17" fmla="*/ 177 h 321"/>
                <a:gd name="T18" fmla="*/ 0 w 496"/>
                <a:gd name="T19" fmla="*/ 173 h 321"/>
                <a:gd name="T20" fmla="*/ 47 w 496"/>
                <a:gd name="T21" fmla="*/ 123 h 321"/>
                <a:gd name="T22" fmla="*/ 64 w 496"/>
                <a:gd name="T23" fmla="*/ 123 h 321"/>
                <a:gd name="T24" fmla="*/ 85 w 496"/>
                <a:gd name="T25" fmla="*/ 111 h 321"/>
                <a:gd name="T26" fmla="*/ 135 w 496"/>
                <a:gd name="T27" fmla="*/ 66 h 321"/>
                <a:gd name="T28" fmla="*/ 156 w 496"/>
                <a:gd name="T29" fmla="*/ 111 h 321"/>
                <a:gd name="T30" fmla="*/ 206 w 496"/>
                <a:gd name="T31" fmla="*/ 133 h 321"/>
                <a:gd name="T32" fmla="*/ 156 w 496"/>
                <a:gd name="T33" fmla="*/ 156 h 321"/>
                <a:gd name="T34" fmla="*/ 151 w 496"/>
                <a:gd name="T35" fmla="*/ 177 h 321"/>
                <a:gd name="T36" fmla="*/ 135 w 496"/>
                <a:gd name="T37" fmla="*/ 210 h 321"/>
                <a:gd name="T38" fmla="*/ 106 w 496"/>
                <a:gd name="T39" fmla="*/ 260 h 321"/>
                <a:gd name="T40" fmla="*/ 102 w 496"/>
                <a:gd name="T41" fmla="*/ 288 h 321"/>
                <a:gd name="T42" fmla="*/ 43 w 496"/>
                <a:gd name="T43" fmla="*/ 111 h 321"/>
                <a:gd name="T44" fmla="*/ 47 w 496"/>
                <a:gd name="T45" fmla="*/ 99 h 321"/>
                <a:gd name="T46" fmla="*/ 243 w 496"/>
                <a:gd name="T47" fmla="*/ 111 h 321"/>
                <a:gd name="T48" fmla="*/ 243 w 496"/>
                <a:gd name="T49" fmla="*/ 111 h 321"/>
                <a:gd name="T50" fmla="*/ 210 w 496"/>
                <a:gd name="T51" fmla="*/ 210 h 321"/>
                <a:gd name="T52" fmla="*/ 215 w 496"/>
                <a:gd name="T53" fmla="*/ 177 h 321"/>
                <a:gd name="T54" fmla="*/ 265 w 496"/>
                <a:gd name="T55" fmla="*/ 189 h 321"/>
                <a:gd name="T56" fmla="*/ 269 w 496"/>
                <a:gd name="T57" fmla="*/ 189 h 321"/>
                <a:gd name="T58" fmla="*/ 312 w 496"/>
                <a:gd name="T59" fmla="*/ 189 h 321"/>
                <a:gd name="T60" fmla="*/ 269 w 496"/>
                <a:gd name="T61" fmla="*/ 267 h 321"/>
                <a:gd name="T62" fmla="*/ 260 w 496"/>
                <a:gd name="T63" fmla="*/ 279 h 321"/>
                <a:gd name="T64" fmla="*/ 243 w 496"/>
                <a:gd name="T65" fmla="*/ 260 h 321"/>
                <a:gd name="T66" fmla="*/ 173 w 496"/>
                <a:gd name="T67" fmla="*/ 206 h 321"/>
                <a:gd name="T68" fmla="*/ 177 w 496"/>
                <a:gd name="T69" fmla="*/ 189 h 321"/>
                <a:gd name="T70" fmla="*/ 319 w 496"/>
                <a:gd name="T71" fmla="*/ 210 h 321"/>
                <a:gd name="T72" fmla="*/ 173 w 496"/>
                <a:gd name="T73" fmla="*/ 279 h 321"/>
                <a:gd name="T74" fmla="*/ 161 w 496"/>
                <a:gd name="T75" fmla="*/ 227 h 321"/>
                <a:gd name="T76" fmla="*/ 177 w 496"/>
                <a:gd name="T77" fmla="*/ 222 h 321"/>
                <a:gd name="T78" fmla="*/ 173 w 496"/>
                <a:gd name="T79" fmla="*/ 279 h 321"/>
                <a:gd name="T80" fmla="*/ 26 w 496"/>
                <a:gd name="T81" fmla="*/ 234 h 321"/>
                <a:gd name="T82" fmla="*/ 487 w 496"/>
                <a:gd name="T83" fmla="*/ 284 h 321"/>
                <a:gd name="T84" fmla="*/ 487 w 496"/>
                <a:gd name="T85" fmla="*/ 284 h 321"/>
                <a:gd name="T86" fmla="*/ 177 w 496"/>
                <a:gd name="T87" fmla="*/ 288 h 321"/>
                <a:gd name="T88" fmla="*/ 177 w 496"/>
                <a:gd name="T89" fmla="*/ 305 h 321"/>
                <a:gd name="T90" fmla="*/ 118 w 496"/>
                <a:gd name="T91" fmla="*/ 288 h 321"/>
                <a:gd name="T92" fmla="*/ 106 w 496"/>
                <a:gd name="T93" fmla="*/ 279 h 321"/>
                <a:gd name="T94" fmla="*/ 173 w 496"/>
                <a:gd name="T95" fmla="*/ 284 h 321"/>
                <a:gd name="T96" fmla="*/ 173 w 496"/>
                <a:gd name="T97" fmla="*/ 284 h 321"/>
                <a:gd name="T98" fmla="*/ 298 w 496"/>
                <a:gd name="T99" fmla="*/ 279 h 321"/>
                <a:gd name="T100" fmla="*/ 286 w 496"/>
                <a:gd name="T101" fmla="*/ 288 h 321"/>
                <a:gd name="T102" fmla="*/ 269 w 496"/>
                <a:gd name="T103" fmla="*/ 321 h 321"/>
                <a:gd name="T104" fmla="*/ 265 w 496"/>
                <a:gd name="T105" fmla="*/ 284 h 321"/>
                <a:gd name="T106" fmla="*/ 243 w 496"/>
                <a:gd name="T107" fmla="*/ 300 h 321"/>
                <a:gd name="T108" fmla="*/ 206 w 496"/>
                <a:gd name="T109" fmla="*/ 3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6" h="321">
                  <a:moveTo>
                    <a:pt x="26" y="111"/>
                  </a:moveTo>
                  <a:lnTo>
                    <a:pt x="31" y="116"/>
                  </a:lnTo>
                  <a:lnTo>
                    <a:pt x="31" y="116"/>
                  </a:lnTo>
                  <a:lnTo>
                    <a:pt x="10" y="111"/>
                  </a:lnTo>
                  <a:lnTo>
                    <a:pt x="10" y="99"/>
                  </a:lnTo>
                  <a:lnTo>
                    <a:pt x="31" y="62"/>
                  </a:lnTo>
                  <a:lnTo>
                    <a:pt x="85" y="62"/>
                  </a:lnTo>
                  <a:lnTo>
                    <a:pt x="123" y="12"/>
                  </a:lnTo>
                  <a:lnTo>
                    <a:pt x="177" y="0"/>
                  </a:lnTo>
                  <a:lnTo>
                    <a:pt x="161" y="12"/>
                  </a:lnTo>
                  <a:lnTo>
                    <a:pt x="173" y="57"/>
                  </a:lnTo>
                  <a:lnTo>
                    <a:pt x="156" y="78"/>
                  </a:lnTo>
                  <a:lnTo>
                    <a:pt x="135" y="66"/>
                  </a:lnTo>
                  <a:lnTo>
                    <a:pt x="80" y="78"/>
                  </a:lnTo>
                  <a:lnTo>
                    <a:pt x="69" y="66"/>
                  </a:lnTo>
                  <a:lnTo>
                    <a:pt x="43" y="83"/>
                  </a:lnTo>
                  <a:lnTo>
                    <a:pt x="26" y="111"/>
                  </a:lnTo>
                  <a:lnTo>
                    <a:pt x="26" y="111"/>
                  </a:lnTo>
                  <a:lnTo>
                    <a:pt x="26" y="111"/>
                  </a:lnTo>
                  <a:close/>
                  <a:moveTo>
                    <a:pt x="206" y="57"/>
                  </a:moveTo>
                  <a:lnTo>
                    <a:pt x="194" y="57"/>
                  </a:lnTo>
                  <a:lnTo>
                    <a:pt x="215" y="45"/>
                  </a:lnTo>
                  <a:lnTo>
                    <a:pt x="206" y="57"/>
                  </a:lnTo>
                  <a:lnTo>
                    <a:pt x="206" y="57"/>
                  </a:lnTo>
                  <a:lnTo>
                    <a:pt x="206" y="57"/>
                  </a:lnTo>
                  <a:close/>
                  <a:moveTo>
                    <a:pt x="97" y="300"/>
                  </a:moveTo>
                  <a:lnTo>
                    <a:pt x="43" y="288"/>
                  </a:lnTo>
                  <a:lnTo>
                    <a:pt x="43" y="267"/>
                  </a:lnTo>
                  <a:lnTo>
                    <a:pt x="26" y="279"/>
                  </a:lnTo>
                  <a:lnTo>
                    <a:pt x="26" y="267"/>
                  </a:lnTo>
                  <a:lnTo>
                    <a:pt x="26" y="260"/>
                  </a:lnTo>
                  <a:lnTo>
                    <a:pt x="43" y="267"/>
                  </a:lnTo>
                  <a:lnTo>
                    <a:pt x="31" y="234"/>
                  </a:lnTo>
                  <a:lnTo>
                    <a:pt x="0" y="227"/>
                  </a:lnTo>
                  <a:lnTo>
                    <a:pt x="0" y="206"/>
                  </a:lnTo>
                  <a:lnTo>
                    <a:pt x="0" y="177"/>
                  </a:lnTo>
                  <a:lnTo>
                    <a:pt x="0" y="194"/>
                  </a:lnTo>
                  <a:lnTo>
                    <a:pt x="14" y="189"/>
                  </a:lnTo>
                  <a:lnTo>
                    <a:pt x="10" y="173"/>
                  </a:lnTo>
                  <a:lnTo>
                    <a:pt x="0" y="173"/>
                  </a:lnTo>
                  <a:lnTo>
                    <a:pt x="0" y="177"/>
                  </a:lnTo>
                  <a:lnTo>
                    <a:pt x="0" y="111"/>
                  </a:lnTo>
                  <a:lnTo>
                    <a:pt x="43" y="133"/>
                  </a:lnTo>
                  <a:lnTo>
                    <a:pt x="47" y="123"/>
                  </a:lnTo>
                  <a:lnTo>
                    <a:pt x="43" y="116"/>
                  </a:lnTo>
                  <a:lnTo>
                    <a:pt x="69" y="99"/>
                  </a:lnTo>
                  <a:lnTo>
                    <a:pt x="69" y="111"/>
                  </a:lnTo>
                  <a:lnTo>
                    <a:pt x="64" y="123"/>
                  </a:lnTo>
                  <a:lnTo>
                    <a:pt x="80" y="116"/>
                  </a:lnTo>
                  <a:lnTo>
                    <a:pt x="85" y="123"/>
                  </a:lnTo>
                  <a:lnTo>
                    <a:pt x="85" y="123"/>
                  </a:lnTo>
                  <a:lnTo>
                    <a:pt x="85" y="111"/>
                  </a:lnTo>
                  <a:lnTo>
                    <a:pt x="69" y="111"/>
                  </a:lnTo>
                  <a:lnTo>
                    <a:pt x="69" y="83"/>
                  </a:lnTo>
                  <a:lnTo>
                    <a:pt x="80" y="78"/>
                  </a:lnTo>
                  <a:lnTo>
                    <a:pt x="135" y="66"/>
                  </a:lnTo>
                  <a:lnTo>
                    <a:pt x="156" y="78"/>
                  </a:lnTo>
                  <a:lnTo>
                    <a:pt x="156" y="99"/>
                  </a:lnTo>
                  <a:lnTo>
                    <a:pt x="123" y="116"/>
                  </a:lnTo>
                  <a:lnTo>
                    <a:pt x="156" y="111"/>
                  </a:lnTo>
                  <a:lnTo>
                    <a:pt x="151" y="133"/>
                  </a:lnTo>
                  <a:lnTo>
                    <a:pt x="156" y="123"/>
                  </a:lnTo>
                  <a:lnTo>
                    <a:pt x="194" y="123"/>
                  </a:lnTo>
                  <a:lnTo>
                    <a:pt x="206" y="133"/>
                  </a:lnTo>
                  <a:lnTo>
                    <a:pt x="189" y="168"/>
                  </a:lnTo>
                  <a:lnTo>
                    <a:pt x="177" y="156"/>
                  </a:lnTo>
                  <a:lnTo>
                    <a:pt x="173" y="173"/>
                  </a:lnTo>
                  <a:lnTo>
                    <a:pt x="156" y="156"/>
                  </a:lnTo>
                  <a:lnTo>
                    <a:pt x="161" y="156"/>
                  </a:lnTo>
                  <a:lnTo>
                    <a:pt x="161" y="149"/>
                  </a:lnTo>
                  <a:lnTo>
                    <a:pt x="151" y="168"/>
                  </a:lnTo>
                  <a:lnTo>
                    <a:pt x="151" y="177"/>
                  </a:lnTo>
                  <a:lnTo>
                    <a:pt x="151" y="194"/>
                  </a:lnTo>
                  <a:lnTo>
                    <a:pt x="123" y="194"/>
                  </a:lnTo>
                  <a:lnTo>
                    <a:pt x="135" y="194"/>
                  </a:lnTo>
                  <a:lnTo>
                    <a:pt x="135" y="210"/>
                  </a:lnTo>
                  <a:lnTo>
                    <a:pt x="102" y="210"/>
                  </a:lnTo>
                  <a:lnTo>
                    <a:pt x="118" y="222"/>
                  </a:lnTo>
                  <a:lnTo>
                    <a:pt x="102" y="234"/>
                  </a:lnTo>
                  <a:lnTo>
                    <a:pt x="106" y="260"/>
                  </a:lnTo>
                  <a:lnTo>
                    <a:pt x="97" y="267"/>
                  </a:lnTo>
                  <a:lnTo>
                    <a:pt x="118" y="288"/>
                  </a:lnTo>
                  <a:lnTo>
                    <a:pt x="106" y="300"/>
                  </a:lnTo>
                  <a:lnTo>
                    <a:pt x="102" y="288"/>
                  </a:lnTo>
                  <a:lnTo>
                    <a:pt x="97" y="300"/>
                  </a:lnTo>
                  <a:lnTo>
                    <a:pt x="97" y="300"/>
                  </a:lnTo>
                  <a:lnTo>
                    <a:pt x="97" y="300"/>
                  </a:lnTo>
                  <a:close/>
                  <a:moveTo>
                    <a:pt x="43" y="111"/>
                  </a:moveTo>
                  <a:lnTo>
                    <a:pt x="26" y="99"/>
                  </a:lnTo>
                  <a:lnTo>
                    <a:pt x="31" y="99"/>
                  </a:lnTo>
                  <a:lnTo>
                    <a:pt x="54" y="83"/>
                  </a:lnTo>
                  <a:lnTo>
                    <a:pt x="47" y="99"/>
                  </a:lnTo>
                  <a:lnTo>
                    <a:pt x="43" y="111"/>
                  </a:lnTo>
                  <a:lnTo>
                    <a:pt x="43" y="111"/>
                  </a:lnTo>
                  <a:lnTo>
                    <a:pt x="43" y="111"/>
                  </a:lnTo>
                  <a:close/>
                  <a:moveTo>
                    <a:pt x="243" y="111"/>
                  </a:moveTo>
                  <a:lnTo>
                    <a:pt x="243" y="111"/>
                  </a:lnTo>
                  <a:lnTo>
                    <a:pt x="248" y="111"/>
                  </a:lnTo>
                  <a:lnTo>
                    <a:pt x="243" y="111"/>
                  </a:lnTo>
                  <a:lnTo>
                    <a:pt x="243" y="111"/>
                  </a:lnTo>
                  <a:lnTo>
                    <a:pt x="243" y="111"/>
                  </a:lnTo>
                  <a:close/>
                  <a:moveTo>
                    <a:pt x="243" y="260"/>
                  </a:moveTo>
                  <a:lnTo>
                    <a:pt x="215" y="260"/>
                  </a:lnTo>
                  <a:lnTo>
                    <a:pt x="210" y="210"/>
                  </a:lnTo>
                  <a:lnTo>
                    <a:pt x="194" y="206"/>
                  </a:lnTo>
                  <a:lnTo>
                    <a:pt x="215" y="210"/>
                  </a:lnTo>
                  <a:lnTo>
                    <a:pt x="243" y="194"/>
                  </a:lnTo>
                  <a:lnTo>
                    <a:pt x="215" y="177"/>
                  </a:lnTo>
                  <a:lnTo>
                    <a:pt x="260" y="177"/>
                  </a:lnTo>
                  <a:lnTo>
                    <a:pt x="248" y="194"/>
                  </a:lnTo>
                  <a:lnTo>
                    <a:pt x="260" y="210"/>
                  </a:lnTo>
                  <a:lnTo>
                    <a:pt x="265" y="189"/>
                  </a:lnTo>
                  <a:lnTo>
                    <a:pt x="281" y="206"/>
                  </a:lnTo>
                  <a:lnTo>
                    <a:pt x="269" y="210"/>
                  </a:lnTo>
                  <a:lnTo>
                    <a:pt x="281" y="210"/>
                  </a:lnTo>
                  <a:lnTo>
                    <a:pt x="269" y="189"/>
                  </a:lnTo>
                  <a:lnTo>
                    <a:pt x="265" y="177"/>
                  </a:lnTo>
                  <a:lnTo>
                    <a:pt x="298" y="168"/>
                  </a:lnTo>
                  <a:lnTo>
                    <a:pt x="319" y="173"/>
                  </a:lnTo>
                  <a:lnTo>
                    <a:pt x="312" y="189"/>
                  </a:lnTo>
                  <a:lnTo>
                    <a:pt x="319" y="210"/>
                  </a:lnTo>
                  <a:lnTo>
                    <a:pt x="286" y="234"/>
                  </a:lnTo>
                  <a:lnTo>
                    <a:pt x="302" y="251"/>
                  </a:lnTo>
                  <a:lnTo>
                    <a:pt x="269" y="267"/>
                  </a:lnTo>
                  <a:lnTo>
                    <a:pt x="286" y="267"/>
                  </a:lnTo>
                  <a:lnTo>
                    <a:pt x="286" y="284"/>
                  </a:lnTo>
                  <a:lnTo>
                    <a:pt x="265" y="284"/>
                  </a:lnTo>
                  <a:lnTo>
                    <a:pt x="260" y="279"/>
                  </a:lnTo>
                  <a:lnTo>
                    <a:pt x="260" y="267"/>
                  </a:lnTo>
                  <a:lnTo>
                    <a:pt x="260" y="260"/>
                  </a:lnTo>
                  <a:lnTo>
                    <a:pt x="243" y="260"/>
                  </a:lnTo>
                  <a:lnTo>
                    <a:pt x="243" y="260"/>
                  </a:lnTo>
                  <a:lnTo>
                    <a:pt x="243" y="260"/>
                  </a:lnTo>
                  <a:close/>
                  <a:moveTo>
                    <a:pt x="177" y="189"/>
                  </a:moveTo>
                  <a:lnTo>
                    <a:pt x="173" y="206"/>
                  </a:lnTo>
                  <a:lnTo>
                    <a:pt x="173" y="206"/>
                  </a:lnTo>
                  <a:lnTo>
                    <a:pt x="173" y="177"/>
                  </a:lnTo>
                  <a:lnTo>
                    <a:pt x="177" y="189"/>
                  </a:lnTo>
                  <a:lnTo>
                    <a:pt x="177" y="189"/>
                  </a:lnTo>
                  <a:lnTo>
                    <a:pt x="177" y="189"/>
                  </a:lnTo>
                  <a:close/>
                  <a:moveTo>
                    <a:pt x="319" y="222"/>
                  </a:moveTo>
                  <a:lnTo>
                    <a:pt x="319" y="222"/>
                  </a:lnTo>
                  <a:lnTo>
                    <a:pt x="312" y="222"/>
                  </a:lnTo>
                  <a:lnTo>
                    <a:pt x="319" y="210"/>
                  </a:lnTo>
                  <a:lnTo>
                    <a:pt x="319" y="222"/>
                  </a:lnTo>
                  <a:lnTo>
                    <a:pt x="319" y="222"/>
                  </a:lnTo>
                  <a:lnTo>
                    <a:pt x="319" y="222"/>
                  </a:lnTo>
                  <a:close/>
                  <a:moveTo>
                    <a:pt x="173" y="279"/>
                  </a:moveTo>
                  <a:lnTo>
                    <a:pt x="139" y="279"/>
                  </a:lnTo>
                  <a:lnTo>
                    <a:pt x="106" y="227"/>
                  </a:lnTo>
                  <a:lnTo>
                    <a:pt x="156" y="222"/>
                  </a:lnTo>
                  <a:lnTo>
                    <a:pt x="161" y="227"/>
                  </a:lnTo>
                  <a:lnTo>
                    <a:pt x="161" y="234"/>
                  </a:lnTo>
                  <a:lnTo>
                    <a:pt x="161" y="234"/>
                  </a:lnTo>
                  <a:lnTo>
                    <a:pt x="173" y="227"/>
                  </a:lnTo>
                  <a:lnTo>
                    <a:pt x="177" y="222"/>
                  </a:lnTo>
                  <a:lnTo>
                    <a:pt x="189" y="251"/>
                  </a:lnTo>
                  <a:lnTo>
                    <a:pt x="189" y="279"/>
                  </a:lnTo>
                  <a:lnTo>
                    <a:pt x="173" y="279"/>
                  </a:lnTo>
                  <a:lnTo>
                    <a:pt x="173" y="279"/>
                  </a:lnTo>
                  <a:lnTo>
                    <a:pt x="173" y="279"/>
                  </a:lnTo>
                  <a:close/>
                  <a:moveTo>
                    <a:pt x="26" y="244"/>
                  </a:moveTo>
                  <a:lnTo>
                    <a:pt x="14" y="234"/>
                  </a:lnTo>
                  <a:lnTo>
                    <a:pt x="26" y="234"/>
                  </a:lnTo>
                  <a:lnTo>
                    <a:pt x="26" y="244"/>
                  </a:lnTo>
                  <a:lnTo>
                    <a:pt x="26" y="244"/>
                  </a:lnTo>
                  <a:lnTo>
                    <a:pt x="26" y="244"/>
                  </a:lnTo>
                  <a:close/>
                  <a:moveTo>
                    <a:pt x="487" y="284"/>
                  </a:moveTo>
                  <a:lnTo>
                    <a:pt x="458" y="267"/>
                  </a:lnTo>
                  <a:lnTo>
                    <a:pt x="465" y="251"/>
                  </a:lnTo>
                  <a:lnTo>
                    <a:pt x="496" y="267"/>
                  </a:lnTo>
                  <a:lnTo>
                    <a:pt x="487" y="284"/>
                  </a:lnTo>
                  <a:lnTo>
                    <a:pt x="487" y="284"/>
                  </a:lnTo>
                  <a:lnTo>
                    <a:pt x="487" y="284"/>
                  </a:lnTo>
                  <a:close/>
                  <a:moveTo>
                    <a:pt x="177" y="305"/>
                  </a:moveTo>
                  <a:lnTo>
                    <a:pt x="177" y="288"/>
                  </a:lnTo>
                  <a:lnTo>
                    <a:pt x="206" y="267"/>
                  </a:lnTo>
                  <a:lnTo>
                    <a:pt x="177" y="305"/>
                  </a:lnTo>
                  <a:lnTo>
                    <a:pt x="177" y="305"/>
                  </a:lnTo>
                  <a:lnTo>
                    <a:pt x="177" y="305"/>
                  </a:lnTo>
                  <a:close/>
                  <a:moveTo>
                    <a:pt x="135" y="284"/>
                  </a:moveTo>
                  <a:lnTo>
                    <a:pt x="139" y="288"/>
                  </a:lnTo>
                  <a:lnTo>
                    <a:pt x="123" y="288"/>
                  </a:lnTo>
                  <a:lnTo>
                    <a:pt x="118" y="288"/>
                  </a:lnTo>
                  <a:lnTo>
                    <a:pt x="118" y="284"/>
                  </a:lnTo>
                  <a:lnTo>
                    <a:pt x="118" y="284"/>
                  </a:lnTo>
                  <a:lnTo>
                    <a:pt x="118" y="279"/>
                  </a:lnTo>
                  <a:lnTo>
                    <a:pt x="106" y="279"/>
                  </a:lnTo>
                  <a:lnTo>
                    <a:pt x="135" y="284"/>
                  </a:lnTo>
                  <a:lnTo>
                    <a:pt x="135" y="284"/>
                  </a:lnTo>
                  <a:lnTo>
                    <a:pt x="135" y="284"/>
                  </a:lnTo>
                  <a:close/>
                  <a:moveTo>
                    <a:pt x="173" y="284"/>
                  </a:moveTo>
                  <a:lnTo>
                    <a:pt x="161" y="284"/>
                  </a:lnTo>
                  <a:lnTo>
                    <a:pt x="177" y="284"/>
                  </a:lnTo>
                  <a:lnTo>
                    <a:pt x="173" y="284"/>
                  </a:lnTo>
                  <a:lnTo>
                    <a:pt x="173" y="284"/>
                  </a:lnTo>
                  <a:lnTo>
                    <a:pt x="173" y="284"/>
                  </a:lnTo>
                  <a:close/>
                  <a:moveTo>
                    <a:pt x="286" y="288"/>
                  </a:moveTo>
                  <a:lnTo>
                    <a:pt x="281" y="284"/>
                  </a:lnTo>
                  <a:lnTo>
                    <a:pt x="298" y="279"/>
                  </a:lnTo>
                  <a:lnTo>
                    <a:pt x="312" y="284"/>
                  </a:lnTo>
                  <a:lnTo>
                    <a:pt x="286" y="288"/>
                  </a:lnTo>
                  <a:lnTo>
                    <a:pt x="286" y="288"/>
                  </a:lnTo>
                  <a:lnTo>
                    <a:pt x="286" y="288"/>
                  </a:lnTo>
                  <a:close/>
                  <a:moveTo>
                    <a:pt x="265" y="284"/>
                  </a:moveTo>
                  <a:lnTo>
                    <a:pt x="286" y="300"/>
                  </a:lnTo>
                  <a:lnTo>
                    <a:pt x="269" y="317"/>
                  </a:lnTo>
                  <a:lnTo>
                    <a:pt x="269" y="321"/>
                  </a:lnTo>
                  <a:lnTo>
                    <a:pt x="248" y="288"/>
                  </a:lnTo>
                  <a:lnTo>
                    <a:pt x="265" y="284"/>
                  </a:lnTo>
                  <a:lnTo>
                    <a:pt x="265" y="284"/>
                  </a:lnTo>
                  <a:lnTo>
                    <a:pt x="265" y="284"/>
                  </a:lnTo>
                  <a:close/>
                  <a:moveTo>
                    <a:pt x="206" y="300"/>
                  </a:moveTo>
                  <a:lnTo>
                    <a:pt x="210" y="288"/>
                  </a:lnTo>
                  <a:lnTo>
                    <a:pt x="215" y="284"/>
                  </a:lnTo>
                  <a:lnTo>
                    <a:pt x="243" y="300"/>
                  </a:lnTo>
                  <a:lnTo>
                    <a:pt x="248" y="288"/>
                  </a:lnTo>
                  <a:lnTo>
                    <a:pt x="265" y="317"/>
                  </a:lnTo>
                  <a:lnTo>
                    <a:pt x="232" y="317"/>
                  </a:lnTo>
                  <a:lnTo>
                    <a:pt x="206" y="300"/>
                  </a:lnTo>
                  <a:lnTo>
                    <a:pt x="206" y="300"/>
                  </a:lnTo>
                  <a:lnTo>
                    <a:pt x="206" y="30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7" name="Freeform 426">
              <a:extLst>
                <a:ext uri="{FF2B5EF4-FFF2-40B4-BE49-F238E27FC236}">
                  <a16:creationId xmlns:a16="http://schemas.microsoft.com/office/drawing/2014/main" id="{5AB6F0CF-8794-403B-85F0-97F8288D4563}"/>
                </a:ext>
              </a:extLst>
            </p:cNvPr>
            <p:cNvSpPr>
              <a:spLocks/>
            </p:cNvSpPr>
            <p:nvPr/>
          </p:nvSpPr>
          <p:spPr bwMode="gray">
            <a:xfrm>
              <a:off x="14704781" y="3811329"/>
              <a:ext cx="36330" cy="44840"/>
            </a:xfrm>
            <a:custGeom>
              <a:avLst/>
              <a:gdLst>
                <a:gd name="T0" fmla="*/ 73 w 111"/>
                <a:gd name="T1" fmla="*/ 126 h 137"/>
                <a:gd name="T2" fmla="*/ 56 w 111"/>
                <a:gd name="T3" fmla="*/ 121 h 137"/>
                <a:gd name="T4" fmla="*/ 14 w 111"/>
                <a:gd name="T5" fmla="*/ 137 h 137"/>
                <a:gd name="T6" fmla="*/ 0 w 111"/>
                <a:gd name="T7" fmla="*/ 126 h 137"/>
                <a:gd name="T8" fmla="*/ 0 w 111"/>
                <a:gd name="T9" fmla="*/ 92 h 137"/>
                <a:gd name="T10" fmla="*/ 0 w 111"/>
                <a:gd name="T11" fmla="*/ 71 h 137"/>
                <a:gd name="T12" fmla="*/ 35 w 111"/>
                <a:gd name="T13" fmla="*/ 26 h 137"/>
                <a:gd name="T14" fmla="*/ 42 w 111"/>
                <a:gd name="T15" fmla="*/ 17 h 137"/>
                <a:gd name="T16" fmla="*/ 56 w 111"/>
                <a:gd name="T17" fmla="*/ 33 h 137"/>
                <a:gd name="T18" fmla="*/ 68 w 111"/>
                <a:gd name="T19" fmla="*/ 26 h 137"/>
                <a:gd name="T20" fmla="*/ 68 w 111"/>
                <a:gd name="T21" fmla="*/ 17 h 137"/>
                <a:gd name="T22" fmla="*/ 89 w 111"/>
                <a:gd name="T23" fmla="*/ 0 h 137"/>
                <a:gd name="T24" fmla="*/ 106 w 111"/>
                <a:gd name="T25" fmla="*/ 26 h 137"/>
                <a:gd name="T26" fmla="*/ 111 w 111"/>
                <a:gd name="T27" fmla="*/ 55 h 137"/>
                <a:gd name="T28" fmla="*/ 78 w 111"/>
                <a:gd name="T29" fmla="*/ 71 h 137"/>
                <a:gd name="T30" fmla="*/ 68 w 111"/>
                <a:gd name="T31" fmla="*/ 71 h 137"/>
                <a:gd name="T32" fmla="*/ 56 w 111"/>
                <a:gd name="T33" fmla="*/ 88 h 137"/>
                <a:gd name="T34" fmla="*/ 42 w 111"/>
                <a:gd name="T35" fmla="*/ 88 h 137"/>
                <a:gd name="T36" fmla="*/ 52 w 111"/>
                <a:gd name="T37" fmla="*/ 92 h 137"/>
                <a:gd name="T38" fmla="*/ 73 w 111"/>
                <a:gd name="T39" fmla="*/ 88 h 137"/>
                <a:gd name="T40" fmla="*/ 89 w 111"/>
                <a:gd name="T41" fmla="*/ 88 h 137"/>
                <a:gd name="T42" fmla="*/ 94 w 111"/>
                <a:gd name="T43" fmla="*/ 92 h 137"/>
                <a:gd name="T44" fmla="*/ 73 w 111"/>
                <a:gd name="T45" fmla="*/ 126 h 137"/>
                <a:gd name="T46" fmla="*/ 73 w 111"/>
                <a:gd name="T47" fmla="*/ 126 h 137"/>
                <a:gd name="T48" fmla="*/ 73 w 111"/>
                <a:gd name="T49" fmla="*/ 12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1" h="137">
                  <a:moveTo>
                    <a:pt x="73" y="126"/>
                  </a:moveTo>
                  <a:lnTo>
                    <a:pt x="56" y="121"/>
                  </a:lnTo>
                  <a:lnTo>
                    <a:pt x="14" y="137"/>
                  </a:lnTo>
                  <a:lnTo>
                    <a:pt x="0" y="126"/>
                  </a:lnTo>
                  <a:lnTo>
                    <a:pt x="0" y="92"/>
                  </a:lnTo>
                  <a:lnTo>
                    <a:pt x="0" y="71"/>
                  </a:lnTo>
                  <a:lnTo>
                    <a:pt x="35" y="26"/>
                  </a:lnTo>
                  <a:lnTo>
                    <a:pt x="42" y="17"/>
                  </a:lnTo>
                  <a:lnTo>
                    <a:pt x="56" y="33"/>
                  </a:lnTo>
                  <a:lnTo>
                    <a:pt x="68" y="26"/>
                  </a:lnTo>
                  <a:lnTo>
                    <a:pt x="68" y="17"/>
                  </a:lnTo>
                  <a:lnTo>
                    <a:pt x="89" y="0"/>
                  </a:lnTo>
                  <a:lnTo>
                    <a:pt x="106" y="26"/>
                  </a:lnTo>
                  <a:lnTo>
                    <a:pt x="111" y="55"/>
                  </a:lnTo>
                  <a:lnTo>
                    <a:pt x="78" y="71"/>
                  </a:lnTo>
                  <a:lnTo>
                    <a:pt x="68" y="71"/>
                  </a:lnTo>
                  <a:lnTo>
                    <a:pt x="56" y="88"/>
                  </a:lnTo>
                  <a:lnTo>
                    <a:pt x="42" y="88"/>
                  </a:lnTo>
                  <a:lnTo>
                    <a:pt x="52" y="92"/>
                  </a:lnTo>
                  <a:lnTo>
                    <a:pt x="73" y="88"/>
                  </a:lnTo>
                  <a:lnTo>
                    <a:pt x="89" y="88"/>
                  </a:lnTo>
                  <a:lnTo>
                    <a:pt x="94" y="92"/>
                  </a:lnTo>
                  <a:lnTo>
                    <a:pt x="73" y="126"/>
                  </a:lnTo>
                  <a:lnTo>
                    <a:pt x="73" y="126"/>
                  </a:lnTo>
                  <a:lnTo>
                    <a:pt x="73" y="126"/>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8" name="Freeform 427">
              <a:extLst>
                <a:ext uri="{FF2B5EF4-FFF2-40B4-BE49-F238E27FC236}">
                  <a16:creationId xmlns:a16="http://schemas.microsoft.com/office/drawing/2014/main" id="{7BC7D226-2012-4B81-9F7C-8C0297870D50}"/>
                </a:ext>
              </a:extLst>
            </p:cNvPr>
            <p:cNvSpPr>
              <a:spLocks/>
            </p:cNvSpPr>
            <p:nvPr/>
          </p:nvSpPr>
          <p:spPr bwMode="gray">
            <a:xfrm>
              <a:off x="12331880" y="3742597"/>
              <a:ext cx="6219" cy="8510"/>
            </a:xfrm>
            <a:custGeom>
              <a:avLst/>
              <a:gdLst>
                <a:gd name="T0" fmla="*/ 7 w 19"/>
                <a:gd name="T1" fmla="*/ 26 h 26"/>
                <a:gd name="T2" fmla="*/ 0 w 19"/>
                <a:gd name="T3" fmla="*/ 5 h 26"/>
                <a:gd name="T4" fmla="*/ 0 w 19"/>
                <a:gd name="T5" fmla="*/ 0 h 26"/>
                <a:gd name="T6" fmla="*/ 19 w 19"/>
                <a:gd name="T7" fmla="*/ 14 h 26"/>
                <a:gd name="T8" fmla="*/ 19 w 19"/>
                <a:gd name="T9" fmla="*/ 26 h 26"/>
                <a:gd name="T10" fmla="*/ 7 w 19"/>
                <a:gd name="T11" fmla="*/ 26 h 26"/>
                <a:gd name="T12" fmla="*/ 7 w 19"/>
                <a:gd name="T13" fmla="*/ 26 h 26"/>
                <a:gd name="T14" fmla="*/ 7 w 19"/>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6">
                  <a:moveTo>
                    <a:pt x="7" y="26"/>
                  </a:moveTo>
                  <a:lnTo>
                    <a:pt x="0" y="5"/>
                  </a:lnTo>
                  <a:lnTo>
                    <a:pt x="0" y="0"/>
                  </a:lnTo>
                  <a:lnTo>
                    <a:pt x="19" y="14"/>
                  </a:lnTo>
                  <a:lnTo>
                    <a:pt x="19" y="26"/>
                  </a:lnTo>
                  <a:lnTo>
                    <a:pt x="7" y="26"/>
                  </a:lnTo>
                  <a:lnTo>
                    <a:pt x="7" y="26"/>
                  </a:lnTo>
                  <a:lnTo>
                    <a:pt x="7" y="26"/>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9" name="Freeform 428">
              <a:extLst>
                <a:ext uri="{FF2B5EF4-FFF2-40B4-BE49-F238E27FC236}">
                  <a16:creationId xmlns:a16="http://schemas.microsoft.com/office/drawing/2014/main" id="{FE4B513A-3CC3-4058-A81D-CFE346A5925A}"/>
                </a:ext>
              </a:extLst>
            </p:cNvPr>
            <p:cNvSpPr>
              <a:spLocks noEditPoints="1"/>
            </p:cNvSpPr>
            <p:nvPr/>
          </p:nvSpPr>
          <p:spPr bwMode="gray">
            <a:xfrm>
              <a:off x="12090663" y="3638189"/>
              <a:ext cx="84443" cy="59568"/>
            </a:xfrm>
            <a:custGeom>
              <a:avLst/>
              <a:gdLst>
                <a:gd name="T0" fmla="*/ 21 w 258"/>
                <a:gd name="T1" fmla="*/ 142 h 182"/>
                <a:gd name="T2" fmla="*/ 21 w 258"/>
                <a:gd name="T3" fmla="*/ 118 h 182"/>
                <a:gd name="T4" fmla="*/ 5 w 258"/>
                <a:gd name="T5" fmla="*/ 114 h 182"/>
                <a:gd name="T6" fmla="*/ 0 w 258"/>
                <a:gd name="T7" fmla="*/ 102 h 182"/>
                <a:gd name="T8" fmla="*/ 17 w 258"/>
                <a:gd name="T9" fmla="*/ 97 h 182"/>
                <a:gd name="T10" fmla="*/ 21 w 258"/>
                <a:gd name="T11" fmla="*/ 85 h 182"/>
                <a:gd name="T12" fmla="*/ 17 w 258"/>
                <a:gd name="T13" fmla="*/ 69 h 182"/>
                <a:gd name="T14" fmla="*/ 26 w 258"/>
                <a:gd name="T15" fmla="*/ 57 h 182"/>
                <a:gd name="T16" fmla="*/ 21 w 258"/>
                <a:gd name="T17" fmla="*/ 45 h 182"/>
                <a:gd name="T18" fmla="*/ 21 w 258"/>
                <a:gd name="T19" fmla="*/ 29 h 182"/>
                <a:gd name="T20" fmla="*/ 21 w 258"/>
                <a:gd name="T21" fmla="*/ 12 h 182"/>
                <a:gd name="T22" fmla="*/ 21 w 258"/>
                <a:gd name="T23" fmla="*/ 0 h 182"/>
                <a:gd name="T24" fmla="*/ 52 w 258"/>
                <a:gd name="T25" fmla="*/ 7 h 182"/>
                <a:gd name="T26" fmla="*/ 76 w 258"/>
                <a:gd name="T27" fmla="*/ 0 h 182"/>
                <a:gd name="T28" fmla="*/ 97 w 258"/>
                <a:gd name="T29" fmla="*/ 12 h 182"/>
                <a:gd name="T30" fmla="*/ 106 w 258"/>
                <a:gd name="T31" fmla="*/ 7 h 182"/>
                <a:gd name="T32" fmla="*/ 123 w 258"/>
                <a:gd name="T33" fmla="*/ 24 h 182"/>
                <a:gd name="T34" fmla="*/ 144 w 258"/>
                <a:gd name="T35" fmla="*/ 12 h 182"/>
                <a:gd name="T36" fmla="*/ 161 w 258"/>
                <a:gd name="T37" fmla="*/ 45 h 182"/>
                <a:gd name="T38" fmla="*/ 199 w 258"/>
                <a:gd name="T39" fmla="*/ 40 h 182"/>
                <a:gd name="T40" fmla="*/ 199 w 258"/>
                <a:gd name="T41" fmla="*/ 45 h 182"/>
                <a:gd name="T42" fmla="*/ 199 w 258"/>
                <a:gd name="T43" fmla="*/ 57 h 182"/>
                <a:gd name="T44" fmla="*/ 166 w 258"/>
                <a:gd name="T45" fmla="*/ 57 h 182"/>
                <a:gd name="T46" fmla="*/ 166 w 258"/>
                <a:gd name="T47" fmla="*/ 64 h 182"/>
                <a:gd name="T48" fmla="*/ 215 w 258"/>
                <a:gd name="T49" fmla="*/ 69 h 182"/>
                <a:gd name="T50" fmla="*/ 258 w 258"/>
                <a:gd name="T51" fmla="*/ 102 h 182"/>
                <a:gd name="T52" fmla="*/ 253 w 258"/>
                <a:gd name="T53" fmla="*/ 118 h 182"/>
                <a:gd name="T54" fmla="*/ 236 w 258"/>
                <a:gd name="T55" fmla="*/ 118 h 182"/>
                <a:gd name="T56" fmla="*/ 236 w 258"/>
                <a:gd name="T57" fmla="*/ 125 h 182"/>
                <a:gd name="T58" fmla="*/ 229 w 258"/>
                <a:gd name="T59" fmla="*/ 125 h 182"/>
                <a:gd name="T60" fmla="*/ 220 w 258"/>
                <a:gd name="T61" fmla="*/ 114 h 182"/>
                <a:gd name="T62" fmla="*/ 149 w 258"/>
                <a:gd name="T63" fmla="*/ 114 h 182"/>
                <a:gd name="T64" fmla="*/ 128 w 258"/>
                <a:gd name="T65" fmla="*/ 125 h 182"/>
                <a:gd name="T66" fmla="*/ 106 w 258"/>
                <a:gd name="T67" fmla="*/ 125 h 182"/>
                <a:gd name="T68" fmla="*/ 97 w 258"/>
                <a:gd name="T69" fmla="*/ 114 h 182"/>
                <a:gd name="T70" fmla="*/ 90 w 258"/>
                <a:gd name="T71" fmla="*/ 114 h 182"/>
                <a:gd name="T72" fmla="*/ 76 w 258"/>
                <a:gd name="T73" fmla="*/ 125 h 182"/>
                <a:gd name="T74" fmla="*/ 69 w 258"/>
                <a:gd name="T75" fmla="*/ 118 h 182"/>
                <a:gd name="T76" fmla="*/ 69 w 258"/>
                <a:gd name="T77" fmla="*/ 137 h 182"/>
                <a:gd name="T78" fmla="*/ 43 w 258"/>
                <a:gd name="T79" fmla="*/ 175 h 182"/>
                <a:gd name="T80" fmla="*/ 21 w 258"/>
                <a:gd name="T81" fmla="*/ 142 h 182"/>
                <a:gd name="T82" fmla="*/ 21 w 258"/>
                <a:gd name="T83" fmla="*/ 142 h 182"/>
                <a:gd name="T84" fmla="*/ 21 w 258"/>
                <a:gd name="T85" fmla="*/ 142 h 182"/>
                <a:gd name="T86" fmla="*/ 38 w 258"/>
                <a:gd name="T87" fmla="*/ 182 h 182"/>
                <a:gd name="T88" fmla="*/ 38 w 258"/>
                <a:gd name="T89" fmla="*/ 175 h 182"/>
                <a:gd name="T90" fmla="*/ 38 w 258"/>
                <a:gd name="T91" fmla="*/ 175 h 182"/>
                <a:gd name="T92" fmla="*/ 38 w 258"/>
                <a:gd name="T93" fmla="*/ 182 h 182"/>
                <a:gd name="T94" fmla="*/ 38 w 258"/>
                <a:gd name="T95" fmla="*/ 182 h 182"/>
                <a:gd name="T96" fmla="*/ 38 w 258"/>
                <a:gd name="T9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8" h="182">
                  <a:moveTo>
                    <a:pt x="21" y="142"/>
                  </a:moveTo>
                  <a:lnTo>
                    <a:pt x="21" y="118"/>
                  </a:lnTo>
                  <a:lnTo>
                    <a:pt x="5" y="114"/>
                  </a:lnTo>
                  <a:lnTo>
                    <a:pt x="0" y="102"/>
                  </a:lnTo>
                  <a:lnTo>
                    <a:pt x="17" y="97"/>
                  </a:lnTo>
                  <a:lnTo>
                    <a:pt x="21" y="85"/>
                  </a:lnTo>
                  <a:lnTo>
                    <a:pt x="17" y="69"/>
                  </a:lnTo>
                  <a:lnTo>
                    <a:pt x="26" y="57"/>
                  </a:lnTo>
                  <a:lnTo>
                    <a:pt x="21" y="45"/>
                  </a:lnTo>
                  <a:lnTo>
                    <a:pt x="21" y="29"/>
                  </a:lnTo>
                  <a:lnTo>
                    <a:pt x="21" y="12"/>
                  </a:lnTo>
                  <a:lnTo>
                    <a:pt x="21" y="0"/>
                  </a:lnTo>
                  <a:lnTo>
                    <a:pt x="52" y="7"/>
                  </a:lnTo>
                  <a:lnTo>
                    <a:pt x="76" y="0"/>
                  </a:lnTo>
                  <a:lnTo>
                    <a:pt x="97" y="12"/>
                  </a:lnTo>
                  <a:lnTo>
                    <a:pt x="106" y="7"/>
                  </a:lnTo>
                  <a:lnTo>
                    <a:pt x="123" y="24"/>
                  </a:lnTo>
                  <a:lnTo>
                    <a:pt x="144" y="12"/>
                  </a:lnTo>
                  <a:lnTo>
                    <a:pt x="161" y="45"/>
                  </a:lnTo>
                  <a:lnTo>
                    <a:pt x="199" y="40"/>
                  </a:lnTo>
                  <a:lnTo>
                    <a:pt x="199" y="45"/>
                  </a:lnTo>
                  <a:lnTo>
                    <a:pt x="199" y="57"/>
                  </a:lnTo>
                  <a:lnTo>
                    <a:pt x="166" y="57"/>
                  </a:lnTo>
                  <a:lnTo>
                    <a:pt x="166" y="64"/>
                  </a:lnTo>
                  <a:lnTo>
                    <a:pt x="215" y="69"/>
                  </a:lnTo>
                  <a:lnTo>
                    <a:pt x="258" y="102"/>
                  </a:lnTo>
                  <a:lnTo>
                    <a:pt x="253" y="118"/>
                  </a:lnTo>
                  <a:lnTo>
                    <a:pt x="236" y="118"/>
                  </a:lnTo>
                  <a:lnTo>
                    <a:pt x="236" y="125"/>
                  </a:lnTo>
                  <a:lnTo>
                    <a:pt x="229" y="125"/>
                  </a:lnTo>
                  <a:lnTo>
                    <a:pt x="220" y="114"/>
                  </a:lnTo>
                  <a:lnTo>
                    <a:pt x="149" y="114"/>
                  </a:lnTo>
                  <a:lnTo>
                    <a:pt x="128" y="125"/>
                  </a:lnTo>
                  <a:lnTo>
                    <a:pt x="106" y="125"/>
                  </a:lnTo>
                  <a:lnTo>
                    <a:pt x="97" y="114"/>
                  </a:lnTo>
                  <a:lnTo>
                    <a:pt x="90" y="114"/>
                  </a:lnTo>
                  <a:lnTo>
                    <a:pt x="76" y="125"/>
                  </a:lnTo>
                  <a:lnTo>
                    <a:pt x="69" y="118"/>
                  </a:lnTo>
                  <a:lnTo>
                    <a:pt x="69" y="137"/>
                  </a:lnTo>
                  <a:lnTo>
                    <a:pt x="43" y="175"/>
                  </a:lnTo>
                  <a:lnTo>
                    <a:pt x="21" y="142"/>
                  </a:lnTo>
                  <a:lnTo>
                    <a:pt x="21" y="142"/>
                  </a:lnTo>
                  <a:lnTo>
                    <a:pt x="21" y="142"/>
                  </a:lnTo>
                  <a:close/>
                  <a:moveTo>
                    <a:pt x="38" y="182"/>
                  </a:moveTo>
                  <a:lnTo>
                    <a:pt x="38" y="175"/>
                  </a:lnTo>
                  <a:lnTo>
                    <a:pt x="38" y="175"/>
                  </a:lnTo>
                  <a:lnTo>
                    <a:pt x="38" y="182"/>
                  </a:lnTo>
                  <a:lnTo>
                    <a:pt x="38" y="182"/>
                  </a:lnTo>
                  <a:lnTo>
                    <a:pt x="38" y="182"/>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0" name="Freeform 429">
              <a:extLst>
                <a:ext uri="{FF2B5EF4-FFF2-40B4-BE49-F238E27FC236}">
                  <a16:creationId xmlns:a16="http://schemas.microsoft.com/office/drawing/2014/main" id="{CC74EAC5-3B45-484F-BB5F-5CD0B8BD2A0C}"/>
                </a:ext>
              </a:extLst>
            </p:cNvPr>
            <p:cNvSpPr>
              <a:spLocks noEditPoints="1"/>
            </p:cNvSpPr>
            <p:nvPr/>
          </p:nvSpPr>
          <p:spPr bwMode="gray">
            <a:xfrm>
              <a:off x="11639975" y="4082003"/>
              <a:ext cx="376391" cy="150884"/>
            </a:xfrm>
            <a:custGeom>
              <a:avLst/>
              <a:gdLst>
                <a:gd name="T0" fmla="*/ 966 w 1150"/>
                <a:gd name="T1" fmla="*/ 40 h 461"/>
                <a:gd name="T2" fmla="*/ 999 w 1150"/>
                <a:gd name="T3" fmla="*/ 57 h 461"/>
                <a:gd name="T4" fmla="*/ 1068 w 1150"/>
                <a:gd name="T5" fmla="*/ 78 h 461"/>
                <a:gd name="T6" fmla="*/ 1096 w 1150"/>
                <a:gd name="T7" fmla="*/ 78 h 461"/>
                <a:gd name="T8" fmla="*/ 1122 w 1150"/>
                <a:gd name="T9" fmla="*/ 111 h 461"/>
                <a:gd name="T10" fmla="*/ 1150 w 1150"/>
                <a:gd name="T11" fmla="*/ 168 h 461"/>
                <a:gd name="T12" fmla="*/ 1089 w 1150"/>
                <a:gd name="T13" fmla="*/ 255 h 461"/>
                <a:gd name="T14" fmla="*/ 945 w 1150"/>
                <a:gd name="T15" fmla="*/ 338 h 461"/>
                <a:gd name="T16" fmla="*/ 928 w 1150"/>
                <a:gd name="T17" fmla="*/ 371 h 461"/>
                <a:gd name="T18" fmla="*/ 895 w 1150"/>
                <a:gd name="T19" fmla="*/ 437 h 461"/>
                <a:gd name="T20" fmla="*/ 841 w 1150"/>
                <a:gd name="T21" fmla="*/ 421 h 461"/>
                <a:gd name="T22" fmla="*/ 787 w 1150"/>
                <a:gd name="T23" fmla="*/ 421 h 461"/>
                <a:gd name="T24" fmla="*/ 782 w 1150"/>
                <a:gd name="T25" fmla="*/ 404 h 461"/>
                <a:gd name="T26" fmla="*/ 803 w 1150"/>
                <a:gd name="T27" fmla="*/ 383 h 461"/>
                <a:gd name="T28" fmla="*/ 820 w 1150"/>
                <a:gd name="T29" fmla="*/ 333 h 461"/>
                <a:gd name="T30" fmla="*/ 836 w 1150"/>
                <a:gd name="T31" fmla="*/ 243 h 461"/>
                <a:gd name="T32" fmla="*/ 810 w 1150"/>
                <a:gd name="T33" fmla="*/ 284 h 461"/>
                <a:gd name="T34" fmla="*/ 798 w 1150"/>
                <a:gd name="T35" fmla="*/ 293 h 461"/>
                <a:gd name="T36" fmla="*/ 765 w 1150"/>
                <a:gd name="T37" fmla="*/ 255 h 461"/>
                <a:gd name="T38" fmla="*/ 765 w 1150"/>
                <a:gd name="T39" fmla="*/ 201 h 461"/>
                <a:gd name="T40" fmla="*/ 772 w 1150"/>
                <a:gd name="T41" fmla="*/ 168 h 461"/>
                <a:gd name="T42" fmla="*/ 787 w 1150"/>
                <a:gd name="T43" fmla="*/ 144 h 461"/>
                <a:gd name="T44" fmla="*/ 820 w 1150"/>
                <a:gd name="T45" fmla="*/ 73 h 461"/>
                <a:gd name="T46" fmla="*/ 891 w 1150"/>
                <a:gd name="T47" fmla="*/ 17 h 461"/>
                <a:gd name="T48" fmla="*/ 907 w 1150"/>
                <a:gd name="T49" fmla="*/ 0 h 461"/>
                <a:gd name="T50" fmla="*/ 895 w 1150"/>
                <a:gd name="T51" fmla="*/ 0 h 461"/>
                <a:gd name="T52" fmla="*/ 891 w 1150"/>
                <a:gd name="T53" fmla="*/ 7 h 461"/>
                <a:gd name="T54" fmla="*/ 80 w 1150"/>
                <a:gd name="T55" fmla="*/ 73 h 461"/>
                <a:gd name="T56" fmla="*/ 80 w 1150"/>
                <a:gd name="T57" fmla="*/ 78 h 461"/>
                <a:gd name="T58" fmla="*/ 14 w 1150"/>
                <a:gd name="T59" fmla="*/ 172 h 461"/>
                <a:gd name="T60" fmla="*/ 31 w 1150"/>
                <a:gd name="T61" fmla="*/ 151 h 461"/>
                <a:gd name="T62" fmla="*/ 14 w 1150"/>
                <a:gd name="T63" fmla="*/ 106 h 461"/>
                <a:gd name="T64" fmla="*/ 31 w 1150"/>
                <a:gd name="T65" fmla="*/ 106 h 461"/>
                <a:gd name="T66" fmla="*/ 47 w 1150"/>
                <a:gd name="T67" fmla="*/ 144 h 461"/>
                <a:gd name="T68" fmla="*/ 31 w 1150"/>
                <a:gd name="T69" fmla="*/ 172 h 461"/>
                <a:gd name="T70" fmla="*/ 69 w 1150"/>
                <a:gd name="T71" fmla="*/ 128 h 461"/>
                <a:gd name="T72" fmla="*/ 69 w 1150"/>
                <a:gd name="T73" fmla="*/ 118 h 461"/>
                <a:gd name="T74" fmla="*/ 69 w 1150"/>
                <a:gd name="T75" fmla="*/ 128 h 461"/>
                <a:gd name="T76" fmla="*/ 0 w 1150"/>
                <a:gd name="T77" fmla="*/ 128 h 461"/>
                <a:gd name="T78" fmla="*/ 9 w 1150"/>
                <a:gd name="T79" fmla="*/ 135 h 461"/>
                <a:gd name="T80" fmla="*/ 97 w 1150"/>
                <a:gd name="T81" fmla="*/ 161 h 461"/>
                <a:gd name="T82" fmla="*/ 102 w 1150"/>
                <a:gd name="T83" fmla="*/ 144 h 461"/>
                <a:gd name="T84" fmla="*/ 97 w 1150"/>
                <a:gd name="T85" fmla="*/ 161 h 461"/>
                <a:gd name="T86" fmla="*/ 139 w 1150"/>
                <a:gd name="T87" fmla="*/ 168 h 461"/>
                <a:gd name="T88" fmla="*/ 151 w 1150"/>
                <a:gd name="T89" fmla="*/ 168 h 461"/>
                <a:gd name="T90" fmla="*/ 85 w 1150"/>
                <a:gd name="T91" fmla="*/ 201 h 461"/>
                <a:gd name="T92" fmla="*/ 85 w 1150"/>
                <a:gd name="T93" fmla="*/ 189 h 461"/>
                <a:gd name="T94" fmla="*/ 85 w 1150"/>
                <a:gd name="T95" fmla="*/ 201 h 461"/>
                <a:gd name="T96" fmla="*/ 803 w 1150"/>
                <a:gd name="T97" fmla="*/ 293 h 461"/>
                <a:gd name="T98" fmla="*/ 803 w 1150"/>
                <a:gd name="T99" fmla="*/ 317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0" h="461">
                  <a:moveTo>
                    <a:pt x="907" y="0"/>
                  </a:moveTo>
                  <a:lnTo>
                    <a:pt x="950" y="33"/>
                  </a:lnTo>
                  <a:lnTo>
                    <a:pt x="966" y="40"/>
                  </a:lnTo>
                  <a:lnTo>
                    <a:pt x="983" y="40"/>
                  </a:lnTo>
                  <a:lnTo>
                    <a:pt x="983" y="50"/>
                  </a:lnTo>
                  <a:lnTo>
                    <a:pt x="999" y="57"/>
                  </a:lnTo>
                  <a:lnTo>
                    <a:pt x="1004" y="73"/>
                  </a:lnTo>
                  <a:lnTo>
                    <a:pt x="1058" y="90"/>
                  </a:lnTo>
                  <a:lnTo>
                    <a:pt x="1068" y="78"/>
                  </a:lnTo>
                  <a:lnTo>
                    <a:pt x="1068" y="73"/>
                  </a:lnTo>
                  <a:lnTo>
                    <a:pt x="1080" y="73"/>
                  </a:lnTo>
                  <a:lnTo>
                    <a:pt x="1096" y="78"/>
                  </a:lnTo>
                  <a:lnTo>
                    <a:pt x="1113" y="95"/>
                  </a:lnTo>
                  <a:lnTo>
                    <a:pt x="1150" y="111"/>
                  </a:lnTo>
                  <a:lnTo>
                    <a:pt x="1122" y="111"/>
                  </a:lnTo>
                  <a:lnTo>
                    <a:pt x="1150" y="144"/>
                  </a:lnTo>
                  <a:lnTo>
                    <a:pt x="1150" y="151"/>
                  </a:lnTo>
                  <a:lnTo>
                    <a:pt x="1150" y="168"/>
                  </a:lnTo>
                  <a:lnTo>
                    <a:pt x="1143" y="168"/>
                  </a:lnTo>
                  <a:lnTo>
                    <a:pt x="1127" y="217"/>
                  </a:lnTo>
                  <a:lnTo>
                    <a:pt x="1089" y="255"/>
                  </a:lnTo>
                  <a:lnTo>
                    <a:pt x="1051" y="284"/>
                  </a:lnTo>
                  <a:lnTo>
                    <a:pt x="966" y="317"/>
                  </a:lnTo>
                  <a:lnTo>
                    <a:pt x="945" y="338"/>
                  </a:lnTo>
                  <a:lnTo>
                    <a:pt x="945" y="354"/>
                  </a:lnTo>
                  <a:lnTo>
                    <a:pt x="933" y="350"/>
                  </a:lnTo>
                  <a:lnTo>
                    <a:pt x="928" y="371"/>
                  </a:lnTo>
                  <a:lnTo>
                    <a:pt x="912" y="411"/>
                  </a:lnTo>
                  <a:lnTo>
                    <a:pt x="912" y="428"/>
                  </a:lnTo>
                  <a:lnTo>
                    <a:pt x="895" y="437"/>
                  </a:lnTo>
                  <a:lnTo>
                    <a:pt x="879" y="461"/>
                  </a:lnTo>
                  <a:lnTo>
                    <a:pt x="862" y="461"/>
                  </a:lnTo>
                  <a:lnTo>
                    <a:pt x="841" y="421"/>
                  </a:lnTo>
                  <a:lnTo>
                    <a:pt x="824" y="421"/>
                  </a:lnTo>
                  <a:lnTo>
                    <a:pt x="803" y="411"/>
                  </a:lnTo>
                  <a:lnTo>
                    <a:pt x="787" y="421"/>
                  </a:lnTo>
                  <a:lnTo>
                    <a:pt x="782" y="421"/>
                  </a:lnTo>
                  <a:lnTo>
                    <a:pt x="798" y="404"/>
                  </a:lnTo>
                  <a:lnTo>
                    <a:pt x="782" y="404"/>
                  </a:lnTo>
                  <a:lnTo>
                    <a:pt x="782" y="387"/>
                  </a:lnTo>
                  <a:lnTo>
                    <a:pt x="798" y="387"/>
                  </a:lnTo>
                  <a:lnTo>
                    <a:pt x="803" y="383"/>
                  </a:lnTo>
                  <a:lnTo>
                    <a:pt x="798" y="350"/>
                  </a:lnTo>
                  <a:lnTo>
                    <a:pt x="798" y="338"/>
                  </a:lnTo>
                  <a:lnTo>
                    <a:pt x="820" y="333"/>
                  </a:lnTo>
                  <a:lnTo>
                    <a:pt x="836" y="284"/>
                  </a:lnTo>
                  <a:lnTo>
                    <a:pt x="824" y="272"/>
                  </a:lnTo>
                  <a:lnTo>
                    <a:pt x="836" y="243"/>
                  </a:lnTo>
                  <a:lnTo>
                    <a:pt x="824" y="255"/>
                  </a:lnTo>
                  <a:lnTo>
                    <a:pt x="824" y="284"/>
                  </a:lnTo>
                  <a:lnTo>
                    <a:pt x="810" y="284"/>
                  </a:lnTo>
                  <a:lnTo>
                    <a:pt x="820" y="272"/>
                  </a:lnTo>
                  <a:lnTo>
                    <a:pt x="820" y="272"/>
                  </a:lnTo>
                  <a:lnTo>
                    <a:pt x="798" y="293"/>
                  </a:lnTo>
                  <a:lnTo>
                    <a:pt x="756" y="272"/>
                  </a:lnTo>
                  <a:lnTo>
                    <a:pt x="749" y="255"/>
                  </a:lnTo>
                  <a:lnTo>
                    <a:pt x="765" y="255"/>
                  </a:lnTo>
                  <a:lnTo>
                    <a:pt x="765" y="239"/>
                  </a:lnTo>
                  <a:lnTo>
                    <a:pt x="756" y="217"/>
                  </a:lnTo>
                  <a:lnTo>
                    <a:pt x="765" y="201"/>
                  </a:lnTo>
                  <a:lnTo>
                    <a:pt x="749" y="172"/>
                  </a:lnTo>
                  <a:lnTo>
                    <a:pt x="756" y="168"/>
                  </a:lnTo>
                  <a:lnTo>
                    <a:pt x="772" y="168"/>
                  </a:lnTo>
                  <a:lnTo>
                    <a:pt x="787" y="144"/>
                  </a:lnTo>
                  <a:lnTo>
                    <a:pt x="798" y="144"/>
                  </a:lnTo>
                  <a:lnTo>
                    <a:pt x="787" y="144"/>
                  </a:lnTo>
                  <a:lnTo>
                    <a:pt x="782" y="128"/>
                  </a:lnTo>
                  <a:lnTo>
                    <a:pt x="810" y="95"/>
                  </a:lnTo>
                  <a:lnTo>
                    <a:pt x="820" y="73"/>
                  </a:lnTo>
                  <a:lnTo>
                    <a:pt x="810" y="50"/>
                  </a:lnTo>
                  <a:lnTo>
                    <a:pt x="810" y="40"/>
                  </a:lnTo>
                  <a:lnTo>
                    <a:pt x="891" y="17"/>
                  </a:lnTo>
                  <a:lnTo>
                    <a:pt x="907" y="0"/>
                  </a:lnTo>
                  <a:lnTo>
                    <a:pt x="907" y="0"/>
                  </a:lnTo>
                  <a:lnTo>
                    <a:pt x="907" y="0"/>
                  </a:lnTo>
                  <a:close/>
                  <a:moveTo>
                    <a:pt x="891" y="7"/>
                  </a:moveTo>
                  <a:lnTo>
                    <a:pt x="891" y="7"/>
                  </a:lnTo>
                  <a:lnTo>
                    <a:pt x="895" y="0"/>
                  </a:lnTo>
                  <a:lnTo>
                    <a:pt x="891" y="7"/>
                  </a:lnTo>
                  <a:lnTo>
                    <a:pt x="891" y="7"/>
                  </a:lnTo>
                  <a:lnTo>
                    <a:pt x="891" y="7"/>
                  </a:lnTo>
                  <a:close/>
                  <a:moveTo>
                    <a:pt x="80" y="78"/>
                  </a:moveTo>
                  <a:lnTo>
                    <a:pt x="80" y="78"/>
                  </a:lnTo>
                  <a:lnTo>
                    <a:pt x="80" y="73"/>
                  </a:lnTo>
                  <a:lnTo>
                    <a:pt x="85" y="78"/>
                  </a:lnTo>
                  <a:lnTo>
                    <a:pt x="80" y="78"/>
                  </a:lnTo>
                  <a:lnTo>
                    <a:pt x="80" y="78"/>
                  </a:lnTo>
                  <a:lnTo>
                    <a:pt x="80" y="78"/>
                  </a:lnTo>
                  <a:close/>
                  <a:moveTo>
                    <a:pt x="31" y="172"/>
                  </a:moveTo>
                  <a:lnTo>
                    <a:pt x="14" y="172"/>
                  </a:lnTo>
                  <a:lnTo>
                    <a:pt x="9" y="168"/>
                  </a:lnTo>
                  <a:lnTo>
                    <a:pt x="26" y="151"/>
                  </a:lnTo>
                  <a:lnTo>
                    <a:pt x="31" y="151"/>
                  </a:lnTo>
                  <a:lnTo>
                    <a:pt x="43" y="144"/>
                  </a:lnTo>
                  <a:lnTo>
                    <a:pt x="14" y="118"/>
                  </a:lnTo>
                  <a:lnTo>
                    <a:pt x="14" y="106"/>
                  </a:lnTo>
                  <a:lnTo>
                    <a:pt x="0" y="106"/>
                  </a:lnTo>
                  <a:lnTo>
                    <a:pt x="14" y="90"/>
                  </a:lnTo>
                  <a:lnTo>
                    <a:pt x="31" y="106"/>
                  </a:lnTo>
                  <a:lnTo>
                    <a:pt x="31" y="118"/>
                  </a:lnTo>
                  <a:lnTo>
                    <a:pt x="47" y="128"/>
                  </a:lnTo>
                  <a:lnTo>
                    <a:pt x="47" y="144"/>
                  </a:lnTo>
                  <a:lnTo>
                    <a:pt x="52" y="151"/>
                  </a:lnTo>
                  <a:lnTo>
                    <a:pt x="47" y="168"/>
                  </a:lnTo>
                  <a:lnTo>
                    <a:pt x="31" y="172"/>
                  </a:lnTo>
                  <a:lnTo>
                    <a:pt x="31" y="172"/>
                  </a:lnTo>
                  <a:lnTo>
                    <a:pt x="31" y="172"/>
                  </a:lnTo>
                  <a:close/>
                  <a:moveTo>
                    <a:pt x="69" y="128"/>
                  </a:moveTo>
                  <a:lnTo>
                    <a:pt x="52" y="128"/>
                  </a:lnTo>
                  <a:lnTo>
                    <a:pt x="52" y="111"/>
                  </a:lnTo>
                  <a:lnTo>
                    <a:pt x="69" y="118"/>
                  </a:lnTo>
                  <a:lnTo>
                    <a:pt x="80" y="118"/>
                  </a:lnTo>
                  <a:lnTo>
                    <a:pt x="69" y="128"/>
                  </a:lnTo>
                  <a:lnTo>
                    <a:pt x="69" y="128"/>
                  </a:lnTo>
                  <a:lnTo>
                    <a:pt x="69" y="128"/>
                  </a:lnTo>
                  <a:close/>
                  <a:moveTo>
                    <a:pt x="9" y="135"/>
                  </a:moveTo>
                  <a:lnTo>
                    <a:pt x="0" y="128"/>
                  </a:lnTo>
                  <a:lnTo>
                    <a:pt x="9" y="118"/>
                  </a:lnTo>
                  <a:lnTo>
                    <a:pt x="14" y="135"/>
                  </a:lnTo>
                  <a:lnTo>
                    <a:pt x="9" y="135"/>
                  </a:lnTo>
                  <a:lnTo>
                    <a:pt x="9" y="135"/>
                  </a:lnTo>
                  <a:lnTo>
                    <a:pt x="9" y="135"/>
                  </a:lnTo>
                  <a:close/>
                  <a:moveTo>
                    <a:pt x="97" y="161"/>
                  </a:moveTo>
                  <a:lnTo>
                    <a:pt x="80" y="151"/>
                  </a:lnTo>
                  <a:lnTo>
                    <a:pt x="80" y="135"/>
                  </a:lnTo>
                  <a:lnTo>
                    <a:pt x="102" y="144"/>
                  </a:lnTo>
                  <a:lnTo>
                    <a:pt x="102" y="151"/>
                  </a:lnTo>
                  <a:lnTo>
                    <a:pt x="97" y="161"/>
                  </a:lnTo>
                  <a:lnTo>
                    <a:pt x="97" y="161"/>
                  </a:lnTo>
                  <a:lnTo>
                    <a:pt x="97" y="161"/>
                  </a:lnTo>
                  <a:close/>
                  <a:moveTo>
                    <a:pt x="151" y="168"/>
                  </a:moveTo>
                  <a:lnTo>
                    <a:pt x="139" y="168"/>
                  </a:lnTo>
                  <a:lnTo>
                    <a:pt x="172" y="151"/>
                  </a:lnTo>
                  <a:lnTo>
                    <a:pt x="156" y="168"/>
                  </a:lnTo>
                  <a:lnTo>
                    <a:pt x="151" y="168"/>
                  </a:lnTo>
                  <a:lnTo>
                    <a:pt x="151" y="168"/>
                  </a:lnTo>
                  <a:lnTo>
                    <a:pt x="151" y="168"/>
                  </a:lnTo>
                  <a:close/>
                  <a:moveTo>
                    <a:pt x="85" y="201"/>
                  </a:moveTo>
                  <a:lnTo>
                    <a:pt x="80" y="189"/>
                  </a:lnTo>
                  <a:lnTo>
                    <a:pt x="80" y="189"/>
                  </a:lnTo>
                  <a:lnTo>
                    <a:pt x="85" y="189"/>
                  </a:lnTo>
                  <a:lnTo>
                    <a:pt x="85" y="201"/>
                  </a:lnTo>
                  <a:lnTo>
                    <a:pt x="85" y="201"/>
                  </a:lnTo>
                  <a:lnTo>
                    <a:pt x="85" y="201"/>
                  </a:lnTo>
                  <a:close/>
                  <a:moveTo>
                    <a:pt x="803" y="317"/>
                  </a:moveTo>
                  <a:lnTo>
                    <a:pt x="798" y="317"/>
                  </a:lnTo>
                  <a:lnTo>
                    <a:pt x="803" y="293"/>
                  </a:lnTo>
                  <a:lnTo>
                    <a:pt x="820" y="293"/>
                  </a:lnTo>
                  <a:lnTo>
                    <a:pt x="824" y="293"/>
                  </a:lnTo>
                  <a:lnTo>
                    <a:pt x="803" y="317"/>
                  </a:lnTo>
                  <a:lnTo>
                    <a:pt x="803" y="317"/>
                  </a:lnTo>
                  <a:lnTo>
                    <a:pt x="803" y="31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1" name="Freeform 430">
              <a:extLst>
                <a:ext uri="{FF2B5EF4-FFF2-40B4-BE49-F238E27FC236}">
                  <a16:creationId xmlns:a16="http://schemas.microsoft.com/office/drawing/2014/main" id="{3DB48DE8-6B70-4FE7-98EB-B1FA3366875B}"/>
                </a:ext>
              </a:extLst>
            </p:cNvPr>
            <p:cNvSpPr>
              <a:spLocks/>
            </p:cNvSpPr>
            <p:nvPr/>
          </p:nvSpPr>
          <p:spPr bwMode="gray">
            <a:xfrm>
              <a:off x="14312680" y="3343622"/>
              <a:ext cx="276893" cy="242854"/>
            </a:xfrm>
            <a:custGeom>
              <a:avLst/>
              <a:gdLst>
                <a:gd name="T0" fmla="*/ 468 w 846"/>
                <a:gd name="T1" fmla="*/ 742 h 742"/>
                <a:gd name="T2" fmla="*/ 468 w 846"/>
                <a:gd name="T3" fmla="*/ 725 h 742"/>
                <a:gd name="T4" fmla="*/ 17 w 846"/>
                <a:gd name="T5" fmla="*/ 742 h 742"/>
                <a:gd name="T6" fmla="*/ 17 w 846"/>
                <a:gd name="T7" fmla="*/ 189 h 742"/>
                <a:gd name="T8" fmla="*/ 17 w 846"/>
                <a:gd name="T9" fmla="*/ 66 h 742"/>
                <a:gd name="T10" fmla="*/ 31 w 846"/>
                <a:gd name="T11" fmla="*/ 0 h 742"/>
                <a:gd name="T12" fmla="*/ 38 w 846"/>
                <a:gd name="T13" fmla="*/ 10 h 742"/>
                <a:gd name="T14" fmla="*/ 177 w 846"/>
                <a:gd name="T15" fmla="*/ 21 h 742"/>
                <a:gd name="T16" fmla="*/ 198 w 846"/>
                <a:gd name="T17" fmla="*/ 38 h 742"/>
                <a:gd name="T18" fmla="*/ 224 w 846"/>
                <a:gd name="T19" fmla="*/ 45 h 742"/>
                <a:gd name="T20" fmla="*/ 300 w 846"/>
                <a:gd name="T21" fmla="*/ 62 h 742"/>
                <a:gd name="T22" fmla="*/ 371 w 846"/>
                <a:gd name="T23" fmla="*/ 21 h 742"/>
                <a:gd name="T24" fmla="*/ 387 w 846"/>
                <a:gd name="T25" fmla="*/ 29 h 742"/>
                <a:gd name="T26" fmla="*/ 404 w 846"/>
                <a:gd name="T27" fmla="*/ 10 h 742"/>
                <a:gd name="T28" fmla="*/ 409 w 846"/>
                <a:gd name="T29" fmla="*/ 21 h 742"/>
                <a:gd name="T30" fmla="*/ 446 w 846"/>
                <a:gd name="T31" fmla="*/ 10 h 742"/>
                <a:gd name="T32" fmla="*/ 480 w 846"/>
                <a:gd name="T33" fmla="*/ 10 h 742"/>
                <a:gd name="T34" fmla="*/ 522 w 846"/>
                <a:gd name="T35" fmla="*/ 29 h 742"/>
                <a:gd name="T36" fmla="*/ 494 w 846"/>
                <a:gd name="T37" fmla="*/ 29 h 742"/>
                <a:gd name="T38" fmla="*/ 510 w 846"/>
                <a:gd name="T39" fmla="*/ 29 h 742"/>
                <a:gd name="T40" fmla="*/ 532 w 846"/>
                <a:gd name="T41" fmla="*/ 38 h 742"/>
                <a:gd name="T42" fmla="*/ 555 w 846"/>
                <a:gd name="T43" fmla="*/ 45 h 742"/>
                <a:gd name="T44" fmla="*/ 586 w 846"/>
                <a:gd name="T45" fmla="*/ 45 h 742"/>
                <a:gd name="T46" fmla="*/ 628 w 846"/>
                <a:gd name="T47" fmla="*/ 38 h 742"/>
                <a:gd name="T48" fmla="*/ 673 w 846"/>
                <a:gd name="T49" fmla="*/ 29 h 742"/>
                <a:gd name="T50" fmla="*/ 699 w 846"/>
                <a:gd name="T51" fmla="*/ 177 h 742"/>
                <a:gd name="T52" fmla="*/ 678 w 846"/>
                <a:gd name="T53" fmla="*/ 260 h 742"/>
                <a:gd name="T54" fmla="*/ 661 w 846"/>
                <a:gd name="T55" fmla="*/ 305 h 742"/>
                <a:gd name="T56" fmla="*/ 591 w 846"/>
                <a:gd name="T57" fmla="*/ 244 h 742"/>
                <a:gd name="T58" fmla="*/ 565 w 846"/>
                <a:gd name="T59" fmla="*/ 170 h 742"/>
                <a:gd name="T60" fmla="*/ 532 w 846"/>
                <a:gd name="T61" fmla="*/ 166 h 742"/>
                <a:gd name="T62" fmla="*/ 555 w 846"/>
                <a:gd name="T63" fmla="*/ 222 h 742"/>
                <a:gd name="T64" fmla="*/ 619 w 846"/>
                <a:gd name="T65" fmla="*/ 288 h 742"/>
                <a:gd name="T66" fmla="*/ 607 w 846"/>
                <a:gd name="T67" fmla="*/ 298 h 742"/>
                <a:gd name="T68" fmla="*/ 640 w 846"/>
                <a:gd name="T69" fmla="*/ 343 h 742"/>
                <a:gd name="T70" fmla="*/ 645 w 846"/>
                <a:gd name="T71" fmla="*/ 388 h 742"/>
                <a:gd name="T72" fmla="*/ 725 w 846"/>
                <a:gd name="T73" fmla="*/ 553 h 742"/>
                <a:gd name="T74" fmla="*/ 754 w 846"/>
                <a:gd name="T75" fmla="*/ 598 h 742"/>
                <a:gd name="T76" fmla="*/ 763 w 846"/>
                <a:gd name="T77" fmla="*/ 671 h 742"/>
                <a:gd name="T78" fmla="*/ 801 w 846"/>
                <a:gd name="T79" fmla="*/ 692 h 742"/>
                <a:gd name="T80" fmla="*/ 846 w 846"/>
                <a:gd name="T81" fmla="*/ 742 h 742"/>
                <a:gd name="T82" fmla="*/ 846 w 846"/>
                <a:gd name="T83" fmla="*/ 74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6" h="742">
                  <a:moveTo>
                    <a:pt x="846" y="742"/>
                  </a:moveTo>
                  <a:lnTo>
                    <a:pt x="468" y="742"/>
                  </a:lnTo>
                  <a:lnTo>
                    <a:pt x="480" y="737"/>
                  </a:lnTo>
                  <a:lnTo>
                    <a:pt x="468" y="725"/>
                  </a:lnTo>
                  <a:lnTo>
                    <a:pt x="458" y="742"/>
                  </a:lnTo>
                  <a:lnTo>
                    <a:pt x="17" y="742"/>
                  </a:lnTo>
                  <a:lnTo>
                    <a:pt x="17" y="314"/>
                  </a:lnTo>
                  <a:lnTo>
                    <a:pt x="17" y="189"/>
                  </a:lnTo>
                  <a:lnTo>
                    <a:pt x="0" y="116"/>
                  </a:lnTo>
                  <a:lnTo>
                    <a:pt x="17" y="66"/>
                  </a:lnTo>
                  <a:lnTo>
                    <a:pt x="9" y="21"/>
                  </a:lnTo>
                  <a:lnTo>
                    <a:pt x="31" y="0"/>
                  </a:lnTo>
                  <a:lnTo>
                    <a:pt x="31" y="5"/>
                  </a:lnTo>
                  <a:lnTo>
                    <a:pt x="38" y="10"/>
                  </a:lnTo>
                  <a:lnTo>
                    <a:pt x="85" y="0"/>
                  </a:lnTo>
                  <a:lnTo>
                    <a:pt x="177" y="21"/>
                  </a:lnTo>
                  <a:lnTo>
                    <a:pt x="189" y="29"/>
                  </a:lnTo>
                  <a:lnTo>
                    <a:pt x="198" y="38"/>
                  </a:lnTo>
                  <a:lnTo>
                    <a:pt x="215" y="29"/>
                  </a:lnTo>
                  <a:lnTo>
                    <a:pt x="224" y="45"/>
                  </a:lnTo>
                  <a:lnTo>
                    <a:pt x="253" y="45"/>
                  </a:lnTo>
                  <a:lnTo>
                    <a:pt x="300" y="62"/>
                  </a:lnTo>
                  <a:lnTo>
                    <a:pt x="333" y="55"/>
                  </a:lnTo>
                  <a:lnTo>
                    <a:pt x="371" y="21"/>
                  </a:lnTo>
                  <a:lnTo>
                    <a:pt x="376" y="29"/>
                  </a:lnTo>
                  <a:lnTo>
                    <a:pt x="387" y="29"/>
                  </a:lnTo>
                  <a:lnTo>
                    <a:pt x="392" y="5"/>
                  </a:lnTo>
                  <a:lnTo>
                    <a:pt x="404" y="10"/>
                  </a:lnTo>
                  <a:lnTo>
                    <a:pt x="442" y="5"/>
                  </a:lnTo>
                  <a:lnTo>
                    <a:pt x="409" y="21"/>
                  </a:lnTo>
                  <a:lnTo>
                    <a:pt x="430" y="10"/>
                  </a:lnTo>
                  <a:lnTo>
                    <a:pt x="446" y="10"/>
                  </a:lnTo>
                  <a:lnTo>
                    <a:pt x="442" y="5"/>
                  </a:lnTo>
                  <a:lnTo>
                    <a:pt x="480" y="10"/>
                  </a:lnTo>
                  <a:lnTo>
                    <a:pt x="501" y="5"/>
                  </a:lnTo>
                  <a:lnTo>
                    <a:pt x="522" y="29"/>
                  </a:lnTo>
                  <a:lnTo>
                    <a:pt x="501" y="5"/>
                  </a:lnTo>
                  <a:lnTo>
                    <a:pt x="494" y="29"/>
                  </a:lnTo>
                  <a:lnTo>
                    <a:pt x="501" y="38"/>
                  </a:lnTo>
                  <a:lnTo>
                    <a:pt x="510" y="29"/>
                  </a:lnTo>
                  <a:lnTo>
                    <a:pt x="517" y="45"/>
                  </a:lnTo>
                  <a:lnTo>
                    <a:pt x="532" y="38"/>
                  </a:lnTo>
                  <a:lnTo>
                    <a:pt x="522" y="29"/>
                  </a:lnTo>
                  <a:lnTo>
                    <a:pt x="555" y="45"/>
                  </a:lnTo>
                  <a:lnTo>
                    <a:pt x="586" y="38"/>
                  </a:lnTo>
                  <a:lnTo>
                    <a:pt x="586" y="45"/>
                  </a:lnTo>
                  <a:lnTo>
                    <a:pt x="607" y="38"/>
                  </a:lnTo>
                  <a:lnTo>
                    <a:pt x="628" y="38"/>
                  </a:lnTo>
                  <a:lnTo>
                    <a:pt x="661" y="21"/>
                  </a:lnTo>
                  <a:lnTo>
                    <a:pt x="673" y="29"/>
                  </a:lnTo>
                  <a:lnTo>
                    <a:pt x="711" y="170"/>
                  </a:lnTo>
                  <a:lnTo>
                    <a:pt x="699" y="177"/>
                  </a:lnTo>
                  <a:lnTo>
                    <a:pt x="695" y="227"/>
                  </a:lnTo>
                  <a:lnTo>
                    <a:pt x="678" y="260"/>
                  </a:lnTo>
                  <a:lnTo>
                    <a:pt x="678" y="281"/>
                  </a:lnTo>
                  <a:lnTo>
                    <a:pt x="661" y="305"/>
                  </a:lnTo>
                  <a:lnTo>
                    <a:pt x="628" y="281"/>
                  </a:lnTo>
                  <a:lnTo>
                    <a:pt x="591" y="244"/>
                  </a:lnTo>
                  <a:lnTo>
                    <a:pt x="591" y="206"/>
                  </a:lnTo>
                  <a:lnTo>
                    <a:pt x="565" y="170"/>
                  </a:lnTo>
                  <a:lnTo>
                    <a:pt x="548" y="121"/>
                  </a:lnTo>
                  <a:lnTo>
                    <a:pt x="532" y="166"/>
                  </a:lnTo>
                  <a:lnTo>
                    <a:pt x="548" y="177"/>
                  </a:lnTo>
                  <a:lnTo>
                    <a:pt x="555" y="222"/>
                  </a:lnTo>
                  <a:lnTo>
                    <a:pt x="586" y="265"/>
                  </a:lnTo>
                  <a:lnTo>
                    <a:pt x="619" y="288"/>
                  </a:lnTo>
                  <a:lnTo>
                    <a:pt x="619" y="298"/>
                  </a:lnTo>
                  <a:lnTo>
                    <a:pt x="607" y="298"/>
                  </a:lnTo>
                  <a:lnTo>
                    <a:pt x="607" y="314"/>
                  </a:lnTo>
                  <a:lnTo>
                    <a:pt x="640" y="343"/>
                  </a:lnTo>
                  <a:lnTo>
                    <a:pt x="645" y="371"/>
                  </a:lnTo>
                  <a:lnTo>
                    <a:pt x="645" y="388"/>
                  </a:lnTo>
                  <a:lnTo>
                    <a:pt x="683" y="466"/>
                  </a:lnTo>
                  <a:lnTo>
                    <a:pt x="725" y="553"/>
                  </a:lnTo>
                  <a:lnTo>
                    <a:pt x="780" y="598"/>
                  </a:lnTo>
                  <a:lnTo>
                    <a:pt x="754" y="598"/>
                  </a:lnTo>
                  <a:lnTo>
                    <a:pt x="754" y="631"/>
                  </a:lnTo>
                  <a:lnTo>
                    <a:pt x="763" y="671"/>
                  </a:lnTo>
                  <a:lnTo>
                    <a:pt x="780" y="688"/>
                  </a:lnTo>
                  <a:lnTo>
                    <a:pt x="801" y="692"/>
                  </a:lnTo>
                  <a:lnTo>
                    <a:pt x="824" y="721"/>
                  </a:lnTo>
                  <a:lnTo>
                    <a:pt x="846" y="742"/>
                  </a:lnTo>
                  <a:lnTo>
                    <a:pt x="846" y="742"/>
                  </a:lnTo>
                  <a:lnTo>
                    <a:pt x="846" y="742"/>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2" name="Freeform 431">
              <a:extLst>
                <a:ext uri="{FF2B5EF4-FFF2-40B4-BE49-F238E27FC236}">
                  <a16:creationId xmlns:a16="http://schemas.microsoft.com/office/drawing/2014/main" id="{448CFD7B-907A-443F-9AEE-133882B057DC}"/>
                </a:ext>
              </a:extLst>
            </p:cNvPr>
            <p:cNvSpPr>
              <a:spLocks noEditPoints="1"/>
            </p:cNvSpPr>
            <p:nvPr/>
          </p:nvSpPr>
          <p:spPr bwMode="gray">
            <a:xfrm>
              <a:off x="13504912" y="2655645"/>
              <a:ext cx="99498" cy="126009"/>
            </a:xfrm>
            <a:custGeom>
              <a:avLst/>
              <a:gdLst>
                <a:gd name="T0" fmla="*/ 198 w 304"/>
                <a:gd name="T1" fmla="*/ 59 h 385"/>
                <a:gd name="T2" fmla="*/ 193 w 304"/>
                <a:gd name="T3" fmla="*/ 75 h 385"/>
                <a:gd name="T4" fmla="*/ 181 w 304"/>
                <a:gd name="T5" fmla="*/ 116 h 385"/>
                <a:gd name="T6" fmla="*/ 236 w 304"/>
                <a:gd name="T7" fmla="*/ 92 h 385"/>
                <a:gd name="T8" fmla="*/ 288 w 304"/>
                <a:gd name="T9" fmla="*/ 125 h 385"/>
                <a:gd name="T10" fmla="*/ 283 w 304"/>
                <a:gd name="T11" fmla="*/ 132 h 385"/>
                <a:gd name="T12" fmla="*/ 304 w 304"/>
                <a:gd name="T13" fmla="*/ 182 h 385"/>
                <a:gd name="T14" fmla="*/ 304 w 304"/>
                <a:gd name="T15" fmla="*/ 220 h 385"/>
                <a:gd name="T16" fmla="*/ 288 w 304"/>
                <a:gd name="T17" fmla="*/ 264 h 385"/>
                <a:gd name="T18" fmla="*/ 274 w 304"/>
                <a:gd name="T19" fmla="*/ 298 h 385"/>
                <a:gd name="T20" fmla="*/ 283 w 304"/>
                <a:gd name="T21" fmla="*/ 314 h 385"/>
                <a:gd name="T22" fmla="*/ 236 w 304"/>
                <a:gd name="T23" fmla="*/ 298 h 385"/>
                <a:gd name="T24" fmla="*/ 198 w 304"/>
                <a:gd name="T25" fmla="*/ 319 h 385"/>
                <a:gd name="T26" fmla="*/ 181 w 304"/>
                <a:gd name="T27" fmla="*/ 331 h 385"/>
                <a:gd name="T28" fmla="*/ 160 w 304"/>
                <a:gd name="T29" fmla="*/ 347 h 385"/>
                <a:gd name="T30" fmla="*/ 155 w 304"/>
                <a:gd name="T31" fmla="*/ 335 h 385"/>
                <a:gd name="T32" fmla="*/ 144 w 304"/>
                <a:gd name="T33" fmla="*/ 335 h 385"/>
                <a:gd name="T34" fmla="*/ 122 w 304"/>
                <a:gd name="T35" fmla="*/ 368 h 385"/>
                <a:gd name="T36" fmla="*/ 70 w 304"/>
                <a:gd name="T37" fmla="*/ 373 h 385"/>
                <a:gd name="T38" fmla="*/ 59 w 304"/>
                <a:gd name="T39" fmla="*/ 368 h 385"/>
                <a:gd name="T40" fmla="*/ 70 w 304"/>
                <a:gd name="T41" fmla="*/ 364 h 385"/>
                <a:gd name="T42" fmla="*/ 21 w 304"/>
                <a:gd name="T43" fmla="*/ 368 h 385"/>
                <a:gd name="T44" fmla="*/ 21 w 304"/>
                <a:gd name="T45" fmla="*/ 352 h 385"/>
                <a:gd name="T46" fmla="*/ 4 w 304"/>
                <a:gd name="T47" fmla="*/ 352 h 385"/>
                <a:gd name="T48" fmla="*/ 16 w 304"/>
                <a:gd name="T49" fmla="*/ 331 h 385"/>
                <a:gd name="T50" fmla="*/ 0 w 304"/>
                <a:gd name="T51" fmla="*/ 319 h 385"/>
                <a:gd name="T52" fmla="*/ 21 w 304"/>
                <a:gd name="T53" fmla="*/ 298 h 385"/>
                <a:gd name="T54" fmla="*/ 49 w 304"/>
                <a:gd name="T55" fmla="*/ 290 h 385"/>
                <a:gd name="T56" fmla="*/ 113 w 304"/>
                <a:gd name="T57" fmla="*/ 264 h 385"/>
                <a:gd name="T58" fmla="*/ 92 w 304"/>
                <a:gd name="T59" fmla="*/ 264 h 385"/>
                <a:gd name="T60" fmla="*/ 70 w 304"/>
                <a:gd name="T61" fmla="*/ 253 h 385"/>
                <a:gd name="T62" fmla="*/ 70 w 304"/>
                <a:gd name="T63" fmla="*/ 236 h 385"/>
                <a:gd name="T64" fmla="*/ 106 w 304"/>
                <a:gd name="T65" fmla="*/ 220 h 385"/>
                <a:gd name="T66" fmla="*/ 59 w 304"/>
                <a:gd name="T67" fmla="*/ 208 h 385"/>
                <a:gd name="T68" fmla="*/ 49 w 304"/>
                <a:gd name="T69" fmla="*/ 203 h 385"/>
                <a:gd name="T70" fmla="*/ 49 w 304"/>
                <a:gd name="T71" fmla="*/ 187 h 385"/>
                <a:gd name="T72" fmla="*/ 16 w 304"/>
                <a:gd name="T73" fmla="*/ 182 h 385"/>
                <a:gd name="T74" fmla="*/ 37 w 304"/>
                <a:gd name="T75" fmla="*/ 170 h 385"/>
                <a:gd name="T76" fmla="*/ 59 w 304"/>
                <a:gd name="T77" fmla="*/ 153 h 385"/>
                <a:gd name="T78" fmla="*/ 37 w 304"/>
                <a:gd name="T79" fmla="*/ 149 h 385"/>
                <a:gd name="T80" fmla="*/ 49 w 304"/>
                <a:gd name="T81" fmla="*/ 142 h 385"/>
                <a:gd name="T82" fmla="*/ 21 w 304"/>
                <a:gd name="T83" fmla="*/ 125 h 385"/>
                <a:gd name="T84" fmla="*/ 33 w 304"/>
                <a:gd name="T85" fmla="*/ 99 h 385"/>
                <a:gd name="T86" fmla="*/ 49 w 304"/>
                <a:gd name="T87" fmla="*/ 99 h 385"/>
                <a:gd name="T88" fmla="*/ 92 w 304"/>
                <a:gd name="T89" fmla="*/ 116 h 385"/>
                <a:gd name="T90" fmla="*/ 139 w 304"/>
                <a:gd name="T91" fmla="*/ 109 h 385"/>
                <a:gd name="T92" fmla="*/ 155 w 304"/>
                <a:gd name="T93" fmla="*/ 87 h 385"/>
                <a:gd name="T94" fmla="*/ 127 w 304"/>
                <a:gd name="T95" fmla="*/ 75 h 385"/>
                <a:gd name="T96" fmla="*/ 144 w 304"/>
                <a:gd name="T97" fmla="*/ 42 h 385"/>
                <a:gd name="T98" fmla="*/ 144 w 304"/>
                <a:gd name="T99" fmla="*/ 38 h 385"/>
                <a:gd name="T100" fmla="*/ 144 w 304"/>
                <a:gd name="T101" fmla="*/ 21 h 385"/>
                <a:gd name="T102" fmla="*/ 193 w 304"/>
                <a:gd name="T103" fmla="*/ 33 h 385"/>
                <a:gd name="T104" fmla="*/ 181 w 304"/>
                <a:gd name="T105" fmla="*/ 16 h 385"/>
                <a:gd name="T106" fmla="*/ 207 w 304"/>
                <a:gd name="T107" fmla="*/ 21 h 385"/>
                <a:gd name="T108" fmla="*/ 207 w 304"/>
                <a:gd name="T109" fmla="*/ 33 h 385"/>
                <a:gd name="T110" fmla="*/ 215 w 304"/>
                <a:gd name="T111" fmla="*/ 5 h 385"/>
                <a:gd name="T112" fmla="*/ 245 w 304"/>
                <a:gd name="T113" fmla="*/ 16 h 385"/>
                <a:gd name="T114" fmla="*/ 219 w 304"/>
                <a:gd name="T115" fmla="*/ 33 h 385"/>
                <a:gd name="T116" fmla="*/ 21 w 304"/>
                <a:gd name="T117" fmla="*/ 132 h 385"/>
                <a:gd name="T118" fmla="*/ 37 w 304"/>
                <a:gd name="T119" fmla="*/ 149 h 385"/>
                <a:gd name="T120" fmla="*/ 21 w 304"/>
                <a:gd name="T121" fmla="*/ 132 h 385"/>
                <a:gd name="T122" fmla="*/ 21 w 304"/>
                <a:gd name="T123" fmla="*/ 132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4" h="385">
                  <a:moveTo>
                    <a:pt x="219" y="33"/>
                  </a:moveTo>
                  <a:lnTo>
                    <a:pt x="198" y="59"/>
                  </a:lnTo>
                  <a:lnTo>
                    <a:pt x="177" y="71"/>
                  </a:lnTo>
                  <a:lnTo>
                    <a:pt x="193" y="75"/>
                  </a:lnTo>
                  <a:lnTo>
                    <a:pt x="160" y="92"/>
                  </a:lnTo>
                  <a:lnTo>
                    <a:pt x="181" y="116"/>
                  </a:lnTo>
                  <a:lnTo>
                    <a:pt x="219" y="125"/>
                  </a:lnTo>
                  <a:lnTo>
                    <a:pt x="236" y="92"/>
                  </a:lnTo>
                  <a:lnTo>
                    <a:pt x="266" y="132"/>
                  </a:lnTo>
                  <a:lnTo>
                    <a:pt x="288" y="125"/>
                  </a:lnTo>
                  <a:lnTo>
                    <a:pt x="304" y="132"/>
                  </a:lnTo>
                  <a:lnTo>
                    <a:pt x="283" y="132"/>
                  </a:lnTo>
                  <a:lnTo>
                    <a:pt x="283" y="142"/>
                  </a:lnTo>
                  <a:lnTo>
                    <a:pt x="304" y="182"/>
                  </a:lnTo>
                  <a:lnTo>
                    <a:pt x="288" y="198"/>
                  </a:lnTo>
                  <a:lnTo>
                    <a:pt x="304" y="220"/>
                  </a:lnTo>
                  <a:lnTo>
                    <a:pt x="304" y="236"/>
                  </a:lnTo>
                  <a:lnTo>
                    <a:pt x="288" y="264"/>
                  </a:lnTo>
                  <a:lnTo>
                    <a:pt x="300" y="274"/>
                  </a:lnTo>
                  <a:lnTo>
                    <a:pt x="274" y="298"/>
                  </a:lnTo>
                  <a:lnTo>
                    <a:pt x="288" y="307"/>
                  </a:lnTo>
                  <a:lnTo>
                    <a:pt x="283" y="314"/>
                  </a:lnTo>
                  <a:lnTo>
                    <a:pt x="245" y="314"/>
                  </a:lnTo>
                  <a:lnTo>
                    <a:pt x="236" y="298"/>
                  </a:lnTo>
                  <a:lnTo>
                    <a:pt x="236" y="314"/>
                  </a:lnTo>
                  <a:lnTo>
                    <a:pt x="198" y="319"/>
                  </a:lnTo>
                  <a:lnTo>
                    <a:pt x="198" y="331"/>
                  </a:lnTo>
                  <a:lnTo>
                    <a:pt x="181" y="331"/>
                  </a:lnTo>
                  <a:lnTo>
                    <a:pt x="177" y="335"/>
                  </a:lnTo>
                  <a:lnTo>
                    <a:pt x="160" y="347"/>
                  </a:lnTo>
                  <a:lnTo>
                    <a:pt x="155" y="347"/>
                  </a:lnTo>
                  <a:lnTo>
                    <a:pt x="155" y="335"/>
                  </a:lnTo>
                  <a:lnTo>
                    <a:pt x="139" y="335"/>
                  </a:lnTo>
                  <a:lnTo>
                    <a:pt x="144" y="335"/>
                  </a:lnTo>
                  <a:lnTo>
                    <a:pt x="144" y="352"/>
                  </a:lnTo>
                  <a:lnTo>
                    <a:pt x="122" y="368"/>
                  </a:lnTo>
                  <a:lnTo>
                    <a:pt x="85" y="373"/>
                  </a:lnTo>
                  <a:lnTo>
                    <a:pt x="70" y="373"/>
                  </a:lnTo>
                  <a:lnTo>
                    <a:pt x="49" y="385"/>
                  </a:lnTo>
                  <a:lnTo>
                    <a:pt x="59" y="368"/>
                  </a:lnTo>
                  <a:lnTo>
                    <a:pt x="49" y="368"/>
                  </a:lnTo>
                  <a:lnTo>
                    <a:pt x="70" y="364"/>
                  </a:lnTo>
                  <a:lnTo>
                    <a:pt x="59" y="352"/>
                  </a:lnTo>
                  <a:lnTo>
                    <a:pt x="21" y="368"/>
                  </a:lnTo>
                  <a:lnTo>
                    <a:pt x="59" y="335"/>
                  </a:lnTo>
                  <a:lnTo>
                    <a:pt x="21" y="352"/>
                  </a:lnTo>
                  <a:lnTo>
                    <a:pt x="16" y="347"/>
                  </a:lnTo>
                  <a:lnTo>
                    <a:pt x="4" y="352"/>
                  </a:lnTo>
                  <a:lnTo>
                    <a:pt x="4" y="335"/>
                  </a:lnTo>
                  <a:lnTo>
                    <a:pt x="16" y="331"/>
                  </a:lnTo>
                  <a:lnTo>
                    <a:pt x="49" y="314"/>
                  </a:lnTo>
                  <a:lnTo>
                    <a:pt x="0" y="319"/>
                  </a:lnTo>
                  <a:lnTo>
                    <a:pt x="0" y="314"/>
                  </a:lnTo>
                  <a:lnTo>
                    <a:pt x="21" y="298"/>
                  </a:lnTo>
                  <a:lnTo>
                    <a:pt x="49" y="307"/>
                  </a:lnTo>
                  <a:lnTo>
                    <a:pt x="49" y="290"/>
                  </a:lnTo>
                  <a:lnTo>
                    <a:pt x="54" y="274"/>
                  </a:lnTo>
                  <a:lnTo>
                    <a:pt x="113" y="264"/>
                  </a:lnTo>
                  <a:lnTo>
                    <a:pt x="101" y="257"/>
                  </a:lnTo>
                  <a:lnTo>
                    <a:pt x="92" y="264"/>
                  </a:lnTo>
                  <a:lnTo>
                    <a:pt x="37" y="274"/>
                  </a:lnTo>
                  <a:lnTo>
                    <a:pt x="70" y="253"/>
                  </a:lnTo>
                  <a:lnTo>
                    <a:pt x="75" y="241"/>
                  </a:lnTo>
                  <a:lnTo>
                    <a:pt x="70" y="236"/>
                  </a:lnTo>
                  <a:lnTo>
                    <a:pt x="85" y="220"/>
                  </a:lnTo>
                  <a:lnTo>
                    <a:pt x="106" y="220"/>
                  </a:lnTo>
                  <a:lnTo>
                    <a:pt x="106" y="203"/>
                  </a:lnTo>
                  <a:lnTo>
                    <a:pt x="59" y="208"/>
                  </a:lnTo>
                  <a:lnTo>
                    <a:pt x="59" y="198"/>
                  </a:lnTo>
                  <a:lnTo>
                    <a:pt x="49" y="203"/>
                  </a:lnTo>
                  <a:lnTo>
                    <a:pt x="37" y="203"/>
                  </a:lnTo>
                  <a:lnTo>
                    <a:pt x="49" y="187"/>
                  </a:lnTo>
                  <a:lnTo>
                    <a:pt x="21" y="198"/>
                  </a:lnTo>
                  <a:lnTo>
                    <a:pt x="16" y="182"/>
                  </a:lnTo>
                  <a:lnTo>
                    <a:pt x="54" y="170"/>
                  </a:lnTo>
                  <a:lnTo>
                    <a:pt x="37" y="170"/>
                  </a:lnTo>
                  <a:lnTo>
                    <a:pt x="37" y="153"/>
                  </a:lnTo>
                  <a:lnTo>
                    <a:pt x="59" y="153"/>
                  </a:lnTo>
                  <a:lnTo>
                    <a:pt x="59" y="149"/>
                  </a:lnTo>
                  <a:lnTo>
                    <a:pt x="37" y="149"/>
                  </a:lnTo>
                  <a:lnTo>
                    <a:pt x="37" y="142"/>
                  </a:lnTo>
                  <a:lnTo>
                    <a:pt x="49" y="142"/>
                  </a:lnTo>
                  <a:lnTo>
                    <a:pt x="33" y="109"/>
                  </a:lnTo>
                  <a:lnTo>
                    <a:pt x="21" y="125"/>
                  </a:lnTo>
                  <a:lnTo>
                    <a:pt x="21" y="109"/>
                  </a:lnTo>
                  <a:lnTo>
                    <a:pt x="33" y="99"/>
                  </a:lnTo>
                  <a:lnTo>
                    <a:pt x="37" y="116"/>
                  </a:lnTo>
                  <a:lnTo>
                    <a:pt x="49" y="99"/>
                  </a:lnTo>
                  <a:lnTo>
                    <a:pt x="75" y="99"/>
                  </a:lnTo>
                  <a:lnTo>
                    <a:pt x="92" y="116"/>
                  </a:lnTo>
                  <a:lnTo>
                    <a:pt x="101" y="109"/>
                  </a:lnTo>
                  <a:lnTo>
                    <a:pt x="139" y="109"/>
                  </a:lnTo>
                  <a:lnTo>
                    <a:pt x="122" y="99"/>
                  </a:lnTo>
                  <a:lnTo>
                    <a:pt x="155" y="87"/>
                  </a:lnTo>
                  <a:lnTo>
                    <a:pt x="160" y="71"/>
                  </a:lnTo>
                  <a:lnTo>
                    <a:pt x="127" y="75"/>
                  </a:lnTo>
                  <a:lnTo>
                    <a:pt x="113" y="71"/>
                  </a:lnTo>
                  <a:lnTo>
                    <a:pt x="144" y="42"/>
                  </a:lnTo>
                  <a:lnTo>
                    <a:pt x="139" y="38"/>
                  </a:lnTo>
                  <a:lnTo>
                    <a:pt x="144" y="38"/>
                  </a:lnTo>
                  <a:lnTo>
                    <a:pt x="139" y="38"/>
                  </a:lnTo>
                  <a:lnTo>
                    <a:pt x="144" y="21"/>
                  </a:lnTo>
                  <a:lnTo>
                    <a:pt x="181" y="16"/>
                  </a:lnTo>
                  <a:lnTo>
                    <a:pt x="193" y="33"/>
                  </a:lnTo>
                  <a:lnTo>
                    <a:pt x="193" y="16"/>
                  </a:lnTo>
                  <a:lnTo>
                    <a:pt x="181" y="16"/>
                  </a:lnTo>
                  <a:lnTo>
                    <a:pt x="193" y="5"/>
                  </a:lnTo>
                  <a:lnTo>
                    <a:pt x="207" y="21"/>
                  </a:lnTo>
                  <a:lnTo>
                    <a:pt x="193" y="38"/>
                  </a:lnTo>
                  <a:lnTo>
                    <a:pt x="207" y="33"/>
                  </a:lnTo>
                  <a:lnTo>
                    <a:pt x="198" y="16"/>
                  </a:lnTo>
                  <a:lnTo>
                    <a:pt x="215" y="5"/>
                  </a:lnTo>
                  <a:lnTo>
                    <a:pt x="215" y="0"/>
                  </a:lnTo>
                  <a:lnTo>
                    <a:pt x="245" y="16"/>
                  </a:lnTo>
                  <a:lnTo>
                    <a:pt x="219" y="33"/>
                  </a:lnTo>
                  <a:lnTo>
                    <a:pt x="219" y="33"/>
                  </a:lnTo>
                  <a:lnTo>
                    <a:pt x="219" y="33"/>
                  </a:lnTo>
                  <a:close/>
                  <a:moveTo>
                    <a:pt x="21" y="132"/>
                  </a:moveTo>
                  <a:lnTo>
                    <a:pt x="33" y="132"/>
                  </a:lnTo>
                  <a:lnTo>
                    <a:pt x="37" y="149"/>
                  </a:lnTo>
                  <a:lnTo>
                    <a:pt x="16" y="142"/>
                  </a:lnTo>
                  <a:lnTo>
                    <a:pt x="21" y="132"/>
                  </a:lnTo>
                  <a:lnTo>
                    <a:pt x="21" y="132"/>
                  </a:lnTo>
                  <a:lnTo>
                    <a:pt x="21" y="132"/>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3" name="Freeform 432">
              <a:extLst>
                <a:ext uri="{FF2B5EF4-FFF2-40B4-BE49-F238E27FC236}">
                  <a16:creationId xmlns:a16="http://schemas.microsoft.com/office/drawing/2014/main" id="{91637DF7-2081-44BD-BBA2-2200C3D1011E}"/>
                </a:ext>
              </a:extLst>
            </p:cNvPr>
            <p:cNvSpPr>
              <a:spLocks noEditPoints="1"/>
            </p:cNvSpPr>
            <p:nvPr/>
          </p:nvSpPr>
          <p:spPr bwMode="gray">
            <a:xfrm>
              <a:off x="13939234" y="4027018"/>
              <a:ext cx="65787" cy="65132"/>
            </a:xfrm>
            <a:custGeom>
              <a:avLst/>
              <a:gdLst>
                <a:gd name="T0" fmla="*/ 26 w 201"/>
                <a:gd name="T1" fmla="*/ 17 h 199"/>
                <a:gd name="T2" fmla="*/ 14 w 201"/>
                <a:gd name="T3" fmla="*/ 41 h 199"/>
                <a:gd name="T4" fmla="*/ 0 w 201"/>
                <a:gd name="T5" fmla="*/ 33 h 199"/>
                <a:gd name="T6" fmla="*/ 0 w 201"/>
                <a:gd name="T7" fmla="*/ 17 h 199"/>
                <a:gd name="T8" fmla="*/ 5 w 201"/>
                <a:gd name="T9" fmla="*/ 17 h 199"/>
                <a:gd name="T10" fmla="*/ 14 w 201"/>
                <a:gd name="T11" fmla="*/ 0 h 199"/>
                <a:gd name="T12" fmla="*/ 26 w 201"/>
                <a:gd name="T13" fmla="*/ 0 h 199"/>
                <a:gd name="T14" fmla="*/ 26 w 201"/>
                <a:gd name="T15" fmla="*/ 17 h 199"/>
                <a:gd name="T16" fmla="*/ 26 w 201"/>
                <a:gd name="T17" fmla="*/ 17 h 199"/>
                <a:gd name="T18" fmla="*/ 26 w 201"/>
                <a:gd name="T19" fmla="*/ 17 h 199"/>
                <a:gd name="T20" fmla="*/ 92 w 201"/>
                <a:gd name="T21" fmla="*/ 95 h 199"/>
                <a:gd name="T22" fmla="*/ 109 w 201"/>
                <a:gd name="T23" fmla="*/ 111 h 199"/>
                <a:gd name="T24" fmla="*/ 201 w 201"/>
                <a:gd name="T25" fmla="*/ 111 h 199"/>
                <a:gd name="T26" fmla="*/ 201 w 201"/>
                <a:gd name="T27" fmla="*/ 199 h 199"/>
                <a:gd name="T28" fmla="*/ 109 w 201"/>
                <a:gd name="T29" fmla="*/ 199 h 199"/>
                <a:gd name="T30" fmla="*/ 97 w 201"/>
                <a:gd name="T31" fmla="*/ 199 h 199"/>
                <a:gd name="T32" fmla="*/ 92 w 201"/>
                <a:gd name="T33" fmla="*/ 199 h 199"/>
                <a:gd name="T34" fmla="*/ 92 w 201"/>
                <a:gd name="T35" fmla="*/ 187 h 199"/>
                <a:gd name="T36" fmla="*/ 76 w 201"/>
                <a:gd name="T37" fmla="*/ 187 h 199"/>
                <a:gd name="T38" fmla="*/ 59 w 201"/>
                <a:gd name="T39" fmla="*/ 182 h 199"/>
                <a:gd name="T40" fmla="*/ 92 w 201"/>
                <a:gd name="T41" fmla="*/ 128 h 199"/>
                <a:gd name="T42" fmla="*/ 92 w 201"/>
                <a:gd name="T43" fmla="*/ 95 h 199"/>
                <a:gd name="T44" fmla="*/ 92 w 201"/>
                <a:gd name="T45" fmla="*/ 95 h 199"/>
                <a:gd name="T46" fmla="*/ 92 w 201"/>
                <a:gd name="T47" fmla="*/ 9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1" h="199">
                  <a:moveTo>
                    <a:pt x="26" y="17"/>
                  </a:moveTo>
                  <a:lnTo>
                    <a:pt x="14" y="41"/>
                  </a:lnTo>
                  <a:lnTo>
                    <a:pt x="0" y="33"/>
                  </a:lnTo>
                  <a:lnTo>
                    <a:pt x="0" y="17"/>
                  </a:lnTo>
                  <a:lnTo>
                    <a:pt x="5" y="17"/>
                  </a:lnTo>
                  <a:lnTo>
                    <a:pt x="14" y="0"/>
                  </a:lnTo>
                  <a:lnTo>
                    <a:pt x="26" y="0"/>
                  </a:lnTo>
                  <a:lnTo>
                    <a:pt x="26" y="17"/>
                  </a:lnTo>
                  <a:lnTo>
                    <a:pt x="26" y="17"/>
                  </a:lnTo>
                  <a:lnTo>
                    <a:pt x="26" y="17"/>
                  </a:lnTo>
                  <a:close/>
                  <a:moveTo>
                    <a:pt x="92" y="95"/>
                  </a:moveTo>
                  <a:lnTo>
                    <a:pt x="109" y="111"/>
                  </a:lnTo>
                  <a:lnTo>
                    <a:pt x="201" y="111"/>
                  </a:lnTo>
                  <a:lnTo>
                    <a:pt x="201" y="199"/>
                  </a:lnTo>
                  <a:lnTo>
                    <a:pt x="109" y="199"/>
                  </a:lnTo>
                  <a:lnTo>
                    <a:pt x="97" y="199"/>
                  </a:lnTo>
                  <a:lnTo>
                    <a:pt x="92" y="199"/>
                  </a:lnTo>
                  <a:lnTo>
                    <a:pt x="92" y="187"/>
                  </a:lnTo>
                  <a:lnTo>
                    <a:pt x="76" y="187"/>
                  </a:lnTo>
                  <a:lnTo>
                    <a:pt x="59" y="182"/>
                  </a:lnTo>
                  <a:lnTo>
                    <a:pt x="92" y="128"/>
                  </a:lnTo>
                  <a:lnTo>
                    <a:pt x="92" y="95"/>
                  </a:lnTo>
                  <a:lnTo>
                    <a:pt x="92" y="95"/>
                  </a:lnTo>
                  <a:lnTo>
                    <a:pt x="92" y="95"/>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4" name="Freeform 433">
              <a:extLst>
                <a:ext uri="{FF2B5EF4-FFF2-40B4-BE49-F238E27FC236}">
                  <a16:creationId xmlns:a16="http://schemas.microsoft.com/office/drawing/2014/main" id="{D17C8C3B-B4D0-42C6-8956-F010D1ABF414}"/>
                </a:ext>
              </a:extLst>
            </p:cNvPr>
            <p:cNvSpPr>
              <a:spLocks noEditPoints="1"/>
            </p:cNvSpPr>
            <p:nvPr/>
          </p:nvSpPr>
          <p:spPr bwMode="gray">
            <a:xfrm>
              <a:off x="14245584" y="2510980"/>
              <a:ext cx="145320" cy="71351"/>
            </a:xfrm>
            <a:custGeom>
              <a:avLst/>
              <a:gdLst>
                <a:gd name="T0" fmla="*/ 359 w 444"/>
                <a:gd name="T1" fmla="*/ 208 h 218"/>
                <a:gd name="T2" fmla="*/ 295 w 444"/>
                <a:gd name="T3" fmla="*/ 184 h 218"/>
                <a:gd name="T4" fmla="*/ 240 w 444"/>
                <a:gd name="T5" fmla="*/ 168 h 218"/>
                <a:gd name="T6" fmla="*/ 177 w 444"/>
                <a:gd name="T7" fmla="*/ 184 h 218"/>
                <a:gd name="T8" fmla="*/ 177 w 444"/>
                <a:gd name="T9" fmla="*/ 130 h 218"/>
                <a:gd name="T10" fmla="*/ 132 w 444"/>
                <a:gd name="T11" fmla="*/ 130 h 218"/>
                <a:gd name="T12" fmla="*/ 122 w 444"/>
                <a:gd name="T13" fmla="*/ 97 h 218"/>
                <a:gd name="T14" fmla="*/ 111 w 444"/>
                <a:gd name="T15" fmla="*/ 88 h 218"/>
                <a:gd name="T16" fmla="*/ 127 w 444"/>
                <a:gd name="T17" fmla="*/ 71 h 218"/>
                <a:gd name="T18" fmla="*/ 127 w 444"/>
                <a:gd name="T19" fmla="*/ 71 h 218"/>
                <a:gd name="T20" fmla="*/ 111 w 444"/>
                <a:gd name="T21" fmla="*/ 43 h 218"/>
                <a:gd name="T22" fmla="*/ 160 w 444"/>
                <a:gd name="T23" fmla="*/ 21 h 218"/>
                <a:gd name="T24" fmla="*/ 177 w 444"/>
                <a:gd name="T25" fmla="*/ 14 h 218"/>
                <a:gd name="T26" fmla="*/ 203 w 444"/>
                <a:gd name="T27" fmla="*/ 5 h 218"/>
                <a:gd name="T28" fmla="*/ 257 w 444"/>
                <a:gd name="T29" fmla="*/ 0 h 218"/>
                <a:gd name="T30" fmla="*/ 274 w 444"/>
                <a:gd name="T31" fmla="*/ 0 h 218"/>
                <a:gd name="T32" fmla="*/ 418 w 444"/>
                <a:gd name="T33" fmla="*/ 21 h 218"/>
                <a:gd name="T34" fmla="*/ 444 w 444"/>
                <a:gd name="T35" fmla="*/ 26 h 218"/>
                <a:gd name="T36" fmla="*/ 429 w 444"/>
                <a:gd name="T37" fmla="*/ 38 h 218"/>
                <a:gd name="T38" fmla="*/ 392 w 444"/>
                <a:gd name="T39" fmla="*/ 88 h 218"/>
                <a:gd name="T40" fmla="*/ 396 w 444"/>
                <a:gd name="T41" fmla="*/ 147 h 218"/>
                <a:gd name="T42" fmla="*/ 396 w 444"/>
                <a:gd name="T43" fmla="*/ 184 h 218"/>
                <a:gd name="T44" fmla="*/ 392 w 444"/>
                <a:gd name="T45" fmla="*/ 218 h 218"/>
                <a:gd name="T46" fmla="*/ 52 w 444"/>
                <a:gd name="T47" fmla="*/ 97 h 218"/>
                <a:gd name="T48" fmla="*/ 35 w 444"/>
                <a:gd name="T49" fmla="*/ 76 h 218"/>
                <a:gd name="T50" fmla="*/ 35 w 444"/>
                <a:gd name="T51" fmla="*/ 71 h 218"/>
                <a:gd name="T52" fmla="*/ 73 w 444"/>
                <a:gd name="T53" fmla="*/ 71 h 218"/>
                <a:gd name="T54" fmla="*/ 68 w 444"/>
                <a:gd name="T55" fmla="*/ 88 h 218"/>
                <a:gd name="T56" fmla="*/ 52 w 444"/>
                <a:gd name="T57" fmla="*/ 97 h 218"/>
                <a:gd name="T58" fmla="*/ 96 w 444"/>
                <a:gd name="T59" fmla="*/ 59 h 218"/>
                <a:gd name="T60" fmla="*/ 89 w 444"/>
                <a:gd name="T61" fmla="*/ 71 h 218"/>
                <a:gd name="T62" fmla="*/ 96 w 444"/>
                <a:gd name="T63" fmla="*/ 59 h 218"/>
                <a:gd name="T64" fmla="*/ 96 w 444"/>
                <a:gd name="T65" fmla="*/ 59 h 218"/>
                <a:gd name="T66" fmla="*/ 111 w 444"/>
                <a:gd name="T67" fmla="*/ 114 h 218"/>
                <a:gd name="T68" fmla="*/ 96 w 444"/>
                <a:gd name="T69" fmla="*/ 97 h 218"/>
                <a:gd name="T70" fmla="*/ 96 w 444"/>
                <a:gd name="T71" fmla="*/ 97 h 218"/>
                <a:gd name="T72" fmla="*/ 14 w 444"/>
                <a:gd name="T73" fmla="*/ 168 h 218"/>
                <a:gd name="T74" fmla="*/ 4 w 444"/>
                <a:gd name="T75" fmla="*/ 142 h 218"/>
                <a:gd name="T76" fmla="*/ 0 w 444"/>
                <a:gd name="T77" fmla="*/ 114 h 218"/>
                <a:gd name="T78" fmla="*/ 106 w 444"/>
                <a:gd name="T79" fmla="*/ 125 h 218"/>
                <a:gd name="T80" fmla="*/ 68 w 444"/>
                <a:gd name="T81" fmla="*/ 147 h 218"/>
                <a:gd name="T82" fmla="*/ 26 w 444"/>
                <a:gd name="T83" fmla="*/ 168 h 218"/>
                <a:gd name="T84" fmla="*/ 14 w 444"/>
                <a:gd name="T85" fmla="*/ 18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4" h="218">
                  <a:moveTo>
                    <a:pt x="392" y="218"/>
                  </a:moveTo>
                  <a:lnTo>
                    <a:pt x="359" y="208"/>
                  </a:lnTo>
                  <a:lnTo>
                    <a:pt x="326" y="218"/>
                  </a:lnTo>
                  <a:lnTo>
                    <a:pt x="295" y="184"/>
                  </a:lnTo>
                  <a:lnTo>
                    <a:pt x="240" y="163"/>
                  </a:lnTo>
                  <a:lnTo>
                    <a:pt x="240" y="168"/>
                  </a:lnTo>
                  <a:lnTo>
                    <a:pt x="229" y="163"/>
                  </a:lnTo>
                  <a:lnTo>
                    <a:pt x="177" y="184"/>
                  </a:lnTo>
                  <a:lnTo>
                    <a:pt x="186" y="142"/>
                  </a:lnTo>
                  <a:lnTo>
                    <a:pt x="177" y="130"/>
                  </a:lnTo>
                  <a:lnTo>
                    <a:pt x="160" y="147"/>
                  </a:lnTo>
                  <a:lnTo>
                    <a:pt x="132" y="130"/>
                  </a:lnTo>
                  <a:lnTo>
                    <a:pt x="122" y="109"/>
                  </a:lnTo>
                  <a:lnTo>
                    <a:pt x="122" y="97"/>
                  </a:lnTo>
                  <a:lnTo>
                    <a:pt x="144" y="92"/>
                  </a:lnTo>
                  <a:lnTo>
                    <a:pt x="111" y="88"/>
                  </a:lnTo>
                  <a:lnTo>
                    <a:pt x="111" y="76"/>
                  </a:lnTo>
                  <a:lnTo>
                    <a:pt x="127" y="71"/>
                  </a:lnTo>
                  <a:lnTo>
                    <a:pt x="122" y="59"/>
                  </a:lnTo>
                  <a:lnTo>
                    <a:pt x="127" y="71"/>
                  </a:lnTo>
                  <a:lnTo>
                    <a:pt x="111" y="59"/>
                  </a:lnTo>
                  <a:lnTo>
                    <a:pt x="111" y="43"/>
                  </a:lnTo>
                  <a:lnTo>
                    <a:pt x="148" y="38"/>
                  </a:lnTo>
                  <a:lnTo>
                    <a:pt x="160" y="21"/>
                  </a:lnTo>
                  <a:lnTo>
                    <a:pt x="165" y="26"/>
                  </a:lnTo>
                  <a:lnTo>
                    <a:pt x="177" y="14"/>
                  </a:lnTo>
                  <a:lnTo>
                    <a:pt x="203" y="21"/>
                  </a:lnTo>
                  <a:lnTo>
                    <a:pt x="203" y="5"/>
                  </a:lnTo>
                  <a:lnTo>
                    <a:pt x="252" y="14"/>
                  </a:lnTo>
                  <a:lnTo>
                    <a:pt x="257" y="0"/>
                  </a:lnTo>
                  <a:lnTo>
                    <a:pt x="266" y="5"/>
                  </a:lnTo>
                  <a:lnTo>
                    <a:pt x="274" y="0"/>
                  </a:lnTo>
                  <a:lnTo>
                    <a:pt x="359" y="21"/>
                  </a:lnTo>
                  <a:lnTo>
                    <a:pt x="418" y="21"/>
                  </a:lnTo>
                  <a:lnTo>
                    <a:pt x="434" y="14"/>
                  </a:lnTo>
                  <a:lnTo>
                    <a:pt x="444" y="26"/>
                  </a:lnTo>
                  <a:lnTo>
                    <a:pt x="444" y="38"/>
                  </a:lnTo>
                  <a:lnTo>
                    <a:pt x="429" y="38"/>
                  </a:lnTo>
                  <a:lnTo>
                    <a:pt x="418" y="59"/>
                  </a:lnTo>
                  <a:lnTo>
                    <a:pt x="392" y="88"/>
                  </a:lnTo>
                  <a:lnTo>
                    <a:pt x="396" y="130"/>
                  </a:lnTo>
                  <a:lnTo>
                    <a:pt x="396" y="147"/>
                  </a:lnTo>
                  <a:lnTo>
                    <a:pt x="418" y="184"/>
                  </a:lnTo>
                  <a:lnTo>
                    <a:pt x="396" y="184"/>
                  </a:lnTo>
                  <a:lnTo>
                    <a:pt x="392" y="218"/>
                  </a:lnTo>
                  <a:lnTo>
                    <a:pt x="392" y="218"/>
                  </a:lnTo>
                  <a:lnTo>
                    <a:pt x="392" y="218"/>
                  </a:lnTo>
                  <a:close/>
                  <a:moveTo>
                    <a:pt x="52" y="97"/>
                  </a:moveTo>
                  <a:lnTo>
                    <a:pt x="42" y="97"/>
                  </a:lnTo>
                  <a:lnTo>
                    <a:pt x="35" y="76"/>
                  </a:lnTo>
                  <a:lnTo>
                    <a:pt x="14" y="76"/>
                  </a:lnTo>
                  <a:lnTo>
                    <a:pt x="35" y="71"/>
                  </a:lnTo>
                  <a:lnTo>
                    <a:pt x="52" y="59"/>
                  </a:lnTo>
                  <a:lnTo>
                    <a:pt x="73" y="71"/>
                  </a:lnTo>
                  <a:lnTo>
                    <a:pt x="89" y="88"/>
                  </a:lnTo>
                  <a:lnTo>
                    <a:pt x="68" y="88"/>
                  </a:lnTo>
                  <a:lnTo>
                    <a:pt x="52" y="97"/>
                  </a:lnTo>
                  <a:lnTo>
                    <a:pt x="52" y="97"/>
                  </a:lnTo>
                  <a:lnTo>
                    <a:pt x="52" y="97"/>
                  </a:lnTo>
                  <a:close/>
                  <a:moveTo>
                    <a:pt x="96" y="59"/>
                  </a:moveTo>
                  <a:lnTo>
                    <a:pt x="111" y="71"/>
                  </a:lnTo>
                  <a:lnTo>
                    <a:pt x="89" y="71"/>
                  </a:lnTo>
                  <a:lnTo>
                    <a:pt x="89" y="59"/>
                  </a:lnTo>
                  <a:lnTo>
                    <a:pt x="96" y="59"/>
                  </a:lnTo>
                  <a:lnTo>
                    <a:pt x="96" y="59"/>
                  </a:lnTo>
                  <a:lnTo>
                    <a:pt x="96" y="59"/>
                  </a:lnTo>
                  <a:close/>
                  <a:moveTo>
                    <a:pt x="96" y="97"/>
                  </a:moveTo>
                  <a:lnTo>
                    <a:pt x="111" y="114"/>
                  </a:lnTo>
                  <a:lnTo>
                    <a:pt x="89" y="109"/>
                  </a:lnTo>
                  <a:lnTo>
                    <a:pt x="96" y="97"/>
                  </a:lnTo>
                  <a:lnTo>
                    <a:pt x="96" y="97"/>
                  </a:lnTo>
                  <a:lnTo>
                    <a:pt x="96" y="97"/>
                  </a:lnTo>
                  <a:close/>
                  <a:moveTo>
                    <a:pt x="14" y="180"/>
                  </a:moveTo>
                  <a:lnTo>
                    <a:pt x="14" y="168"/>
                  </a:lnTo>
                  <a:lnTo>
                    <a:pt x="26" y="151"/>
                  </a:lnTo>
                  <a:lnTo>
                    <a:pt x="4" y="142"/>
                  </a:lnTo>
                  <a:lnTo>
                    <a:pt x="14" y="130"/>
                  </a:lnTo>
                  <a:lnTo>
                    <a:pt x="0" y="114"/>
                  </a:lnTo>
                  <a:lnTo>
                    <a:pt x="73" y="109"/>
                  </a:lnTo>
                  <a:lnTo>
                    <a:pt x="106" y="125"/>
                  </a:lnTo>
                  <a:lnTo>
                    <a:pt x="89" y="125"/>
                  </a:lnTo>
                  <a:lnTo>
                    <a:pt x="68" y="147"/>
                  </a:lnTo>
                  <a:lnTo>
                    <a:pt x="35" y="151"/>
                  </a:lnTo>
                  <a:lnTo>
                    <a:pt x="26" y="168"/>
                  </a:lnTo>
                  <a:lnTo>
                    <a:pt x="14" y="180"/>
                  </a:lnTo>
                  <a:lnTo>
                    <a:pt x="14" y="180"/>
                  </a:lnTo>
                  <a:lnTo>
                    <a:pt x="14" y="18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5" name="Freeform 434">
              <a:extLst>
                <a:ext uri="{FF2B5EF4-FFF2-40B4-BE49-F238E27FC236}">
                  <a16:creationId xmlns:a16="http://schemas.microsoft.com/office/drawing/2014/main" id="{30E8B157-7822-452F-89BC-8766C0C34AFA}"/>
                </a:ext>
              </a:extLst>
            </p:cNvPr>
            <p:cNvSpPr>
              <a:spLocks noEditPoints="1"/>
            </p:cNvSpPr>
            <p:nvPr/>
          </p:nvSpPr>
          <p:spPr bwMode="gray">
            <a:xfrm>
              <a:off x="14581063" y="3684665"/>
              <a:ext cx="152847" cy="137465"/>
            </a:xfrm>
            <a:custGeom>
              <a:avLst/>
              <a:gdLst>
                <a:gd name="T0" fmla="*/ 446 w 467"/>
                <a:gd name="T1" fmla="*/ 404 h 420"/>
                <a:gd name="T2" fmla="*/ 434 w 467"/>
                <a:gd name="T3" fmla="*/ 420 h 420"/>
                <a:gd name="T4" fmla="*/ 413 w 467"/>
                <a:gd name="T5" fmla="*/ 416 h 420"/>
                <a:gd name="T6" fmla="*/ 380 w 467"/>
                <a:gd name="T7" fmla="*/ 383 h 420"/>
                <a:gd name="T8" fmla="*/ 338 w 467"/>
                <a:gd name="T9" fmla="*/ 326 h 420"/>
                <a:gd name="T10" fmla="*/ 269 w 467"/>
                <a:gd name="T11" fmla="*/ 260 h 420"/>
                <a:gd name="T12" fmla="*/ 215 w 467"/>
                <a:gd name="T13" fmla="*/ 255 h 420"/>
                <a:gd name="T14" fmla="*/ 182 w 467"/>
                <a:gd name="T15" fmla="*/ 250 h 420"/>
                <a:gd name="T16" fmla="*/ 144 w 467"/>
                <a:gd name="T17" fmla="*/ 272 h 420"/>
                <a:gd name="T18" fmla="*/ 113 w 467"/>
                <a:gd name="T19" fmla="*/ 250 h 420"/>
                <a:gd name="T20" fmla="*/ 80 w 467"/>
                <a:gd name="T21" fmla="*/ 293 h 420"/>
                <a:gd name="T22" fmla="*/ 52 w 467"/>
                <a:gd name="T23" fmla="*/ 272 h 420"/>
                <a:gd name="T24" fmla="*/ 26 w 467"/>
                <a:gd name="T25" fmla="*/ 272 h 420"/>
                <a:gd name="T26" fmla="*/ 0 w 467"/>
                <a:gd name="T27" fmla="*/ 217 h 420"/>
                <a:gd name="T28" fmla="*/ 26 w 467"/>
                <a:gd name="T29" fmla="*/ 111 h 420"/>
                <a:gd name="T30" fmla="*/ 38 w 467"/>
                <a:gd name="T31" fmla="*/ 73 h 420"/>
                <a:gd name="T32" fmla="*/ 75 w 467"/>
                <a:gd name="T33" fmla="*/ 57 h 420"/>
                <a:gd name="T34" fmla="*/ 127 w 467"/>
                <a:gd name="T35" fmla="*/ 40 h 420"/>
                <a:gd name="T36" fmla="*/ 182 w 467"/>
                <a:gd name="T37" fmla="*/ 66 h 420"/>
                <a:gd name="T38" fmla="*/ 203 w 467"/>
                <a:gd name="T39" fmla="*/ 168 h 420"/>
                <a:gd name="T40" fmla="*/ 219 w 467"/>
                <a:gd name="T41" fmla="*/ 194 h 420"/>
                <a:gd name="T42" fmla="*/ 236 w 467"/>
                <a:gd name="T43" fmla="*/ 222 h 420"/>
                <a:gd name="T44" fmla="*/ 236 w 467"/>
                <a:gd name="T45" fmla="*/ 201 h 420"/>
                <a:gd name="T46" fmla="*/ 257 w 467"/>
                <a:gd name="T47" fmla="*/ 222 h 420"/>
                <a:gd name="T48" fmla="*/ 283 w 467"/>
                <a:gd name="T49" fmla="*/ 222 h 420"/>
                <a:gd name="T50" fmla="*/ 304 w 467"/>
                <a:gd name="T51" fmla="*/ 250 h 420"/>
                <a:gd name="T52" fmla="*/ 366 w 467"/>
                <a:gd name="T53" fmla="*/ 305 h 420"/>
                <a:gd name="T54" fmla="*/ 397 w 467"/>
                <a:gd name="T55" fmla="*/ 326 h 420"/>
                <a:gd name="T56" fmla="*/ 401 w 467"/>
                <a:gd name="T57" fmla="*/ 326 h 420"/>
                <a:gd name="T58" fmla="*/ 434 w 467"/>
                <a:gd name="T59" fmla="*/ 366 h 420"/>
                <a:gd name="T60" fmla="*/ 451 w 467"/>
                <a:gd name="T61" fmla="*/ 387 h 420"/>
                <a:gd name="T62" fmla="*/ 467 w 467"/>
                <a:gd name="T63" fmla="*/ 387 h 420"/>
                <a:gd name="T64" fmla="*/ 467 w 467"/>
                <a:gd name="T65" fmla="*/ 387 h 420"/>
                <a:gd name="T66" fmla="*/ 252 w 467"/>
                <a:gd name="T67" fmla="*/ 144 h 420"/>
                <a:gd name="T68" fmla="*/ 257 w 467"/>
                <a:gd name="T69" fmla="*/ 149 h 420"/>
                <a:gd name="T70" fmla="*/ 252 w 467"/>
                <a:gd name="T71" fmla="*/ 149 h 420"/>
                <a:gd name="T72" fmla="*/ 252 w 467"/>
                <a:gd name="T73" fmla="*/ 161 h 420"/>
                <a:gd name="T74" fmla="*/ 257 w 467"/>
                <a:gd name="T75" fmla="*/ 177 h 420"/>
                <a:gd name="T76" fmla="*/ 274 w 467"/>
                <a:gd name="T77" fmla="*/ 184 h 420"/>
                <a:gd name="T78" fmla="*/ 241 w 467"/>
                <a:gd name="T79" fmla="*/ 177 h 420"/>
                <a:gd name="T80" fmla="*/ 241 w 467"/>
                <a:gd name="T81" fmla="*/ 168 h 420"/>
                <a:gd name="T82" fmla="*/ 252 w 467"/>
                <a:gd name="T83" fmla="*/ 161 h 420"/>
                <a:gd name="T84" fmla="*/ 252 w 467"/>
                <a:gd name="T85" fmla="*/ 161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7" h="420">
                  <a:moveTo>
                    <a:pt x="467" y="387"/>
                  </a:moveTo>
                  <a:lnTo>
                    <a:pt x="446" y="404"/>
                  </a:lnTo>
                  <a:lnTo>
                    <a:pt x="446" y="416"/>
                  </a:lnTo>
                  <a:lnTo>
                    <a:pt x="434" y="420"/>
                  </a:lnTo>
                  <a:lnTo>
                    <a:pt x="418" y="404"/>
                  </a:lnTo>
                  <a:lnTo>
                    <a:pt x="413" y="416"/>
                  </a:lnTo>
                  <a:lnTo>
                    <a:pt x="401" y="387"/>
                  </a:lnTo>
                  <a:lnTo>
                    <a:pt x="380" y="383"/>
                  </a:lnTo>
                  <a:lnTo>
                    <a:pt x="375" y="359"/>
                  </a:lnTo>
                  <a:lnTo>
                    <a:pt x="338" y="326"/>
                  </a:lnTo>
                  <a:lnTo>
                    <a:pt x="304" y="288"/>
                  </a:lnTo>
                  <a:lnTo>
                    <a:pt x="269" y="260"/>
                  </a:lnTo>
                  <a:lnTo>
                    <a:pt x="241" y="272"/>
                  </a:lnTo>
                  <a:lnTo>
                    <a:pt x="215" y="255"/>
                  </a:lnTo>
                  <a:lnTo>
                    <a:pt x="198" y="260"/>
                  </a:lnTo>
                  <a:lnTo>
                    <a:pt x="182" y="250"/>
                  </a:lnTo>
                  <a:lnTo>
                    <a:pt x="177" y="260"/>
                  </a:lnTo>
                  <a:lnTo>
                    <a:pt x="144" y="272"/>
                  </a:lnTo>
                  <a:lnTo>
                    <a:pt x="127" y="250"/>
                  </a:lnTo>
                  <a:lnTo>
                    <a:pt x="113" y="250"/>
                  </a:lnTo>
                  <a:lnTo>
                    <a:pt x="106" y="234"/>
                  </a:lnTo>
                  <a:lnTo>
                    <a:pt x="80" y="293"/>
                  </a:lnTo>
                  <a:lnTo>
                    <a:pt x="59" y="260"/>
                  </a:lnTo>
                  <a:lnTo>
                    <a:pt x="52" y="272"/>
                  </a:lnTo>
                  <a:lnTo>
                    <a:pt x="38" y="276"/>
                  </a:lnTo>
                  <a:lnTo>
                    <a:pt x="26" y="272"/>
                  </a:lnTo>
                  <a:lnTo>
                    <a:pt x="4" y="276"/>
                  </a:lnTo>
                  <a:lnTo>
                    <a:pt x="0" y="217"/>
                  </a:lnTo>
                  <a:lnTo>
                    <a:pt x="38" y="127"/>
                  </a:lnTo>
                  <a:lnTo>
                    <a:pt x="26" y="111"/>
                  </a:lnTo>
                  <a:lnTo>
                    <a:pt x="38" y="94"/>
                  </a:lnTo>
                  <a:lnTo>
                    <a:pt x="38" y="73"/>
                  </a:lnTo>
                  <a:lnTo>
                    <a:pt x="68" y="73"/>
                  </a:lnTo>
                  <a:lnTo>
                    <a:pt x="75" y="57"/>
                  </a:lnTo>
                  <a:lnTo>
                    <a:pt x="113" y="33"/>
                  </a:lnTo>
                  <a:lnTo>
                    <a:pt x="127" y="40"/>
                  </a:lnTo>
                  <a:lnTo>
                    <a:pt x="149" y="0"/>
                  </a:lnTo>
                  <a:lnTo>
                    <a:pt x="182" y="66"/>
                  </a:lnTo>
                  <a:lnTo>
                    <a:pt x="198" y="149"/>
                  </a:lnTo>
                  <a:lnTo>
                    <a:pt x="203" y="168"/>
                  </a:lnTo>
                  <a:lnTo>
                    <a:pt x="215" y="184"/>
                  </a:lnTo>
                  <a:lnTo>
                    <a:pt x="219" y="194"/>
                  </a:lnTo>
                  <a:lnTo>
                    <a:pt x="231" y="217"/>
                  </a:lnTo>
                  <a:lnTo>
                    <a:pt x="236" y="222"/>
                  </a:lnTo>
                  <a:lnTo>
                    <a:pt x="236" y="217"/>
                  </a:lnTo>
                  <a:lnTo>
                    <a:pt x="236" y="201"/>
                  </a:lnTo>
                  <a:lnTo>
                    <a:pt x="241" y="194"/>
                  </a:lnTo>
                  <a:lnTo>
                    <a:pt x="257" y="222"/>
                  </a:lnTo>
                  <a:lnTo>
                    <a:pt x="269" y="234"/>
                  </a:lnTo>
                  <a:lnTo>
                    <a:pt x="283" y="222"/>
                  </a:lnTo>
                  <a:lnTo>
                    <a:pt x="295" y="234"/>
                  </a:lnTo>
                  <a:lnTo>
                    <a:pt x="304" y="250"/>
                  </a:lnTo>
                  <a:lnTo>
                    <a:pt x="328" y="255"/>
                  </a:lnTo>
                  <a:lnTo>
                    <a:pt x="366" y="305"/>
                  </a:lnTo>
                  <a:lnTo>
                    <a:pt x="380" y="309"/>
                  </a:lnTo>
                  <a:lnTo>
                    <a:pt x="397" y="326"/>
                  </a:lnTo>
                  <a:lnTo>
                    <a:pt x="397" y="326"/>
                  </a:lnTo>
                  <a:lnTo>
                    <a:pt x="401" y="326"/>
                  </a:lnTo>
                  <a:lnTo>
                    <a:pt x="413" y="359"/>
                  </a:lnTo>
                  <a:lnTo>
                    <a:pt x="434" y="366"/>
                  </a:lnTo>
                  <a:lnTo>
                    <a:pt x="446" y="383"/>
                  </a:lnTo>
                  <a:lnTo>
                    <a:pt x="451" y="387"/>
                  </a:lnTo>
                  <a:lnTo>
                    <a:pt x="456" y="383"/>
                  </a:lnTo>
                  <a:lnTo>
                    <a:pt x="467" y="387"/>
                  </a:lnTo>
                  <a:lnTo>
                    <a:pt x="467" y="387"/>
                  </a:lnTo>
                  <a:lnTo>
                    <a:pt x="467" y="387"/>
                  </a:lnTo>
                  <a:close/>
                  <a:moveTo>
                    <a:pt x="252" y="149"/>
                  </a:moveTo>
                  <a:lnTo>
                    <a:pt x="252" y="144"/>
                  </a:lnTo>
                  <a:lnTo>
                    <a:pt x="257" y="144"/>
                  </a:lnTo>
                  <a:lnTo>
                    <a:pt x="257" y="149"/>
                  </a:lnTo>
                  <a:lnTo>
                    <a:pt x="252" y="149"/>
                  </a:lnTo>
                  <a:lnTo>
                    <a:pt x="252" y="149"/>
                  </a:lnTo>
                  <a:lnTo>
                    <a:pt x="252" y="149"/>
                  </a:lnTo>
                  <a:close/>
                  <a:moveTo>
                    <a:pt x="252" y="161"/>
                  </a:moveTo>
                  <a:lnTo>
                    <a:pt x="257" y="168"/>
                  </a:lnTo>
                  <a:lnTo>
                    <a:pt x="257" y="177"/>
                  </a:lnTo>
                  <a:lnTo>
                    <a:pt x="269" y="177"/>
                  </a:lnTo>
                  <a:lnTo>
                    <a:pt x="274" y="184"/>
                  </a:lnTo>
                  <a:lnTo>
                    <a:pt x="241" y="184"/>
                  </a:lnTo>
                  <a:lnTo>
                    <a:pt x="241" y="177"/>
                  </a:lnTo>
                  <a:lnTo>
                    <a:pt x="252" y="177"/>
                  </a:lnTo>
                  <a:lnTo>
                    <a:pt x="241" y="168"/>
                  </a:lnTo>
                  <a:lnTo>
                    <a:pt x="252" y="168"/>
                  </a:lnTo>
                  <a:lnTo>
                    <a:pt x="252" y="161"/>
                  </a:lnTo>
                  <a:lnTo>
                    <a:pt x="252" y="161"/>
                  </a:lnTo>
                  <a:lnTo>
                    <a:pt x="252" y="161"/>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6" name="Freeform 435">
              <a:extLst>
                <a:ext uri="{FF2B5EF4-FFF2-40B4-BE49-F238E27FC236}">
                  <a16:creationId xmlns:a16="http://schemas.microsoft.com/office/drawing/2014/main" id="{0FC27297-FF24-468A-957C-209C0E3E9CA0}"/>
                </a:ext>
              </a:extLst>
            </p:cNvPr>
            <p:cNvSpPr>
              <a:spLocks/>
            </p:cNvSpPr>
            <p:nvPr/>
          </p:nvSpPr>
          <p:spPr bwMode="gray">
            <a:xfrm>
              <a:off x="11674669" y="3773690"/>
              <a:ext cx="57931" cy="29130"/>
            </a:xfrm>
            <a:custGeom>
              <a:avLst/>
              <a:gdLst>
                <a:gd name="T0" fmla="*/ 0 w 177"/>
                <a:gd name="T1" fmla="*/ 44 h 89"/>
                <a:gd name="T2" fmla="*/ 12 w 177"/>
                <a:gd name="T3" fmla="*/ 33 h 89"/>
                <a:gd name="T4" fmla="*/ 45 w 177"/>
                <a:gd name="T5" fmla="*/ 4 h 89"/>
                <a:gd name="T6" fmla="*/ 45 w 177"/>
                <a:gd name="T7" fmla="*/ 0 h 89"/>
                <a:gd name="T8" fmla="*/ 55 w 177"/>
                <a:gd name="T9" fmla="*/ 0 h 89"/>
                <a:gd name="T10" fmla="*/ 83 w 177"/>
                <a:gd name="T11" fmla="*/ 0 h 89"/>
                <a:gd name="T12" fmla="*/ 100 w 177"/>
                <a:gd name="T13" fmla="*/ 21 h 89"/>
                <a:gd name="T14" fmla="*/ 100 w 177"/>
                <a:gd name="T15" fmla="*/ 16 h 89"/>
                <a:gd name="T16" fmla="*/ 111 w 177"/>
                <a:gd name="T17" fmla="*/ 33 h 89"/>
                <a:gd name="T18" fmla="*/ 121 w 177"/>
                <a:gd name="T19" fmla="*/ 37 h 89"/>
                <a:gd name="T20" fmla="*/ 144 w 177"/>
                <a:gd name="T21" fmla="*/ 33 h 89"/>
                <a:gd name="T22" fmla="*/ 154 w 177"/>
                <a:gd name="T23" fmla="*/ 37 h 89"/>
                <a:gd name="T24" fmla="*/ 166 w 177"/>
                <a:gd name="T25" fmla="*/ 33 h 89"/>
                <a:gd name="T26" fmla="*/ 177 w 177"/>
                <a:gd name="T27" fmla="*/ 37 h 89"/>
                <a:gd name="T28" fmla="*/ 166 w 177"/>
                <a:gd name="T29" fmla="*/ 61 h 89"/>
                <a:gd name="T30" fmla="*/ 177 w 177"/>
                <a:gd name="T31" fmla="*/ 61 h 89"/>
                <a:gd name="T32" fmla="*/ 166 w 177"/>
                <a:gd name="T33" fmla="*/ 73 h 89"/>
                <a:gd name="T34" fmla="*/ 161 w 177"/>
                <a:gd name="T35" fmla="*/ 73 h 89"/>
                <a:gd name="T36" fmla="*/ 166 w 177"/>
                <a:gd name="T37" fmla="*/ 78 h 89"/>
                <a:gd name="T38" fmla="*/ 161 w 177"/>
                <a:gd name="T39" fmla="*/ 89 h 89"/>
                <a:gd name="T40" fmla="*/ 100 w 177"/>
                <a:gd name="T41" fmla="*/ 78 h 89"/>
                <a:gd name="T42" fmla="*/ 111 w 177"/>
                <a:gd name="T43" fmla="*/ 89 h 89"/>
                <a:gd name="T44" fmla="*/ 55 w 177"/>
                <a:gd name="T45" fmla="*/ 61 h 89"/>
                <a:gd name="T46" fmla="*/ 29 w 177"/>
                <a:gd name="T47" fmla="*/ 61 h 89"/>
                <a:gd name="T48" fmla="*/ 0 w 177"/>
                <a:gd name="T49" fmla="*/ 44 h 89"/>
                <a:gd name="T50" fmla="*/ 0 w 177"/>
                <a:gd name="T51" fmla="*/ 44 h 89"/>
                <a:gd name="T52" fmla="*/ 0 w 177"/>
                <a:gd name="T53"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89">
                  <a:moveTo>
                    <a:pt x="0" y="44"/>
                  </a:moveTo>
                  <a:lnTo>
                    <a:pt x="12" y="33"/>
                  </a:lnTo>
                  <a:lnTo>
                    <a:pt x="45" y="4"/>
                  </a:lnTo>
                  <a:lnTo>
                    <a:pt x="45" y="0"/>
                  </a:lnTo>
                  <a:lnTo>
                    <a:pt x="55" y="0"/>
                  </a:lnTo>
                  <a:lnTo>
                    <a:pt x="83" y="0"/>
                  </a:lnTo>
                  <a:lnTo>
                    <a:pt x="100" y="21"/>
                  </a:lnTo>
                  <a:lnTo>
                    <a:pt x="100" y="16"/>
                  </a:lnTo>
                  <a:lnTo>
                    <a:pt x="111" y="33"/>
                  </a:lnTo>
                  <a:lnTo>
                    <a:pt x="121" y="37"/>
                  </a:lnTo>
                  <a:lnTo>
                    <a:pt x="144" y="33"/>
                  </a:lnTo>
                  <a:lnTo>
                    <a:pt x="154" y="37"/>
                  </a:lnTo>
                  <a:lnTo>
                    <a:pt x="166" y="33"/>
                  </a:lnTo>
                  <a:lnTo>
                    <a:pt x="177" y="37"/>
                  </a:lnTo>
                  <a:lnTo>
                    <a:pt x="166" y="61"/>
                  </a:lnTo>
                  <a:lnTo>
                    <a:pt x="177" y="61"/>
                  </a:lnTo>
                  <a:lnTo>
                    <a:pt x="166" y="73"/>
                  </a:lnTo>
                  <a:lnTo>
                    <a:pt x="161" y="73"/>
                  </a:lnTo>
                  <a:lnTo>
                    <a:pt x="166" y="78"/>
                  </a:lnTo>
                  <a:lnTo>
                    <a:pt x="161" y="89"/>
                  </a:lnTo>
                  <a:lnTo>
                    <a:pt x="100" y="78"/>
                  </a:lnTo>
                  <a:lnTo>
                    <a:pt x="111" y="89"/>
                  </a:lnTo>
                  <a:lnTo>
                    <a:pt x="55" y="61"/>
                  </a:lnTo>
                  <a:lnTo>
                    <a:pt x="29" y="61"/>
                  </a:lnTo>
                  <a:lnTo>
                    <a:pt x="0" y="44"/>
                  </a:lnTo>
                  <a:lnTo>
                    <a:pt x="0" y="44"/>
                  </a:lnTo>
                  <a:lnTo>
                    <a:pt x="0" y="44"/>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7" name="Freeform 436">
              <a:extLst>
                <a:ext uri="{FF2B5EF4-FFF2-40B4-BE49-F238E27FC236}">
                  <a16:creationId xmlns:a16="http://schemas.microsoft.com/office/drawing/2014/main" id="{EC4ABB93-DC92-426C-B8AC-B2238F1CD603}"/>
                </a:ext>
              </a:extLst>
            </p:cNvPr>
            <p:cNvSpPr>
              <a:spLocks/>
            </p:cNvSpPr>
            <p:nvPr/>
          </p:nvSpPr>
          <p:spPr bwMode="gray">
            <a:xfrm>
              <a:off x="14500548" y="3760271"/>
              <a:ext cx="345625" cy="274602"/>
            </a:xfrm>
            <a:custGeom>
              <a:avLst/>
              <a:gdLst>
                <a:gd name="T0" fmla="*/ 628 w 1056"/>
                <a:gd name="T1" fmla="*/ 794 h 839"/>
                <a:gd name="T2" fmla="*/ 553 w 1056"/>
                <a:gd name="T3" fmla="*/ 778 h 839"/>
                <a:gd name="T4" fmla="*/ 461 w 1056"/>
                <a:gd name="T5" fmla="*/ 839 h 839"/>
                <a:gd name="T6" fmla="*/ 369 w 1056"/>
                <a:gd name="T7" fmla="*/ 822 h 839"/>
                <a:gd name="T8" fmla="*/ 217 w 1056"/>
                <a:gd name="T9" fmla="*/ 761 h 839"/>
                <a:gd name="T10" fmla="*/ 196 w 1056"/>
                <a:gd name="T11" fmla="*/ 737 h 839"/>
                <a:gd name="T12" fmla="*/ 180 w 1056"/>
                <a:gd name="T13" fmla="*/ 688 h 839"/>
                <a:gd name="T14" fmla="*/ 163 w 1056"/>
                <a:gd name="T15" fmla="*/ 688 h 839"/>
                <a:gd name="T16" fmla="*/ 142 w 1056"/>
                <a:gd name="T17" fmla="*/ 650 h 839"/>
                <a:gd name="T18" fmla="*/ 109 w 1056"/>
                <a:gd name="T19" fmla="*/ 593 h 839"/>
                <a:gd name="T20" fmla="*/ 87 w 1056"/>
                <a:gd name="T21" fmla="*/ 577 h 839"/>
                <a:gd name="T22" fmla="*/ 33 w 1056"/>
                <a:gd name="T23" fmla="*/ 522 h 839"/>
                <a:gd name="T24" fmla="*/ 0 w 1056"/>
                <a:gd name="T25" fmla="*/ 506 h 839"/>
                <a:gd name="T26" fmla="*/ 17 w 1056"/>
                <a:gd name="T27" fmla="*/ 473 h 839"/>
                <a:gd name="T28" fmla="*/ 50 w 1056"/>
                <a:gd name="T29" fmla="*/ 466 h 839"/>
                <a:gd name="T30" fmla="*/ 83 w 1056"/>
                <a:gd name="T31" fmla="*/ 461 h 839"/>
                <a:gd name="T32" fmla="*/ 97 w 1056"/>
                <a:gd name="T33" fmla="*/ 338 h 839"/>
                <a:gd name="T34" fmla="*/ 121 w 1056"/>
                <a:gd name="T35" fmla="*/ 296 h 839"/>
                <a:gd name="T36" fmla="*/ 142 w 1056"/>
                <a:gd name="T37" fmla="*/ 296 h 839"/>
                <a:gd name="T38" fmla="*/ 151 w 1056"/>
                <a:gd name="T39" fmla="*/ 246 h 839"/>
                <a:gd name="T40" fmla="*/ 163 w 1056"/>
                <a:gd name="T41" fmla="*/ 222 h 839"/>
                <a:gd name="T42" fmla="*/ 227 w 1056"/>
                <a:gd name="T43" fmla="*/ 156 h 839"/>
                <a:gd name="T44" fmla="*/ 250 w 1056"/>
                <a:gd name="T45" fmla="*/ 78 h 839"/>
                <a:gd name="T46" fmla="*/ 250 w 1056"/>
                <a:gd name="T47" fmla="*/ 45 h 839"/>
                <a:gd name="T48" fmla="*/ 281 w 1056"/>
                <a:gd name="T49" fmla="*/ 45 h 839"/>
                <a:gd name="T50" fmla="*/ 305 w 1056"/>
                <a:gd name="T51" fmla="*/ 29 h 839"/>
                <a:gd name="T52" fmla="*/ 352 w 1056"/>
                <a:gd name="T53" fmla="*/ 0 h 839"/>
                <a:gd name="T54" fmla="*/ 373 w 1056"/>
                <a:gd name="T55" fmla="*/ 17 h 839"/>
                <a:gd name="T56" fmla="*/ 423 w 1056"/>
                <a:gd name="T57" fmla="*/ 29 h 839"/>
                <a:gd name="T58" fmla="*/ 444 w 1056"/>
                <a:gd name="T59" fmla="*/ 29 h 839"/>
                <a:gd name="T60" fmla="*/ 487 w 1056"/>
                <a:gd name="T61" fmla="*/ 41 h 839"/>
                <a:gd name="T62" fmla="*/ 553 w 1056"/>
                <a:gd name="T63" fmla="*/ 57 h 839"/>
                <a:gd name="T64" fmla="*/ 624 w 1056"/>
                <a:gd name="T65" fmla="*/ 128 h 839"/>
                <a:gd name="T66" fmla="*/ 650 w 1056"/>
                <a:gd name="T67" fmla="*/ 156 h 839"/>
                <a:gd name="T68" fmla="*/ 624 w 1056"/>
                <a:gd name="T69" fmla="*/ 230 h 839"/>
                <a:gd name="T70" fmla="*/ 624 w 1056"/>
                <a:gd name="T71" fmla="*/ 284 h 839"/>
                <a:gd name="T72" fmla="*/ 683 w 1056"/>
                <a:gd name="T73" fmla="*/ 279 h 839"/>
                <a:gd name="T74" fmla="*/ 683 w 1056"/>
                <a:gd name="T75" fmla="*/ 317 h 839"/>
                <a:gd name="T76" fmla="*/ 716 w 1056"/>
                <a:gd name="T77" fmla="*/ 362 h 839"/>
                <a:gd name="T78" fmla="*/ 737 w 1056"/>
                <a:gd name="T79" fmla="*/ 407 h 839"/>
                <a:gd name="T80" fmla="*/ 775 w 1056"/>
                <a:gd name="T81" fmla="*/ 433 h 839"/>
                <a:gd name="T82" fmla="*/ 1056 w 1056"/>
                <a:gd name="T83" fmla="*/ 506 h 839"/>
                <a:gd name="T84" fmla="*/ 775 w 1056"/>
                <a:gd name="T85" fmla="*/ 721 h 839"/>
                <a:gd name="T86" fmla="*/ 716 w 1056"/>
                <a:gd name="T87" fmla="*/ 744 h 839"/>
                <a:gd name="T88" fmla="*/ 640 w 1056"/>
                <a:gd name="T89" fmla="*/ 782 h 839"/>
                <a:gd name="T90" fmla="*/ 640 w 1056"/>
                <a:gd name="T91" fmla="*/ 78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56" h="839">
                  <a:moveTo>
                    <a:pt x="640" y="782"/>
                  </a:moveTo>
                  <a:lnTo>
                    <a:pt x="628" y="794"/>
                  </a:lnTo>
                  <a:lnTo>
                    <a:pt x="574" y="799"/>
                  </a:lnTo>
                  <a:lnTo>
                    <a:pt x="553" y="778"/>
                  </a:lnTo>
                  <a:lnTo>
                    <a:pt x="482" y="799"/>
                  </a:lnTo>
                  <a:lnTo>
                    <a:pt x="461" y="839"/>
                  </a:lnTo>
                  <a:lnTo>
                    <a:pt x="390" y="822"/>
                  </a:lnTo>
                  <a:lnTo>
                    <a:pt x="369" y="822"/>
                  </a:lnTo>
                  <a:lnTo>
                    <a:pt x="288" y="766"/>
                  </a:lnTo>
                  <a:lnTo>
                    <a:pt x="217" y="761"/>
                  </a:lnTo>
                  <a:lnTo>
                    <a:pt x="213" y="749"/>
                  </a:lnTo>
                  <a:lnTo>
                    <a:pt x="196" y="737"/>
                  </a:lnTo>
                  <a:lnTo>
                    <a:pt x="206" y="695"/>
                  </a:lnTo>
                  <a:lnTo>
                    <a:pt x="180" y="688"/>
                  </a:lnTo>
                  <a:lnTo>
                    <a:pt x="163" y="695"/>
                  </a:lnTo>
                  <a:lnTo>
                    <a:pt x="163" y="688"/>
                  </a:lnTo>
                  <a:lnTo>
                    <a:pt x="151" y="671"/>
                  </a:lnTo>
                  <a:lnTo>
                    <a:pt x="142" y="650"/>
                  </a:lnTo>
                  <a:lnTo>
                    <a:pt x="125" y="600"/>
                  </a:lnTo>
                  <a:lnTo>
                    <a:pt x="109" y="593"/>
                  </a:lnTo>
                  <a:lnTo>
                    <a:pt x="104" y="584"/>
                  </a:lnTo>
                  <a:lnTo>
                    <a:pt x="87" y="577"/>
                  </a:lnTo>
                  <a:lnTo>
                    <a:pt x="66" y="539"/>
                  </a:lnTo>
                  <a:lnTo>
                    <a:pt x="33" y="522"/>
                  </a:lnTo>
                  <a:lnTo>
                    <a:pt x="0" y="522"/>
                  </a:lnTo>
                  <a:lnTo>
                    <a:pt x="0" y="506"/>
                  </a:lnTo>
                  <a:lnTo>
                    <a:pt x="17" y="489"/>
                  </a:lnTo>
                  <a:lnTo>
                    <a:pt x="17" y="473"/>
                  </a:lnTo>
                  <a:lnTo>
                    <a:pt x="17" y="473"/>
                  </a:lnTo>
                  <a:lnTo>
                    <a:pt x="50" y="466"/>
                  </a:lnTo>
                  <a:lnTo>
                    <a:pt x="54" y="473"/>
                  </a:lnTo>
                  <a:lnTo>
                    <a:pt x="83" y="461"/>
                  </a:lnTo>
                  <a:lnTo>
                    <a:pt x="83" y="395"/>
                  </a:lnTo>
                  <a:lnTo>
                    <a:pt x="97" y="338"/>
                  </a:lnTo>
                  <a:lnTo>
                    <a:pt x="97" y="317"/>
                  </a:lnTo>
                  <a:lnTo>
                    <a:pt x="121" y="296"/>
                  </a:lnTo>
                  <a:lnTo>
                    <a:pt x="135" y="305"/>
                  </a:lnTo>
                  <a:lnTo>
                    <a:pt x="142" y="296"/>
                  </a:lnTo>
                  <a:lnTo>
                    <a:pt x="142" y="267"/>
                  </a:lnTo>
                  <a:lnTo>
                    <a:pt x="151" y="246"/>
                  </a:lnTo>
                  <a:lnTo>
                    <a:pt x="151" y="230"/>
                  </a:lnTo>
                  <a:lnTo>
                    <a:pt x="163" y="222"/>
                  </a:lnTo>
                  <a:lnTo>
                    <a:pt x="196" y="168"/>
                  </a:lnTo>
                  <a:lnTo>
                    <a:pt x="227" y="156"/>
                  </a:lnTo>
                  <a:lnTo>
                    <a:pt x="227" y="135"/>
                  </a:lnTo>
                  <a:lnTo>
                    <a:pt x="250" y="78"/>
                  </a:lnTo>
                  <a:lnTo>
                    <a:pt x="243" y="74"/>
                  </a:lnTo>
                  <a:lnTo>
                    <a:pt x="250" y="45"/>
                  </a:lnTo>
                  <a:lnTo>
                    <a:pt x="272" y="41"/>
                  </a:lnTo>
                  <a:lnTo>
                    <a:pt x="281" y="45"/>
                  </a:lnTo>
                  <a:lnTo>
                    <a:pt x="298" y="41"/>
                  </a:lnTo>
                  <a:lnTo>
                    <a:pt x="305" y="29"/>
                  </a:lnTo>
                  <a:lnTo>
                    <a:pt x="326" y="62"/>
                  </a:lnTo>
                  <a:lnTo>
                    <a:pt x="352" y="0"/>
                  </a:lnTo>
                  <a:lnTo>
                    <a:pt x="357" y="17"/>
                  </a:lnTo>
                  <a:lnTo>
                    <a:pt x="373" y="17"/>
                  </a:lnTo>
                  <a:lnTo>
                    <a:pt x="390" y="41"/>
                  </a:lnTo>
                  <a:lnTo>
                    <a:pt x="423" y="29"/>
                  </a:lnTo>
                  <a:lnTo>
                    <a:pt x="428" y="17"/>
                  </a:lnTo>
                  <a:lnTo>
                    <a:pt x="444" y="29"/>
                  </a:lnTo>
                  <a:lnTo>
                    <a:pt x="461" y="24"/>
                  </a:lnTo>
                  <a:lnTo>
                    <a:pt x="487" y="41"/>
                  </a:lnTo>
                  <a:lnTo>
                    <a:pt x="515" y="29"/>
                  </a:lnTo>
                  <a:lnTo>
                    <a:pt x="553" y="57"/>
                  </a:lnTo>
                  <a:lnTo>
                    <a:pt x="586" y="95"/>
                  </a:lnTo>
                  <a:lnTo>
                    <a:pt x="624" y="128"/>
                  </a:lnTo>
                  <a:lnTo>
                    <a:pt x="628" y="152"/>
                  </a:lnTo>
                  <a:lnTo>
                    <a:pt x="650" y="156"/>
                  </a:lnTo>
                  <a:lnTo>
                    <a:pt x="661" y="185"/>
                  </a:lnTo>
                  <a:lnTo>
                    <a:pt x="624" y="230"/>
                  </a:lnTo>
                  <a:lnTo>
                    <a:pt x="624" y="251"/>
                  </a:lnTo>
                  <a:lnTo>
                    <a:pt x="624" y="284"/>
                  </a:lnTo>
                  <a:lnTo>
                    <a:pt x="640" y="296"/>
                  </a:lnTo>
                  <a:lnTo>
                    <a:pt x="683" y="279"/>
                  </a:lnTo>
                  <a:lnTo>
                    <a:pt x="699" y="284"/>
                  </a:lnTo>
                  <a:lnTo>
                    <a:pt x="683" y="317"/>
                  </a:lnTo>
                  <a:lnTo>
                    <a:pt x="699" y="338"/>
                  </a:lnTo>
                  <a:lnTo>
                    <a:pt x="716" y="362"/>
                  </a:lnTo>
                  <a:lnTo>
                    <a:pt x="721" y="362"/>
                  </a:lnTo>
                  <a:lnTo>
                    <a:pt x="737" y="407"/>
                  </a:lnTo>
                  <a:lnTo>
                    <a:pt x="754" y="407"/>
                  </a:lnTo>
                  <a:lnTo>
                    <a:pt x="775" y="433"/>
                  </a:lnTo>
                  <a:lnTo>
                    <a:pt x="985" y="506"/>
                  </a:lnTo>
                  <a:lnTo>
                    <a:pt x="1056" y="506"/>
                  </a:lnTo>
                  <a:lnTo>
                    <a:pt x="846" y="728"/>
                  </a:lnTo>
                  <a:lnTo>
                    <a:pt x="775" y="721"/>
                  </a:lnTo>
                  <a:lnTo>
                    <a:pt x="754" y="728"/>
                  </a:lnTo>
                  <a:lnTo>
                    <a:pt x="716" y="744"/>
                  </a:lnTo>
                  <a:lnTo>
                    <a:pt x="699" y="766"/>
                  </a:lnTo>
                  <a:lnTo>
                    <a:pt x="640" y="782"/>
                  </a:lnTo>
                  <a:lnTo>
                    <a:pt x="640" y="782"/>
                  </a:lnTo>
                  <a:lnTo>
                    <a:pt x="640" y="782"/>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8" name="Freeform 437">
              <a:extLst>
                <a:ext uri="{FF2B5EF4-FFF2-40B4-BE49-F238E27FC236}">
                  <a16:creationId xmlns:a16="http://schemas.microsoft.com/office/drawing/2014/main" id="{D1DBEEAA-D51E-447F-90A2-2E5B03AB8106}"/>
                </a:ext>
              </a:extLst>
            </p:cNvPr>
            <p:cNvSpPr>
              <a:spLocks/>
            </p:cNvSpPr>
            <p:nvPr/>
          </p:nvSpPr>
          <p:spPr bwMode="gray">
            <a:xfrm>
              <a:off x="14022040" y="2793109"/>
              <a:ext cx="154484" cy="75933"/>
            </a:xfrm>
            <a:custGeom>
              <a:avLst/>
              <a:gdLst>
                <a:gd name="T0" fmla="*/ 340 w 472"/>
                <a:gd name="T1" fmla="*/ 225 h 232"/>
                <a:gd name="T2" fmla="*/ 340 w 472"/>
                <a:gd name="T3" fmla="*/ 220 h 232"/>
                <a:gd name="T4" fmla="*/ 309 w 472"/>
                <a:gd name="T5" fmla="*/ 208 h 232"/>
                <a:gd name="T6" fmla="*/ 276 w 472"/>
                <a:gd name="T7" fmla="*/ 220 h 232"/>
                <a:gd name="T8" fmla="*/ 205 w 472"/>
                <a:gd name="T9" fmla="*/ 187 h 232"/>
                <a:gd name="T10" fmla="*/ 201 w 472"/>
                <a:gd name="T11" fmla="*/ 208 h 232"/>
                <a:gd name="T12" fmla="*/ 194 w 472"/>
                <a:gd name="T13" fmla="*/ 208 h 232"/>
                <a:gd name="T14" fmla="*/ 184 w 472"/>
                <a:gd name="T15" fmla="*/ 232 h 232"/>
                <a:gd name="T16" fmla="*/ 146 w 472"/>
                <a:gd name="T17" fmla="*/ 225 h 232"/>
                <a:gd name="T18" fmla="*/ 125 w 472"/>
                <a:gd name="T19" fmla="*/ 208 h 232"/>
                <a:gd name="T20" fmla="*/ 59 w 472"/>
                <a:gd name="T21" fmla="*/ 166 h 232"/>
                <a:gd name="T22" fmla="*/ 38 w 472"/>
                <a:gd name="T23" fmla="*/ 154 h 232"/>
                <a:gd name="T24" fmla="*/ 21 w 472"/>
                <a:gd name="T25" fmla="*/ 133 h 232"/>
                <a:gd name="T26" fmla="*/ 31 w 472"/>
                <a:gd name="T27" fmla="*/ 109 h 232"/>
                <a:gd name="T28" fmla="*/ 5 w 472"/>
                <a:gd name="T29" fmla="*/ 92 h 232"/>
                <a:gd name="T30" fmla="*/ 0 w 472"/>
                <a:gd name="T31" fmla="*/ 67 h 232"/>
                <a:gd name="T32" fmla="*/ 16 w 472"/>
                <a:gd name="T33" fmla="*/ 76 h 232"/>
                <a:gd name="T34" fmla="*/ 31 w 472"/>
                <a:gd name="T35" fmla="*/ 59 h 232"/>
                <a:gd name="T36" fmla="*/ 59 w 472"/>
                <a:gd name="T37" fmla="*/ 59 h 232"/>
                <a:gd name="T38" fmla="*/ 97 w 472"/>
                <a:gd name="T39" fmla="*/ 26 h 232"/>
                <a:gd name="T40" fmla="*/ 151 w 472"/>
                <a:gd name="T41" fmla="*/ 10 h 232"/>
                <a:gd name="T42" fmla="*/ 163 w 472"/>
                <a:gd name="T43" fmla="*/ 10 h 232"/>
                <a:gd name="T44" fmla="*/ 151 w 472"/>
                <a:gd name="T45" fmla="*/ 5 h 232"/>
                <a:gd name="T46" fmla="*/ 151 w 472"/>
                <a:gd name="T47" fmla="*/ 0 h 232"/>
                <a:gd name="T48" fmla="*/ 168 w 472"/>
                <a:gd name="T49" fmla="*/ 5 h 232"/>
                <a:gd name="T50" fmla="*/ 177 w 472"/>
                <a:gd name="T51" fmla="*/ 22 h 232"/>
                <a:gd name="T52" fmla="*/ 194 w 472"/>
                <a:gd name="T53" fmla="*/ 22 h 232"/>
                <a:gd name="T54" fmla="*/ 201 w 472"/>
                <a:gd name="T55" fmla="*/ 22 h 232"/>
                <a:gd name="T56" fmla="*/ 201 w 472"/>
                <a:gd name="T57" fmla="*/ 5 h 232"/>
                <a:gd name="T58" fmla="*/ 217 w 472"/>
                <a:gd name="T59" fmla="*/ 5 h 232"/>
                <a:gd name="T60" fmla="*/ 231 w 472"/>
                <a:gd name="T61" fmla="*/ 26 h 232"/>
                <a:gd name="T62" fmla="*/ 286 w 472"/>
                <a:gd name="T63" fmla="*/ 38 h 232"/>
                <a:gd name="T64" fmla="*/ 302 w 472"/>
                <a:gd name="T65" fmla="*/ 43 h 232"/>
                <a:gd name="T66" fmla="*/ 286 w 472"/>
                <a:gd name="T67" fmla="*/ 59 h 232"/>
                <a:gd name="T68" fmla="*/ 314 w 472"/>
                <a:gd name="T69" fmla="*/ 92 h 232"/>
                <a:gd name="T70" fmla="*/ 347 w 472"/>
                <a:gd name="T71" fmla="*/ 76 h 232"/>
                <a:gd name="T72" fmla="*/ 340 w 472"/>
                <a:gd name="T73" fmla="*/ 59 h 232"/>
                <a:gd name="T74" fmla="*/ 368 w 472"/>
                <a:gd name="T75" fmla="*/ 76 h 232"/>
                <a:gd name="T76" fmla="*/ 394 w 472"/>
                <a:gd name="T77" fmla="*/ 67 h 232"/>
                <a:gd name="T78" fmla="*/ 394 w 472"/>
                <a:gd name="T79" fmla="*/ 76 h 232"/>
                <a:gd name="T80" fmla="*/ 385 w 472"/>
                <a:gd name="T81" fmla="*/ 83 h 232"/>
                <a:gd name="T82" fmla="*/ 394 w 472"/>
                <a:gd name="T83" fmla="*/ 92 h 232"/>
                <a:gd name="T84" fmla="*/ 411 w 472"/>
                <a:gd name="T85" fmla="*/ 100 h 232"/>
                <a:gd name="T86" fmla="*/ 418 w 472"/>
                <a:gd name="T87" fmla="*/ 92 h 232"/>
                <a:gd name="T88" fmla="*/ 456 w 472"/>
                <a:gd name="T89" fmla="*/ 109 h 232"/>
                <a:gd name="T90" fmla="*/ 456 w 472"/>
                <a:gd name="T91" fmla="*/ 121 h 232"/>
                <a:gd name="T92" fmla="*/ 472 w 472"/>
                <a:gd name="T93" fmla="*/ 133 h 232"/>
                <a:gd name="T94" fmla="*/ 472 w 472"/>
                <a:gd name="T95" fmla="*/ 149 h 232"/>
                <a:gd name="T96" fmla="*/ 456 w 472"/>
                <a:gd name="T97" fmla="*/ 149 h 232"/>
                <a:gd name="T98" fmla="*/ 432 w 472"/>
                <a:gd name="T99" fmla="*/ 166 h 232"/>
                <a:gd name="T100" fmla="*/ 418 w 472"/>
                <a:gd name="T101" fmla="*/ 187 h 232"/>
                <a:gd name="T102" fmla="*/ 394 w 472"/>
                <a:gd name="T103" fmla="*/ 204 h 232"/>
                <a:gd name="T104" fmla="*/ 357 w 472"/>
                <a:gd name="T105" fmla="*/ 204 h 232"/>
                <a:gd name="T106" fmla="*/ 340 w 472"/>
                <a:gd name="T107" fmla="*/ 225 h 232"/>
                <a:gd name="T108" fmla="*/ 340 w 472"/>
                <a:gd name="T109" fmla="*/ 225 h 232"/>
                <a:gd name="T110" fmla="*/ 340 w 472"/>
                <a:gd name="T111" fmla="*/ 22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2" h="232">
                  <a:moveTo>
                    <a:pt x="340" y="225"/>
                  </a:moveTo>
                  <a:lnTo>
                    <a:pt x="340" y="220"/>
                  </a:lnTo>
                  <a:lnTo>
                    <a:pt x="309" y="208"/>
                  </a:lnTo>
                  <a:lnTo>
                    <a:pt x="276" y="220"/>
                  </a:lnTo>
                  <a:lnTo>
                    <a:pt x="205" y="187"/>
                  </a:lnTo>
                  <a:lnTo>
                    <a:pt x="201" y="208"/>
                  </a:lnTo>
                  <a:lnTo>
                    <a:pt x="194" y="208"/>
                  </a:lnTo>
                  <a:lnTo>
                    <a:pt x="184" y="232"/>
                  </a:lnTo>
                  <a:lnTo>
                    <a:pt x="146" y="225"/>
                  </a:lnTo>
                  <a:lnTo>
                    <a:pt x="125" y="208"/>
                  </a:lnTo>
                  <a:lnTo>
                    <a:pt x="59" y="166"/>
                  </a:lnTo>
                  <a:lnTo>
                    <a:pt x="38" y="154"/>
                  </a:lnTo>
                  <a:lnTo>
                    <a:pt x="21" y="133"/>
                  </a:lnTo>
                  <a:lnTo>
                    <a:pt x="31" y="109"/>
                  </a:lnTo>
                  <a:lnTo>
                    <a:pt x="5" y="92"/>
                  </a:lnTo>
                  <a:lnTo>
                    <a:pt x="0" y="67"/>
                  </a:lnTo>
                  <a:lnTo>
                    <a:pt x="16" y="76"/>
                  </a:lnTo>
                  <a:lnTo>
                    <a:pt x="31" y="59"/>
                  </a:lnTo>
                  <a:lnTo>
                    <a:pt x="59" y="59"/>
                  </a:lnTo>
                  <a:lnTo>
                    <a:pt x="97" y="26"/>
                  </a:lnTo>
                  <a:lnTo>
                    <a:pt x="151" y="10"/>
                  </a:lnTo>
                  <a:lnTo>
                    <a:pt x="163" y="10"/>
                  </a:lnTo>
                  <a:lnTo>
                    <a:pt x="151" y="5"/>
                  </a:lnTo>
                  <a:lnTo>
                    <a:pt x="151" y="0"/>
                  </a:lnTo>
                  <a:lnTo>
                    <a:pt x="168" y="5"/>
                  </a:lnTo>
                  <a:lnTo>
                    <a:pt x="177" y="22"/>
                  </a:lnTo>
                  <a:lnTo>
                    <a:pt x="194" y="22"/>
                  </a:lnTo>
                  <a:lnTo>
                    <a:pt x="201" y="22"/>
                  </a:lnTo>
                  <a:lnTo>
                    <a:pt x="201" y="5"/>
                  </a:lnTo>
                  <a:lnTo>
                    <a:pt x="217" y="5"/>
                  </a:lnTo>
                  <a:lnTo>
                    <a:pt x="231" y="26"/>
                  </a:lnTo>
                  <a:lnTo>
                    <a:pt x="286" y="38"/>
                  </a:lnTo>
                  <a:lnTo>
                    <a:pt x="302" y="43"/>
                  </a:lnTo>
                  <a:lnTo>
                    <a:pt x="286" y="59"/>
                  </a:lnTo>
                  <a:lnTo>
                    <a:pt x="314" y="92"/>
                  </a:lnTo>
                  <a:lnTo>
                    <a:pt x="347" y="76"/>
                  </a:lnTo>
                  <a:lnTo>
                    <a:pt x="340" y="59"/>
                  </a:lnTo>
                  <a:lnTo>
                    <a:pt x="368" y="76"/>
                  </a:lnTo>
                  <a:lnTo>
                    <a:pt x="394" y="67"/>
                  </a:lnTo>
                  <a:lnTo>
                    <a:pt x="394" y="76"/>
                  </a:lnTo>
                  <a:lnTo>
                    <a:pt x="385" y="83"/>
                  </a:lnTo>
                  <a:lnTo>
                    <a:pt x="394" y="92"/>
                  </a:lnTo>
                  <a:lnTo>
                    <a:pt x="411" y="100"/>
                  </a:lnTo>
                  <a:lnTo>
                    <a:pt x="418" y="92"/>
                  </a:lnTo>
                  <a:lnTo>
                    <a:pt x="456" y="109"/>
                  </a:lnTo>
                  <a:lnTo>
                    <a:pt x="456" y="121"/>
                  </a:lnTo>
                  <a:lnTo>
                    <a:pt x="472" y="133"/>
                  </a:lnTo>
                  <a:lnTo>
                    <a:pt x="472" y="149"/>
                  </a:lnTo>
                  <a:lnTo>
                    <a:pt x="456" y="149"/>
                  </a:lnTo>
                  <a:lnTo>
                    <a:pt x="432" y="166"/>
                  </a:lnTo>
                  <a:lnTo>
                    <a:pt x="418" y="187"/>
                  </a:lnTo>
                  <a:lnTo>
                    <a:pt x="394" y="204"/>
                  </a:lnTo>
                  <a:lnTo>
                    <a:pt x="357" y="204"/>
                  </a:lnTo>
                  <a:lnTo>
                    <a:pt x="340" y="225"/>
                  </a:lnTo>
                  <a:lnTo>
                    <a:pt x="340" y="225"/>
                  </a:lnTo>
                  <a:lnTo>
                    <a:pt x="340" y="225"/>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9" name="Freeform 438">
              <a:extLst>
                <a:ext uri="{FF2B5EF4-FFF2-40B4-BE49-F238E27FC236}">
                  <a16:creationId xmlns:a16="http://schemas.microsoft.com/office/drawing/2014/main" id="{3F4D3B5C-2BA8-44CA-8968-49A3A82F7213}"/>
                </a:ext>
              </a:extLst>
            </p:cNvPr>
            <p:cNvSpPr>
              <a:spLocks/>
            </p:cNvSpPr>
            <p:nvPr/>
          </p:nvSpPr>
          <p:spPr bwMode="gray">
            <a:xfrm>
              <a:off x="12491928" y="3978578"/>
              <a:ext cx="65132" cy="85752"/>
            </a:xfrm>
            <a:custGeom>
              <a:avLst/>
              <a:gdLst>
                <a:gd name="T0" fmla="*/ 0 w 199"/>
                <a:gd name="T1" fmla="*/ 245 h 262"/>
                <a:gd name="T2" fmla="*/ 17 w 199"/>
                <a:gd name="T3" fmla="*/ 238 h 262"/>
                <a:gd name="T4" fmla="*/ 21 w 199"/>
                <a:gd name="T5" fmla="*/ 212 h 262"/>
                <a:gd name="T6" fmla="*/ 21 w 199"/>
                <a:gd name="T7" fmla="*/ 189 h 262"/>
                <a:gd name="T8" fmla="*/ 33 w 199"/>
                <a:gd name="T9" fmla="*/ 184 h 262"/>
                <a:gd name="T10" fmla="*/ 38 w 199"/>
                <a:gd name="T11" fmla="*/ 155 h 262"/>
                <a:gd name="T12" fmla="*/ 17 w 199"/>
                <a:gd name="T13" fmla="*/ 127 h 262"/>
                <a:gd name="T14" fmla="*/ 7 w 199"/>
                <a:gd name="T15" fmla="*/ 73 h 262"/>
                <a:gd name="T16" fmla="*/ 7 w 199"/>
                <a:gd name="T17" fmla="*/ 54 h 262"/>
                <a:gd name="T18" fmla="*/ 33 w 199"/>
                <a:gd name="T19" fmla="*/ 28 h 262"/>
                <a:gd name="T20" fmla="*/ 38 w 199"/>
                <a:gd name="T21" fmla="*/ 4 h 262"/>
                <a:gd name="T22" fmla="*/ 50 w 199"/>
                <a:gd name="T23" fmla="*/ 0 h 262"/>
                <a:gd name="T24" fmla="*/ 76 w 199"/>
                <a:gd name="T25" fmla="*/ 16 h 262"/>
                <a:gd name="T26" fmla="*/ 114 w 199"/>
                <a:gd name="T27" fmla="*/ 21 h 262"/>
                <a:gd name="T28" fmla="*/ 177 w 199"/>
                <a:gd name="T29" fmla="*/ 77 h 262"/>
                <a:gd name="T30" fmla="*/ 182 w 199"/>
                <a:gd name="T31" fmla="*/ 94 h 262"/>
                <a:gd name="T32" fmla="*/ 177 w 199"/>
                <a:gd name="T33" fmla="*/ 99 h 262"/>
                <a:gd name="T34" fmla="*/ 182 w 199"/>
                <a:gd name="T35" fmla="*/ 99 h 262"/>
                <a:gd name="T36" fmla="*/ 182 w 199"/>
                <a:gd name="T37" fmla="*/ 77 h 262"/>
                <a:gd name="T38" fmla="*/ 194 w 199"/>
                <a:gd name="T39" fmla="*/ 82 h 262"/>
                <a:gd name="T40" fmla="*/ 199 w 199"/>
                <a:gd name="T41" fmla="*/ 111 h 262"/>
                <a:gd name="T42" fmla="*/ 199 w 199"/>
                <a:gd name="T43" fmla="*/ 127 h 262"/>
                <a:gd name="T44" fmla="*/ 156 w 199"/>
                <a:gd name="T45" fmla="*/ 189 h 262"/>
                <a:gd name="T46" fmla="*/ 139 w 199"/>
                <a:gd name="T47" fmla="*/ 238 h 262"/>
                <a:gd name="T48" fmla="*/ 114 w 199"/>
                <a:gd name="T49" fmla="*/ 262 h 262"/>
                <a:gd name="T50" fmla="*/ 92 w 199"/>
                <a:gd name="T51" fmla="*/ 262 h 262"/>
                <a:gd name="T52" fmla="*/ 85 w 199"/>
                <a:gd name="T53" fmla="*/ 245 h 262"/>
                <a:gd name="T54" fmla="*/ 71 w 199"/>
                <a:gd name="T55" fmla="*/ 250 h 262"/>
                <a:gd name="T56" fmla="*/ 54 w 199"/>
                <a:gd name="T57" fmla="*/ 245 h 262"/>
                <a:gd name="T58" fmla="*/ 33 w 199"/>
                <a:gd name="T59" fmla="*/ 262 h 262"/>
                <a:gd name="T60" fmla="*/ 0 w 199"/>
                <a:gd name="T61" fmla="*/ 245 h 262"/>
                <a:gd name="T62" fmla="*/ 0 w 199"/>
                <a:gd name="T63" fmla="*/ 245 h 262"/>
                <a:gd name="T64" fmla="*/ 0 w 199"/>
                <a:gd name="T65" fmla="*/ 24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9" h="262">
                  <a:moveTo>
                    <a:pt x="0" y="245"/>
                  </a:moveTo>
                  <a:lnTo>
                    <a:pt x="17" y="238"/>
                  </a:lnTo>
                  <a:lnTo>
                    <a:pt x="21" y="212"/>
                  </a:lnTo>
                  <a:lnTo>
                    <a:pt x="21" y="189"/>
                  </a:lnTo>
                  <a:lnTo>
                    <a:pt x="33" y="184"/>
                  </a:lnTo>
                  <a:lnTo>
                    <a:pt x="38" y="155"/>
                  </a:lnTo>
                  <a:lnTo>
                    <a:pt x="17" y="127"/>
                  </a:lnTo>
                  <a:lnTo>
                    <a:pt x="7" y="73"/>
                  </a:lnTo>
                  <a:lnTo>
                    <a:pt x="7" y="54"/>
                  </a:lnTo>
                  <a:lnTo>
                    <a:pt x="33" y="28"/>
                  </a:lnTo>
                  <a:lnTo>
                    <a:pt x="38" y="4"/>
                  </a:lnTo>
                  <a:lnTo>
                    <a:pt x="50" y="0"/>
                  </a:lnTo>
                  <a:lnTo>
                    <a:pt x="76" y="16"/>
                  </a:lnTo>
                  <a:lnTo>
                    <a:pt x="114" y="21"/>
                  </a:lnTo>
                  <a:lnTo>
                    <a:pt x="177" y="77"/>
                  </a:lnTo>
                  <a:lnTo>
                    <a:pt x="182" y="94"/>
                  </a:lnTo>
                  <a:lnTo>
                    <a:pt x="177" y="99"/>
                  </a:lnTo>
                  <a:lnTo>
                    <a:pt x="182" y="99"/>
                  </a:lnTo>
                  <a:lnTo>
                    <a:pt x="182" y="77"/>
                  </a:lnTo>
                  <a:lnTo>
                    <a:pt x="194" y="82"/>
                  </a:lnTo>
                  <a:lnTo>
                    <a:pt x="199" y="111"/>
                  </a:lnTo>
                  <a:lnTo>
                    <a:pt x="199" y="127"/>
                  </a:lnTo>
                  <a:lnTo>
                    <a:pt x="156" y="189"/>
                  </a:lnTo>
                  <a:lnTo>
                    <a:pt x="139" y="238"/>
                  </a:lnTo>
                  <a:lnTo>
                    <a:pt x="114" y="262"/>
                  </a:lnTo>
                  <a:lnTo>
                    <a:pt x="92" y="262"/>
                  </a:lnTo>
                  <a:lnTo>
                    <a:pt x="85" y="245"/>
                  </a:lnTo>
                  <a:lnTo>
                    <a:pt x="71" y="250"/>
                  </a:lnTo>
                  <a:lnTo>
                    <a:pt x="54" y="245"/>
                  </a:lnTo>
                  <a:lnTo>
                    <a:pt x="33" y="262"/>
                  </a:lnTo>
                  <a:lnTo>
                    <a:pt x="0" y="245"/>
                  </a:lnTo>
                  <a:lnTo>
                    <a:pt x="0" y="245"/>
                  </a:lnTo>
                  <a:lnTo>
                    <a:pt x="0" y="245"/>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0" name="Freeform 439">
              <a:extLst>
                <a:ext uri="{FF2B5EF4-FFF2-40B4-BE49-F238E27FC236}">
                  <a16:creationId xmlns:a16="http://schemas.microsoft.com/office/drawing/2014/main" id="{F04B129B-62EE-4B72-B4D7-B705AA03F0DA}"/>
                </a:ext>
              </a:extLst>
            </p:cNvPr>
            <p:cNvSpPr>
              <a:spLocks noEditPoints="1"/>
            </p:cNvSpPr>
            <p:nvPr/>
          </p:nvSpPr>
          <p:spPr bwMode="gray">
            <a:xfrm>
              <a:off x="14192235" y="2110696"/>
              <a:ext cx="277548" cy="394065"/>
            </a:xfrm>
            <a:custGeom>
              <a:avLst/>
              <a:gdLst>
                <a:gd name="T0" fmla="*/ 290 w 848"/>
                <a:gd name="T1" fmla="*/ 448 h 1204"/>
                <a:gd name="T2" fmla="*/ 290 w 848"/>
                <a:gd name="T3" fmla="*/ 349 h 1204"/>
                <a:gd name="T4" fmla="*/ 290 w 848"/>
                <a:gd name="T5" fmla="*/ 267 h 1204"/>
                <a:gd name="T6" fmla="*/ 113 w 848"/>
                <a:gd name="T7" fmla="*/ 115 h 1204"/>
                <a:gd name="T8" fmla="*/ 205 w 848"/>
                <a:gd name="T9" fmla="*/ 172 h 1204"/>
                <a:gd name="T10" fmla="*/ 399 w 848"/>
                <a:gd name="T11" fmla="*/ 155 h 1204"/>
                <a:gd name="T12" fmla="*/ 491 w 848"/>
                <a:gd name="T13" fmla="*/ 16 h 1204"/>
                <a:gd name="T14" fmla="*/ 685 w 848"/>
                <a:gd name="T15" fmla="*/ 70 h 1204"/>
                <a:gd name="T16" fmla="*/ 654 w 848"/>
                <a:gd name="T17" fmla="*/ 155 h 1204"/>
                <a:gd name="T18" fmla="*/ 739 w 848"/>
                <a:gd name="T19" fmla="*/ 300 h 1204"/>
                <a:gd name="T20" fmla="*/ 746 w 848"/>
                <a:gd name="T21" fmla="*/ 538 h 1204"/>
                <a:gd name="T22" fmla="*/ 729 w 848"/>
                <a:gd name="T23" fmla="*/ 611 h 1204"/>
                <a:gd name="T24" fmla="*/ 755 w 848"/>
                <a:gd name="T25" fmla="*/ 666 h 1204"/>
                <a:gd name="T26" fmla="*/ 777 w 848"/>
                <a:gd name="T27" fmla="*/ 727 h 1204"/>
                <a:gd name="T28" fmla="*/ 685 w 848"/>
                <a:gd name="T29" fmla="*/ 1044 h 1204"/>
                <a:gd name="T30" fmla="*/ 491 w 848"/>
                <a:gd name="T31" fmla="*/ 1133 h 1204"/>
                <a:gd name="T32" fmla="*/ 458 w 848"/>
                <a:gd name="T33" fmla="*/ 1133 h 1204"/>
                <a:gd name="T34" fmla="*/ 437 w 848"/>
                <a:gd name="T35" fmla="*/ 1150 h 1204"/>
                <a:gd name="T36" fmla="*/ 361 w 848"/>
                <a:gd name="T37" fmla="*/ 1171 h 1204"/>
                <a:gd name="T38" fmla="*/ 257 w 848"/>
                <a:gd name="T39" fmla="*/ 1195 h 1204"/>
                <a:gd name="T40" fmla="*/ 252 w 848"/>
                <a:gd name="T41" fmla="*/ 1183 h 1204"/>
                <a:gd name="T42" fmla="*/ 215 w 848"/>
                <a:gd name="T43" fmla="*/ 1155 h 1204"/>
                <a:gd name="T44" fmla="*/ 144 w 848"/>
                <a:gd name="T45" fmla="*/ 1126 h 1204"/>
                <a:gd name="T46" fmla="*/ 151 w 848"/>
                <a:gd name="T47" fmla="*/ 1015 h 1204"/>
                <a:gd name="T48" fmla="*/ 113 w 848"/>
                <a:gd name="T49" fmla="*/ 892 h 1204"/>
                <a:gd name="T50" fmla="*/ 134 w 848"/>
                <a:gd name="T51" fmla="*/ 822 h 1204"/>
                <a:gd name="T52" fmla="*/ 189 w 848"/>
                <a:gd name="T53" fmla="*/ 800 h 1204"/>
                <a:gd name="T54" fmla="*/ 236 w 848"/>
                <a:gd name="T55" fmla="*/ 760 h 1204"/>
                <a:gd name="T56" fmla="*/ 340 w 848"/>
                <a:gd name="T57" fmla="*/ 670 h 1204"/>
                <a:gd name="T58" fmla="*/ 399 w 848"/>
                <a:gd name="T59" fmla="*/ 628 h 1204"/>
                <a:gd name="T60" fmla="*/ 361 w 848"/>
                <a:gd name="T61" fmla="*/ 543 h 1204"/>
                <a:gd name="T62" fmla="*/ 328 w 848"/>
                <a:gd name="T63" fmla="*/ 522 h 1204"/>
                <a:gd name="T64" fmla="*/ 382 w 848"/>
                <a:gd name="T65" fmla="*/ 616 h 1204"/>
                <a:gd name="T66" fmla="*/ 236 w 848"/>
                <a:gd name="T67" fmla="*/ 748 h 1204"/>
                <a:gd name="T68" fmla="*/ 122 w 848"/>
                <a:gd name="T69" fmla="*/ 817 h 1204"/>
                <a:gd name="T70" fmla="*/ 189 w 848"/>
                <a:gd name="T71" fmla="*/ 822 h 1204"/>
                <a:gd name="T72" fmla="*/ 189 w 848"/>
                <a:gd name="T73" fmla="*/ 822 h 1204"/>
                <a:gd name="T74" fmla="*/ 122 w 848"/>
                <a:gd name="T75" fmla="*/ 833 h 1204"/>
                <a:gd name="T76" fmla="*/ 129 w 848"/>
                <a:gd name="T77" fmla="*/ 1081 h 1204"/>
                <a:gd name="T78" fmla="*/ 134 w 848"/>
                <a:gd name="T79" fmla="*/ 1126 h 1204"/>
                <a:gd name="T80" fmla="*/ 160 w 848"/>
                <a:gd name="T81" fmla="*/ 1138 h 1204"/>
                <a:gd name="T82" fmla="*/ 26 w 848"/>
                <a:gd name="T83" fmla="*/ 1183 h 1204"/>
                <a:gd name="T84" fmla="*/ 26 w 848"/>
                <a:gd name="T85" fmla="*/ 1150 h 1204"/>
                <a:gd name="T86" fmla="*/ 42 w 848"/>
                <a:gd name="T87" fmla="*/ 1155 h 1204"/>
                <a:gd name="T88" fmla="*/ 26 w 848"/>
                <a:gd name="T89" fmla="*/ 1183 h 1204"/>
                <a:gd name="T90" fmla="*/ 198 w 848"/>
                <a:gd name="T91" fmla="*/ 1150 h 1204"/>
                <a:gd name="T92" fmla="*/ 198 w 848"/>
                <a:gd name="T93" fmla="*/ 1150 h 1204"/>
                <a:gd name="T94" fmla="*/ 432 w 848"/>
                <a:gd name="T95" fmla="*/ 1150 h 1204"/>
                <a:gd name="T96" fmla="*/ 59 w 848"/>
                <a:gd name="T97" fmla="*/ 1166 h 1204"/>
                <a:gd name="T98" fmla="*/ 59 w 848"/>
                <a:gd name="T99" fmla="*/ 1166 h 1204"/>
                <a:gd name="T100" fmla="*/ 4 w 848"/>
                <a:gd name="T101" fmla="*/ 1171 h 1204"/>
                <a:gd name="T102" fmla="*/ 205 w 848"/>
                <a:gd name="T103" fmla="*/ 1155 h 1204"/>
                <a:gd name="T104" fmla="*/ 215 w 848"/>
                <a:gd name="T105" fmla="*/ 1183 h 1204"/>
                <a:gd name="T106" fmla="*/ 177 w 848"/>
                <a:gd name="T107" fmla="*/ 1166 h 1204"/>
                <a:gd name="T108" fmla="*/ 160 w 848"/>
                <a:gd name="T109" fmla="*/ 1171 h 1204"/>
                <a:gd name="T110" fmla="*/ 59 w 848"/>
                <a:gd name="T111" fmla="*/ 1171 h 1204"/>
                <a:gd name="T112" fmla="*/ 52 w 848"/>
                <a:gd name="T113" fmla="*/ 1171 h 1204"/>
                <a:gd name="T114" fmla="*/ 42 w 848"/>
                <a:gd name="T115" fmla="*/ 1171 h 1204"/>
                <a:gd name="T116" fmla="*/ 205 w 848"/>
                <a:gd name="T117" fmla="*/ 1171 h 1204"/>
                <a:gd name="T118" fmla="*/ 243 w 848"/>
                <a:gd name="T119" fmla="*/ 1195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8" h="1204">
                  <a:moveTo>
                    <a:pt x="328" y="522"/>
                  </a:moveTo>
                  <a:lnTo>
                    <a:pt x="311" y="489"/>
                  </a:lnTo>
                  <a:lnTo>
                    <a:pt x="297" y="481"/>
                  </a:lnTo>
                  <a:lnTo>
                    <a:pt x="290" y="465"/>
                  </a:lnTo>
                  <a:lnTo>
                    <a:pt x="290" y="448"/>
                  </a:lnTo>
                  <a:lnTo>
                    <a:pt x="307" y="432"/>
                  </a:lnTo>
                  <a:lnTo>
                    <a:pt x="307" y="411"/>
                  </a:lnTo>
                  <a:lnTo>
                    <a:pt x="311" y="404"/>
                  </a:lnTo>
                  <a:lnTo>
                    <a:pt x="285" y="361"/>
                  </a:lnTo>
                  <a:lnTo>
                    <a:pt x="290" y="349"/>
                  </a:lnTo>
                  <a:lnTo>
                    <a:pt x="297" y="349"/>
                  </a:lnTo>
                  <a:lnTo>
                    <a:pt x="297" y="333"/>
                  </a:lnTo>
                  <a:lnTo>
                    <a:pt x="274" y="321"/>
                  </a:lnTo>
                  <a:lnTo>
                    <a:pt x="274" y="276"/>
                  </a:lnTo>
                  <a:lnTo>
                    <a:pt x="290" y="267"/>
                  </a:lnTo>
                  <a:lnTo>
                    <a:pt x="236" y="210"/>
                  </a:lnTo>
                  <a:lnTo>
                    <a:pt x="177" y="193"/>
                  </a:lnTo>
                  <a:lnTo>
                    <a:pt x="75" y="127"/>
                  </a:lnTo>
                  <a:lnTo>
                    <a:pt x="106" y="132"/>
                  </a:lnTo>
                  <a:lnTo>
                    <a:pt x="113" y="115"/>
                  </a:lnTo>
                  <a:lnTo>
                    <a:pt x="106" y="111"/>
                  </a:lnTo>
                  <a:lnTo>
                    <a:pt x="129" y="94"/>
                  </a:lnTo>
                  <a:lnTo>
                    <a:pt x="151" y="99"/>
                  </a:lnTo>
                  <a:lnTo>
                    <a:pt x="198" y="155"/>
                  </a:lnTo>
                  <a:lnTo>
                    <a:pt x="205" y="172"/>
                  </a:lnTo>
                  <a:lnTo>
                    <a:pt x="257" y="181"/>
                  </a:lnTo>
                  <a:lnTo>
                    <a:pt x="311" y="155"/>
                  </a:lnTo>
                  <a:lnTo>
                    <a:pt x="382" y="189"/>
                  </a:lnTo>
                  <a:lnTo>
                    <a:pt x="394" y="181"/>
                  </a:lnTo>
                  <a:lnTo>
                    <a:pt x="399" y="155"/>
                  </a:lnTo>
                  <a:lnTo>
                    <a:pt x="432" y="148"/>
                  </a:lnTo>
                  <a:lnTo>
                    <a:pt x="437" y="132"/>
                  </a:lnTo>
                  <a:lnTo>
                    <a:pt x="437" y="99"/>
                  </a:lnTo>
                  <a:lnTo>
                    <a:pt x="453" y="44"/>
                  </a:lnTo>
                  <a:lnTo>
                    <a:pt x="491" y="16"/>
                  </a:lnTo>
                  <a:lnTo>
                    <a:pt x="529" y="21"/>
                  </a:lnTo>
                  <a:lnTo>
                    <a:pt x="595" y="0"/>
                  </a:lnTo>
                  <a:lnTo>
                    <a:pt x="621" y="28"/>
                  </a:lnTo>
                  <a:lnTo>
                    <a:pt x="675" y="44"/>
                  </a:lnTo>
                  <a:lnTo>
                    <a:pt x="685" y="70"/>
                  </a:lnTo>
                  <a:lnTo>
                    <a:pt x="654" y="99"/>
                  </a:lnTo>
                  <a:lnTo>
                    <a:pt x="654" y="115"/>
                  </a:lnTo>
                  <a:lnTo>
                    <a:pt x="663" y="127"/>
                  </a:lnTo>
                  <a:lnTo>
                    <a:pt x="621" y="148"/>
                  </a:lnTo>
                  <a:lnTo>
                    <a:pt x="654" y="155"/>
                  </a:lnTo>
                  <a:lnTo>
                    <a:pt x="633" y="193"/>
                  </a:lnTo>
                  <a:lnTo>
                    <a:pt x="647" y="238"/>
                  </a:lnTo>
                  <a:lnTo>
                    <a:pt x="692" y="250"/>
                  </a:lnTo>
                  <a:lnTo>
                    <a:pt x="718" y="283"/>
                  </a:lnTo>
                  <a:lnTo>
                    <a:pt x="739" y="300"/>
                  </a:lnTo>
                  <a:lnTo>
                    <a:pt x="729" y="316"/>
                  </a:lnTo>
                  <a:lnTo>
                    <a:pt x="675" y="378"/>
                  </a:lnTo>
                  <a:lnTo>
                    <a:pt x="670" y="394"/>
                  </a:lnTo>
                  <a:lnTo>
                    <a:pt x="729" y="489"/>
                  </a:lnTo>
                  <a:lnTo>
                    <a:pt x="746" y="538"/>
                  </a:lnTo>
                  <a:lnTo>
                    <a:pt x="725" y="543"/>
                  </a:lnTo>
                  <a:lnTo>
                    <a:pt x="718" y="576"/>
                  </a:lnTo>
                  <a:lnTo>
                    <a:pt x="708" y="592"/>
                  </a:lnTo>
                  <a:lnTo>
                    <a:pt x="725" y="592"/>
                  </a:lnTo>
                  <a:lnTo>
                    <a:pt x="729" y="611"/>
                  </a:lnTo>
                  <a:lnTo>
                    <a:pt x="708" y="611"/>
                  </a:lnTo>
                  <a:lnTo>
                    <a:pt x="708" y="633"/>
                  </a:lnTo>
                  <a:lnTo>
                    <a:pt x="725" y="637"/>
                  </a:lnTo>
                  <a:lnTo>
                    <a:pt x="746" y="649"/>
                  </a:lnTo>
                  <a:lnTo>
                    <a:pt x="755" y="666"/>
                  </a:lnTo>
                  <a:lnTo>
                    <a:pt x="739" y="670"/>
                  </a:lnTo>
                  <a:lnTo>
                    <a:pt x="746" y="682"/>
                  </a:lnTo>
                  <a:lnTo>
                    <a:pt x="739" y="687"/>
                  </a:lnTo>
                  <a:lnTo>
                    <a:pt x="777" y="711"/>
                  </a:lnTo>
                  <a:lnTo>
                    <a:pt x="777" y="727"/>
                  </a:lnTo>
                  <a:lnTo>
                    <a:pt x="739" y="765"/>
                  </a:lnTo>
                  <a:lnTo>
                    <a:pt x="826" y="822"/>
                  </a:lnTo>
                  <a:lnTo>
                    <a:pt x="848" y="859"/>
                  </a:lnTo>
                  <a:lnTo>
                    <a:pt x="826" y="904"/>
                  </a:lnTo>
                  <a:lnTo>
                    <a:pt x="685" y="1044"/>
                  </a:lnTo>
                  <a:lnTo>
                    <a:pt x="583" y="1126"/>
                  </a:lnTo>
                  <a:lnTo>
                    <a:pt x="562" y="1133"/>
                  </a:lnTo>
                  <a:lnTo>
                    <a:pt x="540" y="1117"/>
                  </a:lnTo>
                  <a:lnTo>
                    <a:pt x="524" y="1133"/>
                  </a:lnTo>
                  <a:lnTo>
                    <a:pt x="491" y="1133"/>
                  </a:lnTo>
                  <a:lnTo>
                    <a:pt x="503" y="1117"/>
                  </a:lnTo>
                  <a:lnTo>
                    <a:pt x="507" y="1117"/>
                  </a:lnTo>
                  <a:lnTo>
                    <a:pt x="503" y="1110"/>
                  </a:lnTo>
                  <a:lnTo>
                    <a:pt x="486" y="1138"/>
                  </a:lnTo>
                  <a:lnTo>
                    <a:pt x="458" y="1133"/>
                  </a:lnTo>
                  <a:lnTo>
                    <a:pt x="458" y="1150"/>
                  </a:lnTo>
                  <a:lnTo>
                    <a:pt x="458" y="1150"/>
                  </a:lnTo>
                  <a:lnTo>
                    <a:pt x="448" y="1138"/>
                  </a:lnTo>
                  <a:lnTo>
                    <a:pt x="453" y="1155"/>
                  </a:lnTo>
                  <a:lnTo>
                    <a:pt x="437" y="1150"/>
                  </a:lnTo>
                  <a:lnTo>
                    <a:pt x="448" y="1155"/>
                  </a:lnTo>
                  <a:lnTo>
                    <a:pt x="437" y="1155"/>
                  </a:lnTo>
                  <a:lnTo>
                    <a:pt x="432" y="1138"/>
                  </a:lnTo>
                  <a:lnTo>
                    <a:pt x="420" y="1155"/>
                  </a:lnTo>
                  <a:lnTo>
                    <a:pt x="361" y="1171"/>
                  </a:lnTo>
                  <a:lnTo>
                    <a:pt x="349" y="1183"/>
                  </a:lnTo>
                  <a:lnTo>
                    <a:pt x="340" y="1171"/>
                  </a:lnTo>
                  <a:lnTo>
                    <a:pt x="274" y="1188"/>
                  </a:lnTo>
                  <a:lnTo>
                    <a:pt x="285" y="1171"/>
                  </a:lnTo>
                  <a:lnTo>
                    <a:pt x="257" y="1195"/>
                  </a:lnTo>
                  <a:lnTo>
                    <a:pt x="236" y="1204"/>
                  </a:lnTo>
                  <a:lnTo>
                    <a:pt x="269" y="1183"/>
                  </a:lnTo>
                  <a:lnTo>
                    <a:pt x="252" y="1188"/>
                  </a:lnTo>
                  <a:lnTo>
                    <a:pt x="257" y="1183"/>
                  </a:lnTo>
                  <a:lnTo>
                    <a:pt x="252" y="1183"/>
                  </a:lnTo>
                  <a:lnTo>
                    <a:pt x="243" y="1171"/>
                  </a:lnTo>
                  <a:lnTo>
                    <a:pt x="243" y="1171"/>
                  </a:lnTo>
                  <a:lnTo>
                    <a:pt x="236" y="1166"/>
                  </a:lnTo>
                  <a:lnTo>
                    <a:pt x="252" y="1150"/>
                  </a:lnTo>
                  <a:lnTo>
                    <a:pt x="215" y="1155"/>
                  </a:lnTo>
                  <a:lnTo>
                    <a:pt x="205" y="1155"/>
                  </a:lnTo>
                  <a:lnTo>
                    <a:pt x="219" y="1138"/>
                  </a:lnTo>
                  <a:lnTo>
                    <a:pt x="160" y="1133"/>
                  </a:lnTo>
                  <a:lnTo>
                    <a:pt x="160" y="1117"/>
                  </a:lnTo>
                  <a:lnTo>
                    <a:pt x="144" y="1126"/>
                  </a:lnTo>
                  <a:lnTo>
                    <a:pt x="129" y="1110"/>
                  </a:lnTo>
                  <a:lnTo>
                    <a:pt x="129" y="1081"/>
                  </a:lnTo>
                  <a:lnTo>
                    <a:pt x="144" y="1039"/>
                  </a:lnTo>
                  <a:lnTo>
                    <a:pt x="134" y="1015"/>
                  </a:lnTo>
                  <a:lnTo>
                    <a:pt x="151" y="1015"/>
                  </a:lnTo>
                  <a:lnTo>
                    <a:pt x="122" y="966"/>
                  </a:lnTo>
                  <a:lnTo>
                    <a:pt x="129" y="944"/>
                  </a:lnTo>
                  <a:lnTo>
                    <a:pt x="129" y="928"/>
                  </a:lnTo>
                  <a:lnTo>
                    <a:pt x="113" y="911"/>
                  </a:lnTo>
                  <a:lnTo>
                    <a:pt x="113" y="892"/>
                  </a:lnTo>
                  <a:lnTo>
                    <a:pt x="113" y="876"/>
                  </a:lnTo>
                  <a:lnTo>
                    <a:pt x="129" y="859"/>
                  </a:lnTo>
                  <a:lnTo>
                    <a:pt x="134" y="850"/>
                  </a:lnTo>
                  <a:lnTo>
                    <a:pt x="151" y="850"/>
                  </a:lnTo>
                  <a:lnTo>
                    <a:pt x="134" y="822"/>
                  </a:lnTo>
                  <a:lnTo>
                    <a:pt x="167" y="822"/>
                  </a:lnTo>
                  <a:lnTo>
                    <a:pt x="177" y="833"/>
                  </a:lnTo>
                  <a:lnTo>
                    <a:pt x="198" y="822"/>
                  </a:lnTo>
                  <a:lnTo>
                    <a:pt x="198" y="817"/>
                  </a:lnTo>
                  <a:lnTo>
                    <a:pt x="189" y="800"/>
                  </a:lnTo>
                  <a:lnTo>
                    <a:pt x="198" y="793"/>
                  </a:lnTo>
                  <a:lnTo>
                    <a:pt x="205" y="800"/>
                  </a:lnTo>
                  <a:lnTo>
                    <a:pt x="215" y="765"/>
                  </a:lnTo>
                  <a:lnTo>
                    <a:pt x="231" y="781"/>
                  </a:lnTo>
                  <a:lnTo>
                    <a:pt x="236" y="760"/>
                  </a:lnTo>
                  <a:lnTo>
                    <a:pt x="269" y="748"/>
                  </a:lnTo>
                  <a:lnTo>
                    <a:pt x="274" y="727"/>
                  </a:lnTo>
                  <a:lnTo>
                    <a:pt x="290" y="727"/>
                  </a:lnTo>
                  <a:lnTo>
                    <a:pt x="311" y="687"/>
                  </a:lnTo>
                  <a:lnTo>
                    <a:pt x="340" y="670"/>
                  </a:lnTo>
                  <a:lnTo>
                    <a:pt x="349" y="637"/>
                  </a:lnTo>
                  <a:lnTo>
                    <a:pt x="394" y="633"/>
                  </a:lnTo>
                  <a:lnTo>
                    <a:pt x="403" y="637"/>
                  </a:lnTo>
                  <a:lnTo>
                    <a:pt x="415" y="633"/>
                  </a:lnTo>
                  <a:lnTo>
                    <a:pt x="399" y="628"/>
                  </a:lnTo>
                  <a:lnTo>
                    <a:pt x="415" y="628"/>
                  </a:lnTo>
                  <a:lnTo>
                    <a:pt x="403" y="600"/>
                  </a:lnTo>
                  <a:lnTo>
                    <a:pt x="415" y="571"/>
                  </a:lnTo>
                  <a:lnTo>
                    <a:pt x="403" y="559"/>
                  </a:lnTo>
                  <a:lnTo>
                    <a:pt x="361" y="543"/>
                  </a:lnTo>
                  <a:lnTo>
                    <a:pt x="349" y="526"/>
                  </a:lnTo>
                  <a:lnTo>
                    <a:pt x="361" y="517"/>
                  </a:lnTo>
                  <a:lnTo>
                    <a:pt x="344" y="526"/>
                  </a:lnTo>
                  <a:lnTo>
                    <a:pt x="328" y="522"/>
                  </a:lnTo>
                  <a:lnTo>
                    <a:pt x="328" y="522"/>
                  </a:lnTo>
                  <a:lnTo>
                    <a:pt x="328" y="522"/>
                  </a:lnTo>
                  <a:close/>
                  <a:moveTo>
                    <a:pt x="382" y="616"/>
                  </a:moveTo>
                  <a:lnTo>
                    <a:pt x="366" y="628"/>
                  </a:lnTo>
                  <a:lnTo>
                    <a:pt x="349" y="616"/>
                  </a:lnTo>
                  <a:lnTo>
                    <a:pt x="382" y="616"/>
                  </a:lnTo>
                  <a:lnTo>
                    <a:pt x="382" y="616"/>
                  </a:lnTo>
                  <a:lnTo>
                    <a:pt x="382" y="616"/>
                  </a:lnTo>
                  <a:close/>
                  <a:moveTo>
                    <a:pt x="236" y="760"/>
                  </a:moveTo>
                  <a:lnTo>
                    <a:pt x="219" y="760"/>
                  </a:lnTo>
                  <a:lnTo>
                    <a:pt x="236" y="748"/>
                  </a:lnTo>
                  <a:lnTo>
                    <a:pt x="236" y="760"/>
                  </a:lnTo>
                  <a:lnTo>
                    <a:pt x="236" y="760"/>
                  </a:lnTo>
                  <a:lnTo>
                    <a:pt x="236" y="760"/>
                  </a:lnTo>
                  <a:close/>
                  <a:moveTo>
                    <a:pt x="129" y="817"/>
                  </a:moveTo>
                  <a:lnTo>
                    <a:pt x="122" y="817"/>
                  </a:lnTo>
                  <a:lnTo>
                    <a:pt x="129" y="817"/>
                  </a:lnTo>
                  <a:lnTo>
                    <a:pt x="129" y="817"/>
                  </a:lnTo>
                  <a:lnTo>
                    <a:pt x="129" y="817"/>
                  </a:lnTo>
                  <a:lnTo>
                    <a:pt x="129" y="817"/>
                  </a:lnTo>
                  <a:close/>
                  <a:moveTo>
                    <a:pt x="189" y="822"/>
                  </a:moveTo>
                  <a:lnTo>
                    <a:pt x="177" y="817"/>
                  </a:lnTo>
                  <a:lnTo>
                    <a:pt x="189" y="817"/>
                  </a:lnTo>
                  <a:lnTo>
                    <a:pt x="189" y="822"/>
                  </a:lnTo>
                  <a:lnTo>
                    <a:pt x="189" y="822"/>
                  </a:lnTo>
                  <a:lnTo>
                    <a:pt x="189" y="822"/>
                  </a:lnTo>
                  <a:close/>
                  <a:moveTo>
                    <a:pt x="122" y="833"/>
                  </a:moveTo>
                  <a:lnTo>
                    <a:pt x="113" y="817"/>
                  </a:lnTo>
                  <a:lnTo>
                    <a:pt x="134" y="822"/>
                  </a:lnTo>
                  <a:lnTo>
                    <a:pt x="122" y="833"/>
                  </a:lnTo>
                  <a:lnTo>
                    <a:pt x="122" y="833"/>
                  </a:lnTo>
                  <a:lnTo>
                    <a:pt x="122" y="833"/>
                  </a:lnTo>
                  <a:close/>
                  <a:moveTo>
                    <a:pt x="129" y="1081"/>
                  </a:moveTo>
                  <a:lnTo>
                    <a:pt x="122" y="1077"/>
                  </a:lnTo>
                  <a:lnTo>
                    <a:pt x="129" y="1081"/>
                  </a:lnTo>
                  <a:lnTo>
                    <a:pt x="129" y="1081"/>
                  </a:lnTo>
                  <a:lnTo>
                    <a:pt x="129" y="1081"/>
                  </a:lnTo>
                  <a:lnTo>
                    <a:pt x="129" y="1081"/>
                  </a:lnTo>
                  <a:close/>
                  <a:moveTo>
                    <a:pt x="134" y="1133"/>
                  </a:moveTo>
                  <a:lnTo>
                    <a:pt x="129" y="1126"/>
                  </a:lnTo>
                  <a:lnTo>
                    <a:pt x="134" y="1126"/>
                  </a:lnTo>
                  <a:lnTo>
                    <a:pt x="134" y="1133"/>
                  </a:lnTo>
                  <a:lnTo>
                    <a:pt x="134" y="1133"/>
                  </a:lnTo>
                  <a:lnTo>
                    <a:pt x="134" y="1133"/>
                  </a:lnTo>
                  <a:close/>
                  <a:moveTo>
                    <a:pt x="177" y="1150"/>
                  </a:moveTo>
                  <a:lnTo>
                    <a:pt x="160" y="1138"/>
                  </a:lnTo>
                  <a:lnTo>
                    <a:pt x="160" y="1133"/>
                  </a:lnTo>
                  <a:lnTo>
                    <a:pt x="177" y="1150"/>
                  </a:lnTo>
                  <a:lnTo>
                    <a:pt x="177" y="1150"/>
                  </a:lnTo>
                  <a:lnTo>
                    <a:pt x="177" y="1150"/>
                  </a:lnTo>
                  <a:close/>
                  <a:moveTo>
                    <a:pt x="26" y="1183"/>
                  </a:moveTo>
                  <a:lnTo>
                    <a:pt x="21" y="1171"/>
                  </a:lnTo>
                  <a:lnTo>
                    <a:pt x="14" y="1155"/>
                  </a:lnTo>
                  <a:lnTo>
                    <a:pt x="21" y="1150"/>
                  </a:lnTo>
                  <a:lnTo>
                    <a:pt x="21" y="1166"/>
                  </a:lnTo>
                  <a:lnTo>
                    <a:pt x="26" y="1150"/>
                  </a:lnTo>
                  <a:lnTo>
                    <a:pt x="21" y="1138"/>
                  </a:lnTo>
                  <a:lnTo>
                    <a:pt x="26" y="1138"/>
                  </a:lnTo>
                  <a:lnTo>
                    <a:pt x="52" y="1150"/>
                  </a:lnTo>
                  <a:lnTo>
                    <a:pt x="42" y="1166"/>
                  </a:lnTo>
                  <a:lnTo>
                    <a:pt x="42" y="1155"/>
                  </a:lnTo>
                  <a:lnTo>
                    <a:pt x="37" y="1150"/>
                  </a:lnTo>
                  <a:lnTo>
                    <a:pt x="26" y="1155"/>
                  </a:lnTo>
                  <a:lnTo>
                    <a:pt x="37" y="1171"/>
                  </a:lnTo>
                  <a:lnTo>
                    <a:pt x="26" y="1183"/>
                  </a:lnTo>
                  <a:lnTo>
                    <a:pt x="26" y="1183"/>
                  </a:lnTo>
                  <a:lnTo>
                    <a:pt x="26" y="1183"/>
                  </a:lnTo>
                  <a:close/>
                  <a:moveTo>
                    <a:pt x="198" y="1150"/>
                  </a:moveTo>
                  <a:lnTo>
                    <a:pt x="198" y="1150"/>
                  </a:lnTo>
                  <a:lnTo>
                    <a:pt x="205" y="1150"/>
                  </a:lnTo>
                  <a:lnTo>
                    <a:pt x="198" y="1150"/>
                  </a:lnTo>
                  <a:lnTo>
                    <a:pt x="198" y="1150"/>
                  </a:lnTo>
                  <a:lnTo>
                    <a:pt x="198" y="1150"/>
                  </a:lnTo>
                  <a:close/>
                  <a:moveTo>
                    <a:pt x="189" y="1155"/>
                  </a:moveTo>
                  <a:lnTo>
                    <a:pt x="181" y="1150"/>
                  </a:lnTo>
                  <a:lnTo>
                    <a:pt x="198" y="1150"/>
                  </a:lnTo>
                  <a:lnTo>
                    <a:pt x="189" y="1155"/>
                  </a:lnTo>
                  <a:lnTo>
                    <a:pt x="189" y="1155"/>
                  </a:lnTo>
                  <a:lnTo>
                    <a:pt x="189" y="1155"/>
                  </a:lnTo>
                  <a:close/>
                  <a:moveTo>
                    <a:pt x="432" y="1166"/>
                  </a:moveTo>
                  <a:lnTo>
                    <a:pt x="432" y="1150"/>
                  </a:lnTo>
                  <a:lnTo>
                    <a:pt x="432" y="1155"/>
                  </a:lnTo>
                  <a:lnTo>
                    <a:pt x="432" y="1166"/>
                  </a:lnTo>
                  <a:lnTo>
                    <a:pt x="432" y="1166"/>
                  </a:lnTo>
                  <a:lnTo>
                    <a:pt x="432" y="1166"/>
                  </a:lnTo>
                  <a:close/>
                  <a:moveTo>
                    <a:pt x="59" y="1166"/>
                  </a:moveTo>
                  <a:lnTo>
                    <a:pt x="59" y="1155"/>
                  </a:lnTo>
                  <a:lnTo>
                    <a:pt x="68" y="1155"/>
                  </a:lnTo>
                  <a:lnTo>
                    <a:pt x="59" y="1166"/>
                  </a:lnTo>
                  <a:lnTo>
                    <a:pt x="59" y="1166"/>
                  </a:lnTo>
                  <a:lnTo>
                    <a:pt x="59" y="1166"/>
                  </a:lnTo>
                  <a:close/>
                  <a:moveTo>
                    <a:pt x="4" y="1171"/>
                  </a:moveTo>
                  <a:lnTo>
                    <a:pt x="0" y="1166"/>
                  </a:lnTo>
                  <a:lnTo>
                    <a:pt x="4" y="1155"/>
                  </a:lnTo>
                  <a:lnTo>
                    <a:pt x="14" y="1166"/>
                  </a:lnTo>
                  <a:lnTo>
                    <a:pt x="4" y="1171"/>
                  </a:lnTo>
                  <a:lnTo>
                    <a:pt x="4" y="1171"/>
                  </a:lnTo>
                  <a:lnTo>
                    <a:pt x="4" y="1171"/>
                  </a:lnTo>
                  <a:close/>
                  <a:moveTo>
                    <a:pt x="215" y="1183"/>
                  </a:moveTo>
                  <a:lnTo>
                    <a:pt x="205" y="1183"/>
                  </a:lnTo>
                  <a:lnTo>
                    <a:pt x="205" y="1155"/>
                  </a:lnTo>
                  <a:lnTo>
                    <a:pt x="236" y="1155"/>
                  </a:lnTo>
                  <a:lnTo>
                    <a:pt x="236" y="1171"/>
                  </a:lnTo>
                  <a:lnTo>
                    <a:pt x="215" y="1183"/>
                  </a:lnTo>
                  <a:lnTo>
                    <a:pt x="215" y="1183"/>
                  </a:lnTo>
                  <a:lnTo>
                    <a:pt x="215" y="1183"/>
                  </a:lnTo>
                  <a:close/>
                  <a:moveTo>
                    <a:pt x="177" y="1166"/>
                  </a:moveTo>
                  <a:lnTo>
                    <a:pt x="167" y="1166"/>
                  </a:lnTo>
                  <a:lnTo>
                    <a:pt x="181" y="1166"/>
                  </a:lnTo>
                  <a:lnTo>
                    <a:pt x="177" y="1166"/>
                  </a:lnTo>
                  <a:lnTo>
                    <a:pt x="177" y="1166"/>
                  </a:lnTo>
                  <a:lnTo>
                    <a:pt x="177" y="1166"/>
                  </a:lnTo>
                  <a:close/>
                  <a:moveTo>
                    <a:pt x="160" y="1171"/>
                  </a:moveTo>
                  <a:lnTo>
                    <a:pt x="151" y="1166"/>
                  </a:lnTo>
                  <a:lnTo>
                    <a:pt x="167" y="1166"/>
                  </a:lnTo>
                  <a:lnTo>
                    <a:pt x="160" y="1171"/>
                  </a:lnTo>
                  <a:lnTo>
                    <a:pt x="160" y="1171"/>
                  </a:lnTo>
                  <a:lnTo>
                    <a:pt x="160" y="1171"/>
                  </a:lnTo>
                  <a:close/>
                  <a:moveTo>
                    <a:pt x="52" y="1171"/>
                  </a:moveTo>
                  <a:lnTo>
                    <a:pt x="52" y="1166"/>
                  </a:lnTo>
                  <a:lnTo>
                    <a:pt x="59" y="1171"/>
                  </a:lnTo>
                  <a:lnTo>
                    <a:pt x="52" y="1171"/>
                  </a:lnTo>
                  <a:lnTo>
                    <a:pt x="52" y="1171"/>
                  </a:lnTo>
                  <a:lnTo>
                    <a:pt x="52" y="1171"/>
                  </a:lnTo>
                  <a:close/>
                  <a:moveTo>
                    <a:pt x="42" y="1171"/>
                  </a:moveTo>
                  <a:lnTo>
                    <a:pt x="52" y="1171"/>
                  </a:lnTo>
                  <a:lnTo>
                    <a:pt x="52" y="1183"/>
                  </a:lnTo>
                  <a:lnTo>
                    <a:pt x="37" y="1171"/>
                  </a:lnTo>
                  <a:lnTo>
                    <a:pt x="42" y="1171"/>
                  </a:lnTo>
                  <a:lnTo>
                    <a:pt x="42" y="1171"/>
                  </a:lnTo>
                  <a:lnTo>
                    <a:pt x="42" y="1171"/>
                  </a:lnTo>
                  <a:close/>
                  <a:moveTo>
                    <a:pt x="205" y="1171"/>
                  </a:moveTo>
                  <a:lnTo>
                    <a:pt x="198" y="1183"/>
                  </a:lnTo>
                  <a:lnTo>
                    <a:pt x="198" y="1171"/>
                  </a:lnTo>
                  <a:lnTo>
                    <a:pt x="205" y="1171"/>
                  </a:lnTo>
                  <a:lnTo>
                    <a:pt x="205" y="1171"/>
                  </a:lnTo>
                  <a:lnTo>
                    <a:pt x="205" y="1171"/>
                  </a:lnTo>
                  <a:close/>
                  <a:moveTo>
                    <a:pt x="243" y="1195"/>
                  </a:moveTo>
                  <a:lnTo>
                    <a:pt x="231" y="1188"/>
                  </a:lnTo>
                  <a:lnTo>
                    <a:pt x="252" y="1188"/>
                  </a:lnTo>
                  <a:lnTo>
                    <a:pt x="243" y="1195"/>
                  </a:lnTo>
                  <a:lnTo>
                    <a:pt x="243" y="1195"/>
                  </a:lnTo>
                  <a:lnTo>
                    <a:pt x="243" y="1195"/>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1" name="Freeform 440">
              <a:extLst>
                <a:ext uri="{FF2B5EF4-FFF2-40B4-BE49-F238E27FC236}">
                  <a16:creationId xmlns:a16="http://schemas.microsoft.com/office/drawing/2014/main" id="{C405A618-7C82-47C0-999D-9A5CBF5A01F4}"/>
                </a:ext>
              </a:extLst>
            </p:cNvPr>
            <p:cNvSpPr>
              <a:spLocks noEditPoints="1"/>
            </p:cNvSpPr>
            <p:nvPr/>
          </p:nvSpPr>
          <p:spPr bwMode="gray">
            <a:xfrm>
              <a:off x="9612700" y="4499634"/>
              <a:ext cx="8261949" cy="71678"/>
            </a:xfrm>
            <a:custGeom>
              <a:avLst/>
              <a:gdLst>
                <a:gd name="T0" fmla="*/ 25214 w 25243"/>
                <a:gd name="T1" fmla="*/ 37 h 219"/>
                <a:gd name="T2" fmla="*/ 25243 w 25243"/>
                <a:gd name="T3" fmla="*/ 21 h 219"/>
                <a:gd name="T4" fmla="*/ 25200 w 25243"/>
                <a:gd name="T5" fmla="*/ 49 h 219"/>
                <a:gd name="T6" fmla="*/ 25184 w 25243"/>
                <a:gd name="T7" fmla="*/ 49 h 219"/>
                <a:gd name="T8" fmla="*/ 25167 w 25243"/>
                <a:gd name="T9" fmla="*/ 49 h 219"/>
                <a:gd name="T10" fmla="*/ 25146 w 25243"/>
                <a:gd name="T11" fmla="*/ 49 h 219"/>
                <a:gd name="T12" fmla="*/ 25162 w 25243"/>
                <a:gd name="T13" fmla="*/ 37 h 219"/>
                <a:gd name="T14" fmla="*/ 25205 w 25243"/>
                <a:gd name="T15" fmla="*/ 16 h 219"/>
                <a:gd name="T16" fmla="*/ 25243 w 25243"/>
                <a:gd name="T17" fmla="*/ 0 h 219"/>
                <a:gd name="T18" fmla="*/ 25243 w 25243"/>
                <a:gd name="T19" fmla="*/ 0 h 219"/>
                <a:gd name="T20" fmla="*/ 0 w 25243"/>
                <a:gd name="T21" fmla="*/ 21 h 219"/>
                <a:gd name="T22" fmla="*/ 0 w 25243"/>
                <a:gd name="T23" fmla="*/ 21 h 219"/>
                <a:gd name="T24" fmla="*/ 0 w 25243"/>
                <a:gd name="T25" fmla="*/ 21 h 219"/>
                <a:gd name="T26" fmla="*/ 0 w 25243"/>
                <a:gd name="T27" fmla="*/ 21 h 219"/>
                <a:gd name="T28" fmla="*/ 5 w 25243"/>
                <a:gd name="T29" fmla="*/ 37 h 219"/>
                <a:gd name="T30" fmla="*/ 0 w 25243"/>
                <a:gd name="T31" fmla="*/ 54 h 219"/>
                <a:gd name="T32" fmla="*/ 0 w 25243"/>
                <a:gd name="T33" fmla="*/ 49 h 219"/>
                <a:gd name="T34" fmla="*/ 25243 w 25243"/>
                <a:gd name="T35" fmla="*/ 54 h 219"/>
                <a:gd name="T36" fmla="*/ 25243 w 25243"/>
                <a:gd name="T37" fmla="*/ 49 h 219"/>
                <a:gd name="T38" fmla="*/ 25243 w 25243"/>
                <a:gd name="T39" fmla="*/ 54 h 219"/>
                <a:gd name="T40" fmla="*/ 71 w 25243"/>
                <a:gd name="T41" fmla="*/ 87 h 219"/>
                <a:gd name="T42" fmla="*/ 76 w 25243"/>
                <a:gd name="T43" fmla="*/ 75 h 219"/>
                <a:gd name="T44" fmla="*/ 71 w 25243"/>
                <a:gd name="T45" fmla="*/ 87 h 219"/>
                <a:gd name="T46" fmla="*/ 25205 w 25243"/>
                <a:gd name="T47" fmla="*/ 87 h 219"/>
                <a:gd name="T48" fmla="*/ 25205 w 25243"/>
                <a:gd name="T49" fmla="*/ 75 h 219"/>
                <a:gd name="T50" fmla="*/ 25205 w 25243"/>
                <a:gd name="T51" fmla="*/ 87 h 219"/>
                <a:gd name="T52" fmla="*/ 25124 w 25243"/>
                <a:gd name="T53" fmla="*/ 146 h 219"/>
                <a:gd name="T54" fmla="*/ 25058 w 25243"/>
                <a:gd name="T55" fmla="*/ 141 h 219"/>
                <a:gd name="T56" fmla="*/ 25070 w 25243"/>
                <a:gd name="T57" fmla="*/ 115 h 219"/>
                <a:gd name="T58" fmla="*/ 25075 w 25243"/>
                <a:gd name="T59" fmla="*/ 92 h 219"/>
                <a:gd name="T60" fmla="*/ 25150 w 25243"/>
                <a:gd name="T61" fmla="*/ 108 h 219"/>
                <a:gd name="T62" fmla="*/ 25124 w 25243"/>
                <a:gd name="T63" fmla="*/ 146 h 219"/>
                <a:gd name="T64" fmla="*/ 25124 w 25243"/>
                <a:gd name="T65" fmla="*/ 146 h 219"/>
                <a:gd name="T66" fmla="*/ 25162 w 25243"/>
                <a:gd name="T67" fmla="*/ 108 h 219"/>
                <a:gd name="T68" fmla="*/ 25167 w 25243"/>
                <a:gd name="T69" fmla="*/ 108 h 219"/>
                <a:gd name="T70" fmla="*/ 25162 w 25243"/>
                <a:gd name="T71" fmla="*/ 115 h 219"/>
                <a:gd name="T72" fmla="*/ 114 w 25243"/>
                <a:gd name="T73" fmla="*/ 130 h 219"/>
                <a:gd name="T74" fmla="*/ 126 w 25243"/>
                <a:gd name="T75" fmla="*/ 125 h 219"/>
                <a:gd name="T76" fmla="*/ 114 w 25243"/>
                <a:gd name="T77" fmla="*/ 130 h 219"/>
                <a:gd name="T78" fmla="*/ 25200 w 25243"/>
                <a:gd name="T79" fmla="*/ 141 h 219"/>
                <a:gd name="T80" fmla="*/ 25200 w 25243"/>
                <a:gd name="T81" fmla="*/ 125 h 219"/>
                <a:gd name="T82" fmla="*/ 25200 w 25243"/>
                <a:gd name="T83" fmla="*/ 141 h 219"/>
                <a:gd name="T84" fmla="*/ 88 w 25243"/>
                <a:gd name="T85" fmla="*/ 146 h 219"/>
                <a:gd name="T86" fmla="*/ 88 w 25243"/>
                <a:gd name="T87" fmla="*/ 146 h 219"/>
                <a:gd name="T88" fmla="*/ 88 w 25243"/>
                <a:gd name="T89" fmla="*/ 146 h 219"/>
                <a:gd name="T90" fmla="*/ 25243 w 25243"/>
                <a:gd name="T91" fmla="*/ 179 h 219"/>
                <a:gd name="T92" fmla="*/ 25243 w 25243"/>
                <a:gd name="T93" fmla="*/ 170 h 219"/>
                <a:gd name="T94" fmla="*/ 25243 w 25243"/>
                <a:gd name="T95" fmla="*/ 179 h 219"/>
                <a:gd name="T96" fmla="*/ 5 w 25243"/>
                <a:gd name="T97" fmla="*/ 212 h 219"/>
                <a:gd name="T98" fmla="*/ 17 w 25243"/>
                <a:gd name="T99" fmla="*/ 203 h 219"/>
                <a:gd name="T100" fmla="*/ 5 w 25243"/>
                <a:gd name="T101" fmla="*/ 212 h 219"/>
                <a:gd name="T102" fmla="*/ 25113 w 25243"/>
                <a:gd name="T103" fmla="*/ 219 h 219"/>
                <a:gd name="T104" fmla="*/ 25129 w 25243"/>
                <a:gd name="T105" fmla="*/ 203 h 219"/>
                <a:gd name="T106" fmla="*/ 25124 w 25243"/>
                <a:gd name="T107" fmla="*/ 212 h 219"/>
                <a:gd name="T108" fmla="*/ 25113 w 25243"/>
                <a:gd name="T109"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243" h="219">
                  <a:moveTo>
                    <a:pt x="25243" y="0"/>
                  </a:moveTo>
                  <a:lnTo>
                    <a:pt x="25214" y="37"/>
                  </a:lnTo>
                  <a:lnTo>
                    <a:pt x="25214" y="37"/>
                  </a:lnTo>
                  <a:lnTo>
                    <a:pt x="25243" y="21"/>
                  </a:lnTo>
                  <a:lnTo>
                    <a:pt x="25238" y="37"/>
                  </a:lnTo>
                  <a:lnTo>
                    <a:pt x="25200" y="49"/>
                  </a:lnTo>
                  <a:lnTo>
                    <a:pt x="25200" y="37"/>
                  </a:lnTo>
                  <a:lnTo>
                    <a:pt x="25184" y="49"/>
                  </a:lnTo>
                  <a:lnTo>
                    <a:pt x="25184" y="54"/>
                  </a:lnTo>
                  <a:lnTo>
                    <a:pt x="25167" y="49"/>
                  </a:lnTo>
                  <a:lnTo>
                    <a:pt x="25162" y="59"/>
                  </a:lnTo>
                  <a:lnTo>
                    <a:pt x="25146" y="49"/>
                  </a:lnTo>
                  <a:lnTo>
                    <a:pt x="25150" y="33"/>
                  </a:lnTo>
                  <a:lnTo>
                    <a:pt x="25162" y="37"/>
                  </a:lnTo>
                  <a:lnTo>
                    <a:pt x="25176" y="21"/>
                  </a:lnTo>
                  <a:lnTo>
                    <a:pt x="25205" y="16"/>
                  </a:lnTo>
                  <a:lnTo>
                    <a:pt x="25214" y="4"/>
                  </a:lnTo>
                  <a:lnTo>
                    <a:pt x="25243" y="0"/>
                  </a:lnTo>
                  <a:lnTo>
                    <a:pt x="25243" y="0"/>
                  </a:lnTo>
                  <a:lnTo>
                    <a:pt x="25243" y="0"/>
                  </a:lnTo>
                  <a:lnTo>
                    <a:pt x="25243" y="0"/>
                  </a:lnTo>
                  <a:close/>
                  <a:moveTo>
                    <a:pt x="0" y="21"/>
                  </a:moveTo>
                  <a:lnTo>
                    <a:pt x="5" y="16"/>
                  </a:lnTo>
                  <a:lnTo>
                    <a:pt x="0" y="21"/>
                  </a:lnTo>
                  <a:lnTo>
                    <a:pt x="0" y="21"/>
                  </a:lnTo>
                  <a:lnTo>
                    <a:pt x="0" y="21"/>
                  </a:lnTo>
                  <a:lnTo>
                    <a:pt x="0" y="21"/>
                  </a:lnTo>
                  <a:lnTo>
                    <a:pt x="0" y="21"/>
                  </a:lnTo>
                  <a:close/>
                  <a:moveTo>
                    <a:pt x="0" y="49"/>
                  </a:moveTo>
                  <a:lnTo>
                    <a:pt x="5" y="37"/>
                  </a:lnTo>
                  <a:lnTo>
                    <a:pt x="5" y="49"/>
                  </a:lnTo>
                  <a:lnTo>
                    <a:pt x="0" y="54"/>
                  </a:lnTo>
                  <a:lnTo>
                    <a:pt x="0" y="49"/>
                  </a:lnTo>
                  <a:lnTo>
                    <a:pt x="0" y="49"/>
                  </a:lnTo>
                  <a:lnTo>
                    <a:pt x="0" y="49"/>
                  </a:lnTo>
                  <a:close/>
                  <a:moveTo>
                    <a:pt x="25243" y="54"/>
                  </a:moveTo>
                  <a:lnTo>
                    <a:pt x="25238" y="54"/>
                  </a:lnTo>
                  <a:lnTo>
                    <a:pt x="25243" y="49"/>
                  </a:lnTo>
                  <a:lnTo>
                    <a:pt x="25243" y="54"/>
                  </a:lnTo>
                  <a:lnTo>
                    <a:pt x="25243" y="54"/>
                  </a:lnTo>
                  <a:lnTo>
                    <a:pt x="25243" y="54"/>
                  </a:lnTo>
                  <a:close/>
                  <a:moveTo>
                    <a:pt x="71" y="87"/>
                  </a:moveTo>
                  <a:lnTo>
                    <a:pt x="71" y="70"/>
                  </a:lnTo>
                  <a:lnTo>
                    <a:pt x="76" y="75"/>
                  </a:lnTo>
                  <a:lnTo>
                    <a:pt x="71" y="87"/>
                  </a:lnTo>
                  <a:lnTo>
                    <a:pt x="71" y="87"/>
                  </a:lnTo>
                  <a:lnTo>
                    <a:pt x="71" y="87"/>
                  </a:lnTo>
                  <a:close/>
                  <a:moveTo>
                    <a:pt x="25205" y="87"/>
                  </a:moveTo>
                  <a:lnTo>
                    <a:pt x="25205" y="75"/>
                  </a:lnTo>
                  <a:lnTo>
                    <a:pt x="25205" y="75"/>
                  </a:lnTo>
                  <a:lnTo>
                    <a:pt x="25205" y="87"/>
                  </a:lnTo>
                  <a:lnTo>
                    <a:pt x="25205" y="87"/>
                  </a:lnTo>
                  <a:lnTo>
                    <a:pt x="25205" y="87"/>
                  </a:lnTo>
                  <a:close/>
                  <a:moveTo>
                    <a:pt x="25124" y="146"/>
                  </a:moveTo>
                  <a:lnTo>
                    <a:pt x="25096" y="146"/>
                  </a:lnTo>
                  <a:lnTo>
                    <a:pt x="25058" y="141"/>
                  </a:lnTo>
                  <a:lnTo>
                    <a:pt x="25054" y="125"/>
                  </a:lnTo>
                  <a:lnTo>
                    <a:pt x="25070" y="115"/>
                  </a:lnTo>
                  <a:lnTo>
                    <a:pt x="25070" y="108"/>
                  </a:lnTo>
                  <a:lnTo>
                    <a:pt x="25075" y="92"/>
                  </a:lnTo>
                  <a:lnTo>
                    <a:pt x="25124" y="75"/>
                  </a:lnTo>
                  <a:lnTo>
                    <a:pt x="25150" y="108"/>
                  </a:lnTo>
                  <a:lnTo>
                    <a:pt x="25162" y="130"/>
                  </a:lnTo>
                  <a:lnTo>
                    <a:pt x="25124" y="146"/>
                  </a:lnTo>
                  <a:lnTo>
                    <a:pt x="25124" y="146"/>
                  </a:lnTo>
                  <a:lnTo>
                    <a:pt x="25124" y="146"/>
                  </a:lnTo>
                  <a:close/>
                  <a:moveTo>
                    <a:pt x="25162" y="115"/>
                  </a:moveTo>
                  <a:lnTo>
                    <a:pt x="25162" y="108"/>
                  </a:lnTo>
                  <a:lnTo>
                    <a:pt x="25167" y="108"/>
                  </a:lnTo>
                  <a:lnTo>
                    <a:pt x="25167" y="108"/>
                  </a:lnTo>
                  <a:lnTo>
                    <a:pt x="25162" y="115"/>
                  </a:lnTo>
                  <a:lnTo>
                    <a:pt x="25162" y="115"/>
                  </a:lnTo>
                  <a:lnTo>
                    <a:pt x="25162" y="115"/>
                  </a:lnTo>
                  <a:close/>
                  <a:moveTo>
                    <a:pt x="114" y="130"/>
                  </a:moveTo>
                  <a:lnTo>
                    <a:pt x="114" y="125"/>
                  </a:lnTo>
                  <a:lnTo>
                    <a:pt x="126" y="125"/>
                  </a:lnTo>
                  <a:lnTo>
                    <a:pt x="114" y="130"/>
                  </a:lnTo>
                  <a:lnTo>
                    <a:pt x="114" y="130"/>
                  </a:lnTo>
                  <a:lnTo>
                    <a:pt x="114" y="130"/>
                  </a:lnTo>
                  <a:close/>
                  <a:moveTo>
                    <a:pt x="25200" y="141"/>
                  </a:moveTo>
                  <a:lnTo>
                    <a:pt x="25200" y="130"/>
                  </a:lnTo>
                  <a:lnTo>
                    <a:pt x="25200" y="125"/>
                  </a:lnTo>
                  <a:lnTo>
                    <a:pt x="25200" y="141"/>
                  </a:lnTo>
                  <a:lnTo>
                    <a:pt x="25200" y="141"/>
                  </a:lnTo>
                  <a:lnTo>
                    <a:pt x="25200" y="141"/>
                  </a:lnTo>
                  <a:close/>
                  <a:moveTo>
                    <a:pt x="88" y="146"/>
                  </a:moveTo>
                  <a:lnTo>
                    <a:pt x="76" y="146"/>
                  </a:lnTo>
                  <a:lnTo>
                    <a:pt x="88" y="146"/>
                  </a:lnTo>
                  <a:lnTo>
                    <a:pt x="88" y="146"/>
                  </a:lnTo>
                  <a:lnTo>
                    <a:pt x="88" y="146"/>
                  </a:lnTo>
                  <a:lnTo>
                    <a:pt x="88" y="146"/>
                  </a:lnTo>
                  <a:close/>
                  <a:moveTo>
                    <a:pt x="25243" y="179"/>
                  </a:moveTo>
                  <a:lnTo>
                    <a:pt x="25238" y="170"/>
                  </a:lnTo>
                  <a:lnTo>
                    <a:pt x="25243" y="170"/>
                  </a:lnTo>
                  <a:lnTo>
                    <a:pt x="25243" y="179"/>
                  </a:lnTo>
                  <a:lnTo>
                    <a:pt x="25243" y="179"/>
                  </a:lnTo>
                  <a:lnTo>
                    <a:pt x="25243" y="179"/>
                  </a:lnTo>
                  <a:close/>
                  <a:moveTo>
                    <a:pt x="5" y="212"/>
                  </a:moveTo>
                  <a:lnTo>
                    <a:pt x="5" y="203"/>
                  </a:lnTo>
                  <a:lnTo>
                    <a:pt x="17" y="203"/>
                  </a:lnTo>
                  <a:lnTo>
                    <a:pt x="5" y="212"/>
                  </a:lnTo>
                  <a:lnTo>
                    <a:pt x="5" y="212"/>
                  </a:lnTo>
                  <a:lnTo>
                    <a:pt x="5" y="212"/>
                  </a:lnTo>
                  <a:close/>
                  <a:moveTo>
                    <a:pt x="25113" y="219"/>
                  </a:moveTo>
                  <a:lnTo>
                    <a:pt x="25108" y="219"/>
                  </a:lnTo>
                  <a:lnTo>
                    <a:pt x="25129" y="203"/>
                  </a:lnTo>
                  <a:lnTo>
                    <a:pt x="25146" y="203"/>
                  </a:lnTo>
                  <a:lnTo>
                    <a:pt x="25124" y="212"/>
                  </a:lnTo>
                  <a:lnTo>
                    <a:pt x="25113" y="219"/>
                  </a:lnTo>
                  <a:lnTo>
                    <a:pt x="25113" y="219"/>
                  </a:lnTo>
                  <a:lnTo>
                    <a:pt x="25113" y="21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2" name="Freeform 441">
              <a:extLst>
                <a:ext uri="{FF2B5EF4-FFF2-40B4-BE49-F238E27FC236}">
                  <a16:creationId xmlns:a16="http://schemas.microsoft.com/office/drawing/2014/main" id="{A95FC0D6-9417-4C21-B41B-68C9663668E1}"/>
                </a:ext>
              </a:extLst>
            </p:cNvPr>
            <p:cNvSpPr>
              <a:spLocks noEditPoints="1"/>
            </p:cNvSpPr>
            <p:nvPr/>
          </p:nvSpPr>
          <p:spPr bwMode="gray">
            <a:xfrm>
              <a:off x="12338099" y="5440284"/>
              <a:ext cx="81170" cy="36330"/>
            </a:xfrm>
            <a:custGeom>
              <a:avLst/>
              <a:gdLst>
                <a:gd name="T0" fmla="*/ 69 w 248"/>
                <a:gd name="T1" fmla="*/ 0 h 111"/>
                <a:gd name="T2" fmla="*/ 76 w 248"/>
                <a:gd name="T3" fmla="*/ 17 h 111"/>
                <a:gd name="T4" fmla="*/ 69 w 248"/>
                <a:gd name="T5" fmla="*/ 17 h 111"/>
                <a:gd name="T6" fmla="*/ 161 w 248"/>
                <a:gd name="T7" fmla="*/ 57 h 111"/>
                <a:gd name="T8" fmla="*/ 144 w 248"/>
                <a:gd name="T9" fmla="*/ 33 h 111"/>
                <a:gd name="T10" fmla="*/ 151 w 248"/>
                <a:gd name="T11" fmla="*/ 33 h 111"/>
                <a:gd name="T12" fmla="*/ 151 w 248"/>
                <a:gd name="T13" fmla="*/ 17 h 111"/>
                <a:gd name="T14" fmla="*/ 168 w 248"/>
                <a:gd name="T15" fmla="*/ 5 h 111"/>
                <a:gd name="T16" fmla="*/ 206 w 248"/>
                <a:gd name="T17" fmla="*/ 17 h 111"/>
                <a:gd name="T18" fmla="*/ 215 w 248"/>
                <a:gd name="T19" fmla="*/ 41 h 111"/>
                <a:gd name="T20" fmla="*/ 198 w 248"/>
                <a:gd name="T21" fmla="*/ 24 h 111"/>
                <a:gd name="T22" fmla="*/ 236 w 248"/>
                <a:gd name="T23" fmla="*/ 17 h 111"/>
                <a:gd name="T24" fmla="*/ 215 w 248"/>
                <a:gd name="T25" fmla="*/ 33 h 111"/>
                <a:gd name="T26" fmla="*/ 248 w 248"/>
                <a:gd name="T27" fmla="*/ 45 h 111"/>
                <a:gd name="T28" fmla="*/ 215 w 248"/>
                <a:gd name="T29" fmla="*/ 57 h 111"/>
                <a:gd name="T30" fmla="*/ 177 w 248"/>
                <a:gd name="T31" fmla="*/ 62 h 111"/>
                <a:gd name="T32" fmla="*/ 161 w 248"/>
                <a:gd name="T33" fmla="*/ 62 h 111"/>
                <a:gd name="T34" fmla="*/ 182 w 248"/>
                <a:gd name="T35" fmla="*/ 78 h 111"/>
                <a:gd name="T36" fmla="*/ 144 w 248"/>
                <a:gd name="T37" fmla="*/ 74 h 111"/>
                <a:gd name="T38" fmla="*/ 151 w 248"/>
                <a:gd name="T39" fmla="*/ 90 h 111"/>
                <a:gd name="T40" fmla="*/ 128 w 248"/>
                <a:gd name="T41" fmla="*/ 90 h 111"/>
                <a:gd name="T42" fmla="*/ 106 w 248"/>
                <a:gd name="T43" fmla="*/ 90 h 111"/>
                <a:gd name="T44" fmla="*/ 144 w 248"/>
                <a:gd name="T45" fmla="*/ 45 h 111"/>
                <a:gd name="T46" fmla="*/ 161 w 248"/>
                <a:gd name="T47" fmla="*/ 57 h 111"/>
                <a:gd name="T48" fmla="*/ 161 w 248"/>
                <a:gd name="T49" fmla="*/ 57 h 111"/>
                <a:gd name="T50" fmla="*/ 76 w 248"/>
                <a:gd name="T51" fmla="*/ 74 h 111"/>
                <a:gd name="T52" fmla="*/ 43 w 248"/>
                <a:gd name="T53" fmla="*/ 95 h 111"/>
                <a:gd name="T54" fmla="*/ 38 w 248"/>
                <a:gd name="T55" fmla="*/ 74 h 111"/>
                <a:gd name="T56" fmla="*/ 59 w 248"/>
                <a:gd name="T57" fmla="*/ 74 h 111"/>
                <a:gd name="T58" fmla="*/ 59 w 248"/>
                <a:gd name="T59" fmla="*/ 62 h 111"/>
                <a:gd name="T60" fmla="*/ 69 w 248"/>
                <a:gd name="T61" fmla="*/ 45 h 111"/>
                <a:gd name="T62" fmla="*/ 43 w 248"/>
                <a:gd name="T63" fmla="*/ 45 h 111"/>
                <a:gd name="T64" fmla="*/ 43 w 248"/>
                <a:gd name="T65" fmla="*/ 17 h 111"/>
                <a:gd name="T66" fmla="*/ 90 w 248"/>
                <a:gd name="T67" fmla="*/ 24 h 111"/>
                <a:gd name="T68" fmla="*/ 85 w 248"/>
                <a:gd name="T69" fmla="*/ 17 h 111"/>
                <a:gd name="T70" fmla="*/ 128 w 248"/>
                <a:gd name="T71" fmla="*/ 17 h 111"/>
                <a:gd name="T72" fmla="*/ 144 w 248"/>
                <a:gd name="T73" fmla="*/ 17 h 111"/>
                <a:gd name="T74" fmla="*/ 90 w 248"/>
                <a:gd name="T75" fmla="*/ 74 h 111"/>
                <a:gd name="T76" fmla="*/ 0 w 248"/>
                <a:gd name="T77" fmla="*/ 45 h 111"/>
                <a:gd name="T78" fmla="*/ 5 w 248"/>
                <a:gd name="T79" fmla="*/ 45 h 111"/>
                <a:gd name="T80" fmla="*/ 0 w 248"/>
                <a:gd name="T81" fmla="*/ 45 h 111"/>
                <a:gd name="T82" fmla="*/ 21 w 248"/>
                <a:gd name="T83" fmla="*/ 74 h 111"/>
                <a:gd name="T84" fmla="*/ 14 w 248"/>
                <a:gd name="T85" fmla="*/ 57 h 111"/>
                <a:gd name="T86" fmla="*/ 14 w 248"/>
                <a:gd name="T87" fmla="*/ 62 h 111"/>
                <a:gd name="T88" fmla="*/ 31 w 248"/>
                <a:gd name="T89" fmla="*/ 74 h 111"/>
                <a:gd name="T90" fmla="*/ 21 w 248"/>
                <a:gd name="T91" fmla="*/ 74 h 111"/>
                <a:gd name="T92" fmla="*/ 0 w 248"/>
                <a:gd name="T93" fmla="*/ 62 h 111"/>
                <a:gd name="T94" fmla="*/ 5 w 248"/>
                <a:gd name="T95" fmla="*/ 57 h 111"/>
                <a:gd name="T96" fmla="*/ 0 w 248"/>
                <a:gd name="T97" fmla="*/ 62 h 111"/>
                <a:gd name="T98" fmla="*/ 194 w 248"/>
                <a:gd name="T99" fmla="*/ 78 h 111"/>
                <a:gd name="T100" fmla="*/ 198 w 248"/>
                <a:gd name="T101" fmla="*/ 78 h 111"/>
                <a:gd name="T102" fmla="*/ 194 w 248"/>
                <a:gd name="T103" fmla="*/ 7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8" h="111">
                  <a:moveTo>
                    <a:pt x="69" y="17"/>
                  </a:moveTo>
                  <a:lnTo>
                    <a:pt x="69" y="0"/>
                  </a:lnTo>
                  <a:lnTo>
                    <a:pt x="85" y="5"/>
                  </a:lnTo>
                  <a:lnTo>
                    <a:pt x="76" y="17"/>
                  </a:lnTo>
                  <a:lnTo>
                    <a:pt x="69" y="17"/>
                  </a:lnTo>
                  <a:lnTo>
                    <a:pt x="69" y="17"/>
                  </a:lnTo>
                  <a:lnTo>
                    <a:pt x="69" y="17"/>
                  </a:lnTo>
                  <a:close/>
                  <a:moveTo>
                    <a:pt x="161" y="57"/>
                  </a:moveTo>
                  <a:lnTo>
                    <a:pt x="151" y="41"/>
                  </a:lnTo>
                  <a:lnTo>
                    <a:pt x="144" y="33"/>
                  </a:lnTo>
                  <a:lnTo>
                    <a:pt x="151" y="24"/>
                  </a:lnTo>
                  <a:lnTo>
                    <a:pt x="151" y="33"/>
                  </a:lnTo>
                  <a:lnTo>
                    <a:pt x="161" y="24"/>
                  </a:lnTo>
                  <a:lnTo>
                    <a:pt x="151" y="17"/>
                  </a:lnTo>
                  <a:lnTo>
                    <a:pt x="168" y="17"/>
                  </a:lnTo>
                  <a:lnTo>
                    <a:pt x="168" y="5"/>
                  </a:lnTo>
                  <a:lnTo>
                    <a:pt x="198" y="5"/>
                  </a:lnTo>
                  <a:lnTo>
                    <a:pt x="206" y="17"/>
                  </a:lnTo>
                  <a:lnTo>
                    <a:pt x="194" y="24"/>
                  </a:lnTo>
                  <a:lnTo>
                    <a:pt x="215" y="41"/>
                  </a:lnTo>
                  <a:lnTo>
                    <a:pt x="215" y="33"/>
                  </a:lnTo>
                  <a:lnTo>
                    <a:pt x="198" y="24"/>
                  </a:lnTo>
                  <a:lnTo>
                    <a:pt x="206" y="17"/>
                  </a:lnTo>
                  <a:lnTo>
                    <a:pt x="236" y="17"/>
                  </a:lnTo>
                  <a:lnTo>
                    <a:pt x="248" y="33"/>
                  </a:lnTo>
                  <a:lnTo>
                    <a:pt x="215" y="33"/>
                  </a:lnTo>
                  <a:lnTo>
                    <a:pt x="248" y="41"/>
                  </a:lnTo>
                  <a:lnTo>
                    <a:pt x="248" y="45"/>
                  </a:lnTo>
                  <a:lnTo>
                    <a:pt x="206" y="45"/>
                  </a:lnTo>
                  <a:lnTo>
                    <a:pt x="215" y="57"/>
                  </a:lnTo>
                  <a:lnTo>
                    <a:pt x="198" y="62"/>
                  </a:lnTo>
                  <a:lnTo>
                    <a:pt x="177" y="62"/>
                  </a:lnTo>
                  <a:lnTo>
                    <a:pt x="161" y="57"/>
                  </a:lnTo>
                  <a:lnTo>
                    <a:pt x="161" y="62"/>
                  </a:lnTo>
                  <a:lnTo>
                    <a:pt x="182" y="74"/>
                  </a:lnTo>
                  <a:lnTo>
                    <a:pt x="182" y="78"/>
                  </a:lnTo>
                  <a:lnTo>
                    <a:pt x="161" y="90"/>
                  </a:lnTo>
                  <a:lnTo>
                    <a:pt x="144" y="74"/>
                  </a:lnTo>
                  <a:lnTo>
                    <a:pt x="139" y="74"/>
                  </a:lnTo>
                  <a:lnTo>
                    <a:pt x="151" y="90"/>
                  </a:lnTo>
                  <a:lnTo>
                    <a:pt x="151" y="95"/>
                  </a:lnTo>
                  <a:lnTo>
                    <a:pt x="128" y="90"/>
                  </a:lnTo>
                  <a:lnTo>
                    <a:pt x="128" y="111"/>
                  </a:lnTo>
                  <a:lnTo>
                    <a:pt x="106" y="90"/>
                  </a:lnTo>
                  <a:lnTo>
                    <a:pt x="123" y="62"/>
                  </a:lnTo>
                  <a:lnTo>
                    <a:pt x="144" y="45"/>
                  </a:lnTo>
                  <a:lnTo>
                    <a:pt x="151" y="45"/>
                  </a:lnTo>
                  <a:lnTo>
                    <a:pt x="161" y="57"/>
                  </a:lnTo>
                  <a:lnTo>
                    <a:pt x="161" y="57"/>
                  </a:lnTo>
                  <a:lnTo>
                    <a:pt x="161" y="57"/>
                  </a:lnTo>
                  <a:close/>
                  <a:moveTo>
                    <a:pt x="90" y="74"/>
                  </a:moveTo>
                  <a:lnTo>
                    <a:pt x="76" y="74"/>
                  </a:lnTo>
                  <a:lnTo>
                    <a:pt x="69" y="90"/>
                  </a:lnTo>
                  <a:lnTo>
                    <a:pt x="43" y="95"/>
                  </a:lnTo>
                  <a:lnTo>
                    <a:pt x="21" y="78"/>
                  </a:lnTo>
                  <a:lnTo>
                    <a:pt x="38" y="74"/>
                  </a:lnTo>
                  <a:lnTo>
                    <a:pt x="31" y="74"/>
                  </a:lnTo>
                  <a:lnTo>
                    <a:pt x="59" y="74"/>
                  </a:lnTo>
                  <a:lnTo>
                    <a:pt x="59" y="57"/>
                  </a:lnTo>
                  <a:lnTo>
                    <a:pt x="59" y="62"/>
                  </a:lnTo>
                  <a:lnTo>
                    <a:pt x="76" y="45"/>
                  </a:lnTo>
                  <a:lnTo>
                    <a:pt x="69" y="45"/>
                  </a:lnTo>
                  <a:lnTo>
                    <a:pt x="43" y="57"/>
                  </a:lnTo>
                  <a:lnTo>
                    <a:pt x="43" y="45"/>
                  </a:lnTo>
                  <a:lnTo>
                    <a:pt x="76" y="41"/>
                  </a:lnTo>
                  <a:lnTo>
                    <a:pt x="43" y="17"/>
                  </a:lnTo>
                  <a:lnTo>
                    <a:pt x="76" y="24"/>
                  </a:lnTo>
                  <a:lnTo>
                    <a:pt x="90" y="24"/>
                  </a:lnTo>
                  <a:lnTo>
                    <a:pt x="85" y="24"/>
                  </a:lnTo>
                  <a:lnTo>
                    <a:pt x="85" y="17"/>
                  </a:lnTo>
                  <a:lnTo>
                    <a:pt x="123" y="24"/>
                  </a:lnTo>
                  <a:lnTo>
                    <a:pt x="128" y="17"/>
                  </a:lnTo>
                  <a:lnTo>
                    <a:pt x="128" y="5"/>
                  </a:lnTo>
                  <a:lnTo>
                    <a:pt x="144" y="17"/>
                  </a:lnTo>
                  <a:lnTo>
                    <a:pt x="90" y="74"/>
                  </a:lnTo>
                  <a:lnTo>
                    <a:pt x="90" y="74"/>
                  </a:lnTo>
                  <a:lnTo>
                    <a:pt x="90" y="74"/>
                  </a:lnTo>
                  <a:close/>
                  <a:moveTo>
                    <a:pt x="0" y="45"/>
                  </a:moveTo>
                  <a:lnTo>
                    <a:pt x="0" y="45"/>
                  </a:lnTo>
                  <a:lnTo>
                    <a:pt x="5" y="45"/>
                  </a:lnTo>
                  <a:lnTo>
                    <a:pt x="0" y="45"/>
                  </a:lnTo>
                  <a:lnTo>
                    <a:pt x="0" y="45"/>
                  </a:lnTo>
                  <a:lnTo>
                    <a:pt x="0" y="45"/>
                  </a:lnTo>
                  <a:close/>
                  <a:moveTo>
                    <a:pt x="21" y="74"/>
                  </a:moveTo>
                  <a:lnTo>
                    <a:pt x="5" y="57"/>
                  </a:lnTo>
                  <a:lnTo>
                    <a:pt x="14" y="57"/>
                  </a:lnTo>
                  <a:lnTo>
                    <a:pt x="21" y="57"/>
                  </a:lnTo>
                  <a:lnTo>
                    <a:pt x="14" y="62"/>
                  </a:lnTo>
                  <a:lnTo>
                    <a:pt x="21" y="57"/>
                  </a:lnTo>
                  <a:lnTo>
                    <a:pt x="31" y="74"/>
                  </a:lnTo>
                  <a:lnTo>
                    <a:pt x="21" y="74"/>
                  </a:lnTo>
                  <a:lnTo>
                    <a:pt x="21" y="74"/>
                  </a:lnTo>
                  <a:lnTo>
                    <a:pt x="21" y="74"/>
                  </a:lnTo>
                  <a:close/>
                  <a:moveTo>
                    <a:pt x="0" y="62"/>
                  </a:moveTo>
                  <a:lnTo>
                    <a:pt x="0" y="57"/>
                  </a:lnTo>
                  <a:lnTo>
                    <a:pt x="5" y="57"/>
                  </a:lnTo>
                  <a:lnTo>
                    <a:pt x="0" y="62"/>
                  </a:lnTo>
                  <a:lnTo>
                    <a:pt x="0" y="62"/>
                  </a:lnTo>
                  <a:lnTo>
                    <a:pt x="0" y="62"/>
                  </a:lnTo>
                  <a:close/>
                  <a:moveTo>
                    <a:pt x="194" y="78"/>
                  </a:moveTo>
                  <a:lnTo>
                    <a:pt x="198" y="74"/>
                  </a:lnTo>
                  <a:lnTo>
                    <a:pt x="198" y="78"/>
                  </a:lnTo>
                  <a:lnTo>
                    <a:pt x="194" y="78"/>
                  </a:lnTo>
                  <a:lnTo>
                    <a:pt x="194" y="78"/>
                  </a:lnTo>
                  <a:lnTo>
                    <a:pt x="194" y="78"/>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3" name="Freeform 442">
              <a:extLst>
                <a:ext uri="{FF2B5EF4-FFF2-40B4-BE49-F238E27FC236}">
                  <a16:creationId xmlns:a16="http://schemas.microsoft.com/office/drawing/2014/main" id="{86E00547-3C3F-4A7C-9DAB-C43E19155C89}"/>
                </a:ext>
              </a:extLst>
            </p:cNvPr>
            <p:cNvSpPr>
              <a:spLocks noEditPoints="1"/>
            </p:cNvSpPr>
            <p:nvPr/>
          </p:nvSpPr>
          <p:spPr bwMode="gray">
            <a:xfrm>
              <a:off x="17224311" y="3938975"/>
              <a:ext cx="261183" cy="51713"/>
            </a:xfrm>
            <a:custGeom>
              <a:avLst/>
              <a:gdLst>
                <a:gd name="T0" fmla="*/ 0 w 798"/>
                <a:gd name="T1" fmla="*/ 12 h 158"/>
                <a:gd name="T2" fmla="*/ 0 w 798"/>
                <a:gd name="T3" fmla="*/ 12 h 158"/>
                <a:gd name="T4" fmla="*/ 0 w 798"/>
                <a:gd name="T5" fmla="*/ 0 h 158"/>
                <a:gd name="T6" fmla="*/ 0 w 798"/>
                <a:gd name="T7" fmla="*/ 12 h 158"/>
                <a:gd name="T8" fmla="*/ 0 w 798"/>
                <a:gd name="T9" fmla="*/ 12 h 158"/>
                <a:gd name="T10" fmla="*/ 0 w 798"/>
                <a:gd name="T11" fmla="*/ 12 h 158"/>
                <a:gd name="T12" fmla="*/ 463 w 798"/>
                <a:gd name="T13" fmla="*/ 50 h 158"/>
                <a:gd name="T14" fmla="*/ 451 w 798"/>
                <a:gd name="T15" fmla="*/ 38 h 158"/>
                <a:gd name="T16" fmla="*/ 463 w 798"/>
                <a:gd name="T17" fmla="*/ 33 h 158"/>
                <a:gd name="T18" fmla="*/ 468 w 798"/>
                <a:gd name="T19" fmla="*/ 38 h 158"/>
                <a:gd name="T20" fmla="*/ 463 w 798"/>
                <a:gd name="T21" fmla="*/ 50 h 158"/>
                <a:gd name="T22" fmla="*/ 463 w 798"/>
                <a:gd name="T23" fmla="*/ 50 h 158"/>
                <a:gd name="T24" fmla="*/ 463 w 798"/>
                <a:gd name="T25" fmla="*/ 50 h 158"/>
                <a:gd name="T26" fmla="*/ 798 w 798"/>
                <a:gd name="T27" fmla="*/ 158 h 158"/>
                <a:gd name="T28" fmla="*/ 791 w 798"/>
                <a:gd name="T29" fmla="*/ 149 h 158"/>
                <a:gd name="T30" fmla="*/ 798 w 798"/>
                <a:gd name="T31" fmla="*/ 149 h 158"/>
                <a:gd name="T32" fmla="*/ 798 w 798"/>
                <a:gd name="T33" fmla="*/ 158 h 158"/>
                <a:gd name="T34" fmla="*/ 798 w 798"/>
                <a:gd name="T35" fmla="*/ 158 h 158"/>
                <a:gd name="T36" fmla="*/ 798 w 798"/>
                <a:gd name="T3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8" h="158">
                  <a:moveTo>
                    <a:pt x="0" y="12"/>
                  </a:moveTo>
                  <a:lnTo>
                    <a:pt x="0" y="12"/>
                  </a:lnTo>
                  <a:lnTo>
                    <a:pt x="0" y="0"/>
                  </a:lnTo>
                  <a:lnTo>
                    <a:pt x="0" y="12"/>
                  </a:lnTo>
                  <a:lnTo>
                    <a:pt x="0" y="12"/>
                  </a:lnTo>
                  <a:lnTo>
                    <a:pt x="0" y="12"/>
                  </a:lnTo>
                  <a:close/>
                  <a:moveTo>
                    <a:pt x="463" y="50"/>
                  </a:moveTo>
                  <a:lnTo>
                    <a:pt x="451" y="38"/>
                  </a:lnTo>
                  <a:lnTo>
                    <a:pt x="463" y="33"/>
                  </a:lnTo>
                  <a:lnTo>
                    <a:pt x="468" y="38"/>
                  </a:lnTo>
                  <a:lnTo>
                    <a:pt x="463" y="50"/>
                  </a:lnTo>
                  <a:lnTo>
                    <a:pt x="463" y="50"/>
                  </a:lnTo>
                  <a:lnTo>
                    <a:pt x="463" y="50"/>
                  </a:lnTo>
                  <a:close/>
                  <a:moveTo>
                    <a:pt x="798" y="158"/>
                  </a:moveTo>
                  <a:lnTo>
                    <a:pt x="791" y="149"/>
                  </a:lnTo>
                  <a:lnTo>
                    <a:pt x="798" y="149"/>
                  </a:lnTo>
                  <a:lnTo>
                    <a:pt x="798" y="158"/>
                  </a:lnTo>
                  <a:lnTo>
                    <a:pt x="798" y="158"/>
                  </a:lnTo>
                  <a:lnTo>
                    <a:pt x="798" y="158"/>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4" name="Freeform 443">
              <a:extLst>
                <a:ext uri="{FF2B5EF4-FFF2-40B4-BE49-F238E27FC236}">
                  <a16:creationId xmlns:a16="http://schemas.microsoft.com/office/drawing/2014/main" id="{9E4F45D9-250C-43CC-A7B9-2FD0F8E925E9}"/>
                </a:ext>
              </a:extLst>
            </p:cNvPr>
            <p:cNvSpPr>
              <a:spLocks noEditPoints="1"/>
            </p:cNvSpPr>
            <p:nvPr/>
          </p:nvSpPr>
          <p:spPr bwMode="gray">
            <a:xfrm>
              <a:off x="13573644" y="2413773"/>
              <a:ext cx="23893" cy="32402"/>
            </a:xfrm>
            <a:custGeom>
              <a:avLst/>
              <a:gdLst>
                <a:gd name="T0" fmla="*/ 64 w 73"/>
                <a:gd name="T1" fmla="*/ 16 h 99"/>
                <a:gd name="T2" fmla="*/ 56 w 73"/>
                <a:gd name="T3" fmla="*/ 4 h 99"/>
                <a:gd name="T4" fmla="*/ 64 w 73"/>
                <a:gd name="T5" fmla="*/ 0 h 99"/>
                <a:gd name="T6" fmla="*/ 73 w 73"/>
                <a:gd name="T7" fmla="*/ 4 h 99"/>
                <a:gd name="T8" fmla="*/ 64 w 73"/>
                <a:gd name="T9" fmla="*/ 16 h 99"/>
                <a:gd name="T10" fmla="*/ 64 w 73"/>
                <a:gd name="T11" fmla="*/ 16 h 99"/>
                <a:gd name="T12" fmla="*/ 64 w 73"/>
                <a:gd name="T13" fmla="*/ 16 h 99"/>
                <a:gd name="T14" fmla="*/ 52 w 73"/>
                <a:gd name="T15" fmla="*/ 33 h 99"/>
                <a:gd name="T16" fmla="*/ 26 w 73"/>
                <a:gd name="T17" fmla="*/ 0 h 99"/>
                <a:gd name="T18" fmla="*/ 56 w 73"/>
                <a:gd name="T19" fmla="*/ 16 h 99"/>
                <a:gd name="T20" fmla="*/ 52 w 73"/>
                <a:gd name="T21" fmla="*/ 33 h 99"/>
                <a:gd name="T22" fmla="*/ 52 w 73"/>
                <a:gd name="T23" fmla="*/ 33 h 99"/>
                <a:gd name="T24" fmla="*/ 52 w 73"/>
                <a:gd name="T25" fmla="*/ 33 h 99"/>
                <a:gd name="T26" fmla="*/ 52 w 73"/>
                <a:gd name="T27" fmla="*/ 44 h 99"/>
                <a:gd name="T28" fmla="*/ 12 w 73"/>
                <a:gd name="T29" fmla="*/ 16 h 99"/>
                <a:gd name="T30" fmla="*/ 12 w 73"/>
                <a:gd name="T31" fmla="*/ 4 h 99"/>
                <a:gd name="T32" fmla="*/ 26 w 73"/>
                <a:gd name="T33" fmla="*/ 4 h 99"/>
                <a:gd name="T34" fmla="*/ 42 w 73"/>
                <a:gd name="T35" fmla="*/ 21 h 99"/>
                <a:gd name="T36" fmla="*/ 52 w 73"/>
                <a:gd name="T37" fmla="*/ 44 h 99"/>
                <a:gd name="T38" fmla="*/ 52 w 73"/>
                <a:gd name="T39" fmla="*/ 44 h 99"/>
                <a:gd name="T40" fmla="*/ 52 w 73"/>
                <a:gd name="T41" fmla="*/ 44 h 99"/>
                <a:gd name="T42" fmla="*/ 21 w 73"/>
                <a:gd name="T43" fmla="*/ 33 h 99"/>
                <a:gd name="T44" fmla="*/ 0 w 73"/>
                <a:gd name="T45" fmla="*/ 21 h 99"/>
                <a:gd name="T46" fmla="*/ 26 w 73"/>
                <a:gd name="T47" fmla="*/ 21 h 99"/>
                <a:gd name="T48" fmla="*/ 21 w 73"/>
                <a:gd name="T49" fmla="*/ 33 h 99"/>
                <a:gd name="T50" fmla="*/ 21 w 73"/>
                <a:gd name="T51" fmla="*/ 33 h 99"/>
                <a:gd name="T52" fmla="*/ 21 w 73"/>
                <a:gd name="T53" fmla="*/ 33 h 99"/>
                <a:gd name="T54" fmla="*/ 56 w 73"/>
                <a:gd name="T55" fmla="*/ 61 h 99"/>
                <a:gd name="T56" fmla="*/ 38 w 73"/>
                <a:gd name="T57" fmla="*/ 44 h 99"/>
                <a:gd name="T58" fmla="*/ 56 w 73"/>
                <a:gd name="T59" fmla="*/ 54 h 99"/>
                <a:gd name="T60" fmla="*/ 56 w 73"/>
                <a:gd name="T61" fmla="*/ 61 h 99"/>
                <a:gd name="T62" fmla="*/ 56 w 73"/>
                <a:gd name="T63" fmla="*/ 61 h 99"/>
                <a:gd name="T64" fmla="*/ 56 w 73"/>
                <a:gd name="T65" fmla="*/ 61 h 99"/>
                <a:gd name="T66" fmla="*/ 52 w 73"/>
                <a:gd name="T67" fmla="*/ 99 h 99"/>
                <a:gd name="T68" fmla="*/ 38 w 73"/>
                <a:gd name="T69" fmla="*/ 78 h 99"/>
                <a:gd name="T70" fmla="*/ 52 w 73"/>
                <a:gd name="T71" fmla="*/ 87 h 99"/>
                <a:gd name="T72" fmla="*/ 52 w 73"/>
                <a:gd name="T73" fmla="*/ 99 h 99"/>
                <a:gd name="T74" fmla="*/ 52 w 73"/>
                <a:gd name="T75" fmla="*/ 99 h 99"/>
                <a:gd name="T76" fmla="*/ 52 w 73"/>
                <a:gd name="T7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99">
                  <a:moveTo>
                    <a:pt x="64" y="16"/>
                  </a:moveTo>
                  <a:lnTo>
                    <a:pt x="56" y="4"/>
                  </a:lnTo>
                  <a:lnTo>
                    <a:pt x="64" y="0"/>
                  </a:lnTo>
                  <a:lnTo>
                    <a:pt x="73" y="4"/>
                  </a:lnTo>
                  <a:lnTo>
                    <a:pt x="64" y="16"/>
                  </a:lnTo>
                  <a:lnTo>
                    <a:pt x="64" y="16"/>
                  </a:lnTo>
                  <a:lnTo>
                    <a:pt x="64" y="16"/>
                  </a:lnTo>
                  <a:close/>
                  <a:moveTo>
                    <a:pt x="52" y="33"/>
                  </a:moveTo>
                  <a:lnTo>
                    <a:pt x="26" y="0"/>
                  </a:lnTo>
                  <a:lnTo>
                    <a:pt x="56" y="16"/>
                  </a:lnTo>
                  <a:lnTo>
                    <a:pt x="52" y="33"/>
                  </a:lnTo>
                  <a:lnTo>
                    <a:pt x="52" y="33"/>
                  </a:lnTo>
                  <a:lnTo>
                    <a:pt x="52" y="33"/>
                  </a:lnTo>
                  <a:close/>
                  <a:moveTo>
                    <a:pt x="52" y="44"/>
                  </a:moveTo>
                  <a:lnTo>
                    <a:pt x="12" y="16"/>
                  </a:lnTo>
                  <a:lnTo>
                    <a:pt x="12" y="4"/>
                  </a:lnTo>
                  <a:lnTo>
                    <a:pt x="26" y="4"/>
                  </a:lnTo>
                  <a:lnTo>
                    <a:pt x="42" y="21"/>
                  </a:lnTo>
                  <a:lnTo>
                    <a:pt x="52" y="44"/>
                  </a:lnTo>
                  <a:lnTo>
                    <a:pt x="52" y="44"/>
                  </a:lnTo>
                  <a:lnTo>
                    <a:pt x="52" y="44"/>
                  </a:lnTo>
                  <a:close/>
                  <a:moveTo>
                    <a:pt x="21" y="33"/>
                  </a:moveTo>
                  <a:lnTo>
                    <a:pt x="0" y="21"/>
                  </a:lnTo>
                  <a:lnTo>
                    <a:pt x="26" y="21"/>
                  </a:lnTo>
                  <a:lnTo>
                    <a:pt x="21" y="33"/>
                  </a:lnTo>
                  <a:lnTo>
                    <a:pt x="21" y="33"/>
                  </a:lnTo>
                  <a:lnTo>
                    <a:pt x="21" y="33"/>
                  </a:lnTo>
                  <a:close/>
                  <a:moveTo>
                    <a:pt x="56" y="61"/>
                  </a:moveTo>
                  <a:lnTo>
                    <a:pt x="38" y="44"/>
                  </a:lnTo>
                  <a:lnTo>
                    <a:pt x="56" y="54"/>
                  </a:lnTo>
                  <a:lnTo>
                    <a:pt x="56" y="61"/>
                  </a:lnTo>
                  <a:lnTo>
                    <a:pt x="56" y="61"/>
                  </a:lnTo>
                  <a:lnTo>
                    <a:pt x="56" y="61"/>
                  </a:lnTo>
                  <a:close/>
                  <a:moveTo>
                    <a:pt x="52" y="99"/>
                  </a:moveTo>
                  <a:lnTo>
                    <a:pt x="38" y="78"/>
                  </a:lnTo>
                  <a:lnTo>
                    <a:pt x="52" y="87"/>
                  </a:lnTo>
                  <a:lnTo>
                    <a:pt x="52" y="99"/>
                  </a:lnTo>
                  <a:lnTo>
                    <a:pt x="52" y="99"/>
                  </a:lnTo>
                  <a:lnTo>
                    <a:pt x="52" y="9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5" name="Freeform 444">
              <a:extLst>
                <a:ext uri="{FF2B5EF4-FFF2-40B4-BE49-F238E27FC236}">
                  <a16:creationId xmlns:a16="http://schemas.microsoft.com/office/drawing/2014/main" id="{C19A2C7C-D752-4864-9E74-F44DB518A32A}"/>
                </a:ext>
              </a:extLst>
            </p:cNvPr>
            <p:cNvSpPr>
              <a:spLocks noEditPoints="1"/>
            </p:cNvSpPr>
            <p:nvPr/>
          </p:nvSpPr>
          <p:spPr bwMode="gray">
            <a:xfrm>
              <a:off x="10264675" y="4322567"/>
              <a:ext cx="297513" cy="326969"/>
            </a:xfrm>
            <a:custGeom>
              <a:avLst/>
              <a:gdLst>
                <a:gd name="T0" fmla="*/ 796 w 909"/>
                <a:gd name="T1" fmla="*/ 0 h 999"/>
                <a:gd name="T2" fmla="*/ 800 w 909"/>
                <a:gd name="T3" fmla="*/ 4 h 999"/>
                <a:gd name="T4" fmla="*/ 800 w 909"/>
                <a:gd name="T5" fmla="*/ 4 h 999"/>
                <a:gd name="T6" fmla="*/ 838 w 909"/>
                <a:gd name="T7" fmla="*/ 0 h 999"/>
                <a:gd name="T8" fmla="*/ 838 w 909"/>
                <a:gd name="T9" fmla="*/ 4 h 999"/>
                <a:gd name="T10" fmla="*/ 838 w 909"/>
                <a:gd name="T11" fmla="*/ 4 h 999"/>
                <a:gd name="T12" fmla="*/ 800 w 909"/>
                <a:gd name="T13" fmla="*/ 37 h 999"/>
                <a:gd name="T14" fmla="*/ 800 w 909"/>
                <a:gd name="T15" fmla="*/ 45 h 999"/>
                <a:gd name="T16" fmla="*/ 800 w 909"/>
                <a:gd name="T17" fmla="*/ 45 h 999"/>
                <a:gd name="T18" fmla="*/ 871 w 909"/>
                <a:gd name="T19" fmla="*/ 73 h 999"/>
                <a:gd name="T20" fmla="*/ 893 w 909"/>
                <a:gd name="T21" fmla="*/ 61 h 999"/>
                <a:gd name="T22" fmla="*/ 883 w 909"/>
                <a:gd name="T23" fmla="*/ 78 h 999"/>
                <a:gd name="T24" fmla="*/ 871 w 909"/>
                <a:gd name="T25" fmla="*/ 89 h 999"/>
                <a:gd name="T26" fmla="*/ 883 w 909"/>
                <a:gd name="T27" fmla="*/ 78 h 999"/>
                <a:gd name="T28" fmla="*/ 871 w 909"/>
                <a:gd name="T29" fmla="*/ 89 h 999"/>
                <a:gd name="T30" fmla="*/ 904 w 909"/>
                <a:gd name="T31" fmla="*/ 127 h 999"/>
                <a:gd name="T32" fmla="*/ 909 w 909"/>
                <a:gd name="T33" fmla="*/ 115 h 999"/>
                <a:gd name="T34" fmla="*/ 904 w 909"/>
                <a:gd name="T35" fmla="*/ 127 h 999"/>
                <a:gd name="T36" fmla="*/ 4 w 909"/>
                <a:gd name="T37" fmla="*/ 578 h 999"/>
                <a:gd name="T38" fmla="*/ 4 w 909"/>
                <a:gd name="T39" fmla="*/ 571 h 999"/>
                <a:gd name="T40" fmla="*/ 4 w 909"/>
                <a:gd name="T41" fmla="*/ 578 h 999"/>
                <a:gd name="T42" fmla="*/ 4 w 909"/>
                <a:gd name="T43" fmla="*/ 595 h 999"/>
                <a:gd name="T44" fmla="*/ 16 w 909"/>
                <a:gd name="T45" fmla="*/ 588 h 999"/>
                <a:gd name="T46" fmla="*/ 4 w 909"/>
                <a:gd name="T47" fmla="*/ 595 h 999"/>
                <a:gd name="T48" fmla="*/ 125 w 909"/>
                <a:gd name="T49" fmla="*/ 645 h 999"/>
                <a:gd name="T50" fmla="*/ 125 w 909"/>
                <a:gd name="T51" fmla="*/ 633 h 999"/>
                <a:gd name="T52" fmla="*/ 125 w 909"/>
                <a:gd name="T53" fmla="*/ 645 h 999"/>
                <a:gd name="T54" fmla="*/ 167 w 909"/>
                <a:gd name="T55" fmla="*/ 666 h 999"/>
                <a:gd name="T56" fmla="*/ 134 w 909"/>
                <a:gd name="T57" fmla="*/ 645 h 999"/>
                <a:gd name="T58" fmla="*/ 163 w 909"/>
                <a:gd name="T59" fmla="*/ 649 h 999"/>
                <a:gd name="T60" fmla="*/ 167 w 909"/>
                <a:gd name="T61" fmla="*/ 666 h 999"/>
                <a:gd name="T62" fmla="*/ 167 w 909"/>
                <a:gd name="T63" fmla="*/ 666 h 999"/>
                <a:gd name="T64" fmla="*/ 904 w 909"/>
                <a:gd name="T65" fmla="*/ 994 h 999"/>
                <a:gd name="T66" fmla="*/ 904 w 909"/>
                <a:gd name="T67" fmla="*/ 999 h 999"/>
                <a:gd name="T68" fmla="*/ 904 w 909"/>
                <a:gd name="T69" fmla="*/ 999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9" h="999">
                  <a:moveTo>
                    <a:pt x="800" y="4"/>
                  </a:moveTo>
                  <a:lnTo>
                    <a:pt x="796" y="0"/>
                  </a:lnTo>
                  <a:lnTo>
                    <a:pt x="812" y="0"/>
                  </a:lnTo>
                  <a:lnTo>
                    <a:pt x="800" y="4"/>
                  </a:lnTo>
                  <a:lnTo>
                    <a:pt x="800" y="4"/>
                  </a:lnTo>
                  <a:lnTo>
                    <a:pt x="800" y="4"/>
                  </a:lnTo>
                  <a:close/>
                  <a:moveTo>
                    <a:pt x="838" y="4"/>
                  </a:moveTo>
                  <a:lnTo>
                    <a:pt x="838" y="0"/>
                  </a:lnTo>
                  <a:lnTo>
                    <a:pt x="850" y="4"/>
                  </a:lnTo>
                  <a:lnTo>
                    <a:pt x="838" y="4"/>
                  </a:lnTo>
                  <a:lnTo>
                    <a:pt x="838" y="4"/>
                  </a:lnTo>
                  <a:lnTo>
                    <a:pt x="838" y="4"/>
                  </a:lnTo>
                  <a:close/>
                  <a:moveTo>
                    <a:pt x="800" y="45"/>
                  </a:moveTo>
                  <a:lnTo>
                    <a:pt x="800" y="37"/>
                  </a:lnTo>
                  <a:lnTo>
                    <a:pt x="812" y="37"/>
                  </a:lnTo>
                  <a:lnTo>
                    <a:pt x="800" y="45"/>
                  </a:lnTo>
                  <a:lnTo>
                    <a:pt x="800" y="45"/>
                  </a:lnTo>
                  <a:lnTo>
                    <a:pt x="800" y="45"/>
                  </a:lnTo>
                  <a:close/>
                  <a:moveTo>
                    <a:pt x="883" y="78"/>
                  </a:moveTo>
                  <a:lnTo>
                    <a:pt x="871" y="73"/>
                  </a:lnTo>
                  <a:lnTo>
                    <a:pt x="883" y="61"/>
                  </a:lnTo>
                  <a:lnTo>
                    <a:pt x="893" y="61"/>
                  </a:lnTo>
                  <a:lnTo>
                    <a:pt x="883" y="78"/>
                  </a:lnTo>
                  <a:lnTo>
                    <a:pt x="883" y="78"/>
                  </a:lnTo>
                  <a:lnTo>
                    <a:pt x="883" y="78"/>
                  </a:lnTo>
                  <a:close/>
                  <a:moveTo>
                    <a:pt x="871" y="89"/>
                  </a:moveTo>
                  <a:lnTo>
                    <a:pt x="871" y="78"/>
                  </a:lnTo>
                  <a:lnTo>
                    <a:pt x="883" y="78"/>
                  </a:lnTo>
                  <a:lnTo>
                    <a:pt x="871" y="89"/>
                  </a:lnTo>
                  <a:lnTo>
                    <a:pt x="871" y="89"/>
                  </a:lnTo>
                  <a:lnTo>
                    <a:pt x="871" y="89"/>
                  </a:lnTo>
                  <a:close/>
                  <a:moveTo>
                    <a:pt x="904" y="127"/>
                  </a:moveTo>
                  <a:lnTo>
                    <a:pt x="904" y="115"/>
                  </a:lnTo>
                  <a:lnTo>
                    <a:pt x="909" y="115"/>
                  </a:lnTo>
                  <a:lnTo>
                    <a:pt x="904" y="127"/>
                  </a:lnTo>
                  <a:lnTo>
                    <a:pt x="904" y="127"/>
                  </a:lnTo>
                  <a:lnTo>
                    <a:pt x="904" y="127"/>
                  </a:lnTo>
                  <a:close/>
                  <a:moveTo>
                    <a:pt x="4" y="578"/>
                  </a:moveTo>
                  <a:lnTo>
                    <a:pt x="0" y="571"/>
                  </a:lnTo>
                  <a:lnTo>
                    <a:pt x="4" y="571"/>
                  </a:lnTo>
                  <a:lnTo>
                    <a:pt x="4" y="578"/>
                  </a:lnTo>
                  <a:lnTo>
                    <a:pt x="4" y="578"/>
                  </a:lnTo>
                  <a:lnTo>
                    <a:pt x="4" y="578"/>
                  </a:lnTo>
                  <a:close/>
                  <a:moveTo>
                    <a:pt x="4" y="595"/>
                  </a:moveTo>
                  <a:lnTo>
                    <a:pt x="4" y="578"/>
                  </a:lnTo>
                  <a:lnTo>
                    <a:pt x="16" y="588"/>
                  </a:lnTo>
                  <a:lnTo>
                    <a:pt x="4" y="595"/>
                  </a:lnTo>
                  <a:lnTo>
                    <a:pt x="4" y="595"/>
                  </a:lnTo>
                  <a:lnTo>
                    <a:pt x="4" y="595"/>
                  </a:lnTo>
                  <a:close/>
                  <a:moveTo>
                    <a:pt x="125" y="645"/>
                  </a:moveTo>
                  <a:lnTo>
                    <a:pt x="113" y="633"/>
                  </a:lnTo>
                  <a:lnTo>
                    <a:pt x="125" y="633"/>
                  </a:lnTo>
                  <a:lnTo>
                    <a:pt x="125" y="645"/>
                  </a:lnTo>
                  <a:lnTo>
                    <a:pt x="125" y="645"/>
                  </a:lnTo>
                  <a:lnTo>
                    <a:pt x="125" y="645"/>
                  </a:lnTo>
                  <a:close/>
                  <a:moveTo>
                    <a:pt x="167" y="666"/>
                  </a:moveTo>
                  <a:lnTo>
                    <a:pt x="134" y="649"/>
                  </a:lnTo>
                  <a:lnTo>
                    <a:pt x="134" y="645"/>
                  </a:lnTo>
                  <a:lnTo>
                    <a:pt x="151" y="645"/>
                  </a:lnTo>
                  <a:lnTo>
                    <a:pt x="163" y="649"/>
                  </a:lnTo>
                  <a:lnTo>
                    <a:pt x="167" y="654"/>
                  </a:lnTo>
                  <a:lnTo>
                    <a:pt x="167" y="666"/>
                  </a:lnTo>
                  <a:lnTo>
                    <a:pt x="167" y="666"/>
                  </a:lnTo>
                  <a:lnTo>
                    <a:pt x="167" y="666"/>
                  </a:lnTo>
                  <a:close/>
                  <a:moveTo>
                    <a:pt x="904" y="999"/>
                  </a:moveTo>
                  <a:lnTo>
                    <a:pt x="904" y="994"/>
                  </a:lnTo>
                  <a:lnTo>
                    <a:pt x="904" y="994"/>
                  </a:lnTo>
                  <a:lnTo>
                    <a:pt x="904" y="999"/>
                  </a:lnTo>
                  <a:lnTo>
                    <a:pt x="904" y="999"/>
                  </a:lnTo>
                  <a:lnTo>
                    <a:pt x="904" y="99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6" name="Freeform 445">
              <a:extLst>
                <a:ext uri="{FF2B5EF4-FFF2-40B4-BE49-F238E27FC236}">
                  <a16:creationId xmlns:a16="http://schemas.microsoft.com/office/drawing/2014/main" id="{99166889-2EA1-4B45-AE1A-7A8EBFD32516}"/>
                </a:ext>
              </a:extLst>
            </p:cNvPr>
            <p:cNvSpPr>
              <a:spLocks noEditPoints="1"/>
            </p:cNvSpPr>
            <p:nvPr/>
          </p:nvSpPr>
          <p:spPr bwMode="gray">
            <a:xfrm>
              <a:off x="13635503" y="2793109"/>
              <a:ext cx="328606" cy="286057"/>
            </a:xfrm>
            <a:custGeom>
              <a:avLst/>
              <a:gdLst>
                <a:gd name="T0" fmla="*/ 557 w 1004"/>
                <a:gd name="T1" fmla="*/ 22 h 874"/>
                <a:gd name="T2" fmla="*/ 626 w 1004"/>
                <a:gd name="T3" fmla="*/ 76 h 874"/>
                <a:gd name="T4" fmla="*/ 675 w 1004"/>
                <a:gd name="T5" fmla="*/ 83 h 874"/>
                <a:gd name="T6" fmla="*/ 718 w 1004"/>
                <a:gd name="T7" fmla="*/ 149 h 874"/>
                <a:gd name="T8" fmla="*/ 789 w 1004"/>
                <a:gd name="T9" fmla="*/ 154 h 874"/>
                <a:gd name="T10" fmla="*/ 848 w 1004"/>
                <a:gd name="T11" fmla="*/ 178 h 874"/>
                <a:gd name="T12" fmla="*/ 874 w 1004"/>
                <a:gd name="T13" fmla="*/ 248 h 874"/>
                <a:gd name="T14" fmla="*/ 864 w 1004"/>
                <a:gd name="T15" fmla="*/ 322 h 874"/>
                <a:gd name="T16" fmla="*/ 827 w 1004"/>
                <a:gd name="T17" fmla="*/ 343 h 874"/>
                <a:gd name="T18" fmla="*/ 767 w 1004"/>
                <a:gd name="T19" fmla="*/ 416 h 874"/>
                <a:gd name="T20" fmla="*/ 751 w 1004"/>
                <a:gd name="T21" fmla="*/ 449 h 874"/>
                <a:gd name="T22" fmla="*/ 805 w 1004"/>
                <a:gd name="T23" fmla="*/ 426 h 874"/>
                <a:gd name="T24" fmla="*/ 810 w 1004"/>
                <a:gd name="T25" fmla="*/ 487 h 874"/>
                <a:gd name="T26" fmla="*/ 805 w 1004"/>
                <a:gd name="T27" fmla="*/ 565 h 874"/>
                <a:gd name="T28" fmla="*/ 848 w 1004"/>
                <a:gd name="T29" fmla="*/ 631 h 874"/>
                <a:gd name="T30" fmla="*/ 860 w 1004"/>
                <a:gd name="T31" fmla="*/ 664 h 874"/>
                <a:gd name="T32" fmla="*/ 793 w 1004"/>
                <a:gd name="T33" fmla="*/ 704 h 874"/>
                <a:gd name="T34" fmla="*/ 767 w 1004"/>
                <a:gd name="T35" fmla="*/ 726 h 874"/>
                <a:gd name="T36" fmla="*/ 713 w 1004"/>
                <a:gd name="T37" fmla="*/ 709 h 874"/>
                <a:gd name="T38" fmla="*/ 685 w 1004"/>
                <a:gd name="T39" fmla="*/ 685 h 874"/>
                <a:gd name="T40" fmla="*/ 664 w 1004"/>
                <a:gd name="T41" fmla="*/ 704 h 874"/>
                <a:gd name="T42" fmla="*/ 567 w 1004"/>
                <a:gd name="T43" fmla="*/ 709 h 874"/>
                <a:gd name="T44" fmla="*/ 557 w 1004"/>
                <a:gd name="T45" fmla="*/ 780 h 874"/>
                <a:gd name="T46" fmla="*/ 470 w 1004"/>
                <a:gd name="T47" fmla="*/ 787 h 874"/>
                <a:gd name="T48" fmla="*/ 427 w 1004"/>
                <a:gd name="T49" fmla="*/ 759 h 874"/>
                <a:gd name="T50" fmla="*/ 307 w 1004"/>
                <a:gd name="T51" fmla="*/ 747 h 874"/>
                <a:gd name="T52" fmla="*/ 231 w 1004"/>
                <a:gd name="T53" fmla="*/ 709 h 874"/>
                <a:gd name="T54" fmla="*/ 248 w 1004"/>
                <a:gd name="T55" fmla="*/ 593 h 874"/>
                <a:gd name="T56" fmla="*/ 255 w 1004"/>
                <a:gd name="T57" fmla="*/ 504 h 874"/>
                <a:gd name="T58" fmla="*/ 248 w 1004"/>
                <a:gd name="T59" fmla="*/ 499 h 874"/>
                <a:gd name="T60" fmla="*/ 189 w 1004"/>
                <a:gd name="T61" fmla="*/ 392 h 874"/>
                <a:gd name="T62" fmla="*/ 210 w 1004"/>
                <a:gd name="T63" fmla="*/ 355 h 874"/>
                <a:gd name="T64" fmla="*/ 156 w 1004"/>
                <a:gd name="T65" fmla="*/ 338 h 874"/>
                <a:gd name="T66" fmla="*/ 134 w 1004"/>
                <a:gd name="T67" fmla="*/ 331 h 874"/>
                <a:gd name="T68" fmla="*/ 118 w 1004"/>
                <a:gd name="T69" fmla="*/ 331 h 874"/>
                <a:gd name="T70" fmla="*/ 28 w 1004"/>
                <a:gd name="T71" fmla="*/ 289 h 874"/>
                <a:gd name="T72" fmla="*/ 16 w 1004"/>
                <a:gd name="T73" fmla="*/ 265 h 874"/>
                <a:gd name="T74" fmla="*/ 0 w 1004"/>
                <a:gd name="T75" fmla="*/ 248 h 874"/>
                <a:gd name="T76" fmla="*/ 87 w 1004"/>
                <a:gd name="T77" fmla="*/ 211 h 874"/>
                <a:gd name="T78" fmla="*/ 193 w 1004"/>
                <a:gd name="T79" fmla="*/ 232 h 874"/>
                <a:gd name="T80" fmla="*/ 243 w 1004"/>
                <a:gd name="T81" fmla="*/ 227 h 874"/>
                <a:gd name="T82" fmla="*/ 201 w 1004"/>
                <a:gd name="T83" fmla="*/ 133 h 874"/>
                <a:gd name="T84" fmla="*/ 255 w 1004"/>
                <a:gd name="T85" fmla="*/ 154 h 874"/>
                <a:gd name="T86" fmla="*/ 340 w 1004"/>
                <a:gd name="T87" fmla="*/ 137 h 874"/>
                <a:gd name="T88" fmla="*/ 449 w 1004"/>
                <a:gd name="T89" fmla="*/ 59 h 874"/>
                <a:gd name="T90" fmla="*/ 512 w 1004"/>
                <a:gd name="T91" fmla="*/ 0 h 874"/>
                <a:gd name="T92" fmla="*/ 118 w 1004"/>
                <a:gd name="T93" fmla="*/ 355 h 874"/>
                <a:gd name="T94" fmla="*/ 231 w 1004"/>
                <a:gd name="T95" fmla="*/ 466 h 874"/>
                <a:gd name="T96" fmla="*/ 248 w 1004"/>
                <a:gd name="T97" fmla="*/ 487 h 874"/>
                <a:gd name="T98" fmla="*/ 945 w 1004"/>
                <a:gd name="T99" fmla="*/ 796 h 874"/>
                <a:gd name="T100" fmla="*/ 982 w 1004"/>
                <a:gd name="T101" fmla="*/ 759 h 874"/>
                <a:gd name="T102" fmla="*/ 999 w 1004"/>
                <a:gd name="T103" fmla="*/ 820 h 874"/>
                <a:gd name="T104" fmla="*/ 956 w 1004"/>
                <a:gd name="T105" fmla="*/ 848 h 874"/>
                <a:gd name="T106" fmla="*/ 945 w 1004"/>
                <a:gd name="T107" fmla="*/ 820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4" h="874">
                  <a:moveTo>
                    <a:pt x="512" y="0"/>
                  </a:moveTo>
                  <a:lnTo>
                    <a:pt x="519" y="22"/>
                  </a:lnTo>
                  <a:lnTo>
                    <a:pt x="534" y="26"/>
                  </a:lnTo>
                  <a:lnTo>
                    <a:pt x="557" y="22"/>
                  </a:lnTo>
                  <a:lnTo>
                    <a:pt x="567" y="55"/>
                  </a:lnTo>
                  <a:lnTo>
                    <a:pt x="588" y="55"/>
                  </a:lnTo>
                  <a:lnTo>
                    <a:pt x="595" y="67"/>
                  </a:lnTo>
                  <a:lnTo>
                    <a:pt x="626" y="76"/>
                  </a:lnTo>
                  <a:lnTo>
                    <a:pt x="626" y="100"/>
                  </a:lnTo>
                  <a:lnTo>
                    <a:pt x="647" y="111"/>
                  </a:lnTo>
                  <a:lnTo>
                    <a:pt x="675" y="83"/>
                  </a:lnTo>
                  <a:lnTo>
                    <a:pt x="675" y="83"/>
                  </a:lnTo>
                  <a:lnTo>
                    <a:pt x="675" y="100"/>
                  </a:lnTo>
                  <a:lnTo>
                    <a:pt x="675" y="116"/>
                  </a:lnTo>
                  <a:lnTo>
                    <a:pt x="701" y="133"/>
                  </a:lnTo>
                  <a:lnTo>
                    <a:pt x="718" y="149"/>
                  </a:lnTo>
                  <a:lnTo>
                    <a:pt x="739" y="137"/>
                  </a:lnTo>
                  <a:lnTo>
                    <a:pt x="751" y="149"/>
                  </a:lnTo>
                  <a:lnTo>
                    <a:pt x="784" y="149"/>
                  </a:lnTo>
                  <a:lnTo>
                    <a:pt x="789" y="154"/>
                  </a:lnTo>
                  <a:lnTo>
                    <a:pt x="805" y="178"/>
                  </a:lnTo>
                  <a:lnTo>
                    <a:pt x="822" y="170"/>
                  </a:lnTo>
                  <a:lnTo>
                    <a:pt x="843" y="178"/>
                  </a:lnTo>
                  <a:lnTo>
                    <a:pt x="848" y="178"/>
                  </a:lnTo>
                  <a:lnTo>
                    <a:pt x="874" y="187"/>
                  </a:lnTo>
                  <a:lnTo>
                    <a:pt x="912" y="194"/>
                  </a:lnTo>
                  <a:lnTo>
                    <a:pt x="881" y="232"/>
                  </a:lnTo>
                  <a:lnTo>
                    <a:pt x="874" y="248"/>
                  </a:lnTo>
                  <a:lnTo>
                    <a:pt x="864" y="277"/>
                  </a:lnTo>
                  <a:lnTo>
                    <a:pt x="864" y="289"/>
                  </a:lnTo>
                  <a:lnTo>
                    <a:pt x="860" y="315"/>
                  </a:lnTo>
                  <a:lnTo>
                    <a:pt x="864" y="322"/>
                  </a:lnTo>
                  <a:lnTo>
                    <a:pt x="848" y="338"/>
                  </a:lnTo>
                  <a:lnTo>
                    <a:pt x="827" y="331"/>
                  </a:lnTo>
                  <a:lnTo>
                    <a:pt x="822" y="343"/>
                  </a:lnTo>
                  <a:lnTo>
                    <a:pt x="827" y="343"/>
                  </a:lnTo>
                  <a:lnTo>
                    <a:pt x="822" y="355"/>
                  </a:lnTo>
                  <a:lnTo>
                    <a:pt x="789" y="392"/>
                  </a:lnTo>
                  <a:lnTo>
                    <a:pt x="784" y="400"/>
                  </a:lnTo>
                  <a:lnTo>
                    <a:pt x="767" y="416"/>
                  </a:lnTo>
                  <a:lnTo>
                    <a:pt x="756" y="426"/>
                  </a:lnTo>
                  <a:lnTo>
                    <a:pt x="767" y="433"/>
                  </a:lnTo>
                  <a:lnTo>
                    <a:pt x="767" y="442"/>
                  </a:lnTo>
                  <a:lnTo>
                    <a:pt x="751" y="449"/>
                  </a:lnTo>
                  <a:lnTo>
                    <a:pt x="756" y="454"/>
                  </a:lnTo>
                  <a:lnTo>
                    <a:pt x="772" y="449"/>
                  </a:lnTo>
                  <a:lnTo>
                    <a:pt x="772" y="433"/>
                  </a:lnTo>
                  <a:lnTo>
                    <a:pt x="805" y="426"/>
                  </a:lnTo>
                  <a:lnTo>
                    <a:pt x="810" y="433"/>
                  </a:lnTo>
                  <a:lnTo>
                    <a:pt x="810" y="454"/>
                  </a:lnTo>
                  <a:lnTo>
                    <a:pt x="827" y="470"/>
                  </a:lnTo>
                  <a:lnTo>
                    <a:pt x="810" y="487"/>
                  </a:lnTo>
                  <a:lnTo>
                    <a:pt x="836" y="520"/>
                  </a:lnTo>
                  <a:lnTo>
                    <a:pt x="836" y="537"/>
                  </a:lnTo>
                  <a:lnTo>
                    <a:pt x="793" y="544"/>
                  </a:lnTo>
                  <a:lnTo>
                    <a:pt x="805" y="565"/>
                  </a:lnTo>
                  <a:lnTo>
                    <a:pt x="827" y="565"/>
                  </a:lnTo>
                  <a:lnTo>
                    <a:pt x="810" y="598"/>
                  </a:lnTo>
                  <a:lnTo>
                    <a:pt x="822" y="619"/>
                  </a:lnTo>
                  <a:lnTo>
                    <a:pt x="848" y="631"/>
                  </a:lnTo>
                  <a:lnTo>
                    <a:pt x="874" y="631"/>
                  </a:lnTo>
                  <a:lnTo>
                    <a:pt x="874" y="636"/>
                  </a:lnTo>
                  <a:lnTo>
                    <a:pt x="860" y="652"/>
                  </a:lnTo>
                  <a:lnTo>
                    <a:pt x="860" y="664"/>
                  </a:lnTo>
                  <a:lnTo>
                    <a:pt x="860" y="669"/>
                  </a:lnTo>
                  <a:lnTo>
                    <a:pt x="848" y="669"/>
                  </a:lnTo>
                  <a:lnTo>
                    <a:pt x="836" y="676"/>
                  </a:lnTo>
                  <a:lnTo>
                    <a:pt x="793" y="704"/>
                  </a:lnTo>
                  <a:lnTo>
                    <a:pt x="805" y="709"/>
                  </a:lnTo>
                  <a:lnTo>
                    <a:pt x="793" y="721"/>
                  </a:lnTo>
                  <a:lnTo>
                    <a:pt x="767" y="721"/>
                  </a:lnTo>
                  <a:lnTo>
                    <a:pt x="767" y="726"/>
                  </a:lnTo>
                  <a:lnTo>
                    <a:pt x="751" y="726"/>
                  </a:lnTo>
                  <a:lnTo>
                    <a:pt x="739" y="726"/>
                  </a:lnTo>
                  <a:lnTo>
                    <a:pt x="734" y="721"/>
                  </a:lnTo>
                  <a:lnTo>
                    <a:pt x="713" y="709"/>
                  </a:lnTo>
                  <a:lnTo>
                    <a:pt x="701" y="704"/>
                  </a:lnTo>
                  <a:lnTo>
                    <a:pt x="685" y="704"/>
                  </a:lnTo>
                  <a:lnTo>
                    <a:pt x="701" y="692"/>
                  </a:lnTo>
                  <a:lnTo>
                    <a:pt x="685" y="685"/>
                  </a:lnTo>
                  <a:lnTo>
                    <a:pt x="685" y="692"/>
                  </a:lnTo>
                  <a:lnTo>
                    <a:pt x="675" y="704"/>
                  </a:lnTo>
                  <a:lnTo>
                    <a:pt x="664" y="676"/>
                  </a:lnTo>
                  <a:lnTo>
                    <a:pt x="664" y="704"/>
                  </a:lnTo>
                  <a:lnTo>
                    <a:pt x="659" y="704"/>
                  </a:lnTo>
                  <a:lnTo>
                    <a:pt x="647" y="692"/>
                  </a:lnTo>
                  <a:lnTo>
                    <a:pt x="609" y="685"/>
                  </a:lnTo>
                  <a:lnTo>
                    <a:pt x="567" y="709"/>
                  </a:lnTo>
                  <a:lnTo>
                    <a:pt x="550" y="726"/>
                  </a:lnTo>
                  <a:lnTo>
                    <a:pt x="541" y="747"/>
                  </a:lnTo>
                  <a:lnTo>
                    <a:pt x="550" y="775"/>
                  </a:lnTo>
                  <a:lnTo>
                    <a:pt x="557" y="780"/>
                  </a:lnTo>
                  <a:lnTo>
                    <a:pt x="541" y="780"/>
                  </a:lnTo>
                  <a:lnTo>
                    <a:pt x="512" y="787"/>
                  </a:lnTo>
                  <a:lnTo>
                    <a:pt x="496" y="780"/>
                  </a:lnTo>
                  <a:lnTo>
                    <a:pt x="470" y="787"/>
                  </a:lnTo>
                  <a:lnTo>
                    <a:pt x="458" y="775"/>
                  </a:lnTo>
                  <a:lnTo>
                    <a:pt x="458" y="763"/>
                  </a:lnTo>
                  <a:lnTo>
                    <a:pt x="432" y="763"/>
                  </a:lnTo>
                  <a:lnTo>
                    <a:pt x="427" y="759"/>
                  </a:lnTo>
                  <a:lnTo>
                    <a:pt x="390" y="742"/>
                  </a:lnTo>
                  <a:lnTo>
                    <a:pt x="378" y="759"/>
                  </a:lnTo>
                  <a:lnTo>
                    <a:pt x="335" y="759"/>
                  </a:lnTo>
                  <a:lnTo>
                    <a:pt x="307" y="747"/>
                  </a:lnTo>
                  <a:lnTo>
                    <a:pt x="297" y="747"/>
                  </a:lnTo>
                  <a:lnTo>
                    <a:pt x="281" y="730"/>
                  </a:lnTo>
                  <a:lnTo>
                    <a:pt x="231" y="726"/>
                  </a:lnTo>
                  <a:lnTo>
                    <a:pt x="231" y="709"/>
                  </a:lnTo>
                  <a:lnTo>
                    <a:pt x="210" y="704"/>
                  </a:lnTo>
                  <a:lnTo>
                    <a:pt x="227" y="692"/>
                  </a:lnTo>
                  <a:lnTo>
                    <a:pt x="231" y="676"/>
                  </a:lnTo>
                  <a:lnTo>
                    <a:pt x="248" y="593"/>
                  </a:lnTo>
                  <a:lnTo>
                    <a:pt x="264" y="581"/>
                  </a:lnTo>
                  <a:lnTo>
                    <a:pt x="248" y="577"/>
                  </a:lnTo>
                  <a:lnTo>
                    <a:pt x="248" y="581"/>
                  </a:lnTo>
                  <a:lnTo>
                    <a:pt x="255" y="504"/>
                  </a:lnTo>
                  <a:lnTo>
                    <a:pt x="281" y="525"/>
                  </a:lnTo>
                  <a:lnTo>
                    <a:pt x="297" y="565"/>
                  </a:lnTo>
                  <a:lnTo>
                    <a:pt x="281" y="508"/>
                  </a:lnTo>
                  <a:lnTo>
                    <a:pt x="248" y="499"/>
                  </a:lnTo>
                  <a:lnTo>
                    <a:pt x="255" y="470"/>
                  </a:lnTo>
                  <a:lnTo>
                    <a:pt x="255" y="442"/>
                  </a:lnTo>
                  <a:lnTo>
                    <a:pt x="210" y="426"/>
                  </a:lnTo>
                  <a:lnTo>
                    <a:pt x="189" y="392"/>
                  </a:lnTo>
                  <a:lnTo>
                    <a:pt x="193" y="371"/>
                  </a:lnTo>
                  <a:lnTo>
                    <a:pt x="179" y="359"/>
                  </a:lnTo>
                  <a:lnTo>
                    <a:pt x="189" y="355"/>
                  </a:lnTo>
                  <a:lnTo>
                    <a:pt x="210" y="355"/>
                  </a:lnTo>
                  <a:lnTo>
                    <a:pt x="193" y="343"/>
                  </a:lnTo>
                  <a:lnTo>
                    <a:pt x="172" y="355"/>
                  </a:lnTo>
                  <a:lnTo>
                    <a:pt x="156" y="343"/>
                  </a:lnTo>
                  <a:lnTo>
                    <a:pt x="156" y="338"/>
                  </a:lnTo>
                  <a:lnTo>
                    <a:pt x="163" y="338"/>
                  </a:lnTo>
                  <a:lnTo>
                    <a:pt x="156" y="331"/>
                  </a:lnTo>
                  <a:lnTo>
                    <a:pt x="172" y="331"/>
                  </a:lnTo>
                  <a:lnTo>
                    <a:pt x="134" y="331"/>
                  </a:lnTo>
                  <a:lnTo>
                    <a:pt x="142" y="331"/>
                  </a:lnTo>
                  <a:lnTo>
                    <a:pt x="142" y="322"/>
                  </a:lnTo>
                  <a:lnTo>
                    <a:pt x="118" y="322"/>
                  </a:lnTo>
                  <a:lnTo>
                    <a:pt x="118" y="331"/>
                  </a:lnTo>
                  <a:lnTo>
                    <a:pt x="108" y="315"/>
                  </a:lnTo>
                  <a:lnTo>
                    <a:pt x="54" y="298"/>
                  </a:lnTo>
                  <a:lnTo>
                    <a:pt x="28" y="305"/>
                  </a:lnTo>
                  <a:lnTo>
                    <a:pt x="28" y="289"/>
                  </a:lnTo>
                  <a:lnTo>
                    <a:pt x="0" y="281"/>
                  </a:lnTo>
                  <a:lnTo>
                    <a:pt x="33" y="277"/>
                  </a:lnTo>
                  <a:lnTo>
                    <a:pt x="28" y="265"/>
                  </a:lnTo>
                  <a:lnTo>
                    <a:pt x="16" y="265"/>
                  </a:lnTo>
                  <a:lnTo>
                    <a:pt x="12" y="260"/>
                  </a:lnTo>
                  <a:lnTo>
                    <a:pt x="16" y="248"/>
                  </a:lnTo>
                  <a:lnTo>
                    <a:pt x="38" y="260"/>
                  </a:lnTo>
                  <a:lnTo>
                    <a:pt x="0" y="248"/>
                  </a:lnTo>
                  <a:lnTo>
                    <a:pt x="0" y="232"/>
                  </a:lnTo>
                  <a:lnTo>
                    <a:pt x="28" y="227"/>
                  </a:lnTo>
                  <a:lnTo>
                    <a:pt x="80" y="220"/>
                  </a:lnTo>
                  <a:lnTo>
                    <a:pt x="87" y="211"/>
                  </a:lnTo>
                  <a:lnTo>
                    <a:pt x="108" y="204"/>
                  </a:lnTo>
                  <a:lnTo>
                    <a:pt x="146" y="244"/>
                  </a:lnTo>
                  <a:lnTo>
                    <a:pt x="172" y="220"/>
                  </a:lnTo>
                  <a:lnTo>
                    <a:pt x="193" y="232"/>
                  </a:lnTo>
                  <a:lnTo>
                    <a:pt x="193" y="220"/>
                  </a:lnTo>
                  <a:lnTo>
                    <a:pt x="201" y="220"/>
                  </a:lnTo>
                  <a:lnTo>
                    <a:pt x="201" y="227"/>
                  </a:lnTo>
                  <a:lnTo>
                    <a:pt x="243" y="227"/>
                  </a:lnTo>
                  <a:lnTo>
                    <a:pt x="227" y="220"/>
                  </a:lnTo>
                  <a:lnTo>
                    <a:pt x="217" y="170"/>
                  </a:lnTo>
                  <a:lnTo>
                    <a:pt x="210" y="154"/>
                  </a:lnTo>
                  <a:lnTo>
                    <a:pt x="201" y="133"/>
                  </a:lnTo>
                  <a:lnTo>
                    <a:pt x="193" y="121"/>
                  </a:lnTo>
                  <a:lnTo>
                    <a:pt x="248" y="133"/>
                  </a:lnTo>
                  <a:lnTo>
                    <a:pt x="243" y="137"/>
                  </a:lnTo>
                  <a:lnTo>
                    <a:pt x="255" y="154"/>
                  </a:lnTo>
                  <a:lnTo>
                    <a:pt x="319" y="166"/>
                  </a:lnTo>
                  <a:lnTo>
                    <a:pt x="361" y="149"/>
                  </a:lnTo>
                  <a:lnTo>
                    <a:pt x="361" y="149"/>
                  </a:lnTo>
                  <a:lnTo>
                    <a:pt x="340" y="137"/>
                  </a:lnTo>
                  <a:lnTo>
                    <a:pt x="352" y="121"/>
                  </a:lnTo>
                  <a:lnTo>
                    <a:pt x="411" y="111"/>
                  </a:lnTo>
                  <a:lnTo>
                    <a:pt x="432" y="83"/>
                  </a:lnTo>
                  <a:lnTo>
                    <a:pt x="449" y="59"/>
                  </a:lnTo>
                  <a:lnTo>
                    <a:pt x="449" y="10"/>
                  </a:lnTo>
                  <a:lnTo>
                    <a:pt x="512" y="0"/>
                  </a:lnTo>
                  <a:lnTo>
                    <a:pt x="512" y="0"/>
                  </a:lnTo>
                  <a:lnTo>
                    <a:pt x="512" y="0"/>
                  </a:lnTo>
                  <a:close/>
                  <a:moveTo>
                    <a:pt x="118" y="355"/>
                  </a:moveTo>
                  <a:lnTo>
                    <a:pt x="108" y="343"/>
                  </a:lnTo>
                  <a:lnTo>
                    <a:pt x="104" y="338"/>
                  </a:lnTo>
                  <a:lnTo>
                    <a:pt x="118" y="355"/>
                  </a:lnTo>
                  <a:lnTo>
                    <a:pt x="118" y="355"/>
                  </a:lnTo>
                  <a:lnTo>
                    <a:pt x="118" y="355"/>
                  </a:lnTo>
                  <a:close/>
                  <a:moveTo>
                    <a:pt x="248" y="487"/>
                  </a:moveTo>
                  <a:lnTo>
                    <a:pt x="231" y="466"/>
                  </a:lnTo>
                  <a:lnTo>
                    <a:pt x="248" y="470"/>
                  </a:lnTo>
                  <a:lnTo>
                    <a:pt x="248" y="487"/>
                  </a:lnTo>
                  <a:lnTo>
                    <a:pt x="248" y="487"/>
                  </a:lnTo>
                  <a:lnTo>
                    <a:pt x="248" y="487"/>
                  </a:lnTo>
                  <a:close/>
                  <a:moveTo>
                    <a:pt x="945" y="820"/>
                  </a:moveTo>
                  <a:lnTo>
                    <a:pt x="945" y="813"/>
                  </a:lnTo>
                  <a:lnTo>
                    <a:pt x="935" y="796"/>
                  </a:lnTo>
                  <a:lnTo>
                    <a:pt x="945" y="796"/>
                  </a:lnTo>
                  <a:lnTo>
                    <a:pt x="935" y="787"/>
                  </a:lnTo>
                  <a:lnTo>
                    <a:pt x="945" y="775"/>
                  </a:lnTo>
                  <a:lnTo>
                    <a:pt x="973" y="759"/>
                  </a:lnTo>
                  <a:lnTo>
                    <a:pt x="982" y="759"/>
                  </a:lnTo>
                  <a:lnTo>
                    <a:pt x="987" y="730"/>
                  </a:lnTo>
                  <a:lnTo>
                    <a:pt x="999" y="730"/>
                  </a:lnTo>
                  <a:lnTo>
                    <a:pt x="1004" y="803"/>
                  </a:lnTo>
                  <a:lnTo>
                    <a:pt x="999" y="820"/>
                  </a:lnTo>
                  <a:lnTo>
                    <a:pt x="987" y="848"/>
                  </a:lnTo>
                  <a:lnTo>
                    <a:pt x="982" y="874"/>
                  </a:lnTo>
                  <a:lnTo>
                    <a:pt x="949" y="858"/>
                  </a:lnTo>
                  <a:lnTo>
                    <a:pt x="956" y="848"/>
                  </a:lnTo>
                  <a:lnTo>
                    <a:pt x="945" y="848"/>
                  </a:lnTo>
                  <a:lnTo>
                    <a:pt x="949" y="829"/>
                  </a:lnTo>
                  <a:lnTo>
                    <a:pt x="935" y="829"/>
                  </a:lnTo>
                  <a:lnTo>
                    <a:pt x="945" y="820"/>
                  </a:lnTo>
                  <a:lnTo>
                    <a:pt x="945" y="820"/>
                  </a:lnTo>
                  <a:lnTo>
                    <a:pt x="945" y="82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7" name="Freeform 446">
              <a:extLst>
                <a:ext uri="{FF2B5EF4-FFF2-40B4-BE49-F238E27FC236}">
                  <a16:creationId xmlns:a16="http://schemas.microsoft.com/office/drawing/2014/main" id="{B01ED9F9-55BD-4FA4-B8A9-67B12F817056}"/>
                </a:ext>
              </a:extLst>
            </p:cNvPr>
            <p:cNvSpPr>
              <a:spLocks noEditPoints="1"/>
            </p:cNvSpPr>
            <p:nvPr/>
          </p:nvSpPr>
          <p:spPr bwMode="gray">
            <a:xfrm>
              <a:off x="14895595" y="5051456"/>
              <a:ext cx="629391" cy="342680"/>
            </a:xfrm>
            <a:custGeom>
              <a:avLst/>
              <a:gdLst>
                <a:gd name="T0" fmla="*/ 1916 w 1923"/>
                <a:gd name="T1" fmla="*/ 0 h 1047"/>
                <a:gd name="T2" fmla="*/ 1923 w 1923"/>
                <a:gd name="T3" fmla="*/ 12 h 1047"/>
                <a:gd name="T4" fmla="*/ 1923 w 1923"/>
                <a:gd name="T5" fmla="*/ 12 h 1047"/>
                <a:gd name="T6" fmla="*/ 0 w 1923"/>
                <a:gd name="T7" fmla="*/ 714 h 1047"/>
                <a:gd name="T8" fmla="*/ 10 w 1923"/>
                <a:gd name="T9" fmla="*/ 714 h 1047"/>
                <a:gd name="T10" fmla="*/ 10 w 1923"/>
                <a:gd name="T11" fmla="*/ 714 h 1047"/>
                <a:gd name="T12" fmla="*/ 106 w 1923"/>
                <a:gd name="T13" fmla="*/ 737 h 1047"/>
                <a:gd name="T14" fmla="*/ 118 w 1923"/>
                <a:gd name="T15" fmla="*/ 747 h 1047"/>
                <a:gd name="T16" fmla="*/ 118 w 1923"/>
                <a:gd name="T17" fmla="*/ 747 h 1047"/>
                <a:gd name="T18" fmla="*/ 139 w 1923"/>
                <a:gd name="T19" fmla="*/ 747 h 1047"/>
                <a:gd name="T20" fmla="*/ 156 w 1923"/>
                <a:gd name="T21" fmla="*/ 747 h 1047"/>
                <a:gd name="T22" fmla="*/ 139 w 1923"/>
                <a:gd name="T23" fmla="*/ 747 h 1047"/>
                <a:gd name="T24" fmla="*/ 1339 w 1923"/>
                <a:gd name="T25" fmla="*/ 992 h 1047"/>
                <a:gd name="T26" fmla="*/ 1365 w 1923"/>
                <a:gd name="T27" fmla="*/ 992 h 1047"/>
                <a:gd name="T28" fmla="*/ 1361 w 1923"/>
                <a:gd name="T29" fmla="*/ 992 h 1047"/>
                <a:gd name="T30" fmla="*/ 1377 w 1923"/>
                <a:gd name="T31" fmla="*/ 1009 h 1047"/>
                <a:gd name="T32" fmla="*/ 1429 w 1923"/>
                <a:gd name="T33" fmla="*/ 992 h 1047"/>
                <a:gd name="T34" fmla="*/ 1420 w 1923"/>
                <a:gd name="T35" fmla="*/ 1014 h 1047"/>
                <a:gd name="T36" fmla="*/ 1429 w 1923"/>
                <a:gd name="T37" fmla="*/ 1025 h 1047"/>
                <a:gd name="T38" fmla="*/ 1382 w 1923"/>
                <a:gd name="T39" fmla="*/ 1014 h 1047"/>
                <a:gd name="T40" fmla="*/ 1377 w 1923"/>
                <a:gd name="T41" fmla="*/ 1014 h 1047"/>
                <a:gd name="T42" fmla="*/ 1415 w 1923"/>
                <a:gd name="T43" fmla="*/ 1030 h 1047"/>
                <a:gd name="T44" fmla="*/ 1382 w 1923"/>
                <a:gd name="T45" fmla="*/ 1047 h 1047"/>
                <a:gd name="T46" fmla="*/ 1377 w 1923"/>
                <a:gd name="T47" fmla="*/ 1042 h 1047"/>
                <a:gd name="T48" fmla="*/ 1328 w 1923"/>
                <a:gd name="T49" fmla="*/ 1030 h 1047"/>
                <a:gd name="T50" fmla="*/ 1306 w 1923"/>
                <a:gd name="T51" fmla="*/ 1047 h 1047"/>
                <a:gd name="T52" fmla="*/ 1306 w 1923"/>
                <a:gd name="T53" fmla="*/ 985 h 1047"/>
                <a:gd name="T54" fmla="*/ 1328 w 1923"/>
                <a:gd name="T55" fmla="*/ 952 h 1047"/>
                <a:gd name="T56" fmla="*/ 1339 w 1923"/>
                <a:gd name="T57" fmla="*/ 959 h 1047"/>
                <a:gd name="T58" fmla="*/ 1328 w 1923"/>
                <a:gd name="T59" fmla="*/ 992 h 1047"/>
                <a:gd name="T60" fmla="*/ 1339 w 1923"/>
                <a:gd name="T61" fmla="*/ 992 h 1047"/>
                <a:gd name="T62" fmla="*/ 1339 w 1923"/>
                <a:gd name="T63" fmla="*/ 992 h 1047"/>
                <a:gd name="T64" fmla="*/ 1339 w 1923"/>
                <a:gd name="T65" fmla="*/ 976 h 1047"/>
                <a:gd name="T66" fmla="*/ 1349 w 1923"/>
                <a:gd name="T67" fmla="*/ 976 h 1047"/>
                <a:gd name="T68" fmla="*/ 1339 w 1923"/>
                <a:gd name="T69" fmla="*/ 992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3" h="1047">
                  <a:moveTo>
                    <a:pt x="1923" y="12"/>
                  </a:moveTo>
                  <a:lnTo>
                    <a:pt x="1916" y="0"/>
                  </a:lnTo>
                  <a:lnTo>
                    <a:pt x="1923" y="0"/>
                  </a:lnTo>
                  <a:lnTo>
                    <a:pt x="1923" y="12"/>
                  </a:lnTo>
                  <a:lnTo>
                    <a:pt x="1923" y="12"/>
                  </a:lnTo>
                  <a:lnTo>
                    <a:pt x="1923" y="12"/>
                  </a:lnTo>
                  <a:close/>
                  <a:moveTo>
                    <a:pt x="10" y="714"/>
                  </a:moveTo>
                  <a:lnTo>
                    <a:pt x="0" y="714"/>
                  </a:lnTo>
                  <a:lnTo>
                    <a:pt x="10" y="714"/>
                  </a:lnTo>
                  <a:lnTo>
                    <a:pt x="10" y="714"/>
                  </a:lnTo>
                  <a:lnTo>
                    <a:pt x="10" y="714"/>
                  </a:lnTo>
                  <a:lnTo>
                    <a:pt x="10" y="714"/>
                  </a:lnTo>
                  <a:close/>
                  <a:moveTo>
                    <a:pt x="118" y="747"/>
                  </a:moveTo>
                  <a:lnTo>
                    <a:pt x="106" y="737"/>
                  </a:lnTo>
                  <a:lnTo>
                    <a:pt x="118" y="737"/>
                  </a:lnTo>
                  <a:lnTo>
                    <a:pt x="118" y="747"/>
                  </a:lnTo>
                  <a:lnTo>
                    <a:pt x="118" y="747"/>
                  </a:lnTo>
                  <a:lnTo>
                    <a:pt x="118" y="747"/>
                  </a:lnTo>
                  <a:lnTo>
                    <a:pt x="118" y="747"/>
                  </a:lnTo>
                  <a:close/>
                  <a:moveTo>
                    <a:pt x="139" y="747"/>
                  </a:moveTo>
                  <a:lnTo>
                    <a:pt x="139" y="747"/>
                  </a:lnTo>
                  <a:lnTo>
                    <a:pt x="156" y="747"/>
                  </a:lnTo>
                  <a:lnTo>
                    <a:pt x="139" y="747"/>
                  </a:lnTo>
                  <a:lnTo>
                    <a:pt x="139" y="747"/>
                  </a:lnTo>
                  <a:lnTo>
                    <a:pt x="139" y="747"/>
                  </a:lnTo>
                  <a:close/>
                  <a:moveTo>
                    <a:pt x="1339" y="992"/>
                  </a:moveTo>
                  <a:lnTo>
                    <a:pt x="1365" y="976"/>
                  </a:lnTo>
                  <a:lnTo>
                    <a:pt x="1365" y="992"/>
                  </a:lnTo>
                  <a:lnTo>
                    <a:pt x="1344" y="1002"/>
                  </a:lnTo>
                  <a:lnTo>
                    <a:pt x="1361" y="992"/>
                  </a:lnTo>
                  <a:lnTo>
                    <a:pt x="1361" y="1009"/>
                  </a:lnTo>
                  <a:lnTo>
                    <a:pt x="1377" y="1009"/>
                  </a:lnTo>
                  <a:lnTo>
                    <a:pt x="1415" y="985"/>
                  </a:lnTo>
                  <a:lnTo>
                    <a:pt x="1429" y="992"/>
                  </a:lnTo>
                  <a:lnTo>
                    <a:pt x="1436" y="1002"/>
                  </a:lnTo>
                  <a:lnTo>
                    <a:pt x="1420" y="1014"/>
                  </a:lnTo>
                  <a:lnTo>
                    <a:pt x="1415" y="1014"/>
                  </a:lnTo>
                  <a:lnTo>
                    <a:pt x="1429" y="1025"/>
                  </a:lnTo>
                  <a:lnTo>
                    <a:pt x="1403" y="1014"/>
                  </a:lnTo>
                  <a:lnTo>
                    <a:pt x="1382" y="1014"/>
                  </a:lnTo>
                  <a:lnTo>
                    <a:pt x="1391" y="1025"/>
                  </a:lnTo>
                  <a:lnTo>
                    <a:pt x="1377" y="1014"/>
                  </a:lnTo>
                  <a:lnTo>
                    <a:pt x="1382" y="1030"/>
                  </a:lnTo>
                  <a:lnTo>
                    <a:pt x="1415" y="1030"/>
                  </a:lnTo>
                  <a:lnTo>
                    <a:pt x="1415" y="1047"/>
                  </a:lnTo>
                  <a:lnTo>
                    <a:pt x="1382" y="1047"/>
                  </a:lnTo>
                  <a:lnTo>
                    <a:pt x="1365" y="1025"/>
                  </a:lnTo>
                  <a:lnTo>
                    <a:pt x="1377" y="1042"/>
                  </a:lnTo>
                  <a:lnTo>
                    <a:pt x="1344" y="1030"/>
                  </a:lnTo>
                  <a:lnTo>
                    <a:pt x="1328" y="1030"/>
                  </a:lnTo>
                  <a:lnTo>
                    <a:pt x="1328" y="1047"/>
                  </a:lnTo>
                  <a:lnTo>
                    <a:pt x="1306" y="1047"/>
                  </a:lnTo>
                  <a:lnTo>
                    <a:pt x="1311" y="1014"/>
                  </a:lnTo>
                  <a:lnTo>
                    <a:pt x="1306" y="985"/>
                  </a:lnTo>
                  <a:lnTo>
                    <a:pt x="1323" y="952"/>
                  </a:lnTo>
                  <a:lnTo>
                    <a:pt x="1328" y="952"/>
                  </a:lnTo>
                  <a:lnTo>
                    <a:pt x="1323" y="969"/>
                  </a:lnTo>
                  <a:lnTo>
                    <a:pt x="1339" y="959"/>
                  </a:lnTo>
                  <a:lnTo>
                    <a:pt x="1323" y="992"/>
                  </a:lnTo>
                  <a:lnTo>
                    <a:pt x="1328" y="992"/>
                  </a:lnTo>
                  <a:lnTo>
                    <a:pt x="1328" y="976"/>
                  </a:lnTo>
                  <a:lnTo>
                    <a:pt x="1339" y="992"/>
                  </a:lnTo>
                  <a:lnTo>
                    <a:pt x="1339" y="992"/>
                  </a:lnTo>
                  <a:lnTo>
                    <a:pt x="1339" y="992"/>
                  </a:lnTo>
                  <a:close/>
                  <a:moveTo>
                    <a:pt x="1339" y="992"/>
                  </a:moveTo>
                  <a:lnTo>
                    <a:pt x="1339" y="976"/>
                  </a:lnTo>
                  <a:lnTo>
                    <a:pt x="1349" y="969"/>
                  </a:lnTo>
                  <a:lnTo>
                    <a:pt x="1349" y="976"/>
                  </a:lnTo>
                  <a:lnTo>
                    <a:pt x="1339" y="992"/>
                  </a:lnTo>
                  <a:lnTo>
                    <a:pt x="1339" y="992"/>
                  </a:lnTo>
                  <a:lnTo>
                    <a:pt x="1339" y="992"/>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8" name="Freeform 447">
              <a:extLst>
                <a:ext uri="{FF2B5EF4-FFF2-40B4-BE49-F238E27FC236}">
                  <a16:creationId xmlns:a16="http://schemas.microsoft.com/office/drawing/2014/main" id="{0758FC1D-BA0A-4F3D-A7D4-20E8FA996AA7}"/>
                </a:ext>
              </a:extLst>
            </p:cNvPr>
            <p:cNvSpPr>
              <a:spLocks/>
            </p:cNvSpPr>
            <p:nvPr/>
          </p:nvSpPr>
          <p:spPr bwMode="gray">
            <a:xfrm>
              <a:off x="13356974" y="3785800"/>
              <a:ext cx="72005" cy="18656"/>
            </a:xfrm>
            <a:custGeom>
              <a:avLst/>
              <a:gdLst>
                <a:gd name="T0" fmla="*/ 17 w 220"/>
                <a:gd name="T1" fmla="*/ 17 h 57"/>
                <a:gd name="T2" fmla="*/ 95 w 220"/>
                <a:gd name="T3" fmla="*/ 17 h 57"/>
                <a:gd name="T4" fmla="*/ 104 w 220"/>
                <a:gd name="T5" fmla="*/ 5 h 57"/>
                <a:gd name="T6" fmla="*/ 128 w 220"/>
                <a:gd name="T7" fmla="*/ 0 h 57"/>
                <a:gd name="T8" fmla="*/ 144 w 220"/>
                <a:gd name="T9" fmla="*/ 5 h 57"/>
                <a:gd name="T10" fmla="*/ 149 w 220"/>
                <a:gd name="T11" fmla="*/ 17 h 57"/>
                <a:gd name="T12" fmla="*/ 166 w 220"/>
                <a:gd name="T13" fmla="*/ 17 h 57"/>
                <a:gd name="T14" fmla="*/ 182 w 220"/>
                <a:gd name="T15" fmla="*/ 33 h 57"/>
                <a:gd name="T16" fmla="*/ 204 w 220"/>
                <a:gd name="T17" fmla="*/ 17 h 57"/>
                <a:gd name="T18" fmla="*/ 220 w 220"/>
                <a:gd name="T19" fmla="*/ 33 h 57"/>
                <a:gd name="T20" fmla="*/ 215 w 220"/>
                <a:gd name="T21" fmla="*/ 41 h 57"/>
                <a:gd name="T22" fmla="*/ 182 w 220"/>
                <a:gd name="T23" fmla="*/ 50 h 57"/>
                <a:gd name="T24" fmla="*/ 128 w 220"/>
                <a:gd name="T25" fmla="*/ 17 h 57"/>
                <a:gd name="T26" fmla="*/ 111 w 220"/>
                <a:gd name="T27" fmla="*/ 33 h 57"/>
                <a:gd name="T28" fmla="*/ 74 w 220"/>
                <a:gd name="T29" fmla="*/ 41 h 57"/>
                <a:gd name="T30" fmla="*/ 74 w 220"/>
                <a:gd name="T31" fmla="*/ 50 h 57"/>
                <a:gd name="T32" fmla="*/ 12 w 220"/>
                <a:gd name="T33" fmla="*/ 50 h 57"/>
                <a:gd name="T34" fmla="*/ 12 w 220"/>
                <a:gd name="T35" fmla="*/ 57 h 57"/>
                <a:gd name="T36" fmla="*/ 0 w 220"/>
                <a:gd name="T37" fmla="*/ 33 h 57"/>
                <a:gd name="T38" fmla="*/ 12 w 220"/>
                <a:gd name="T39" fmla="*/ 22 h 57"/>
                <a:gd name="T40" fmla="*/ 17 w 220"/>
                <a:gd name="T41" fmla="*/ 33 h 57"/>
                <a:gd name="T42" fmla="*/ 24 w 220"/>
                <a:gd name="T43" fmla="*/ 41 h 57"/>
                <a:gd name="T44" fmla="*/ 41 w 220"/>
                <a:gd name="T45" fmla="*/ 41 h 57"/>
                <a:gd name="T46" fmla="*/ 50 w 220"/>
                <a:gd name="T47" fmla="*/ 41 h 57"/>
                <a:gd name="T48" fmla="*/ 50 w 220"/>
                <a:gd name="T49" fmla="*/ 41 h 57"/>
                <a:gd name="T50" fmla="*/ 41 w 220"/>
                <a:gd name="T51" fmla="*/ 41 h 57"/>
                <a:gd name="T52" fmla="*/ 50 w 220"/>
                <a:gd name="T53" fmla="*/ 33 h 57"/>
                <a:gd name="T54" fmla="*/ 111 w 220"/>
                <a:gd name="T55" fmla="*/ 22 h 57"/>
                <a:gd name="T56" fmla="*/ 95 w 220"/>
                <a:gd name="T57" fmla="*/ 22 h 57"/>
                <a:gd name="T58" fmla="*/ 50 w 220"/>
                <a:gd name="T59" fmla="*/ 33 h 57"/>
                <a:gd name="T60" fmla="*/ 33 w 220"/>
                <a:gd name="T61" fmla="*/ 41 h 57"/>
                <a:gd name="T62" fmla="*/ 24 w 220"/>
                <a:gd name="T63" fmla="*/ 33 h 57"/>
                <a:gd name="T64" fmla="*/ 17 w 220"/>
                <a:gd name="T65" fmla="*/ 17 h 57"/>
                <a:gd name="T66" fmla="*/ 17 w 220"/>
                <a:gd name="T67" fmla="*/ 17 h 57"/>
                <a:gd name="T68" fmla="*/ 17 w 220"/>
                <a:gd name="T69" fmla="*/ 1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 h="57">
                  <a:moveTo>
                    <a:pt x="17" y="17"/>
                  </a:moveTo>
                  <a:lnTo>
                    <a:pt x="95" y="17"/>
                  </a:lnTo>
                  <a:lnTo>
                    <a:pt x="104" y="5"/>
                  </a:lnTo>
                  <a:lnTo>
                    <a:pt x="128" y="0"/>
                  </a:lnTo>
                  <a:lnTo>
                    <a:pt x="144" y="5"/>
                  </a:lnTo>
                  <a:lnTo>
                    <a:pt x="149" y="17"/>
                  </a:lnTo>
                  <a:lnTo>
                    <a:pt x="166" y="17"/>
                  </a:lnTo>
                  <a:lnTo>
                    <a:pt x="182" y="33"/>
                  </a:lnTo>
                  <a:lnTo>
                    <a:pt x="204" y="17"/>
                  </a:lnTo>
                  <a:lnTo>
                    <a:pt x="220" y="33"/>
                  </a:lnTo>
                  <a:lnTo>
                    <a:pt x="215" y="41"/>
                  </a:lnTo>
                  <a:lnTo>
                    <a:pt x="182" y="50"/>
                  </a:lnTo>
                  <a:lnTo>
                    <a:pt x="128" y="17"/>
                  </a:lnTo>
                  <a:lnTo>
                    <a:pt x="111" y="33"/>
                  </a:lnTo>
                  <a:lnTo>
                    <a:pt x="74" y="41"/>
                  </a:lnTo>
                  <a:lnTo>
                    <a:pt x="74" y="50"/>
                  </a:lnTo>
                  <a:lnTo>
                    <a:pt x="12" y="50"/>
                  </a:lnTo>
                  <a:lnTo>
                    <a:pt x="12" y="57"/>
                  </a:lnTo>
                  <a:lnTo>
                    <a:pt x="0" y="33"/>
                  </a:lnTo>
                  <a:lnTo>
                    <a:pt x="12" y="22"/>
                  </a:lnTo>
                  <a:lnTo>
                    <a:pt x="17" y="33"/>
                  </a:lnTo>
                  <a:lnTo>
                    <a:pt x="24" y="41"/>
                  </a:lnTo>
                  <a:lnTo>
                    <a:pt x="41" y="41"/>
                  </a:lnTo>
                  <a:lnTo>
                    <a:pt x="50" y="41"/>
                  </a:lnTo>
                  <a:lnTo>
                    <a:pt x="50" y="41"/>
                  </a:lnTo>
                  <a:lnTo>
                    <a:pt x="41" y="41"/>
                  </a:lnTo>
                  <a:lnTo>
                    <a:pt x="50" y="33"/>
                  </a:lnTo>
                  <a:lnTo>
                    <a:pt x="111" y="22"/>
                  </a:lnTo>
                  <a:lnTo>
                    <a:pt x="95" y="22"/>
                  </a:lnTo>
                  <a:lnTo>
                    <a:pt x="50" y="33"/>
                  </a:lnTo>
                  <a:lnTo>
                    <a:pt x="33" y="41"/>
                  </a:lnTo>
                  <a:lnTo>
                    <a:pt x="24" y="33"/>
                  </a:lnTo>
                  <a:lnTo>
                    <a:pt x="17" y="17"/>
                  </a:lnTo>
                  <a:lnTo>
                    <a:pt x="17" y="17"/>
                  </a:lnTo>
                  <a:lnTo>
                    <a:pt x="17" y="1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9" name="Freeform 448">
              <a:extLst>
                <a:ext uri="{FF2B5EF4-FFF2-40B4-BE49-F238E27FC236}">
                  <a16:creationId xmlns:a16="http://schemas.microsoft.com/office/drawing/2014/main" id="{5D404886-50E5-42CA-B16F-4AC1A2405139}"/>
                </a:ext>
              </a:extLst>
            </p:cNvPr>
            <p:cNvSpPr>
              <a:spLocks noEditPoints="1"/>
            </p:cNvSpPr>
            <p:nvPr/>
          </p:nvSpPr>
          <p:spPr bwMode="gray">
            <a:xfrm>
              <a:off x="13944798" y="4059747"/>
              <a:ext cx="132228" cy="147611"/>
            </a:xfrm>
            <a:custGeom>
              <a:avLst/>
              <a:gdLst>
                <a:gd name="T0" fmla="*/ 359 w 404"/>
                <a:gd name="T1" fmla="*/ 184 h 451"/>
                <a:gd name="T2" fmla="*/ 380 w 404"/>
                <a:gd name="T3" fmla="*/ 200 h 451"/>
                <a:gd name="T4" fmla="*/ 404 w 404"/>
                <a:gd name="T5" fmla="*/ 212 h 451"/>
                <a:gd name="T6" fmla="*/ 404 w 404"/>
                <a:gd name="T7" fmla="*/ 257 h 451"/>
                <a:gd name="T8" fmla="*/ 387 w 404"/>
                <a:gd name="T9" fmla="*/ 311 h 451"/>
                <a:gd name="T10" fmla="*/ 359 w 404"/>
                <a:gd name="T11" fmla="*/ 344 h 451"/>
                <a:gd name="T12" fmla="*/ 333 w 404"/>
                <a:gd name="T13" fmla="*/ 344 h 451"/>
                <a:gd name="T14" fmla="*/ 290 w 404"/>
                <a:gd name="T15" fmla="*/ 307 h 451"/>
                <a:gd name="T16" fmla="*/ 269 w 404"/>
                <a:gd name="T17" fmla="*/ 307 h 451"/>
                <a:gd name="T18" fmla="*/ 257 w 404"/>
                <a:gd name="T19" fmla="*/ 340 h 451"/>
                <a:gd name="T20" fmla="*/ 224 w 404"/>
                <a:gd name="T21" fmla="*/ 340 h 451"/>
                <a:gd name="T22" fmla="*/ 198 w 404"/>
                <a:gd name="T23" fmla="*/ 340 h 451"/>
                <a:gd name="T24" fmla="*/ 198 w 404"/>
                <a:gd name="T25" fmla="*/ 378 h 451"/>
                <a:gd name="T26" fmla="*/ 215 w 404"/>
                <a:gd name="T27" fmla="*/ 385 h 451"/>
                <a:gd name="T28" fmla="*/ 224 w 404"/>
                <a:gd name="T29" fmla="*/ 406 h 451"/>
                <a:gd name="T30" fmla="*/ 219 w 404"/>
                <a:gd name="T31" fmla="*/ 434 h 451"/>
                <a:gd name="T32" fmla="*/ 198 w 404"/>
                <a:gd name="T33" fmla="*/ 422 h 451"/>
                <a:gd name="T34" fmla="*/ 165 w 404"/>
                <a:gd name="T35" fmla="*/ 451 h 451"/>
                <a:gd name="T36" fmla="*/ 63 w 404"/>
                <a:gd name="T37" fmla="*/ 344 h 451"/>
                <a:gd name="T38" fmla="*/ 96 w 404"/>
                <a:gd name="T39" fmla="*/ 352 h 451"/>
                <a:gd name="T40" fmla="*/ 89 w 404"/>
                <a:gd name="T41" fmla="*/ 352 h 451"/>
                <a:gd name="T42" fmla="*/ 75 w 404"/>
                <a:gd name="T43" fmla="*/ 344 h 451"/>
                <a:gd name="T44" fmla="*/ 42 w 404"/>
                <a:gd name="T45" fmla="*/ 307 h 451"/>
                <a:gd name="T46" fmla="*/ 59 w 404"/>
                <a:gd name="T47" fmla="*/ 311 h 451"/>
                <a:gd name="T48" fmla="*/ 37 w 404"/>
                <a:gd name="T49" fmla="*/ 295 h 451"/>
                <a:gd name="T50" fmla="*/ 21 w 404"/>
                <a:gd name="T51" fmla="*/ 257 h 451"/>
                <a:gd name="T52" fmla="*/ 54 w 404"/>
                <a:gd name="T53" fmla="*/ 290 h 451"/>
                <a:gd name="T54" fmla="*/ 54 w 404"/>
                <a:gd name="T55" fmla="*/ 274 h 451"/>
                <a:gd name="T56" fmla="*/ 42 w 404"/>
                <a:gd name="T57" fmla="*/ 257 h 451"/>
                <a:gd name="T58" fmla="*/ 21 w 404"/>
                <a:gd name="T59" fmla="*/ 257 h 451"/>
                <a:gd name="T60" fmla="*/ 0 w 404"/>
                <a:gd name="T61" fmla="*/ 212 h 451"/>
                <a:gd name="T62" fmla="*/ 42 w 404"/>
                <a:gd name="T63" fmla="*/ 196 h 451"/>
                <a:gd name="T64" fmla="*/ 54 w 404"/>
                <a:gd name="T65" fmla="*/ 155 h 451"/>
                <a:gd name="T66" fmla="*/ 80 w 404"/>
                <a:gd name="T67" fmla="*/ 155 h 451"/>
                <a:gd name="T68" fmla="*/ 42 w 404"/>
                <a:gd name="T69" fmla="*/ 127 h 451"/>
                <a:gd name="T70" fmla="*/ 59 w 404"/>
                <a:gd name="T71" fmla="*/ 118 h 451"/>
                <a:gd name="T72" fmla="*/ 59 w 404"/>
                <a:gd name="T73" fmla="*/ 101 h 451"/>
                <a:gd name="T74" fmla="*/ 75 w 404"/>
                <a:gd name="T75" fmla="*/ 101 h 451"/>
                <a:gd name="T76" fmla="*/ 89 w 404"/>
                <a:gd name="T77" fmla="*/ 101 h 451"/>
                <a:gd name="T78" fmla="*/ 182 w 404"/>
                <a:gd name="T79" fmla="*/ 11 h 451"/>
                <a:gd name="T80" fmla="*/ 252 w 404"/>
                <a:gd name="T81" fmla="*/ 0 h 451"/>
                <a:gd name="T82" fmla="*/ 311 w 404"/>
                <a:gd name="T83" fmla="*/ 0 h 451"/>
                <a:gd name="T84" fmla="*/ 307 w 404"/>
                <a:gd name="T85" fmla="*/ 44 h 451"/>
                <a:gd name="T86" fmla="*/ 311 w 404"/>
                <a:gd name="T87" fmla="*/ 85 h 451"/>
                <a:gd name="T88" fmla="*/ 380 w 404"/>
                <a:gd name="T89" fmla="*/ 68 h 451"/>
                <a:gd name="T90" fmla="*/ 387 w 404"/>
                <a:gd name="T91" fmla="*/ 122 h 451"/>
                <a:gd name="T92" fmla="*/ 366 w 404"/>
                <a:gd name="T93" fmla="*/ 146 h 451"/>
                <a:gd name="T94" fmla="*/ 359 w 404"/>
                <a:gd name="T95" fmla="*/ 179 h 451"/>
                <a:gd name="T96" fmla="*/ 21 w 404"/>
                <a:gd name="T97" fmla="*/ 229 h 451"/>
                <a:gd name="T98" fmla="*/ 21 w 404"/>
                <a:gd name="T99" fmla="*/ 212 h 451"/>
                <a:gd name="T100" fmla="*/ 21 w 404"/>
                <a:gd name="T101" fmla="*/ 229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4" h="451">
                  <a:moveTo>
                    <a:pt x="359" y="179"/>
                  </a:moveTo>
                  <a:lnTo>
                    <a:pt x="359" y="184"/>
                  </a:lnTo>
                  <a:lnTo>
                    <a:pt x="375" y="184"/>
                  </a:lnTo>
                  <a:lnTo>
                    <a:pt x="380" y="200"/>
                  </a:lnTo>
                  <a:lnTo>
                    <a:pt x="396" y="200"/>
                  </a:lnTo>
                  <a:lnTo>
                    <a:pt x="404" y="212"/>
                  </a:lnTo>
                  <a:lnTo>
                    <a:pt x="396" y="240"/>
                  </a:lnTo>
                  <a:lnTo>
                    <a:pt x="404" y="257"/>
                  </a:lnTo>
                  <a:lnTo>
                    <a:pt x="396" y="307"/>
                  </a:lnTo>
                  <a:lnTo>
                    <a:pt x="387" y="311"/>
                  </a:lnTo>
                  <a:lnTo>
                    <a:pt x="375" y="344"/>
                  </a:lnTo>
                  <a:lnTo>
                    <a:pt x="359" y="344"/>
                  </a:lnTo>
                  <a:lnTo>
                    <a:pt x="349" y="323"/>
                  </a:lnTo>
                  <a:lnTo>
                    <a:pt x="333" y="344"/>
                  </a:lnTo>
                  <a:lnTo>
                    <a:pt x="295" y="340"/>
                  </a:lnTo>
                  <a:lnTo>
                    <a:pt x="290" y="307"/>
                  </a:lnTo>
                  <a:lnTo>
                    <a:pt x="274" y="295"/>
                  </a:lnTo>
                  <a:lnTo>
                    <a:pt x="269" y="307"/>
                  </a:lnTo>
                  <a:lnTo>
                    <a:pt x="257" y="307"/>
                  </a:lnTo>
                  <a:lnTo>
                    <a:pt x="257" y="340"/>
                  </a:lnTo>
                  <a:lnTo>
                    <a:pt x="236" y="344"/>
                  </a:lnTo>
                  <a:lnTo>
                    <a:pt x="224" y="340"/>
                  </a:lnTo>
                  <a:lnTo>
                    <a:pt x="215" y="344"/>
                  </a:lnTo>
                  <a:lnTo>
                    <a:pt x="198" y="340"/>
                  </a:lnTo>
                  <a:lnTo>
                    <a:pt x="203" y="352"/>
                  </a:lnTo>
                  <a:lnTo>
                    <a:pt x="198" y="378"/>
                  </a:lnTo>
                  <a:lnTo>
                    <a:pt x="203" y="368"/>
                  </a:lnTo>
                  <a:lnTo>
                    <a:pt x="215" y="385"/>
                  </a:lnTo>
                  <a:lnTo>
                    <a:pt x="203" y="401"/>
                  </a:lnTo>
                  <a:lnTo>
                    <a:pt x="224" y="406"/>
                  </a:lnTo>
                  <a:lnTo>
                    <a:pt x="219" y="422"/>
                  </a:lnTo>
                  <a:lnTo>
                    <a:pt x="219" y="434"/>
                  </a:lnTo>
                  <a:lnTo>
                    <a:pt x="215" y="434"/>
                  </a:lnTo>
                  <a:lnTo>
                    <a:pt x="198" y="422"/>
                  </a:lnTo>
                  <a:lnTo>
                    <a:pt x="172" y="434"/>
                  </a:lnTo>
                  <a:lnTo>
                    <a:pt x="165" y="451"/>
                  </a:lnTo>
                  <a:lnTo>
                    <a:pt x="118" y="394"/>
                  </a:lnTo>
                  <a:lnTo>
                    <a:pt x="63" y="344"/>
                  </a:lnTo>
                  <a:lnTo>
                    <a:pt x="89" y="361"/>
                  </a:lnTo>
                  <a:lnTo>
                    <a:pt x="96" y="352"/>
                  </a:lnTo>
                  <a:lnTo>
                    <a:pt x="96" y="352"/>
                  </a:lnTo>
                  <a:lnTo>
                    <a:pt x="89" y="352"/>
                  </a:lnTo>
                  <a:lnTo>
                    <a:pt x="80" y="344"/>
                  </a:lnTo>
                  <a:lnTo>
                    <a:pt x="75" y="344"/>
                  </a:lnTo>
                  <a:lnTo>
                    <a:pt x="59" y="340"/>
                  </a:lnTo>
                  <a:lnTo>
                    <a:pt x="42" y="307"/>
                  </a:lnTo>
                  <a:lnTo>
                    <a:pt x="54" y="307"/>
                  </a:lnTo>
                  <a:lnTo>
                    <a:pt x="59" y="311"/>
                  </a:lnTo>
                  <a:lnTo>
                    <a:pt x="54" y="307"/>
                  </a:lnTo>
                  <a:lnTo>
                    <a:pt x="37" y="295"/>
                  </a:lnTo>
                  <a:lnTo>
                    <a:pt x="37" y="283"/>
                  </a:lnTo>
                  <a:lnTo>
                    <a:pt x="21" y="257"/>
                  </a:lnTo>
                  <a:lnTo>
                    <a:pt x="37" y="290"/>
                  </a:lnTo>
                  <a:lnTo>
                    <a:pt x="54" y="290"/>
                  </a:lnTo>
                  <a:lnTo>
                    <a:pt x="54" y="283"/>
                  </a:lnTo>
                  <a:lnTo>
                    <a:pt x="54" y="274"/>
                  </a:lnTo>
                  <a:lnTo>
                    <a:pt x="37" y="283"/>
                  </a:lnTo>
                  <a:lnTo>
                    <a:pt x="42" y="257"/>
                  </a:lnTo>
                  <a:lnTo>
                    <a:pt x="37" y="266"/>
                  </a:lnTo>
                  <a:lnTo>
                    <a:pt x="21" y="257"/>
                  </a:lnTo>
                  <a:lnTo>
                    <a:pt x="0" y="212"/>
                  </a:lnTo>
                  <a:lnTo>
                    <a:pt x="0" y="212"/>
                  </a:lnTo>
                  <a:lnTo>
                    <a:pt x="21" y="229"/>
                  </a:lnTo>
                  <a:lnTo>
                    <a:pt x="42" y="196"/>
                  </a:lnTo>
                  <a:lnTo>
                    <a:pt x="42" y="139"/>
                  </a:lnTo>
                  <a:lnTo>
                    <a:pt x="54" y="155"/>
                  </a:lnTo>
                  <a:lnTo>
                    <a:pt x="75" y="163"/>
                  </a:lnTo>
                  <a:lnTo>
                    <a:pt x="80" y="155"/>
                  </a:lnTo>
                  <a:lnTo>
                    <a:pt x="54" y="146"/>
                  </a:lnTo>
                  <a:lnTo>
                    <a:pt x="42" y="127"/>
                  </a:lnTo>
                  <a:lnTo>
                    <a:pt x="42" y="122"/>
                  </a:lnTo>
                  <a:lnTo>
                    <a:pt x="59" y="118"/>
                  </a:lnTo>
                  <a:lnTo>
                    <a:pt x="59" y="127"/>
                  </a:lnTo>
                  <a:lnTo>
                    <a:pt x="59" y="101"/>
                  </a:lnTo>
                  <a:lnTo>
                    <a:pt x="63" y="89"/>
                  </a:lnTo>
                  <a:lnTo>
                    <a:pt x="75" y="101"/>
                  </a:lnTo>
                  <a:lnTo>
                    <a:pt x="80" y="101"/>
                  </a:lnTo>
                  <a:lnTo>
                    <a:pt x="89" y="101"/>
                  </a:lnTo>
                  <a:lnTo>
                    <a:pt x="182" y="101"/>
                  </a:lnTo>
                  <a:lnTo>
                    <a:pt x="182" y="11"/>
                  </a:lnTo>
                  <a:lnTo>
                    <a:pt x="182" y="0"/>
                  </a:lnTo>
                  <a:lnTo>
                    <a:pt x="252" y="0"/>
                  </a:lnTo>
                  <a:lnTo>
                    <a:pt x="278" y="0"/>
                  </a:lnTo>
                  <a:lnTo>
                    <a:pt x="311" y="0"/>
                  </a:lnTo>
                  <a:lnTo>
                    <a:pt x="321" y="11"/>
                  </a:lnTo>
                  <a:lnTo>
                    <a:pt x="307" y="44"/>
                  </a:lnTo>
                  <a:lnTo>
                    <a:pt x="311" y="68"/>
                  </a:lnTo>
                  <a:lnTo>
                    <a:pt x="311" y="85"/>
                  </a:lnTo>
                  <a:lnTo>
                    <a:pt x="349" y="68"/>
                  </a:lnTo>
                  <a:lnTo>
                    <a:pt x="380" y="68"/>
                  </a:lnTo>
                  <a:lnTo>
                    <a:pt x="404" y="101"/>
                  </a:lnTo>
                  <a:lnTo>
                    <a:pt x="387" y="122"/>
                  </a:lnTo>
                  <a:lnTo>
                    <a:pt x="375" y="127"/>
                  </a:lnTo>
                  <a:lnTo>
                    <a:pt x="366" y="146"/>
                  </a:lnTo>
                  <a:lnTo>
                    <a:pt x="359" y="179"/>
                  </a:lnTo>
                  <a:lnTo>
                    <a:pt x="359" y="179"/>
                  </a:lnTo>
                  <a:lnTo>
                    <a:pt x="359" y="179"/>
                  </a:lnTo>
                  <a:close/>
                  <a:moveTo>
                    <a:pt x="21" y="229"/>
                  </a:moveTo>
                  <a:lnTo>
                    <a:pt x="9" y="217"/>
                  </a:lnTo>
                  <a:lnTo>
                    <a:pt x="21" y="212"/>
                  </a:lnTo>
                  <a:lnTo>
                    <a:pt x="21" y="229"/>
                  </a:lnTo>
                  <a:lnTo>
                    <a:pt x="21" y="229"/>
                  </a:lnTo>
                  <a:lnTo>
                    <a:pt x="21" y="22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0" name="Freeform 449">
              <a:extLst>
                <a:ext uri="{FF2B5EF4-FFF2-40B4-BE49-F238E27FC236}">
                  <a16:creationId xmlns:a16="http://schemas.microsoft.com/office/drawing/2014/main" id="{07CF0B00-F22A-4A14-AA94-BD9A3A2EFAA8}"/>
                </a:ext>
              </a:extLst>
            </p:cNvPr>
            <p:cNvSpPr>
              <a:spLocks/>
            </p:cNvSpPr>
            <p:nvPr/>
          </p:nvSpPr>
          <p:spPr bwMode="gray">
            <a:xfrm>
              <a:off x="14663542" y="3015016"/>
              <a:ext cx="151538" cy="74296"/>
            </a:xfrm>
            <a:custGeom>
              <a:avLst/>
              <a:gdLst>
                <a:gd name="T0" fmla="*/ 0 w 463"/>
                <a:gd name="T1" fmla="*/ 26 h 227"/>
                <a:gd name="T2" fmla="*/ 0 w 463"/>
                <a:gd name="T3" fmla="*/ 10 h 227"/>
                <a:gd name="T4" fmla="*/ 17 w 463"/>
                <a:gd name="T5" fmla="*/ 0 h 227"/>
                <a:gd name="T6" fmla="*/ 43 w 463"/>
                <a:gd name="T7" fmla="*/ 10 h 227"/>
                <a:gd name="T8" fmla="*/ 109 w 463"/>
                <a:gd name="T9" fmla="*/ 33 h 227"/>
                <a:gd name="T10" fmla="*/ 199 w 463"/>
                <a:gd name="T11" fmla="*/ 43 h 227"/>
                <a:gd name="T12" fmla="*/ 220 w 463"/>
                <a:gd name="T13" fmla="*/ 66 h 227"/>
                <a:gd name="T14" fmla="*/ 258 w 463"/>
                <a:gd name="T15" fmla="*/ 83 h 227"/>
                <a:gd name="T16" fmla="*/ 258 w 463"/>
                <a:gd name="T17" fmla="*/ 88 h 227"/>
                <a:gd name="T18" fmla="*/ 270 w 463"/>
                <a:gd name="T19" fmla="*/ 88 h 227"/>
                <a:gd name="T20" fmla="*/ 312 w 463"/>
                <a:gd name="T21" fmla="*/ 71 h 227"/>
                <a:gd name="T22" fmla="*/ 329 w 463"/>
                <a:gd name="T23" fmla="*/ 88 h 227"/>
                <a:gd name="T24" fmla="*/ 345 w 463"/>
                <a:gd name="T25" fmla="*/ 71 h 227"/>
                <a:gd name="T26" fmla="*/ 362 w 463"/>
                <a:gd name="T27" fmla="*/ 83 h 227"/>
                <a:gd name="T28" fmla="*/ 367 w 463"/>
                <a:gd name="T29" fmla="*/ 100 h 227"/>
                <a:gd name="T30" fmla="*/ 400 w 463"/>
                <a:gd name="T31" fmla="*/ 100 h 227"/>
                <a:gd name="T32" fmla="*/ 393 w 463"/>
                <a:gd name="T33" fmla="*/ 128 h 227"/>
                <a:gd name="T34" fmla="*/ 447 w 463"/>
                <a:gd name="T35" fmla="*/ 154 h 227"/>
                <a:gd name="T36" fmla="*/ 430 w 463"/>
                <a:gd name="T37" fmla="*/ 170 h 227"/>
                <a:gd name="T38" fmla="*/ 437 w 463"/>
                <a:gd name="T39" fmla="*/ 182 h 227"/>
                <a:gd name="T40" fmla="*/ 463 w 463"/>
                <a:gd name="T41" fmla="*/ 199 h 227"/>
                <a:gd name="T42" fmla="*/ 463 w 463"/>
                <a:gd name="T43" fmla="*/ 215 h 227"/>
                <a:gd name="T44" fmla="*/ 454 w 463"/>
                <a:gd name="T45" fmla="*/ 227 h 227"/>
                <a:gd name="T46" fmla="*/ 430 w 463"/>
                <a:gd name="T47" fmla="*/ 211 h 227"/>
                <a:gd name="T48" fmla="*/ 409 w 463"/>
                <a:gd name="T49" fmla="*/ 211 h 227"/>
                <a:gd name="T50" fmla="*/ 400 w 463"/>
                <a:gd name="T51" fmla="*/ 199 h 227"/>
                <a:gd name="T52" fmla="*/ 367 w 463"/>
                <a:gd name="T53" fmla="*/ 194 h 227"/>
                <a:gd name="T54" fmla="*/ 345 w 463"/>
                <a:gd name="T55" fmla="*/ 199 h 227"/>
                <a:gd name="T56" fmla="*/ 341 w 463"/>
                <a:gd name="T57" fmla="*/ 211 h 227"/>
                <a:gd name="T58" fmla="*/ 237 w 463"/>
                <a:gd name="T59" fmla="*/ 215 h 227"/>
                <a:gd name="T60" fmla="*/ 232 w 463"/>
                <a:gd name="T61" fmla="*/ 215 h 227"/>
                <a:gd name="T62" fmla="*/ 220 w 463"/>
                <a:gd name="T63" fmla="*/ 215 h 227"/>
                <a:gd name="T64" fmla="*/ 194 w 463"/>
                <a:gd name="T65" fmla="*/ 177 h 227"/>
                <a:gd name="T66" fmla="*/ 178 w 463"/>
                <a:gd name="T67" fmla="*/ 177 h 227"/>
                <a:gd name="T68" fmla="*/ 168 w 463"/>
                <a:gd name="T69" fmla="*/ 194 h 227"/>
                <a:gd name="T70" fmla="*/ 140 w 463"/>
                <a:gd name="T71" fmla="*/ 182 h 227"/>
                <a:gd name="T72" fmla="*/ 123 w 463"/>
                <a:gd name="T73" fmla="*/ 194 h 227"/>
                <a:gd name="T74" fmla="*/ 109 w 463"/>
                <a:gd name="T75" fmla="*/ 182 h 227"/>
                <a:gd name="T76" fmla="*/ 123 w 463"/>
                <a:gd name="T77" fmla="*/ 154 h 227"/>
                <a:gd name="T78" fmla="*/ 97 w 463"/>
                <a:gd name="T79" fmla="*/ 83 h 227"/>
                <a:gd name="T80" fmla="*/ 76 w 463"/>
                <a:gd name="T81" fmla="*/ 71 h 227"/>
                <a:gd name="T82" fmla="*/ 71 w 463"/>
                <a:gd name="T83" fmla="*/ 55 h 227"/>
                <a:gd name="T84" fmla="*/ 55 w 463"/>
                <a:gd name="T85" fmla="*/ 50 h 227"/>
                <a:gd name="T86" fmla="*/ 22 w 463"/>
                <a:gd name="T87" fmla="*/ 43 h 227"/>
                <a:gd name="T88" fmla="*/ 17 w 463"/>
                <a:gd name="T89" fmla="*/ 26 h 227"/>
                <a:gd name="T90" fmla="*/ 0 w 463"/>
                <a:gd name="T91" fmla="*/ 26 h 227"/>
                <a:gd name="T92" fmla="*/ 0 w 463"/>
                <a:gd name="T93" fmla="*/ 26 h 227"/>
                <a:gd name="T94" fmla="*/ 0 w 463"/>
                <a:gd name="T95" fmla="*/ 2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3" h="227">
                  <a:moveTo>
                    <a:pt x="0" y="26"/>
                  </a:moveTo>
                  <a:lnTo>
                    <a:pt x="0" y="10"/>
                  </a:lnTo>
                  <a:lnTo>
                    <a:pt x="17" y="0"/>
                  </a:lnTo>
                  <a:lnTo>
                    <a:pt x="43" y="10"/>
                  </a:lnTo>
                  <a:lnTo>
                    <a:pt x="109" y="33"/>
                  </a:lnTo>
                  <a:lnTo>
                    <a:pt x="199" y="43"/>
                  </a:lnTo>
                  <a:lnTo>
                    <a:pt x="220" y="66"/>
                  </a:lnTo>
                  <a:lnTo>
                    <a:pt x="258" y="83"/>
                  </a:lnTo>
                  <a:lnTo>
                    <a:pt x="258" y="88"/>
                  </a:lnTo>
                  <a:lnTo>
                    <a:pt x="270" y="88"/>
                  </a:lnTo>
                  <a:lnTo>
                    <a:pt x="312" y="71"/>
                  </a:lnTo>
                  <a:lnTo>
                    <a:pt x="329" y="88"/>
                  </a:lnTo>
                  <a:lnTo>
                    <a:pt x="345" y="71"/>
                  </a:lnTo>
                  <a:lnTo>
                    <a:pt x="362" y="83"/>
                  </a:lnTo>
                  <a:lnTo>
                    <a:pt x="367" y="100"/>
                  </a:lnTo>
                  <a:lnTo>
                    <a:pt x="400" y="100"/>
                  </a:lnTo>
                  <a:lnTo>
                    <a:pt x="393" y="128"/>
                  </a:lnTo>
                  <a:lnTo>
                    <a:pt x="447" y="154"/>
                  </a:lnTo>
                  <a:lnTo>
                    <a:pt x="430" y="170"/>
                  </a:lnTo>
                  <a:lnTo>
                    <a:pt x="437" y="182"/>
                  </a:lnTo>
                  <a:lnTo>
                    <a:pt x="463" y="199"/>
                  </a:lnTo>
                  <a:lnTo>
                    <a:pt x="463" y="215"/>
                  </a:lnTo>
                  <a:lnTo>
                    <a:pt x="454" y="227"/>
                  </a:lnTo>
                  <a:lnTo>
                    <a:pt x="430" y="211"/>
                  </a:lnTo>
                  <a:lnTo>
                    <a:pt x="409" y="211"/>
                  </a:lnTo>
                  <a:lnTo>
                    <a:pt x="400" y="199"/>
                  </a:lnTo>
                  <a:lnTo>
                    <a:pt x="367" y="194"/>
                  </a:lnTo>
                  <a:lnTo>
                    <a:pt x="345" y="199"/>
                  </a:lnTo>
                  <a:lnTo>
                    <a:pt x="341" y="211"/>
                  </a:lnTo>
                  <a:lnTo>
                    <a:pt x="237" y="215"/>
                  </a:lnTo>
                  <a:lnTo>
                    <a:pt x="232" y="215"/>
                  </a:lnTo>
                  <a:lnTo>
                    <a:pt x="220" y="215"/>
                  </a:lnTo>
                  <a:lnTo>
                    <a:pt x="194" y="177"/>
                  </a:lnTo>
                  <a:lnTo>
                    <a:pt x="178" y="177"/>
                  </a:lnTo>
                  <a:lnTo>
                    <a:pt x="168" y="194"/>
                  </a:lnTo>
                  <a:lnTo>
                    <a:pt x="140" y="182"/>
                  </a:lnTo>
                  <a:lnTo>
                    <a:pt x="123" y="194"/>
                  </a:lnTo>
                  <a:lnTo>
                    <a:pt x="109" y="182"/>
                  </a:lnTo>
                  <a:lnTo>
                    <a:pt x="123" y="154"/>
                  </a:lnTo>
                  <a:lnTo>
                    <a:pt x="97" y="83"/>
                  </a:lnTo>
                  <a:lnTo>
                    <a:pt x="76" y="71"/>
                  </a:lnTo>
                  <a:lnTo>
                    <a:pt x="71" y="55"/>
                  </a:lnTo>
                  <a:lnTo>
                    <a:pt x="55" y="50"/>
                  </a:lnTo>
                  <a:lnTo>
                    <a:pt x="22" y="43"/>
                  </a:lnTo>
                  <a:lnTo>
                    <a:pt x="17" y="26"/>
                  </a:lnTo>
                  <a:lnTo>
                    <a:pt x="0" y="26"/>
                  </a:lnTo>
                  <a:lnTo>
                    <a:pt x="0" y="26"/>
                  </a:lnTo>
                  <a:lnTo>
                    <a:pt x="0" y="26"/>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1" name="Freeform 450">
              <a:extLst>
                <a:ext uri="{FF2B5EF4-FFF2-40B4-BE49-F238E27FC236}">
                  <a16:creationId xmlns:a16="http://schemas.microsoft.com/office/drawing/2014/main" id="{AA485F2F-1A67-44A5-92E2-7BB3203AEFB6}"/>
                </a:ext>
              </a:extLst>
            </p:cNvPr>
            <p:cNvSpPr>
              <a:spLocks/>
            </p:cNvSpPr>
            <p:nvPr/>
          </p:nvSpPr>
          <p:spPr bwMode="gray">
            <a:xfrm>
              <a:off x="13669542" y="3850932"/>
              <a:ext cx="102117" cy="152848"/>
            </a:xfrm>
            <a:custGeom>
              <a:avLst/>
              <a:gdLst>
                <a:gd name="T0" fmla="*/ 16 w 312"/>
                <a:gd name="T1" fmla="*/ 432 h 467"/>
                <a:gd name="T2" fmla="*/ 16 w 312"/>
                <a:gd name="T3" fmla="*/ 432 h 467"/>
                <a:gd name="T4" fmla="*/ 21 w 312"/>
                <a:gd name="T5" fmla="*/ 432 h 467"/>
                <a:gd name="T6" fmla="*/ 38 w 312"/>
                <a:gd name="T7" fmla="*/ 432 h 467"/>
                <a:gd name="T8" fmla="*/ 38 w 312"/>
                <a:gd name="T9" fmla="*/ 406 h 467"/>
                <a:gd name="T10" fmla="*/ 21 w 312"/>
                <a:gd name="T11" fmla="*/ 394 h 467"/>
                <a:gd name="T12" fmla="*/ 0 w 312"/>
                <a:gd name="T13" fmla="*/ 321 h 467"/>
                <a:gd name="T14" fmla="*/ 4 w 312"/>
                <a:gd name="T15" fmla="*/ 316 h 467"/>
                <a:gd name="T16" fmla="*/ 21 w 312"/>
                <a:gd name="T17" fmla="*/ 295 h 467"/>
                <a:gd name="T18" fmla="*/ 38 w 312"/>
                <a:gd name="T19" fmla="*/ 227 h 467"/>
                <a:gd name="T20" fmla="*/ 54 w 312"/>
                <a:gd name="T21" fmla="*/ 210 h 467"/>
                <a:gd name="T22" fmla="*/ 42 w 312"/>
                <a:gd name="T23" fmla="*/ 156 h 467"/>
                <a:gd name="T24" fmla="*/ 38 w 312"/>
                <a:gd name="T25" fmla="*/ 149 h 467"/>
                <a:gd name="T26" fmla="*/ 42 w 312"/>
                <a:gd name="T27" fmla="*/ 116 h 467"/>
                <a:gd name="T28" fmla="*/ 38 w 312"/>
                <a:gd name="T29" fmla="*/ 111 h 467"/>
                <a:gd name="T30" fmla="*/ 38 w 312"/>
                <a:gd name="T31" fmla="*/ 61 h 467"/>
                <a:gd name="T32" fmla="*/ 21 w 312"/>
                <a:gd name="T33" fmla="*/ 26 h 467"/>
                <a:gd name="T34" fmla="*/ 30 w 312"/>
                <a:gd name="T35" fmla="*/ 5 h 467"/>
                <a:gd name="T36" fmla="*/ 160 w 312"/>
                <a:gd name="T37" fmla="*/ 5 h 467"/>
                <a:gd name="T38" fmla="*/ 182 w 312"/>
                <a:gd name="T39" fmla="*/ 5 h 467"/>
                <a:gd name="T40" fmla="*/ 182 w 312"/>
                <a:gd name="T41" fmla="*/ 16 h 467"/>
                <a:gd name="T42" fmla="*/ 205 w 312"/>
                <a:gd name="T43" fmla="*/ 0 h 467"/>
                <a:gd name="T44" fmla="*/ 219 w 312"/>
                <a:gd name="T45" fmla="*/ 0 h 467"/>
                <a:gd name="T46" fmla="*/ 231 w 312"/>
                <a:gd name="T47" fmla="*/ 5 h 467"/>
                <a:gd name="T48" fmla="*/ 219 w 312"/>
                <a:gd name="T49" fmla="*/ 26 h 467"/>
                <a:gd name="T50" fmla="*/ 252 w 312"/>
                <a:gd name="T51" fmla="*/ 54 h 467"/>
                <a:gd name="T52" fmla="*/ 252 w 312"/>
                <a:gd name="T53" fmla="*/ 61 h 467"/>
                <a:gd name="T54" fmla="*/ 257 w 312"/>
                <a:gd name="T55" fmla="*/ 78 h 467"/>
                <a:gd name="T56" fmla="*/ 248 w 312"/>
                <a:gd name="T57" fmla="*/ 116 h 467"/>
                <a:gd name="T58" fmla="*/ 257 w 312"/>
                <a:gd name="T59" fmla="*/ 116 h 467"/>
                <a:gd name="T60" fmla="*/ 269 w 312"/>
                <a:gd name="T61" fmla="*/ 127 h 467"/>
                <a:gd name="T62" fmla="*/ 257 w 312"/>
                <a:gd name="T63" fmla="*/ 149 h 467"/>
                <a:gd name="T64" fmla="*/ 269 w 312"/>
                <a:gd name="T65" fmla="*/ 165 h 467"/>
                <a:gd name="T66" fmla="*/ 252 w 312"/>
                <a:gd name="T67" fmla="*/ 172 h 467"/>
                <a:gd name="T68" fmla="*/ 286 w 312"/>
                <a:gd name="T69" fmla="*/ 205 h 467"/>
                <a:gd name="T70" fmla="*/ 274 w 312"/>
                <a:gd name="T71" fmla="*/ 210 h 467"/>
                <a:gd name="T72" fmla="*/ 269 w 312"/>
                <a:gd name="T73" fmla="*/ 243 h 467"/>
                <a:gd name="T74" fmla="*/ 269 w 312"/>
                <a:gd name="T75" fmla="*/ 260 h 467"/>
                <a:gd name="T76" fmla="*/ 269 w 312"/>
                <a:gd name="T77" fmla="*/ 267 h 467"/>
                <a:gd name="T78" fmla="*/ 274 w 312"/>
                <a:gd name="T79" fmla="*/ 276 h 467"/>
                <a:gd name="T80" fmla="*/ 274 w 312"/>
                <a:gd name="T81" fmla="*/ 300 h 467"/>
                <a:gd name="T82" fmla="*/ 269 w 312"/>
                <a:gd name="T83" fmla="*/ 300 h 467"/>
                <a:gd name="T84" fmla="*/ 286 w 312"/>
                <a:gd name="T85" fmla="*/ 338 h 467"/>
                <a:gd name="T86" fmla="*/ 302 w 312"/>
                <a:gd name="T87" fmla="*/ 349 h 467"/>
                <a:gd name="T88" fmla="*/ 312 w 312"/>
                <a:gd name="T89" fmla="*/ 361 h 467"/>
                <a:gd name="T90" fmla="*/ 302 w 312"/>
                <a:gd name="T91" fmla="*/ 390 h 467"/>
                <a:gd name="T92" fmla="*/ 274 w 312"/>
                <a:gd name="T93" fmla="*/ 390 h 467"/>
                <a:gd name="T94" fmla="*/ 269 w 312"/>
                <a:gd name="T95" fmla="*/ 373 h 467"/>
                <a:gd name="T96" fmla="*/ 248 w 312"/>
                <a:gd name="T97" fmla="*/ 361 h 467"/>
                <a:gd name="T98" fmla="*/ 269 w 312"/>
                <a:gd name="T99" fmla="*/ 373 h 467"/>
                <a:gd name="T100" fmla="*/ 274 w 312"/>
                <a:gd name="T101" fmla="*/ 390 h 467"/>
                <a:gd name="T102" fmla="*/ 248 w 312"/>
                <a:gd name="T103" fmla="*/ 390 h 467"/>
                <a:gd name="T104" fmla="*/ 177 w 312"/>
                <a:gd name="T105" fmla="*/ 427 h 467"/>
                <a:gd name="T106" fmla="*/ 113 w 312"/>
                <a:gd name="T107" fmla="*/ 444 h 467"/>
                <a:gd name="T108" fmla="*/ 85 w 312"/>
                <a:gd name="T109" fmla="*/ 467 h 467"/>
                <a:gd name="T110" fmla="*/ 68 w 312"/>
                <a:gd name="T111" fmla="*/ 451 h 467"/>
                <a:gd name="T112" fmla="*/ 16 w 312"/>
                <a:gd name="T113" fmla="*/ 432 h 467"/>
                <a:gd name="T114" fmla="*/ 16 w 312"/>
                <a:gd name="T115" fmla="*/ 432 h 467"/>
                <a:gd name="T116" fmla="*/ 16 w 312"/>
                <a:gd name="T117" fmla="*/ 432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2" h="467">
                  <a:moveTo>
                    <a:pt x="16" y="432"/>
                  </a:moveTo>
                  <a:lnTo>
                    <a:pt x="16" y="432"/>
                  </a:lnTo>
                  <a:lnTo>
                    <a:pt x="21" y="432"/>
                  </a:lnTo>
                  <a:lnTo>
                    <a:pt x="38" y="432"/>
                  </a:lnTo>
                  <a:lnTo>
                    <a:pt x="38" y="406"/>
                  </a:lnTo>
                  <a:lnTo>
                    <a:pt x="21" y="394"/>
                  </a:lnTo>
                  <a:lnTo>
                    <a:pt x="0" y="321"/>
                  </a:lnTo>
                  <a:lnTo>
                    <a:pt x="4" y="316"/>
                  </a:lnTo>
                  <a:lnTo>
                    <a:pt x="21" y="295"/>
                  </a:lnTo>
                  <a:lnTo>
                    <a:pt x="38" y="227"/>
                  </a:lnTo>
                  <a:lnTo>
                    <a:pt x="54" y="210"/>
                  </a:lnTo>
                  <a:lnTo>
                    <a:pt x="42" y="156"/>
                  </a:lnTo>
                  <a:lnTo>
                    <a:pt x="38" y="149"/>
                  </a:lnTo>
                  <a:lnTo>
                    <a:pt x="42" y="116"/>
                  </a:lnTo>
                  <a:lnTo>
                    <a:pt x="38" y="111"/>
                  </a:lnTo>
                  <a:lnTo>
                    <a:pt x="38" y="61"/>
                  </a:lnTo>
                  <a:lnTo>
                    <a:pt x="21" y="26"/>
                  </a:lnTo>
                  <a:lnTo>
                    <a:pt x="30" y="5"/>
                  </a:lnTo>
                  <a:lnTo>
                    <a:pt x="160" y="5"/>
                  </a:lnTo>
                  <a:lnTo>
                    <a:pt x="182" y="5"/>
                  </a:lnTo>
                  <a:lnTo>
                    <a:pt x="182" y="16"/>
                  </a:lnTo>
                  <a:lnTo>
                    <a:pt x="205" y="0"/>
                  </a:lnTo>
                  <a:lnTo>
                    <a:pt x="219" y="0"/>
                  </a:lnTo>
                  <a:lnTo>
                    <a:pt x="231" y="5"/>
                  </a:lnTo>
                  <a:lnTo>
                    <a:pt x="219" y="26"/>
                  </a:lnTo>
                  <a:lnTo>
                    <a:pt x="252" y="54"/>
                  </a:lnTo>
                  <a:lnTo>
                    <a:pt x="252" y="61"/>
                  </a:lnTo>
                  <a:lnTo>
                    <a:pt x="257" y="78"/>
                  </a:lnTo>
                  <a:lnTo>
                    <a:pt x="248" y="116"/>
                  </a:lnTo>
                  <a:lnTo>
                    <a:pt x="257" y="116"/>
                  </a:lnTo>
                  <a:lnTo>
                    <a:pt x="269" y="127"/>
                  </a:lnTo>
                  <a:lnTo>
                    <a:pt x="257" y="149"/>
                  </a:lnTo>
                  <a:lnTo>
                    <a:pt x="269" y="165"/>
                  </a:lnTo>
                  <a:lnTo>
                    <a:pt x="252" y="172"/>
                  </a:lnTo>
                  <a:lnTo>
                    <a:pt x="286" y="205"/>
                  </a:lnTo>
                  <a:lnTo>
                    <a:pt x="274" y="210"/>
                  </a:lnTo>
                  <a:lnTo>
                    <a:pt x="269" y="243"/>
                  </a:lnTo>
                  <a:lnTo>
                    <a:pt x="269" y="260"/>
                  </a:lnTo>
                  <a:lnTo>
                    <a:pt x="269" y="267"/>
                  </a:lnTo>
                  <a:lnTo>
                    <a:pt x="274" y="276"/>
                  </a:lnTo>
                  <a:lnTo>
                    <a:pt x="274" y="300"/>
                  </a:lnTo>
                  <a:lnTo>
                    <a:pt x="269" y="300"/>
                  </a:lnTo>
                  <a:lnTo>
                    <a:pt x="286" y="338"/>
                  </a:lnTo>
                  <a:lnTo>
                    <a:pt x="302" y="349"/>
                  </a:lnTo>
                  <a:lnTo>
                    <a:pt x="312" y="361"/>
                  </a:lnTo>
                  <a:lnTo>
                    <a:pt x="302" y="390"/>
                  </a:lnTo>
                  <a:lnTo>
                    <a:pt x="274" y="390"/>
                  </a:lnTo>
                  <a:lnTo>
                    <a:pt x="269" y="373"/>
                  </a:lnTo>
                  <a:lnTo>
                    <a:pt x="248" y="361"/>
                  </a:lnTo>
                  <a:lnTo>
                    <a:pt x="269" y="373"/>
                  </a:lnTo>
                  <a:lnTo>
                    <a:pt x="274" y="390"/>
                  </a:lnTo>
                  <a:lnTo>
                    <a:pt x="248" y="390"/>
                  </a:lnTo>
                  <a:lnTo>
                    <a:pt x="177" y="427"/>
                  </a:lnTo>
                  <a:lnTo>
                    <a:pt x="113" y="444"/>
                  </a:lnTo>
                  <a:lnTo>
                    <a:pt x="85" y="467"/>
                  </a:lnTo>
                  <a:lnTo>
                    <a:pt x="68" y="451"/>
                  </a:lnTo>
                  <a:lnTo>
                    <a:pt x="16" y="432"/>
                  </a:lnTo>
                  <a:lnTo>
                    <a:pt x="16" y="432"/>
                  </a:lnTo>
                  <a:lnTo>
                    <a:pt x="16" y="432"/>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2" name="Freeform 451">
              <a:extLst>
                <a:ext uri="{FF2B5EF4-FFF2-40B4-BE49-F238E27FC236}">
                  <a16:creationId xmlns:a16="http://schemas.microsoft.com/office/drawing/2014/main" id="{8C13FB27-5322-42E0-B0A9-C81E5923EF8F}"/>
                </a:ext>
              </a:extLst>
            </p:cNvPr>
            <p:cNvSpPr>
              <a:spLocks/>
            </p:cNvSpPr>
            <p:nvPr/>
          </p:nvSpPr>
          <p:spPr bwMode="gray">
            <a:xfrm>
              <a:off x="12325007" y="3823767"/>
              <a:ext cx="5237" cy="5564"/>
            </a:xfrm>
            <a:custGeom>
              <a:avLst/>
              <a:gdLst>
                <a:gd name="T0" fmla="*/ 16 w 16"/>
                <a:gd name="T1" fmla="*/ 0 h 17"/>
                <a:gd name="T2" fmla="*/ 16 w 16"/>
                <a:gd name="T3" fmla="*/ 17 h 17"/>
                <a:gd name="T4" fmla="*/ 0 w 16"/>
                <a:gd name="T5" fmla="*/ 17 h 17"/>
                <a:gd name="T6" fmla="*/ 7 w 16"/>
                <a:gd name="T7" fmla="*/ 0 h 17"/>
                <a:gd name="T8" fmla="*/ 16 w 16"/>
                <a:gd name="T9" fmla="*/ 0 h 17"/>
                <a:gd name="T10" fmla="*/ 16 w 16"/>
                <a:gd name="T11" fmla="*/ 0 h 17"/>
                <a:gd name="T12" fmla="*/ 16 w 16"/>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16" y="0"/>
                  </a:moveTo>
                  <a:lnTo>
                    <a:pt x="16" y="17"/>
                  </a:lnTo>
                  <a:lnTo>
                    <a:pt x="0" y="17"/>
                  </a:lnTo>
                  <a:lnTo>
                    <a:pt x="7" y="0"/>
                  </a:lnTo>
                  <a:lnTo>
                    <a:pt x="16" y="0"/>
                  </a:lnTo>
                  <a:lnTo>
                    <a:pt x="16" y="0"/>
                  </a:lnTo>
                  <a:lnTo>
                    <a:pt x="16" y="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3" name="Freeform 452">
              <a:extLst>
                <a:ext uri="{FF2B5EF4-FFF2-40B4-BE49-F238E27FC236}">
                  <a16:creationId xmlns:a16="http://schemas.microsoft.com/office/drawing/2014/main" id="{49B19AD7-6502-4B0D-8E3C-4DD123917859}"/>
                </a:ext>
              </a:extLst>
            </p:cNvPr>
            <p:cNvSpPr>
              <a:spLocks noEditPoints="1"/>
            </p:cNvSpPr>
            <p:nvPr/>
          </p:nvSpPr>
          <p:spPr bwMode="gray">
            <a:xfrm>
              <a:off x="12068407" y="1433192"/>
              <a:ext cx="1395265" cy="1071569"/>
            </a:xfrm>
            <a:custGeom>
              <a:avLst/>
              <a:gdLst>
                <a:gd name="T0" fmla="*/ 1604 w 4263"/>
                <a:gd name="T1" fmla="*/ 2143 h 3274"/>
                <a:gd name="T2" fmla="*/ 1549 w 4263"/>
                <a:gd name="T3" fmla="*/ 1949 h 3274"/>
                <a:gd name="T4" fmla="*/ 1240 w 4263"/>
                <a:gd name="T5" fmla="*/ 1892 h 3274"/>
                <a:gd name="T6" fmla="*/ 1219 w 4263"/>
                <a:gd name="T7" fmla="*/ 1555 h 3274"/>
                <a:gd name="T8" fmla="*/ 756 w 4263"/>
                <a:gd name="T9" fmla="*/ 1205 h 3274"/>
                <a:gd name="T10" fmla="*/ 236 w 4263"/>
                <a:gd name="T11" fmla="*/ 1099 h 3274"/>
                <a:gd name="T12" fmla="*/ 16 w 4263"/>
                <a:gd name="T13" fmla="*/ 893 h 3274"/>
                <a:gd name="T14" fmla="*/ 718 w 4263"/>
                <a:gd name="T15" fmla="*/ 501 h 3274"/>
                <a:gd name="T16" fmla="*/ 1516 w 4263"/>
                <a:gd name="T17" fmla="*/ 305 h 3274"/>
                <a:gd name="T18" fmla="*/ 2315 w 4263"/>
                <a:gd name="T19" fmla="*/ 189 h 3274"/>
                <a:gd name="T20" fmla="*/ 2482 w 4263"/>
                <a:gd name="T21" fmla="*/ 24 h 3274"/>
                <a:gd name="T22" fmla="*/ 3439 w 4263"/>
                <a:gd name="T23" fmla="*/ 123 h 3274"/>
                <a:gd name="T24" fmla="*/ 3439 w 4263"/>
                <a:gd name="T25" fmla="*/ 506 h 3274"/>
                <a:gd name="T26" fmla="*/ 3633 w 4263"/>
                <a:gd name="T27" fmla="*/ 527 h 3274"/>
                <a:gd name="T28" fmla="*/ 3746 w 4263"/>
                <a:gd name="T29" fmla="*/ 749 h 3274"/>
                <a:gd name="T30" fmla="*/ 3789 w 4263"/>
                <a:gd name="T31" fmla="*/ 1054 h 3274"/>
                <a:gd name="T32" fmla="*/ 3734 w 4263"/>
                <a:gd name="T33" fmla="*/ 1259 h 3274"/>
                <a:gd name="T34" fmla="*/ 3578 w 4263"/>
                <a:gd name="T35" fmla="*/ 1489 h 3274"/>
                <a:gd name="T36" fmla="*/ 3297 w 4263"/>
                <a:gd name="T37" fmla="*/ 1637 h 3274"/>
                <a:gd name="T38" fmla="*/ 3493 w 4263"/>
                <a:gd name="T39" fmla="*/ 1814 h 3274"/>
                <a:gd name="T40" fmla="*/ 3531 w 4263"/>
                <a:gd name="T41" fmla="*/ 1982 h 3274"/>
                <a:gd name="T42" fmla="*/ 3137 w 4263"/>
                <a:gd name="T43" fmla="*/ 2015 h 3274"/>
                <a:gd name="T44" fmla="*/ 3326 w 4263"/>
                <a:gd name="T45" fmla="*/ 2197 h 3274"/>
                <a:gd name="T46" fmla="*/ 2839 w 4263"/>
                <a:gd name="T47" fmla="*/ 2275 h 3274"/>
                <a:gd name="T48" fmla="*/ 2532 w 4263"/>
                <a:gd name="T49" fmla="*/ 2592 h 3274"/>
                <a:gd name="T50" fmla="*/ 2272 w 4263"/>
                <a:gd name="T51" fmla="*/ 2670 h 3274"/>
                <a:gd name="T52" fmla="*/ 2154 w 4263"/>
                <a:gd name="T53" fmla="*/ 2941 h 3274"/>
                <a:gd name="T54" fmla="*/ 2067 w 4263"/>
                <a:gd name="T55" fmla="*/ 3163 h 3274"/>
                <a:gd name="T56" fmla="*/ 1927 w 4263"/>
                <a:gd name="T57" fmla="*/ 3203 h 3274"/>
                <a:gd name="T58" fmla="*/ 1743 w 4263"/>
                <a:gd name="T59" fmla="*/ 3163 h 3274"/>
                <a:gd name="T60" fmla="*/ 1672 w 4263"/>
                <a:gd name="T61" fmla="*/ 3031 h 3274"/>
                <a:gd name="T62" fmla="*/ 1511 w 4263"/>
                <a:gd name="T63" fmla="*/ 2821 h 3274"/>
                <a:gd name="T64" fmla="*/ 1533 w 4263"/>
                <a:gd name="T65" fmla="*/ 2736 h 3274"/>
                <a:gd name="T66" fmla="*/ 1424 w 4263"/>
                <a:gd name="T67" fmla="*/ 2632 h 3274"/>
                <a:gd name="T68" fmla="*/ 1353 w 4263"/>
                <a:gd name="T69" fmla="*/ 2514 h 3274"/>
                <a:gd name="T70" fmla="*/ 1566 w 4263"/>
                <a:gd name="T71" fmla="*/ 2393 h 3274"/>
                <a:gd name="T72" fmla="*/ 1386 w 4263"/>
                <a:gd name="T73" fmla="*/ 2320 h 3274"/>
                <a:gd name="T74" fmla="*/ 2272 w 4263"/>
                <a:gd name="T75" fmla="*/ 67 h 3274"/>
                <a:gd name="T76" fmla="*/ 2298 w 4263"/>
                <a:gd name="T77" fmla="*/ 173 h 3274"/>
                <a:gd name="T78" fmla="*/ 3666 w 4263"/>
                <a:gd name="T79" fmla="*/ 267 h 3274"/>
                <a:gd name="T80" fmla="*/ 3881 w 4263"/>
                <a:gd name="T81" fmla="*/ 749 h 3274"/>
                <a:gd name="T82" fmla="*/ 3649 w 4263"/>
                <a:gd name="T83" fmla="*/ 917 h 3274"/>
                <a:gd name="T84" fmla="*/ 3881 w 4263"/>
                <a:gd name="T85" fmla="*/ 962 h 3274"/>
                <a:gd name="T86" fmla="*/ 3741 w 4263"/>
                <a:gd name="T87" fmla="*/ 1127 h 3274"/>
                <a:gd name="T88" fmla="*/ 215 w 4263"/>
                <a:gd name="T89" fmla="*/ 1184 h 3274"/>
                <a:gd name="T90" fmla="*/ 3864 w 4263"/>
                <a:gd name="T91" fmla="*/ 1337 h 3274"/>
                <a:gd name="T92" fmla="*/ 1133 w 4263"/>
                <a:gd name="T93" fmla="*/ 1460 h 3274"/>
                <a:gd name="T94" fmla="*/ 1164 w 4263"/>
                <a:gd name="T95" fmla="*/ 1600 h 3274"/>
                <a:gd name="T96" fmla="*/ 1202 w 4263"/>
                <a:gd name="T97" fmla="*/ 1633 h 3274"/>
                <a:gd name="T98" fmla="*/ 1240 w 4263"/>
                <a:gd name="T99" fmla="*/ 1687 h 3274"/>
                <a:gd name="T100" fmla="*/ 1209 w 4263"/>
                <a:gd name="T101" fmla="*/ 1703 h 3274"/>
                <a:gd name="T102" fmla="*/ 1226 w 4263"/>
                <a:gd name="T103" fmla="*/ 1838 h 3274"/>
                <a:gd name="T104" fmla="*/ 3342 w 4263"/>
                <a:gd name="T105" fmla="*/ 1933 h 3274"/>
                <a:gd name="T106" fmla="*/ 1353 w 4263"/>
                <a:gd name="T107" fmla="*/ 2143 h 3274"/>
                <a:gd name="T108" fmla="*/ 3486 w 4263"/>
                <a:gd name="T109" fmla="*/ 2126 h 3274"/>
                <a:gd name="T110" fmla="*/ 1457 w 4263"/>
                <a:gd name="T111" fmla="*/ 2308 h 3274"/>
                <a:gd name="T112" fmla="*/ 1370 w 4263"/>
                <a:gd name="T113" fmla="*/ 2476 h 3274"/>
                <a:gd name="T114" fmla="*/ 2504 w 4263"/>
                <a:gd name="T115" fmla="*/ 2599 h 3274"/>
                <a:gd name="T116" fmla="*/ 1408 w 4263"/>
                <a:gd name="T117" fmla="*/ 2641 h 3274"/>
                <a:gd name="T118" fmla="*/ 1511 w 4263"/>
                <a:gd name="T119" fmla="*/ 2764 h 3274"/>
                <a:gd name="T120" fmla="*/ 1566 w 4263"/>
                <a:gd name="T121" fmla="*/ 2903 h 3274"/>
                <a:gd name="T122" fmla="*/ 1776 w 4263"/>
                <a:gd name="T123" fmla="*/ 3163 h 3274"/>
                <a:gd name="T124" fmla="*/ 2071 w 4263"/>
                <a:gd name="T125" fmla="*/ 3258 h 3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63" h="3274">
                  <a:moveTo>
                    <a:pt x="1441" y="2308"/>
                  </a:moveTo>
                  <a:lnTo>
                    <a:pt x="1436" y="2299"/>
                  </a:lnTo>
                  <a:lnTo>
                    <a:pt x="1408" y="2299"/>
                  </a:lnTo>
                  <a:lnTo>
                    <a:pt x="1424" y="2292"/>
                  </a:lnTo>
                  <a:lnTo>
                    <a:pt x="1382" y="2299"/>
                  </a:lnTo>
                  <a:lnTo>
                    <a:pt x="1382" y="2292"/>
                  </a:lnTo>
                  <a:lnTo>
                    <a:pt x="1398" y="2292"/>
                  </a:lnTo>
                  <a:lnTo>
                    <a:pt x="1441" y="2259"/>
                  </a:lnTo>
                  <a:lnTo>
                    <a:pt x="1478" y="2259"/>
                  </a:lnTo>
                  <a:lnTo>
                    <a:pt x="1490" y="2259"/>
                  </a:lnTo>
                  <a:lnTo>
                    <a:pt x="1478" y="2259"/>
                  </a:lnTo>
                  <a:lnTo>
                    <a:pt x="1504" y="2266"/>
                  </a:lnTo>
                  <a:lnTo>
                    <a:pt x="1559" y="2254"/>
                  </a:lnTo>
                  <a:lnTo>
                    <a:pt x="1559" y="2242"/>
                  </a:lnTo>
                  <a:lnTo>
                    <a:pt x="1542" y="2237"/>
                  </a:lnTo>
                  <a:lnTo>
                    <a:pt x="1570" y="2225"/>
                  </a:lnTo>
                  <a:lnTo>
                    <a:pt x="1528" y="2237"/>
                  </a:lnTo>
                  <a:lnTo>
                    <a:pt x="1549" y="2209"/>
                  </a:lnTo>
                  <a:lnTo>
                    <a:pt x="1533" y="2209"/>
                  </a:lnTo>
                  <a:lnTo>
                    <a:pt x="1542" y="2188"/>
                  </a:lnTo>
                  <a:lnTo>
                    <a:pt x="1559" y="2188"/>
                  </a:lnTo>
                  <a:lnTo>
                    <a:pt x="1542" y="2204"/>
                  </a:lnTo>
                  <a:lnTo>
                    <a:pt x="1566" y="2197"/>
                  </a:lnTo>
                  <a:lnTo>
                    <a:pt x="1587" y="2221"/>
                  </a:lnTo>
                  <a:lnTo>
                    <a:pt x="1596" y="2209"/>
                  </a:lnTo>
                  <a:lnTo>
                    <a:pt x="1580" y="2204"/>
                  </a:lnTo>
                  <a:lnTo>
                    <a:pt x="1596" y="2197"/>
                  </a:lnTo>
                  <a:lnTo>
                    <a:pt x="1596" y="2204"/>
                  </a:lnTo>
                  <a:lnTo>
                    <a:pt x="1604" y="2209"/>
                  </a:lnTo>
                  <a:lnTo>
                    <a:pt x="1596" y="2197"/>
                  </a:lnTo>
                  <a:lnTo>
                    <a:pt x="1566" y="2188"/>
                  </a:lnTo>
                  <a:lnTo>
                    <a:pt x="1604" y="2181"/>
                  </a:lnTo>
                  <a:lnTo>
                    <a:pt x="1580" y="2181"/>
                  </a:lnTo>
                  <a:lnTo>
                    <a:pt x="1580" y="2164"/>
                  </a:lnTo>
                  <a:lnTo>
                    <a:pt x="1587" y="2164"/>
                  </a:lnTo>
                  <a:lnTo>
                    <a:pt x="1549" y="2181"/>
                  </a:lnTo>
                  <a:lnTo>
                    <a:pt x="1533" y="2181"/>
                  </a:lnTo>
                  <a:lnTo>
                    <a:pt x="1559" y="2148"/>
                  </a:lnTo>
                  <a:lnTo>
                    <a:pt x="1604" y="2143"/>
                  </a:lnTo>
                  <a:lnTo>
                    <a:pt x="1549" y="2143"/>
                  </a:lnTo>
                  <a:lnTo>
                    <a:pt x="1559" y="2126"/>
                  </a:lnTo>
                  <a:lnTo>
                    <a:pt x="1587" y="2131"/>
                  </a:lnTo>
                  <a:lnTo>
                    <a:pt x="1559" y="2114"/>
                  </a:lnTo>
                  <a:lnTo>
                    <a:pt x="1570" y="2110"/>
                  </a:lnTo>
                  <a:lnTo>
                    <a:pt x="1604" y="2110"/>
                  </a:lnTo>
                  <a:lnTo>
                    <a:pt x="1596" y="2093"/>
                  </a:lnTo>
                  <a:lnTo>
                    <a:pt x="1570" y="2086"/>
                  </a:lnTo>
                  <a:lnTo>
                    <a:pt x="1596" y="2077"/>
                  </a:lnTo>
                  <a:lnTo>
                    <a:pt x="1528" y="2086"/>
                  </a:lnTo>
                  <a:lnTo>
                    <a:pt x="1559" y="2077"/>
                  </a:lnTo>
                  <a:lnTo>
                    <a:pt x="1528" y="2070"/>
                  </a:lnTo>
                  <a:lnTo>
                    <a:pt x="1511" y="2086"/>
                  </a:lnTo>
                  <a:lnTo>
                    <a:pt x="1452" y="2070"/>
                  </a:lnTo>
                  <a:lnTo>
                    <a:pt x="1424" y="2044"/>
                  </a:lnTo>
                  <a:lnTo>
                    <a:pt x="1344" y="2032"/>
                  </a:lnTo>
                  <a:lnTo>
                    <a:pt x="1289" y="1987"/>
                  </a:lnTo>
                  <a:lnTo>
                    <a:pt x="1327" y="1966"/>
                  </a:lnTo>
                  <a:lnTo>
                    <a:pt x="1424" y="1982"/>
                  </a:lnTo>
                  <a:lnTo>
                    <a:pt x="1504" y="2020"/>
                  </a:lnTo>
                  <a:lnTo>
                    <a:pt x="1570" y="2037"/>
                  </a:lnTo>
                  <a:lnTo>
                    <a:pt x="1580" y="2032"/>
                  </a:lnTo>
                  <a:lnTo>
                    <a:pt x="1566" y="2020"/>
                  </a:lnTo>
                  <a:lnTo>
                    <a:pt x="1580" y="2015"/>
                  </a:lnTo>
                  <a:lnTo>
                    <a:pt x="1549" y="2020"/>
                  </a:lnTo>
                  <a:lnTo>
                    <a:pt x="1516" y="2003"/>
                  </a:lnTo>
                  <a:lnTo>
                    <a:pt x="1528" y="1999"/>
                  </a:lnTo>
                  <a:lnTo>
                    <a:pt x="1549" y="2015"/>
                  </a:lnTo>
                  <a:lnTo>
                    <a:pt x="1566" y="2003"/>
                  </a:lnTo>
                  <a:lnTo>
                    <a:pt x="1542" y="1999"/>
                  </a:lnTo>
                  <a:lnTo>
                    <a:pt x="1570" y="1999"/>
                  </a:lnTo>
                  <a:lnTo>
                    <a:pt x="1511" y="1982"/>
                  </a:lnTo>
                  <a:lnTo>
                    <a:pt x="1528" y="1975"/>
                  </a:lnTo>
                  <a:lnTo>
                    <a:pt x="1570" y="1982"/>
                  </a:lnTo>
                  <a:lnTo>
                    <a:pt x="1549" y="1975"/>
                  </a:lnTo>
                  <a:lnTo>
                    <a:pt x="1559" y="1966"/>
                  </a:lnTo>
                  <a:lnTo>
                    <a:pt x="1533" y="1966"/>
                  </a:lnTo>
                  <a:lnTo>
                    <a:pt x="1478" y="1942"/>
                  </a:lnTo>
                  <a:lnTo>
                    <a:pt x="1549" y="1949"/>
                  </a:lnTo>
                  <a:lnTo>
                    <a:pt x="1511" y="1942"/>
                  </a:lnTo>
                  <a:lnTo>
                    <a:pt x="1528" y="1926"/>
                  </a:lnTo>
                  <a:lnTo>
                    <a:pt x="1457" y="1933"/>
                  </a:lnTo>
                  <a:lnTo>
                    <a:pt x="1511" y="1909"/>
                  </a:lnTo>
                  <a:lnTo>
                    <a:pt x="1504" y="1904"/>
                  </a:lnTo>
                  <a:lnTo>
                    <a:pt x="1436" y="1926"/>
                  </a:lnTo>
                  <a:lnTo>
                    <a:pt x="1457" y="1909"/>
                  </a:lnTo>
                  <a:lnTo>
                    <a:pt x="1457" y="1904"/>
                  </a:lnTo>
                  <a:lnTo>
                    <a:pt x="1516" y="1888"/>
                  </a:lnTo>
                  <a:lnTo>
                    <a:pt x="1495" y="1876"/>
                  </a:lnTo>
                  <a:lnTo>
                    <a:pt x="1441" y="1892"/>
                  </a:lnTo>
                  <a:lnTo>
                    <a:pt x="1403" y="1892"/>
                  </a:lnTo>
                  <a:lnTo>
                    <a:pt x="1441" y="1871"/>
                  </a:lnTo>
                  <a:lnTo>
                    <a:pt x="1490" y="1871"/>
                  </a:lnTo>
                  <a:lnTo>
                    <a:pt x="1504" y="1855"/>
                  </a:lnTo>
                  <a:lnTo>
                    <a:pt x="1462" y="1864"/>
                  </a:lnTo>
                  <a:lnTo>
                    <a:pt x="1386" y="1855"/>
                  </a:lnTo>
                  <a:lnTo>
                    <a:pt x="1424" y="1814"/>
                  </a:lnTo>
                  <a:lnTo>
                    <a:pt x="1408" y="1822"/>
                  </a:lnTo>
                  <a:lnTo>
                    <a:pt x="1403" y="1831"/>
                  </a:lnTo>
                  <a:lnTo>
                    <a:pt x="1382" y="1838"/>
                  </a:lnTo>
                  <a:lnTo>
                    <a:pt x="1382" y="1810"/>
                  </a:lnTo>
                  <a:lnTo>
                    <a:pt x="1353" y="1798"/>
                  </a:lnTo>
                  <a:lnTo>
                    <a:pt x="1344" y="1765"/>
                  </a:lnTo>
                  <a:lnTo>
                    <a:pt x="1365" y="1765"/>
                  </a:lnTo>
                  <a:lnTo>
                    <a:pt x="1332" y="1765"/>
                  </a:lnTo>
                  <a:lnTo>
                    <a:pt x="1382" y="1831"/>
                  </a:lnTo>
                  <a:lnTo>
                    <a:pt x="1353" y="1848"/>
                  </a:lnTo>
                  <a:lnTo>
                    <a:pt x="1344" y="1848"/>
                  </a:lnTo>
                  <a:lnTo>
                    <a:pt x="1348" y="1855"/>
                  </a:lnTo>
                  <a:lnTo>
                    <a:pt x="1348" y="1864"/>
                  </a:lnTo>
                  <a:lnTo>
                    <a:pt x="1327" y="1855"/>
                  </a:lnTo>
                  <a:lnTo>
                    <a:pt x="1327" y="1864"/>
                  </a:lnTo>
                  <a:lnTo>
                    <a:pt x="1344" y="1871"/>
                  </a:lnTo>
                  <a:lnTo>
                    <a:pt x="1344" y="1888"/>
                  </a:lnTo>
                  <a:lnTo>
                    <a:pt x="1278" y="1904"/>
                  </a:lnTo>
                  <a:lnTo>
                    <a:pt x="1247" y="1876"/>
                  </a:lnTo>
                  <a:lnTo>
                    <a:pt x="1256" y="1892"/>
                  </a:lnTo>
                  <a:lnTo>
                    <a:pt x="1240" y="1892"/>
                  </a:lnTo>
                  <a:lnTo>
                    <a:pt x="1219" y="1864"/>
                  </a:lnTo>
                  <a:lnTo>
                    <a:pt x="1226" y="1864"/>
                  </a:lnTo>
                  <a:lnTo>
                    <a:pt x="1202" y="1855"/>
                  </a:lnTo>
                  <a:lnTo>
                    <a:pt x="1240" y="1831"/>
                  </a:lnTo>
                  <a:lnTo>
                    <a:pt x="1278" y="1822"/>
                  </a:lnTo>
                  <a:lnTo>
                    <a:pt x="1294" y="1810"/>
                  </a:lnTo>
                  <a:lnTo>
                    <a:pt x="1311" y="1781"/>
                  </a:lnTo>
                  <a:lnTo>
                    <a:pt x="1273" y="1822"/>
                  </a:lnTo>
                  <a:lnTo>
                    <a:pt x="1240" y="1822"/>
                  </a:lnTo>
                  <a:lnTo>
                    <a:pt x="1226" y="1814"/>
                  </a:lnTo>
                  <a:lnTo>
                    <a:pt x="1273" y="1781"/>
                  </a:lnTo>
                  <a:lnTo>
                    <a:pt x="1263" y="1765"/>
                  </a:lnTo>
                  <a:lnTo>
                    <a:pt x="1289" y="1765"/>
                  </a:lnTo>
                  <a:lnTo>
                    <a:pt x="1263" y="1760"/>
                  </a:lnTo>
                  <a:lnTo>
                    <a:pt x="1273" y="1760"/>
                  </a:lnTo>
                  <a:lnTo>
                    <a:pt x="1247" y="1765"/>
                  </a:lnTo>
                  <a:lnTo>
                    <a:pt x="1219" y="1748"/>
                  </a:lnTo>
                  <a:lnTo>
                    <a:pt x="1235" y="1744"/>
                  </a:lnTo>
                  <a:lnTo>
                    <a:pt x="1311" y="1748"/>
                  </a:lnTo>
                  <a:lnTo>
                    <a:pt x="1263" y="1744"/>
                  </a:lnTo>
                  <a:lnTo>
                    <a:pt x="1273" y="1727"/>
                  </a:lnTo>
                  <a:lnTo>
                    <a:pt x="1289" y="1727"/>
                  </a:lnTo>
                  <a:lnTo>
                    <a:pt x="1273" y="1727"/>
                  </a:lnTo>
                  <a:lnTo>
                    <a:pt x="1289" y="1711"/>
                  </a:lnTo>
                  <a:lnTo>
                    <a:pt x="1273" y="1711"/>
                  </a:lnTo>
                  <a:lnTo>
                    <a:pt x="1294" y="1703"/>
                  </a:lnTo>
                  <a:lnTo>
                    <a:pt x="1273" y="1670"/>
                  </a:lnTo>
                  <a:lnTo>
                    <a:pt x="1219" y="1666"/>
                  </a:lnTo>
                  <a:lnTo>
                    <a:pt x="1256" y="1649"/>
                  </a:lnTo>
                  <a:lnTo>
                    <a:pt x="1235" y="1637"/>
                  </a:lnTo>
                  <a:lnTo>
                    <a:pt x="1247" y="1626"/>
                  </a:lnTo>
                  <a:lnTo>
                    <a:pt x="1256" y="1626"/>
                  </a:lnTo>
                  <a:lnTo>
                    <a:pt x="1188" y="1583"/>
                  </a:lnTo>
                  <a:lnTo>
                    <a:pt x="1202" y="1583"/>
                  </a:lnTo>
                  <a:lnTo>
                    <a:pt x="1193" y="1583"/>
                  </a:lnTo>
                  <a:lnTo>
                    <a:pt x="1193" y="1571"/>
                  </a:lnTo>
                  <a:lnTo>
                    <a:pt x="1219" y="1576"/>
                  </a:lnTo>
                  <a:lnTo>
                    <a:pt x="1193" y="1559"/>
                  </a:lnTo>
                  <a:lnTo>
                    <a:pt x="1219" y="1555"/>
                  </a:lnTo>
                  <a:lnTo>
                    <a:pt x="1188" y="1538"/>
                  </a:lnTo>
                  <a:lnTo>
                    <a:pt x="1193" y="1538"/>
                  </a:lnTo>
                  <a:lnTo>
                    <a:pt x="1164" y="1526"/>
                  </a:lnTo>
                  <a:lnTo>
                    <a:pt x="1188" y="1498"/>
                  </a:lnTo>
                  <a:lnTo>
                    <a:pt x="1100" y="1522"/>
                  </a:lnTo>
                  <a:lnTo>
                    <a:pt x="1171" y="1498"/>
                  </a:lnTo>
                  <a:lnTo>
                    <a:pt x="1138" y="1489"/>
                  </a:lnTo>
                  <a:lnTo>
                    <a:pt x="1188" y="1481"/>
                  </a:lnTo>
                  <a:lnTo>
                    <a:pt x="1138" y="1472"/>
                  </a:lnTo>
                  <a:lnTo>
                    <a:pt x="1181" y="1472"/>
                  </a:lnTo>
                  <a:lnTo>
                    <a:pt x="1181" y="1460"/>
                  </a:lnTo>
                  <a:lnTo>
                    <a:pt x="1155" y="1460"/>
                  </a:lnTo>
                  <a:lnTo>
                    <a:pt x="1133" y="1444"/>
                  </a:lnTo>
                  <a:lnTo>
                    <a:pt x="1126" y="1444"/>
                  </a:lnTo>
                  <a:lnTo>
                    <a:pt x="1112" y="1427"/>
                  </a:lnTo>
                  <a:lnTo>
                    <a:pt x="1133" y="1427"/>
                  </a:lnTo>
                  <a:lnTo>
                    <a:pt x="1126" y="1411"/>
                  </a:lnTo>
                  <a:lnTo>
                    <a:pt x="1041" y="1387"/>
                  </a:lnTo>
                  <a:lnTo>
                    <a:pt x="1058" y="1370"/>
                  </a:lnTo>
                  <a:lnTo>
                    <a:pt x="1030" y="1354"/>
                  </a:lnTo>
                  <a:lnTo>
                    <a:pt x="1030" y="1337"/>
                  </a:lnTo>
                  <a:lnTo>
                    <a:pt x="1004" y="1349"/>
                  </a:lnTo>
                  <a:lnTo>
                    <a:pt x="1041" y="1333"/>
                  </a:lnTo>
                  <a:lnTo>
                    <a:pt x="1041" y="1321"/>
                  </a:lnTo>
                  <a:lnTo>
                    <a:pt x="1025" y="1316"/>
                  </a:lnTo>
                  <a:lnTo>
                    <a:pt x="1030" y="1300"/>
                  </a:lnTo>
                  <a:lnTo>
                    <a:pt x="1008" y="1300"/>
                  </a:lnTo>
                  <a:lnTo>
                    <a:pt x="1025" y="1295"/>
                  </a:lnTo>
                  <a:lnTo>
                    <a:pt x="975" y="1295"/>
                  </a:lnTo>
                  <a:lnTo>
                    <a:pt x="971" y="1283"/>
                  </a:lnTo>
                  <a:lnTo>
                    <a:pt x="971" y="1276"/>
                  </a:lnTo>
                  <a:lnTo>
                    <a:pt x="971" y="1266"/>
                  </a:lnTo>
                  <a:lnTo>
                    <a:pt x="933" y="1283"/>
                  </a:lnTo>
                  <a:lnTo>
                    <a:pt x="937" y="1259"/>
                  </a:lnTo>
                  <a:lnTo>
                    <a:pt x="878" y="1238"/>
                  </a:lnTo>
                  <a:lnTo>
                    <a:pt x="862" y="1250"/>
                  </a:lnTo>
                  <a:lnTo>
                    <a:pt x="857" y="1226"/>
                  </a:lnTo>
                  <a:lnTo>
                    <a:pt x="760" y="1222"/>
                  </a:lnTo>
                  <a:lnTo>
                    <a:pt x="756" y="1205"/>
                  </a:lnTo>
                  <a:lnTo>
                    <a:pt x="722" y="1210"/>
                  </a:lnTo>
                  <a:lnTo>
                    <a:pt x="718" y="1222"/>
                  </a:lnTo>
                  <a:lnTo>
                    <a:pt x="706" y="1205"/>
                  </a:lnTo>
                  <a:lnTo>
                    <a:pt x="680" y="1193"/>
                  </a:lnTo>
                  <a:lnTo>
                    <a:pt x="652" y="1222"/>
                  </a:lnTo>
                  <a:lnTo>
                    <a:pt x="630" y="1226"/>
                  </a:lnTo>
                  <a:lnTo>
                    <a:pt x="614" y="1222"/>
                  </a:lnTo>
                  <a:lnTo>
                    <a:pt x="626" y="1205"/>
                  </a:lnTo>
                  <a:lnTo>
                    <a:pt x="597" y="1193"/>
                  </a:lnTo>
                  <a:lnTo>
                    <a:pt x="609" y="1205"/>
                  </a:lnTo>
                  <a:lnTo>
                    <a:pt x="597" y="1222"/>
                  </a:lnTo>
                  <a:lnTo>
                    <a:pt x="588" y="1210"/>
                  </a:lnTo>
                  <a:lnTo>
                    <a:pt x="588" y="1226"/>
                  </a:lnTo>
                  <a:lnTo>
                    <a:pt x="593" y="1226"/>
                  </a:lnTo>
                  <a:lnTo>
                    <a:pt x="538" y="1226"/>
                  </a:lnTo>
                  <a:lnTo>
                    <a:pt x="538" y="1238"/>
                  </a:lnTo>
                  <a:lnTo>
                    <a:pt x="534" y="1243"/>
                  </a:lnTo>
                  <a:lnTo>
                    <a:pt x="500" y="1238"/>
                  </a:lnTo>
                  <a:lnTo>
                    <a:pt x="517" y="1222"/>
                  </a:lnTo>
                  <a:lnTo>
                    <a:pt x="508" y="1222"/>
                  </a:lnTo>
                  <a:lnTo>
                    <a:pt x="522" y="1210"/>
                  </a:lnTo>
                  <a:lnTo>
                    <a:pt x="508" y="1210"/>
                  </a:lnTo>
                  <a:lnTo>
                    <a:pt x="479" y="1205"/>
                  </a:lnTo>
                  <a:lnTo>
                    <a:pt x="463" y="1238"/>
                  </a:lnTo>
                  <a:lnTo>
                    <a:pt x="425" y="1210"/>
                  </a:lnTo>
                  <a:lnTo>
                    <a:pt x="399" y="1226"/>
                  </a:lnTo>
                  <a:lnTo>
                    <a:pt x="463" y="1259"/>
                  </a:lnTo>
                  <a:lnTo>
                    <a:pt x="311" y="1238"/>
                  </a:lnTo>
                  <a:lnTo>
                    <a:pt x="323" y="1226"/>
                  </a:lnTo>
                  <a:lnTo>
                    <a:pt x="290" y="1226"/>
                  </a:lnTo>
                  <a:lnTo>
                    <a:pt x="302" y="1222"/>
                  </a:lnTo>
                  <a:lnTo>
                    <a:pt x="236" y="1193"/>
                  </a:lnTo>
                  <a:lnTo>
                    <a:pt x="302" y="1165"/>
                  </a:lnTo>
                  <a:lnTo>
                    <a:pt x="356" y="1165"/>
                  </a:lnTo>
                  <a:lnTo>
                    <a:pt x="356" y="1148"/>
                  </a:lnTo>
                  <a:lnTo>
                    <a:pt x="269" y="1148"/>
                  </a:lnTo>
                  <a:lnTo>
                    <a:pt x="205" y="1132"/>
                  </a:lnTo>
                  <a:lnTo>
                    <a:pt x="248" y="1099"/>
                  </a:lnTo>
                  <a:lnTo>
                    <a:pt x="236" y="1099"/>
                  </a:lnTo>
                  <a:lnTo>
                    <a:pt x="177" y="1132"/>
                  </a:lnTo>
                  <a:lnTo>
                    <a:pt x="144" y="1115"/>
                  </a:lnTo>
                  <a:lnTo>
                    <a:pt x="160" y="1111"/>
                  </a:lnTo>
                  <a:lnTo>
                    <a:pt x="130" y="1111"/>
                  </a:lnTo>
                  <a:lnTo>
                    <a:pt x="113" y="1094"/>
                  </a:lnTo>
                  <a:lnTo>
                    <a:pt x="151" y="1077"/>
                  </a:lnTo>
                  <a:lnTo>
                    <a:pt x="144" y="1073"/>
                  </a:lnTo>
                  <a:lnTo>
                    <a:pt x="198" y="1061"/>
                  </a:lnTo>
                  <a:lnTo>
                    <a:pt x="463" y="1077"/>
                  </a:lnTo>
                  <a:lnTo>
                    <a:pt x="479" y="1073"/>
                  </a:lnTo>
                  <a:lnTo>
                    <a:pt x="432" y="1077"/>
                  </a:lnTo>
                  <a:lnTo>
                    <a:pt x="274" y="1061"/>
                  </a:lnTo>
                  <a:lnTo>
                    <a:pt x="378" y="1037"/>
                  </a:lnTo>
                  <a:lnTo>
                    <a:pt x="479" y="1061"/>
                  </a:lnTo>
                  <a:lnTo>
                    <a:pt x="446" y="1037"/>
                  </a:lnTo>
                  <a:lnTo>
                    <a:pt x="484" y="1021"/>
                  </a:lnTo>
                  <a:lnTo>
                    <a:pt x="470" y="1004"/>
                  </a:lnTo>
                  <a:lnTo>
                    <a:pt x="437" y="1000"/>
                  </a:lnTo>
                  <a:lnTo>
                    <a:pt x="415" y="1000"/>
                  </a:lnTo>
                  <a:lnTo>
                    <a:pt x="382" y="1021"/>
                  </a:lnTo>
                  <a:lnTo>
                    <a:pt x="328" y="1021"/>
                  </a:lnTo>
                  <a:lnTo>
                    <a:pt x="302" y="1000"/>
                  </a:lnTo>
                  <a:lnTo>
                    <a:pt x="290" y="1000"/>
                  </a:lnTo>
                  <a:lnTo>
                    <a:pt x="307" y="1021"/>
                  </a:lnTo>
                  <a:lnTo>
                    <a:pt x="257" y="1028"/>
                  </a:lnTo>
                  <a:lnTo>
                    <a:pt x="193" y="1016"/>
                  </a:lnTo>
                  <a:lnTo>
                    <a:pt x="248" y="1000"/>
                  </a:lnTo>
                  <a:lnTo>
                    <a:pt x="248" y="983"/>
                  </a:lnTo>
                  <a:lnTo>
                    <a:pt x="167" y="1000"/>
                  </a:lnTo>
                  <a:lnTo>
                    <a:pt x="215" y="971"/>
                  </a:lnTo>
                  <a:lnTo>
                    <a:pt x="122" y="983"/>
                  </a:lnTo>
                  <a:lnTo>
                    <a:pt x="113" y="983"/>
                  </a:lnTo>
                  <a:lnTo>
                    <a:pt x="130" y="966"/>
                  </a:lnTo>
                  <a:lnTo>
                    <a:pt x="75" y="966"/>
                  </a:lnTo>
                  <a:lnTo>
                    <a:pt x="42" y="945"/>
                  </a:lnTo>
                  <a:lnTo>
                    <a:pt x="54" y="945"/>
                  </a:lnTo>
                  <a:lnTo>
                    <a:pt x="0" y="917"/>
                  </a:lnTo>
                  <a:lnTo>
                    <a:pt x="37" y="905"/>
                  </a:lnTo>
                  <a:lnTo>
                    <a:pt x="16" y="893"/>
                  </a:lnTo>
                  <a:lnTo>
                    <a:pt x="30" y="877"/>
                  </a:lnTo>
                  <a:lnTo>
                    <a:pt x="30" y="872"/>
                  </a:lnTo>
                  <a:lnTo>
                    <a:pt x="30" y="860"/>
                  </a:lnTo>
                  <a:lnTo>
                    <a:pt x="97" y="851"/>
                  </a:lnTo>
                  <a:lnTo>
                    <a:pt x="151" y="851"/>
                  </a:lnTo>
                  <a:lnTo>
                    <a:pt x="160" y="839"/>
                  </a:lnTo>
                  <a:lnTo>
                    <a:pt x="269" y="806"/>
                  </a:lnTo>
                  <a:lnTo>
                    <a:pt x="302" y="815"/>
                  </a:lnTo>
                  <a:lnTo>
                    <a:pt x="269" y="799"/>
                  </a:lnTo>
                  <a:lnTo>
                    <a:pt x="328" y="778"/>
                  </a:lnTo>
                  <a:lnTo>
                    <a:pt x="371" y="782"/>
                  </a:lnTo>
                  <a:lnTo>
                    <a:pt x="382" y="766"/>
                  </a:lnTo>
                  <a:lnTo>
                    <a:pt x="491" y="778"/>
                  </a:lnTo>
                  <a:lnTo>
                    <a:pt x="576" y="704"/>
                  </a:lnTo>
                  <a:lnTo>
                    <a:pt x="555" y="655"/>
                  </a:lnTo>
                  <a:lnTo>
                    <a:pt x="559" y="638"/>
                  </a:lnTo>
                  <a:lnTo>
                    <a:pt x="555" y="629"/>
                  </a:lnTo>
                  <a:lnTo>
                    <a:pt x="647" y="600"/>
                  </a:lnTo>
                  <a:lnTo>
                    <a:pt x="626" y="600"/>
                  </a:lnTo>
                  <a:lnTo>
                    <a:pt x="614" y="584"/>
                  </a:lnTo>
                  <a:lnTo>
                    <a:pt x="609" y="600"/>
                  </a:lnTo>
                  <a:lnTo>
                    <a:pt x="571" y="617"/>
                  </a:lnTo>
                  <a:lnTo>
                    <a:pt x="415" y="617"/>
                  </a:lnTo>
                  <a:lnTo>
                    <a:pt x="408" y="600"/>
                  </a:lnTo>
                  <a:lnTo>
                    <a:pt x="382" y="596"/>
                  </a:lnTo>
                  <a:lnTo>
                    <a:pt x="394" y="572"/>
                  </a:lnTo>
                  <a:lnTo>
                    <a:pt x="437" y="555"/>
                  </a:lnTo>
                  <a:lnTo>
                    <a:pt x="437" y="539"/>
                  </a:lnTo>
                  <a:lnTo>
                    <a:pt x="522" y="518"/>
                  </a:lnTo>
                  <a:lnTo>
                    <a:pt x="517" y="506"/>
                  </a:lnTo>
                  <a:lnTo>
                    <a:pt x="555" y="501"/>
                  </a:lnTo>
                  <a:lnTo>
                    <a:pt x="559" y="489"/>
                  </a:lnTo>
                  <a:lnTo>
                    <a:pt x="559" y="485"/>
                  </a:lnTo>
                  <a:lnTo>
                    <a:pt x="588" y="473"/>
                  </a:lnTo>
                  <a:lnTo>
                    <a:pt x="576" y="461"/>
                  </a:lnTo>
                  <a:lnTo>
                    <a:pt x="652" y="433"/>
                  </a:lnTo>
                  <a:lnTo>
                    <a:pt x="668" y="444"/>
                  </a:lnTo>
                  <a:lnTo>
                    <a:pt x="680" y="466"/>
                  </a:lnTo>
                  <a:lnTo>
                    <a:pt x="718" y="501"/>
                  </a:lnTo>
                  <a:lnTo>
                    <a:pt x="722" y="501"/>
                  </a:lnTo>
                  <a:lnTo>
                    <a:pt x="685" y="466"/>
                  </a:lnTo>
                  <a:lnTo>
                    <a:pt x="680" y="433"/>
                  </a:lnTo>
                  <a:lnTo>
                    <a:pt x="718" y="416"/>
                  </a:lnTo>
                  <a:lnTo>
                    <a:pt x="803" y="449"/>
                  </a:lnTo>
                  <a:lnTo>
                    <a:pt x="841" y="444"/>
                  </a:lnTo>
                  <a:lnTo>
                    <a:pt x="848" y="433"/>
                  </a:lnTo>
                  <a:lnTo>
                    <a:pt x="824" y="395"/>
                  </a:lnTo>
                  <a:lnTo>
                    <a:pt x="862" y="374"/>
                  </a:lnTo>
                  <a:lnTo>
                    <a:pt x="810" y="333"/>
                  </a:lnTo>
                  <a:lnTo>
                    <a:pt x="857" y="305"/>
                  </a:lnTo>
                  <a:lnTo>
                    <a:pt x="911" y="300"/>
                  </a:lnTo>
                  <a:lnTo>
                    <a:pt x="992" y="305"/>
                  </a:lnTo>
                  <a:lnTo>
                    <a:pt x="1008" y="350"/>
                  </a:lnTo>
                  <a:lnTo>
                    <a:pt x="1079" y="355"/>
                  </a:lnTo>
                  <a:lnTo>
                    <a:pt x="1112" y="390"/>
                  </a:lnTo>
                  <a:lnTo>
                    <a:pt x="1155" y="407"/>
                  </a:lnTo>
                  <a:lnTo>
                    <a:pt x="1164" y="407"/>
                  </a:lnTo>
                  <a:lnTo>
                    <a:pt x="1046" y="350"/>
                  </a:lnTo>
                  <a:lnTo>
                    <a:pt x="1020" y="305"/>
                  </a:lnTo>
                  <a:lnTo>
                    <a:pt x="949" y="296"/>
                  </a:lnTo>
                  <a:lnTo>
                    <a:pt x="1155" y="244"/>
                  </a:lnTo>
                  <a:lnTo>
                    <a:pt x="1171" y="263"/>
                  </a:lnTo>
                  <a:lnTo>
                    <a:pt x="1202" y="244"/>
                  </a:lnTo>
                  <a:lnTo>
                    <a:pt x="1247" y="244"/>
                  </a:lnTo>
                  <a:lnTo>
                    <a:pt x="1240" y="251"/>
                  </a:lnTo>
                  <a:lnTo>
                    <a:pt x="1256" y="263"/>
                  </a:lnTo>
                  <a:lnTo>
                    <a:pt x="1247" y="239"/>
                  </a:lnTo>
                  <a:lnTo>
                    <a:pt x="1226" y="239"/>
                  </a:lnTo>
                  <a:lnTo>
                    <a:pt x="1301" y="222"/>
                  </a:lnTo>
                  <a:lnTo>
                    <a:pt x="1365" y="267"/>
                  </a:lnTo>
                  <a:lnTo>
                    <a:pt x="1370" y="305"/>
                  </a:lnTo>
                  <a:lnTo>
                    <a:pt x="1348" y="338"/>
                  </a:lnTo>
                  <a:lnTo>
                    <a:pt x="1348" y="362"/>
                  </a:lnTo>
                  <a:lnTo>
                    <a:pt x="1370" y="374"/>
                  </a:lnTo>
                  <a:lnTo>
                    <a:pt x="1365" y="350"/>
                  </a:lnTo>
                  <a:lnTo>
                    <a:pt x="1408" y="317"/>
                  </a:lnTo>
                  <a:lnTo>
                    <a:pt x="1403" y="284"/>
                  </a:lnTo>
                  <a:lnTo>
                    <a:pt x="1516" y="305"/>
                  </a:lnTo>
                  <a:lnTo>
                    <a:pt x="1618" y="355"/>
                  </a:lnTo>
                  <a:lnTo>
                    <a:pt x="1641" y="350"/>
                  </a:lnTo>
                  <a:lnTo>
                    <a:pt x="1542" y="300"/>
                  </a:lnTo>
                  <a:lnTo>
                    <a:pt x="1625" y="305"/>
                  </a:lnTo>
                  <a:lnTo>
                    <a:pt x="1656" y="300"/>
                  </a:lnTo>
                  <a:lnTo>
                    <a:pt x="1566" y="251"/>
                  </a:lnTo>
                  <a:lnTo>
                    <a:pt x="1533" y="194"/>
                  </a:lnTo>
                  <a:lnTo>
                    <a:pt x="1672" y="206"/>
                  </a:lnTo>
                  <a:lnTo>
                    <a:pt x="1785" y="263"/>
                  </a:lnTo>
                  <a:lnTo>
                    <a:pt x="1873" y="279"/>
                  </a:lnTo>
                  <a:lnTo>
                    <a:pt x="1894" y="284"/>
                  </a:lnTo>
                  <a:lnTo>
                    <a:pt x="1889" y="300"/>
                  </a:lnTo>
                  <a:lnTo>
                    <a:pt x="1991" y="333"/>
                  </a:lnTo>
                  <a:lnTo>
                    <a:pt x="2019" y="317"/>
                  </a:lnTo>
                  <a:lnTo>
                    <a:pt x="1982" y="300"/>
                  </a:lnTo>
                  <a:lnTo>
                    <a:pt x="2003" y="296"/>
                  </a:lnTo>
                  <a:lnTo>
                    <a:pt x="1974" y="296"/>
                  </a:lnTo>
                  <a:lnTo>
                    <a:pt x="1996" y="279"/>
                  </a:lnTo>
                  <a:lnTo>
                    <a:pt x="1982" y="251"/>
                  </a:lnTo>
                  <a:lnTo>
                    <a:pt x="1991" y="239"/>
                  </a:lnTo>
                  <a:lnTo>
                    <a:pt x="2154" y="251"/>
                  </a:lnTo>
                  <a:lnTo>
                    <a:pt x="2050" y="227"/>
                  </a:lnTo>
                  <a:lnTo>
                    <a:pt x="2045" y="222"/>
                  </a:lnTo>
                  <a:lnTo>
                    <a:pt x="2050" y="222"/>
                  </a:lnTo>
                  <a:lnTo>
                    <a:pt x="1911" y="152"/>
                  </a:lnTo>
                  <a:lnTo>
                    <a:pt x="2163" y="152"/>
                  </a:lnTo>
                  <a:lnTo>
                    <a:pt x="2175" y="156"/>
                  </a:lnTo>
                  <a:lnTo>
                    <a:pt x="2163" y="168"/>
                  </a:lnTo>
                  <a:lnTo>
                    <a:pt x="2192" y="173"/>
                  </a:lnTo>
                  <a:lnTo>
                    <a:pt x="2192" y="194"/>
                  </a:lnTo>
                  <a:lnTo>
                    <a:pt x="2196" y="206"/>
                  </a:lnTo>
                  <a:lnTo>
                    <a:pt x="2208" y="194"/>
                  </a:lnTo>
                  <a:lnTo>
                    <a:pt x="2208" y="173"/>
                  </a:lnTo>
                  <a:lnTo>
                    <a:pt x="2180" y="156"/>
                  </a:lnTo>
                  <a:lnTo>
                    <a:pt x="2208" y="156"/>
                  </a:lnTo>
                  <a:lnTo>
                    <a:pt x="2298" y="189"/>
                  </a:lnTo>
                  <a:lnTo>
                    <a:pt x="2322" y="222"/>
                  </a:lnTo>
                  <a:lnTo>
                    <a:pt x="2336" y="222"/>
                  </a:lnTo>
                  <a:lnTo>
                    <a:pt x="2315" y="189"/>
                  </a:lnTo>
                  <a:lnTo>
                    <a:pt x="2326" y="178"/>
                  </a:lnTo>
                  <a:lnTo>
                    <a:pt x="2322" y="173"/>
                  </a:lnTo>
                  <a:lnTo>
                    <a:pt x="2305" y="168"/>
                  </a:lnTo>
                  <a:lnTo>
                    <a:pt x="2159" y="135"/>
                  </a:lnTo>
                  <a:lnTo>
                    <a:pt x="1958" y="123"/>
                  </a:lnTo>
                  <a:lnTo>
                    <a:pt x="1974" y="135"/>
                  </a:lnTo>
                  <a:lnTo>
                    <a:pt x="1894" y="140"/>
                  </a:lnTo>
                  <a:lnTo>
                    <a:pt x="1835" y="116"/>
                  </a:lnTo>
                  <a:lnTo>
                    <a:pt x="1894" y="123"/>
                  </a:lnTo>
                  <a:lnTo>
                    <a:pt x="1840" y="111"/>
                  </a:lnTo>
                  <a:lnTo>
                    <a:pt x="1894" y="95"/>
                  </a:lnTo>
                  <a:lnTo>
                    <a:pt x="1958" y="123"/>
                  </a:lnTo>
                  <a:lnTo>
                    <a:pt x="2083" y="123"/>
                  </a:lnTo>
                  <a:lnTo>
                    <a:pt x="1974" y="111"/>
                  </a:lnTo>
                  <a:lnTo>
                    <a:pt x="1927" y="83"/>
                  </a:lnTo>
                  <a:lnTo>
                    <a:pt x="1937" y="83"/>
                  </a:lnTo>
                  <a:lnTo>
                    <a:pt x="2109" y="95"/>
                  </a:lnTo>
                  <a:lnTo>
                    <a:pt x="2033" y="67"/>
                  </a:lnTo>
                  <a:lnTo>
                    <a:pt x="2109" y="67"/>
                  </a:lnTo>
                  <a:lnTo>
                    <a:pt x="2083" y="67"/>
                  </a:lnTo>
                  <a:lnTo>
                    <a:pt x="2126" y="62"/>
                  </a:lnTo>
                  <a:lnTo>
                    <a:pt x="2196" y="78"/>
                  </a:lnTo>
                  <a:lnTo>
                    <a:pt x="2180" y="95"/>
                  </a:lnTo>
                  <a:lnTo>
                    <a:pt x="2208" y="83"/>
                  </a:lnTo>
                  <a:lnTo>
                    <a:pt x="2272" y="116"/>
                  </a:lnTo>
                  <a:lnTo>
                    <a:pt x="2352" y="116"/>
                  </a:lnTo>
                  <a:lnTo>
                    <a:pt x="2411" y="156"/>
                  </a:lnTo>
                  <a:lnTo>
                    <a:pt x="2423" y="140"/>
                  </a:lnTo>
                  <a:lnTo>
                    <a:pt x="2374" y="116"/>
                  </a:lnTo>
                  <a:lnTo>
                    <a:pt x="2504" y="111"/>
                  </a:lnTo>
                  <a:lnTo>
                    <a:pt x="2397" y="100"/>
                  </a:lnTo>
                  <a:lnTo>
                    <a:pt x="2537" y="83"/>
                  </a:lnTo>
                  <a:lnTo>
                    <a:pt x="2407" y="67"/>
                  </a:lnTo>
                  <a:lnTo>
                    <a:pt x="2397" y="62"/>
                  </a:lnTo>
                  <a:lnTo>
                    <a:pt x="2397" y="29"/>
                  </a:lnTo>
                  <a:lnTo>
                    <a:pt x="2466" y="45"/>
                  </a:lnTo>
                  <a:lnTo>
                    <a:pt x="2478" y="45"/>
                  </a:lnTo>
                  <a:lnTo>
                    <a:pt x="2449" y="29"/>
                  </a:lnTo>
                  <a:lnTo>
                    <a:pt x="2482" y="24"/>
                  </a:lnTo>
                  <a:lnTo>
                    <a:pt x="2570" y="45"/>
                  </a:lnTo>
                  <a:lnTo>
                    <a:pt x="2537" y="24"/>
                  </a:lnTo>
                  <a:lnTo>
                    <a:pt x="2714" y="0"/>
                  </a:lnTo>
                  <a:lnTo>
                    <a:pt x="2747" y="29"/>
                  </a:lnTo>
                  <a:lnTo>
                    <a:pt x="2752" y="24"/>
                  </a:lnTo>
                  <a:lnTo>
                    <a:pt x="2730" y="5"/>
                  </a:lnTo>
                  <a:lnTo>
                    <a:pt x="2990" y="0"/>
                  </a:lnTo>
                  <a:lnTo>
                    <a:pt x="3125" y="24"/>
                  </a:lnTo>
                  <a:lnTo>
                    <a:pt x="3092" y="24"/>
                  </a:lnTo>
                  <a:lnTo>
                    <a:pt x="3115" y="41"/>
                  </a:lnTo>
                  <a:lnTo>
                    <a:pt x="3200" y="24"/>
                  </a:lnTo>
                  <a:lnTo>
                    <a:pt x="3326" y="57"/>
                  </a:lnTo>
                  <a:lnTo>
                    <a:pt x="3233" y="83"/>
                  </a:lnTo>
                  <a:lnTo>
                    <a:pt x="3016" y="78"/>
                  </a:lnTo>
                  <a:lnTo>
                    <a:pt x="2882" y="100"/>
                  </a:lnTo>
                  <a:lnTo>
                    <a:pt x="2775" y="83"/>
                  </a:lnTo>
                  <a:lnTo>
                    <a:pt x="2844" y="100"/>
                  </a:lnTo>
                  <a:lnTo>
                    <a:pt x="2624" y="123"/>
                  </a:lnTo>
                  <a:lnTo>
                    <a:pt x="2645" y="135"/>
                  </a:lnTo>
                  <a:lnTo>
                    <a:pt x="2629" y="152"/>
                  </a:lnTo>
                  <a:lnTo>
                    <a:pt x="2638" y="156"/>
                  </a:lnTo>
                  <a:lnTo>
                    <a:pt x="2645" y="140"/>
                  </a:lnTo>
                  <a:lnTo>
                    <a:pt x="2676" y="123"/>
                  </a:lnTo>
                  <a:lnTo>
                    <a:pt x="2747" y="123"/>
                  </a:lnTo>
                  <a:lnTo>
                    <a:pt x="2752" y="140"/>
                  </a:lnTo>
                  <a:lnTo>
                    <a:pt x="2737" y="152"/>
                  </a:lnTo>
                  <a:lnTo>
                    <a:pt x="2747" y="152"/>
                  </a:lnTo>
                  <a:lnTo>
                    <a:pt x="2768" y="116"/>
                  </a:lnTo>
                  <a:lnTo>
                    <a:pt x="2877" y="111"/>
                  </a:lnTo>
                  <a:lnTo>
                    <a:pt x="2898" y="123"/>
                  </a:lnTo>
                  <a:lnTo>
                    <a:pt x="3016" y="83"/>
                  </a:lnTo>
                  <a:lnTo>
                    <a:pt x="3146" y="100"/>
                  </a:lnTo>
                  <a:lnTo>
                    <a:pt x="3352" y="78"/>
                  </a:lnTo>
                  <a:lnTo>
                    <a:pt x="3380" y="95"/>
                  </a:lnTo>
                  <a:lnTo>
                    <a:pt x="3368" y="95"/>
                  </a:lnTo>
                  <a:lnTo>
                    <a:pt x="3385" y="111"/>
                  </a:lnTo>
                  <a:lnTo>
                    <a:pt x="3352" y="140"/>
                  </a:lnTo>
                  <a:lnTo>
                    <a:pt x="3309" y="152"/>
                  </a:lnTo>
                  <a:lnTo>
                    <a:pt x="3439" y="123"/>
                  </a:lnTo>
                  <a:lnTo>
                    <a:pt x="3448" y="135"/>
                  </a:lnTo>
                  <a:lnTo>
                    <a:pt x="3439" y="135"/>
                  </a:lnTo>
                  <a:lnTo>
                    <a:pt x="3439" y="156"/>
                  </a:lnTo>
                  <a:lnTo>
                    <a:pt x="3477" y="135"/>
                  </a:lnTo>
                  <a:lnTo>
                    <a:pt x="3628" y="178"/>
                  </a:lnTo>
                  <a:lnTo>
                    <a:pt x="3545" y="227"/>
                  </a:lnTo>
                  <a:lnTo>
                    <a:pt x="3363" y="263"/>
                  </a:lnTo>
                  <a:lnTo>
                    <a:pt x="3028" y="267"/>
                  </a:lnTo>
                  <a:lnTo>
                    <a:pt x="2910" y="251"/>
                  </a:lnTo>
                  <a:lnTo>
                    <a:pt x="3023" y="267"/>
                  </a:lnTo>
                  <a:lnTo>
                    <a:pt x="2801" y="322"/>
                  </a:lnTo>
                  <a:lnTo>
                    <a:pt x="2806" y="350"/>
                  </a:lnTo>
                  <a:lnTo>
                    <a:pt x="2898" y="317"/>
                  </a:lnTo>
                  <a:lnTo>
                    <a:pt x="3040" y="300"/>
                  </a:lnTo>
                  <a:lnTo>
                    <a:pt x="3028" y="305"/>
                  </a:lnTo>
                  <a:lnTo>
                    <a:pt x="3044" y="305"/>
                  </a:lnTo>
                  <a:lnTo>
                    <a:pt x="3082" y="296"/>
                  </a:lnTo>
                  <a:lnTo>
                    <a:pt x="3352" y="296"/>
                  </a:lnTo>
                  <a:lnTo>
                    <a:pt x="3347" y="317"/>
                  </a:lnTo>
                  <a:lnTo>
                    <a:pt x="3342" y="333"/>
                  </a:lnTo>
                  <a:lnTo>
                    <a:pt x="3184" y="378"/>
                  </a:lnTo>
                  <a:lnTo>
                    <a:pt x="3217" y="390"/>
                  </a:lnTo>
                  <a:lnTo>
                    <a:pt x="3184" y="395"/>
                  </a:lnTo>
                  <a:lnTo>
                    <a:pt x="3205" y="395"/>
                  </a:lnTo>
                  <a:lnTo>
                    <a:pt x="3368" y="338"/>
                  </a:lnTo>
                  <a:lnTo>
                    <a:pt x="3422" y="338"/>
                  </a:lnTo>
                  <a:lnTo>
                    <a:pt x="3432" y="333"/>
                  </a:lnTo>
                  <a:lnTo>
                    <a:pt x="3432" y="300"/>
                  </a:lnTo>
                  <a:lnTo>
                    <a:pt x="3439" y="284"/>
                  </a:lnTo>
                  <a:lnTo>
                    <a:pt x="3557" y="279"/>
                  </a:lnTo>
                  <a:lnTo>
                    <a:pt x="3578" y="300"/>
                  </a:lnTo>
                  <a:lnTo>
                    <a:pt x="3578" y="333"/>
                  </a:lnTo>
                  <a:lnTo>
                    <a:pt x="3562" y="378"/>
                  </a:lnTo>
                  <a:lnTo>
                    <a:pt x="3541" y="407"/>
                  </a:lnTo>
                  <a:lnTo>
                    <a:pt x="3507" y="411"/>
                  </a:lnTo>
                  <a:lnTo>
                    <a:pt x="3524" y="411"/>
                  </a:lnTo>
                  <a:lnTo>
                    <a:pt x="3448" y="473"/>
                  </a:lnTo>
                  <a:lnTo>
                    <a:pt x="3456" y="489"/>
                  </a:lnTo>
                  <a:lnTo>
                    <a:pt x="3439" y="506"/>
                  </a:lnTo>
                  <a:lnTo>
                    <a:pt x="3406" y="518"/>
                  </a:lnTo>
                  <a:lnTo>
                    <a:pt x="3432" y="518"/>
                  </a:lnTo>
                  <a:lnTo>
                    <a:pt x="3401" y="539"/>
                  </a:lnTo>
                  <a:lnTo>
                    <a:pt x="3465" y="506"/>
                  </a:lnTo>
                  <a:lnTo>
                    <a:pt x="3470" y="489"/>
                  </a:lnTo>
                  <a:lnTo>
                    <a:pt x="3470" y="473"/>
                  </a:lnTo>
                  <a:lnTo>
                    <a:pt x="3524" y="461"/>
                  </a:lnTo>
                  <a:lnTo>
                    <a:pt x="3666" y="362"/>
                  </a:lnTo>
                  <a:lnTo>
                    <a:pt x="3725" y="338"/>
                  </a:lnTo>
                  <a:lnTo>
                    <a:pt x="3704" y="355"/>
                  </a:lnTo>
                  <a:lnTo>
                    <a:pt x="3692" y="378"/>
                  </a:lnTo>
                  <a:lnTo>
                    <a:pt x="3772" y="362"/>
                  </a:lnTo>
                  <a:lnTo>
                    <a:pt x="3796" y="378"/>
                  </a:lnTo>
                  <a:lnTo>
                    <a:pt x="3810" y="374"/>
                  </a:lnTo>
                  <a:lnTo>
                    <a:pt x="3855" y="378"/>
                  </a:lnTo>
                  <a:lnTo>
                    <a:pt x="3855" y="362"/>
                  </a:lnTo>
                  <a:lnTo>
                    <a:pt x="3885" y="355"/>
                  </a:lnTo>
                  <a:lnTo>
                    <a:pt x="3864" y="350"/>
                  </a:lnTo>
                  <a:lnTo>
                    <a:pt x="3871" y="333"/>
                  </a:lnTo>
                  <a:lnTo>
                    <a:pt x="3902" y="338"/>
                  </a:lnTo>
                  <a:lnTo>
                    <a:pt x="3897" y="333"/>
                  </a:lnTo>
                  <a:lnTo>
                    <a:pt x="3897" y="317"/>
                  </a:lnTo>
                  <a:lnTo>
                    <a:pt x="3935" y="317"/>
                  </a:lnTo>
                  <a:lnTo>
                    <a:pt x="3952" y="300"/>
                  </a:lnTo>
                  <a:lnTo>
                    <a:pt x="4086" y="300"/>
                  </a:lnTo>
                  <a:lnTo>
                    <a:pt x="4195" y="322"/>
                  </a:lnTo>
                  <a:lnTo>
                    <a:pt x="4263" y="355"/>
                  </a:lnTo>
                  <a:lnTo>
                    <a:pt x="4136" y="433"/>
                  </a:lnTo>
                  <a:lnTo>
                    <a:pt x="4070" y="433"/>
                  </a:lnTo>
                  <a:lnTo>
                    <a:pt x="4060" y="444"/>
                  </a:lnTo>
                  <a:lnTo>
                    <a:pt x="4098" y="466"/>
                  </a:lnTo>
                  <a:lnTo>
                    <a:pt x="4011" y="489"/>
                  </a:lnTo>
                  <a:lnTo>
                    <a:pt x="3994" y="506"/>
                  </a:lnTo>
                  <a:lnTo>
                    <a:pt x="3864" y="489"/>
                  </a:lnTo>
                  <a:lnTo>
                    <a:pt x="3855" y="506"/>
                  </a:lnTo>
                  <a:lnTo>
                    <a:pt x="3817" y="522"/>
                  </a:lnTo>
                  <a:lnTo>
                    <a:pt x="3708" y="518"/>
                  </a:lnTo>
                  <a:lnTo>
                    <a:pt x="3682" y="527"/>
                  </a:lnTo>
                  <a:lnTo>
                    <a:pt x="3633" y="527"/>
                  </a:lnTo>
                  <a:lnTo>
                    <a:pt x="3666" y="544"/>
                  </a:lnTo>
                  <a:lnTo>
                    <a:pt x="3720" y="522"/>
                  </a:lnTo>
                  <a:lnTo>
                    <a:pt x="3826" y="539"/>
                  </a:lnTo>
                  <a:lnTo>
                    <a:pt x="3897" y="522"/>
                  </a:lnTo>
                  <a:lnTo>
                    <a:pt x="3994" y="544"/>
                  </a:lnTo>
                  <a:lnTo>
                    <a:pt x="3961" y="560"/>
                  </a:lnTo>
                  <a:lnTo>
                    <a:pt x="3952" y="560"/>
                  </a:lnTo>
                  <a:lnTo>
                    <a:pt x="3956" y="572"/>
                  </a:lnTo>
                  <a:lnTo>
                    <a:pt x="3918" y="584"/>
                  </a:lnTo>
                  <a:lnTo>
                    <a:pt x="3741" y="577"/>
                  </a:lnTo>
                  <a:lnTo>
                    <a:pt x="3682" y="612"/>
                  </a:lnTo>
                  <a:lnTo>
                    <a:pt x="3692" y="612"/>
                  </a:lnTo>
                  <a:lnTo>
                    <a:pt x="3682" y="629"/>
                  </a:lnTo>
                  <a:lnTo>
                    <a:pt x="3687" y="629"/>
                  </a:lnTo>
                  <a:lnTo>
                    <a:pt x="3666" y="650"/>
                  </a:lnTo>
                  <a:lnTo>
                    <a:pt x="3687" y="650"/>
                  </a:lnTo>
                  <a:lnTo>
                    <a:pt x="3692" y="666"/>
                  </a:lnTo>
                  <a:lnTo>
                    <a:pt x="3725" y="650"/>
                  </a:lnTo>
                  <a:lnTo>
                    <a:pt x="3704" y="655"/>
                  </a:lnTo>
                  <a:lnTo>
                    <a:pt x="3704" y="650"/>
                  </a:lnTo>
                  <a:lnTo>
                    <a:pt x="3720" y="633"/>
                  </a:lnTo>
                  <a:lnTo>
                    <a:pt x="3772" y="612"/>
                  </a:lnTo>
                  <a:lnTo>
                    <a:pt x="3864" y="600"/>
                  </a:lnTo>
                  <a:lnTo>
                    <a:pt x="3897" y="617"/>
                  </a:lnTo>
                  <a:lnTo>
                    <a:pt x="3843" y="666"/>
                  </a:lnTo>
                  <a:lnTo>
                    <a:pt x="3772" y="655"/>
                  </a:lnTo>
                  <a:lnTo>
                    <a:pt x="3746" y="683"/>
                  </a:lnTo>
                  <a:lnTo>
                    <a:pt x="3746" y="695"/>
                  </a:lnTo>
                  <a:lnTo>
                    <a:pt x="3734" y="711"/>
                  </a:lnTo>
                  <a:lnTo>
                    <a:pt x="3741" y="728"/>
                  </a:lnTo>
                  <a:lnTo>
                    <a:pt x="3725" y="761"/>
                  </a:lnTo>
                  <a:lnTo>
                    <a:pt x="3746" y="740"/>
                  </a:lnTo>
                  <a:lnTo>
                    <a:pt x="3779" y="740"/>
                  </a:lnTo>
                  <a:lnTo>
                    <a:pt x="3772" y="749"/>
                  </a:lnTo>
                  <a:lnTo>
                    <a:pt x="3789" y="761"/>
                  </a:lnTo>
                  <a:lnTo>
                    <a:pt x="3763" y="761"/>
                  </a:lnTo>
                  <a:lnTo>
                    <a:pt x="3772" y="744"/>
                  </a:lnTo>
                  <a:lnTo>
                    <a:pt x="3763" y="744"/>
                  </a:lnTo>
                  <a:lnTo>
                    <a:pt x="3746" y="749"/>
                  </a:lnTo>
                  <a:lnTo>
                    <a:pt x="3746" y="766"/>
                  </a:lnTo>
                  <a:lnTo>
                    <a:pt x="3708" y="778"/>
                  </a:lnTo>
                  <a:lnTo>
                    <a:pt x="3725" y="794"/>
                  </a:lnTo>
                  <a:lnTo>
                    <a:pt x="3720" y="806"/>
                  </a:lnTo>
                  <a:lnTo>
                    <a:pt x="3633" y="815"/>
                  </a:lnTo>
                  <a:lnTo>
                    <a:pt x="3654" y="839"/>
                  </a:lnTo>
                  <a:lnTo>
                    <a:pt x="3616" y="851"/>
                  </a:lnTo>
                  <a:lnTo>
                    <a:pt x="3654" y="851"/>
                  </a:lnTo>
                  <a:lnTo>
                    <a:pt x="3628" y="905"/>
                  </a:lnTo>
                  <a:lnTo>
                    <a:pt x="3628" y="910"/>
                  </a:lnTo>
                  <a:lnTo>
                    <a:pt x="3595" y="926"/>
                  </a:lnTo>
                  <a:lnTo>
                    <a:pt x="3616" y="926"/>
                  </a:lnTo>
                  <a:lnTo>
                    <a:pt x="3595" y="945"/>
                  </a:lnTo>
                  <a:lnTo>
                    <a:pt x="3583" y="962"/>
                  </a:lnTo>
                  <a:lnTo>
                    <a:pt x="3611" y="950"/>
                  </a:lnTo>
                  <a:lnTo>
                    <a:pt x="3578" y="1000"/>
                  </a:lnTo>
                  <a:lnTo>
                    <a:pt x="3616" y="1000"/>
                  </a:lnTo>
                  <a:lnTo>
                    <a:pt x="3595" y="1016"/>
                  </a:lnTo>
                  <a:lnTo>
                    <a:pt x="3611" y="1016"/>
                  </a:lnTo>
                  <a:lnTo>
                    <a:pt x="3616" y="1004"/>
                  </a:lnTo>
                  <a:lnTo>
                    <a:pt x="3628" y="971"/>
                  </a:lnTo>
                  <a:lnTo>
                    <a:pt x="3654" y="945"/>
                  </a:lnTo>
                  <a:lnTo>
                    <a:pt x="3692" y="966"/>
                  </a:lnTo>
                  <a:lnTo>
                    <a:pt x="3772" y="983"/>
                  </a:lnTo>
                  <a:lnTo>
                    <a:pt x="3796" y="1004"/>
                  </a:lnTo>
                  <a:lnTo>
                    <a:pt x="3763" y="1016"/>
                  </a:lnTo>
                  <a:lnTo>
                    <a:pt x="3704" y="988"/>
                  </a:lnTo>
                  <a:lnTo>
                    <a:pt x="3654" y="1000"/>
                  </a:lnTo>
                  <a:lnTo>
                    <a:pt x="3704" y="1016"/>
                  </a:lnTo>
                  <a:lnTo>
                    <a:pt x="3670" y="1016"/>
                  </a:lnTo>
                  <a:lnTo>
                    <a:pt x="3692" y="1021"/>
                  </a:lnTo>
                  <a:lnTo>
                    <a:pt x="3649" y="1016"/>
                  </a:lnTo>
                  <a:lnTo>
                    <a:pt x="3720" y="1028"/>
                  </a:lnTo>
                  <a:lnTo>
                    <a:pt x="3666" y="1037"/>
                  </a:lnTo>
                  <a:lnTo>
                    <a:pt x="3741" y="1037"/>
                  </a:lnTo>
                  <a:lnTo>
                    <a:pt x="3763" y="1054"/>
                  </a:lnTo>
                  <a:lnTo>
                    <a:pt x="3758" y="1061"/>
                  </a:lnTo>
                  <a:lnTo>
                    <a:pt x="3789" y="1073"/>
                  </a:lnTo>
                  <a:lnTo>
                    <a:pt x="3789" y="1054"/>
                  </a:lnTo>
                  <a:lnTo>
                    <a:pt x="3796" y="1044"/>
                  </a:lnTo>
                  <a:lnTo>
                    <a:pt x="3833" y="1044"/>
                  </a:lnTo>
                  <a:lnTo>
                    <a:pt x="3843" y="1061"/>
                  </a:lnTo>
                  <a:lnTo>
                    <a:pt x="3848" y="1111"/>
                  </a:lnTo>
                  <a:lnTo>
                    <a:pt x="3843" y="1132"/>
                  </a:lnTo>
                  <a:lnTo>
                    <a:pt x="3826" y="1132"/>
                  </a:lnTo>
                  <a:lnTo>
                    <a:pt x="3826" y="1139"/>
                  </a:lnTo>
                  <a:lnTo>
                    <a:pt x="3796" y="1127"/>
                  </a:lnTo>
                  <a:lnTo>
                    <a:pt x="3670" y="1099"/>
                  </a:lnTo>
                  <a:lnTo>
                    <a:pt x="3649" y="1111"/>
                  </a:lnTo>
                  <a:lnTo>
                    <a:pt x="3682" y="1111"/>
                  </a:lnTo>
                  <a:lnTo>
                    <a:pt x="3595" y="1115"/>
                  </a:lnTo>
                  <a:lnTo>
                    <a:pt x="3654" y="1127"/>
                  </a:lnTo>
                  <a:lnTo>
                    <a:pt x="3628" y="1132"/>
                  </a:lnTo>
                  <a:lnTo>
                    <a:pt x="3611" y="1155"/>
                  </a:lnTo>
                  <a:lnTo>
                    <a:pt x="3562" y="1127"/>
                  </a:lnTo>
                  <a:lnTo>
                    <a:pt x="3545" y="1127"/>
                  </a:lnTo>
                  <a:lnTo>
                    <a:pt x="3545" y="1139"/>
                  </a:lnTo>
                  <a:lnTo>
                    <a:pt x="3524" y="1148"/>
                  </a:lnTo>
                  <a:lnTo>
                    <a:pt x="3557" y="1172"/>
                  </a:lnTo>
                  <a:lnTo>
                    <a:pt x="3557" y="1165"/>
                  </a:lnTo>
                  <a:lnTo>
                    <a:pt x="3562" y="1155"/>
                  </a:lnTo>
                  <a:lnTo>
                    <a:pt x="3595" y="1165"/>
                  </a:lnTo>
                  <a:lnTo>
                    <a:pt x="3600" y="1172"/>
                  </a:lnTo>
                  <a:lnTo>
                    <a:pt x="3578" y="1184"/>
                  </a:lnTo>
                  <a:lnTo>
                    <a:pt x="3600" y="1184"/>
                  </a:lnTo>
                  <a:lnTo>
                    <a:pt x="3541" y="1184"/>
                  </a:lnTo>
                  <a:lnTo>
                    <a:pt x="3611" y="1189"/>
                  </a:lnTo>
                  <a:lnTo>
                    <a:pt x="3600" y="1210"/>
                  </a:lnTo>
                  <a:lnTo>
                    <a:pt x="3637" y="1205"/>
                  </a:lnTo>
                  <a:lnTo>
                    <a:pt x="3682" y="1226"/>
                  </a:lnTo>
                  <a:lnTo>
                    <a:pt x="3687" y="1226"/>
                  </a:lnTo>
                  <a:lnTo>
                    <a:pt x="3637" y="1205"/>
                  </a:lnTo>
                  <a:lnTo>
                    <a:pt x="3734" y="1222"/>
                  </a:lnTo>
                  <a:lnTo>
                    <a:pt x="3741" y="1226"/>
                  </a:lnTo>
                  <a:lnTo>
                    <a:pt x="3741" y="1243"/>
                  </a:lnTo>
                  <a:lnTo>
                    <a:pt x="3692" y="1250"/>
                  </a:lnTo>
                  <a:lnTo>
                    <a:pt x="3578" y="1250"/>
                  </a:lnTo>
                  <a:lnTo>
                    <a:pt x="3734" y="1259"/>
                  </a:lnTo>
                  <a:lnTo>
                    <a:pt x="3746" y="1283"/>
                  </a:lnTo>
                  <a:lnTo>
                    <a:pt x="3746" y="1300"/>
                  </a:lnTo>
                  <a:lnTo>
                    <a:pt x="3763" y="1316"/>
                  </a:lnTo>
                  <a:lnTo>
                    <a:pt x="3763" y="1337"/>
                  </a:lnTo>
                  <a:lnTo>
                    <a:pt x="3758" y="1370"/>
                  </a:lnTo>
                  <a:lnTo>
                    <a:pt x="3725" y="1377"/>
                  </a:lnTo>
                  <a:lnTo>
                    <a:pt x="3720" y="1370"/>
                  </a:lnTo>
                  <a:lnTo>
                    <a:pt x="3725" y="1354"/>
                  </a:lnTo>
                  <a:lnTo>
                    <a:pt x="3708" y="1349"/>
                  </a:lnTo>
                  <a:lnTo>
                    <a:pt x="3670" y="1354"/>
                  </a:lnTo>
                  <a:lnTo>
                    <a:pt x="3616" y="1316"/>
                  </a:lnTo>
                  <a:lnTo>
                    <a:pt x="3562" y="1300"/>
                  </a:lnTo>
                  <a:lnTo>
                    <a:pt x="3616" y="1333"/>
                  </a:lnTo>
                  <a:lnTo>
                    <a:pt x="3541" y="1316"/>
                  </a:lnTo>
                  <a:lnTo>
                    <a:pt x="3616" y="1333"/>
                  </a:lnTo>
                  <a:lnTo>
                    <a:pt x="3682" y="1377"/>
                  </a:lnTo>
                  <a:lnTo>
                    <a:pt x="3633" y="1377"/>
                  </a:lnTo>
                  <a:lnTo>
                    <a:pt x="3595" y="1406"/>
                  </a:lnTo>
                  <a:lnTo>
                    <a:pt x="3545" y="1370"/>
                  </a:lnTo>
                  <a:lnTo>
                    <a:pt x="3595" y="1406"/>
                  </a:lnTo>
                  <a:lnTo>
                    <a:pt x="3637" y="1387"/>
                  </a:lnTo>
                  <a:lnTo>
                    <a:pt x="3670" y="1387"/>
                  </a:lnTo>
                  <a:lnTo>
                    <a:pt x="3666" y="1415"/>
                  </a:lnTo>
                  <a:lnTo>
                    <a:pt x="3682" y="1432"/>
                  </a:lnTo>
                  <a:lnTo>
                    <a:pt x="3637" y="1444"/>
                  </a:lnTo>
                  <a:lnTo>
                    <a:pt x="3704" y="1444"/>
                  </a:lnTo>
                  <a:lnTo>
                    <a:pt x="3734" y="1460"/>
                  </a:lnTo>
                  <a:lnTo>
                    <a:pt x="3763" y="1444"/>
                  </a:lnTo>
                  <a:lnTo>
                    <a:pt x="3772" y="1448"/>
                  </a:lnTo>
                  <a:lnTo>
                    <a:pt x="3772" y="1465"/>
                  </a:lnTo>
                  <a:lnTo>
                    <a:pt x="3789" y="1472"/>
                  </a:lnTo>
                  <a:lnTo>
                    <a:pt x="3763" y="1498"/>
                  </a:lnTo>
                  <a:lnTo>
                    <a:pt x="3741" y="1505"/>
                  </a:lnTo>
                  <a:lnTo>
                    <a:pt x="3708" y="1498"/>
                  </a:lnTo>
                  <a:lnTo>
                    <a:pt x="3692" y="1472"/>
                  </a:lnTo>
                  <a:lnTo>
                    <a:pt x="3600" y="1472"/>
                  </a:lnTo>
                  <a:lnTo>
                    <a:pt x="3574" y="1448"/>
                  </a:lnTo>
                  <a:lnTo>
                    <a:pt x="3595" y="1481"/>
                  </a:lnTo>
                  <a:lnTo>
                    <a:pt x="3578" y="1489"/>
                  </a:lnTo>
                  <a:lnTo>
                    <a:pt x="3545" y="1498"/>
                  </a:lnTo>
                  <a:lnTo>
                    <a:pt x="3574" y="1498"/>
                  </a:lnTo>
                  <a:lnTo>
                    <a:pt x="3562" y="1514"/>
                  </a:lnTo>
                  <a:lnTo>
                    <a:pt x="3562" y="1522"/>
                  </a:lnTo>
                  <a:lnTo>
                    <a:pt x="3541" y="1526"/>
                  </a:lnTo>
                  <a:lnTo>
                    <a:pt x="3578" y="1538"/>
                  </a:lnTo>
                  <a:lnTo>
                    <a:pt x="3595" y="1559"/>
                  </a:lnTo>
                  <a:lnTo>
                    <a:pt x="3595" y="1583"/>
                  </a:lnTo>
                  <a:lnTo>
                    <a:pt x="3600" y="1576"/>
                  </a:lnTo>
                  <a:lnTo>
                    <a:pt x="3583" y="1538"/>
                  </a:lnTo>
                  <a:lnTo>
                    <a:pt x="3595" y="1526"/>
                  </a:lnTo>
                  <a:lnTo>
                    <a:pt x="3704" y="1555"/>
                  </a:lnTo>
                  <a:lnTo>
                    <a:pt x="3704" y="1571"/>
                  </a:lnTo>
                  <a:lnTo>
                    <a:pt x="3682" y="1576"/>
                  </a:lnTo>
                  <a:lnTo>
                    <a:pt x="3687" y="1583"/>
                  </a:lnTo>
                  <a:lnTo>
                    <a:pt x="3682" y="1600"/>
                  </a:lnTo>
                  <a:lnTo>
                    <a:pt x="3692" y="1600"/>
                  </a:lnTo>
                  <a:lnTo>
                    <a:pt x="3687" y="1616"/>
                  </a:lnTo>
                  <a:lnTo>
                    <a:pt x="3611" y="1609"/>
                  </a:lnTo>
                  <a:lnTo>
                    <a:pt x="3600" y="1626"/>
                  </a:lnTo>
                  <a:lnTo>
                    <a:pt x="3557" y="1637"/>
                  </a:lnTo>
                  <a:lnTo>
                    <a:pt x="3470" y="1616"/>
                  </a:lnTo>
                  <a:lnTo>
                    <a:pt x="3439" y="1592"/>
                  </a:lnTo>
                  <a:lnTo>
                    <a:pt x="3439" y="1576"/>
                  </a:lnTo>
                  <a:lnTo>
                    <a:pt x="3470" y="1576"/>
                  </a:lnTo>
                  <a:lnTo>
                    <a:pt x="3531" y="1600"/>
                  </a:lnTo>
                  <a:lnTo>
                    <a:pt x="3562" y="1592"/>
                  </a:lnTo>
                  <a:lnTo>
                    <a:pt x="3524" y="1600"/>
                  </a:lnTo>
                  <a:lnTo>
                    <a:pt x="3432" y="1559"/>
                  </a:lnTo>
                  <a:lnTo>
                    <a:pt x="3406" y="1576"/>
                  </a:lnTo>
                  <a:lnTo>
                    <a:pt x="3406" y="1600"/>
                  </a:lnTo>
                  <a:lnTo>
                    <a:pt x="3368" y="1592"/>
                  </a:lnTo>
                  <a:lnTo>
                    <a:pt x="3368" y="1576"/>
                  </a:lnTo>
                  <a:lnTo>
                    <a:pt x="3314" y="1543"/>
                  </a:lnTo>
                  <a:lnTo>
                    <a:pt x="3330" y="1571"/>
                  </a:lnTo>
                  <a:lnTo>
                    <a:pt x="3394" y="1609"/>
                  </a:lnTo>
                  <a:lnTo>
                    <a:pt x="3347" y="1616"/>
                  </a:lnTo>
                  <a:lnTo>
                    <a:pt x="3314" y="1637"/>
                  </a:lnTo>
                  <a:lnTo>
                    <a:pt x="3297" y="1637"/>
                  </a:lnTo>
                  <a:lnTo>
                    <a:pt x="3238" y="1633"/>
                  </a:lnTo>
                  <a:lnTo>
                    <a:pt x="3200" y="1609"/>
                  </a:lnTo>
                  <a:lnTo>
                    <a:pt x="3191" y="1616"/>
                  </a:lnTo>
                  <a:lnTo>
                    <a:pt x="3271" y="1637"/>
                  </a:lnTo>
                  <a:lnTo>
                    <a:pt x="3243" y="1654"/>
                  </a:lnTo>
                  <a:lnTo>
                    <a:pt x="3222" y="1649"/>
                  </a:lnTo>
                  <a:lnTo>
                    <a:pt x="3179" y="1654"/>
                  </a:lnTo>
                  <a:lnTo>
                    <a:pt x="3200" y="1666"/>
                  </a:lnTo>
                  <a:lnTo>
                    <a:pt x="3200" y="1682"/>
                  </a:lnTo>
                  <a:lnTo>
                    <a:pt x="3191" y="1687"/>
                  </a:lnTo>
                  <a:lnTo>
                    <a:pt x="3205" y="1682"/>
                  </a:lnTo>
                  <a:lnTo>
                    <a:pt x="3205" y="1666"/>
                  </a:lnTo>
                  <a:lnTo>
                    <a:pt x="3255" y="1666"/>
                  </a:lnTo>
                  <a:lnTo>
                    <a:pt x="3271" y="1649"/>
                  </a:lnTo>
                  <a:lnTo>
                    <a:pt x="3363" y="1666"/>
                  </a:lnTo>
                  <a:lnTo>
                    <a:pt x="3368" y="1682"/>
                  </a:lnTo>
                  <a:lnTo>
                    <a:pt x="3352" y="1687"/>
                  </a:lnTo>
                  <a:lnTo>
                    <a:pt x="3314" y="1687"/>
                  </a:lnTo>
                  <a:lnTo>
                    <a:pt x="3293" y="1703"/>
                  </a:lnTo>
                  <a:lnTo>
                    <a:pt x="3243" y="1694"/>
                  </a:lnTo>
                  <a:lnTo>
                    <a:pt x="3200" y="1694"/>
                  </a:lnTo>
                  <a:lnTo>
                    <a:pt x="3271" y="1711"/>
                  </a:lnTo>
                  <a:lnTo>
                    <a:pt x="3243" y="1720"/>
                  </a:lnTo>
                  <a:lnTo>
                    <a:pt x="3276" y="1711"/>
                  </a:lnTo>
                  <a:lnTo>
                    <a:pt x="3259" y="1737"/>
                  </a:lnTo>
                  <a:lnTo>
                    <a:pt x="3330" y="1703"/>
                  </a:lnTo>
                  <a:lnTo>
                    <a:pt x="3380" y="1711"/>
                  </a:lnTo>
                  <a:lnTo>
                    <a:pt x="3385" y="1720"/>
                  </a:lnTo>
                  <a:lnTo>
                    <a:pt x="3385" y="1737"/>
                  </a:lnTo>
                  <a:lnTo>
                    <a:pt x="3394" y="1744"/>
                  </a:lnTo>
                  <a:lnTo>
                    <a:pt x="3297" y="1760"/>
                  </a:lnTo>
                  <a:lnTo>
                    <a:pt x="3347" y="1760"/>
                  </a:lnTo>
                  <a:lnTo>
                    <a:pt x="3330" y="1798"/>
                  </a:lnTo>
                  <a:lnTo>
                    <a:pt x="3342" y="1793"/>
                  </a:lnTo>
                  <a:lnTo>
                    <a:pt x="3342" y="1777"/>
                  </a:lnTo>
                  <a:lnTo>
                    <a:pt x="3352" y="1765"/>
                  </a:lnTo>
                  <a:lnTo>
                    <a:pt x="3394" y="1760"/>
                  </a:lnTo>
                  <a:lnTo>
                    <a:pt x="3503" y="1810"/>
                  </a:lnTo>
                  <a:lnTo>
                    <a:pt x="3493" y="1814"/>
                  </a:lnTo>
                  <a:lnTo>
                    <a:pt x="3541" y="1831"/>
                  </a:lnTo>
                  <a:lnTo>
                    <a:pt x="3503" y="1864"/>
                  </a:lnTo>
                  <a:lnTo>
                    <a:pt x="3545" y="1838"/>
                  </a:lnTo>
                  <a:lnTo>
                    <a:pt x="3531" y="1864"/>
                  </a:lnTo>
                  <a:lnTo>
                    <a:pt x="3531" y="1871"/>
                  </a:lnTo>
                  <a:lnTo>
                    <a:pt x="3562" y="1848"/>
                  </a:lnTo>
                  <a:lnTo>
                    <a:pt x="3583" y="1848"/>
                  </a:lnTo>
                  <a:lnTo>
                    <a:pt x="3562" y="1864"/>
                  </a:lnTo>
                  <a:lnTo>
                    <a:pt x="3574" y="1871"/>
                  </a:lnTo>
                  <a:lnTo>
                    <a:pt x="3541" y="1871"/>
                  </a:lnTo>
                  <a:lnTo>
                    <a:pt x="3545" y="1909"/>
                  </a:lnTo>
                  <a:lnTo>
                    <a:pt x="3557" y="1909"/>
                  </a:lnTo>
                  <a:lnTo>
                    <a:pt x="3557" y="1888"/>
                  </a:lnTo>
                  <a:lnTo>
                    <a:pt x="3595" y="1876"/>
                  </a:lnTo>
                  <a:lnTo>
                    <a:pt x="3600" y="1892"/>
                  </a:lnTo>
                  <a:lnTo>
                    <a:pt x="3595" y="1904"/>
                  </a:lnTo>
                  <a:lnTo>
                    <a:pt x="3611" y="1904"/>
                  </a:lnTo>
                  <a:lnTo>
                    <a:pt x="3578" y="1909"/>
                  </a:lnTo>
                  <a:lnTo>
                    <a:pt x="3595" y="1909"/>
                  </a:lnTo>
                  <a:lnTo>
                    <a:pt x="3600" y="1926"/>
                  </a:lnTo>
                  <a:lnTo>
                    <a:pt x="3557" y="1942"/>
                  </a:lnTo>
                  <a:lnTo>
                    <a:pt x="3600" y="1933"/>
                  </a:lnTo>
                  <a:lnTo>
                    <a:pt x="3611" y="1949"/>
                  </a:lnTo>
                  <a:lnTo>
                    <a:pt x="3600" y="1975"/>
                  </a:lnTo>
                  <a:lnTo>
                    <a:pt x="3583" y="1975"/>
                  </a:lnTo>
                  <a:lnTo>
                    <a:pt x="3600" y="1975"/>
                  </a:lnTo>
                  <a:lnTo>
                    <a:pt x="3611" y="1982"/>
                  </a:lnTo>
                  <a:lnTo>
                    <a:pt x="3595" y="1982"/>
                  </a:lnTo>
                  <a:lnTo>
                    <a:pt x="3600" y="1987"/>
                  </a:lnTo>
                  <a:lnTo>
                    <a:pt x="3595" y="2003"/>
                  </a:lnTo>
                  <a:lnTo>
                    <a:pt x="3616" y="2003"/>
                  </a:lnTo>
                  <a:lnTo>
                    <a:pt x="3578" y="2032"/>
                  </a:lnTo>
                  <a:lnTo>
                    <a:pt x="3583" y="2015"/>
                  </a:lnTo>
                  <a:lnTo>
                    <a:pt x="3578" y="2015"/>
                  </a:lnTo>
                  <a:lnTo>
                    <a:pt x="3557" y="2020"/>
                  </a:lnTo>
                  <a:lnTo>
                    <a:pt x="3545" y="1987"/>
                  </a:lnTo>
                  <a:lnTo>
                    <a:pt x="3545" y="1966"/>
                  </a:lnTo>
                  <a:lnTo>
                    <a:pt x="3541" y="1966"/>
                  </a:lnTo>
                  <a:lnTo>
                    <a:pt x="3531" y="1982"/>
                  </a:lnTo>
                  <a:lnTo>
                    <a:pt x="3541" y="2003"/>
                  </a:lnTo>
                  <a:lnTo>
                    <a:pt x="3531" y="2020"/>
                  </a:lnTo>
                  <a:lnTo>
                    <a:pt x="3486" y="2020"/>
                  </a:lnTo>
                  <a:lnTo>
                    <a:pt x="3439" y="1987"/>
                  </a:lnTo>
                  <a:lnTo>
                    <a:pt x="3422" y="1975"/>
                  </a:lnTo>
                  <a:lnTo>
                    <a:pt x="3422" y="1942"/>
                  </a:lnTo>
                  <a:lnTo>
                    <a:pt x="3385" y="1904"/>
                  </a:lnTo>
                  <a:lnTo>
                    <a:pt x="3363" y="1909"/>
                  </a:lnTo>
                  <a:lnTo>
                    <a:pt x="3326" y="1876"/>
                  </a:lnTo>
                  <a:lnTo>
                    <a:pt x="3233" y="1871"/>
                  </a:lnTo>
                  <a:lnTo>
                    <a:pt x="3179" y="1822"/>
                  </a:lnTo>
                  <a:lnTo>
                    <a:pt x="3115" y="1798"/>
                  </a:lnTo>
                  <a:lnTo>
                    <a:pt x="3108" y="1798"/>
                  </a:lnTo>
                  <a:lnTo>
                    <a:pt x="3130" y="1814"/>
                  </a:lnTo>
                  <a:lnTo>
                    <a:pt x="3125" y="1822"/>
                  </a:lnTo>
                  <a:lnTo>
                    <a:pt x="3167" y="1831"/>
                  </a:lnTo>
                  <a:lnTo>
                    <a:pt x="3205" y="1855"/>
                  </a:lnTo>
                  <a:lnTo>
                    <a:pt x="3200" y="1864"/>
                  </a:lnTo>
                  <a:lnTo>
                    <a:pt x="3125" y="1871"/>
                  </a:lnTo>
                  <a:lnTo>
                    <a:pt x="3200" y="1871"/>
                  </a:lnTo>
                  <a:lnTo>
                    <a:pt x="3217" y="1871"/>
                  </a:lnTo>
                  <a:lnTo>
                    <a:pt x="3205" y="1876"/>
                  </a:lnTo>
                  <a:lnTo>
                    <a:pt x="3205" y="1888"/>
                  </a:lnTo>
                  <a:lnTo>
                    <a:pt x="3309" y="1876"/>
                  </a:lnTo>
                  <a:lnTo>
                    <a:pt x="3342" y="1904"/>
                  </a:lnTo>
                  <a:lnTo>
                    <a:pt x="3330" y="1921"/>
                  </a:lnTo>
                  <a:lnTo>
                    <a:pt x="3314" y="1909"/>
                  </a:lnTo>
                  <a:lnTo>
                    <a:pt x="3326" y="1926"/>
                  </a:lnTo>
                  <a:lnTo>
                    <a:pt x="3259" y="1949"/>
                  </a:lnTo>
                  <a:lnTo>
                    <a:pt x="3191" y="1959"/>
                  </a:lnTo>
                  <a:lnTo>
                    <a:pt x="3167" y="1926"/>
                  </a:lnTo>
                  <a:lnTo>
                    <a:pt x="3163" y="1926"/>
                  </a:lnTo>
                  <a:lnTo>
                    <a:pt x="3184" y="1949"/>
                  </a:lnTo>
                  <a:lnTo>
                    <a:pt x="3130" y="1949"/>
                  </a:lnTo>
                  <a:lnTo>
                    <a:pt x="3163" y="1966"/>
                  </a:lnTo>
                  <a:lnTo>
                    <a:pt x="3137" y="2003"/>
                  </a:lnTo>
                  <a:lnTo>
                    <a:pt x="3070" y="2015"/>
                  </a:lnTo>
                  <a:lnTo>
                    <a:pt x="3070" y="2032"/>
                  </a:lnTo>
                  <a:lnTo>
                    <a:pt x="3137" y="2015"/>
                  </a:lnTo>
                  <a:lnTo>
                    <a:pt x="3130" y="2020"/>
                  </a:lnTo>
                  <a:lnTo>
                    <a:pt x="3137" y="2032"/>
                  </a:lnTo>
                  <a:lnTo>
                    <a:pt x="3243" y="2015"/>
                  </a:lnTo>
                  <a:lnTo>
                    <a:pt x="3276" y="2032"/>
                  </a:lnTo>
                  <a:lnTo>
                    <a:pt x="3243" y="2037"/>
                  </a:lnTo>
                  <a:lnTo>
                    <a:pt x="3233" y="2037"/>
                  </a:lnTo>
                  <a:lnTo>
                    <a:pt x="3167" y="2070"/>
                  </a:lnTo>
                  <a:lnTo>
                    <a:pt x="3115" y="2060"/>
                  </a:lnTo>
                  <a:lnTo>
                    <a:pt x="3125" y="2070"/>
                  </a:lnTo>
                  <a:lnTo>
                    <a:pt x="3191" y="2070"/>
                  </a:lnTo>
                  <a:lnTo>
                    <a:pt x="3191" y="2086"/>
                  </a:lnTo>
                  <a:lnTo>
                    <a:pt x="3200" y="2086"/>
                  </a:lnTo>
                  <a:lnTo>
                    <a:pt x="3217" y="2053"/>
                  </a:lnTo>
                  <a:lnTo>
                    <a:pt x="3233" y="2044"/>
                  </a:lnTo>
                  <a:lnTo>
                    <a:pt x="3276" y="2053"/>
                  </a:lnTo>
                  <a:lnTo>
                    <a:pt x="3352" y="2020"/>
                  </a:lnTo>
                  <a:lnTo>
                    <a:pt x="3347" y="2037"/>
                  </a:lnTo>
                  <a:lnTo>
                    <a:pt x="3363" y="2032"/>
                  </a:lnTo>
                  <a:lnTo>
                    <a:pt x="3470" y="2060"/>
                  </a:lnTo>
                  <a:lnTo>
                    <a:pt x="3574" y="2060"/>
                  </a:lnTo>
                  <a:lnTo>
                    <a:pt x="3557" y="2077"/>
                  </a:lnTo>
                  <a:lnTo>
                    <a:pt x="3486" y="2093"/>
                  </a:lnTo>
                  <a:lnTo>
                    <a:pt x="3519" y="2098"/>
                  </a:lnTo>
                  <a:lnTo>
                    <a:pt x="3507" y="2110"/>
                  </a:lnTo>
                  <a:lnTo>
                    <a:pt x="3486" y="2093"/>
                  </a:lnTo>
                  <a:lnTo>
                    <a:pt x="3493" y="2110"/>
                  </a:lnTo>
                  <a:lnTo>
                    <a:pt x="3439" y="2110"/>
                  </a:lnTo>
                  <a:lnTo>
                    <a:pt x="3470" y="2126"/>
                  </a:lnTo>
                  <a:lnTo>
                    <a:pt x="3448" y="2143"/>
                  </a:lnTo>
                  <a:lnTo>
                    <a:pt x="3418" y="2126"/>
                  </a:lnTo>
                  <a:lnTo>
                    <a:pt x="3432" y="2143"/>
                  </a:lnTo>
                  <a:lnTo>
                    <a:pt x="3406" y="2155"/>
                  </a:lnTo>
                  <a:lnTo>
                    <a:pt x="3394" y="2155"/>
                  </a:lnTo>
                  <a:lnTo>
                    <a:pt x="3394" y="2171"/>
                  </a:lnTo>
                  <a:lnTo>
                    <a:pt x="3352" y="2171"/>
                  </a:lnTo>
                  <a:lnTo>
                    <a:pt x="3347" y="2171"/>
                  </a:lnTo>
                  <a:lnTo>
                    <a:pt x="3368" y="2188"/>
                  </a:lnTo>
                  <a:lnTo>
                    <a:pt x="3347" y="2204"/>
                  </a:lnTo>
                  <a:lnTo>
                    <a:pt x="3326" y="2197"/>
                  </a:lnTo>
                  <a:lnTo>
                    <a:pt x="3342" y="2209"/>
                  </a:lnTo>
                  <a:lnTo>
                    <a:pt x="3314" y="2209"/>
                  </a:lnTo>
                  <a:lnTo>
                    <a:pt x="3326" y="2221"/>
                  </a:lnTo>
                  <a:lnTo>
                    <a:pt x="3271" y="2242"/>
                  </a:lnTo>
                  <a:lnTo>
                    <a:pt x="3200" y="2259"/>
                  </a:lnTo>
                  <a:lnTo>
                    <a:pt x="3205" y="2259"/>
                  </a:lnTo>
                  <a:lnTo>
                    <a:pt x="3184" y="2259"/>
                  </a:lnTo>
                  <a:lnTo>
                    <a:pt x="3179" y="2266"/>
                  </a:lnTo>
                  <a:lnTo>
                    <a:pt x="3184" y="2266"/>
                  </a:lnTo>
                  <a:lnTo>
                    <a:pt x="3153" y="2259"/>
                  </a:lnTo>
                  <a:lnTo>
                    <a:pt x="3153" y="2275"/>
                  </a:lnTo>
                  <a:lnTo>
                    <a:pt x="3125" y="2275"/>
                  </a:lnTo>
                  <a:lnTo>
                    <a:pt x="3099" y="2292"/>
                  </a:lnTo>
                  <a:lnTo>
                    <a:pt x="3078" y="2282"/>
                  </a:lnTo>
                  <a:lnTo>
                    <a:pt x="3078" y="2292"/>
                  </a:lnTo>
                  <a:lnTo>
                    <a:pt x="3061" y="2292"/>
                  </a:lnTo>
                  <a:lnTo>
                    <a:pt x="3061" y="2308"/>
                  </a:lnTo>
                  <a:lnTo>
                    <a:pt x="3028" y="2292"/>
                  </a:lnTo>
                  <a:lnTo>
                    <a:pt x="3028" y="2275"/>
                  </a:lnTo>
                  <a:lnTo>
                    <a:pt x="3002" y="2299"/>
                  </a:lnTo>
                  <a:lnTo>
                    <a:pt x="3016" y="2315"/>
                  </a:lnTo>
                  <a:lnTo>
                    <a:pt x="2990" y="2315"/>
                  </a:lnTo>
                  <a:lnTo>
                    <a:pt x="2990" y="2308"/>
                  </a:lnTo>
                  <a:lnTo>
                    <a:pt x="2969" y="2299"/>
                  </a:lnTo>
                  <a:lnTo>
                    <a:pt x="2964" y="2299"/>
                  </a:lnTo>
                  <a:lnTo>
                    <a:pt x="2985" y="2308"/>
                  </a:lnTo>
                  <a:lnTo>
                    <a:pt x="2985" y="2320"/>
                  </a:lnTo>
                  <a:lnTo>
                    <a:pt x="2948" y="2320"/>
                  </a:lnTo>
                  <a:lnTo>
                    <a:pt x="2915" y="2315"/>
                  </a:lnTo>
                  <a:lnTo>
                    <a:pt x="2919" y="2308"/>
                  </a:lnTo>
                  <a:lnTo>
                    <a:pt x="2910" y="2320"/>
                  </a:lnTo>
                  <a:lnTo>
                    <a:pt x="2898" y="2315"/>
                  </a:lnTo>
                  <a:lnTo>
                    <a:pt x="2893" y="2308"/>
                  </a:lnTo>
                  <a:lnTo>
                    <a:pt x="2910" y="2299"/>
                  </a:lnTo>
                  <a:lnTo>
                    <a:pt x="2877" y="2299"/>
                  </a:lnTo>
                  <a:lnTo>
                    <a:pt x="2844" y="2254"/>
                  </a:lnTo>
                  <a:lnTo>
                    <a:pt x="2844" y="2266"/>
                  </a:lnTo>
                  <a:lnTo>
                    <a:pt x="2839" y="2266"/>
                  </a:lnTo>
                  <a:lnTo>
                    <a:pt x="2839" y="2275"/>
                  </a:lnTo>
                  <a:lnTo>
                    <a:pt x="2860" y="2292"/>
                  </a:lnTo>
                  <a:lnTo>
                    <a:pt x="2865" y="2308"/>
                  </a:lnTo>
                  <a:lnTo>
                    <a:pt x="2844" y="2308"/>
                  </a:lnTo>
                  <a:lnTo>
                    <a:pt x="2877" y="2315"/>
                  </a:lnTo>
                  <a:lnTo>
                    <a:pt x="2865" y="2348"/>
                  </a:lnTo>
                  <a:lnTo>
                    <a:pt x="2839" y="2348"/>
                  </a:lnTo>
                  <a:lnTo>
                    <a:pt x="2822" y="2365"/>
                  </a:lnTo>
                  <a:lnTo>
                    <a:pt x="2789" y="2370"/>
                  </a:lnTo>
                  <a:lnTo>
                    <a:pt x="2806" y="2377"/>
                  </a:lnTo>
                  <a:lnTo>
                    <a:pt x="2789" y="2386"/>
                  </a:lnTo>
                  <a:lnTo>
                    <a:pt x="2789" y="2403"/>
                  </a:lnTo>
                  <a:lnTo>
                    <a:pt x="2768" y="2410"/>
                  </a:lnTo>
                  <a:lnTo>
                    <a:pt x="2785" y="2426"/>
                  </a:lnTo>
                  <a:lnTo>
                    <a:pt x="2752" y="2459"/>
                  </a:lnTo>
                  <a:lnTo>
                    <a:pt x="2737" y="2448"/>
                  </a:lnTo>
                  <a:lnTo>
                    <a:pt x="2730" y="2481"/>
                  </a:lnTo>
                  <a:lnTo>
                    <a:pt x="2714" y="2504"/>
                  </a:lnTo>
                  <a:lnTo>
                    <a:pt x="2704" y="2497"/>
                  </a:lnTo>
                  <a:lnTo>
                    <a:pt x="2704" y="2481"/>
                  </a:lnTo>
                  <a:lnTo>
                    <a:pt x="2704" y="2497"/>
                  </a:lnTo>
                  <a:lnTo>
                    <a:pt x="2704" y="2504"/>
                  </a:lnTo>
                  <a:lnTo>
                    <a:pt x="2683" y="2530"/>
                  </a:lnTo>
                  <a:lnTo>
                    <a:pt x="2667" y="2537"/>
                  </a:lnTo>
                  <a:lnTo>
                    <a:pt x="2662" y="2530"/>
                  </a:lnTo>
                  <a:lnTo>
                    <a:pt x="2662" y="2521"/>
                  </a:lnTo>
                  <a:lnTo>
                    <a:pt x="2650" y="2537"/>
                  </a:lnTo>
                  <a:lnTo>
                    <a:pt x="2662" y="2542"/>
                  </a:lnTo>
                  <a:lnTo>
                    <a:pt x="2650" y="2542"/>
                  </a:lnTo>
                  <a:lnTo>
                    <a:pt x="2607" y="2521"/>
                  </a:lnTo>
                  <a:lnTo>
                    <a:pt x="2629" y="2542"/>
                  </a:lnTo>
                  <a:lnTo>
                    <a:pt x="2624" y="2542"/>
                  </a:lnTo>
                  <a:lnTo>
                    <a:pt x="2624" y="2559"/>
                  </a:lnTo>
                  <a:lnTo>
                    <a:pt x="2574" y="2587"/>
                  </a:lnTo>
                  <a:lnTo>
                    <a:pt x="2570" y="2575"/>
                  </a:lnTo>
                  <a:lnTo>
                    <a:pt x="2574" y="2559"/>
                  </a:lnTo>
                  <a:lnTo>
                    <a:pt x="2558" y="2559"/>
                  </a:lnTo>
                  <a:lnTo>
                    <a:pt x="2558" y="2570"/>
                  </a:lnTo>
                  <a:lnTo>
                    <a:pt x="2558" y="2575"/>
                  </a:lnTo>
                  <a:lnTo>
                    <a:pt x="2532" y="2592"/>
                  </a:lnTo>
                  <a:lnTo>
                    <a:pt x="2520" y="2575"/>
                  </a:lnTo>
                  <a:lnTo>
                    <a:pt x="2520" y="2570"/>
                  </a:lnTo>
                  <a:lnTo>
                    <a:pt x="2515" y="2570"/>
                  </a:lnTo>
                  <a:lnTo>
                    <a:pt x="2520" y="2592"/>
                  </a:lnTo>
                  <a:lnTo>
                    <a:pt x="2515" y="2599"/>
                  </a:lnTo>
                  <a:lnTo>
                    <a:pt x="2478" y="2587"/>
                  </a:lnTo>
                  <a:lnTo>
                    <a:pt x="2466" y="2570"/>
                  </a:lnTo>
                  <a:lnTo>
                    <a:pt x="2515" y="2530"/>
                  </a:lnTo>
                  <a:lnTo>
                    <a:pt x="2449" y="2530"/>
                  </a:lnTo>
                  <a:lnTo>
                    <a:pt x="2445" y="2530"/>
                  </a:lnTo>
                  <a:lnTo>
                    <a:pt x="2478" y="2542"/>
                  </a:lnTo>
                  <a:lnTo>
                    <a:pt x="2461" y="2542"/>
                  </a:lnTo>
                  <a:lnTo>
                    <a:pt x="2466" y="2554"/>
                  </a:lnTo>
                  <a:lnTo>
                    <a:pt x="2449" y="2559"/>
                  </a:lnTo>
                  <a:lnTo>
                    <a:pt x="2461" y="2575"/>
                  </a:lnTo>
                  <a:lnTo>
                    <a:pt x="2449" y="2587"/>
                  </a:lnTo>
                  <a:lnTo>
                    <a:pt x="2445" y="2575"/>
                  </a:lnTo>
                  <a:lnTo>
                    <a:pt x="2445" y="2587"/>
                  </a:lnTo>
                  <a:lnTo>
                    <a:pt x="2435" y="2587"/>
                  </a:lnTo>
                  <a:lnTo>
                    <a:pt x="2423" y="2570"/>
                  </a:lnTo>
                  <a:lnTo>
                    <a:pt x="2423" y="2587"/>
                  </a:lnTo>
                  <a:lnTo>
                    <a:pt x="2449" y="2592"/>
                  </a:lnTo>
                  <a:lnTo>
                    <a:pt x="2435" y="2615"/>
                  </a:lnTo>
                  <a:lnTo>
                    <a:pt x="2407" y="2608"/>
                  </a:lnTo>
                  <a:lnTo>
                    <a:pt x="2411" y="2625"/>
                  </a:lnTo>
                  <a:lnTo>
                    <a:pt x="2381" y="2625"/>
                  </a:lnTo>
                  <a:lnTo>
                    <a:pt x="2359" y="2608"/>
                  </a:lnTo>
                  <a:lnTo>
                    <a:pt x="2374" y="2625"/>
                  </a:lnTo>
                  <a:lnTo>
                    <a:pt x="2359" y="2632"/>
                  </a:lnTo>
                  <a:lnTo>
                    <a:pt x="2336" y="2608"/>
                  </a:lnTo>
                  <a:lnTo>
                    <a:pt x="2326" y="2625"/>
                  </a:lnTo>
                  <a:lnTo>
                    <a:pt x="2326" y="2632"/>
                  </a:lnTo>
                  <a:lnTo>
                    <a:pt x="2305" y="2625"/>
                  </a:lnTo>
                  <a:lnTo>
                    <a:pt x="2298" y="2632"/>
                  </a:lnTo>
                  <a:lnTo>
                    <a:pt x="2326" y="2641"/>
                  </a:lnTo>
                  <a:lnTo>
                    <a:pt x="2322" y="2648"/>
                  </a:lnTo>
                  <a:lnTo>
                    <a:pt x="2336" y="2665"/>
                  </a:lnTo>
                  <a:lnTo>
                    <a:pt x="2298" y="2686"/>
                  </a:lnTo>
                  <a:lnTo>
                    <a:pt x="2272" y="2670"/>
                  </a:lnTo>
                  <a:lnTo>
                    <a:pt x="2267" y="2686"/>
                  </a:lnTo>
                  <a:lnTo>
                    <a:pt x="2246" y="2681"/>
                  </a:lnTo>
                  <a:lnTo>
                    <a:pt x="2234" y="2698"/>
                  </a:lnTo>
                  <a:lnTo>
                    <a:pt x="2272" y="2726"/>
                  </a:lnTo>
                  <a:lnTo>
                    <a:pt x="2272" y="2752"/>
                  </a:lnTo>
                  <a:lnTo>
                    <a:pt x="2289" y="2764"/>
                  </a:lnTo>
                  <a:lnTo>
                    <a:pt x="2260" y="2764"/>
                  </a:lnTo>
                  <a:lnTo>
                    <a:pt x="2208" y="2776"/>
                  </a:lnTo>
                  <a:lnTo>
                    <a:pt x="2218" y="2792"/>
                  </a:lnTo>
                  <a:lnTo>
                    <a:pt x="2272" y="2797"/>
                  </a:lnTo>
                  <a:lnTo>
                    <a:pt x="2260" y="2814"/>
                  </a:lnTo>
                  <a:lnTo>
                    <a:pt x="2272" y="2814"/>
                  </a:lnTo>
                  <a:lnTo>
                    <a:pt x="2284" y="2837"/>
                  </a:lnTo>
                  <a:lnTo>
                    <a:pt x="2251" y="2837"/>
                  </a:lnTo>
                  <a:lnTo>
                    <a:pt x="2213" y="2821"/>
                  </a:lnTo>
                  <a:lnTo>
                    <a:pt x="2208" y="2830"/>
                  </a:lnTo>
                  <a:lnTo>
                    <a:pt x="2251" y="2847"/>
                  </a:lnTo>
                  <a:lnTo>
                    <a:pt x="2267" y="2863"/>
                  </a:lnTo>
                  <a:lnTo>
                    <a:pt x="2246" y="2863"/>
                  </a:lnTo>
                  <a:lnTo>
                    <a:pt x="2246" y="2870"/>
                  </a:lnTo>
                  <a:lnTo>
                    <a:pt x="2234" y="2863"/>
                  </a:lnTo>
                  <a:lnTo>
                    <a:pt x="2246" y="2875"/>
                  </a:lnTo>
                  <a:lnTo>
                    <a:pt x="2234" y="2875"/>
                  </a:lnTo>
                  <a:lnTo>
                    <a:pt x="2218" y="2863"/>
                  </a:lnTo>
                  <a:lnTo>
                    <a:pt x="2230" y="2875"/>
                  </a:lnTo>
                  <a:lnTo>
                    <a:pt x="2208" y="2863"/>
                  </a:lnTo>
                  <a:lnTo>
                    <a:pt x="2234" y="2887"/>
                  </a:lnTo>
                  <a:lnTo>
                    <a:pt x="2196" y="2863"/>
                  </a:lnTo>
                  <a:lnTo>
                    <a:pt x="2180" y="2870"/>
                  </a:lnTo>
                  <a:lnTo>
                    <a:pt x="2213" y="2908"/>
                  </a:lnTo>
                  <a:lnTo>
                    <a:pt x="2208" y="2908"/>
                  </a:lnTo>
                  <a:lnTo>
                    <a:pt x="2175" y="2892"/>
                  </a:lnTo>
                  <a:lnTo>
                    <a:pt x="2208" y="2920"/>
                  </a:lnTo>
                  <a:lnTo>
                    <a:pt x="2196" y="2920"/>
                  </a:lnTo>
                  <a:lnTo>
                    <a:pt x="2163" y="2903"/>
                  </a:lnTo>
                  <a:lnTo>
                    <a:pt x="2175" y="2920"/>
                  </a:lnTo>
                  <a:lnTo>
                    <a:pt x="2208" y="2925"/>
                  </a:lnTo>
                  <a:lnTo>
                    <a:pt x="2192" y="2941"/>
                  </a:lnTo>
                  <a:lnTo>
                    <a:pt x="2154" y="2941"/>
                  </a:lnTo>
                  <a:lnTo>
                    <a:pt x="2154" y="2925"/>
                  </a:lnTo>
                  <a:lnTo>
                    <a:pt x="2142" y="2932"/>
                  </a:lnTo>
                  <a:lnTo>
                    <a:pt x="2142" y="2941"/>
                  </a:lnTo>
                  <a:lnTo>
                    <a:pt x="2137" y="2948"/>
                  </a:lnTo>
                  <a:lnTo>
                    <a:pt x="2100" y="2948"/>
                  </a:lnTo>
                  <a:lnTo>
                    <a:pt x="2100" y="2958"/>
                  </a:lnTo>
                  <a:lnTo>
                    <a:pt x="2154" y="2974"/>
                  </a:lnTo>
                  <a:lnTo>
                    <a:pt x="2154" y="2981"/>
                  </a:lnTo>
                  <a:lnTo>
                    <a:pt x="2137" y="2981"/>
                  </a:lnTo>
                  <a:lnTo>
                    <a:pt x="2163" y="2986"/>
                  </a:lnTo>
                  <a:lnTo>
                    <a:pt x="2104" y="2974"/>
                  </a:lnTo>
                  <a:lnTo>
                    <a:pt x="2159" y="3003"/>
                  </a:lnTo>
                  <a:lnTo>
                    <a:pt x="2154" y="3019"/>
                  </a:lnTo>
                  <a:lnTo>
                    <a:pt x="2137" y="3036"/>
                  </a:lnTo>
                  <a:lnTo>
                    <a:pt x="2163" y="3036"/>
                  </a:lnTo>
                  <a:lnTo>
                    <a:pt x="2159" y="3043"/>
                  </a:lnTo>
                  <a:lnTo>
                    <a:pt x="2142" y="3043"/>
                  </a:lnTo>
                  <a:lnTo>
                    <a:pt x="2159" y="3052"/>
                  </a:lnTo>
                  <a:lnTo>
                    <a:pt x="2154" y="3059"/>
                  </a:lnTo>
                  <a:lnTo>
                    <a:pt x="2109" y="3059"/>
                  </a:lnTo>
                  <a:lnTo>
                    <a:pt x="2154" y="3076"/>
                  </a:lnTo>
                  <a:lnTo>
                    <a:pt x="2142" y="3085"/>
                  </a:lnTo>
                  <a:lnTo>
                    <a:pt x="2100" y="3076"/>
                  </a:lnTo>
                  <a:lnTo>
                    <a:pt x="2137" y="3085"/>
                  </a:lnTo>
                  <a:lnTo>
                    <a:pt x="2142" y="3097"/>
                  </a:lnTo>
                  <a:lnTo>
                    <a:pt x="2142" y="3109"/>
                  </a:lnTo>
                  <a:lnTo>
                    <a:pt x="2126" y="3114"/>
                  </a:lnTo>
                  <a:lnTo>
                    <a:pt x="2088" y="3109"/>
                  </a:lnTo>
                  <a:lnTo>
                    <a:pt x="2126" y="3114"/>
                  </a:lnTo>
                  <a:lnTo>
                    <a:pt x="2137" y="3125"/>
                  </a:lnTo>
                  <a:lnTo>
                    <a:pt x="2100" y="3125"/>
                  </a:lnTo>
                  <a:lnTo>
                    <a:pt x="2126" y="3130"/>
                  </a:lnTo>
                  <a:lnTo>
                    <a:pt x="2067" y="3130"/>
                  </a:lnTo>
                  <a:lnTo>
                    <a:pt x="2126" y="3142"/>
                  </a:lnTo>
                  <a:lnTo>
                    <a:pt x="2126" y="3147"/>
                  </a:lnTo>
                  <a:lnTo>
                    <a:pt x="2104" y="3154"/>
                  </a:lnTo>
                  <a:lnTo>
                    <a:pt x="2071" y="3147"/>
                  </a:lnTo>
                  <a:lnTo>
                    <a:pt x="2121" y="3163"/>
                  </a:lnTo>
                  <a:lnTo>
                    <a:pt x="2067" y="3163"/>
                  </a:lnTo>
                  <a:lnTo>
                    <a:pt x="2121" y="3170"/>
                  </a:lnTo>
                  <a:lnTo>
                    <a:pt x="2100" y="3180"/>
                  </a:lnTo>
                  <a:lnTo>
                    <a:pt x="2121" y="3180"/>
                  </a:lnTo>
                  <a:lnTo>
                    <a:pt x="2109" y="3187"/>
                  </a:lnTo>
                  <a:lnTo>
                    <a:pt x="2121" y="3187"/>
                  </a:lnTo>
                  <a:lnTo>
                    <a:pt x="2100" y="3196"/>
                  </a:lnTo>
                  <a:lnTo>
                    <a:pt x="2083" y="3196"/>
                  </a:lnTo>
                  <a:lnTo>
                    <a:pt x="2100" y="3203"/>
                  </a:lnTo>
                  <a:lnTo>
                    <a:pt x="2088" y="3203"/>
                  </a:lnTo>
                  <a:lnTo>
                    <a:pt x="2067" y="3196"/>
                  </a:lnTo>
                  <a:lnTo>
                    <a:pt x="2057" y="3170"/>
                  </a:lnTo>
                  <a:lnTo>
                    <a:pt x="2057" y="3196"/>
                  </a:lnTo>
                  <a:lnTo>
                    <a:pt x="2019" y="3187"/>
                  </a:lnTo>
                  <a:lnTo>
                    <a:pt x="2083" y="3203"/>
                  </a:lnTo>
                  <a:lnTo>
                    <a:pt x="2067" y="3220"/>
                  </a:lnTo>
                  <a:lnTo>
                    <a:pt x="2100" y="3208"/>
                  </a:lnTo>
                  <a:lnTo>
                    <a:pt x="2100" y="3225"/>
                  </a:lnTo>
                  <a:lnTo>
                    <a:pt x="2083" y="3225"/>
                  </a:lnTo>
                  <a:lnTo>
                    <a:pt x="2100" y="3225"/>
                  </a:lnTo>
                  <a:lnTo>
                    <a:pt x="2100" y="3241"/>
                  </a:lnTo>
                  <a:lnTo>
                    <a:pt x="2029" y="3236"/>
                  </a:lnTo>
                  <a:lnTo>
                    <a:pt x="2033" y="3220"/>
                  </a:lnTo>
                  <a:lnTo>
                    <a:pt x="2029" y="3208"/>
                  </a:lnTo>
                  <a:lnTo>
                    <a:pt x="2029" y="3220"/>
                  </a:lnTo>
                  <a:lnTo>
                    <a:pt x="2003" y="3236"/>
                  </a:lnTo>
                  <a:lnTo>
                    <a:pt x="1991" y="3253"/>
                  </a:lnTo>
                  <a:lnTo>
                    <a:pt x="1948" y="3241"/>
                  </a:lnTo>
                  <a:lnTo>
                    <a:pt x="1958" y="3236"/>
                  </a:lnTo>
                  <a:lnTo>
                    <a:pt x="1974" y="3236"/>
                  </a:lnTo>
                  <a:lnTo>
                    <a:pt x="2003" y="3196"/>
                  </a:lnTo>
                  <a:lnTo>
                    <a:pt x="1974" y="3225"/>
                  </a:lnTo>
                  <a:lnTo>
                    <a:pt x="1948" y="3236"/>
                  </a:lnTo>
                  <a:lnTo>
                    <a:pt x="1991" y="3170"/>
                  </a:lnTo>
                  <a:lnTo>
                    <a:pt x="1948" y="3203"/>
                  </a:lnTo>
                  <a:lnTo>
                    <a:pt x="1944" y="3196"/>
                  </a:lnTo>
                  <a:lnTo>
                    <a:pt x="1958" y="3180"/>
                  </a:lnTo>
                  <a:lnTo>
                    <a:pt x="1927" y="3203"/>
                  </a:lnTo>
                  <a:lnTo>
                    <a:pt x="1944" y="3180"/>
                  </a:lnTo>
                  <a:lnTo>
                    <a:pt x="1927" y="3203"/>
                  </a:lnTo>
                  <a:lnTo>
                    <a:pt x="1911" y="3187"/>
                  </a:lnTo>
                  <a:lnTo>
                    <a:pt x="1920" y="3187"/>
                  </a:lnTo>
                  <a:lnTo>
                    <a:pt x="1894" y="3187"/>
                  </a:lnTo>
                  <a:lnTo>
                    <a:pt x="1920" y="3180"/>
                  </a:lnTo>
                  <a:lnTo>
                    <a:pt x="1906" y="3180"/>
                  </a:lnTo>
                  <a:lnTo>
                    <a:pt x="1948" y="3154"/>
                  </a:lnTo>
                  <a:lnTo>
                    <a:pt x="1937" y="3142"/>
                  </a:lnTo>
                  <a:lnTo>
                    <a:pt x="1920" y="3170"/>
                  </a:lnTo>
                  <a:lnTo>
                    <a:pt x="1906" y="3170"/>
                  </a:lnTo>
                  <a:lnTo>
                    <a:pt x="1911" y="3163"/>
                  </a:lnTo>
                  <a:lnTo>
                    <a:pt x="1906" y="3163"/>
                  </a:lnTo>
                  <a:lnTo>
                    <a:pt x="1889" y="3170"/>
                  </a:lnTo>
                  <a:lnTo>
                    <a:pt x="1882" y="3170"/>
                  </a:lnTo>
                  <a:lnTo>
                    <a:pt x="1894" y="3154"/>
                  </a:lnTo>
                  <a:lnTo>
                    <a:pt x="1927" y="3147"/>
                  </a:lnTo>
                  <a:lnTo>
                    <a:pt x="1948" y="3125"/>
                  </a:lnTo>
                  <a:lnTo>
                    <a:pt x="1937" y="3130"/>
                  </a:lnTo>
                  <a:lnTo>
                    <a:pt x="1927" y="3114"/>
                  </a:lnTo>
                  <a:lnTo>
                    <a:pt x="1927" y="3130"/>
                  </a:lnTo>
                  <a:lnTo>
                    <a:pt x="1920" y="3142"/>
                  </a:lnTo>
                  <a:lnTo>
                    <a:pt x="1889" y="3154"/>
                  </a:lnTo>
                  <a:lnTo>
                    <a:pt x="1889" y="3147"/>
                  </a:lnTo>
                  <a:lnTo>
                    <a:pt x="1920" y="3130"/>
                  </a:lnTo>
                  <a:lnTo>
                    <a:pt x="1906" y="3114"/>
                  </a:lnTo>
                  <a:lnTo>
                    <a:pt x="1911" y="3109"/>
                  </a:lnTo>
                  <a:lnTo>
                    <a:pt x="1894" y="3114"/>
                  </a:lnTo>
                  <a:lnTo>
                    <a:pt x="1906" y="3125"/>
                  </a:lnTo>
                  <a:lnTo>
                    <a:pt x="1906" y="3130"/>
                  </a:lnTo>
                  <a:lnTo>
                    <a:pt x="1882" y="3147"/>
                  </a:lnTo>
                  <a:lnTo>
                    <a:pt x="1868" y="3130"/>
                  </a:lnTo>
                  <a:lnTo>
                    <a:pt x="1856" y="3154"/>
                  </a:lnTo>
                  <a:lnTo>
                    <a:pt x="1835" y="3147"/>
                  </a:lnTo>
                  <a:lnTo>
                    <a:pt x="1840" y="3154"/>
                  </a:lnTo>
                  <a:lnTo>
                    <a:pt x="1835" y="3163"/>
                  </a:lnTo>
                  <a:lnTo>
                    <a:pt x="1830" y="3147"/>
                  </a:lnTo>
                  <a:lnTo>
                    <a:pt x="1764" y="3154"/>
                  </a:lnTo>
                  <a:lnTo>
                    <a:pt x="1802" y="3154"/>
                  </a:lnTo>
                  <a:lnTo>
                    <a:pt x="1797" y="3163"/>
                  </a:lnTo>
                  <a:lnTo>
                    <a:pt x="1743" y="3163"/>
                  </a:lnTo>
                  <a:lnTo>
                    <a:pt x="1731" y="3163"/>
                  </a:lnTo>
                  <a:lnTo>
                    <a:pt x="1776" y="3142"/>
                  </a:lnTo>
                  <a:lnTo>
                    <a:pt x="1726" y="3147"/>
                  </a:lnTo>
                  <a:lnTo>
                    <a:pt x="1764" y="3142"/>
                  </a:lnTo>
                  <a:lnTo>
                    <a:pt x="1764" y="3130"/>
                  </a:lnTo>
                  <a:lnTo>
                    <a:pt x="1748" y="3130"/>
                  </a:lnTo>
                  <a:lnTo>
                    <a:pt x="1743" y="3125"/>
                  </a:lnTo>
                  <a:lnTo>
                    <a:pt x="1759" y="3109"/>
                  </a:lnTo>
                  <a:lnTo>
                    <a:pt x="1748" y="3109"/>
                  </a:lnTo>
                  <a:lnTo>
                    <a:pt x="1731" y="3114"/>
                  </a:lnTo>
                  <a:lnTo>
                    <a:pt x="1743" y="3130"/>
                  </a:lnTo>
                  <a:lnTo>
                    <a:pt x="1726" y="3130"/>
                  </a:lnTo>
                  <a:lnTo>
                    <a:pt x="1726" y="3125"/>
                  </a:lnTo>
                  <a:lnTo>
                    <a:pt x="1731" y="3125"/>
                  </a:lnTo>
                  <a:lnTo>
                    <a:pt x="1710" y="3125"/>
                  </a:lnTo>
                  <a:lnTo>
                    <a:pt x="1726" y="3109"/>
                  </a:lnTo>
                  <a:lnTo>
                    <a:pt x="1679" y="3097"/>
                  </a:lnTo>
                  <a:lnTo>
                    <a:pt x="1743" y="3085"/>
                  </a:lnTo>
                  <a:lnTo>
                    <a:pt x="1726" y="3076"/>
                  </a:lnTo>
                  <a:lnTo>
                    <a:pt x="1689" y="3092"/>
                  </a:lnTo>
                  <a:lnTo>
                    <a:pt x="1667" y="3085"/>
                  </a:lnTo>
                  <a:lnTo>
                    <a:pt x="1710" y="3076"/>
                  </a:lnTo>
                  <a:lnTo>
                    <a:pt x="1689" y="3076"/>
                  </a:lnTo>
                  <a:lnTo>
                    <a:pt x="1679" y="3076"/>
                  </a:lnTo>
                  <a:lnTo>
                    <a:pt x="1679" y="3059"/>
                  </a:lnTo>
                  <a:lnTo>
                    <a:pt x="1672" y="3069"/>
                  </a:lnTo>
                  <a:lnTo>
                    <a:pt x="1679" y="3052"/>
                  </a:lnTo>
                  <a:lnTo>
                    <a:pt x="1705" y="3036"/>
                  </a:lnTo>
                  <a:lnTo>
                    <a:pt x="1689" y="3036"/>
                  </a:lnTo>
                  <a:lnTo>
                    <a:pt x="1672" y="3052"/>
                  </a:lnTo>
                  <a:lnTo>
                    <a:pt x="1667" y="3069"/>
                  </a:lnTo>
                  <a:lnTo>
                    <a:pt x="1656" y="3059"/>
                  </a:lnTo>
                  <a:lnTo>
                    <a:pt x="1672" y="3043"/>
                  </a:lnTo>
                  <a:lnTo>
                    <a:pt x="1656" y="3052"/>
                  </a:lnTo>
                  <a:lnTo>
                    <a:pt x="1656" y="3036"/>
                  </a:lnTo>
                  <a:lnTo>
                    <a:pt x="1693" y="3031"/>
                  </a:lnTo>
                  <a:lnTo>
                    <a:pt x="1679" y="3019"/>
                  </a:lnTo>
                  <a:lnTo>
                    <a:pt x="1679" y="3014"/>
                  </a:lnTo>
                  <a:lnTo>
                    <a:pt x="1672" y="3031"/>
                  </a:lnTo>
                  <a:lnTo>
                    <a:pt x="1634" y="3036"/>
                  </a:lnTo>
                  <a:lnTo>
                    <a:pt x="1634" y="3019"/>
                  </a:lnTo>
                  <a:lnTo>
                    <a:pt x="1656" y="3019"/>
                  </a:lnTo>
                  <a:lnTo>
                    <a:pt x="1667" y="3014"/>
                  </a:lnTo>
                  <a:lnTo>
                    <a:pt x="1641" y="3014"/>
                  </a:lnTo>
                  <a:lnTo>
                    <a:pt x="1656" y="3003"/>
                  </a:lnTo>
                  <a:lnTo>
                    <a:pt x="1625" y="3003"/>
                  </a:lnTo>
                  <a:lnTo>
                    <a:pt x="1596" y="2981"/>
                  </a:lnTo>
                  <a:lnTo>
                    <a:pt x="1596" y="2958"/>
                  </a:lnTo>
                  <a:lnTo>
                    <a:pt x="1618" y="2941"/>
                  </a:lnTo>
                  <a:lnTo>
                    <a:pt x="1596" y="2958"/>
                  </a:lnTo>
                  <a:lnTo>
                    <a:pt x="1604" y="2925"/>
                  </a:lnTo>
                  <a:lnTo>
                    <a:pt x="1634" y="2920"/>
                  </a:lnTo>
                  <a:lnTo>
                    <a:pt x="1604" y="2925"/>
                  </a:lnTo>
                  <a:lnTo>
                    <a:pt x="1587" y="2948"/>
                  </a:lnTo>
                  <a:lnTo>
                    <a:pt x="1587" y="2925"/>
                  </a:lnTo>
                  <a:lnTo>
                    <a:pt x="1604" y="2920"/>
                  </a:lnTo>
                  <a:lnTo>
                    <a:pt x="1570" y="2925"/>
                  </a:lnTo>
                  <a:lnTo>
                    <a:pt x="1570" y="2908"/>
                  </a:lnTo>
                  <a:lnTo>
                    <a:pt x="1613" y="2892"/>
                  </a:lnTo>
                  <a:lnTo>
                    <a:pt x="1549" y="2908"/>
                  </a:lnTo>
                  <a:lnTo>
                    <a:pt x="1559" y="2892"/>
                  </a:lnTo>
                  <a:lnTo>
                    <a:pt x="1542" y="2903"/>
                  </a:lnTo>
                  <a:lnTo>
                    <a:pt x="1533" y="2887"/>
                  </a:lnTo>
                  <a:lnTo>
                    <a:pt x="1596" y="2875"/>
                  </a:lnTo>
                  <a:lnTo>
                    <a:pt x="1542" y="2875"/>
                  </a:lnTo>
                  <a:lnTo>
                    <a:pt x="1528" y="2870"/>
                  </a:lnTo>
                  <a:lnTo>
                    <a:pt x="1566" y="2863"/>
                  </a:lnTo>
                  <a:lnTo>
                    <a:pt x="1542" y="2863"/>
                  </a:lnTo>
                  <a:lnTo>
                    <a:pt x="1533" y="2854"/>
                  </a:lnTo>
                  <a:lnTo>
                    <a:pt x="1570" y="2854"/>
                  </a:lnTo>
                  <a:lnTo>
                    <a:pt x="1580" y="2847"/>
                  </a:lnTo>
                  <a:lnTo>
                    <a:pt x="1542" y="2847"/>
                  </a:lnTo>
                  <a:lnTo>
                    <a:pt x="1533" y="2854"/>
                  </a:lnTo>
                  <a:lnTo>
                    <a:pt x="1533" y="2863"/>
                  </a:lnTo>
                  <a:lnTo>
                    <a:pt x="1504" y="2837"/>
                  </a:lnTo>
                  <a:lnTo>
                    <a:pt x="1549" y="2814"/>
                  </a:lnTo>
                  <a:lnTo>
                    <a:pt x="1511" y="2830"/>
                  </a:lnTo>
                  <a:lnTo>
                    <a:pt x="1511" y="2821"/>
                  </a:lnTo>
                  <a:lnTo>
                    <a:pt x="1516" y="2821"/>
                  </a:lnTo>
                  <a:lnTo>
                    <a:pt x="1516" y="2814"/>
                  </a:lnTo>
                  <a:lnTo>
                    <a:pt x="1495" y="2809"/>
                  </a:lnTo>
                  <a:lnTo>
                    <a:pt x="1613" y="2781"/>
                  </a:lnTo>
                  <a:lnTo>
                    <a:pt x="1570" y="2781"/>
                  </a:lnTo>
                  <a:lnTo>
                    <a:pt x="1580" y="2776"/>
                  </a:lnTo>
                  <a:lnTo>
                    <a:pt x="1511" y="2797"/>
                  </a:lnTo>
                  <a:lnTo>
                    <a:pt x="1495" y="2792"/>
                  </a:lnTo>
                  <a:lnTo>
                    <a:pt x="1516" y="2792"/>
                  </a:lnTo>
                  <a:lnTo>
                    <a:pt x="1490" y="2781"/>
                  </a:lnTo>
                  <a:lnTo>
                    <a:pt x="1549" y="2781"/>
                  </a:lnTo>
                  <a:lnTo>
                    <a:pt x="1559" y="2776"/>
                  </a:lnTo>
                  <a:lnTo>
                    <a:pt x="1542" y="2776"/>
                  </a:lnTo>
                  <a:lnTo>
                    <a:pt x="1559" y="2759"/>
                  </a:lnTo>
                  <a:lnTo>
                    <a:pt x="1587" y="2764"/>
                  </a:lnTo>
                  <a:lnTo>
                    <a:pt x="1604" y="2759"/>
                  </a:lnTo>
                  <a:lnTo>
                    <a:pt x="1570" y="2759"/>
                  </a:lnTo>
                  <a:lnTo>
                    <a:pt x="1570" y="2752"/>
                  </a:lnTo>
                  <a:lnTo>
                    <a:pt x="1580" y="2743"/>
                  </a:lnTo>
                  <a:lnTo>
                    <a:pt x="1549" y="2736"/>
                  </a:lnTo>
                  <a:lnTo>
                    <a:pt x="1580" y="2726"/>
                  </a:lnTo>
                  <a:lnTo>
                    <a:pt x="1566" y="2726"/>
                  </a:lnTo>
                  <a:lnTo>
                    <a:pt x="1580" y="2726"/>
                  </a:lnTo>
                  <a:lnTo>
                    <a:pt x="1596" y="2726"/>
                  </a:lnTo>
                  <a:lnTo>
                    <a:pt x="1604" y="2752"/>
                  </a:lnTo>
                  <a:lnTo>
                    <a:pt x="1641" y="2764"/>
                  </a:lnTo>
                  <a:lnTo>
                    <a:pt x="1613" y="2743"/>
                  </a:lnTo>
                  <a:lnTo>
                    <a:pt x="1604" y="2736"/>
                  </a:lnTo>
                  <a:lnTo>
                    <a:pt x="1618" y="2726"/>
                  </a:lnTo>
                  <a:lnTo>
                    <a:pt x="1596" y="2726"/>
                  </a:lnTo>
                  <a:lnTo>
                    <a:pt x="1613" y="2703"/>
                  </a:lnTo>
                  <a:lnTo>
                    <a:pt x="1596" y="2719"/>
                  </a:lnTo>
                  <a:lnTo>
                    <a:pt x="1570" y="2719"/>
                  </a:lnTo>
                  <a:lnTo>
                    <a:pt x="1566" y="2698"/>
                  </a:lnTo>
                  <a:lnTo>
                    <a:pt x="1549" y="2665"/>
                  </a:lnTo>
                  <a:lnTo>
                    <a:pt x="1549" y="2698"/>
                  </a:lnTo>
                  <a:lnTo>
                    <a:pt x="1566" y="2698"/>
                  </a:lnTo>
                  <a:lnTo>
                    <a:pt x="1570" y="2719"/>
                  </a:lnTo>
                  <a:lnTo>
                    <a:pt x="1533" y="2736"/>
                  </a:lnTo>
                  <a:lnTo>
                    <a:pt x="1528" y="2736"/>
                  </a:lnTo>
                  <a:lnTo>
                    <a:pt x="1542" y="2719"/>
                  </a:lnTo>
                  <a:lnTo>
                    <a:pt x="1528" y="2719"/>
                  </a:lnTo>
                  <a:lnTo>
                    <a:pt x="1495" y="2776"/>
                  </a:lnTo>
                  <a:lnTo>
                    <a:pt x="1474" y="2781"/>
                  </a:lnTo>
                  <a:lnTo>
                    <a:pt x="1474" y="2759"/>
                  </a:lnTo>
                  <a:lnTo>
                    <a:pt x="1462" y="2759"/>
                  </a:lnTo>
                  <a:lnTo>
                    <a:pt x="1474" y="2736"/>
                  </a:lnTo>
                  <a:lnTo>
                    <a:pt x="1462" y="2726"/>
                  </a:lnTo>
                  <a:lnTo>
                    <a:pt x="1504" y="2710"/>
                  </a:lnTo>
                  <a:lnTo>
                    <a:pt x="1528" y="2686"/>
                  </a:lnTo>
                  <a:lnTo>
                    <a:pt x="1495" y="2703"/>
                  </a:lnTo>
                  <a:lnTo>
                    <a:pt x="1504" y="2698"/>
                  </a:lnTo>
                  <a:lnTo>
                    <a:pt x="1495" y="2686"/>
                  </a:lnTo>
                  <a:lnTo>
                    <a:pt x="1478" y="2710"/>
                  </a:lnTo>
                  <a:lnTo>
                    <a:pt x="1462" y="2710"/>
                  </a:lnTo>
                  <a:lnTo>
                    <a:pt x="1478" y="2703"/>
                  </a:lnTo>
                  <a:lnTo>
                    <a:pt x="1474" y="2703"/>
                  </a:lnTo>
                  <a:lnTo>
                    <a:pt x="1457" y="2710"/>
                  </a:lnTo>
                  <a:lnTo>
                    <a:pt x="1457" y="2703"/>
                  </a:lnTo>
                  <a:lnTo>
                    <a:pt x="1474" y="2698"/>
                  </a:lnTo>
                  <a:lnTo>
                    <a:pt x="1457" y="2681"/>
                  </a:lnTo>
                  <a:lnTo>
                    <a:pt x="1462" y="2665"/>
                  </a:lnTo>
                  <a:lnTo>
                    <a:pt x="1452" y="2665"/>
                  </a:lnTo>
                  <a:lnTo>
                    <a:pt x="1457" y="2653"/>
                  </a:lnTo>
                  <a:lnTo>
                    <a:pt x="1441" y="2670"/>
                  </a:lnTo>
                  <a:lnTo>
                    <a:pt x="1436" y="2653"/>
                  </a:lnTo>
                  <a:lnTo>
                    <a:pt x="1495" y="2625"/>
                  </a:lnTo>
                  <a:lnTo>
                    <a:pt x="1478" y="2615"/>
                  </a:lnTo>
                  <a:lnTo>
                    <a:pt x="1495" y="2608"/>
                  </a:lnTo>
                  <a:lnTo>
                    <a:pt x="1528" y="2599"/>
                  </a:lnTo>
                  <a:lnTo>
                    <a:pt x="1580" y="2608"/>
                  </a:lnTo>
                  <a:lnTo>
                    <a:pt x="1511" y="2599"/>
                  </a:lnTo>
                  <a:lnTo>
                    <a:pt x="1478" y="2615"/>
                  </a:lnTo>
                  <a:lnTo>
                    <a:pt x="1478" y="2625"/>
                  </a:lnTo>
                  <a:lnTo>
                    <a:pt x="1441" y="2648"/>
                  </a:lnTo>
                  <a:lnTo>
                    <a:pt x="1436" y="2632"/>
                  </a:lnTo>
                  <a:lnTo>
                    <a:pt x="1441" y="2615"/>
                  </a:lnTo>
                  <a:lnTo>
                    <a:pt x="1424" y="2632"/>
                  </a:lnTo>
                  <a:lnTo>
                    <a:pt x="1419" y="2625"/>
                  </a:lnTo>
                  <a:lnTo>
                    <a:pt x="1436" y="2615"/>
                  </a:lnTo>
                  <a:lnTo>
                    <a:pt x="1419" y="2615"/>
                  </a:lnTo>
                  <a:lnTo>
                    <a:pt x="1424" y="2592"/>
                  </a:lnTo>
                  <a:lnTo>
                    <a:pt x="1419" y="2608"/>
                  </a:lnTo>
                  <a:lnTo>
                    <a:pt x="1386" y="2608"/>
                  </a:lnTo>
                  <a:lnTo>
                    <a:pt x="1408" y="2592"/>
                  </a:lnTo>
                  <a:lnTo>
                    <a:pt x="1386" y="2599"/>
                  </a:lnTo>
                  <a:lnTo>
                    <a:pt x="1424" y="2575"/>
                  </a:lnTo>
                  <a:lnTo>
                    <a:pt x="1452" y="2587"/>
                  </a:lnTo>
                  <a:lnTo>
                    <a:pt x="1478" y="2570"/>
                  </a:lnTo>
                  <a:lnTo>
                    <a:pt x="1490" y="2575"/>
                  </a:lnTo>
                  <a:lnTo>
                    <a:pt x="1490" y="2570"/>
                  </a:lnTo>
                  <a:lnTo>
                    <a:pt x="1452" y="2587"/>
                  </a:lnTo>
                  <a:lnTo>
                    <a:pt x="1436" y="2575"/>
                  </a:lnTo>
                  <a:lnTo>
                    <a:pt x="1398" y="2592"/>
                  </a:lnTo>
                  <a:lnTo>
                    <a:pt x="1386" y="2587"/>
                  </a:lnTo>
                  <a:lnTo>
                    <a:pt x="1408" y="2570"/>
                  </a:lnTo>
                  <a:lnTo>
                    <a:pt x="1386" y="2575"/>
                  </a:lnTo>
                  <a:lnTo>
                    <a:pt x="1370" y="2575"/>
                  </a:lnTo>
                  <a:lnTo>
                    <a:pt x="1398" y="2570"/>
                  </a:lnTo>
                  <a:lnTo>
                    <a:pt x="1370" y="2570"/>
                  </a:lnTo>
                  <a:lnTo>
                    <a:pt x="1474" y="2514"/>
                  </a:lnTo>
                  <a:lnTo>
                    <a:pt x="1478" y="2497"/>
                  </a:lnTo>
                  <a:lnTo>
                    <a:pt x="1528" y="2476"/>
                  </a:lnTo>
                  <a:lnTo>
                    <a:pt x="1587" y="2476"/>
                  </a:lnTo>
                  <a:lnTo>
                    <a:pt x="1542" y="2464"/>
                  </a:lnTo>
                  <a:lnTo>
                    <a:pt x="1566" y="2448"/>
                  </a:lnTo>
                  <a:lnTo>
                    <a:pt x="1613" y="2459"/>
                  </a:lnTo>
                  <a:lnTo>
                    <a:pt x="1570" y="2448"/>
                  </a:lnTo>
                  <a:lnTo>
                    <a:pt x="1587" y="2443"/>
                  </a:lnTo>
                  <a:lnTo>
                    <a:pt x="1533" y="2464"/>
                  </a:lnTo>
                  <a:lnTo>
                    <a:pt x="1403" y="2554"/>
                  </a:lnTo>
                  <a:lnTo>
                    <a:pt x="1370" y="2559"/>
                  </a:lnTo>
                  <a:lnTo>
                    <a:pt x="1353" y="2554"/>
                  </a:lnTo>
                  <a:lnTo>
                    <a:pt x="1398" y="2537"/>
                  </a:lnTo>
                  <a:lnTo>
                    <a:pt x="1365" y="2542"/>
                  </a:lnTo>
                  <a:lnTo>
                    <a:pt x="1353" y="2537"/>
                  </a:lnTo>
                  <a:lnTo>
                    <a:pt x="1353" y="2514"/>
                  </a:lnTo>
                  <a:lnTo>
                    <a:pt x="1441" y="2504"/>
                  </a:lnTo>
                  <a:lnTo>
                    <a:pt x="1386" y="2504"/>
                  </a:lnTo>
                  <a:lnTo>
                    <a:pt x="1370" y="2497"/>
                  </a:lnTo>
                  <a:lnTo>
                    <a:pt x="1436" y="2488"/>
                  </a:lnTo>
                  <a:lnTo>
                    <a:pt x="1386" y="2481"/>
                  </a:lnTo>
                  <a:lnTo>
                    <a:pt x="1419" y="2481"/>
                  </a:lnTo>
                  <a:lnTo>
                    <a:pt x="1398" y="2481"/>
                  </a:lnTo>
                  <a:lnTo>
                    <a:pt x="1403" y="2476"/>
                  </a:lnTo>
                  <a:lnTo>
                    <a:pt x="1457" y="2476"/>
                  </a:lnTo>
                  <a:lnTo>
                    <a:pt x="1441" y="2464"/>
                  </a:lnTo>
                  <a:lnTo>
                    <a:pt x="1353" y="2464"/>
                  </a:lnTo>
                  <a:lnTo>
                    <a:pt x="1348" y="2459"/>
                  </a:lnTo>
                  <a:lnTo>
                    <a:pt x="1386" y="2448"/>
                  </a:lnTo>
                  <a:lnTo>
                    <a:pt x="1348" y="2443"/>
                  </a:lnTo>
                  <a:lnTo>
                    <a:pt x="1382" y="2443"/>
                  </a:lnTo>
                  <a:lnTo>
                    <a:pt x="1332" y="2443"/>
                  </a:lnTo>
                  <a:lnTo>
                    <a:pt x="1348" y="2431"/>
                  </a:lnTo>
                  <a:lnTo>
                    <a:pt x="1382" y="2426"/>
                  </a:lnTo>
                  <a:lnTo>
                    <a:pt x="1365" y="2426"/>
                  </a:lnTo>
                  <a:lnTo>
                    <a:pt x="1462" y="2410"/>
                  </a:lnTo>
                  <a:lnTo>
                    <a:pt x="1511" y="2410"/>
                  </a:lnTo>
                  <a:lnTo>
                    <a:pt x="1533" y="2431"/>
                  </a:lnTo>
                  <a:lnTo>
                    <a:pt x="1587" y="2431"/>
                  </a:lnTo>
                  <a:lnTo>
                    <a:pt x="1533" y="2431"/>
                  </a:lnTo>
                  <a:lnTo>
                    <a:pt x="1511" y="2410"/>
                  </a:lnTo>
                  <a:lnTo>
                    <a:pt x="1533" y="2403"/>
                  </a:lnTo>
                  <a:lnTo>
                    <a:pt x="1386" y="2410"/>
                  </a:lnTo>
                  <a:lnTo>
                    <a:pt x="1348" y="2426"/>
                  </a:lnTo>
                  <a:lnTo>
                    <a:pt x="1344" y="2419"/>
                  </a:lnTo>
                  <a:lnTo>
                    <a:pt x="1353" y="2393"/>
                  </a:lnTo>
                  <a:lnTo>
                    <a:pt x="1408" y="2370"/>
                  </a:lnTo>
                  <a:lnTo>
                    <a:pt x="1398" y="2370"/>
                  </a:lnTo>
                  <a:lnTo>
                    <a:pt x="1403" y="2370"/>
                  </a:lnTo>
                  <a:lnTo>
                    <a:pt x="1436" y="2365"/>
                  </a:lnTo>
                  <a:lnTo>
                    <a:pt x="1419" y="2365"/>
                  </a:lnTo>
                  <a:lnTo>
                    <a:pt x="1441" y="2365"/>
                  </a:lnTo>
                  <a:lnTo>
                    <a:pt x="1490" y="2377"/>
                  </a:lnTo>
                  <a:lnTo>
                    <a:pt x="1516" y="2370"/>
                  </a:lnTo>
                  <a:lnTo>
                    <a:pt x="1566" y="2393"/>
                  </a:lnTo>
                  <a:lnTo>
                    <a:pt x="1604" y="2393"/>
                  </a:lnTo>
                  <a:lnTo>
                    <a:pt x="1613" y="2386"/>
                  </a:lnTo>
                  <a:lnTo>
                    <a:pt x="1570" y="2393"/>
                  </a:lnTo>
                  <a:lnTo>
                    <a:pt x="1559" y="2377"/>
                  </a:lnTo>
                  <a:lnTo>
                    <a:pt x="1596" y="2365"/>
                  </a:lnTo>
                  <a:lnTo>
                    <a:pt x="1618" y="2370"/>
                  </a:lnTo>
                  <a:lnTo>
                    <a:pt x="1596" y="2365"/>
                  </a:lnTo>
                  <a:lnTo>
                    <a:pt x="1542" y="2377"/>
                  </a:lnTo>
                  <a:lnTo>
                    <a:pt x="1528" y="2365"/>
                  </a:lnTo>
                  <a:lnTo>
                    <a:pt x="1587" y="2348"/>
                  </a:lnTo>
                  <a:lnTo>
                    <a:pt x="1559" y="2337"/>
                  </a:lnTo>
                  <a:lnTo>
                    <a:pt x="1559" y="2348"/>
                  </a:lnTo>
                  <a:lnTo>
                    <a:pt x="1566" y="2348"/>
                  </a:lnTo>
                  <a:lnTo>
                    <a:pt x="1533" y="2365"/>
                  </a:lnTo>
                  <a:lnTo>
                    <a:pt x="1516" y="2348"/>
                  </a:lnTo>
                  <a:lnTo>
                    <a:pt x="1549" y="2348"/>
                  </a:lnTo>
                  <a:lnTo>
                    <a:pt x="1542" y="2332"/>
                  </a:lnTo>
                  <a:lnTo>
                    <a:pt x="1504" y="2337"/>
                  </a:lnTo>
                  <a:lnTo>
                    <a:pt x="1516" y="2353"/>
                  </a:lnTo>
                  <a:lnTo>
                    <a:pt x="1495" y="2370"/>
                  </a:lnTo>
                  <a:lnTo>
                    <a:pt x="1490" y="2365"/>
                  </a:lnTo>
                  <a:lnTo>
                    <a:pt x="1504" y="2353"/>
                  </a:lnTo>
                  <a:lnTo>
                    <a:pt x="1452" y="2353"/>
                  </a:lnTo>
                  <a:lnTo>
                    <a:pt x="1504" y="2332"/>
                  </a:lnTo>
                  <a:lnTo>
                    <a:pt x="1403" y="2365"/>
                  </a:lnTo>
                  <a:lnTo>
                    <a:pt x="1365" y="2386"/>
                  </a:lnTo>
                  <a:lnTo>
                    <a:pt x="1353" y="2386"/>
                  </a:lnTo>
                  <a:lnTo>
                    <a:pt x="1348" y="2377"/>
                  </a:lnTo>
                  <a:lnTo>
                    <a:pt x="1365" y="2370"/>
                  </a:lnTo>
                  <a:lnTo>
                    <a:pt x="1353" y="2353"/>
                  </a:lnTo>
                  <a:lnTo>
                    <a:pt x="1382" y="2353"/>
                  </a:lnTo>
                  <a:lnTo>
                    <a:pt x="1370" y="2348"/>
                  </a:lnTo>
                  <a:lnTo>
                    <a:pt x="1386" y="2353"/>
                  </a:lnTo>
                  <a:lnTo>
                    <a:pt x="1403" y="2348"/>
                  </a:lnTo>
                  <a:lnTo>
                    <a:pt x="1386" y="2348"/>
                  </a:lnTo>
                  <a:lnTo>
                    <a:pt x="1386" y="2337"/>
                  </a:lnTo>
                  <a:lnTo>
                    <a:pt x="1408" y="2332"/>
                  </a:lnTo>
                  <a:lnTo>
                    <a:pt x="1386" y="2332"/>
                  </a:lnTo>
                  <a:lnTo>
                    <a:pt x="1386" y="2320"/>
                  </a:lnTo>
                  <a:lnTo>
                    <a:pt x="1457" y="2337"/>
                  </a:lnTo>
                  <a:lnTo>
                    <a:pt x="1474" y="2332"/>
                  </a:lnTo>
                  <a:lnTo>
                    <a:pt x="1424" y="2332"/>
                  </a:lnTo>
                  <a:lnTo>
                    <a:pt x="1398" y="2315"/>
                  </a:lnTo>
                  <a:lnTo>
                    <a:pt x="1370" y="2315"/>
                  </a:lnTo>
                  <a:lnTo>
                    <a:pt x="1382" y="2308"/>
                  </a:lnTo>
                  <a:lnTo>
                    <a:pt x="1452" y="2320"/>
                  </a:lnTo>
                  <a:lnTo>
                    <a:pt x="1419" y="2308"/>
                  </a:lnTo>
                  <a:lnTo>
                    <a:pt x="1490" y="2320"/>
                  </a:lnTo>
                  <a:lnTo>
                    <a:pt x="1533" y="2320"/>
                  </a:lnTo>
                  <a:lnTo>
                    <a:pt x="1570" y="2337"/>
                  </a:lnTo>
                  <a:lnTo>
                    <a:pt x="1604" y="2337"/>
                  </a:lnTo>
                  <a:lnTo>
                    <a:pt x="1511" y="2308"/>
                  </a:lnTo>
                  <a:lnTo>
                    <a:pt x="1549" y="2308"/>
                  </a:lnTo>
                  <a:lnTo>
                    <a:pt x="1528" y="2299"/>
                  </a:lnTo>
                  <a:lnTo>
                    <a:pt x="1533" y="2292"/>
                  </a:lnTo>
                  <a:lnTo>
                    <a:pt x="1533" y="2282"/>
                  </a:lnTo>
                  <a:lnTo>
                    <a:pt x="1559" y="2266"/>
                  </a:lnTo>
                  <a:lnTo>
                    <a:pt x="1504" y="2275"/>
                  </a:lnTo>
                  <a:lnTo>
                    <a:pt x="1528" y="2292"/>
                  </a:lnTo>
                  <a:lnTo>
                    <a:pt x="1441" y="2308"/>
                  </a:lnTo>
                  <a:lnTo>
                    <a:pt x="1441" y="2308"/>
                  </a:lnTo>
                  <a:lnTo>
                    <a:pt x="1441" y="2308"/>
                  </a:lnTo>
                  <a:close/>
                  <a:moveTo>
                    <a:pt x="2343" y="45"/>
                  </a:moveTo>
                  <a:lnTo>
                    <a:pt x="2374" y="41"/>
                  </a:lnTo>
                  <a:lnTo>
                    <a:pt x="2390" y="57"/>
                  </a:lnTo>
                  <a:lnTo>
                    <a:pt x="2343" y="45"/>
                  </a:lnTo>
                  <a:lnTo>
                    <a:pt x="2343" y="45"/>
                  </a:lnTo>
                  <a:lnTo>
                    <a:pt x="2343" y="45"/>
                  </a:lnTo>
                  <a:close/>
                  <a:moveTo>
                    <a:pt x="2390" y="83"/>
                  </a:moveTo>
                  <a:lnTo>
                    <a:pt x="2267" y="62"/>
                  </a:lnTo>
                  <a:lnTo>
                    <a:pt x="2298" y="45"/>
                  </a:lnTo>
                  <a:lnTo>
                    <a:pt x="2411" y="83"/>
                  </a:lnTo>
                  <a:lnTo>
                    <a:pt x="2390" y="83"/>
                  </a:lnTo>
                  <a:lnTo>
                    <a:pt x="2390" y="83"/>
                  </a:lnTo>
                  <a:lnTo>
                    <a:pt x="2390" y="83"/>
                  </a:lnTo>
                  <a:close/>
                  <a:moveTo>
                    <a:pt x="2284" y="67"/>
                  </a:moveTo>
                  <a:lnTo>
                    <a:pt x="2315" y="67"/>
                  </a:lnTo>
                  <a:lnTo>
                    <a:pt x="2272" y="67"/>
                  </a:lnTo>
                  <a:lnTo>
                    <a:pt x="2284" y="67"/>
                  </a:lnTo>
                  <a:lnTo>
                    <a:pt x="2284" y="67"/>
                  </a:lnTo>
                  <a:lnTo>
                    <a:pt x="2284" y="67"/>
                  </a:lnTo>
                  <a:close/>
                  <a:moveTo>
                    <a:pt x="2411" y="83"/>
                  </a:moveTo>
                  <a:lnTo>
                    <a:pt x="2411" y="78"/>
                  </a:lnTo>
                  <a:lnTo>
                    <a:pt x="2449" y="83"/>
                  </a:lnTo>
                  <a:lnTo>
                    <a:pt x="2411" y="83"/>
                  </a:lnTo>
                  <a:lnTo>
                    <a:pt x="2411" y="83"/>
                  </a:lnTo>
                  <a:lnTo>
                    <a:pt x="2411" y="83"/>
                  </a:lnTo>
                  <a:close/>
                  <a:moveTo>
                    <a:pt x="2322" y="116"/>
                  </a:moveTo>
                  <a:lnTo>
                    <a:pt x="2213" y="78"/>
                  </a:lnTo>
                  <a:lnTo>
                    <a:pt x="2260" y="78"/>
                  </a:lnTo>
                  <a:lnTo>
                    <a:pt x="2322" y="116"/>
                  </a:lnTo>
                  <a:lnTo>
                    <a:pt x="2322" y="116"/>
                  </a:lnTo>
                  <a:lnTo>
                    <a:pt x="2322" y="116"/>
                  </a:lnTo>
                  <a:close/>
                  <a:moveTo>
                    <a:pt x="2343" y="111"/>
                  </a:moveTo>
                  <a:lnTo>
                    <a:pt x="2272" y="83"/>
                  </a:lnTo>
                  <a:lnTo>
                    <a:pt x="2369" y="95"/>
                  </a:lnTo>
                  <a:lnTo>
                    <a:pt x="2343" y="111"/>
                  </a:lnTo>
                  <a:lnTo>
                    <a:pt x="2343" y="111"/>
                  </a:lnTo>
                  <a:lnTo>
                    <a:pt x="2343" y="111"/>
                  </a:lnTo>
                  <a:close/>
                  <a:moveTo>
                    <a:pt x="1840" y="140"/>
                  </a:moveTo>
                  <a:lnTo>
                    <a:pt x="1802" y="123"/>
                  </a:lnTo>
                  <a:lnTo>
                    <a:pt x="1868" y="140"/>
                  </a:lnTo>
                  <a:lnTo>
                    <a:pt x="1840" y="140"/>
                  </a:lnTo>
                  <a:lnTo>
                    <a:pt x="1840" y="140"/>
                  </a:lnTo>
                  <a:lnTo>
                    <a:pt x="1840" y="140"/>
                  </a:lnTo>
                  <a:close/>
                  <a:moveTo>
                    <a:pt x="1731" y="152"/>
                  </a:moveTo>
                  <a:lnTo>
                    <a:pt x="1726" y="135"/>
                  </a:lnTo>
                  <a:lnTo>
                    <a:pt x="1797" y="152"/>
                  </a:lnTo>
                  <a:lnTo>
                    <a:pt x="1731" y="152"/>
                  </a:lnTo>
                  <a:lnTo>
                    <a:pt x="1731" y="152"/>
                  </a:lnTo>
                  <a:lnTo>
                    <a:pt x="1731" y="152"/>
                  </a:lnTo>
                  <a:close/>
                  <a:moveTo>
                    <a:pt x="2298" y="173"/>
                  </a:moveTo>
                  <a:lnTo>
                    <a:pt x="2284" y="168"/>
                  </a:lnTo>
                  <a:lnTo>
                    <a:pt x="2305" y="173"/>
                  </a:lnTo>
                  <a:lnTo>
                    <a:pt x="2298" y="173"/>
                  </a:lnTo>
                  <a:lnTo>
                    <a:pt x="2298" y="173"/>
                  </a:lnTo>
                  <a:lnTo>
                    <a:pt x="2298" y="173"/>
                  </a:lnTo>
                  <a:close/>
                  <a:moveTo>
                    <a:pt x="1965" y="279"/>
                  </a:moveTo>
                  <a:lnTo>
                    <a:pt x="1937" y="251"/>
                  </a:lnTo>
                  <a:lnTo>
                    <a:pt x="1830" y="222"/>
                  </a:lnTo>
                  <a:lnTo>
                    <a:pt x="1776" y="178"/>
                  </a:lnTo>
                  <a:lnTo>
                    <a:pt x="1882" y="173"/>
                  </a:lnTo>
                  <a:lnTo>
                    <a:pt x="2003" y="222"/>
                  </a:lnTo>
                  <a:lnTo>
                    <a:pt x="1958" y="251"/>
                  </a:lnTo>
                  <a:lnTo>
                    <a:pt x="1982" y="267"/>
                  </a:lnTo>
                  <a:lnTo>
                    <a:pt x="1965" y="279"/>
                  </a:lnTo>
                  <a:lnTo>
                    <a:pt x="1965" y="279"/>
                  </a:lnTo>
                  <a:lnTo>
                    <a:pt x="1965" y="279"/>
                  </a:lnTo>
                  <a:close/>
                  <a:moveTo>
                    <a:pt x="1731" y="211"/>
                  </a:moveTo>
                  <a:lnTo>
                    <a:pt x="1693" y="194"/>
                  </a:lnTo>
                  <a:lnTo>
                    <a:pt x="1748" y="206"/>
                  </a:lnTo>
                  <a:lnTo>
                    <a:pt x="1731" y="211"/>
                  </a:lnTo>
                  <a:lnTo>
                    <a:pt x="1731" y="211"/>
                  </a:lnTo>
                  <a:lnTo>
                    <a:pt x="1731" y="211"/>
                  </a:lnTo>
                  <a:close/>
                  <a:moveTo>
                    <a:pt x="1528" y="296"/>
                  </a:moveTo>
                  <a:lnTo>
                    <a:pt x="1403" y="267"/>
                  </a:lnTo>
                  <a:lnTo>
                    <a:pt x="1382" y="244"/>
                  </a:lnTo>
                  <a:lnTo>
                    <a:pt x="1398" y="227"/>
                  </a:lnTo>
                  <a:lnTo>
                    <a:pt x="1419" y="239"/>
                  </a:lnTo>
                  <a:lnTo>
                    <a:pt x="1528" y="296"/>
                  </a:lnTo>
                  <a:lnTo>
                    <a:pt x="1528" y="296"/>
                  </a:lnTo>
                  <a:lnTo>
                    <a:pt x="1528" y="296"/>
                  </a:lnTo>
                  <a:close/>
                  <a:moveTo>
                    <a:pt x="1462" y="251"/>
                  </a:moveTo>
                  <a:lnTo>
                    <a:pt x="1457" y="239"/>
                  </a:lnTo>
                  <a:lnTo>
                    <a:pt x="1490" y="251"/>
                  </a:lnTo>
                  <a:lnTo>
                    <a:pt x="1462" y="251"/>
                  </a:lnTo>
                  <a:lnTo>
                    <a:pt x="1462" y="251"/>
                  </a:lnTo>
                  <a:lnTo>
                    <a:pt x="1462" y="251"/>
                  </a:lnTo>
                  <a:close/>
                  <a:moveTo>
                    <a:pt x="3789" y="284"/>
                  </a:moveTo>
                  <a:lnTo>
                    <a:pt x="3763" y="251"/>
                  </a:lnTo>
                  <a:lnTo>
                    <a:pt x="3800" y="296"/>
                  </a:lnTo>
                  <a:lnTo>
                    <a:pt x="3789" y="284"/>
                  </a:lnTo>
                  <a:lnTo>
                    <a:pt x="3789" y="284"/>
                  </a:lnTo>
                  <a:lnTo>
                    <a:pt x="3789" y="284"/>
                  </a:lnTo>
                  <a:close/>
                  <a:moveTo>
                    <a:pt x="3704" y="305"/>
                  </a:moveTo>
                  <a:lnTo>
                    <a:pt x="3666" y="267"/>
                  </a:lnTo>
                  <a:lnTo>
                    <a:pt x="3692" y="267"/>
                  </a:lnTo>
                  <a:lnTo>
                    <a:pt x="3741" y="305"/>
                  </a:lnTo>
                  <a:lnTo>
                    <a:pt x="3704" y="305"/>
                  </a:lnTo>
                  <a:lnTo>
                    <a:pt x="3704" y="305"/>
                  </a:lnTo>
                  <a:lnTo>
                    <a:pt x="3704" y="305"/>
                  </a:lnTo>
                  <a:close/>
                  <a:moveTo>
                    <a:pt x="3817" y="350"/>
                  </a:moveTo>
                  <a:lnTo>
                    <a:pt x="3772" y="322"/>
                  </a:lnTo>
                  <a:lnTo>
                    <a:pt x="3810" y="322"/>
                  </a:lnTo>
                  <a:lnTo>
                    <a:pt x="3843" y="350"/>
                  </a:lnTo>
                  <a:lnTo>
                    <a:pt x="3817" y="350"/>
                  </a:lnTo>
                  <a:lnTo>
                    <a:pt x="3817" y="350"/>
                  </a:lnTo>
                  <a:lnTo>
                    <a:pt x="3817" y="350"/>
                  </a:lnTo>
                  <a:close/>
                  <a:moveTo>
                    <a:pt x="3654" y="355"/>
                  </a:moveTo>
                  <a:lnTo>
                    <a:pt x="3666" y="350"/>
                  </a:lnTo>
                  <a:lnTo>
                    <a:pt x="3649" y="338"/>
                  </a:lnTo>
                  <a:lnTo>
                    <a:pt x="3654" y="333"/>
                  </a:lnTo>
                  <a:lnTo>
                    <a:pt x="3708" y="338"/>
                  </a:lnTo>
                  <a:lnTo>
                    <a:pt x="3654" y="355"/>
                  </a:lnTo>
                  <a:lnTo>
                    <a:pt x="3654" y="355"/>
                  </a:lnTo>
                  <a:lnTo>
                    <a:pt x="3654" y="355"/>
                  </a:lnTo>
                  <a:close/>
                  <a:moveTo>
                    <a:pt x="3789" y="600"/>
                  </a:moveTo>
                  <a:lnTo>
                    <a:pt x="3720" y="612"/>
                  </a:lnTo>
                  <a:lnTo>
                    <a:pt x="3741" y="584"/>
                  </a:lnTo>
                  <a:lnTo>
                    <a:pt x="3789" y="600"/>
                  </a:lnTo>
                  <a:lnTo>
                    <a:pt x="3789" y="600"/>
                  </a:lnTo>
                  <a:lnTo>
                    <a:pt x="3789" y="600"/>
                  </a:lnTo>
                  <a:close/>
                  <a:moveTo>
                    <a:pt x="3763" y="749"/>
                  </a:moveTo>
                  <a:lnTo>
                    <a:pt x="3763" y="766"/>
                  </a:lnTo>
                  <a:lnTo>
                    <a:pt x="3758" y="761"/>
                  </a:lnTo>
                  <a:lnTo>
                    <a:pt x="3763" y="749"/>
                  </a:lnTo>
                  <a:lnTo>
                    <a:pt x="3763" y="749"/>
                  </a:lnTo>
                  <a:lnTo>
                    <a:pt x="3763" y="749"/>
                  </a:lnTo>
                  <a:close/>
                  <a:moveTo>
                    <a:pt x="3881" y="749"/>
                  </a:moveTo>
                  <a:lnTo>
                    <a:pt x="3885" y="761"/>
                  </a:lnTo>
                  <a:lnTo>
                    <a:pt x="3848" y="794"/>
                  </a:lnTo>
                  <a:lnTo>
                    <a:pt x="3855" y="778"/>
                  </a:lnTo>
                  <a:lnTo>
                    <a:pt x="3881" y="749"/>
                  </a:lnTo>
                  <a:lnTo>
                    <a:pt x="3881" y="749"/>
                  </a:lnTo>
                  <a:lnTo>
                    <a:pt x="3881" y="749"/>
                  </a:lnTo>
                  <a:close/>
                  <a:moveTo>
                    <a:pt x="3763" y="834"/>
                  </a:moveTo>
                  <a:lnTo>
                    <a:pt x="3734" y="822"/>
                  </a:lnTo>
                  <a:lnTo>
                    <a:pt x="3779" y="799"/>
                  </a:lnTo>
                  <a:lnTo>
                    <a:pt x="3763" y="815"/>
                  </a:lnTo>
                  <a:lnTo>
                    <a:pt x="3779" y="822"/>
                  </a:lnTo>
                  <a:lnTo>
                    <a:pt x="3758" y="822"/>
                  </a:lnTo>
                  <a:lnTo>
                    <a:pt x="3779" y="822"/>
                  </a:lnTo>
                  <a:lnTo>
                    <a:pt x="3763" y="834"/>
                  </a:lnTo>
                  <a:lnTo>
                    <a:pt x="3763" y="834"/>
                  </a:lnTo>
                  <a:lnTo>
                    <a:pt x="3763" y="834"/>
                  </a:lnTo>
                  <a:close/>
                  <a:moveTo>
                    <a:pt x="3843" y="834"/>
                  </a:moveTo>
                  <a:lnTo>
                    <a:pt x="3843" y="806"/>
                  </a:lnTo>
                  <a:lnTo>
                    <a:pt x="3855" y="815"/>
                  </a:lnTo>
                  <a:lnTo>
                    <a:pt x="3843" y="834"/>
                  </a:lnTo>
                  <a:lnTo>
                    <a:pt x="3843" y="834"/>
                  </a:lnTo>
                  <a:lnTo>
                    <a:pt x="3843" y="834"/>
                  </a:lnTo>
                  <a:close/>
                  <a:moveTo>
                    <a:pt x="3772" y="877"/>
                  </a:moveTo>
                  <a:lnTo>
                    <a:pt x="3789" y="889"/>
                  </a:lnTo>
                  <a:lnTo>
                    <a:pt x="3763" y="893"/>
                  </a:lnTo>
                  <a:lnTo>
                    <a:pt x="3763" y="889"/>
                  </a:lnTo>
                  <a:lnTo>
                    <a:pt x="3772" y="877"/>
                  </a:lnTo>
                  <a:lnTo>
                    <a:pt x="3772" y="877"/>
                  </a:lnTo>
                  <a:lnTo>
                    <a:pt x="3772" y="877"/>
                  </a:lnTo>
                  <a:close/>
                  <a:moveTo>
                    <a:pt x="3746" y="889"/>
                  </a:moveTo>
                  <a:lnTo>
                    <a:pt x="3758" y="893"/>
                  </a:lnTo>
                  <a:lnTo>
                    <a:pt x="3741" y="905"/>
                  </a:lnTo>
                  <a:lnTo>
                    <a:pt x="3741" y="889"/>
                  </a:lnTo>
                  <a:lnTo>
                    <a:pt x="3746" y="889"/>
                  </a:lnTo>
                  <a:lnTo>
                    <a:pt x="3746" y="889"/>
                  </a:lnTo>
                  <a:lnTo>
                    <a:pt x="3746" y="889"/>
                  </a:lnTo>
                  <a:close/>
                  <a:moveTo>
                    <a:pt x="3772" y="910"/>
                  </a:moveTo>
                  <a:lnTo>
                    <a:pt x="3763" y="905"/>
                  </a:lnTo>
                  <a:lnTo>
                    <a:pt x="3796" y="905"/>
                  </a:lnTo>
                  <a:lnTo>
                    <a:pt x="3772" y="910"/>
                  </a:lnTo>
                  <a:lnTo>
                    <a:pt x="3772" y="910"/>
                  </a:lnTo>
                  <a:lnTo>
                    <a:pt x="3772" y="910"/>
                  </a:lnTo>
                  <a:close/>
                  <a:moveTo>
                    <a:pt x="3649" y="917"/>
                  </a:moveTo>
                  <a:lnTo>
                    <a:pt x="3654" y="917"/>
                  </a:lnTo>
                  <a:lnTo>
                    <a:pt x="3649" y="917"/>
                  </a:lnTo>
                  <a:lnTo>
                    <a:pt x="3649" y="917"/>
                  </a:lnTo>
                  <a:lnTo>
                    <a:pt x="3649" y="917"/>
                  </a:lnTo>
                  <a:close/>
                  <a:moveTo>
                    <a:pt x="3796" y="917"/>
                  </a:moveTo>
                  <a:lnTo>
                    <a:pt x="3789" y="933"/>
                  </a:lnTo>
                  <a:lnTo>
                    <a:pt x="3779" y="926"/>
                  </a:lnTo>
                  <a:lnTo>
                    <a:pt x="3796" y="917"/>
                  </a:lnTo>
                  <a:lnTo>
                    <a:pt x="3796" y="917"/>
                  </a:lnTo>
                  <a:lnTo>
                    <a:pt x="3796" y="917"/>
                  </a:lnTo>
                  <a:close/>
                  <a:moveTo>
                    <a:pt x="3772" y="926"/>
                  </a:moveTo>
                  <a:lnTo>
                    <a:pt x="3763" y="926"/>
                  </a:lnTo>
                  <a:lnTo>
                    <a:pt x="3772" y="917"/>
                  </a:lnTo>
                  <a:lnTo>
                    <a:pt x="3772" y="926"/>
                  </a:lnTo>
                  <a:lnTo>
                    <a:pt x="3772" y="926"/>
                  </a:lnTo>
                  <a:lnTo>
                    <a:pt x="3772" y="926"/>
                  </a:lnTo>
                  <a:close/>
                  <a:moveTo>
                    <a:pt x="3637" y="945"/>
                  </a:moveTo>
                  <a:lnTo>
                    <a:pt x="3628" y="966"/>
                  </a:lnTo>
                  <a:lnTo>
                    <a:pt x="3616" y="962"/>
                  </a:lnTo>
                  <a:lnTo>
                    <a:pt x="3637" y="945"/>
                  </a:lnTo>
                  <a:lnTo>
                    <a:pt x="3637" y="945"/>
                  </a:lnTo>
                  <a:lnTo>
                    <a:pt x="3637" y="945"/>
                  </a:lnTo>
                  <a:close/>
                  <a:moveTo>
                    <a:pt x="3734" y="966"/>
                  </a:moveTo>
                  <a:lnTo>
                    <a:pt x="3772" y="971"/>
                  </a:lnTo>
                  <a:lnTo>
                    <a:pt x="3687" y="950"/>
                  </a:lnTo>
                  <a:lnTo>
                    <a:pt x="3725" y="950"/>
                  </a:lnTo>
                  <a:lnTo>
                    <a:pt x="3720" y="950"/>
                  </a:lnTo>
                  <a:lnTo>
                    <a:pt x="3734" y="966"/>
                  </a:lnTo>
                  <a:lnTo>
                    <a:pt x="3734" y="966"/>
                  </a:lnTo>
                  <a:lnTo>
                    <a:pt x="3734" y="966"/>
                  </a:lnTo>
                  <a:close/>
                  <a:moveTo>
                    <a:pt x="3746" y="962"/>
                  </a:moveTo>
                  <a:lnTo>
                    <a:pt x="3741" y="950"/>
                  </a:lnTo>
                  <a:lnTo>
                    <a:pt x="3746" y="962"/>
                  </a:lnTo>
                  <a:lnTo>
                    <a:pt x="3746" y="962"/>
                  </a:lnTo>
                  <a:lnTo>
                    <a:pt x="3746" y="962"/>
                  </a:lnTo>
                  <a:close/>
                  <a:moveTo>
                    <a:pt x="3881" y="962"/>
                  </a:moveTo>
                  <a:lnTo>
                    <a:pt x="3885" y="971"/>
                  </a:lnTo>
                  <a:lnTo>
                    <a:pt x="3881" y="988"/>
                  </a:lnTo>
                  <a:lnTo>
                    <a:pt x="3843" y="1000"/>
                  </a:lnTo>
                  <a:lnTo>
                    <a:pt x="3864" y="966"/>
                  </a:lnTo>
                  <a:lnTo>
                    <a:pt x="3881" y="962"/>
                  </a:lnTo>
                  <a:lnTo>
                    <a:pt x="3881" y="962"/>
                  </a:lnTo>
                  <a:lnTo>
                    <a:pt x="3881" y="962"/>
                  </a:lnTo>
                  <a:close/>
                  <a:moveTo>
                    <a:pt x="3708" y="1000"/>
                  </a:moveTo>
                  <a:lnTo>
                    <a:pt x="3720" y="1004"/>
                  </a:lnTo>
                  <a:lnTo>
                    <a:pt x="3687" y="1004"/>
                  </a:lnTo>
                  <a:lnTo>
                    <a:pt x="3708" y="1000"/>
                  </a:lnTo>
                  <a:lnTo>
                    <a:pt x="3708" y="1000"/>
                  </a:lnTo>
                  <a:lnTo>
                    <a:pt x="3708" y="1000"/>
                  </a:lnTo>
                  <a:close/>
                  <a:moveTo>
                    <a:pt x="432" y="1004"/>
                  </a:moveTo>
                  <a:lnTo>
                    <a:pt x="425" y="1004"/>
                  </a:lnTo>
                  <a:lnTo>
                    <a:pt x="446" y="1004"/>
                  </a:lnTo>
                  <a:lnTo>
                    <a:pt x="432" y="1004"/>
                  </a:lnTo>
                  <a:lnTo>
                    <a:pt x="432" y="1004"/>
                  </a:lnTo>
                  <a:lnTo>
                    <a:pt x="432" y="1004"/>
                  </a:lnTo>
                  <a:close/>
                  <a:moveTo>
                    <a:pt x="479" y="1028"/>
                  </a:moveTo>
                  <a:lnTo>
                    <a:pt x="437" y="1021"/>
                  </a:lnTo>
                  <a:lnTo>
                    <a:pt x="479" y="1021"/>
                  </a:lnTo>
                  <a:lnTo>
                    <a:pt x="479" y="1028"/>
                  </a:lnTo>
                  <a:lnTo>
                    <a:pt x="479" y="1028"/>
                  </a:lnTo>
                  <a:lnTo>
                    <a:pt x="479" y="1028"/>
                  </a:lnTo>
                  <a:close/>
                  <a:moveTo>
                    <a:pt x="122" y="1028"/>
                  </a:moveTo>
                  <a:lnTo>
                    <a:pt x="205" y="1037"/>
                  </a:lnTo>
                  <a:lnTo>
                    <a:pt x="139" y="1044"/>
                  </a:lnTo>
                  <a:lnTo>
                    <a:pt x="122" y="1028"/>
                  </a:lnTo>
                  <a:lnTo>
                    <a:pt x="122" y="1028"/>
                  </a:lnTo>
                  <a:lnTo>
                    <a:pt x="122" y="1028"/>
                  </a:lnTo>
                  <a:close/>
                  <a:moveTo>
                    <a:pt x="54" y="1028"/>
                  </a:moveTo>
                  <a:lnTo>
                    <a:pt x="113" y="1044"/>
                  </a:lnTo>
                  <a:lnTo>
                    <a:pt x="68" y="1054"/>
                  </a:lnTo>
                  <a:lnTo>
                    <a:pt x="30" y="1037"/>
                  </a:lnTo>
                  <a:lnTo>
                    <a:pt x="54" y="1028"/>
                  </a:lnTo>
                  <a:lnTo>
                    <a:pt x="54" y="1028"/>
                  </a:lnTo>
                  <a:lnTo>
                    <a:pt x="54" y="1028"/>
                  </a:lnTo>
                  <a:close/>
                  <a:moveTo>
                    <a:pt x="3741" y="1127"/>
                  </a:moveTo>
                  <a:lnTo>
                    <a:pt x="3746" y="1127"/>
                  </a:lnTo>
                  <a:lnTo>
                    <a:pt x="3734" y="1132"/>
                  </a:lnTo>
                  <a:lnTo>
                    <a:pt x="3741" y="1127"/>
                  </a:lnTo>
                  <a:lnTo>
                    <a:pt x="3741" y="1127"/>
                  </a:lnTo>
                  <a:lnTo>
                    <a:pt x="3741" y="1127"/>
                  </a:lnTo>
                  <a:close/>
                  <a:moveTo>
                    <a:pt x="3810" y="1226"/>
                  </a:moveTo>
                  <a:lnTo>
                    <a:pt x="3817" y="1243"/>
                  </a:lnTo>
                  <a:lnTo>
                    <a:pt x="3817" y="1266"/>
                  </a:lnTo>
                  <a:lnTo>
                    <a:pt x="3817" y="1250"/>
                  </a:lnTo>
                  <a:lnTo>
                    <a:pt x="3779" y="1172"/>
                  </a:lnTo>
                  <a:lnTo>
                    <a:pt x="3800" y="1165"/>
                  </a:lnTo>
                  <a:lnTo>
                    <a:pt x="3789" y="1155"/>
                  </a:lnTo>
                  <a:lnTo>
                    <a:pt x="3789" y="1139"/>
                  </a:lnTo>
                  <a:lnTo>
                    <a:pt x="3810" y="1155"/>
                  </a:lnTo>
                  <a:lnTo>
                    <a:pt x="3810" y="1172"/>
                  </a:lnTo>
                  <a:lnTo>
                    <a:pt x="3817" y="1222"/>
                  </a:lnTo>
                  <a:lnTo>
                    <a:pt x="3810" y="1226"/>
                  </a:lnTo>
                  <a:lnTo>
                    <a:pt x="3810" y="1226"/>
                  </a:lnTo>
                  <a:lnTo>
                    <a:pt x="3810" y="1226"/>
                  </a:lnTo>
                  <a:close/>
                  <a:moveTo>
                    <a:pt x="3741" y="1139"/>
                  </a:moveTo>
                  <a:lnTo>
                    <a:pt x="3746" y="1139"/>
                  </a:lnTo>
                  <a:lnTo>
                    <a:pt x="3725" y="1139"/>
                  </a:lnTo>
                  <a:lnTo>
                    <a:pt x="3741" y="1139"/>
                  </a:lnTo>
                  <a:lnTo>
                    <a:pt x="3741" y="1139"/>
                  </a:lnTo>
                  <a:lnTo>
                    <a:pt x="3741" y="1139"/>
                  </a:lnTo>
                  <a:close/>
                  <a:moveTo>
                    <a:pt x="3633" y="1165"/>
                  </a:moveTo>
                  <a:lnTo>
                    <a:pt x="3611" y="1155"/>
                  </a:lnTo>
                  <a:lnTo>
                    <a:pt x="3649" y="1155"/>
                  </a:lnTo>
                  <a:lnTo>
                    <a:pt x="3633" y="1165"/>
                  </a:lnTo>
                  <a:lnTo>
                    <a:pt x="3633" y="1165"/>
                  </a:lnTo>
                  <a:lnTo>
                    <a:pt x="3633" y="1165"/>
                  </a:lnTo>
                  <a:close/>
                  <a:moveTo>
                    <a:pt x="236" y="1155"/>
                  </a:moveTo>
                  <a:lnTo>
                    <a:pt x="252" y="1165"/>
                  </a:lnTo>
                  <a:lnTo>
                    <a:pt x="205" y="1165"/>
                  </a:lnTo>
                  <a:lnTo>
                    <a:pt x="236" y="1155"/>
                  </a:lnTo>
                  <a:lnTo>
                    <a:pt x="236" y="1155"/>
                  </a:lnTo>
                  <a:lnTo>
                    <a:pt x="236" y="1155"/>
                  </a:lnTo>
                  <a:close/>
                  <a:moveTo>
                    <a:pt x="3670" y="1172"/>
                  </a:moveTo>
                  <a:lnTo>
                    <a:pt x="3666" y="1189"/>
                  </a:lnTo>
                  <a:lnTo>
                    <a:pt x="3637" y="1184"/>
                  </a:lnTo>
                  <a:lnTo>
                    <a:pt x="3670" y="1172"/>
                  </a:lnTo>
                  <a:lnTo>
                    <a:pt x="3670" y="1172"/>
                  </a:lnTo>
                  <a:lnTo>
                    <a:pt x="3670" y="1172"/>
                  </a:lnTo>
                  <a:close/>
                  <a:moveTo>
                    <a:pt x="215" y="1184"/>
                  </a:moveTo>
                  <a:lnTo>
                    <a:pt x="219" y="1189"/>
                  </a:lnTo>
                  <a:lnTo>
                    <a:pt x="198" y="1184"/>
                  </a:lnTo>
                  <a:lnTo>
                    <a:pt x="215" y="1184"/>
                  </a:lnTo>
                  <a:lnTo>
                    <a:pt x="215" y="1184"/>
                  </a:lnTo>
                  <a:lnTo>
                    <a:pt x="215" y="1184"/>
                  </a:lnTo>
                  <a:close/>
                  <a:moveTo>
                    <a:pt x="3708" y="1193"/>
                  </a:moveTo>
                  <a:lnTo>
                    <a:pt x="3692" y="1210"/>
                  </a:lnTo>
                  <a:lnTo>
                    <a:pt x="3670" y="1193"/>
                  </a:lnTo>
                  <a:lnTo>
                    <a:pt x="3708" y="1193"/>
                  </a:lnTo>
                  <a:lnTo>
                    <a:pt x="3708" y="1193"/>
                  </a:lnTo>
                  <a:lnTo>
                    <a:pt x="3708" y="1193"/>
                  </a:lnTo>
                  <a:close/>
                  <a:moveTo>
                    <a:pt x="630" y="1226"/>
                  </a:moveTo>
                  <a:lnTo>
                    <a:pt x="630" y="1243"/>
                  </a:lnTo>
                  <a:lnTo>
                    <a:pt x="626" y="1238"/>
                  </a:lnTo>
                  <a:lnTo>
                    <a:pt x="630" y="1226"/>
                  </a:lnTo>
                  <a:lnTo>
                    <a:pt x="630" y="1226"/>
                  </a:lnTo>
                  <a:lnTo>
                    <a:pt x="630" y="1226"/>
                  </a:lnTo>
                  <a:close/>
                  <a:moveTo>
                    <a:pt x="559" y="1238"/>
                  </a:moveTo>
                  <a:lnTo>
                    <a:pt x="559" y="1243"/>
                  </a:lnTo>
                  <a:lnTo>
                    <a:pt x="545" y="1243"/>
                  </a:lnTo>
                  <a:lnTo>
                    <a:pt x="559" y="1238"/>
                  </a:lnTo>
                  <a:lnTo>
                    <a:pt x="559" y="1238"/>
                  </a:lnTo>
                  <a:lnTo>
                    <a:pt x="559" y="1238"/>
                  </a:lnTo>
                  <a:close/>
                  <a:moveTo>
                    <a:pt x="3864" y="1337"/>
                  </a:moveTo>
                  <a:lnTo>
                    <a:pt x="3871" y="1354"/>
                  </a:lnTo>
                  <a:lnTo>
                    <a:pt x="3843" y="1361"/>
                  </a:lnTo>
                  <a:lnTo>
                    <a:pt x="3881" y="1387"/>
                  </a:lnTo>
                  <a:lnTo>
                    <a:pt x="3909" y="1377"/>
                  </a:lnTo>
                  <a:lnTo>
                    <a:pt x="3902" y="1394"/>
                  </a:lnTo>
                  <a:lnTo>
                    <a:pt x="3885" y="1406"/>
                  </a:lnTo>
                  <a:lnTo>
                    <a:pt x="3885" y="1394"/>
                  </a:lnTo>
                  <a:lnTo>
                    <a:pt x="3871" y="1394"/>
                  </a:lnTo>
                  <a:lnTo>
                    <a:pt x="3796" y="1394"/>
                  </a:lnTo>
                  <a:lnTo>
                    <a:pt x="3800" y="1349"/>
                  </a:lnTo>
                  <a:lnTo>
                    <a:pt x="3817" y="1337"/>
                  </a:lnTo>
                  <a:lnTo>
                    <a:pt x="3843" y="1354"/>
                  </a:lnTo>
                  <a:lnTo>
                    <a:pt x="3848" y="1333"/>
                  </a:lnTo>
                  <a:lnTo>
                    <a:pt x="3864" y="1337"/>
                  </a:lnTo>
                  <a:lnTo>
                    <a:pt x="3864" y="1337"/>
                  </a:lnTo>
                  <a:lnTo>
                    <a:pt x="3864" y="1337"/>
                  </a:lnTo>
                  <a:close/>
                  <a:moveTo>
                    <a:pt x="3704" y="1387"/>
                  </a:moveTo>
                  <a:lnTo>
                    <a:pt x="3725" y="1394"/>
                  </a:lnTo>
                  <a:lnTo>
                    <a:pt x="3708" y="1411"/>
                  </a:lnTo>
                  <a:lnTo>
                    <a:pt x="3741" y="1415"/>
                  </a:lnTo>
                  <a:lnTo>
                    <a:pt x="3708" y="1444"/>
                  </a:lnTo>
                  <a:lnTo>
                    <a:pt x="3670" y="1427"/>
                  </a:lnTo>
                  <a:lnTo>
                    <a:pt x="3682" y="1411"/>
                  </a:lnTo>
                  <a:lnTo>
                    <a:pt x="3682" y="1394"/>
                  </a:lnTo>
                  <a:lnTo>
                    <a:pt x="3704" y="1387"/>
                  </a:lnTo>
                  <a:lnTo>
                    <a:pt x="3704" y="1387"/>
                  </a:lnTo>
                  <a:lnTo>
                    <a:pt x="3704" y="1387"/>
                  </a:lnTo>
                  <a:close/>
                  <a:moveTo>
                    <a:pt x="1084" y="1432"/>
                  </a:moveTo>
                  <a:lnTo>
                    <a:pt x="1096" y="1432"/>
                  </a:lnTo>
                  <a:lnTo>
                    <a:pt x="1074" y="1432"/>
                  </a:lnTo>
                  <a:lnTo>
                    <a:pt x="1084" y="1432"/>
                  </a:lnTo>
                  <a:lnTo>
                    <a:pt x="1084" y="1432"/>
                  </a:lnTo>
                  <a:lnTo>
                    <a:pt x="1084" y="1432"/>
                  </a:lnTo>
                  <a:close/>
                  <a:moveTo>
                    <a:pt x="3833" y="1444"/>
                  </a:moveTo>
                  <a:lnTo>
                    <a:pt x="3833" y="1448"/>
                  </a:lnTo>
                  <a:lnTo>
                    <a:pt x="3826" y="1448"/>
                  </a:lnTo>
                  <a:lnTo>
                    <a:pt x="3817" y="1432"/>
                  </a:lnTo>
                  <a:lnTo>
                    <a:pt x="3833" y="1444"/>
                  </a:lnTo>
                  <a:lnTo>
                    <a:pt x="3833" y="1444"/>
                  </a:lnTo>
                  <a:lnTo>
                    <a:pt x="3833" y="1444"/>
                  </a:lnTo>
                  <a:close/>
                  <a:moveTo>
                    <a:pt x="3810" y="1448"/>
                  </a:moveTo>
                  <a:lnTo>
                    <a:pt x="3800" y="1460"/>
                  </a:lnTo>
                  <a:lnTo>
                    <a:pt x="3772" y="1460"/>
                  </a:lnTo>
                  <a:lnTo>
                    <a:pt x="3800" y="1444"/>
                  </a:lnTo>
                  <a:lnTo>
                    <a:pt x="3810" y="1448"/>
                  </a:lnTo>
                  <a:lnTo>
                    <a:pt x="3810" y="1448"/>
                  </a:lnTo>
                  <a:lnTo>
                    <a:pt x="3810" y="1448"/>
                  </a:lnTo>
                  <a:close/>
                  <a:moveTo>
                    <a:pt x="1117" y="1448"/>
                  </a:moveTo>
                  <a:lnTo>
                    <a:pt x="1100" y="1460"/>
                  </a:lnTo>
                  <a:lnTo>
                    <a:pt x="1117" y="1448"/>
                  </a:lnTo>
                  <a:lnTo>
                    <a:pt x="1117" y="1448"/>
                  </a:lnTo>
                  <a:lnTo>
                    <a:pt x="1117" y="1448"/>
                  </a:lnTo>
                  <a:close/>
                  <a:moveTo>
                    <a:pt x="1126" y="1448"/>
                  </a:moveTo>
                  <a:lnTo>
                    <a:pt x="1133" y="1460"/>
                  </a:lnTo>
                  <a:lnTo>
                    <a:pt x="1117" y="1460"/>
                  </a:lnTo>
                  <a:lnTo>
                    <a:pt x="1126" y="1448"/>
                  </a:lnTo>
                  <a:lnTo>
                    <a:pt x="1126" y="1448"/>
                  </a:lnTo>
                  <a:lnTo>
                    <a:pt x="1126" y="1448"/>
                  </a:lnTo>
                  <a:close/>
                  <a:moveTo>
                    <a:pt x="1100" y="1465"/>
                  </a:moveTo>
                  <a:lnTo>
                    <a:pt x="1164" y="1465"/>
                  </a:lnTo>
                  <a:lnTo>
                    <a:pt x="1084" y="1465"/>
                  </a:lnTo>
                  <a:lnTo>
                    <a:pt x="1100" y="1465"/>
                  </a:lnTo>
                  <a:lnTo>
                    <a:pt x="1100" y="1465"/>
                  </a:lnTo>
                  <a:lnTo>
                    <a:pt x="1100" y="1465"/>
                  </a:lnTo>
                  <a:close/>
                  <a:moveTo>
                    <a:pt x="3649" y="1472"/>
                  </a:moveTo>
                  <a:lnTo>
                    <a:pt x="3682" y="1481"/>
                  </a:lnTo>
                  <a:lnTo>
                    <a:pt x="3687" y="1498"/>
                  </a:lnTo>
                  <a:lnTo>
                    <a:pt x="3708" y="1514"/>
                  </a:lnTo>
                  <a:lnTo>
                    <a:pt x="3633" y="1526"/>
                  </a:lnTo>
                  <a:lnTo>
                    <a:pt x="3578" y="1505"/>
                  </a:lnTo>
                  <a:lnTo>
                    <a:pt x="3611" y="1481"/>
                  </a:lnTo>
                  <a:lnTo>
                    <a:pt x="3649" y="1472"/>
                  </a:lnTo>
                  <a:lnTo>
                    <a:pt x="3649" y="1472"/>
                  </a:lnTo>
                  <a:lnTo>
                    <a:pt x="3649" y="1472"/>
                  </a:lnTo>
                  <a:close/>
                  <a:moveTo>
                    <a:pt x="3708" y="1543"/>
                  </a:moveTo>
                  <a:lnTo>
                    <a:pt x="3720" y="1555"/>
                  </a:lnTo>
                  <a:lnTo>
                    <a:pt x="3704" y="1555"/>
                  </a:lnTo>
                  <a:lnTo>
                    <a:pt x="3708" y="1543"/>
                  </a:lnTo>
                  <a:lnTo>
                    <a:pt x="3708" y="1543"/>
                  </a:lnTo>
                  <a:lnTo>
                    <a:pt x="3708" y="1543"/>
                  </a:lnTo>
                  <a:close/>
                  <a:moveTo>
                    <a:pt x="1171" y="1571"/>
                  </a:moveTo>
                  <a:lnTo>
                    <a:pt x="1138" y="1555"/>
                  </a:lnTo>
                  <a:lnTo>
                    <a:pt x="1193" y="1559"/>
                  </a:lnTo>
                  <a:lnTo>
                    <a:pt x="1171" y="1571"/>
                  </a:lnTo>
                  <a:lnTo>
                    <a:pt x="1171" y="1571"/>
                  </a:lnTo>
                  <a:lnTo>
                    <a:pt x="1171" y="1571"/>
                  </a:lnTo>
                  <a:close/>
                  <a:moveTo>
                    <a:pt x="1155" y="1583"/>
                  </a:moveTo>
                  <a:lnTo>
                    <a:pt x="1171" y="1583"/>
                  </a:lnTo>
                  <a:lnTo>
                    <a:pt x="1126" y="1583"/>
                  </a:lnTo>
                  <a:lnTo>
                    <a:pt x="1155" y="1583"/>
                  </a:lnTo>
                  <a:lnTo>
                    <a:pt x="1155" y="1583"/>
                  </a:lnTo>
                  <a:lnTo>
                    <a:pt x="1155" y="1583"/>
                  </a:lnTo>
                  <a:close/>
                  <a:moveTo>
                    <a:pt x="1164" y="1600"/>
                  </a:moveTo>
                  <a:lnTo>
                    <a:pt x="1155" y="1600"/>
                  </a:lnTo>
                  <a:lnTo>
                    <a:pt x="1171" y="1583"/>
                  </a:lnTo>
                  <a:lnTo>
                    <a:pt x="1181" y="1592"/>
                  </a:lnTo>
                  <a:lnTo>
                    <a:pt x="1164" y="1600"/>
                  </a:lnTo>
                  <a:lnTo>
                    <a:pt x="1164" y="1600"/>
                  </a:lnTo>
                  <a:lnTo>
                    <a:pt x="1164" y="1600"/>
                  </a:lnTo>
                  <a:close/>
                  <a:moveTo>
                    <a:pt x="1193" y="1600"/>
                  </a:moveTo>
                  <a:lnTo>
                    <a:pt x="1235" y="1616"/>
                  </a:lnTo>
                  <a:lnTo>
                    <a:pt x="1209" y="1626"/>
                  </a:lnTo>
                  <a:lnTo>
                    <a:pt x="1219" y="1609"/>
                  </a:lnTo>
                  <a:lnTo>
                    <a:pt x="1188" y="1600"/>
                  </a:lnTo>
                  <a:lnTo>
                    <a:pt x="1193" y="1600"/>
                  </a:lnTo>
                  <a:lnTo>
                    <a:pt x="1193" y="1600"/>
                  </a:lnTo>
                  <a:lnTo>
                    <a:pt x="1193" y="1600"/>
                  </a:lnTo>
                  <a:close/>
                  <a:moveTo>
                    <a:pt x="1193" y="1609"/>
                  </a:moveTo>
                  <a:lnTo>
                    <a:pt x="1209" y="1616"/>
                  </a:lnTo>
                  <a:lnTo>
                    <a:pt x="1188" y="1616"/>
                  </a:lnTo>
                  <a:lnTo>
                    <a:pt x="1193" y="1609"/>
                  </a:lnTo>
                  <a:lnTo>
                    <a:pt x="1193" y="1609"/>
                  </a:lnTo>
                  <a:lnTo>
                    <a:pt x="1193" y="1609"/>
                  </a:lnTo>
                  <a:close/>
                  <a:moveTo>
                    <a:pt x="3406" y="1616"/>
                  </a:moveTo>
                  <a:lnTo>
                    <a:pt x="3493" y="1649"/>
                  </a:lnTo>
                  <a:lnTo>
                    <a:pt x="3368" y="1633"/>
                  </a:lnTo>
                  <a:lnTo>
                    <a:pt x="3507" y="1654"/>
                  </a:lnTo>
                  <a:lnTo>
                    <a:pt x="3406" y="1670"/>
                  </a:lnTo>
                  <a:lnTo>
                    <a:pt x="3314" y="1649"/>
                  </a:lnTo>
                  <a:lnTo>
                    <a:pt x="3352" y="1626"/>
                  </a:lnTo>
                  <a:lnTo>
                    <a:pt x="3406" y="1616"/>
                  </a:lnTo>
                  <a:lnTo>
                    <a:pt x="3406" y="1616"/>
                  </a:lnTo>
                  <a:lnTo>
                    <a:pt x="3406" y="1616"/>
                  </a:lnTo>
                  <a:close/>
                  <a:moveTo>
                    <a:pt x="1193" y="1626"/>
                  </a:moveTo>
                  <a:lnTo>
                    <a:pt x="1202" y="1626"/>
                  </a:lnTo>
                  <a:lnTo>
                    <a:pt x="1188" y="1633"/>
                  </a:lnTo>
                  <a:lnTo>
                    <a:pt x="1193" y="1626"/>
                  </a:lnTo>
                  <a:lnTo>
                    <a:pt x="1193" y="1626"/>
                  </a:lnTo>
                  <a:lnTo>
                    <a:pt x="1193" y="1626"/>
                  </a:lnTo>
                  <a:close/>
                  <a:moveTo>
                    <a:pt x="1209" y="1626"/>
                  </a:moveTo>
                  <a:lnTo>
                    <a:pt x="1219" y="1633"/>
                  </a:lnTo>
                  <a:lnTo>
                    <a:pt x="1202" y="1633"/>
                  </a:lnTo>
                  <a:lnTo>
                    <a:pt x="1209" y="1626"/>
                  </a:lnTo>
                  <a:lnTo>
                    <a:pt x="1209" y="1626"/>
                  </a:lnTo>
                  <a:lnTo>
                    <a:pt x="1209" y="1626"/>
                  </a:lnTo>
                  <a:close/>
                  <a:moveTo>
                    <a:pt x="1202" y="1637"/>
                  </a:moveTo>
                  <a:lnTo>
                    <a:pt x="1188" y="1666"/>
                  </a:lnTo>
                  <a:lnTo>
                    <a:pt x="1193" y="1649"/>
                  </a:lnTo>
                  <a:lnTo>
                    <a:pt x="1202" y="1637"/>
                  </a:lnTo>
                  <a:lnTo>
                    <a:pt x="1202" y="1637"/>
                  </a:lnTo>
                  <a:lnTo>
                    <a:pt x="1202" y="1637"/>
                  </a:lnTo>
                  <a:close/>
                  <a:moveTo>
                    <a:pt x="1181" y="1649"/>
                  </a:moveTo>
                  <a:lnTo>
                    <a:pt x="1181" y="1654"/>
                  </a:lnTo>
                  <a:lnTo>
                    <a:pt x="1171" y="1654"/>
                  </a:lnTo>
                  <a:lnTo>
                    <a:pt x="1181" y="1649"/>
                  </a:lnTo>
                  <a:lnTo>
                    <a:pt x="1181" y="1649"/>
                  </a:lnTo>
                  <a:lnTo>
                    <a:pt x="1181" y="1649"/>
                  </a:lnTo>
                  <a:close/>
                  <a:moveTo>
                    <a:pt x="3583" y="1720"/>
                  </a:moveTo>
                  <a:lnTo>
                    <a:pt x="3541" y="1720"/>
                  </a:lnTo>
                  <a:lnTo>
                    <a:pt x="3503" y="1694"/>
                  </a:lnTo>
                  <a:lnTo>
                    <a:pt x="3401" y="1687"/>
                  </a:lnTo>
                  <a:lnTo>
                    <a:pt x="3394" y="1682"/>
                  </a:lnTo>
                  <a:lnTo>
                    <a:pt x="3493" y="1670"/>
                  </a:lnTo>
                  <a:lnTo>
                    <a:pt x="3545" y="1682"/>
                  </a:lnTo>
                  <a:lnTo>
                    <a:pt x="3583" y="1687"/>
                  </a:lnTo>
                  <a:lnTo>
                    <a:pt x="3562" y="1703"/>
                  </a:lnTo>
                  <a:lnTo>
                    <a:pt x="3578" y="1711"/>
                  </a:lnTo>
                  <a:lnTo>
                    <a:pt x="3583" y="1720"/>
                  </a:lnTo>
                  <a:lnTo>
                    <a:pt x="3583" y="1720"/>
                  </a:lnTo>
                  <a:lnTo>
                    <a:pt x="3583" y="1720"/>
                  </a:lnTo>
                  <a:close/>
                  <a:moveTo>
                    <a:pt x="1209" y="1670"/>
                  </a:moveTo>
                  <a:lnTo>
                    <a:pt x="1219" y="1670"/>
                  </a:lnTo>
                  <a:lnTo>
                    <a:pt x="1202" y="1670"/>
                  </a:lnTo>
                  <a:lnTo>
                    <a:pt x="1209" y="1670"/>
                  </a:lnTo>
                  <a:lnTo>
                    <a:pt x="1209" y="1670"/>
                  </a:lnTo>
                  <a:lnTo>
                    <a:pt x="1209" y="1670"/>
                  </a:lnTo>
                  <a:close/>
                  <a:moveTo>
                    <a:pt x="1240" y="1687"/>
                  </a:moveTo>
                  <a:lnTo>
                    <a:pt x="1219" y="1682"/>
                  </a:lnTo>
                  <a:lnTo>
                    <a:pt x="1226" y="1670"/>
                  </a:lnTo>
                  <a:lnTo>
                    <a:pt x="1256" y="1682"/>
                  </a:lnTo>
                  <a:lnTo>
                    <a:pt x="1240" y="1687"/>
                  </a:lnTo>
                  <a:lnTo>
                    <a:pt x="1240" y="1687"/>
                  </a:lnTo>
                  <a:lnTo>
                    <a:pt x="1240" y="1687"/>
                  </a:lnTo>
                  <a:close/>
                  <a:moveTo>
                    <a:pt x="3385" y="1687"/>
                  </a:moveTo>
                  <a:lnTo>
                    <a:pt x="3380" y="1711"/>
                  </a:lnTo>
                  <a:lnTo>
                    <a:pt x="3352" y="1703"/>
                  </a:lnTo>
                  <a:lnTo>
                    <a:pt x="3385" y="1687"/>
                  </a:lnTo>
                  <a:lnTo>
                    <a:pt x="3385" y="1687"/>
                  </a:lnTo>
                  <a:lnTo>
                    <a:pt x="3385" y="1687"/>
                  </a:lnTo>
                  <a:close/>
                  <a:moveTo>
                    <a:pt x="1226" y="1694"/>
                  </a:moveTo>
                  <a:lnTo>
                    <a:pt x="1240" y="1694"/>
                  </a:lnTo>
                  <a:lnTo>
                    <a:pt x="1226" y="1703"/>
                  </a:lnTo>
                  <a:lnTo>
                    <a:pt x="1226" y="1694"/>
                  </a:lnTo>
                  <a:lnTo>
                    <a:pt x="1226" y="1694"/>
                  </a:lnTo>
                  <a:lnTo>
                    <a:pt x="1226" y="1694"/>
                  </a:lnTo>
                  <a:close/>
                  <a:moveTo>
                    <a:pt x="3557" y="1798"/>
                  </a:moveTo>
                  <a:lnTo>
                    <a:pt x="3439" y="1748"/>
                  </a:lnTo>
                  <a:lnTo>
                    <a:pt x="3406" y="1737"/>
                  </a:lnTo>
                  <a:lnTo>
                    <a:pt x="3401" y="1703"/>
                  </a:lnTo>
                  <a:lnTo>
                    <a:pt x="3503" y="1694"/>
                  </a:lnTo>
                  <a:lnTo>
                    <a:pt x="3531" y="1727"/>
                  </a:lnTo>
                  <a:lnTo>
                    <a:pt x="3583" y="1748"/>
                  </a:lnTo>
                  <a:lnTo>
                    <a:pt x="3578" y="1760"/>
                  </a:lnTo>
                  <a:lnTo>
                    <a:pt x="3524" y="1748"/>
                  </a:lnTo>
                  <a:lnTo>
                    <a:pt x="3574" y="1777"/>
                  </a:lnTo>
                  <a:lnTo>
                    <a:pt x="3574" y="1793"/>
                  </a:lnTo>
                  <a:lnTo>
                    <a:pt x="3557" y="1798"/>
                  </a:lnTo>
                  <a:lnTo>
                    <a:pt x="3557" y="1798"/>
                  </a:lnTo>
                  <a:lnTo>
                    <a:pt x="3557" y="1798"/>
                  </a:lnTo>
                  <a:close/>
                  <a:moveTo>
                    <a:pt x="1247" y="1694"/>
                  </a:moveTo>
                  <a:lnTo>
                    <a:pt x="1263" y="1703"/>
                  </a:lnTo>
                  <a:lnTo>
                    <a:pt x="1226" y="1737"/>
                  </a:lnTo>
                  <a:lnTo>
                    <a:pt x="1235" y="1727"/>
                  </a:lnTo>
                  <a:lnTo>
                    <a:pt x="1202" y="1727"/>
                  </a:lnTo>
                  <a:lnTo>
                    <a:pt x="1219" y="1711"/>
                  </a:lnTo>
                  <a:lnTo>
                    <a:pt x="1247" y="1694"/>
                  </a:lnTo>
                  <a:lnTo>
                    <a:pt x="1247" y="1694"/>
                  </a:lnTo>
                  <a:lnTo>
                    <a:pt x="1247" y="1694"/>
                  </a:lnTo>
                  <a:close/>
                  <a:moveTo>
                    <a:pt x="1202" y="1703"/>
                  </a:moveTo>
                  <a:lnTo>
                    <a:pt x="1209" y="1703"/>
                  </a:lnTo>
                  <a:lnTo>
                    <a:pt x="1193" y="1703"/>
                  </a:lnTo>
                  <a:lnTo>
                    <a:pt x="1202" y="1703"/>
                  </a:lnTo>
                  <a:lnTo>
                    <a:pt x="1202" y="1703"/>
                  </a:lnTo>
                  <a:lnTo>
                    <a:pt x="1202" y="1703"/>
                  </a:lnTo>
                  <a:close/>
                  <a:moveTo>
                    <a:pt x="1219" y="1711"/>
                  </a:moveTo>
                  <a:lnTo>
                    <a:pt x="1193" y="1727"/>
                  </a:lnTo>
                  <a:lnTo>
                    <a:pt x="1181" y="1720"/>
                  </a:lnTo>
                  <a:lnTo>
                    <a:pt x="1219" y="1711"/>
                  </a:lnTo>
                  <a:lnTo>
                    <a:pt x="1219" y="1711"/>
                  </a:lnTo>
                  <a:lnTo>
                    <a:pt x="1219" y="1711"/>
                  </a:lnTo>
                  <a:close/>
                  <a:moveTo>
                    <a:pt x="1263" y="1711"/>
                  </a:moveTo>
                  <a:lnTo>
                    <a:pt x="1278" y="1720"/>
                  </a:lnTo>
                  <a:lnTo>
                    <a:pt x="1256" y="1720"/>
                  </a:lnTo>
                  <a:lnTo>
                    <a:pt x="1263" y="1711"/>
                  </a:lnTo>
                  <a:lnTo>
                    <a:pt x="1263" y="1711"/>
                  </a:lnTo>
                  <a:lnTo>
                    <a:pt x="1263" y="1711"/>
                  </a:lnTo>
                  <a:close/>
                  <a:moveTo>
                    <a:pt x="1263" y="1720"/>
                  </a:moveTo>
                  <a:lnTo>
                    <a:pt x="1263" y="1727"/>
                  </a:lnTo>
                  <a:lnTo>
                    <a:pt x="1247" y="1737"/>
                  </a:lnTo>
                  <a:lnTo>
                    <a:pt x="1247" y="1720"/>
                  </a:lnTo>
                  <a:lnTo>
                    <a:pt x="1263" y="1720"/>
                  </a:lnTo>
                  <a:lnTo>
                    <a:pt x="1263" y="1720"/>
                  </a:lnTo>
                  <a:lnTo>
                    <a:pt x="1263" y="1720"/>
                  </a:lnTo>
                  <a:close/>
                  <a:moveTo>
                    <a:pt x="1202" y="1737"/>
                  </a:moveTo>
                  <a:lnTo>
                    <a:pt x="1193" y="1737"/>
                  </a:lnTo>
                  <a:lnTo>
                    <a:pt x="1219" y="1737"/>
                  </a:lnTo>
                  <a:lnTo>
                    <a:pt x="1202" y="1737"/>
                  </a:lnTo>
                  <a:lnTo>
                    <a:pt x="1202" y="1737"/>
                  </a:lnTo>
                  <a:lnTo>
                    <a:pt x="1202" y="1737"/>
                  </a:lnTo>
                  <a:close/>
                  <a:moveTo>
                    <a:pt x="1263" y="1760"/>
                  </a:moveTo>
                  <a:lnTo>
                    <a:pt x="1263" y="1777"/>
                  </a:lnTo>
                  <a:lnTo>
                    <a:pt x="1240" y="1793"/>
                  </a:lnTo>
                  <a:lnTo>
                    <a:pt x="1219" y="1793"/>
                  </a:lnTo>
                  <a:lnTo>
                    <a:pt x="1263" y="1760"/>
                  </a:lnTo>
                  <a:lnTo>
                    <a:pt x="1263" y="1760"/>
                  </a:lnTo>
                  <a:lnTo>
                    <a:pt x="1263" y="1760"/>
                  </a:lnTo>
                  <a:close/>
                  <a:moveTo>
                    <a:pt x="1226" y="1822"/>
                  </a:moveTo>
                  <a:lnTo>
                    <a:pt x="1235" y="1831"/>
                  </a:lnTo>
                  <a:lnTo>
                    <a:pt x="1226" y="1838"/>
                  </a:lnTo>
                  <a:lnTo>
                    <a:pt x="1209" y="1831"/>
                  </a:lnTo>
                  <a:lnTo>
                    <a:pt x="1226" y="1822"/>
                  </a:lnTo>
                  <a:lnTo>
                    <a:pt x="1226" y="1822"/>
                  </a:lnTo>
                  <a:lnTo>
                    <a:pt x="1226" y="1822"/>
                  </a:lnTo>
                  <a:close/>
                  <a:moveTo>
                    <a:pt x="1386" y="1876"/>
                  </a:moveTo>
                  <a:lnTo>
                    <a:pt x="1370" y="1871"/>
                  </a:lnTo>
                  <a:lnTo>
                    <a:pt x="1370" y="1864"/>
                  </a:lnTo>
                  <a:lnTo>
                    <a:pt x="1419" y="1864"/>
                  </a:lnTo>
                  <a:lnTo>
                    <a:pt x="1386" y="1876"/>
                  </a:lnTo>
                  <a:lnTo>
                    <a:pt x="1386" y="1876"/>
                  </a:lnTo>
                  <a:lnTo>
                    <a:pt x="1386" y="1876"/>
                  </a:lnTo>
                  <a:close/>
                  <a:moveTo>
                    <a:pt x="1398" y="1904"/>
                  </a:moveTo>
                  <a:lnTo>
                    <a:pt x="1441" y="1904"/>
                  </a:lnTo>
                  <a:lnTo>
                    <a:pt x="1452" y="1909"/>
                  </a:lnTo>
                  <a:lnTo>
                    <a:pt x="1408" y="1926"/>
                  </a:lnTo>
                  <a:lnTo>
                    <a:pt x="1398" y="1921"/>
                  </a:lnTo>
                  <a:lnTo>
                    <a:pt x="1398" y="1904"/>
                  </a:lnTo>
                  <a:lnTo>
                    <a:pt x="1398" y="1904"/>
                  </a:lnTo>
                  <a:lnTo>
                    <a:pt x="1398" y="1904"/>
                  </a:lnTo>
                  <a:close/>
                  <a:moveTo>
                    <a:pt x="1365" y="1909"/>
                  </a:moveTo>
                  <a:lnTo>
                    <a:pt x="1382" y="1926"/>
                  </a:lnTo>
                  <a:lnTo>
                    <a:pt x="1370" y="1942"/>
                  </a:lnTo>
                  <a:lnTo>
                    <a:pt x="1353" y="1942"/>
                  </a:lnTo>
                  <a:lnTo>
                    <a:pt x="1332" y="1933"/>
                  </a:lnTo>
                  <a:lnTo>
                    <a:pt x="1365" y="1909"/>
                  </a:lnTo>
                  <a:lnTo>
                    <a:pt x="1365" y="1909"/>
                  </a:lnTo>
                  <a:lnTo>
                    <a:pt x="1365" y="1909"/>
                  </a:lnTo>
                  <a:close/>
                  <a:moveTo>
                    <a:pt x="3347" y="1921"/>
                  </a:moveTo>
                  <a:lnTo>
                    <a:pt x="3347" y="1926"/>
                  </a:lnTo>
                  <a:lnTo>
                    <a:pt x="3330" y="1926"/>
                  </a:lnTo>
                  <a:lnTo>
                    <a:pt x="3347" y="1921"/>
                  </a:lnTo>
                  <a:lnTo>
                    <a:pt x="3347" y="1921"/>
                  </a:lnTo>
                  <a:lnTo>
                    <a:pt x="3347" y="1921"/>
                  </a:lnTo>
                  <a:close/>
                  <a:moveTo>
                    <a:pt x="3342" y="1933"/>
                  </a:moveTo>
                  <a:lnTo>
                    <a:pt x="3347" y="1942"/>
                  </a:lnTo>
                  <a:lnTo>
                    <a:pt x="3326" y="1933"/>
                  </a:lnTo>
                  <a:lnTo>
                    <a:pt x="3342" y="1933"/>
                  </a:lnTo>
                  <a:lnTo>
                    <a:pt x="3342" y="1933"/>
                  </a:lnTo>
                  <a:lnTo>
                    <a:pt x="3342" y="1933"/>
                  </a:lnTo>
                  <a:close/>
                  <a:moveTo>
                    <a:pt x="3288" y="2003"/>
                  </a:moveTo>
                  <a:lnTo>
                    <a:pt x="3146" y="2020"/>
                  </a:lnTo>
                  <a:lnTo>
                    <a:pt x="3153" y="1999"/>
                  </a:lnTo>
                  <a:lnTo>
                    <a:pt x="3179" y="1987"/>
                  </a:lnTo>
                  <a:lnTo>
                    <a:pt x="3217" y="1966"/>
                  </a:lnTo>
                  <a:lnTo>
                    <a:pt x="3276" y="1959"/>
                  </a:lnTo>
                  <a:lnTo>
                    <a:pt x="3314" y="1933"/>
                  </a:lnTo>
                  <a:lnTo>
                    <a:pt x="3314" y="1949"/>
                  </a:lnTo>
                  <a:lnTo>
                    <a:pt x="3342" y="1959"/>
                  </a:lnTo>
                  <a:lnTo>
                    <a:pt x="3347" y="1987"/>
                  </a:lnTo>
                  <a:lnTo>
                    <a:pt x="3288" y="2003"/>
                  </a:lnTo>
                  <a:lnTo>
                    <a:pt x="3288" y="2003"/>
                  </a:lnTo>
                  <a:lnTo>
                    <a:pt x="3288" y="2003"/>
                  </a:lnTo>
                  <a:close/>
                  <a:moveTo>
                    <a:pt x="1478" y="1949"/>
                  </a:moveTo>
                  <a:lnTo>
                    <a:pt x="1504" y="1966"/>
                  </a:lnTo>
                  <a:lnTo>
                    <a:pt x="1462" y="1959"/>
                  </a:lnTo>
                  <a:lnTo>
                    <a:pt x="1478" y="1949"/>
                  </a:lnTo>
                  <a:lnTo>
                    <a:pt x="1478" y="1949"/>
                  </a:lnTo>
                  <a:lnTo>
                    <a:pt x="1478" y="1949"/>
                  </a:lnTo>
                  <a:close/>
                  <a:moveTo>
                    <a:pt x="3205" y="1966"/>
                  </a:moveTo>
                  <a:lnTo>
                    <a:pt x="3179" y="1982"/>
                  </a:lnTo>
                  <a:lnTo>
                    <a:pt x="3179" y="1966"/>
                  </a:lnTo>
                  <a:lnTo>
                    <a:pt x="3205" y="1966"/>
                  </a:lnTo>
                  <a:lnTo>
                    <a:pt x="3205" y="1966"/>
                  </a:lnTo>
                  <a:lnTo>
                    <a:pt x="3205" y="1966"/>
                  </a:lnTo>
                  <a:close/>
                  <a:moveTo>
                    <a:pt x="1263" y="2015"/>
                  </a:moveTo>
                  <a:lnTo>
                    <a:pt x="1289" y="2032"/>
                  </a:lnTo>
                  <a:lnTo>
                    <a:pt x="1273" y="2032"/>
                  </a:lnTo>
                  <a:lnTo>
                    <a:pt x="1263" y="2020"/>
                  </a:lnTo>
                  <a:lnTo>
                    <a:pt x="1263" y="2015"/>
                  </a:lnTo>
                  <a:lnTo>
                    <a:pt x="1263" y="2015"/>
                  </a:lnTo>
                  <a:lnTo>
                    <a:pt x="1263" y="2015"/>
                  </a:lnTo>
                  <a:close/>
                  <a:moveTo>
                    <a:pt x="1315" y="2155"/>
                  </a:moveTo>
                  <a:lnTo>
                    <a:pt x="1382" y="2148"/>
                  </a:lnTo>
                  <a:lnTo>
                    <a:pt x="1365" y="2148"/>
                  </a:lnTo>
                  <a:lnTo>
                    <a:pt x="1382" y="2131"/>
                  </a:lnTo>
                  <a:lnTo>
                    <a:pt x="1348" y="2148"/>
                  </a:lnTo>
                  <a:lnTo>
                    <a:pt x="1344" y="2148"/>
                  </a:lnTo>
                  <a:lnTo>
                    <a:pt x="1353" y="2143"/>
                  </a:lnTo>
                  <a:lnTo>
                    <a:pt x="1332" y="2143"/>
                  </a:lnTo>
                  <a:lnTo>
                    <a:pt x="1344" y="2131"/>
                  </a:lnTo>
                  <a:lnTo>
                    <a:pt x="1344" y="2126"/>
                  </a:lnTo>
                  <a:lnTo>
                    <a:pt x="1327" y="2131"/>
                  </a:lnTo>
                  <a:lnTo>
                    <a:pt x="1278" y="2126"/>
                  </a:lnTo>
                  <a:lnTo>
                    <a:pt x="1263" y="2114"/>
                  </a:lnTo>
                  <a:lnTo>
                    <a:pt x="1289" y="2110"/>
                  </a:lnTo>
                  <a:lnTo>
                    <a:pt x="1311" y="2114"/>
                  </a:lnTo>
                  <a:lnTo>
                    <a:pt x="1273" y="2098"/>
                  </a:lnTo>
                  <a:lnTo>
                    <a:pt x="1273" y="2086"/>
                  </a:lnTo>
                  <a:lnTo>
                    <a:pt x="1315" y="2086"/>
                  </a:lnTo>
                  <a:lnTo>
                    <a:pt x="1278" y="2070"/>
                  </a:lnTo>
                  <a:lnTo>
                    <a:pt x="1278" y="2053"/>
                  </a:lnTo>
                  <a:lnTo>
                    <a:pt x="1311" y="2037"/>
                  </a:lnTo>
                  <a:lnTo>
                    <a:pt x="1370" y="2044"/>
                  </a:lnTo>
                  <a:lnTo>
                    <a:pt x="1424" y="2086"/>
                  </a:lnTo>
                  <a:lnTo>
                    <a:pt x="1478" y="2098"/>
                  </a:lnTo>
                  <a:lnTo>
                    <a:pt x="1478" y="2110"/>
                  </a:lnTo>
                  <a:lnTo>
                    <a:pt x="1474" y="2114"/>
                  </a:lnTo>
                  <a:lnTo>
                    <a:pt x="1490" y="2126"/>
                  </a:lnTo>
                  <a:lnTo>
                    <a:pt x="1457" y="2148"/>
                  </a:lnTo>
                  <a:lnTo>
                    <a:pt x="1365" y="2171"/>
                  </a:lnTo>
                  <a:lnTo>
                    <a:pt x="1315" y="2155"/>
                  </a:lnTo>
                  <a:lnTo>
                    <a:pt x="1315" y="2155"/>
                  </a:lnTo>
                  <a:lnTo>
                    <a:pt x="1315" y="2155"/>
                  </a:lnTo>
                  <a:close/>
                  <a:moveTo>
                    <a:pt x="1542" y="2086"/>
                  </a:moveTo>
                  <a:lnTo>
                    <a:pt x="1570" y="2098"/>
                  </a:lnTo>
                  <a:lnTo>
                    <a:pt x="1549" y="2114"/>
                  </a:lnTo>
                  <a:lnTo>
                    <a:pt x="1549" y="2131"/>
                  </a:lnTo>
                  <a:lnTo>
                    <a:pt x="1528" y="2143"/>
                  </a:lnTo>
                  <a:lnTo>
                    <a:pt x="1516" y="2114"/>
                  </a:lnTo>
                  <a:lnTo>
                    <a:pt x="1542" y="2093"/>
                  </a:lnTo>
                  <a:lnTo>
                    <a:pt x="1516" y="2093"/>
                  </a:lnTo>
                  <a:lnTo>
                    <a:pt x="1542" y="2086"/>
                  </a:lnTo>
                  <a:lnTo>
                    <a:pt x="1542" y="2086"/>
                  </a:lnTo>
                  <a:lnTo>
                    <a:pt x="1542" y="2086"/>
                  </a:lnTo>
                  <a:close/>
                  <a:moveTo>
                    <a:pt x="3493" y="2110"/>
                  </a:moveTo>
                  <a:lnTo>
                    <a:pt x="3493" y="2114"/>
                  </a:lnTo>
                  <a:lnTo>
                    <a:pt x="3486" y="2126"/>
                  </a:lnTo>
                  <a:lnTo>
                    <a:pt x="3470" y="2114"/>
                  </a:lnTo>
                  <a:lnTo>
                    <a:pt x="3493" y="2110"/>
                  </a:lnTo>
                  <a:lnTo>
                    <a:pt x="3493" y="2110"/>
                  </a:lnTo>
                  <a:lnTo>
                    <a:pt x="3493" y="2110"/>
                  </a:lnTo>
                  <a:close/>
                  <a:moveTo>
                    <a:pt x="1462" y="2242"/>
                  </a:moveTo>
                  <a:lnTo>
                    <a:pt x="1398" y="2259"/>
                  </a:lnTo>
                  <a:lnTo>
                    <a:pt x="1436" y="2242"/>
                  </a:lnTo>
                  <a:lnTo>
                    <a:pt x="1462" y="2242"/>
                  </a:lnTo>
                  <a:lnTo>
                    <a:pt x="1462" y="2242"/>
                  </a:lnTo>
                  <a:lnTo>
                    <a:pt x="1462" y="2242"/>
                  </a:lnTo>
                  <a:close/>
                  <a:moveTo>
                    <a:pt x="1533" y="2242"/>
                  </a:moveTo>
                  <a:lnTo>
                    <a:pt x="1542" y="2254"/>
                  </a:lnTo>
                  <a:lnTo>
                    <a:pt x="1528" y="2254"/>
                  </a:lnTo>
                  <a:lnTo>
                    <a:pt x="1533" y="2242"/>
                  </a:lnTo>
                  <a:lnTo>
                    <a:pt x="1533" y="2242"/>
                  </a:lnTo>
                  <a:lnTo>
                    <a:pt x="1533" y="2242"/>
                  </a:lnTo>
                  <a:close/>
                  <a:moveTo>
                    <a:pt x="1436" y="2259"/>
                  </a:moveTo>
                  <a:lnTo>
                    <a:pt x="1441" y="2259"/>
                  </a:lnTo>
                  <a:lnTo>
                    <a:pt x="1424" y="2259"/>
                  </a:lnTo>
                  <a:lnTo>
                    <a:pt x="1436" y="2259"/>
                  </a:lnTo>
                  <a:lnTo>
                    <a:pt x="1436" y="2259"/>
                  </a:lnTo>
                  <a:lnTo>
                    <a:pt x="1436" y="2259"/>
                  </a:lnTo>
                  <a:close/>
                  <a:moveTo>
                    <a:pt x="1419" y="2259"/>
                  </a:moveTo>
                  <a:lnTo>
                    <a:pt x="1419" y="2266"/>
                  </a:lnTo>
                  <a:lnTo>
                    <a:pt x="1408" y="2259"/>
                  </a:lnTo>
                  <a:lnTo>
                    <a:pt x="1419" y="2259"/>
                  </a:lnTo>
                  <a:lnTo>
                    <a:pt x="1419" y="2259"/>
                  </a:lnTo>
                  <a:lnTo>
                    <a:pt x="1419" y="2259"/>
                  </a:lnTo>
                  <a:close/>
                  <a:moveTo>
                    <a:pt x="1403" y="2266"/>
                  </a:moveTo>
                  <a:lnTo>
                    <a:pt x="1408" y="2275"/>
                  </a:lnTo>
                  <a:lnTo>
                    <a:pt x="1386" y="2282"/>
                  </a:lnTo>
                  <a:lnTo>
                    <a:pt x="1403" y="2266"/>
                  </a:lnTo>
                  <a:lnTo>
                    <a:pt x="1403" y="2266"/>
                  </a:lnTo>
                  <a:lnTo>
                    <a:pt x="1403" y="2266"/>
                  </a:lnTo>
                  <a:close/>
                  <a:moveTo>
                    <a:pt x="1457" y="2308"/>
                  </a:moveTo>
                  <a:lnTo>
                    <a:pt x="1511" y="2299"/>
                  </a:lnTo>
                  <a:lnTo>
                    <a:pt x="1474" y="2315"/>
                  </a:lnTo>
                  <a:lnTo>
                    <a:pt x="1457" y="2308"/>
                  </a:lnTo>
                  <a:lnTo>
                    <a:pt x="1457" y="2308"/>
                  </a:lnTo>
                  <a:lnTo>
                    <a:pt x="1457" y="2308"/>
                  </a:lnTo>
                  <a:close/>
                  <a:moveTo>
                    <a:pt x="3040" y="2299"/>
                  </a:moveTo>
                  <a:lnTo>
                    <a:pt x="3028" y="2315"/>
                  </a:lnTo>
                  <a:lnTo>
                    <a:pt x="3016" y="2308"/>
                  </a:lnTo>
                  <a:lnTo>
                    <a:pt x="3040" y="2299"/>
                  </a:lnTo>
                  <a:lnTo>
                    <a:pt x="3040" y="2299"/>
                  </a:lnTo>
                  <a:lnTo>
                    <a:pt x="3040" y="2299"/>
                  </a:lnTo>
                  <a:close/>
                  <a:moveTo>
                    <a:pt x="2893" y="2308"/>
                  </a:moveTo>
                  <a:lnTo>
                    <a:pt x="2898" y="2308"/>
                  </a:lnTo>
                  <a:lnTo>
                    <a:pt x="2877" y="2308"/>
                  </a:lnTo>
                  <a:lnTo>
                    <a:pt x="2893" y="2308"/>
                  </a:lnTo>
                  <a:lnTo>
                    <a:pt x="2893" y="2308"/>
                  </a:lnTo>
                  <a:lnTo>
                    <a:pt x="2893" y="2308"/>
                  </a:lnTo>
                  <a:close/>
                  <a:moveTo>
                    <a:pt x="1478" y="2315"/>
                  </a:moveTo>
                  <a:lnTo>
                    <a:pt x="1533" y="2315"/>
                  </a:lnTo>
                  <a:lnTo>
                    <a:pt x="1474" y="2320"/>
                  </a:lnTo>
                  <a:lnTo>
                    <a:pt x="1478" y="2315"/>
                  </a:lnTo>
                  <a:lnTo>
                    <a:pt x="1478" y="2315"/>
                  </a:lnTo>
                  <a:lnTo>
                    <a:pt x="1478" y="2315"/>
                  </a:lnTo>
                  <a:close/>
                  <a:moveTo>
                    <a:pt x="1370" y="2320"/>
                  </a:moveTo>
                  <a:lnTo>
                    <a:pt x="1386" y="2320"/>
                  </a:lnTo>
                  <a:lnTo>
                    <a:pt x="1382" y="2332"/>
                  </a:lnTo>
                  <a:lnTo>
                    <a:pt x="1370" y="2320"/>
                  </a:lnTo>
                  <a:lnTo>
                    <a:pt x="1370" y="2320"/>
                  </a:lnTo>
                  <a:lnTo>
                    <a:pt x="1370" y="2320"/>
                  </a:lnTo>
                  <a:close/>
                  <a:moveTo>
                    <a:pt x="1353" y="2370"/>
                  </a:moveTo>
                  <a:lnTo>
                    <a:pt x="1348" y="2353"/>
                  </a:lnTo>
                  <a:lnTo>
                    <a:pt x="1365" y="2365"/>
                  </a:lnTo>
                  <a:lnTo>
                    <a:pt x="1353" y="2370"/>
                  </a:lnTo>
                  <a:lnTo>
                    <a:pt x="1353" y="2370"/>
                  </a:lnTo>
                  <a:lnTo>
                    <a:pt x="1353" y="2370"/>
                  </a:lnTo>
                  <a:close/>
                  <a:moveTo>
                    <a:pt x="2789" y="2410"/>
                  </a:moveTo>
                  <a:lnTo>
                    <a:pt x="2789" y="2419"/>
                  </a:lnTo>
                  <a:lnTo>
                    <a:pt x="2785" y="2410"/>
                  </a:lnTo>
                  <a:lnTo>
                    <a:pt x="2789" y="2410"/>
                  </a:lnTo>
                  <a:lnTo>
                    <a:pt x="2789" y="2410"/>
                  </a:lnTo>
                  <a:lnTo>
                    <a:pt x="2789" y="2410"/>
                  </a:lnTo>
                  <a:close/>
                  <a:moveTo>
                    <a:pt x="1408" y="2464"/>
                  </a:moveTo>
                  <a:lnTo>
                    <a:pt x="1370" y="2476"/>
                  </a:lnTo>
                  <a:lnTo>
                    <a:pt x="1382" y="2464"/>
                  </a:lnTo>
                  <a:lnTo>
                    <a:pt x="1408" y="2464"/>
                  </a:lnTo>
                  <a:lnTo>
                    <a:pt x="1408" y="2464"/>
                  </a:lnTo>
                  <a:lnTo>
                    <a:pt x="1408" y="2464"/>
                  </a:lnTo>
                  <a:close/>
                  <a:moveTo>
                    <a:pt x="2747" y="2464"/>
                  </a:moveTo>
                  <a:lnTo>
                    <a:pt x="2747" y="2476"/>
                  </a:lnTo>
                  <a:lnTo>
                    <a:pt x="2737" y="2481"/>
                  </a:lnTo>
                  <a:lnTo>
                    <a:pt x="2747" y="2464"/>
                  </a:lnTo>
                  <a:lnTo>
                    <a:pt x="2747" y="2464"/>
                  </a:lnTo>
                  <a:lnTo>
                    <a:pt x="2747" y="2464"/>
                  </a:lnTo>
                  <a:close/>
                  <a:moveTo>
                    <a:pt x="2629" y="2554"/>
                  </a:moveTo>
                  <a:lnTo>
                    <a:pt x="2629" y="2542"/>
                  </a:lnTo>
                  <a:lnTo>
                    <a:pt x="2638" y="2542"/>
                  </a:lnTo>
                  <a:lnTo>
                    <a:pt x="2629" y="2554"/>
                  </a:lnTo>
                  <a:lnTo>
                    <a:pt x="2629" y="2554"/>
                  </a:lnTo>
                  <a:lnTo>
                    <a:pt x="2629" y="2554"/>
                  </a:lnTo>
                  <a:close/>
                  <a:moveTo>
                    <a:pt x="1353" y="2570"/>
                  </a:moveTo>
                  <a:lnTo>
                    <a:pt x="1353" y="2559"/>
                  </a:lnTo>
                  <a:lnTo>
                    <a:pt x="1370" y="2559"/>
                  </a:lnTo>
                  <a:lnTo>
                    <a:pt x="1353" y="2570"/>
                  </a:lnTo>
                  <a:lnTo>
                    <a:pt x="1353" y="2570"/>
                  </a:lnTo>
                  <a:lnTo>
                    <a:pt x="1353" y="2570"/>
                  </a:lnTo>
                  <a:close/>
                  <a:moveTo>
                    <a:pt x="2541" y="2599"/>
                  </a:moveTo>
                  <a:lnTo>
                    <a:pt x="2541" y="2587"/>
                  </a:lnTo>
                  <a:lnTo>
                    <a:pt x="2558" y="2575"/>
                  </a:lnTo>
                  <a:lnTo>
                    <a:pt x="2541" y="2599"/>
                  </a:lnTo>
                  <a:lnTo>
                    <a:pt x="2541" y="2599"/>
                  </a:lnTo>
                  <a:lnTo>
                    <a:pt x="2541" y="2599"/>
                  </a:lnTo>
                  <a:close/>
                  <a:moveTo>
                    <a:pt x="2570" y="2592"/>
                  </a:moveTo>
                  <a:lnTo>
                    <a:pt x="2574" y="2587"/>
                  </a:lnTo>
                  <a:lnTo>
                    <a:pt x="2586" y="2587"/>
                  </a:lnTo>
                  <a:lnTo>
                    <a:pt x="2570" y="2592"/>
                  </a:lnTo>
                  <a:lnTo>
                    <a:pt x="2570" y="2592"/>
                  </a:lnTo>
                  <a:lnTo>
                    <a:pt x="2570" y="2592"/>
                  </a:lnTo>
                  <a:close/>
                  <a:moveTo>
                    <a:pt x="2478" y="2625"/>
                  </a:moveTo>
                  <a:lnTo>
                    <a:pt x="2461" y="2625"/>
                  </a:lnTo>
                  <a:lnTo>
                    <a:pt x="2461" y="2599"/>
                  </a:lnTo>
                  <a:lnTo>
                    <a:pt x="2482" y="2587"/>
                  </a:lnTo>
                  <a:lnTo>
                    <a:pt x="2504" y="2599"/>
                  </a:lnTo>
                  <a:lnTo>
                    <a:pt x="2487" y="2592"/>
                  </a:lnTo>
                  <a:lnTo>
                    <a:pt x="2504" y="2608"/>
                  </a:lnTo>
                  <a:lnTo>
                    <a:pt x="2482" y="2625"/>
                  </a:lnTo>
                  <a:lnTo>
                    <a:pt x="2478" y="2615"/>
                  </a:lnTo>
                  <a:lnTo>
                    <a:pt x="2482" y="2625"/>
                  </a:lnTo>
                  <a:lnTo>
                    <a:pt x="2478" y="2625"/>
                  </a:lnTo>
                  <a:lnTo>
                    <a:pt x="2478" y="2625"/>
                  </a:lnTo>
                  <a:lnTo>
                    <a:pt x="2478" y="2625"/>
                  </a:lnTo>
                  <a:close/>
                  <a:moveTo>
                    <a:pt x="2537" y="2608"/>
                  </a:moveTo>
                  <a:lnTo>
                    <a:pt x="2532" y="2592"/>
                  </a:lnTo>
                  <a:lnTo>
                    <a:pt x="2541" y="2592"/>
                  </a:lnTo>
                  <a:lnTo>
                    <a:pt x="2537" y="2608"/>
                  </a:lnTo>
                  <a:lnTo>
                    <a:pt x="2537" y="2608"/>
                  </a:lnTo>
                  <a:lnTo>
                    <a:pt x="2537" y="2608"/>
                  </a:lnTo>
                  <a:close/>
                  <a:moveTo>
                    <a:pt x="2520" y="2625"/>
                  </a:moveTo>
                  <a:lnTo>
                    <a:pt x="2515" y="2608"/>
                  </a:lnTo>
                  <a:lnTo>
                    <a:pt x="2520" y="2608"/>
                  </a:lnTo>
                  <a:lnTo>
                    <a:pt x="2532" y="2615"/>
                  </a:lnTo>
                  <a:lnTo>
                    <a:pt x="2520" y="2625"/>
                  </a:lnTo>
                  <a:lnTo>
                    <a:pt x="2520" y="2625"/>
                  </a:lnTo>
                  <a:lnTo>
                    <a:pt x="2520" y="2625"/>
                  </a:lnTo>
                  <a:close/>
                  <a:moveTo>
                    <a:pt x="1386" y="2625"/>
                  </a:moveTo>
                  <a:lnTo>
                    <a:pt x="1419" y="2615"/>
                  </a:lnTo>
                  <a:lnTo>
                    <a:pt x="1403" y="2625"/>
                  </a:lnTo>
                  <a:lnTo>
                    <a:pt x="1386" y="2625"/>
                  </a:lnTo>
                  <a:lnTo>
                    <a:pt x="1386" y="2625"/>
                  </a:lnTo>
                  <a:lnTo>
                    <a:pt x="1386" y="2625"/>
                  </a:lnTo>
                  <a:close/>
                  <a:moveTo>
                    <a:pt x="2390" y="2632"/>
                  </a:moveTo>
                  <a:lnTo>
                    <a:pt x="2397" y="2625"/>
                  </a:lnTo>
                  <a:lnTo>
                    <a:pt x="2407" y="2625"/>
                  </a:lnTo>
                  <a:lnTo>
                    <a:pt x="2390" y="2632"/>
                  </a:lnTo>
                  <a:lnTo>
                    <a:pt x="2390" y="2632"/>
                  </a:lnTo>
                  <a:lnTo>
                    <a:pt x="2390" y="2632"/>
                  </a:lnTo>
                  <a:close/>
                  <a:moveTo>
                    <a:pt x="1408" y="2641"/>
                  </a:moveTo>
                  <a:lnTo>
                    <a:pt x="1398" y="2632"/>
                  </a:lnTo>
                  <a:lnTo>
                    <a:pt x="1408" y="2632"/>
                  </a:lnTo>
                  <a:lnTo>
                    <a:pt x="1408" y="2641"/>
                  </a:lnTo>
                  <a:lnTo>
                    <a:pt x="1408" y="2641"/>
                  </a:lnTo>
                  <a:lnTo>
                    <a:pt x="1408" y="2641"/>
                  </a:lnTo>
                  <a:close/>
                  <a:moveTo>
                    <a:pt x="2369" y="2641"/>
                  </a:moveTo>
                  <a:lnTo>
                    <a:pt x="2359" y="2632"/>
                  </a:lnTo>
                  <a:lnTo>
                    <a:pt x="2369" y="2632"/>
                  </a:lnTo>
                  <a:lnTo>
                    <a:pt x="2369" y="2641"/>
                  </a:lnTo>
                  <a:lnTo>
                    <a:pt x="2369" y="2641"/>
                  </a:lnTo>
                  <a:lnTo>
                    <a:pt x="2369" y="2641"/>
                  </a:lnTo>
                  <a:close/>
                  <a:moveTo>
                    <a:pt x="2343" y="2653"/>
                  </a:moveTo>
                  <a:lnTo>
                    <a:pt x="2326" y="2648"/>
                  </a:lnTo>
                  <a:lnTo>
                    <a:pt x="2352" y="2653"/>
                  </a:lnTo>
                  <a:lnTo>
                    <a:pt x="2343" y="2653"/>
                  </a:lnTo>
                  <a:lnTo>
                    <a:pt x="2343" y="2653"/>
                  </a:lnTo>
                  <a:lnTo>
                    <a:pt x="2343" y="2653"/>
                  </a:lnTo>
                  <a:close/>
                  <a:moveTo>
                    <a:pt x="2305" y="2759"/>
                  </a:moveTo>
                  <a:lnTo>
                    <a:pt x="2284" y="2752"/>
                  </a:lnTo>
                  <a:lnTo>
                    <a:pt x="2272" y="2726"/>
                  </a:lnTo>
                  <a:lnTo>
                    <a:pt x="2251" y="2703"/>
                  </a:lnTo>
                  <a:lnTo>
                    <a:pt x="2272" y="2710"/>
                  </a:lnTo>
                  <a:lnTo>
                    <a:pt x="2289" y="2743"/>
                  </a:lnTo>
                  <a:lnTo>
                    <a:pt x="2305" y="2752"/>
                  </a:lnTo>
                  <a:lnTo>
                    <a:pt x="2305" y="2759"/>
                  </a:lnTo>
                  <a:lnTo>
                    <a:pt x="2305" y="2759"/>
                  </a:lnTo>
                  <a:lnTo>
                    <a:pt x="2305" y="2759"/>
                  </a:lnTo>
                  <a:close/>
                  <a:moveTo>
                    <a:pt x="1533" y="2743"/>
                  </a:moveTo>
                  <a:lnTo>
                    <a:pt x="1528" y="2759"/>
                  </a:lnTo>
                  <a:lnTo>
                    <a:pt x="1516" y="2759"/>
                  </a:lnTo>
                  <a:lnTo>
                    <a:pt x="1528" y="2743"/>
                  </a:lnTo>
                  <a:lnTo>
                    <a:pt x="1533" y="2743"/>
                  </a:lnTo>
                  <a:lnTo>
                    <a:pt x="1533" y="2743"/>
                  </a:lnTo>
                  <a:lnTo>
                    <a:pt x="1533" y="2743"/>
                  </a:lnTo>
                  <a:close/>
                  <a:moveTo>
                    <a:pt x="1559" y="2752"/>
                  </a:moveTo>
                  <a:lnTo>
                    <a:pt x="1533" y="2776"/>
                  </a:lnTo>
                  <a:lnTo>
                    <a:pt x="1516" y="2781"/>
                  </a:lnTo>
                  <a:lnTo>
                    <a:pt x="1542" y="2743"/>
                  </a:lnTo>
                  <a:lnTo>
                    <a:pt x="1559" y="2752"/>
                  </a:lnTo>
                  <a:lnTo>
                    <a:pt x="1559" y="2752"/>
                  </a:lnTo>
                  <a:lnTo>
                    <a:pt x="1559" y="2752"/>
                  </a:lnTo>
                  <a:close/>
                  <a:moveTo>
                    <a:pt x="1516" y="2764"/>
                  </a:moveTo>
                  <a:lnTo>
                    <a:pt x="1504" y="2776"/>
                  </a:lnTo>
                  <a:lnTo>
                    <a:pt x="1511" y="2764"/>
                  </a:lnTo>
                  <a:lnTo>
                    <a:pt x="1516" y="2764"/>
                  </a:lnTo>
                  <a:lnTo>
                    <a:pt x="1516" y="2764"/>
                  </a:lnTo>
                  <a:lnTo>
                    <a:pt x="1516" y="2764"/>
                  </a:lnTo>
                  <a:close/>
                  <a:moveTo>
                    <a:pt x="2234" y="2776"/>
                  </a:moveTo>
                  <a:lnTo>
                    <a:pt x="2218" y="2776"/>
                  </a:lnTo>
                  <a:lnTo>
                    <a:pt x="2234" y="2776"/>
                  </a:lnTo>
                  <a:lnTo>
                    <a:pt x="2234" y="2776"/>
                  </a:lnTo>
                  <a:lnTo>
                    <a:pt x="2234" y="2776"/>
                  </a:lnTo>
                  <a:close/>
                  <a:moveTo>
                    <a:pt x="2246" y="2781"/>
                  </a:moveTo>
                  <a:lnTo>
                    <a:pt x="2251" y="2776"/>
                  </a:lnTo>
                  <a:lnTo>
                    <a:pt x="2267" y="2776"/>
                  </a:lnTo>
                  <a:lnTo>
                    <a:pt x="2267" y="2781"/>
                  </a:lnTo>
                  <a:lnTo>
                    <a:pt x="2246" y="2781"/>
                  </a:lnTo>
                  <a:lnTo>
                    <a:pt x="2246" y="2781"/>
                  </a:lnTo>
                  <a:lnTo>
                    <a:pt x="2246" y="2781"/>
                  </a:lnTo>
                  <a:close/>
                  <a:moveTo>
                    <a:pt x="2234" y="2903"/>
                  </a:moveTo>
                  <a:lnTo>
                    <a:pt x="2213" y="2892"/>
                  </a:lnTo>
                  <a:lnTo>
                    <a:pt x="2180" y="2870"/>
                  </a:lnTo>
                  <a:lnTo>
                    <a:pt x="2196" y="2863"/>
                  </a:lnTo>
                  <a:lnTo>
                    <a:pt x="2230" y="2887"/>
                  </a:lnTo>
                  <a:lnTo>
                    <a:pt x="2234" y="2903"/>
                  </a:lnTo>
                  <a:lnTo>
                    <a:pt x="2234" y="2903"/>
                  </a:lnTo>
                  <a:lnTo>
                    <a:pt x="2234" y="2903"/>
                  </a:lnTo>
                  <a:close/>
                  <a:moveTo>
                    <a:pt x="2230" y="2908"/>
                  </a:moveTo>
                  <a:lnTo>
                    <a:pt x="2213" y="2903"/>
                  </a:lnTo>
                  <a:lnTo>
                    <a:pt x="2230" y="2903"/>
                  </a:lnTo>
                  <a:lnTo>
                    <a:pt x="2230" y="2908"/>
                  </a:lnTo>
                  <a:lnTo>
                    <a:pt x="2230" y="2908"/>
                  </a:lnTo>
                  <a:lnTo>
                    <a:pt x="2230" y="2908"/>
                  </a:lnTo>
                  <a:close/>
                  <a:moveTo>
                    <a:pt x="1580" y="2903"/>
                  </a:moveTo>
                  <a:lnTo>
                    <a:pt x="1566" y="2908"/>
                  </a:lnTo>
                  <a:lnTo>
                    <a:pt x="1580" y="2903"/>
                  </a:lnTo>
                  <a:lnTo>
                    <a:pt x="1580" y="2903"/>
                  </a:lnTo>
                  <a:lnTo>
                    <a:pt x="1580" y="2903"/>
                  </a:lnTo>
                  <a:close/>
                  <a:moveTo>
                    <a:pt x="1566" y="2903"/>
                  </a:moveTo>
                  <a:lnTo>
                    <a:pt x="1566" y="2908"/>
                  </a:lnTo>
                  <a:lnTo>
                    <a:pt x="1549" y="2908"/>
                  </a:lnTo>
                  <a:lnTo>
                    <a:pt x="1566" y="2903"/>
                  </a:lnTo>
                  <a:lnTo>
                    <a:pt x="1566" y="2903"/>
                  </a:lnTo>
                  <a:lnTo>
                    <a:pt x="1566" y="2903"/>
                  </a:lnTo>
                  <a:close/>
                  <a:moveTo>
                    <a:pt x="2208" y="2932"/>
                  </a:moveTo>
                  <a:lnTo>
                    <a:pt x="2208" y="2920"/>
                  </a:lnTo>
                  <a:lnTo>
                    <a:pt x="2213" y="2920"/>
                  </a:lnTo>
                  <a:lnTo>
                    <a:pt x="2208" y="2932"/>
                  </a:lnTo>
                  <a:lnTo>
                    <a:pt x="2208" y="2932"/>
                  </a:lnTo>
                  <a:lnTo>
                    <a:pt x="2208" y="2932"/>
                  </a:lnTo>
                  <a:close/>
                  <a:moveTo>
                    <a:pt x="2154" y="2958"/>
                  </a:moveTo>
                  <a:lnTo>
                    <a:pt x="2142" y="2948"/>
                  </a:lnTo>
                  <a:lnTo>
                    <a:pt x="2154" y="2941"/>
                  </a:lnTo>
                  <a:lnTo>
                    <a:pt x="2180" y="2948"/>
                  </a:lnTo>
                  <a:lnTo>
                    <a:pt x="2154" y="2958"/>
                  </a:lnTo>
                  <a:lnTo>
                    <a:pt x="2154" y="2958"/>
                  </a:lnTo>
                  <a:lnTo>
                    <a:pt x="2154" y="2958"/>
                  </a:lnTo>
                  <a:close/>
                  <a:moveTo>
                    <a:pt x="2163" y="2981"/>
                  </a:moveTo>
                  <a:lnTo>
                    <a:pt x="2154" y="2965"/>
                  </a:lnTo>
                  <a:lnTo>
                    <a:pt x="2163" y="2974"/>
                  </a:lnTo>
                  <a:lnTo>
                    <a:pt x="2163" y="2981"/>
                  </a:lnTo>
                  <a:lnTo>
                    <a:pt x="2163" y="2981"/>
                  </a:lnTo>
                  <a:lnTo>
                    <a:pt x="2163" y="2981"/>
                  </a:lnTo>
                  <a:close/>
                  <a:moveTo>
                    <a:pt x="2159" y="3059"/>
                  </a:moveTo>
                  <a:lnTo>
                    <a:pt x="2163" y="3043"/>
                  </a:lnTo>
                  <a:lnTo>
                    <a:pt x="2163" y="3059"/>
                  </a:lnTo>
                  <a:lnTo>
                    <a:pt x="2159" y="3059"/>
                  </a:lnTo>
                  <a:lnTo>
                    <a:pt x="2159" y="3059"/>
                  </a:lnTo>
                  <a:lnTo>
                    <a:pt x="2159" y="3059"/>
                  </a:lnTo>
                  <a:close/>
                  <a:moveTo>
                    <a:pt x="1743" y="3130"/>
                  </a:moveTo>
                  <a:lnTo>
                    <a:pt x="1748" y="3142"/>
                  </a:lnTo>
                  <a:lnTo>
                    <a:pt x="1726" y="3130"/>
                  </a:lnTo>
                  <a:lnTo>
                    <a:pt x="1743" y="3130"/>
                  </a:lnTo>
                  <a:lnTo>
                    <a:pt x="1743" y="3130"/>
                  </a:lnTo>
                  <a:lnTo>
                    <a:pt x="1743" y="3130"/>
                  </a:lnTo>
                  <a:close/>
                  <a:moveTo>
                    <a:pt x="1882" y="3154"/>
                  </a:moveTo>
                  <a:lnTo>
                    <a:pt x="1835" y="3170"/>
                  </a:lnTo>
                  <a:lnTo>
                    <a:pt x="1882" y="3147"/>
                  </a:lnTo>
                  <a:lnTo>
                    <a:pt x="1882" y="3154"/>
                  </a:lnTo>
                  <a:lnTo>
                    <a:pt x="1882" y="3154"/>
                  </a:lnTo>
                  <a:lnTo>
                    <a:pt x="1882" y="3154"/>
                  </a:lnTo>
                  <a:close/>
                  <a:moveTo>
                    <a:pt x="1776" y="3163"/>
                  </a:moveTo>
                  <a:lnTo>
                    <a:pt x="1764" y="3170"/>
                  </a:lnTo>
                  <a:lnTo>
                    <a:pt x="1781" y="3170"/>
                  </a:lnTo>
                  <a:lnTo>
                    <a:pt x="1764" y="3180"/>
                  </a:lnTo>
                  <a:lnTo>
                    <a:pt x="1731" y="3163"/>
                  </a:lnTo>
                  <a:lnTo>
                    <a:pt x="1776" y="3163"/>
                  </a:lnTo>
                  <a:lnTo>
                    <a:pt x="1776" y="3163"/>
                  </a:lnTo>
                  <a:lnTo>
                    <a:pt x="1776" y="3163"/>
                  </a:lnTo>
                  <a:close/>
                  <a:moveTo>
                    <a:pt x="1873" y="3170"/>
                  </a:moveTo>
                  <a:lnTo>
                    <a:pt x="1873" y="3180"/>
                  </a:lnTo>
                  <a:lnTo>
                    <a:pt x="1856" y="3180"/>
                  </a:lnTo>
                  <a:lnTo>
                    <a:pt x="1873" y="3170"/>
                  </a:lnTo>
                  <a:lnTo>
                    <a:pt x="1873" y="3170"/>
                  </a:lnTo>
                  <a:lnTo>
                    <a:pt x="1873" y="3170"/>
                  </a:lnTo>
                  <a:close/>
                  <a:moveTo>
                    <a:pt x="1958" y="3208"/>
                  </a:moveTo>
                  <a:lnTo>
                    <a:pt x="1948" y="3225"/>
                  </a:lnTo>
                  <a:lnTo>
                    <a:pt x="1937" y="3236"/>
                  </a:lnTo>
                  <a:lnTo>
                    <a:pt x="1944" y="3208"/>
                  </a:lnTo>
                  <a:lnTo>
                    <a:pt x="1958" y="3208"/>
                  </a:lnTo>
                  <a:lnTo>
                    <a:pt x="1958" y="3208"/>
                  </a:lnTo>
                  <a:lnTo>
                    <a:pt x="1958" y="3208"/>
                  </a:lnTo>
                  <a:close/>
                  <a:moveTo>
                    <a:pt x="2067" y="3258"/>
                  </a:moveTo>
                  <a:lnTo>
                    <a:pt x="2045" y="3253"/>
                  </a:lnTo>
                  <a:lnTo>
                    <a:pt x="2029" y="3236"/>
                  </a:lnTo>
                  <a:lnTo>
                    <a:pt x="2100" y="3241"/>
                  </a:lnTo>
                  <a:lnTo>
                    <a:pt x="2088" y="3253"/>
                  </a:lnTo>
                  <a:lnTo>
                    <a:pt x="2067" y="3241"/>
                  </a:lnTo>
                  <a:lnTo>
                    <a:pt x="2071" y="3253"/>
                  </a:lnTo>
                  <a:lnTo>
                    <a:pt x="2067" y="3258"/>
                  </a:lnTo>
                  <a:lnTo>
                    <a:pt x="2067" y="3258"/>
                  </a:lnTo>
                  <a:lnTo>
                    <a:pt x="2067" y="3258"/>
                  </a:lnTo>
                  <a:close/>
                  <a:moveTo>
                    <a:pt x="2019" y="3241"/>
                  </a:moveTo>
                  <a:lnTo>
                    <a:pt x="2019" y="3253"/>
                  </a:lnTo>
                  <a:lnTo>
                    <a:pt x="2012" y="3258"/>
                  </a:lnTo>
                  <a:lnTo>
                    <a:pt x="1996" y="3253"/>
                  </a:lnTo>
                  <a:lnTo>
                    <a:pt x="2003" y="3236"/>
                  </a:lnTo>
                  <a:lnTo>
                    <a:pt x="2019" y="3241"/>
                  </a:lnTo>
                  <a:lnTo>
                    <a:pt x="2019" y="3241"/>
                  </a:lnTo>
                  <a:lnTo>
                    <a:pt x="2019" y="3241"/>
                  </a:lnTo>
                  <a:close/>
                  <a:moveTo>
                    <a:pt x="2071" y="3258"/>
                  </a:moveTo>
                  <a:lnTo>
                    <a:pt x="2071" y="3253"/>
                  </a:lnTo>
                  <a:lnTo>
                    <a:pt x="2083" y="3253"/>
                  </a:lnTo>
                  <a:lnTo>
                    <a:pt x="2071" y="3258"/>
                  </a:lnTo>
                  <a:lnTo>
                    <a:pt x="2071" y="3258"/>
                  </a:lnTo>
                  <a:lnTo>
                    <a:pt x="2071" y="3258"/>
                  </a:lnTo>
                  <a:close/>
                  <a:moveTo>
                    <a:pt x="2029" y="3265"/>
                  </a:moveTo>
                  <a:lnTo>
                    <a:pt x="2012" y="3258"/>
                  </a:lnTo>
                  <a:lnTo>
                    <a:pt x="2019" y="3253"/>
                  </a:lnTo>
                  <a:lnTo>
                    <a:pt x="2033" y="3253"/>
                  </a:lnTo>
                  <a:lnTo>
                    <a:pt x="2029" y="3265"/>
                  </a:lnTo>
                  <a:lnTo>
                    <a:pt x="2029" y="3265"/>
                  </a:lnTo>
                  <a:lnTo>
                    <a:pt x="2029" y="3265"/>
                  </a:lnTo>
                  <a:close/>
                  <a:moveTo>
                    <a:pt x="2083" y="3258"/>
                  </a:moveTo>
                  <a:lnTo>
                    <a:pt x="2083" y="3253"/>
                  </a:lnTo>
                  <a:lnTo>
                    <a:pt x="2088" y="3258"/>
                  </a:lnTo>
                  <a:lnTo>
                    <a:pt x="2083" y="3258"/>
                  </a:lnTo>
                  <a:lnTo>
                    <a:pt x="2083" y="3258"/>
                  </a:lnTo>
                  <a:lnTo>
                    <a:pt x="2083" y="3258"/>
                  </a:lnTo>
                  <a:close/>
                  <a:moveTo>
                    <a:pt x="2045" y="3274"/>
                  </a:moveTo>
                  <a:lnTo>
                    <a:pt x="2029" y="3265"/>
                  </a:lnTo>
                  <a:lnTo>
                    <a:pt x="2033" y="3258"/>
                  </a:lnTo>
                  <a:lnTo>
                    <a:pt x="2057" y="3265"/>
                  </a:lnTo>
                  <a:lnTo>
                    <a:pt x="2045" y="3274"/>
                  </a:lnTo>
                  <a:lnTo>
                    <a:pt x="2045" y="3274"/>
                  </a:lnTo>
                  <a:lnTo>
                    <a:pt x="2045" y="3274"/>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4" name="Freeform 453">
              <a:extLst>
                <a:ext uri="{FF2B5EF4-FFF2-40B4-BE49-F238E27FC236}">
                  <a16:creationId xmlns:a16="http://schemas.microsoft.com/office/drawing/2014/main" id="{9286779A-ACFE-43BF-8A0B-B1C6BA1FC95D}"/>
                </a:ext>
              </a:extLst>
            </p:cNvPr>
            <p:cNvSpPr>
              <a:spLocks noEditPoints="1"/>
            </p:cNvSpPr>
            <p:nvPr/>
          </p:nvSpPr>
          <p:spPr bwMode="gray">
            <a:xfrm>
              <a:off x="13877375" y="2666446"/>
              <a:ext cx="211761" cy="242854"/>
            </a:xfrm>
            <a:custGeom>
              <a:avLst/>
              <a:gdLst>
                <a:gd name="T0" fmla="*/ 442 w 647"/>
                <a:gd name="T1" fmla="*/ 454 h 742"/>
                <a:gd name="T2" fmla="*/ 480 w 647"/>
                <a:gd name="T3" fmla="*/ 543 h 742"/>
                <a:gd name="T4" fmla="*/ 534 w 647"/>
                <a:gd name="T5" fmla="*/ 621 h 742"/>
                <a:gd name="T6" fmla="*/ 496 w 647"/>
                <a:gd name="T7" fmla="*/ 704 h 742"/>
                <a:gd name="T8" fmla="*/ 484 w 647"/>
                <a:gd name="T9" fmla="*/ 704 h 742"/>
                <a:gd name="T10" fmla="*/ 354 w 647"/>
                <a:gd name="T11" fmla="*/ 720 h 742"/>
                <a:gd name="T12" fmla="*/ 312 w 647"/>
                <a:gd name="T13" fmla="*/ 732 h 742"/>
                <a:gd name="T14" fmla="*/ 241 w 647"/>
                <a:gd name="T15" fmla="*/ 704 h 742"/>
                <a:gd name="T16" fmla="*/ 177 w 647"/>
                <a:gd name="T17" fmla="*/ 704 h 742"/>
                <a:gd name="T18" fmla="*/ 118 w 647"/>
                <a:gd name="T19" fmla="*/ 704 h 742"/>
                <a:gd name="T20" fmla="*/ 140 w 647"/>
                <a:gd name="T21" fmla="*/ 621 h 742"/>
                <a:gd name="T22" fmla="*/ 102 w 647"/>
                <a:gd name="T23" fmla="*/ 565 h 742"/>
                <a:gd name="T24" fmla="*/ 43 w 647"/>
                <a:gd name="T25" fmla="*/ 539 h 742"/>
                <a:gd name="T26" fmla="*/ 26 w 647"/>
                <a:gd name="T27" fmla="*/ 472 h 742"/>
                <a:gd name="T28" fmla="*/ 14 w 647"/>
                <a:gd name="T29" fmla="*/ 416 h 742"/>
                <a:gd name="T30" fmla="*/ 14 w 647"/>
                <a:gd name="T31" fmla="*/ 371 h 742"/>
                <a:gd name="T32" fmla="*/ 69 w 647"/>
                <a:gd name="T33" fmla="*/ 300 h 742"/>
                <a:gd name="T34" fmla="*/ 64 w 647"/>
                <a:gd name="T35" fmla="*/ 243 h 742"/>
                <a:gd name="T36" fmla="*/ 102 w 647"/>
                <a:gd name="T37" fmla="*/ 177 h 742"/>
                <a:gd name="T38" fmla="*/ 85 w 647"/>
                <a:gd name="T39" fmla="*/ 168 h 742"/>
                <a:gd name="T40" fmla="*/ 161 w 647"/>
                <a:gd name="T41" fmla="*/ 149 h 742"/>
                <a:gd name="T42" fmla="*/ 177 w 647"/>
                <a:gd name="T43" fmla="*/ 149 h 742"/>
                <a:gd name="T44" fmla="*/ 189 w 647"/>
                <a:gd name="T45" fmla="*/ 149 h 742"/>
                <a:gd name="T46" fmla="*/ 203 w 647"/>
                <a:gd name="T47" fmla="*/ 116 h 742"/>
                <a:gd name="T48" fmla="*/ 265 w 647"/>
                <a:gd name="T49" fmla="*/ 139 h 742"/>
                <a:gd name="T50" fmla="*/ 227 w 647"/>
                <a:gd name="T51" fmla="*/ 94 h 742"/>
                <a:gd name="T52" fmla="*/ 194 w 647"/>
                <a:gd name="T53" fmla="*/ 66 h 742"/>
                <a:gd name="T54" fmla="*/ 173 w 647"/>
                <a:gd name="T55" fmla="*/ 28 h 742"/>
                <a:gd name="T56" fmla="*/ 189 w 647"/>
                <a:gd name="T57" fmla="*/ 12 h 742"/>
                <a:gd name="T58" fmla="*/ 295 w 647"/>
                <a:gd name="T59" fmla="*/ 45 h 742"/>
                <a:gd name="T60" fmla="*/ 371 w 647"/>
                <a:gd name="T61" fmla="*/ 66 h 742"/>
                <a:gd name="T62" fmla="*/ 350 w 647"/>
                <a:gd name="T63" fmla="*/ 116 h 742"/>
                <a:gd name="T64" fmla="*/ 442 w 647"/>
                <a:gd name="T65" fmla="*/ 83 h 742"/>
                <a:gd name="T66" fmla="*/ 458 w 647"/>
                <a:gd name="T67" fmla="*/ 78 h 742"/>
                <a:gd name="T68" fmla="*/ 555 w 647"/>
                <a:gd name="T69" fmla="*/ 83 h 742"/>
                <a:gd name="T70" fmla="*/ 605 w 647"/>
                <a:gd name="T71" fmla="*/ 168 h 742"/>
                <a:gd name="T72" fmla="*/ 619 w 647"/>
                <a:gd name="T73" fmla="*/ 243 h 742"/>
                <a:gd name="T74" fmla="*/ 619 w 647"/>
                <a:gd name="T75" fmla="*/ 317 h 742"/>
                <a:gd name="T76" fmla="*/ 647 w 647"/>
                <a:gd name="T77" fmla="*/ 371 h 742"/>
                <a:gd name="T78" fmla="*/ 593 w 647"/>
                <a:gd name="T79" fmla="*/ 387 h 742"/>
                <a:gd name="T80" fmla="*/ 539 w 647"/>
                <a:gd name="T81" fmla="*/ 416 h 742"/>
                <a:gd name="T82" fmla="*/ 194 w 647"/>
                <a:gd name="T83" fmla="*/ 40 h 742"/>
                <a:gd name="T84" fmla="*/ 194 w 647"/>
                <a:gd name="T85" fmla="*/ 40 h 742"/>
                <a:gd name="T86" fmla="*/ 177 w 647"/>
                <a:gd name="T87" fmla="*/ 28 h 742"/>
                <a:gd name="T88" fmla="*/ 529 w 647"/>
                <a:gd name="T89" fmla="*/ 78 h 742"/>
                <a:gd name="T90" fmla="*/ 517 w 647"/>
                <a:gd name="T91" fmla="*/ 45 h 742"/>
                <a:gd name="T92" fmla="*/ 517 w 647"/>
                <a:gd name="T93" fmla="*/ 40 h 742"/>
                <a:gd name="T94" fmla="*/ 539 w 647"/>
                <a:gd name="T95" fmla="*/ 61 h 742"/>
                <a:gd name="T96" fmla="*/ 529 w 647"/>
                <a:gd name="T97" fmla="*/ 78 h 742"/>
                <a:gd name="T98" fmla="*/ 194 w 647"/>
                <a:gd name="T99" fmla="*/ 57 h 742"/>
                <a:gd name="T100" fmla="*/ 203 w 647"/>
                <a:gd name="T101" fmla="*/ 57 h 742"/>
                <a:gd name="T102" fmla="*/ 371 w 647"/>
                <a:gd name="T103" fmla="*/ 57 h 742"/>
                <a:gd name="T104" fmla="*/ 588 w 647"/>
                <a:gd name="T105" fmla="*/ 111 h 742"/>
                <a:gd name="T106" fmla="*/ 572 w 647"/>
                <a:gd name="T107" fmla="*/ 94 h 742"/>
                <a:gd name="T108" fmla="*/ 588 w 647"/>
                <a:gd name="T109" fmla="*/ 111 h 742"/>
                <a:gd name="T110" fmla="*/ 392 w 647"/>
                <a:gd name="T111" fmla="*/ 99 h 742"/>
                <a:gd name="T112" fmla="*/ 64 w 647"/>
                <a:gd name="T113" fmla="*/ 149 h 742"/>
                <a:gd name="T114" fmla="*/ 64 w 647"/>
                <a:gd name="T115" fmla="*/ 149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7" h="742">
                  <a:moveTo>
                    <a:pt x="501" y="449"/>
                  </a:moveTo>
                  <a:lnTo>
                    <a:pt x="475" y="449"/>
                  </a:lnTo>
                  <a:lnTo>
                    <a:pt x="458" y="465"/>
                  </a:lnTo>
                  <a:lnTo>
                    <a:pt x="442" y="454"/>
                  </a:lnTo>
                  <a:lnTo>
                    <a:pt x="447" y="482"/>
                  </a:lnTo>
                  <a:lnTo>
                    <a:pt x="475" y="498"/>
                  </a:lnTo>
                  <a:lnTo>
                    <a:pt x="463" y="522"/>
                  </a:lnTo>
                  <a:lnTo>
                    <a:pt x="480" y="543"/>
                  </a:lnTo>
                  <a:lnTo>
                    <a:pt x="501" y="555"/>
                  </a:lnTo>
                  <a:lnTo>
                    <a:pt x="567" y="598"/>
                  </a:lnTo>
                  <a:lnTo>
                    <a:pt x="555" y="621"/>
                  </a:lnTo>
                  <a:lnTo>
                    <a:pt x="534" y="621"/>
                  </a:lnTo>
                  <a:lnTo>
                    <a:pt x="534" y="638"/>
                  </a:lnTo>
                  <a:lnTo>
                    <a:pt x="484" y="666"/>
                  </a:lnTo>
                  <a:lnTo>
                    <a:pt x="501" y="687"/>
                  </a:lnTo>
                  <a:lnTo>
                    <a:pt x="496" y="704"/>
                  </a:lnTo>
                  <a:lnTo>
                    <a:pt x="513" y="704"/>
                  </a:lnTo>
                  <a:lnTo>
                    <a:pt x="501" y="720"/>
                  </a:lnTo>
                  <a:lnTo>
                    <a:pt x="484" y="720"/>
                  </a:lnTo>
                  <a:lnTo>
                    <a:pt x="484" y="704"/>
                  </a:lnTo>
                  <a:lnTo>
                    <a:pt x="409" y="709"/>
                  </a:lnTo>
                  <a:lnTo>
                    <a:pt x="371" y="725"/>
                  </a:lnTo>
                  <a:lnTo>
                    <a:pt x="366" y="725"/>
                  </a:lnTo>
                  <a:lnTo>
                    <a:pt x="354" y="720"/>
                  </a:lnTo>
                  <a:lnTo>
                    <a:pt x="324" y="709"/>
                  </a:lnTo>
                  <a:lnTo>
                    <a:pt x="324" y="725"/>
                  </a:lnTo>
                  <a:lnTo>
                    <a:pt x="302" y="742"/>
                  </a:lnTo>
                  <a:lnTo>
                    <a:pt x="312" y="732"/>
                  </a:lnTo>
                  <a:lnTo>
                    <a:pt x="286" y="720"/>
                  </a:lnTo>
                  <a:lnTo>
                    <a:pt x="279" y="709"/>
                  </a:lnTo>
                  <a:lnTo>
                    <a:pt x="265" y="720"/>
                  </a:lnTo>
                  <a:lnTo>
                    <a:pt x="241" y="704"/>
                  </a:lnTo>
                  <a:lnTo>
                    <a:pt x="203" y="704"/>
                  </a:lnTo>
                  <a:lnTo>
                    <a:pt x="203" y="692"/>
                  </a:lnTo>
                  <a:lnTo>
                    <a:pt x="194" y="692"/>
                  </a:lnTo>
                  <a:lnTo>
                    <a:pt x="177" y="704"/>
                  </a:lnTo>
                  <a:lnTo>
                    <a:pt x="194" y="704"/>
                  </a:lnTo>
                  <a:lnTo>
                    <a:pt x="194" y="709"/>
                  </a:lnTo>
                  <a:lnTo>
                    <a:pt x="123" y="709"/>
                  </a:lnTo>
                  <a:lnTo>
                    <a:pt x="118" y="704"/>
                  </a:lnTo>
                  <a:lnTo>
                    <a:pt x="123" y="676"/>
                  </a:lnTo>
                  <a:lnTo>
                    <a:pt x="123" y="666"/>
                  </a:lnTo>
                  <a:lnTo>
                    <a:pt x="135" y="638"/>
                  </a:lnTo>
                  <a:lnTo>
                    <a:pt x="140" y="621"/>
                  </a:lnTo>
                  <a:lnTo>
                    <a:pt x="173" y="581"/>
                  </a:lnTo>
                  <a:lnTo>
                    <a:pt x="135" y="576"/>
                  </a:lnTo>
                  <a:lnTo>
                    <a:pt x="106" y="565"/>
                  </a:lnTo>
                  <a:lnTo>
                    <a:pt x="102" y="565"/>
                  </a:lnTo>
                  <a:lnTo>
                    <a:pt x="80" y="560"/>
                  </a:lnTo>
                  <a:lnTo>
                    <a:pt x="64" y="565"/>
                  </a:lnTo>
                  <a:lnTo>
                    <a:pt x="47" y="543"/>
                  </a:lnTo>
                  <a:lnTo>
                    <a:pt x="43" y="539"/>
                  </a:lnTo>
                  <a:lnTo>
                    <a:pt x="43" y="539"/>
                  </a:lnTo>
                  <a:lnTo>
                    <a:pt x="47" y="505"/>
                  </a:lnTo>
                  <a:lnTo>
                    <a:pt x="31" y="498"/>
                  </a:lnTo>
                  <a:lnTo>
                    <a:pt x="26" y="472"/>
                  </a:lnTo>
                  <a:lnTo>
                    <a:pt x="26" y="465"/>
                  </a:lnTo>
                  <a:lnTo>
                    <a:pt x="43" y="454"/>
                  </a:lnTo>
                  <a:lnTo>
                    <a:pt x="31" y="428"/>
                  </a:lnTo>
                  <a:lnTo>
                    <a:pt x="14" y="416"/>
                  </a:lnTo>
                  <a:lnTo>
                    <a:pt x="14" y="399"/>
                  </a:lnTo>
                  <a:lnTo>
                    <a:pt x="0" y="387"/>
                  </a:lnTo>
                  <a:lnTo>
                    <a:pt x="14" y="378"/>
                  </a:lnTo>
                  <a:lnTo>
                    <a:pt x="14" y="371"/>
                  </a:lnTo>
                  <a:lnTo>
                    <a:pt x="31" y="361"/>
                  </a:lnTo>
                  <a:lnTo>
                    <a:pt x="31" y="345"/>
                  </a:lnTo>
                  <a:lnTo>
                    <a:pt x="10" y="317"/>
                  </a:lnTo>
                  <a:lnTo>
                    <a:pt x="69" y="300"/>
                  </a:lnTo>
                  <a:lnTo>
                    <a:pt x="64" y="288"/>
                  </a:lnTo>
                  <a:lnTo>
                    <a:pt x="85" y="276"/>
                  </a:lnTo>
                  <a:lnTo>
                    <a:pt x="85" y="260"/>
                  </a:lnTo>
                  <a:lnTo>
                    <a:pt x="64" y="243"/>
                  </a:lnTo>
                  <a:lnTo>
                    <a:pt x="69" y="234"/>
                  </a:lnTo>
                  <a:lnTo>
                    <a:pt x="85" y="234"/>
                  </a:lnTo>
                  <a:lnTo>
                    <a:pt x="102" y="205"/>
                  </a:lnTo>
                  <a:lnTo>
                    <a:pt x="102" y="177"/>
                  </a:lnTo>
                  <a:lnTo>
                    <a:pt x="102" y="172"/>
                  </a:lnTo>
                  <a:lnTo>
                    <a:pt x="106" y="172"/>
                  </a:lnTo>
                  <a:lnTo>
                    <a:pt x="85" y="168"/>
                  </a:lnTo>
                  <a:lnTo>
                    <a:pt x="85" y="168"/>
                  </a:lnTo>
                  <a:lnTo>
                    <a:pt x="97" y="139"/>
                  </a:lnTo>
                  <a:lnTo>
                    <a:pt x="102" y="132"/>
                  </a:lnTo>
                  <a:lnTo>
                    <a:pt x="156" y="132"/>
                  </a:lnTo>
                  <a:lnTo>
                    <a:pt x="161" y="149"/>
                  </a:lnTo>
                  <a:lnTo>
                    <a:pt x="156" y="149"/>
                  </a:lnTo>
                  <a:lnTo>
                    <a:pt x="161" y="156"/>
                  </a:lnTo>
                  <a:lnTo>
                    <a:pt x="173" y="156"/>
                  </a:lnTo>
                  <a:lnTo>
                    <a:pt x="177" y="149"/>
                  </a:lnTo>
                  <a:lnTo>
                    <a:pt x="173" y="149"/>
                  </a:lnTo>
                  <a:lnTo>
                    <a:pt x="173" y="139"/>
                  </a:lnTo>
                  <a:lnTo>
                    <a:pt x="177" y="139"/>
                  </a:lnTo>
                  <a:lnTo>
                    <a:pt x="189" y="149"/>
                  </a:lnTo>
                  <a:lnTo>
                    <a:pt x="189" y="168"/>
                  </a:lnTo>
                  <a:lnTo>
                    <a:pt x="194" y="149"/>
                  </a:lnTo>
                  <a:lnTo>
                    <a:pt x="189" y="132"/>
                  </a:lnTo>
                  <a:lnTo>
                    <a:pt x="203" y="116"/>
                  </a:lnTo>
                  <a:lnTo>
                    <a:pt x="241" y="116"/>
                  </a:lnTo>
                  <a:lnTo>
                    <a:pt x="265" y="139"/>
                  </a:lnTo>
                  <a:lnTo>
                    <a:pt x="279" y="149"/>
                  </a:lnTo>
                  <a:lnTo>
                    <a:pt x="265" y="139"/>
                  </a:lnTo>
                  <a:lnTo>
                    <a:pt x="248" y="116"/>
                  </a:lnTo>
                  <a:lnTo>
                    <a:pt x="215" y="111"/>
                  </a:lnTo>
                  <a:lnTo>
                    <a:pt x="210" y="99"/>
                  </a:lnTo>
                  <a:lnTo>
                    <a:pt x="227" y="94"/>
                  </a:lnTo>
                  <a:lnTo>
                    <a:pt x="210" y="83"/>
                  </a:lnTo>
                  <a:lnTo>
                    <a:pt x="215" y="78"/>
                  </a:lnTo>
                  <a:lnTo>
                    <a:pt x="203" y="78"/>
                  </a:lnTo>
                  <a:lnTo>
                    <a:pt x="194" y="66"/>
                  </a:lnTo>
                  <a:lnTo>
                    <a:pt x="227" y="57"/>
                  </a:lnTo>
                  <a:lnTo>
                    <a:pt x="194" y="12"/>
                  </a:lnTo>
                  <a:lnTo>
                    <a:pt x="173" y="12"/>
                  </a:lnTo>
                  <a:lnTo>
                    <a:pt x="173" y="28"/>
                  </a:lnTo>
                  <a:lnTo>
                    <a:pt x="177" y="0"/>
                  </a:lnTo>
                  <a:lnTo>
                    <a:pt x="189" y="0"/>
                  </a:lnTo>
                  <a:lnTo>
                    <a:pt x="177" y="5"/>
                  </a:lnTo>
                  <a:lnTo>
                    <a:pt x="189" y="12"/>
                  </a:lnTo>
                  <a:lnTo>
                    <a:pt x="203" y="12"/>
                  </a:lnTo>
                  <a:lnTo>
                    <a:pt x="258" y="24"/>
                  </a:lnTo>
                  <a:lnTo>
                    <a:pt x="295" y="28"/>
                  </a:lnTo>
                  <a:lnTo>
                    <a:pt x="295" y="45"/>
                  </a:lnTo>
                  <a:lnTo>
                    <a:pt x="286" y="61"/>
                  </a:lnTo>
                  <a:lnTo>
                    <a:pt x="302" y="57"/>
                  </a:lnTo>
                  <a:lnTo>
                    <a:pt x="340" y="66"/>
                  </a:lnTo>
                  <a:lnTo>
                    <a:pt x="371" y="66"/>
                  </a:lnTo>
                  <a:lnTo>
                    <a:pt x="371" y="83"/>
                  </a:lnTo>
                  <a:lnTo>
                    <a:pt x="350" y="99"/>
                  </a:lnTo>
                  <a:lnTo>
                    <a:pt x="354" y="99"/>
                  </a:lnTo>
                  <a:lnTo>
                    <a:pt x="350" y="116"/>
                  </a:lnTo>
                  <a:lnTo>
                    <a:pt x="371" y="99"/>
                  </a:lnTo>
                  <a:lnTo>
                    <a:pt x="392" y="111"/>
                  </a:lnTo>
                  <a:lnTo>
                    <a:pt x="409" y="83"/>
                  </a:lnTo>
                  <a:lnTo>
                    <a:pt x="442" y="83"/>
                  </a:lnTo>
                  <a:lnTo>
                    <a:pt x="475" y="57"/>
                  </a:lnTo>
                  <a:lnTo>
                    <a:pt x="501" y="61"/>
                  </a:lnTo>
                  <a:lnTo>
                    <a:pt x="463" y="61"/>
                  </a:lnTo>
                  <a:lnTo>
                    <a:pt x="458" y="78"/>
                  </a:lnTo>
                  <a:lnTo>
                    <a:pt x="475" y="66"/>
                  </a:lnTo>
                  <a:lnTo>
                    <a:pt x="501" y="61"/>
                  </a:lnTo>
                  <a:lnTo>
                    <a:pt x="534" y="94"/>
                  </a:lnTo>
                  <a:lnTo>
                    <a:pt x="555" y="83"/>
                  </a:lnTo>
                  <a:lnTo>
                    <a:pt x="567" y="111"/>
                  </a:lnTo>
                  <a:lnTo>
                    <a:pt x="567" y="116"/>
                  </a:lnTo>
                  <a:lnTo>
                    <a:pt x="593" y="132"/>
                  </a:lnTo>
                  <a:lnTo>
                    <a:pt x="605" y="168"/>
                  </a:lnTo>
                  <a:lnTo>
                    <a:pt x="605" y="189"/>
                  </a:lnTo>
                  <a:lnTo>
                    <a:pt x="588" y="205"/>
                  </a:lnTo>
                  <a:lnTo>
                    <a:pt x="588" y="210"/>
                  </a:lnTo>
                  <a:lnTo>
                    <a:pt x="619" y="243"/>
                  </a:lnTo>
                  <a:lnTo>
                    <a:pt x="610" y="260"/>
                  </a:lnTo>
                  <a:lnTo>
                    <a:pt x="626" y="276"/>
                  </a:lnTo>
                  <a:lnTo>
                    <a:pt x="626" y="288"/>
                  </a:lnTo>
                  <a:lnTo>
                    <a:pt x="619" y="317"/>
                  </a:lnTo>
                  <a:lnTo>
                    <a:pt x="626" y="333"/>
                  </a:lnTo>
                  <a:lnTo>
                    <a:pt x="626" y="345"/>
                  </a:lnTo>
                  <a:lnTo>
                    <a:pt x="643" y="345"/>
                  </a:lnTo>
                  <a:lnTo>
                    <a:pt x="647" y="371"/>
                  </a:lnTo>
                  <a:lnTo>
                    <a:pt x="636" y="411"/>
                  </a:lnTo>
                  <a:lnTo>
                    <a:pt x="619" y="411"/>
                  </a:lnTo>
                  <a:lnTo>
                    <a:pt x="610" y="394"/>
                  </a:lnTo>
                  <a:lnTo>
                    <a:pt x="593" y="387"/>
                  </a:lnTo>
                  <a:lnTo>
                    <a:pt x="593" y="394"/>
                  </a:lnTo>
                  <a:lnTo>
                    <a:pt x="605" y="399"/>
                  </a:lnTo>
                  <a:lnTo>
                    <a:pt x="593" y="399"/>
                  </a:lnTo>
                  <a:lnTo>
                    <a:pt x="539" y="416"/>
                  </a:lnTo>
                  <a:lnTo>
                    <a:pt x="501" y="449"/>
                  </a:lnTo>
                  <a:lnTo>
                    <a:pt x="501" y="449"/>
                  </a:lnTo>
                  <a:lnTo>
                    <a:pt x="501" y="449"/>
                  </a:lnTo>
                  <a:close/>
                  <a:moveTo>
                    <a:pt x="194" y="40"/>
                  </a:moveTo>
                  <a:lnTo>
                    <a:pt x="177" y="28"/>
                  </a:lnTo>
                  <a:lnTo>
                    <a:pt x="194" y="28"/>
                  </a:lnTo>
                  <a:lnTo>
                    <a:pt x="194" y="40"/>
                  </a:lnTo>
                  <a:lnTo>
                    <a:pt x="194" y="40"/>
                  </a:lnTo>
                  <a:lnTo>
                    <a:pt x="194" y="40"/>
                  </a:lnTo>
                  <a:close/>
                  <a:moveTo>
                    <a:pt x="177" y="45"/>
                  </a:moveTo>
                  <a:lnTo>
                    <a:pt x="173" y="40"/>
                  </a:lnTo>
                  <a:lnTo>
                    <a:pt x="177" y="28"/>
                  </a:lnTo>
                  <a:lnTo>
                    <a:pt x="177" y="45"/>
                  </a:lnTo>
                  <a:lnTo>
                    <a:pt x="177" y="45"/>
                  </a:lnTo>
                  <a:lnTo>
                    <a:pt x="177" y="45"/>
                  </a:lnTo>
                  <a:close/>
                  <a:moveTo>
                    <a:pt x="529" y="78"/>
                  </a:moveTo>
                  <a:lnTo>
                    <a:pt x="534" y="78"/>
                  </a:lnTo>
                  <a:lnTo>
                    <a:pt x="513" y="66"/>
                  </a:lnTo>
                  <a:lnTo>
                    <a:pt x="529" y="61"/>
                  </a:lnTo>
                  <a:lnTo>
                    <a:pt x="517" y="45"/>
                  </a:lnTo>
                  <a:lnTo>
                    <a:pt x="539" y="57"/>
                  </a:lnTo>
                  <a:lnTo>
                    <a:pt x="534" y="45"/>
                  </a:lnTo>
                  <a:lnTo>
                    <a:pt x="517" y="45"/>
                  </a:lnTo>
                  <a:lnTo>
                    <a:pt x="517" y="40"/>
                  </a:lnTo>
                  <a:lnTo>
                    <a:pt x="534" y="40"/>
                  </a:lnTo>
                  <a:lnTo>
                    <a:pt x="534" y="45"/>
                  </a:lnTo>
                  <a:lnTo>
                    <a:pt x="551" y="45"/>
                  </a:lnTo>
                  <a:lnTo>
                    <a:pt x="539" y="61"/>
                  </a:lnTo>
                  <a:lnTo>
                    <a:pt x="555" y="78"/>
                  </a:lnTo>
                  <a:lnTo>
                    <a:pt x="551" y="66"/>
                  </a:lnTo>
                  <a:lnTo>
                    <a:pt x="539" y="66"/>
                  </a:lnTo>
                  <a:lnTo>
                    <a:pt x="529" y="78"/>
                  </a:lnTo>
                  <a:lnTo>
                    <a:pt x="529" y="78"/>
                  </a:lnTo>
                  <a:lnTo>
                    <a:pt x="529" y="78"/>
                  </a:lnTo>
                  <a:close/>
                  <a:moveTo>
                    <a:pt x="203" y="57"/>
                  </a:moveTo>
                  <a:lnTo>
                    <a:pt x="194" y="57"/>
                  </a:lnTo>
                  <a:lnTo>
                    <a:pt x="203" y="45"/>
                  </a:lnTo>
                  <a:lnTo>
                    <a:pt x="203" y="57"/>
                  </a:lnTo>
                  <a:lnTo>
                    <a:pt x="203" y="57"/>
                  </a:lnTo>
                  <a:lnTo>
                    <a:pt x="203" y="57"/>
                  </a:lnTo>
                  <a:close/>
                  <a:moveTo>
                    <a:pt x="378" y="61"/>
                  </a:moveTo>
                  <a:lnTo>
                    <a:pt x="388" y="61"/>
                  </a:lnTo>
                  <a:lnTo>
                    <a:pt x="366" y="61"/>
                  </a:lnTo>
                  <a:lnTo>
                    <a:pt x="371" y="57"/>
                  </a:lnTo>
                  <a:lnTo>
                    <a:pt x="378" y="61"/>
                  </a:lnTo>
                  <a:lnTo>
                    <a:pt x="378" y="61"/>
                  </a:lnTo>
                  <a:lnTo>
                    <a:pt x="378" y="61"/>
                  </a:lnTo>
                  <a:close/>
                  <a:moveTo>
                    <a:pt x="588" y="111"/>
                  </a:moveTo>
                  <a:lnTo>
                    <a:pt x="588" y="116"/>
                  </a:lnTo>
                  <a:lnTo>
                    <a:pt x="567" y="116"/>
                  </a:lnTo>
                  <a:lnTo>
                    <a:pt x="581" y="99"/>
                  </a:lnTo>
                  <a:lnTo>
                    <a:pt x="572" y="94"/>
                  </a:lnTo>
                  <a:lnTo>
                    <a:pt x="567" y="99"/>
                  </a:lnTo>
                  <a:lnTo>
                    <a:pt x="555" y="83"/>
                  </a:lnTo>
                  <a:lnTo>
                    <a:pt x="588" y="111"/>
                  </a:lnTo>
                  <a:lnTo>
                    <a:pt x="588" y="111"/>
                  </a:lnTo>
                  <a:lnTo>
                    <a:pt x="588" y="111"/>
                  </a:lnTo>
                  <a:close/>
                  <a:moveTo>
                    <a:pt x="392" y="111"/>
                  </a:moveTo>
                  <a:lnTo>
                    <a:pt x="388" y="99"/>
                  </a:lnTo>
                  <a:lnTo>
                    <a:pt x="392" y="99"/>
                  </a:lnTo>
                  <a:lnTo>
                    <a:pt x="392" y="111"/>
                  </a:lnTo>
                  <a:lnTo>
                    <a:pt x="392" y="111"/>
                  </a:lnTo>
                  <a:lnTo>
                    <a:pt x="392" y="111"/>
                  </a:lnTo>
                  <a:close/>
                  <a:moveTo>
                    <a:pt x="64" y="149"/>
                  </a:moveTo>
                  <a:lnTo>
                    <a:pt x="64" y="139"/>
                  </a:lnTo>
                  <a:lnTo>
                    <a:pt x="69" y="139"/>
                  </a:lnTo>
                  <a:lnTo>
                    <a:pt x="64" y="149"/>
                  </a:lnTo>
                  <a:lnTo>
                    <a:pt x="64" y="149"/>
                  </a:lnTo>
                  <a:lnTo>
                    <a:pt x="64" y="14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5" name="Freeform 454">
              <a:extLst>
                <a:ext uri="{FF2B5EF4-FFF2-40B4-BE49-F238E27FC236}">
                  <a16:creationId xmlns:a16="http://schemas.microsoft.com/office/drawing/2014/main" id="{6D0C8971-F80E-4A2D-B7EB-B89F134DD2CD}"/>
                </a:ext>
              </a:extLst>
            </p:cNvPr>
            <p:cNvSpPr>
              <a:spLocks noEditPoints="1"/>
            </p:cNvSpPr>
            <p:nvPr/>
          </p:nvSpPr>
          <p:spPr bwMode="gray">
            <a:xfrm>
              <a:off x="12295550" y="3682374"/>
              <a:ext cx="43203" cy="54004"/>
            </a:xfrm>
            <a:custGeom>
              <a:avLst/>
              <a:gdLst>
                <a:gd name="T0" fmla="*/ 5 w 132"/>
                <a:gd name="T1" fmla="*/ 5 h 165"/>
                <a:gd name="T2" fmla="*/ 0 w 132"/>
                <a:gd name="T3" fmla="*/ 5 h 165"/>
                <a:gd name="T4" fmla="*/ 5 w 132"/>
                <a:gd name="T5" fmla="*/ 0 h 165"/>
                <a:gd name="T6" fmla="*/ 5 w 132"/>
                <a:gd name="T7" fmla="*/ 5 h 165"/>
                <a:gd name="T8" fmla="*/ 5 w 132"/>
                <a:gd name="T9" fmla="*/ 5 h 165"/>
                <a:gd name="T10" fmla="*/ 5 w 132"/>
                <a:gd name="T11" fmla="*/ 5 h 165"/>
                <a:gd name="T12" fmla="*/ 21 w 132"/>
                <a:gd name="T13" fmla="*/ 16 h 165"/>
                <a:gd name="T14" fmla="*/ 12 w 132"/>
                <a:gd name="T15" fmla="*/ 16 h 165"/>
                <a:gd name="T16" fmla="*/ 21 w 132"/>
                <a:gd name="T17" fmla="*/ 16 h 165"/>
                <a:gd name="T18" fmla="*/ 21 w 132"/>
                <a:gd name="T19" fmla="*/ 16 h 165"/>
                <a:gd name="T20" fmla="*/ 21 w 132"/>
                <a:gd name="T21" fmla="*/ 16 h 165"/>
                <a:gd name="T22" fmla="*/ 21 w 132"/>
                <a:gd name="T23" fmla="*/ 16 h 165"/>
                <a:gd name="T24" fmla="*/ 111 w 132"/>
                <a:gd name="T25" fmla="*/ 132 h 165"/>
                <a:gd name="T26" fmla="*/ 111 w 132"/>
                <a:gd name="T27" fmla="*/ 116 h 165"/>
                <a:gd name="T28" fmla="*/ 118 w 132"/>
                <a:gd name="T29" fmla="*/ 132 h 165"/>
                <a:gd name="T30" fmla="*/ 132 w 132"/>
                <a:gd name="T31" fmla="*/ 132 h 165"/>
                <a:gd name="T32" fmla="*/ 106 w 132"/>
                <a:gd name="T33" fmla="*/ 144 h 165"/>
                <a:gd name="T34" fmla="*/ 106 w 132"/>
                <a:gd name="T35" fmla="*/ 156 h 165"/>
                <a:gd name="T36" fmla="*/ 97 w 132"/>
                <a:gd name="T37" fmla="*/ 156 h 165"/>
                <a:gd name="T38" fmla="*/ 90 w 132"/>
                <a:gd name="T39" fmla="*/ 132 h 165"/>
                <a:gd name="T40" fmla="*/ 111 w 132"/>
                <a:gd name="T41" fmla="*/ 132 h 165"/>
                <a:gd name="T42" fmla="*/ 111 w 132"/>
                <a:gd name="T43" fmla="*/ 132 h 165"/>
                <a:gd name="T44" fmla="*/ 111 w 132"/>
                <a:gd name="T45" fmla="*/ 132 h 165"/>
                <a:gd name="T46" fmla="*/ 128 w 132"/>
                <a:gd name="T47" fmla="*/ 165 h 165"/>
                <a:gd name="T48" fmla="*/ 118 w 132"/>
                <a:gd name="T49" fmla="*/ 165 h 165"/>
                <a:gd name="T50" fmla="*/ 128 w 132"/>
                <a:gd name="T51" fmla="*/ 156 h 165"/>
                <a:gd name="T52" fmla="*/ 132 w 132"/>
                <a:gd name="T53" fmla="*/ 165 h 165"/>
                <a:gd name="T54" fmla="*/ 128 w 132"/>
                <a:gd name="T55" fmla="*/ 165 h 165"/>
                <a:gd name="T56" fmla="*/ 128 w 132"/>
                <a:gd name="T57" fmla="*/ 165 h 165"/>
                <a:gd name="T58" fmla="*/ 128 w 132"/>
                <a:gd name="T59"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2" h="165">
                  <a:moveTo>
                    <a:pt x="5" y="5"/>
                  </a:moveTo>
                  <a:lnTo>
                    <a:pt x="0" y="5"/>
                  </a:lnTo>
                  <a:lnTo>
                    <a:pt x="5" y="0"/>
                  </a:lnTo>
                  <a:lnTo>
                    <a:pt x="5" y="5"/>
                  </a:lnTo>
                  <a:lnTo>
                    <a:pt x="5" y="5"/>
                  </a:lnTo>
                  <a:lnTo>
                    <a:pt x="5" y="5"/>
                  </a:lnTo>
                  <a:close/>
                  <a:moveTo>
                    <a:pt x="21" y="16"/>
                  </a:moveTo>
                  <a:lnTo>
                    <a:pt x="12" y="16"/>
                  </a:lnTo>
                  <a:lnTo>
                    <a:pt x="21" y="16"/>
                  </a:lnTo>
                  <a:lnTo>
                    <a:pt x="21" y="16"/>
                  </a:lnTo>
                  <a:lnTo>
                    <a:pt x="21" y="16"/>
                  </a:lnTo>
                  <a:lnTo>
                    <a:pt x="21" y="16"/>
                  </a:lnTo>
                  <a:close/>
                  <a:moveTo>
                    <a:pt x="111" y="132"/>
                  </a:moveTo>
                  <a:lnTo>
                    <a:pt x="111" y="116"/>
                  </a:lnTo>
                  <a:lnTo>
                    <a:pt x="118" y="132"/>
                  </a:lnTo>
                  <a:lnTo>
                    <a:pt x="132" y="132"/>
                  </a:lnTo>
                  <a:lnTo>
                    <a:pt x="106" y="144"/>
                  </a:lnTo>
                  <a:lnTo>
                    <a:pt x="106" y="156"/>
                  </a:lnTo>
                  <a:lnTo>
                    <a:pt x="97" y="156"/>
                  </a:lnTo>
                  <a:lnTo>
                    <a:pt x="90" y="132"/>
                  </a:lnTo>
                  <a:lnTo>
                    <a:pt x="111" y="132"/>
                  </a:lnTo>
                  <a:lnTo>
                    <a:pt x="111" y="132"/>
                  </a:lnTo>
                  <a:lnTo>
                    <a:pt x="111" y="132"/>
                  </a:lnTo>
                  <a:close/>
                  <a:moveTo>
                    <a:pt x="128" y="165"/>
                  </a:moveTo>
                  <a:lnTo>
                    <a:pt x="118" y="165"/>
                  </a:lnTo>
                  <a:lnTo>
                    <a:pt x="128" y="156"/>
                  </a:lnTo>
                  <a:lnTo>
                    <a:pt x="132" y="165"/>
                  </a:lnTo>
                  <a:lnTo>
                    <a:pt x="128" y="165"/>
                  </a:lnTo>
                  <a:lnTo>
                    <a:pt x="128" y="165"/>
                  </a:lnTo>
                  <a:lnTo>
                    <a:pt x="128" y="165"/>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6" name="Freeform 455">
              <a:extLst>
                <a:ext uri="{FF2B5EF4-FFF2-40B4-BE49-F238E27FC236}">
                  <a16:creationId xmlns:a16="http://schemas.microsoft.com/office/drawing/2014/main" id="{5797A1A9-F561-4399-B56B-B0815769C1EC}"/>
                </a:ext>
              </a:extLst>
            </p:cNvPr>
            <p:cNvSpPr>
              <a:spLocks/>
            </p:cNvSpPr>
            <p:nvPr/>
          </p:nvSpPr>
          <p:spPr bwMode="gray">
            <a:xfrm>
              <a:off x="17064917" y="3791364"/>
              <a:ext cx="7201" cy="11455"/>
            </a:xfrm>
            <a:custGeom>
              <a:avLst/>
              <a:gdLst>
                <a:gd name="T0" fmla="*/ 7 w 22"/>
                <a:gd name="T1" fmla="*/ 35 h 35"/>
                <a:gd name="T2" fmla="*/ 0 w 22"/>
                <a:gd name="T3" fmla="*/ 19 h 35"/>
                <a:gd name="T4" fmla="*/ 17 w 22"/>
                <a:gd name="T5" fmla="*/ 0 h 35"/>
                <a:gd name="T6" fmla="*/ 22 w 22"/>
                <a:gd name="T7" fmla="*/ 0 h 35"/>
                <a:gd name="T8" fmla="*/ 7 w 22"/>
                <a:gd name="T9" fmla="*/ 35 h 35"/>
                <a:gd name="T10" fmla="*/ 7 w 22"/>
                <a:gd name="T11" fmla="*/ 35 h 35"/>
                <a:gd name="T12" fmla="*/ 7 w 22"/>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22" h="35">
                  <a:moveTo>
                    <a:pt x="7" y="35"/>
                  </a:moveTo>
                  <a:lnTo>
                    <a:pt x="0" y="19"/>
                  </a:lnTo>
                  <a:lnTo>
                    <a:pt x="17" y="0"/>
                  </a:lnTo>
                  <a:lnTo>
                    <a:pt x="22" y="0"/>
                  </a:lnTo>
                  <a:lnTo>
                    <a:pt x="7" y="35"/>
                  </a:lnTo>
                  <a:lnTo>
                    <a:pt x="7" y="35"/>
                  </a:lnTo>
                  <a:lnTo>
                    <a:pt x="7" y="35"/>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7" name="Freeform 456">
              <a:extLst>
                <a:ext uri="{FF2B5EF4-FFF2-40B4-BE49-F238E27FC236}">
                  <a16:creationId xmlns:a16="http://schemas.microsoft.com/office/drawing/2014/main" id="{44D76764-D0DA-4F32-B549-DA3AF35E0F6C}"/>
                </a:ext>
              </a:extLst>
            </p:cNvPr>
            <p:cNvSpPr>
              <a:spLocks noEditPoints="1"/>
            </p:cNvSpPr>
            <p:nvPr/>
          </p:nvSpPr>
          <p:spPr bwMode="gray">
            <a:xfrm>
              <a:off x="14197471" y="3070657"/>
              <a:ext cx="193432" cy="185577"/>
            </a:xfrm>
            <a:custGeom>
              <a:avLst/>
              <a:gdLst>
                <a:gd name="T0" fmla="*/ 76 w 591"/>
                <a:gd name="T1" fmla="*/ 111 h 567"/>
                <a:gd name="T2" fmla="*/ 227 w 591"/>
                <a:gd name="T3" fmla="*/ 29 h 567"/>
                <a:gd name="T4" fmla="*/ 484 w 591"/>
                <a:gd name="T5" fmla="*/ 7 h 567"/>
                <a:gd name="T6" fmla="*/ 350 w 591"/>
                <a:gd name="T7" fmla="*/ 69 h 567"/>
                <a:gd name="T8" fmla="*/ 324 w 591"/>
                <a:gd name="T9" fmla="*/ 135 h 567"/>
                <a:gd name="T10" fmla="*/ 274 w 591"/>
                <a:gd name="T11" fmla="*/ 123 h 567"/>
                <a:gd name="T12" fmla="*/ 227 w 591"/>
                <a:gd name="T13" fmla="*/ 102 h 567"/>
                <a:gd name="T14" fmla="*/ 220 w 591"/>
                <a:gd name="T15" fmla="*/ 213 h 567"/>
                <a:gd name="T16" fmla="*/ 307 w 591"/>
                <a:gd name="T17" fmla="*/ 300 h 567"/>
                <a:gd name="T18" fmla="*/ 253 w 591"/>
                <a:gd name="T19" fmla="*/ 357 h 567"/>
                <a:gd name="T20" fmla="*/ 215 w 591"/>
                <a:gd name="T21" fmla="*/ 345 h 567"/>
                <a:gd name="T22" fmla="*/ 189 w 591"/>
                <a:gd name="T23" fmla="*/ 452 h 567"/>
                <a:gd name="T24" fmla="*/ 135 w 591"/>
                <a:gd name="T25" fmla="*/ 374 h 567"/>
                <a:gd name="T26" fmla="*/ 227 w 591"/>
                <a:gd name="T27" fmla="*/ 317 h 567"/>
                <a:gd name="T28" fmla="*/ 128 w 591"/>
                <a:gd name="T29" fmla="*/ 284 h 567"/>
                <a:gd name="T30" fmla="*/ 76 w 591"/>
                <a:gd name="T31" fmla="*/ 222 h 567"/>
                <a:gd name="T32" fmla="*/ 21 w 591"/>
                <a:gd name="T33" fmla="*/ 173 h 567"/>
                <a:gd name="T34" fmla="*/ 345 w 591"/>
                <a:gd name="T35" fmla="*/ 95 h 567"/>
                <a:gd name="T36" fmla="*/ 413 w 591"/>
                <a:gd name="T37" fmla="*/ 102 h 567"/>
                <a:gd name="T38" fmla="*/ 397 w 591"/>
                <a:gd name="T39" fmla="*/ 140 h 567"/>
                <a:gd name="T40" fmla="*/ 26 w 591"/>
                <a:gd name="T41" fmla="*/ 196 h 567"/>
                <a:gd name="T42" fmla="*/ 468 w 591"/>
                <a:gd name="T43" fmla="*/ 206 h 567"/>
                <a:gd name="T44" fmla="*/ 468 w 591"/>
                <a:gd name="T45" fmla="*/ 206 h 567"/>
                <a:gd name="T46" fmla="*/ 258 w 591"/>
                <a:gd name="T47" fmla="*/ 222 h 567"/>
                <a:gd name="T48" fmla="*/ 274 w 591"/>
                <a:gd name="T49" fmla="*/ 279 h 567"/>
                <a:gd name="T50" fmla="*/ 333 w 591"/>
                <a:gd name="T51" fmla="*/ 300 h 567"/>
                <a:gd name="T52" fmla="*/ 333 w 591"/>
                <a:gd name="T53" fmla="*/ 230 h 567"/>
                <a:gd name="T54" fmla="*/ 59 w 591"/>
                <a:gd name="T55" fmla="*/ 246 h 567"/>
                <a:gd name="T56" fmla="*/ 404 w 591"/>
                <a:gd name="T57" fmla="*/ 267 h 567"/>
                <a:gd name="T58" fmla="*/ 442 w 591"/>
                <a:gd name="T59" fmla="*/ 300 h 567"/>
                <a:gd name="T60" fmla="*/ 59 w 591"/>
                <a:gd name="T61" fmla="*/ 279 h 567"/>
                <a:gd name="T62" fmla="*/ 350 w 591"/>
                <a:gd name="T63" fmla="*/ 317 h 567"/>
                <a:gd name="T64" fmla="*/ 64 w 591"/>
                <a:gd name="T65" fmla="*/ 324 h 567"/>
                <a:gd name="T66" fmla="*/ 489 w 591"/>
                <a:gd name="T67" fmla="*/ 333 h 567"/>
                <a:gd name="T68" fmla="*/ 258 w 591"/>
                <a:gd name="T69" fmla="*/ 341 h 567"/>
                <a:gd name="T70" fmla="*/ 435 w 591"/>
                <a:gd name="T71" fmla="*/ 357 h 567"/>
                <a:gd name="T72" fmla="*/ 383 w 591"/>
                <a:gd name="T73" fmla="*/ 345 h 567"/>
                <a:gd name="T74" fmla="*/ 366 w 591"/>
                <a:gd name="T75" fmla="*/ 362 h 567"/>
                <a:gd name="T76" fmla="*/ 397 w 591"/>
                <a:gd name="T77" fmla="*/ 362 h 567"/>
                <a:gd name="T78" fmla="*/ 333 w 591"/>
                <a:gd name="T79" fmla="*/ 390 h 567"/>
                <a:gd name="T80" fmla="*/ 387 w 591"/>
                <a:gd name="T81" fmla="*/ 390 h 567"/>
                <a:gd name="T82" fmla="*/ 387 w 591"/>
                <a:gd name="T83" fmla="*/ 390 h 567"/>
                <a:gd name="T84" fmla="*/ 506 w 591"/>
                <a:gd name="T85" fmla="*/ 402 h 567"/>
                <a:gd name="T86" fmla="*/ 376 w 591"/>
                <a:gd name="T87" fmla="*/ 402 h 567"/>
                <a:gd name="T88" fmla="*/ 510 w 591"/>
                <a:gd name="T89" fmla="*/ 411 h 567"/>
                <a:gd name="T90" fmla="*/ 435 w 591"/>
                <a:gd name="T91" fmla="*/ 411 h 567"/>
                <a:gd name="T92" fmla="*/ 397 w 591"/>
                <a:gd name="T93" fmla="*/ 428 h 567"/>
                <a:gd name="T94" fmla="*/ 324 w 591"/>
                <a:gd name="T95" fmla="*/ 428 h 567"/>
                <a:gd name="T96" fmla="*/ 458 w 591"/>
                <a:gd name="T97" fmla="*/ 435 h 567"/>
                <a:gd name="T98" fmla="*/ 404 w 591"/>
                <a:gd name="T99" fmla="*/ 444 h 567"/>
                <a:gd name="T100" fmla="*/ 539 w 591"/>
                <a:gd name="T101" fmla="*/ 452 h 567"/>
                <a:gd name="T102" fmla="*/ 591 w 591"/>
                <a:gd name="T103" fmla="*/ 444 h 567"/>
                <a:gd name="T104" fmla="*/ 421 w 591"/>
                <a:gd name="T105" fmla="*/ 452 h 567"/>
                <a:gd name="T106" fmla="*/ 522 w 591"/>
                <a:gd name="T107" fmla="*/ 529 h 567"/>
                <a:gd name="T108" fmla="*/ 269 w 591"/>
                <a:gd name="T109" fmla="*/ 513 h 567"/>
                <a:gd name="T110" fmla="*/ 397 w 591"/>
                <a:gd name="T111" fmla="*/ 539 h 567"/>
                <a:gd name="T112" fmla="*/ 350 w 591"/>
                <a:gd name="T113" fmla="*/ 567 h 567"/>
                <a:gd name="T114" fmla="*/ 510 w 591"/>
                <a:gd name="T115" fmla="*/ 522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91" h="567">
                  <a:moveTo>
                    <a:pt x="21" y="173"/>
                  </a:moveTo>
                  <a:lnTo>
                    <a:pt x="38" y="173"/>
                  </a:lnTo>
                  <a:lnTo>
                    <a:pt x="43" y="168"/>
                  </a:lnTo>
                  <a:lnTo>
                    <a:pt x="38" y="168"/>
                  </a:lnTo>
                  <a:lnTo>
                    <a:pt x="54" y="156"/>
                  </a:lnTo>
                  <a:lnTo>
                    <a:pt x="43" y="152"/>
                  </a:lnTo>
                  <a:lnTo>
                    <a:pt x="64" y="135"/>
                  </a:lnTo>
                  <a:lnTo>
                    <a:pt x="76" y="111"/>
                  </a:lnTo>
                  <a:lnTo>
                    <a:pt x="92" y="95"/>
                  </a:lnTo>
                  <a:lnTo>
                    <a:pt x="92" y="69"/>
                  </a:lnTo>
                  <a:lnTo>
                    <a:pt x="128" y="69"/>
                  </a:lnTo>
                  <a:lnTo>
                    <a:pt x="144" y="62"/>
                  </a:lnTo>
                  <a:lnTo>
                    <a:pt x="161" y="45"/>
                  </a:lnTo>
                  <a:lnTo>
                    <a:pt x="215" y="45"/>
                  </a:lnTo>
                  <a:lnTo>
                    <a:pt x="215" y="29"/>
                  </a:lnTo>
                  <a:lnTo>
                    <a:pt x="227" y="29"/>
                  </a:lnTo>
                  <a:lnTo>
                    <a:pt x="274" y="29"/>
                  </a:lnTo>
                  <a:lnTo>
                    <a:pt x="324" y="12"/>
                  </a:lnTo>
                  <a:lnTo>
                    <a:pt x="387" y="41"/>
                  </a:lnTo>
                  <a:lnTo>
                    <a:pt x="451" y="29"/>
                  </a:lnTo>
                  <a:lnTo>
                    <a:pt x="451" y="12"/>
                  </a:lnTo>
                  <a:lnTo>
                    <a:pt x="442" y="0"/>
                  </a:lnTo>
                  <a:lnTo>
                    <a:pt x="468" y="0"/>
                  </a:lnTo>
                  <a:lnTo>
                    <a:pt x="484" y="7"/>
                  </a:lnTo>
                  <a:lnTo>
                    <a:pt x="484" y="29"/>
                  </a:lnTo>
                  <a:lnTo>
                    <a:pt x="458" y="41"/>
                  </a:lnTo>
                  <a:lnTo>
                    <a:pt x="468" y="62"/>
                  </a:lnTo>
                  <a:lnTo>
                    <a:pt x="442" y="85"/>
                  </a:lnTo>
                  <a:lnTo>
                    <a:pt x="442" y="78"/>
                  </a:lnTo>
                  <a:lnTo>
                    <a:pt x="383" y="62"/>
                  </a:lnTo>
                  <a:lnTo>
                    <a:pt x="383" y="62"/>
                  </a:lnTo>
                  <a:lnTo>
                    <a:pt x="350" y="69"/>
                  </a:lnTo>
                  <a:lnTo>
                    <a:pt x="328" y="62"/>
                  </a:lnTo>
                  <a:lnTo>
                    <a:pt x="307" y="85"/>
                  </a:lnTo>
                  <a:lnTo>
                    <a:pt x="279" y="78"/>
                  </a:lnTo>
                  <a:lnTo>
                    <a:pt x="274" y="85"/>
                  </a:lnTo>
                  <a:lnTo>
                    <a:pt x="291" y="111"/>
                  </a:lnTo>
                  <a:lnTo>
                    <a:pt x="312" y="118"/>
                  </a:lnTo>
                  <a:lnTo>
                    <a:pt x="328" y="135"/>
                  </a:lnTo>
                  <a:lnTo>
                    <a:pt x="324" y="135"/>
                  </a:lnTo>
                  <a:lnTo>
                    <a:pt x="312" y="118"/>
                  </a:lnTo>
                  <a:lnTo>
                    <a:pt x="291" y="118"/>
                  </a:lnTo>
                  <a:lnTo>
                    <a:pt x="279" y="118"/>
                  </a:lnTo>
                  <a:lnTo>
                    <a:pt x="279" y="123"/>
                  </a:lnTo>
                  <a:lnTo>
                    <a:pt x="295" y="135"/>
                  </a:lnTo>
                  <a:lnTo>
                    <a:pt x="295" y="140"/>
                  </a:lnTo>
                  <a:lnTo>
                    <a:pt x="295" y="152"/>
                  </a:lnTo>
                  <a:lnTo>
                    <a:pt x="274" y="123"/>
                  </a:lnTo>
                  <a:lnTo>
                    <a:pt x="253" y="123"/>
                  </a:lnTo>
                  <a:lnTo>
                    <a:pt x="253" y="135"/>
                  </a:lnTo>
                  <a:lnTo>
                    <a:pt x="279" y="152"/>
                  </a:lnTo>
                  <a:lnTo>
                    <a:pt x="258" y="152"/>
                  </a:lnTo>
                  <a:lnTo>
                    <a:pt x="253" y="123"/>
                  </a:lnTo>
                  <a:lnTo>
                    <a:pt x="220" y="111"/>
                  </a:lnTo>
                  <a:lnTo>
                    <a:pt x="220" y="102"/>
                  </a:lnTo>
                  <a:lnTo>
                    <a:pt x="227" y="102"/>
                  </a:lnTo>
                  <a:lnTo>
                    <a:pt x="227" y="95"/>
                  </a:lnTo>
                  <a:lnTo>
                    <a:pt x="199" y="102"/>
                  </a:lnTo>
                  <a:lnTo>
                    <a:pt x="199" y="140"/>
                  </a:lnTo>
                  <a:lnTo>
                    <a:pt x="253" y="213"/>
                  </a:lnTo>
                  <a:lnTo>
                    <a:pt x="236" y="222"/>
                  </a:lnTo>
                  <a:lnTo>
                    <a:pt x="241" y="213"/>
                  </a:lnTo>
                  <a:lnTo>
                    <a:pt x="227" y="196"/>
                  </a:lnTo>
                  <a:lnTo>
                    <a:pt x="220" y="213"/>
                  </a:lnTo>
                  <a:lnTo>
                    <a:pt x="236" y="230"/>
                  </a:lnTo>
                  <a:lnTo>
                    <a:pt x="220" y="234"/>
                  </a:lnTo>
                  <a:lnTo>
                    <a:pt x="199" y="246"/>
                  </a:lnTo>
                  <a:lnTo>
                    <a:pt x="227" y="251"/>
                  </a:lnTo>
                  <a:lnTo>
                    <a:pt x="236" y="263"/>
                  </a:lnTo>
                  <a:lnTo>
                    <a:pt x="253" y="263"/>
                  </a:lnTo>
                  <a:lnTo>
                    <a:pt x="253" y="267"/>
                  </a:lnTo>
                  <a:lnTo>
                    <a:pt x="307" y="300"/>
                  </a:lnTo>
                  <a:lnTo>
                    <a:pt x="295" y="307"/>
                  </a:lnTo>
                  <a:lnTo>
                    <a:pt x="307" y="333"/>
                  </a:lnTo>
                  <a:lnTo>
                    <a:pt x="295" y="341"/>
                  </a:lnTo>
                  <a:lnTo>
                    <a:pt x="269" y="307"/>
                  </a:lnTo>
                  <a:lnTo>
                    <a:pt x="227" y="324"/>
                  </a:lnTo>
                  <a:lnTo>
                    <a:pt x="236" y="324"/>
                  </a:lnTo>
                  <a:lnTo>
                    <a:pt x="241" y="345"/>
                  </a:lnTo>
                  <a:lnTo>
                    <a:pt x="253" y="357"/>
                  </a:lnTo>
                  <a:lnTo>
                    <a:pt x="253" y="345"/>
                  </a:lnTo>
                  <a:lnTo>
                    <a:pt x="258" y="345"/>
                  </a:lnTo>
                  <a:lnTo>
                    <a:pt x="269" y="362"/>
                  </a:lnTo>
                  <a:lnTo>
                    <a:pt x="253" y="362"/>
                  </a:lnTo>
                  <a:lnTo>
                    <a:pt x="241" y="374"/>
                  </a:lnTo>
                  <a:lnTo>
                    <a:pt x="236" y="362"/>
                  </a:lnTo>
                  <a:lnTo>
                    <a:pt x="236" y="362"/>
                  </a:lnTo>
                  <a:lnTo>
                    <a:pt x="215" y="345"/>
                  </a:lnTo>
                  <a:lnTo>
                    <a:pt x="236" y="418"/>
                  </a:lnTo>
                  <a:lnTo>
                    <a:pt x="227" y="428"/>
                  </a:lnTo>
                  <a:lnTo>
                    <a:pt x="241" y="444"/>
                  </a:lnTo>
                  <a:lnTo>
                    <a:pt x="227" y="435"/>
                  </a:lnTo>
                  <a:lnTo>
                    <a:pt x="215" y="411"/>
                  </a:lnTo>
                  <a:lnTo>
                    <a:pt x="203" y="411"/>
                  </a:lnTo>
                  <a:lnTo>
                    <a:pt x="189" y="428"/>
                  </a:lnTo>
                  <a:lnTo>
                    <a:pt x="189" y="452"/>
                  </a:lnTo>
                  <a:lnTo>
                    <a:pt x="165" y="395"/>
                  </a:lnTo>
                  <a:lnTo>
                    <a:pt x="151" y="395"/>
                  </a:lnTo>
                  <a:lnTo>
                    <a:pt x="161" y="411"/>
                  </a:lnTo>
                  <a:lnTo>
                    <a:pt x="151" y="418"/>
                  </a:lnTo>
                  <a:lnTo>
                    <a:pt x="135" y="411"/>
                  </a:lnTo>
                  <a:lnTo>
                    <a:pt x="135" y="402"/>
                  </a:lnTo>
                  <a:lnTo>
                    <a:pt x="128" y="390"/>
                  </a:lnTo>
                  <a:lnTo>
                    <a:pt x="135" y="374"/>
                  </a:lnTo>
                  <a:lnTo>
                    <a:pt x="135" y="362"/>
                  </a:lnTo>
                  <a:lnTo>
                    <a:pt x="97" y="324"/>
                  </a:lnTo>
                  <a:lnTo>
                    <a:pt x="113" y="307"/>
                  </a:lnTo>
                  <a:lnTo>
                    <a:pt x="113" y="291"/>
                  </a:lnTo>
                  <a:lnTo>
                    <a:pt x="135" y="300"/>
                  </a:lnTo>
                  <a:lnTo>
                    <a:pt x="151" y="284"/>
                  </a:lnTo>
                  <a:lnTo>
                    <a:pt x="220" y="317"/>
                  </a:lnTo>
                  <a:lnTo>
                    <a:pt x="227" y="317"/>
                  </a:lnTo>
                  <a:lnTo>
                    <a:pt x="220" y="307"/>
                  </a:lnTo>
                  <a:lnTo>
                    <a:pt x="241" y="307"/>
                  </a:lnTo>
                  <a:lnTo>
                    <a:pt x="241" y="300"/>
                  </a:lnTo>
                  <a:lnTo>
                    <a:pt x="215" y="291"/>
                  </a:lnTo>
                  <a:lnTo>
                    <a:pt x="189" y="279"/>
                  </a:lnTo>
                  <a:lnTo>
                    <a:pt x="182" y="284"/>
                  </a:lnTo>
                  <a:lnTo>
                    <a:pt x="161" y="279"/>
                  </a:lnTo>
                  <a:lnTo>
                    <a:pt x="128" y="284"/>
                  </a:lnTo>
                  <a:lnTo>
                    <a:pt x="113" y="279"/>
                  </a:lnTo>
                  <a:lnTo>
                    <a:pt x="97" y="284"/>
                  </a:lnTo>
                  <a:lnTo>
                    <a:pt x="92" y="263"/>
                  </a:lnTo>
                  <a:lnTo>
                    <a:pt x="64" y="246"/>
                  </a:lnTo>
                  <a:lnTo>
                    <a:pt x="76" y="234"/>
                  </a:lnTo>
                  <a:lnTo>
                    <a:pt x="97" y="246"/>
                  </a:lnTo>
                  <a:lnTo>
                    <a:pt x="97" y="230"/>
                  </a:lnTo>
                  <a:lnTo>
                    <a:pt x="76" y="222"/>
                  </a:lnTo>
                  <a:lnTo>
                    <a:pt x="76" y="230"/>
                  </a:lnTo>
                  <a:lnTo>
                    <a:pt x="76" y="234"/>
                  </a:lnTo>
                  <a:lnTo>
                    <a:pt x="64" y="234"/>
                  </a:lnTo>
                  <a:lnTo>
                    <a:pt x="54" y="206"/>
                  </a:lnTo>
                  <a:lnTo>
                    <a:pt x="38" y="206"/>
                  </a:lnTo>
                  <a:lnTo>
                    <a:pt x="38" y="180"/>
                  </a:lnTo>
                  <a:lnTo>
                    <a:pt x="21" y="173"/>
                  </a:lnTo>
                  <a:lnTo>
                    <a:pt x="21" y="173"/>
                  </a:lnTo>
                  <a:lnTo>
                    <a:pt x="21" y="173"/>
                  </a:lnTo>
                  <a:close/>
                  <a:moveTo>
                    <a:pt x="345" y="95"/>
                  </a:moveTo>
                  <a:lnTo>
                    <a:pt x="333" y="85"/>
                  </a:lnTo>
                  <a:lnTo>
                    <a:pt x="345" y="78"/>
                  </a:lnTo>
                  <a:lnTo>
                    <a:pt x="350" y="78"/>
                  </a:lnTo>
                  <a:lnTo>
                    <a:pt x="350" y="95"/>
                  </a:lnTo>
                  <a:lnTo>
                    <a:pt x="345" y="95"/>
                  </a:lnTo>
                  <a:lnTo>
                    <a:pt x="345" y="95"/>
                  </a:lnTo>
                  <a:lnTo>
                    <a:pt x="345" y="95"/>
                  </a:lnTo>
                  <a:close/>
                  <a:moveTo>
                    <a:pt x="413" y="102"/>
                  </a:moveTo>
                  <a:lnTo>
                    <a:pt x="421" y="111"/>
                  </a:lnTo>
                  <a:lnTo>
                    <a:pt x="413" y="111"/>
                  </a:lnTo>
                  <a:lnTo>
                    <a:pt x="397" y="102"/>
                  </a:lnTo>
                  <a:lnTo>
                    <a:pt x="413" y="102"/>
                  </a:lnTo>
                  <a:lnTo>
                    <a:pt x="413" y="102"/>
                  </a:lnTo>
                  <a:lnTo>
                    <a:pt x="413" y="102"/>
                  </a:lnTo>
                  <a:close/>
                  <a:moveTo>
                    <a:pt x="397" y="140"/>
                  </a:moveTo>
                  <a:lnTo>
                    <a:pt x="397" y="168"/>
                  </a:lnTo>
                  <a:lnTo>
                    <a:pt x="387" y="152"/>
                  </a:lnTo>
                  <a:lnTo>
                    <a:pt x="383" y="156"/>
                  </a:lnTo>
                  <a:lnTo>
                    <a:pt x="383" y="168"/>
                  </a:lnTo>
                  <a:lnTo>
                    <a:pt x="376" y="156"/>
                  </a:lnTo>
                  <a:lnTo>
                    <a:pt x="376" y="152"/>
                  </a:lnTo>
                  <a:lnTo>
                    <a:pt x="397" y="140"/>
                  </a:lnTo>
                  <a:lnTo>
                    <a:pt x="397" y="140"/>
                  </a:lnTo>
                  <a:lnTo>
                    <a:pt x="397" y="140"/>
                  </a:lnTo>
                  <a:close/>
                  <a:moveTo>
                    <a:pt x="5" y="156"/>
                  </a:moveTo>
                  <a:lnTo>
                    <a:pt x="10" y="168"/>
                  </a:lnTo>
                  <a:lnTo>
                    <a:pt x="5" y="173"/>
                  </a:lnTo>
                  <a:lnTo>
                    <a:pt x="10" y="189"/>
                  </a:lnTo>
                  <a:lnTo>
                    <a:pt x="21" y="189"/>
                  </a:lnTo>
                  <a:lnTo>
                    <a:pt x="26" y="196"/>
                  </a:lnTo>
                  <a:lnTo>
                    <a:pt x="10" y="189"/>
                  </a:lnTo>
                  <a:lnTo>
                    <a:pt x="0" y="173"/>
                  </a:lnTo>
                  <a:lnTo>
                    <a:pt x="0" y="168"/>
                  </a:lnTo>
                  <a:lnTo>
                    <a:pt x="5" y="156"/>
                  </a:lnTo>
                  <a:lnTo>
                    <a:pt x="5" y="156"/>
                  </a:lnTo>
                  <a:lnTo>
                    <a:pt x="5" y="156"/>
                  </a:lnTo>
                  <a:close/>
                  <a:moveTo>
                    <a:pt x="468" y="206"/>
                  </a:moveTo>
                  <a:lnTo>
                    <a:pt x="468" y="206"/>
                  </a:lnTo>
                  <a:lnTo>
                    <a:pt x="484" y="230"/>
                  </a:lnTo>
                  <a:lnTo>
                    <a:pt x="458" y="230"/>
                  </a:lnTo>
                  <a:lnTo>
                    <a:pt x="442" y="222"/>
                  </a:lnTo>
                  <a:lnTo>
                    <a:pt x="458" y="213"/>
                  </a:lnTo>
                  <a:lnTo>
                    <a:pt x="442" y="222"/>
                  </a:lnTo>
                  <a:lnTo>
                    <a:pt x="430" y="213"/>
                  </a:lnTo>
                  <a:lnTo>
                    <a:pt x="451" y="196"/>
                  </a:lnTo>
                  <a:lnTo>
                    <a:pt x="468" y="206"/>
                  </a:lnTo>
                  <a:lnTo>
                    <a:pt x="468" y="206"/>
                  </a:lnTo>
                  <a:lnTo>
                    <a:pt x="468" y="206"/>
                  </a:lnTo>
                  <a:close/>
                  <a:moveTo>
                    <a:pt x="258" y="222"/>
                  </a:moveTo>
                  <a:lnTo>
                    <a:pt x="258" y="213"/>
                  </a:lnTo>
                  <a:lnTo>
                    <a:pt x="269" y="213"/>
                  </a:lnTo>
                  <a:lnTo>
                    <a:pt x="258" y="222"/>
                  </a:lnTo>
                  <a:lnTo>
                    <a:pt x="258" y="222"/>
                  </a:lnTo>
                  <a:lnTo>
                    <a:pt x="258" y="222"/>
                  </a:lnTo>
                  <a:close/>
                  <a:moveTo>
                    <a:pt x="279" y="222"/>
                  </a:moveTo>
                  <a:lnTo>
                    <a:pt x="269" y="213"/>
                  </a:lnTo>
                  <a:lnTo>
                    <a:pt x="279" y="222"/>
                  </a:lnTo>
                  <a:lnTo>
                    <a:pt x="279" y="222"/>
                  </a:lnTo>
                  <a:lnTo>
                    <a:pt x="279" y="222"/>
                  </a:lnTo>
                  <a:lnTo>
                    <a:pt x="279" y="222"/>
                  </a:lnTo>
                  <a:close/>
                  <a:moveTo>
                    <a:pt x="307" y="284"/>
                  </a:moveTo>
                  <a:lnTo>
                    <a:pt x="274" y="279"/>
                  </a:lnTo>
                  <a:lnTo>
                    <a:pt x="274" y="267"/>
                  </a:lnTo>
                  <a:lnTo>
                    <a:pt x="241" y="246"/>
                  </a:lnTo>
                  <a:lnTo>
                    <a:pt x="220" y="246"/>
                  </a:lnTo>
                  <a:lnTo>
                    <a:pt x="253" y="230"/>
                  </a:lnTo>
                  <a:lnTo>
                    <a:pt x="269" y="251"/>
                  </a:lnTo>
                  <a:lnTo>
                    <a:pt x="312" y="263"/>
                  </a:lnTo>
                  <a:lnTo>
                    <a:pt x="312" y="291"/>
                  </a:lnTo>
                  <a:lnTo>
                    <a:pt x="333" y="300"/>
                  </a:lnTo>
                  <a:lnTo>
                    <a:pt x="333" y="317"/>
                  </a:lnTo>
                  <a:lnTo>
                    <a:pt x="328" y="317"/>
                  </a:lnTo>
                  <a:lnTo>
                    <a:pt x="307" y="284"/>
                  </a:lnTo>
                  <a:lnTo>
                    <a:pt x="307" y="284"/>
                  </a:lnTo>
                  <a:lnTo>
                    <a:pt x="307" y="284"/>
                  </a:lnTo>
                  <a:close/>
                  <a:moveTo>
                    <a:pt x="333" y="251"/>
                  </a:moveTo>
                  <a:lnTo>
                    <a:pt x="328" y="234"/>
                  </a:lnTo>
                  <a:lnTo>
                    <a:pt x="333" y="230"/>
                  </a:lnTo>
                  <a:lnTo>
                    <a:pt x="345" y="246"/>
                  </a:lnTo>
                  <a:lnTo>
                    <a:pt x="333" y="251"/>
                  </a:lnTo>
                  <a:lnTo>
                    <a:pt x="333" y="251"/>
                  </a:lnTo>
                  <a:lnTo>
                    <a:pt x="333" y="251"/>
                  </a:lnTo>
                  <a:close/>
                  <a:moveTo>
                    <a:pt x="64" y="246"/>
                  </a:moveTo>
                  <a:lnTo>
                    <a:pt x="64" y="263"/>
                  </a:lnTo>
                  <a:lnTo>
                    <a:pt x="59" y="267"/>
                  </a:lnTo>
                  <a:lnTo>
                    <a:pt x="59" y="246"/>
                  </a:lnTo>
                  <a:lnTo>
                    <a:pt x="64" y="246"/>
                  </a:lnTo>
                  <a:lnTo>
                    <a:pt x="64" y="246"/>
                  </a:lnTo>
                  <a:lnTo>
                    <a:pt x="64" y="246"/>
                  </a:lnTo>
                  <a:close/>
                  <a:moveTo>
                    <a:pt x="404" y="267"/>
                  </a:moveTo>
                  <a:lnTo>
                    <a:pt x="404" y="263"/>
                  </a:lnTo>
                  <a:lnTo>
                    <a:pt x="413" y="263"/>
                  </a:lnTo>
                  <a:lnTo>
                    <a:pt x="404" y="267"/>
                  </a:lnTo>
                  <a:lnTo>
                    <a:pt x="404" y="267"/>
                  </a:lnTo>
                  <a:lnTo>
                    <a:pt x="404" y="267"/>
                  </a:lnTo>
                  <a:close/>
                  <a:moveTo>
                    <a:pt x="442" y="300"/>
                  </a:moveTo>
                  <a:lnTo>
                    <a:pt x="430" y="291"/>
                  </a:lnTo>
                  <a:lnTo>
                    <a:pt x="435" y="284"/>
                  </a:lnTo>
                  <a:lnTo>
                    <a:pt x="430" y="267"/>
                  </a:lnTo>
                  <a:lnTo>
                    <a:pt x="451" y="267"/>
                  </a:lnTo>
                  <a:lnTo>
                    <a:pt x="451" y="291"/>
                  </a:lnTo>
                  <a:lnTo>
                    <a:pt x="442" y="300"/>
                  </a:lnTo>
                  <a:lnTo>
                    <a:pt x="442" y="300"/>
                  </a:lnTo>
                  <a:lnTo>
                    <a:pt x="442" y="300"/>
                  </a:lnTo>
                  <a:close/>
                  <a:moveTo>
                    <a:pt x="59" y="279"/>
                  </a:moveTo>
                  <a:lnTo>
                    <a:pt x="76" y="307"/>
                  </a:lnTo>
                  <a:lnTo>
                    <a:pt x="43" y="300"/>
                  </a:lnTo>
                  <a:lnTo>
                    <a:pt x="59" y="279"/>
                  </a:lnTo>
                  <a:lnTo>
                    <a:pt x="59" y="279"/>
                  </a:lnTo>
                  <a:lnTo>
                    <a:pt x="59" y="279"/>
                  </a:lnTo>
                  <a:close/>
                  <a:moveTo>
                    <a:pt x="269" y="317"/>
                  </a:moveTo>
                  <a:lnTo>
                    <a:pt x="269" y="324"/>
                  </a:lnTo>
                  <a:lnTo>
                    <a:pt x="258" y="324"/>
                  </a:lnTo>
                  <a:lnTo>
                    <a:pt x="269" y="317"/>
                  </a:lnTo>
                  <a:lnTo>
                    <a:pt x="269" y="317"/>
                  </a:lnTo>
                  <a:lnTo>
                    <a:pt x="269" y="317"/>
                  </a:lnTo>
                  <a:close/>
                  <a:moveTo>
                    <a:pt x="366" y="341"/>
                  </a:moveTo>
                  <a:lnTo>
                    <a:pt x="350" y="317"/>
                  </a:lnTo>
                  <a:lnTo>
                    <a:pt x="350" y="317"/>
                  </a:lnTo>
                  <a:lnTo>
                    <a:pt x="366" y="324"/>
                  </a:lnTo>
                  <a:lnTo>
                    <a:pt x="366" y="341"/>
                  </a:lnTo>
                  <a:lnTo>
                    <a:pt x="366" y="341"/>
                  </a:lnTo>
                  <a:lnTo>
                    <a:pt x="366" y="341"/>
                  </a:lnTo>
                  <a:close/>
                  <a:moveTo>
                    <a:pt x="76" y="341"/>
                  </a:moveTo>
                  <a:lnTo>
                    <a:pt x="64" y="333"/>
                  </a:lnTo>
                  <a:lnTo>
                    <a:pt x="64" y="324"/>
                  </a:lnTo>
                  <a:lnTo>
                    <a:pt x="92" y="341"/>
                  </a:lnTo>
                  <a:lnTo>
                    <a:pt x="80" y="341"/>
                  </a:lnTo>
                  <a:lnTo>
                    <a:pt x="76" y="341"/>
                  </a:lnTo>
                  <a:lnTo>
                    <a:pt x="76" y="341"/>
                  </a:lnTo>
                  <a:lnTo>
                    <a:pt x="76" y="341"/>
                  </a:lnTo>
                  <a:close/>
                  <a:moveTo>
                    <a:pt x="494" y="345"/>
                  </a:moveTo>
                  <a:lnTo>
                    <a:pt x="484" y="341"/>
                  </a:lnTo>
                  <a:lnTo>
                    <a:pt x="489" y="333"/>
                  </a:lnTo>
                  <a:lnTo>
                    <a:pt x="510" y="341"/>
                  </a:lnTo>
                  <a:lnTo>
                    <a:pt x="494" y="345"/>
                  </a:lnTo>
                  <a:lnTo>
                    <a:pt x="494" y="345"/>
                  </a:lnTo>
                  <a:lnTo>
                    <a:pt x="494" y="345"/>
                  </a:lnTo>
                  <a:close/>
                  <a:moveTo>
                    <a:pt x="258" y="341"/>
                  </a:moveTo>
                  <a:lnTo>
                    <a:pt x="258" y="333"/>
                  </a:lnTo>
                  <a:lnTo>
                    <a:pt x="269" y="333"/>
                  </a:lnTo>
                  <a:lnTo>
                    <a:pt x="258" y="341"/>
                  </a:lnTo>
                  <a:lnTo>
                    <a:pt x="258" y="341"/>
                  </a:lnTo>
                  <a:lnTo>
                    <a:pt x="258" y="341"/>
                  </a:lnTo>
                  <a:close/>
                  <a:moveTo>
                    <a:pt x="435" y="357"/>
                  </a:moveTo>
                  <a:lnTo>
                    <a:pt x="442" y="345"/>
                  </a:lnTo>
                  <a:lnTo>
                    <a:pt x="468" y="341"/>
                  </a:lnTo>
                  <a:lnTo>
                    <a:pt x="435" y="357"/>
                  </a:lnTo>
                  <a:lnTo>
                    <a:pt x="435" y="357"/>
                  </a:lnTo>
                  <a:lnTo>
                    <a:pt x="435" y="357"/>
                  </a:lnTo>
                  <a:close/>
                  <a:moveTo>
                    <a:pt x="324" y="357"/>
                  </a:moveTo>
                  <a:lnTo>
                    <a:pt x="324" y="341"/>
                  </a:lnTo>
                  <a:lnTo>
                    <a:pt x="328" y="341"/>
                  </a:lnTo>
                  <a:lnTo>
                    <a:pt x="324" y="357"/>
                  </a:lnTo>
                  <a:lnTo>
                    <a:pt x="324" y="357"/>
                  </a:lnTo>
                  <a:lnTo>
                    <a:pt x="324" y="357"/>
                  </a:lnTo>
                  <a:close/>
                  <a:moveTo>
                    <a:pt x="376" y="341"/>
                  </a:moveTo>
                  <a:lnTo>
                    <a:pt x="383" y="345"/>
                  </a:lnTo>
                  <a:lnTo>
                    <a:pt x="383" y="357"/>
                  </a:lnTo>
                  <a:lnTo>
                    <a:pt x="366" y="341"/>
                  </a:lnTo>
                  <a:lnTo>
                    <a:pt x="376" y="341"/>
                  </a:lnTo>
                  <a:lnTo>
                    <a:pt x="376" y="341"/>
                  </a:lnTo>
                  <a:lnTo>
                    <a:pt x="376" y="341"/>
                  </a:lnTo>
                  <a:close/>
                  <a:moveTo>
                    <a:pt x="359" y="362"/>
                  </a:moveTo>
                  <a:lnTo>
                    <a:pt x="359" y="357"/>
                  </a:lnTo>
                  <a:lnTo>
                    <a:pt x="366" y="362"/>
                  </a:lnTo>
                  <a:lnTo>
                    <a:pt x="359" y="362"/>
                  </a:lnTo>
                  <a:lnTo>
                    <a:pt x="359" y="362"/>
                  </a:lnTo>
                  <a:lnTo>
                    <a:pt x="359" y="362"/>
                  </a:lnTo>
                  <a:close/>
                  <a:moveTo>
                    <a:pt x="397" y="362"/>
                  </a:moveTo>
                  <a:lnTo>
                    <a:pt x="387" y="357"/>
                  </a:lnTo>
                  <a:lnTo>
                    <a:pt x="397" y="357"/>
                  </a:lnTo>
                  <a:lnTo>
                    <a:pt x="397" y="362"/>
                  </a:lnTo>
                  <a:lnTo>
                    <a:pt x="397" y="362"/>
                  </a:lnTo>
                  <a:lnTo>
                    <a:pt x="397" y="362"/>
                  </a:lnTo>
                  <a:close/>
                  <a:moveTo>
                    <a:pt x="328" y="357"/>
                  </a:moveTo>
                  <a:lnTo>
                    <a:pt x="333" y="362"/>
                  </a:lnTo>
                  <a:lnTo>
                    <a:pt x="328" y="374"/>
                  </a:lnTo>
                  <a:lnTo>
                    <a:pt x="328" y="357"/>
                  </a:lnTo>
                  <a:lnTo>
                    <a:pt x="328" y="357"/>
                  </a:lnTo>
                  <a:lnTo>
                    <a:pt x="328" y="357"/>
                  </a:lnTo>
                  <a:close/>
                  <a:moveTo>
                    <a:pt x="333" y="390"/>
                  </a:moveTo>
                  <a:lnTo>
                    <a:pt x="328" y="390"/>
                  </a:lnTo>
                  <a:lnTo>
                    <a:pt x="328" y="378"/>
                  </a:lnTo>
                  <a:lnTo>
                    <a:pt x="333" y="378"/>
                  </a:lnTo>
                  <a:lnTo>
                    <a:pt x="333" y="390"/>
                  </a:lnTo>
                  <a:lnTo>
                    <a:pt x="333" y="390"/>
                  </a:lnTo>
                  <a:lnTo>
                    <a:pt x="333" y="390"/>
                  </a:lnTo>
                  <a:close/>
                  <a:moveTo>
                    <a:pt x="397" y="402"/>
                  </a:moveTo>
                  <a:lnTo>
                    <a:pt x="387" y="390"/>
                  </a:lnTo>
                  <a:lnTo>
                    <a:pt x="404" y="378"/>
                  </a:lnTo>
                  <a:lnTo>
                    <a:pt x="413" y="395"/>
                  </a:lnTo>
                  <a:lnTo>
                    <a:pt x="397" y="402"/>
                  </a:lnTo>
                  <a:lnTo>
                    <a:pt x="397" y="402"/>
                  </a:lnTo>
                  <a:lnTo>
                    <a:pt x="397" y="402"/>
                  </a:lnTo>
                  <a:close/>
                  <a:moveTo>
                    <a:pt x="383" y="395"/>
                  </a:moveTo>
                  <a:lnTo>
                    <a:pt x="376" y="395"/>
                  </a:lnTo>
                  <a:lnTo>
                    <a:pt x="387" y="390"/>
                  </a:lnTo>
                  <a:lnTo>
                    <a:pt x="383" y="395"/>
                  </a:lnTo>
                  <a:lnTo>
                    <a:pt x="383" y="395"/>
                  </a:lnTo>
                  <a:lnTo>
                    <a:pt x="383" y="395"/>
                  </a:lnTo>
                  <a:close/>
                  <a:moveTo>
                    <a:pt x="506" y="402"/>
                  </a:moveTo>
                  <a:lnTo>
                    <a:pt x="494" y="390"/>
                  </a:lnTo>
                  <a:lnTo>
                    <a:pt x="510" y="395"/>
                  </a:lnTo>
                  <a:lnTo>
                    <a:pt x="506" y="402"/>
                  </a:lnTo>
                  <a:lnTo>
                    <a:pt x="506" y="402"/>
                  </a:lnTo>
                  <a:lnTo>
                    <a:pt x="506" y="402"/>
                  </a:lnTo>
                  <a:close/>
                  <a:moveTo>
                    <a:pt x="350" y="402"/>
                  </a:moveTo>
                  <a:lnTo>
                    <a:pt x="345" y="395"/>
                  </a:lnTo>
                  <a:lnTo>
                    <a:pt x="350" y="402"/>
                  </a:lnTo>
                  <a:lnTo>
                    <a:pt x="350" y="402"/>
                  </a:lnTo>
                  <a:lnTo>
                    <a:pt x="350" y="402"/>
                  </a:lnTo>
                  <a:lnTo>
                    <a:pt x="350" y="402"/>
                  </a:lnTo>
                  <a:close/>
                  <a:moveTo>
                    <a:pt x="376" y="402"/>
                  </a:moveTo>
                  <a:lnTo>
                    <a:pt x="366" y="395"/>
                  </a:lnTo>
                  <a:lnTo>
                    <a:pt x="376" y="395"/>
                  </a:lnTo>
                  <a:lnTo>
                    <a:pt x="376" y="402"/>
                  </a:lnTo>
                  <a:lnTo>
                    <a:pt x="376" y="402"/>
                  </a:lnTo>
                  <a:lnTo>
                    <a:pt x="376" y="402"/>
                  </a:lnTo>
                  <a:close/>
                  <a:moveTo>
                    <a:pt x="506" y="428"/>
                  </a:moveTo>
                  <a:lnTo>
                    <a:pt x="506" y="418"/>
                  </a:lnTo>
                  <a:lnTo>
                    <a:pt x="510" y="411"/>
                  </a:lnTo>
                  <a:lnTo>
                    <a:pt x="539" y="411"/>
                  </a:lnTo>
                  <a:lnTo>
                    <a:pt x="506" y="418"/>
                  </a:lnTo>
                  <a:lnTo>
                    <a:pt x="506" y="428"/>
                  </a:lnTo>
                  <a:lnTo>
                    <a:pt x="506" y="428"/>
                  </a:lnTo>
                  <a:lnTo>
                    <a:pt x="506" y="428"/>
                  </a:lnTo>
                  <a:close/>
                  <a:moveTo>
                    <a:pt x="430" y="418"/>
                  </a:moveTo>
                  <a:lnTo>
                    <a:pt x="421" y="411"/>
                  </a:lnTo>
                  <a:lnTo>
                    <a:pt x="435" y="411"/>
                  </a:lnTo>
                  <a:lnTo>
                    <a:pt x="430" y="418"/>
                  </a:lnTo>
                  <a:lnTo>
                    <a:pt x="430" y="418"/>
                  </a:lnTo>
                  <a:lnTo>
                    <a:pt x="430" y="418"/>
                  </a:lnTo>
                  <a:close/>
                  <a:moveTo>
                    <a:pt x="397" y="428"/>
                  </a:moveTo>
                  <a:lnTo>
                    <a:pt x="387" y="411"/>
                  </a:lnTo>
                  <a:lnTo>
                    <a:pt x="397" y="418"/>
                  </a:lnTo>
                  <a:lnTo>
                    <a:pt x="397" y="428"/>
                  </a:lnTo>
                  <a:lnTo>
                    <a:pt x="397" y="428"/>
                  </a:lnTo>
                  <a:lnTo>
                    <a:pt x="397" y="428"/>
                  </a:lnTo>
                  <a:close/>
                  <a:moveTo>
                    <a:pt x="324" y="428"/>
                  </a:moveTo>
                  <a:lnTo>
                    <a:pt x="324" y="418"/>
                  </a:lnTo>
                  <a:lnTo>
                    <a:pt x="333" y="418"/>
                  </a:lnTo>
                  <a:lnTo>
                    <a:pt x="333" y="428"/>
                  </a:lnTo>
                  <a:lnTo>
                    <a:pt x="324" y="428"/>
                  </a:lnTo>
                  <a:lnTo>
                    <a:pt x="324" y="428"/>
                  </a:lnTo>
                  <a:lnTo>
                    <a:pt x="324" y="428"/>
                  </a:lnTo>
                  <a:close/>
                  <a:moveTo>
                    <a:pt x="565" y="435"/>
                  </a:moveTo>
                  <a:lnTo>
                    <a:pt x="560" y="435"/>
                  </a:lnTo>
                  <a:lnTo>
                    <a:pt x="565" y="428"/>
                  </a:lnTo>
                  <a:lnTo>
                    <a:pt x="565" y="435"/>
                  </a:lnTo>
                  <a:lnTo>
                    <a:pt x="565" y="435"/>
                  </a:lnTo>
                  <a:lnTo>
                    <a:pt x="565" y="435"/>
                  </a:lnTo>
                  <a:close/>
                  <a:moveTo>
                    <a:pt x="473" y="435"/>
                  </a:moveTo>
                  <a:lnTo>
                    <a:pt x="458" y="435"/>
                  </a:lnTo>
                  <a:lnTo>
                    <a:pt x="458" y="435"/>
                  </a:lnTo>
                  <a:lnTo>
                    <a:pt x="468" y="428"/>
                  </a:lnTo>
                  <a:lnTo>
                    <a:pt x="473" y="435"/>
                  </a:lnTo>
                  <a:lnTo>
                    <a:pt x="473" y="435"/>
                  </a:lnTo>
                  <a:lnTo>
                    <a:pt x="473" y="435"/>
                  </a:lnTo>
                  <a:close/>
                  <a:moveTo>
                    <a:pt x="397" y="452"/>
                  </a:moveTo>
                  <a:lnTo>
                    <a:pt x="397" y="444"/>
                  </a:lnTo>
                  <a:lnTo>
                    <a:pt x="404" y="444"/>
                  </a:lnTo>
                  <a:lnTo>
                    <a:pt x="397" y="452"/>
                  </a:lnTo>
                  <a:lnTo>
                    <a:pt x="397" y="452"/>
                  </a:lnTo>
                  <a:lnTo>
                    <a:pt x="397" y="452"/>
                  </a:lnTo>
                  <a:close/>
                  <a:moveTo>
                    <a:pt x="539" y="452"/>
                  </a:moveTo>
                  <a:lnTo>
                    <a:pt x="527" y="444"/>
                  </a:lnTo>
                  <a:lnTo>
                    <a:pt x="543" y="444"/>
                  </a:lnTo>
                  <a:lnTo>
                    <a:pt x="539" y="452"/>
                  </a:lnTo>
                  <a:lnTo>
                    <a:pt x="539" y="452"/>
                  </a:lnTo>
                  <a:lnTo>
                    <a:pt x="539" y="452"/>
                  </a:lnTo>
                  <a:close/>
                  <a:moveTo>
                    <a:pt x="591" y="444"/>
                  </a:moveTo>
                  <a:lnTo>
                    <a:pt x="581" y="468"/>
                  </a:lnTo>
                  <a:lnTo>
                    <a:pt x="565" y="485"/>
                  </a:lnTo>
                  <a:lnTo>
                    <a:pt x="560" y="489"/>
                  </a:lnTo>
                  <a:lnTo>
                    <a:pt x="560" y="468"/>
                  </a:lnTo>
                  <a:lnTo>
                    <a:pt x="565" y="456"/>
                  </a:lnTo>
                  <a:lnTo>
                    <a:pt x="591" y="444"/>
                  </a:lnTo>
                  <a:lnTo>
                    <a:pt x="591" y="444"/>
                  </a:lnTo>
                  <a:lnTo>
                    <a:pt x="591" y="444"/>
                  </a:lnTo>
                  <a:close/>
                  <a:moveTo>
                    <a:pt x="421" y="452"/>
                  </a:moveTo>
                  <a:lnTo>
                    <a:pt x="421" y="444"/>
                  </a:lnTo>
                  <a:lnTo>
                    <a:pt x="430" y="452"/>
                  </a:lnTo>
                  <a:lnTo>
                    <a:pt x="421" y="452"/>
                  </a:lnTo>
                  <a:lnTo>
                    <a:pt x="421" y="452"/>
                  </a:lnTo>
                  <a:lnTo>
                    <a:pt x="421" y="452"/>
                  </a:lnTo>
                  <a:close/>
                  <a:moveTo>
                    <a:pt x="227" y="452"/>
                  </a:moveTo>
                  <a:lnTo>
                    <a:pt x="236" y="456"/>
                  </a:lnTo>
                  <a:lnTo>
                    <a:pt x="236" y="468"/>
                  </a:lnTo>
                  <a:lnTo>
                    <a:pt x="220" y="468"/>
                  </a:lnTo>
                  <a:lnTo>
                    <a:pt x="227" y="452"/>
                  </a:lnTo>
                  <a:lnTo>
                    <a:pt x="227" y="452"/>
                  </a:lnTo>
                  <a:lnTo>
                    <a:pt x="227" y="452"/>
                  </a:lnTo>
                  <a:close/>
                  <a:moveTo>
                    <a:pt x="522" y="529"/>
                  </a:moveTo>
                  <a:lnTo>
                    <a:pt x="510" y="513"/>
                  </a:lnTo>
                  <a:lnTo>
                    <a:pt x="527" y="489"/>
                  </a:lnTo>
                  <a:lnTo>
                    <a:pt x="522" y="529"/>
                  </a:lnTo>
                  <a:lnTo>
                    <a:pt x="522" y="529"/>
                  </a:lnTo>
                  <a:lnTo>
                    <a:pt x="522" y="529"/>
                  </a:lnTo>
                  <a:close/>
                  <a:moveTo>
                    <a:pt x="274" y="546"/>
                  </a:moveTo>
                  <a:lnTo>
                    <a:pt x="269" y="539"/>
                  </a:lnTo>
                  <a:lnTo>
                    <a:pt x="269" y="513"/>
                  </a:lnTo>
                  <a:lnTo>
                    <a:pt x="279" y="522"/>
                  </a:lnTo>
                  <a:lnTo>
                    <a:pt x="279" y="506"/>
                  </a:lnTo>
                  <a:lnTo>
                    <a:pt x="291" y="522"/>
                  </a:lnTo>
                  <a:lnTo>
                    <a:pt x="312" y="513"/>
                  </a:lnTo>
                  <a:lnTo>
                    <a:pt x="307" y="522"/>
                  </a:lnTo>
                  <a:lnTo>
                    <a:pt x="324" y="529"/>
                  </a:lnTo>
                  <a:lnTo>
                    <a:pt x="350" y="529"/>
                  </a:lnTo>
                  <a:lnTo>
                    <a:pt x="397" y="539"/>
                  </a:lnTo>
                  <a:lnTo>
                    <a:pt x="421" y="539"/>
                  </a:lnTo>
                  <a:lnTo>
                    <a:pt x="421" y="546"/>
                  </a:lnTo>
                  <a:lnTo>
                    <a:pt x="430" y="555"/>
                  </a:lnTo>
                  <a:lnTo>
                    <a:pt x="458" y="539"/>
                  </a:lnTo>
                  <a:lnTo>
                    <a:pt x="458" y="555"/>
                  </a:lnTo>
                  <a:lnTo>
                    <a:pt x="442" y="563"/>
                  </a:lnTo>
                  <a:lnTo>
                    <a:pt x="366" y="567"/>
                  </a:lnTo>
                  <a:lnTo>
                    <a:pt x="350" y="567"/>
                  </a:lnTo>
                  <a:lnTo>
                    <a:pt x="350" y="555"/>
                  </a:lnTo>
                  <a:lnTo>
                    <a:pt x="328" y="546"/>
                  </a:lnTo>
                  <a:lnTo>
                    <a:pt x="274" y="546"/>
                  </a:lnTo>
                  <a:lnTo>
                    <a:pt x="274" y="546"/>
                  </a:lnTo>
                  <a:lnTo>
                    <a:pt x="274" y="546"/>
                  </a:lnTo>
                  <a:close/>
                  <a:moveTo>
                    <a:pt x="494" y="529"/>
                  </a:moveTo>
                  <a:lnTo>
                    <a:pt x="506" y="529"/>
                  </a:lnTo>
                  <a:lnTo>
                    <a:pt x="510" y="522"/>
                  </a:lnTo>
                  <a:lnTo>
                    <a:pt x="494" y="529"/>
                  </a:lnTo>
                  <a:lnTo>
                    <a:pt x="494" y="529"/>
                  </a:lnTo>
                  <a:lnTo>
                    <a:pt x="494" y="52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8" name="Freeform 457">
              <a:extLst>
                <a:ext uri="{FF2B5EF4-FFF2-40B4-BE49-F238E27FC236}">
                  <a16:creationId xmlns:a16="http://schemas.microsoft.com/office/drawing/2014/main" id="{E6111962-9428-4C2D-89F1-66A6A79AD29F}"/>
                </a:ext>
              </a:extLst>
            </p:cNvPr>
            <p:cNvSpPr>
              <a:spLocks/>
            </p:cNvSpPr>
            <p:nvPr/>
          </p:nvSpPr>
          <p:spPr bwMode="gray">
            <a:xfrm>
              <a:off x="11625247" y="3689248"/>
              <a:ext cx="94261" cy="98189"/>
            </a:xfrm>
            <a:custGeom>
              <a:avLst/>
              <a:gdLst>
                <a:gd name="T0" fmla="*/ 0 w 288"/>
                <a:gd name="T1" fmla="*/ 239 h 300"/>
                <a:gd name="T2" fmla="*/ 17 w 288"/>
                <a:gd name="T3" fmla="*/ 206 h 300"/>
                <a:gd name="T4" fmla="*/ 7 w 288"/>
                <a:gd name="T5" fmla="*/ 189 h 300"/>
                <a:gd name="T6" fmla="*/ 40 w 288"/>
                <a:gd name="T7" fmla="*/ 128 h 300"/>
                <a:gd name="T8" fmla="*/ 132 w 288"/>
                <a:gd name="T9" fmla="*/ 128 h 300"/>
                <a:gd name="T10" fmla="*/ 132 w 288"/>
                <a:gd name="T11" fmla="*/ 104 h 300"/>
                <a:gd name="T12" fmla="*/ 116 w 288"/>
                <a:gd name="T13" fmla="*/ 104 h 300"/>
                <a:gd name="T14" fmla="*/ 109 w 288"/>
                <a:gd name="T15" fmla="*/ 78 h 300"/>
                <a:gd name="T16" fmla="*/ 62 w 288"/>
                <a:gd name="T17" fmla="*/ 38 h 300"/>
                <a:gd name="T18" fmla="*/ 95 w 288"/>
                <a:gd name="T19" fmla="*/ 38 h 300"/>
                <a:gd name="T20" fmla="*/ 95 w 288"/>
                <a:gd name="T21" fmla="*/ 0 h 300"/>
                <a:gd name="T22" fmla="*/ 225 w 288"/>
                <a:gd name="T23" fmla="*/ 0 h 300"/>
                <a:gd name="T24" fmla="*/ 217 w 288"/>
                <a:gd name="T25" fmla="*/ 144 h 300"/>
                <a:gd name="T26" fmla="*/ 241 w 288"/>
                <a:gd name="T27" fmla="*/ 144 h 300"/>
                <a:gd name="T28" fmla="*/ 255 w 288"/>
                <a:gd name="T29" fmla="*/ 161 h 300"/>
                <a:gd name="T30" fmla="*/ 272 w 288"/>
                <a:gd name="T31" fmla="*/ 144 h 300"/>
                <a:gd name="T32" fmla="*/ 262 w 288"/>
                <a:gd name="T33" fmla="*/ 132 h 300"/>
                <a:gd name="T34" fmla="*/ 288 w 288"/>
                <a:gd name="T35" fmla="*/ 161 h 300"/>
                <a:gd name="T36" fmla="*/ 225 w 288"/>
                <a:gd name="T37" fmla="*/ 206 h 300"/>
                <a:gd name="T38" fmla="*/ 217 w 288"/>
                <a:gd name="T39" fmla="*/ 222 h 300"/>
                <a:gd name="T40" fmla="*/ 225 w 288"/>
                <a:gd name="T41" fmla="*/ 234 h 300"/>
                <a:gd name="T42" fmla="*/ 208 w 288"/>
                <a:gd name="T43" fmla="*/ 255 h 300"/>
                <a:gd name="T44" fmla="*/ 196 w 288"/>
                <a:gd name="T45" fmla="*/ 255 h 300"/>
                <a:gd name="T46" fmla="*/ 196 w 288"/>
                <a:gd name="T47" fmla="*/ 260 h 300"/>
                <a:gd name="T48" fmla="*/ 163 w 288"/>
                <a:gd name="T49" fmla="*/ 288 h 300"/>
                <a:gd name="T50" fmla="*/ 154 w 288"/>
                <a:gd name="T51" fmla="*/ 300 h 300"/>
                <a:gd name="T52" fmla="*/ 116 w 288"/>
                <a:gd name="T53" fmla="*/ 288 h 300"/>
                <a:gd name="T54" fmla="*/ 62 w 288"/>
                <a:gd name="T55" fmla="*/ 288 h 300"/>
                <a:gd name="T56" fmla="*/ 0 w 288"/>
                <a:gd name="T57" fmla="*/ 239 h 300"/>
                <a:gd name="T58" fmla="*/ 0 w 288"/>
                <a:gd name="T59" fmla="*/ 239 h 300"/>
                <a:gd name="T60" fmla="*/ 0 w 288"/>
                <a:gd name="T61" fmla="*/ 23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8" h="300">
                  <a:moveTo>
                    <a:pt x="0" y="239"/>
                  </a:moveTo>
                  <a:lnTo>
                    <a:pt x="17" y="206"/>
                  </a:lnTo>
                  <a:lnTo>
                    <a:pt x="7" y="189"/>
                  </a:lnTo>
                  <a:lnTo>
                    <a:pt x="40" y="128"/>
                  </a:lnTo>
                  <a:lnTo>
                    <a:pt x="132" y="128"/>
                  </a:lnTo>
                  <a:lnTo>
                    <a:pt x="132" y="104"/>
                  </a:lnTo>
                  <a:lnTo>
                    <a:pt x="116" y="104"/>
                  </a:lnTo>
                  <a:lnTo>
                    <a:pt x="109" y="78"/>
                  </a:lnTo>
                  <a:lnTo>
                    <a:pt x="62" y="38"/>
                  </a:lnTo>
                  <a:lnTo>
                    <a:pt x="95" y="38"/>
                  </a:lnTo>
                  <a:lnTo>
                    <a:pt x="95" y="0"/>
                  </a:lnTo>
                  <a:lnTo>
                    <a:pt x="225" y="0"/>
                  </a:lnTo>
                  <a:lnTo>
                    <a:pt x="217" y="144"/>
                  </a:lnTo>
                  <a:lnTo>
                    <a:pt x="241" y="144"/>
                  </a:lnTo>
                  <a:lnTo>
                    <a:pt x="255" y="161"/>
                  </a:lnTo>
                  <a:lnTo>
                    <a:pt x="272" y="144"/>
                  </a:lnTo>
                  <a:lnTo>
                    <a:pt x="262" y="132"/>
                  </a:lnTo>
                  <a:lnTo>
                    <a:pt x="288" y="161"/>
                  </a:lnTo>
                  <a:lnTo>
                    <a:pt x="225" y="206"/>
                  </a:lnTo>
                  <a:lnTo>
                    <a:pt x="217" y="222"/>
                  </a:lnTo>
                  <a:lnTo>
                    <a:pt x="225" y="234"/>
                  </a:lnTo>
                  <a:lnTo>
                    <a:pt x="208" y="255"/>
                  </a:lnTo>
                  <a:lnTo>
                    <a:pt x="196" y="255"/>
                  </a:lnTo>
                  <a:lnTo>
                    <a:pt x="196" y="260"/>
                  </a:lnTo>
                  <a:lnTo>
                    <a:pt x="163" y="288"/>
                  </a:lnTo>
                  <a:lnTo>
                    <a:pt x="154" y="300"/>
                  </a:lnTo>
                  <a:lnTo>
                    <a:pt x="116" y="288"/>
                  </a:lnTo>
                  <a:lnTo>
                    <a:pt x="62" y="288"/>
                  </a:lnTo>
                  <a:lnTo>
                    <a:pt x="0" y="239"/>
                  </a:lnTo>
                  <a:lnTo>
                    <a:pt x="0" y="239"/>
                  </a:lnTo>
                  <a:lnTo>
                    <a:pt x="0" y="23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9" name="Freeform 458">
              <a:extLst>
                <a:ext uri="{FF2B5EF4-FFF2-40B4-BE49-F238E27FC236}">
                  <a16:creationId xmlns:a16="http://schemas.microsoft.com/office/drawing/2014/main" id="{1E1578B3-EE90-4934-95B2-57A150D5253D}"/>
                </a:ext>
              </a:extLst>
            </p:cNvPr>
            <p:cNvSpPr>
              <a:spLocks/>
            </p:cNvSpPr>
            <p:nvPr/>
          </p:nvSpPr>
          <p:spPr bwMode="gray">
            <a:xfrm>
              <a:off x="13398213" y="3815257"/>
              <a:ext cx="169867" cy="127646"/>
            </a:xfrm>
            <a:custGeom>
              <a:avLst/>
              <a:gdLst>
                <a:gd name="T0" fmla="*/ 21 w 519"/>
                <a:gd name="T1" fmla="*/ 83 h 390"/>
                <a:gd name="T2" fmla="*/ 54 w 519"/>
                <a:gd name="T3" fmla="*/ 71 h 390"/>
                <a:gd name="T4" fmla="*/ 92 w 519"/>
                <a:gd name="T5" fmla="*/ 71 h 390"/>
                <a:gd name="T6" fmla="*/ 75 w 519"/>
                <a:gd name="T7" fmla="*/ 38 h 390"/>
                <a:gd name="T8" fmla="*/ 92 w 519"/>
                <a:gd name="T9" fmla="*/ 0 h 390"/>
                <a:gd name="T10" fmla="*/ 141 w 519"/>
                <a:gd name="T11" fmla="*/ 17 h 390"/>
                <a:gd name="T12" fmla="*/ 196 w 519"/>
                <a:gd name="T13" fmla="*/ 21 h 390"/>
                <a:gd name="T14" fmla="*/ 264 w 519"/>
                <a:gd name="T15" fmla="*/ 17 h 390"/>
                <a:gd name="T16" fmla="*/ 271 w 519"/>
                <a:gd name="T17" fmla="*/ 45 h 390"/>
                <a:gd name="T18" fmla="*/ 309 w 519"/>
                <a:gd name="T19" fmla="*/ 54 h 390"/>
                <a:gd name="T20" fmla="*/ 363 w 519"/>
                <a:gd name="T21" fmla="*/ 45 h 390"/>
                <a:gd name="T22" fmla="*/ 378 w 519"/>
                <a:gd name="T23" fmla="*/ 38 h 390"/>
                <a:gd name="T24" fmla="*/ 401 w 519"/>
                <a:gd name="T25" fmla="*/ 17 h 390"/>
                <a:gd name="T26" fmla="*/ 427 w 519"/>
                <a:gd name="T27" fmla="*/ 28 h 390"/>
                <a:gd name="T28" fmla="*/ 439 w 519"/>
                <a:gd name="T29" fmla="*/ 71 h 390"/>
                <a:gd name="T30" fmla="*/ 448 w 519"/>
                <a:gd name="T31" fmla="*/ 83 h 390"/>
                <a:gd name="T32" fmla="*/ 448 w 519"/>
                <a:gd name="T33" fmla="*/ 128 h 390"/>
                <a:gd name="T34" fmla="*/ 481 w 519"/>
                <a:gd name="T35" fmla="*/ 116 h 390"/>
                <a:gd name="T36" fmla="*/ 491 w 519"/>
                <a:gd name="T37" fmla="*/ 165 h 390"/>
                <a:gd name="T38" fmla="*/ 486 w 519"/>
                <a:gd name="T39" fmla="*/ 194 h 390"/>
                <a:gd name="T40" fmla="*/ 491 w 519"/>
                <a:gd name="T41" fmla="*/ 236 h 390"/>
                <a:gd name="T42" fmla="*/ 503 w 519"/>
                <a:gd name="T43" fmla="*/ 248 h 390"/>
                <a:gd name="T44" fmla="*/ 503 w 519"/>
                <a:gd name="T45" fmla="*/ 260 h 390"/>
                <a:gd name="T46" fmla="*/ 519 w 519"/>
                <a:gd name="T47" fmla="*/ 293 h 390"/>
                <a:gd name="T48" fmla="*/ 519 w 519"/>
                <a:gd name="T49" fmla="*/ 302 h 390"/>
                <a:gd name="T50" fmla="*/ 481 w 519"/>
                <a:gd name="T51" fmla="*/ 298 h 390"/>
                <a:gd name="T52" fmla="*/ 491 w 519"/>
                <a:gd name="T53" fmla="*/ 319 h 390"/>
                <a:gd name="T54" fmla="*/ 491 w 519"/>
                <a:gd name="T55" fmla="*/ 331 h 390"/>
                <a:gd name="T56" fmla="*/ 470 w 519"/>
                <a:gd name="T57" fmla="*/ 359 h 390"/>
                <a:gd name="T58" fmla="*/ 453 w 519"/>
                <a:gd name="T59" fmla="*/ 359 h 390"/>
                <a:gd name="T60" fmla="*/ 439 w 519"/>
                <a:gd name="T61" fmla="*/ 385 h 390"/>
                <a:gd name="T62" fmla="*/ 401 w 519"/>
                <a:gd name="T63" fmla="*/ 376 h 390"/>
                <a:gd name="T64" fmla="*/ 401 w 519"/>
                <a:gd name="T65" fmla="*/ 352 h 390"/>
                <a:gd name="T66" fmla="*/ 373 w 519"/>
                <a:gd name="T67" fmla="*/ 298 h 390"/>
                <a:gd name="T68" fmla="*/ 309 w 519"/>
                <a:gd name="T69" fmla="*/ 314 h 390"/>
                <a:gd name="T70" fmla="*/ 318 w 519"/>
                <a:gd name="T71" fmla="*/ 276 h 390"/>
                <a:gd name="T72" fmla="*/ 302 w 519"/>
                <a:gd name="T73" fmla="*/ 260 h 390"/>
                <a:gd name="T74" fmla="*/ 271 w 519"/>
                <a:gd name="T75" fmla="*/ 187 h 390"/>
                <a:gd name="T76" fmla="*/ 222 w 519"/>
                <a:gd name="T77" fmla="*/ 194 h 390"/>
                <a:gd name="T78" fmla="*/ 200 w 519"/>
                <a:gd name="T79" fmla="*/ 194 h 390"/>
                <a:gd name="T80" fmla="*/ 167 w 519"/>
                <a:gd name="T81" fmla="*/ 236 h 390"/>
                <a:gd name="T82" fmla="*/ 141 w 519"/>
                <a:gd name="T83" fmla="*/ 260 h 390"/>
                <a:gd name="T84" fmla="*/ 125 w 519"/>
                <a:gd name="T85" fmla="*/ 248 h 390"/>
                <a:gd name="T86" fmla="*/ 108 w 519"/>
                <a:gd name="T87" fmla="*/ 220 h 390"/>
                <a:gd name="T88" fmla="*/ 104 w 519"/>
                <a:gd name="T89" fmla="*/ 220 h 390"/>
                <a:gd name="T90" fmla="*/ 104 w 519"/>
                <a:gd name="T91" fmla="*/ 203 h 390"/>
                <a:gd name="T92" fmla="*/ 92 w 519"/>
                <a:gd name="T93" fmla="*/ 210 h 390"/>
                <a:gd name="T94" fmla="*/ 87 w 519"/>
                <a:gd name="T95" fmla="*/ 203 h 390"/>
                <a:gd name="T96" fmla="*/ 37 w 519"/>
                <a:gd name="T97" fmla="*/ 154 h 390"/>
                <a:gd name="T98" fmla="*/ 37 w 519"/>
                <a:gd name="T99" fmla="*/ 132 h 390"/>
                <a:gd name="T100" fmla="*/ 16 w 519"/>
                <a:gd name="T101" fmla="*/ 128 h 390"/>
                <a:gd name="T102" fmla="*/ 16 w 519"/>
                <a:gd name="T103" fmla="*/ 116 h 390"/>
                <a:gd name="T104" fmla="*/ 0 w 519"/>
                <a:gd name="T105" fmla="*/ 132 h 390"/>
                <a:gd name="T106" fmla="*/ 0 w 519"/>
                <a:gd name="T107" fmla="*/ 12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9" h="390">
                  <a:moveTo>
                    <a:pt x="0" y="128"/>
                  </a:moveTo>
                  <a:lnTo>
                    <a:pt x="21" y="83"/>
                  </a:lnTo>
                  <a:lnTo>
                    <a:pt x="37" y="78"/>
                  </a:lnTo>
                  <a:lnTo>
                    <a:pt x="54" y="71"/>
                  </a:lnTo>
                  <a:lnTo>
                    <a:pt x="75" y="71"/>
                  </a:lnTo>
                  <a:lnTo>
                    <a:pt x="92" y="71"/>
                  </a:lnTo>
                  <a:lnTo>
                    <a:pt x="92" y="45"/>
                  </a:lnTo>
                  <a:lnTo>
                    <a:pt x="75" y="38"/>
                  </a:lnTo>
                  <a:lnTo>
                    <a:pt x="104" y="21"/>
                  </a:lnTo>
                  <a:lnTo>
                    <a:pt x="92" y="0"/>
                  </a:lnTo>
                  <a:lnTo>
                    <a:pt x="141" y="0"/>
                  </a:lnTo>
                  <a:lnTo>
                    <a:pt x="141" y="17"/>
                  </a:lnTo>
                  <a:lnTo>
                    <a:pt x="158" y="7"/>
                  </a:lnTo>
                  <a:lnTo>
                    <a:pt x="196" y="21"/>
                  </a:lnTo>
                  <a:lnTo>
                    <a:pt x="217" y="17"/>
                  </a:lnTo>
                  <a:lnTo>
                    <a:pt x="264" y="17"/>
                  </a:lnTo>
                  <a:lnTo>
                    <a:pt x="255" y="28"/>
                  </a:lnTo>
                  <a:lnTo>
                    <a:pt x="271" y="45"/>
                  </a:lnTo>
                  <a:lnTo>
                    <a:pt x="285" y="28"/>
                  </a:lnTo>
                  <a:lnTo>
                    <a:pt x="309" y="54"/>
                  </a:lnTo>
                  <a:lnTo>
                    <a:pt x="330" y="28"/>
                  </a:lnTo>
                  <a:lnTo>
                    <a:pt x="363" y="45"/>
                  </a:lnTo>
                  <a:lnTo>
                    <a:pt x="378" y="45"/>
                  </a:lnTo>
                  <a:lnTo>
                    <a:pt x="378" y="38"/>
                  </a:lnTo>
                  <a:lnTo>
                    <a:pt x="401" y="28"/>
                  </a:lnTo>
                  <a:lnTo>
                    <a:pt x="401" y="17"/>
                  </a:lnTo>
                  <a:lnTo>
                    <a:pt x="427" y="17"/>
                  </a:lnTo>
                  <a:lnTo>
                    <a:pt x="427" y="28"/>
                  </a:lnTo>
                  <a:lnTo>
                    <a:pt x="439" y="54"/>
                  </a:lnTo>
                  <a:lnTo>
                    <a:pt x="439" y="71"/>
                  </a:lnTo>
                  <a:lnTo>
                    <a:pt x="448" y="71"/>
                  </a:lnTo>
                  <a:lnTo>
                    <a:pt x="448" y="83"/>
                  </a:lnTo>
                  <a:lnTo>
                    <a:pt x="470" y="95"/>
                  </a:lnTo>
                  <a:lnTo>
                    <a:pt x="448" y="128"/>
                  </a:lnTo>
                  <a:lnTo>
                    <a:pt x="465" y="116"/>
                  </a:lnTo>
                  <a:lnTo>
                    <a:pt x="481" y="116"/>
                  </a:lnTo>
                  <a:lnTo>
                    <a:pt x="481" y="154"/>
                  </a:lnTo>
                  <a:lnTo>
                    <a:pt x="491" y="165"/>
                  </a:lnTo>
                  <a:lnTo>
                    <a:pt x="491" y="182"/>
                  </a:lnTo>
                  <a:lnTo>
                    <a:pt x="486" y="194"/>
                  </a:lnTo>
                  <a:lnTo>
                    <a:pt x="486" y="227"/>
                  </a:lnTo>
                  <a:lnTo>
                    <a:pt x="491" y="236"/>
                  </a:lnTo>
                  <a:lnTo>
                    <a:pt x="503" y="236"/>
                  </a:lnTo>
                  <a:lnTo>
                    <a:pt x="503" y="248"/>
                  </a:lnTo>
                  <a:lnTo>
                    <a:pt x="519" y="260"/>
                  </a:lnTo>
                  <a:lnTo>
                    <a:pt x="503" y="260"/>
                  </a:lnTo>
                  <a:lnTo>
                    <a:pt x="503" y="276"/>
                  </a:lnTo>
                  <a:lnTo>
                    <a:pt x="519" y="293"/>
                  </a:lnTo>
                  <a:lnTo>
                    <a:pt x="519" y="302"/>
                  </a:lnTo>
                  <a:lnTo>
                    <a:pt x="519" y="302"/>
                  </a:lnTo>
                  <a:lnTo>
                    <a:pt x="507" y="298"/>
                  </a:lnTo>
                  <a:lnTo>
                    <a:pt x="481" y="298"/>
                  </a:lnTo>
                  <a:lnTo>
                    <a:pt x="481" y="319"/>
                  </a:lnTo>
                  <a:lnTo>
                    <a:pt x="491" y="319"/>
                  </a:lnTo>
                  <a:lnTo>
                    <a:pt x="503" y="336"/>
                  </a:lnTo>
                  <a:lnTo>
                    <a:pt x="491" y="331"/>
                  </a:lnTo>
                  <a:lnTo>
                    <a:pt x="481" y="369"/>
                  </a:lnTo>
                  <a:lnTo>
                    <a:pt x="470" y="359"/>
                  </a:lnTo>
                  <a:lnTo>
                    <a:pt x="465" y="369"/>
                  </a:lnTo>
                  <a:lnTo>
                    <a:pt x="453" y="359"/>
                  </a:lnTo>
                  <a:lnTo>
                    <a:pt x="448" y="359"/>
                  </a:lnTo>
                  <a:lnTo>
                    <a:pt x="439" y="385"/>
                  </a:lnTo>
                  <a:lnTo>
                    <a:pt x="415" y="390"/>
                  </a:lnTo>
                  <a:lnTo>
                    <a:pt x="401" y="376"/>
                  </a:lnTo>
                  <a:lnTo>
                    <a:pt x="394" y="385"/>
                  </a:lnTo>
                  <a:lnTo>
                    <a:pt x="401" y="352"/>
                  </a:lnTo>
                  <a:lnTo>
                    <a:pt x="394" y="314"/>
                  </a:lnTo>
                  <a:lnTo>
                    <a:pt x="373" y="298"/>
                  </a:lnTo>
                  <a:lnTo>
                    <a:pt x="340" y="298"/>
                  </a:lnTo>
                  <a:lnTo>
                    <a:pt x="309" y="314"/>
                  </a:lnTo>
                  <a:lnTo>
                    <a:pt x="323" y="281"/>
                  </a:lnTo>
                  <a:lnTo>
                    <a:pt x="318" y="276"/>
                  </a:lnTo>
                  <a:lnTo>
                    <a:pt x="318" y="260"/>
                  </a:lnTo>
                  <a:lnTo>
                    <a:pt x="302" y="260"/>
                  </a:lnTo>
                  <a:lnTo>
                    <a:pt x="309" y="243"/>
                  </a:lnTo>
                  <a:lnTo>
                    <a:pt x="271" y="187"/>
                  </a:lnTo>
                  <a:lnTo>
                    <a:pt x="222" y="187"/>
                  </a:lnTo>
                  <a:lnTo>
                    <a:pt x="222" y="194"/>
                  </a:lnTo>
                  <a:lnTo>
                    <a:pt x="210" y="203"/>
                  </a:lnTo>
                  <a:lnTo>
                    <a:pt x="200" y="194"/>
                  </a:lnTo>
                  <a:lnTo>
                    <a:pt x="184" y="194"/>
                  </a:lnTo>
                  <a:lnTo>
                    <a:pt x="167" y="236"/>
                  </a:lnTo>
                  <a:lnTo>
                    <a:pt x="146" y="243"/>
                  </a:lnTo>
                  <a:lnTo>
                    <a:pt x="141" y="260"/>
                  </a:lnTo>
                  <a:lnTo>
                    <a:pt x="125" y="260"/>
                  </a:lnTo>
                  <a:lnTo>
                    <a:pt x="125" y="248"/>
                  </a:lnTo>
                  <a:lnTo>
                    <a:pt x="108" y="227"/>
                  </a:lnTo>
                  <a:lnTo>
                    <a:pt x="108" y="220"/>
                  </a:lnTo>
                  <a:lnTo>
                    <a:pt x="108" y="227"/>
                  </a:lnTo>
                  <a:lnTo>
                    <a:pt x="104" y="220"/>
                  </a:lnTo>
                  <a:lnTo>
                    <a:pt x="104" y="210"/>
                  </a:lnTo>
                  <a:lnTo>
                    <a:pt x="104" y="203"/>
                  </a:lnTo>
                  <a:lnTo>
                    <a:pt x="104" y="210"/>
                  </a:lnTo>
                  <a:lnTo>
                    <a:pt x="92" y="210"/>
                  </a:lnTo>
                  <a:lnTo>
                    <a:pt x="104" y="194"/>
                  </a:lnTo>
                  <a:lnTo>
                    <a:pt x="87" y="203"/>
                  </a:lnTo>
                  <a:lnTo>
                    <a:pt x="49" y="170"/>
                  </a:lnTo>
                  <a:lnTo>
                    <a:pt x="37" y="154"/>
                  </a:lnTo>
                  <a:lnTo>
                    <a:pt x="33" y="154"/>
                  </a:lnTo>
                  <a:lnTo>
                    <a:pt x="37" y="132"/>
                  </a:lnTo>
                  <a:lnTo>
                    <a:pt x="21" y="149"/>
                  </a:lnTo>
                  <a:lnTo>
                    <a:pt x="16" y="128"/>
                  </a:lnTo>
                  <a:lnTo>
                    <a:pt x="21" y="116"/>
                  </a:lnTo>
                  <a:lnTo>
                    <a:pt x="16" y="116"/>
                  </a:lnTo>
                  <a:lnTo>
                    <a:pt x="4" y="132"/>
                  </a:lnTo>
                  <a:lnTo>
                    <a:pt x="0" y="132"/>
                  </a:lnTo>
                  <a:lnTo>
                    <a:pt x="0" y="128"/>
                  </a:lnTo>
                  <a:lnTo>
                    <a:pt x="0" y="128"/>
                  </a:lnTo>
                  <a:lnTo>
                    <a:pt x="0" y="128"/>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0" name="Freeform 459">
              <a:extLst>
                <a:ext uri="{FF2B5EF4-FFF2-40B4-BE49-F238E27FC236}">
                  <a16:creationId xmlns:a16="http://schemas.microsoft.com/office/drawing/2014/main" id="{9431F62E-CAEF-4763-A8C8-0F1CAA4033AA}"/>
                </a:ext>
              </a:extLst>
            </p:cNvPr>
            <p:cNvSpPr>
              <a:spLocks/>
            </p:cNvSpPr>
            <p:nvPr/>
          </p:nvSpPr>
          <p:spPr bwMode="gray">
            <a:xfrm>
              <a:off x="12335153" y="3912791"/>
              <a:ext cx="113572" cy="173795"/>
            </a:xfrm>
            <a:custGeom>
              <a:avLst/>
              <a:gdLst>
                <a:gd name="T0" fmla="*/ 85 w 347"/>
                <a:gd name="T1" fmla="*/ 236 h 531"/>
                <a:gd name="T2" fmla="*/ 47 w 347"/>
                <a:gd name="T3" fmla="*/ 236 h 531"/>
                <a:gd name="T4" fmla="*/ 16 w 347"/>
                <a:gd name="T5" fmla="*/ 165 h 531"/>
                <a:gd name="T6" fmla="*/ 16 w 347"/>
                <a:gd name="T7" fmla="*/ 127 h 531"/>
                <a:gd name="T8" fmla="*/ 80 w 347"/>
                <a:gd name="T9" fmla="*/ 104 h 531"/>
                <a:gd name="T10" fmla="*/ 63 w 347"/>
                <a:gd name="T11" fmla="*/ 104 h 531"/>
                <a:gd name="T12" fmla="*/ 54 w 347"/>
                <a:gd name="T13" fmla="*/ 87 h 531"/>
                <a:gd name="T14" fmla="*/ 63 w 347"/>
                <a:gd name="T15" fmla="*/ 49 h 531"/>
                <a:gd name="T16" fmla="*/ 101 w 347"/>
                <a:gd name="T17" fmla="*/ 21 h 531"/>
                <a:gd name="T18" fmla="*/ 101 w 347"/>
                <a:gd name="T19" fmla="*/ 0 h 531"/>
                <a:gd name="T20" fmla="*/ 118 w 347"/>
                <a:gd name="T21" fmla="*/ 4 h 531"/>
                <a:gd name="T22" fmla="*/ 203 w 347"/>
                <a:gd name="T23" fmla="*/ 87 h 531"/>
                <a:gd name="T24" fmla="*/ 203 w 347"/>
                <a:gd name="T25" fmla="*/ 115 h 531"/>
                <a:gd name="T26" fmla="*/ 207 w 347"/>
                <a:gd name="T27" fmla="*/ 115 h 531"/>
                <a:gd name="T28" fmla="*/ 241 w 347"/>
                <a:gd name="T29" fmla="*/ 127 h 531"/>
                <a:gd name="T30" fmla="*/ 267 w 347"/>
                <a:gd name="T31" fmla="*/ 165 h 531"/>
                <a:gd name="T32" fmla="*/ 293 w 347"/>
                <a:gd name="T33" fmla="*/ 170 h 531"/>
                <a:gd name="T34" fmla="*/ 293 w 347"/>
                <a:gd name="T35" fmla="*/ 219 h 531"/>
                <a:gd name="T36" fmla="*/ 293 w 347"/>
                <a:gd name="T37" fmla="*/ 243 h 531"/>
                <a:gd name="T38" fmla="*/ 283 w 347"/>
                <a:gd name="T39" fmla="*/ 253 h 531"/>
                <a:gd name="T40" fmla="*/ 241 w 347"/>
                <a:gd name="T41" fmla="*/ 271 h 531"/>
                <a:gd name="T42" fmla="*/ 229 w 347"/>
                <a:gd name="T43" fmla="*/ 314 h 531"/>
                <a:gd name="T44" fmla="*/ 262 w 347"/>
                <a:gd name="T45" fmla="*/ 364 h 531"/>
                <a:gd name="T46" fmla="*/ 283 w 347"/>
                <a:gd name="T47" fmla="*/ 371 h 531"/>
                <a:gd name="T48" fmla="*/ 330 w 347"/>
                <a:gd name="T49" fmla="*/ 465 h 531"/>
                <a:gd name="T50" fmla="*/ 321 w 347"/>
                <a:gd name="T51" fmla="*/ 482 h 531"/>
                <a:gd name="T52" fmla="*/ 283 w 347"/>
                <a:gd name="T53" fmla="*/ 475 h 531"/>
                <a:gd name="T54" fmla="*/ 257 w 347"/>
                <a:gd name="T55" fmla="*/ 491 h 531"/>
                <a:gd name="T56" fmla="*/ 241 w 347"/>
                <a:gd name="T57" fmla="*/ 503 h 531"/>
                <a:gd name="T58" fmla="*/ 203 w 347"/>
                <a:gd name="T59" fmla="*/ 503 h 531"/>
                <a:gd name="T60" fmla="*/ 186 w 347"/>
                <a:gd name="T61" fmla="*/ 519 h 531"/>
                <a:gd name="T62" fmla="*/ 170 w 347"/>
                <a:gd name="T63" fmla="*/ 519 h 531"/>
                <a:gd name="T64" fmla="*/ 132 w 347"/>
                <a:gd name="T65" fmla="*/ 491 h 531"/>
                <a:gd name="T66" fmla="*/ 122 w 347"/>
                <a:gd name="T67" fmla="*/ 482 h 531"/>
                <a:gd name="T68" fmla="*/ 118 w 347"/>
                <a:gd name="T69" fmla="*/ 449 h 531"/>
                <a:gd name="T70" fmla="*/ 101 w 347"/>
                <a:gd name="T71" fmla="*/ 420 h 531"/>
                <a:gd name="T72" fmla="*/ 122 w 347"/>
                <a:gd name="T73" fmla="*/ 330 h 531"/>
                <a:gd name="T74" fmla="*/ 118 w 347"/>
                <a:gd name="T75" fmla="*/ 297 h 531"/>
                <a:gd name="T76" fmla="*/ 96 w 347"/>
                <a:gd name="T77" fmla="*/ 276 h 531"/>
                <a:gd name="T78" fmla="*/ 96 w 347"/>
                <a:gd name="T79" fmla="*/ 243 h 531"/>
                <a:gd name="T80" fmla="*/ 96 w 347"/>
                <a:gd name="T81" fmla="*/ 243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7" h="531">
                  <a:moveTo>
                    <a:pt x="96" y="243"/>
                  </a:moveTo>
                  <a:lnTo>
                    <a:pt x="85" y="236"/>
                  </a:lnTo>
                  <a:lnTo>
                    <a:pt x="80" y="236"/>
                  </a:lnTo>
                  <a:lnTo>
                    <a:pt x="47" y="236"/>
                  </a:lnTo>
                  <a:lnTo>
                    <a:pt x="0" y="186"/>
                  </a:lnTo>
                  <a:lnTo>
                    <a:pt x="16" y="165"/>
                  </a:lnTo>
                  <a:lnTo>
                    <a:pt x="16" y="144"/>
                  </a:lnTo>
                  <a:lnTo>
                    <a:pt x="16" y="127"/>
                  </a:lnTo>
                  <a:lnTo>
                    <a:pt x="47" y="127"/>
                  </a:lnTo>
                  <a:lnTo>
                    <a:pt x="80" y="104"/>
                  </a:lnTo>
                  <a:lnTo>
                    <a:pt x="68" y="92"/>
                  </a:lnTo>
                  <a:lnTo>
                    <a:pt x="63" y="104"/>
                  </a:lnTo>
                  <a:lnTo>
                    <a:pt x="54" y="92"/>
                  </a:lnTo>
                  <a:lnTo>
                    <a:pt x="54" y="87"/>
                  </a:lnTo>
                  <a:lnTo>
                    <a:pt x="47" y="71"/>
                  </a:lnTo>
                  <a:lnTo>
                    <a:pt x="63" y="49"/>
                  </a:lnTo>
                  <a:lnTo>
                    <a:pt x="96" y="33"/>
                  </a:lnTo>
                  <a:lnTo>
                    <a:pt x="101" y="21"/>
                  </a:lnTo>
                  <a:lnTo>
                    <a:pt x="106" y="21"/>
                  </a:lnTo>
                  <a:lnTo>
                    <a:pt x="101" y="0"/>
                  </a:lnTo>
                  <a:lnTo>
                    <a:pt x="106" y="4"/>
                  </a:lnTo>
                  <a:lnTo>
                    <a:pt x="118" y="4"/>
                  </a:lnTo>
                  <a:lnTo>
                    <a:pt x="160" y="33"/>
                  </a:lnTo>
                  <a:lnTo>
                    <a:pt x="203" y="87"/>
                  </a:lnTo>
                  <a:lnTo>
                    <a:pt x="203" y="108"/>
                  </a:lnTo>
                  <a:lnTo>
                    <a:pt x="203" y="115"/>
                  </a:lnTo>
                  <a:lnTo>
                    <a:pt x="191" y="149"/>
                  </a:lnTo>
                  <a:lnTo>
                    <a:pt x="207" y="115"/>
                  </a:lnTo>
                  <a:lnTo>
                    <a:pt x="212" y="115"/>
                  </a:lnTo>
                  <a:lnTo>
                    <a:pt x="241" y="127"/>
                  </a:lnTo>
                  <a:lnTo>
                    <a:pt x="262" y="149"/>
                  </a:lnTo>
                  <a:lnTo>
                    <a:pt x="267" y="165"/>
                  </a:lnTo>
                  <a:lnTo>
                    <a:pt x="278" y="160"/>
                  </a:lnTo>
                  <a:lnTo>
                    <a:pt x="293" y="170"/>
                  </a:lnTo>
                  <a:lnTo>
                    <a:pt x="300" y="182"/>
                  </a:lnTo>
                  <a:lnTo>
                    <a:pt x="293" y="219"/>
                  </a:lnTo>
                  <a:lnTo>
                    <a:pt x="283" y="227"/>
                  </a:lnTo>
                  <a:lnTo>
                    <a:pt x="293" y="243"/>
                  </a:lnTo>
                  <a:lnTo>
                    <a:pt x="283" y="243"/>
                  </a:lnTo>
                  <a:lnTo>
                    <a:pt x="283" y="253"/>
                  </a:lnTo>
                  <a:lnTo>
                    <a:pt x="262" y="253"/>
                  </a:lnTo>
                  <a:lnTo>
                    <a:pt x="241" y="271"/>
                  </a:lnTo>
                  <a:lnTo>
                    <a:pt x="245" y="276"/>
                  </a:lnTo>
                  <a:lnTo>
                    <a:pt x="229" y="314"/>
                  </a:lnTo>
                  <a:lnTo>
                    <a:pt x="229" y="326"/>
                  </a:lnTo>
                  <a:lnTo>
                    <a:pt x="262" y="364"/>
                  </a:lnTo>
                  <a:lnTo>
                    <a:pt x="262" y="371"/>
                  </a:lnTo>
                  <a:lnTo>
                    <a:pt x="283" y="371"/>
                  </a:lnTo>
                  <a:lnTo>
                    <a:pt x="293" y="408"/>
                  </a:lnTo>
                  <a:lnTo>
                    <a:pt x="330" y="465"/>
                  </a:lnTo>
                  <a:lnTo>
                    <a:pt x="347" y="475"/>
                  </a:lnTo>
                  <a:lnTo>
                    <a:pt x="321" y="482"/>
                  </a:lnTo>
                  <a:lnTo>
                    <a:pt x="300" y="465"/>
                  </a:lnTo>
                  <a:lnTo>
                    <a:pt x="283" y="475"/>
                  </a:lnTo>
                  <a:lnTo>
                    <a:pt x="267" y="491"/>
                  </a:lnTo>
                  <a:lnTo>
                    <a:pt x="257" y="491"/>
                  </a:lnTo>
                  <a:lnTo>
                    <a:pt x="241" y="498"/>
                  </a:lnTo>
                  <a:lnTo>
                    <a:pt x="241" y="503"/>
                  </a:lnTo>
                  <a:lnTo>
                    <a:pt x="212" y="498"/>
                  </a:lnTo>
                  <a:lnTo>
                    <a:pt x="203" y="503"/>
                  </a:lnTo>
                  <a:lnTo>
                    <a:pt x="203" y="519"/>
                  </a:lnTo>
                  <a:lnTo>
                    <a:pt x="186" y="519"/>
                  </a:lnTo>
                  <a:lnTo>
                    <a:pt x="177" y="531"/>
                  </a:lnTo>
                  <a:lnTo>
                    <a:pt x="170" y="519"/>
                  </a:lnTo>
                  <a:lnTo>
                    <a:pt x="148" y="515"/>
                  </a:lnTo>
                  <a:lnTo>
                    <a:pt x="132" y="491"/>
                  </a:lnTo>
                  <a:lnTo>
                    <a:pt x="122" y="491"/>
                  </a:lnTo>
                  <a:lnTo>
                    <a:pt x="122" y="482"/>
                  </a:lnTo>
                  <a:lnTo>
                    <a:pt x="118" y="482"/>
                  </a:lnTo>
                  <a:lnTo>
                    <a:pt x="118" y="449"/>
                  </a:lnTo>
                  <a:lnTo>
                    <a:pt x="106" y="441"/>
                  </a:lnTo>
                  <a:lnTo>
                    <a:pt x="101" y="420"/>
                  </a:lnTo>
                  <a:lnTo>
                    <a:pt x="106" y="364"/>
                  </a:lnTo>
                  <a:lnTo>
                    <a:pt x="122" y="330"/>
                  </a:lnTo>
                  <a:lnTo>
                    <a:pt x="118" y="309"/>
                  </a:lnTo>
                  <a:lnTo>
                    <a:pt x="118" y="297"/>
                  </a:lnTo>
                  <a:lnTo>
                    <a:pt x="85" y="293"/>
                  </a:lnTo>
                  <a:lnTo>
                    <a:pt x="96" y="276"/>
                  </a:lnTo>
                  <a:lnTo>
                    <a:pt x="101" y="253"/>
                  </a:lnTo>
                  <a:lnTo>
                    <a:pt x="96" y="243"/>
                  </a:lnTo>
                  <a:lnTo>
                    <a:pt x="96" y="243"/>
                  </a:lnTo>
                  <a:lnTo>
                    <a:pt x="96" y="243"/>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1" name="Freeform 460">
              <a:extLst>
                <a:ext uri="{FF2B5EF4-FFF2-40B4-BE49-F238E27FC236}">
                  <a16:creationId xmlns:a16="http://schemas.microsoft.com/office/drawing/2014/main" id="{363DD3F7-7F59-4D42-B8D9-E89FF5868DE8}"/>
                </a:ext>
              </a:extLst>
            </p:cNvPr>
            <p:cNvSpPr>
              <a:spLocks/>
            </p:cNvSpPr>
            <p:nvPr/>
          </p:nvSpPr>
          <p:spPr bwMode="gray">
            <a:xfrm>
              <a:off x="14529023" y="3345259"/>
              <a:ext cx="7201" cy="6873"/>
            </a:xfrm>
            <a:custGeom>
              <a:avLst/>
              <a:gdLst>
                <a:gd name="T0" fmla="*/ 22 w 22"/>
                <a:gd name="T1" fmla="*/ 0 h 21"/>
                <a:gd name="T2" fmla="*/ 22 w 22"/>
                <a:gd name="T3" fmla="*/ 0 h 21"/>
                <a:gd name="T4" fmla="*/ 10 w 22"/>
                <a:gd name="T5" fmla="*/ 21 h 21"/>
                <a:gd name="T6" fmla="*/ 0 w 22"/>
                <a:gd name="T7" fmla="*/ 14 h 21"/>
                <a:gd name="T8" fmla="*/ 22 w 22"/>
                <a:gd name="T9" fmla="*/ 0 h 21"/>
                <a:gd name="T10" fmla="*/ 22 w 22"/>
                <a:gd name="T11" fmla="*/ 0 h 21"/>
                <a:gd name="T12" fmla="*/ 22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22" y="0"/>
                  </a:moveTo>
                  <a:lnTo>
                    <a:pt x="22" y="0"/>
                  </a:lnTo>
                  <a:lnTo>
                    <a:pt x="10" y="21"/>
                  </a:lnTo>
                  <a:lnTo>
                    <a:pt x="0" y="14"/>
                  </a:lnTo>
                  <a:lnTo>
                    <a:pt x="22" y="0"/>
                  </a:lnTo>
                  <a:lnTo>
                    <a:pt x="22" y="0"/>
                  </a:lnTo>
                  <a:lnTo>
                    <a:pt x="22" y="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2" name="Freeform 461">
              <a:extLst>
                <a:ext uri="{FF2B5EF4-FFF2-40B4-BE49-F238E27FC236}">
                  <a16:creationId xmlns:a16="http://schemas.microsoft.com/office/drawing/2014/main" id="{3C2275EC-58A2-4B43-ADB6-AA6703F56FBD}"/>
                </a:ext>
              </a:extLst>
            </p:cNvPr>
            <p:cNvSpPr>
              <a:spLocks noEditPoints="1"/>
            </p:cNvSpPr>
            <p:nvPr/>
          </p:nvSpPr>
          <p:spPr bwMode="gray">
            <a:xfrm>
              <a:off x="12034368" y="3635898"/>
              <a:ext cx="64805" cy="48767"/>
            </a:xfrm>
            <a:custGeom>
              <a:avLst/>
              <a:gdLst>
                <a:gd name="T0" fmla="*/ 134 w 198"/>
                <a:gd name="T1" fmla="*/ 10 h 149"/>
                <a:gd name="T2" fmla="*/ 106 w 198"/>
                <a:gd name="T3" fmla="*/ 0 h 149"/>
                <a:gd name="T4" fmla="*/ 118 w 198"/>
                <a:gd name="T5" fmla="*/ 0 h 149"/>
                <a:gd name="T6" fmla="*/ 134 w 198"/>
                <a:gd name="T7" fmla="*/ 10 h 149"/>
                <a:gd name="T8" fmla="*/ 134 w 198"/>
                <a:gd name="T9" fmla="*/ 10 h 149"/>
                <a:gd name="T10" fmla="*/ 134 w 198"/>
                <a:gd name="T11" fmla="*/ 10 h 149"/>
                <a:gd name="T12" fmla="*/ 191 w 198"/>
                <a:gd name="T13" fmla="*/ 21 h 149"/>
                <a:gd name="T14" fmla="*/ 191 w 198"/>
                <a:gd name="T15" fmla="*/ 38 h 149"/>
                <a:gd name="T16" fmla="*/ 191 w 198"/>
                <a:gd name="T17" fmla="*/ 54 h 149"/>
                <a:gd name="T18" fmla="*/ 198 w 198"/>
                <a:gd name="T19" fmla="*/ 66 h 149"/>
                <a:gd name="T20" fmla="*/ 186 w 198"/>
                <a:gd name="T21" fmla="*/ 78 h 149"/>
                <a:gd name="T22" fmla="*/ 191 w 198"/>
                <a:gd name="T23" fmla="*/ 95 h 149"/>
                <a:gd name="T24" fmla="*/ 186 w 198"/>
                <a:gd name="T25" fmla="*/ 104 h 149"/>
                <a:gd name="T26" fmla="*/ 170 w 198"/>
                <a:gd name="T27" fmla="*/ 111 h 149"/>
                <a:gd name="T28" fmla="*/ 177 w 198"/>
                <a:gd name="T29" fmla="*/ 121 h 149"/>
                <a:gd name="T30" fmla="*/ 191 w 198"/>
                <a:gd name="T31" fmla="*/ 128 h 149"/>
                <a:gd name="T32" fmla="*/ 191 w 198"/>
                <a:gd name="T33" fmla="*/ 149 h 149"/>
                <a:gd name="T34" fmla="*/ 170 w 198"/>
                <a:gd name="T35" fmla="*/ 132 h 149"/>
                <a:gd name="T36" fmla="*/ 118 w 198"/>
                <a:gd name="T37" fmla="*/ 144 h 149"/>
                <a:gd name="T38" fmla="*/ 80 w 198"/>
                <a:gd name="T39" fmla="*/ 132 h 149"/>
                <a:gd name="T40" fmla="*/ 47 w 198"/>
                <a:gd name="T41" fmla="*/ 144 h 149"/>
                <a:gd name="T42" fmla="*/ 47 w 198"/>
                <a:gd name="T43" fmla="*/ 149 h 149"/>
                <a:gd name="T44" fmla="*/ 38 w 198"/>
                <a:gd name="T45" fmla="*/ 149 h 149"/>
                <a:gd name="T46" fmla="*/ 26 w 198"/>
                <a:gd name="T47" fmla="*/ 132 h 149"/>
                <a:gd name="T48" fmla="*/ 0 w 198"/>
                <a:gd name="T49" fmla="*/ 128 h 149"/>
                <a:gd name="T50" fmla="*/ 0 w 198"/>
                <a:gd name="T51" fmla="*/ 121 h 149"/>
                <a:gd name="T52" fmla="*/ 0 w 198"/>
                <a:gd name="T53" fmla="*/ 104 h 149"/>
                <a:gd name="T54" fmla="*/ 16 w 198"/>
                <a:gd name="T55" fmla="*/ 104 h 149"/>
                <a:gd name="T56" fmla="*/ 47 w 198"/>
                <a:gd name="T57" fmla="*/ 111 h 149"/>
                <a:gd name="T58" fmla="*/ 63 w 198"/>
                <a:gd name="T59" fmla="*/ 111 h 149"/>
                <a:gd name="T60" fmla="*/ 54 w 198"/>
                <a:gd name="T61" fmla="*/ 111 h 149"/>
                <a:gd name="T62" fmla="*/ 54 w 198"/>
                <a:gd name="T63" fmla="*/ 121 h 149"/>
                <a:gd name="T64" fmla="*/ 123 w 198"/>
                <a:gd name="T65" fmla="*/ 121 h 149"/>
                <a:gd name="T66" fmla="*/ 134 w 198"/>
                <a:gd name="T67" fmla="*/ 111 h 149"/>
                <a:gd name="T68" fmla="*/ 144 w 198"/>
                <a:gd name="T69" fmla="*/ 111 h 149"/>
                <a:gd name="T70" fmla="*/ 144 w 198"/>
                <a:gd name="T71" fmla="*/ 104 h 149"/>
                <a:gd name="T72" fmla="*/ 118 w 198"/>
                <a:gd name="T73" fmla="*/ 71 h 149"/>
                <a:gd name="T74" fmla="*/ 123 w 198"/>
                <a:gd name="T75" fmla="*/ 50 h 149"/>
                <a:gd name="T76" fmla="*/ 92 w 198"/>
                <a:gd name="T77" fmla="*/ 33 h 149"/>
                <a:gd name="T78" fmla="*/ 80 w 198"/>
                <a:gd name="T79" fmla="*/ 33 h 149"/>
                <a:gd name="T80" fmla="*/ 80 w 198"/>
                <a:gd name="T81" fmla="*/ 17 h 149"/>
                <a:gd name="T82" fmla="*/ 118 w 198"/>
                <a:gd name="T83" fmla="*/ 10 h 149"/>
                <a:gd name="T84" fmla="*/ 156 w 198"/>
                <a:gd name="T85" fmla="*/ 21 h 149"/>
                <a:gd name="T86" fmla="*/ 191 w 198"/>
                <a:gd name="T87" fmla="*/ 21 h 149"/>
                <a:gd name="T88" fmla="*/ 191 w 198"/>
                <a:gd name="T89" fmla="*/ 21 h 149"/>
                <a:gd name="T90" fmla="*/ 191 w 198"/>
                <a:gd name="T91" fmla="*/ 21 h 149"/>
                <a:gd name="T92" fmla="*/ 118 w 198"/>
                <a:gd name="T93" fmla="*/ 104 h 149"/>
                <a:gd name="T94" fmla="*/ 85 w 198"/>
                <a:gd name="T95" fmla="*/ 88 h 149"/>
                <a:gd name="T96" fmla="*/ 92 w 198"/>
                <a:gd name="T97" fmla="*/ 78 h 149"/>
                <a:gd name="T98" fmla="*/ 118 w 198"/>
                <a:gd name="T99" fmla="*/ 88 h 149"/>
                <a:gd name="T100" fmla="*/ 118 w 198"/>
                <a:gd name="T101" fmla="*/ 104 h 149"/>
                <a:gd name="T102" fmla="*/ 118 w 198"/>
                <a:gd name="T103" fmla="*/ 104 h 149"/>
                <a:gd name="T104" fmla="*/ 118 w 198"/>
                <a:gd name="T105" fmla="*/ 104 h 149"/>
                <a:gd name="T106" fmla="*/ 54 w 198"/>
                <a:gd name="T107" fmla="*/ 111 h 149"/>
                <a:gd name="T108" fmla="*/ 47 w 198"/>
                <a:gd name="T109" fmla="*/ 104 h 149"/>
                <a:gd name="T110" fmla="*/ 54 w 198"/>
                <a:gd name="T111" fmla="*/ 104 h 149"/>
                <a:gd name="T112" fmla="*/ 54 w 198"/>
                <a:gd name="T113" fmla="*/ 111 h 149"/>
                <a:gd name="T114" fmla="*/ 54 w 198"/>
                <a:gd name="T115" fmla="*/ 111 h 149"/>
                <a:gd name="T116" fmla="*/ 54 w 198"/>
                <a:gd name="T117" fmla="*/ 11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 h="149">
                  <a:moveTo>
                    <a:pt x="134" y="10"/>
                  </a:moveTo>
                  <a:lnTo>
                    <a:pt x="106" y="0"/>
                  </a:lnTo>
                  <a:lnTo>
                    <a:pt x="118" y="0"/>
                  </a:lnTo>
                  <a:lnTo>
                    <a:pt x="134" y="10"/>
                  </a:lnTo>
                  <a:lnTo>
                    <a:pt x="134" y="10"/>
                  </a:lnTo>
                  <a:lnTo>
                    <a:pt x="134" y="10"/>
                  </a:lnTo>
                  <a:close/>
                  <a:moveTo>
                    <a:pt x="191" y="21"/>
                  </a:moveTo>
                  <a:lnTo>
                    <a:pt x="191" y="38"/>
                  </a:lnTo>
                  <a:lnTo>
                    <a:pt x="191" y="54"/>
                  </a:lnTo>
                  <a:lnTo>
                    <a:pt x="198" y="66"/>
                  </a:lnTo>
                  <a:lnTo>
                    <a:pt x="186" y="78"/>
                  </a:lnTo>
                  <a:lnTo>
                    <a:pt x="191" y="95"/>
                  </a:lnTo>
                  <a:lnTo>
                    <a:pt x="186" y="104"/>
                  </a:lnTo>
                  <a:lnTo>
                    <a:pt x="170" y="111"/>
                  </a:lnTo>
                  <a:lnTo>
                    <a:pt x="177" y="121"/>
                  </a:lnTo>
                  <a:lnTo>
                    <a:pt x="191" y="128"/>
                  </a:lnTo>
                  <a:lnTo>
                    <a:pt x="191" y="149"/>
                  </a:lnTo>
                  <a:lnTo>
                    <a:pt x="170" y="132"/>
                  </a:lnTo>
                  <a:lnTo>
                    <a:pt x="118" y="144"/>
                  </a:lnTo>
                  <a:lnTo>
                    <a:pt x="80" y="132"/>
                  </a:lnTo>
                  <a:lnTo>
                    <a:pt x="47" y="144"/>
                  </a:lnTo>
                  <a:lnTo>
                    <a:pt x="47" y="149"/>
                  </a:lnTo>
                  <a:lnTo>
                    <a:pt x="38" y="149"/>
                  </a:lnTo>
                  <a:lnTo>
                    <a:pt x="26" y="132"/>
                  </a:lnTo>
                  <a:lnTo>
                    <a:pt x="0" y="128"/>
                  </a:lnTo>
                  <a:lnTo>
                    <a:pt x="0" y="121"/>
                  </a:lnTo>
                  <a:lnTo>
                    <a:pt x="0" y="104"/>
                  </a:lnTo>
                  <a:lnTo>
                    <a:pt x="16" y="104"/>
                  </a:lnTo>
                  <a:lnTo>
                    <a:pt x="47" y="111"/>
                  </a:lnTo>
                  <a:lnTo>
                    <a:pt x="63" y="111"/>
                  </a:lnTo>
                  <a:lnTo>
                    <a:pt x="54" y="111"/>
                  </a:lnTo>
                  <a:lnTo>
                    <a:pt x="54" y="121"/>
                  </a:lnTo>
                  <a:lnTo>
                    <a:pt x="123" y="121"/>
                  </a:lnTo>
                  <a:lnTo>
                    <a:pt x="134" y="111"/>
                  </a:lnTo>
                  <a:lnTo>
                    <a:pt x="144" y="111"/>
                  </a:lnTo>
                  <a:lnTo>
                    <a:pt x="144" y="104"/>
                  </a:lnTo>
                  <a:lnTo>
                    <a:pt x="118" y="71"/>
                  </a:lnTo>
                  <a:lnTo>
                    <a:pt x="123" y="50"/>
                  </a:lnTo>
                  <a:lnTo>
                    <a:pt x="92" y="33"/>
                  </a:lnTo>
                  <a:lnTo>
                    <a:pt x="80" y="33"/>
                  </a:lnTo>
                  <a:lnTo>
                    <a:pt x="80" y="17"/>
                  </a:lnTo>
                  <a:lnTo>
                    <a:pt x="118" y="10"/>
                  </a:lnTo>
                  <a:lnTo>
                    <a:pt x="156" y="21"/>
                  </a:lnTo>
                  <a:lnTo>
                    <a:pt x="191" y="21"/>
                  </a:lnTo>
                  <a:lnTo>
                    <a:pt x="191" y="21"/>
                  </a:lnTo>
                  <a:lnTo>
                    <a:pt x="191" y="21"/>
                  </a:lnTo>
                  <a:close/>
                  <a:moveTo>
                    <a:pt x="118" y="104"/>
                  </a:moveTo>
                  <a:lnTo>
                    <a:pt x="85" y="88"/>
                  </a:lnTo>
                  <a:lnTo>
                    <a:pt x="92" y="78"/>
                  </a:lnTo>
                  <a:lnTo>
                    <a:pt x="118" y="88"/>
                  </a:lnTo>
                  <a:lnTo>
                    <a:pt x="118" y="104"/>
                  </a:lnTo>
                  <a:lnTo>
                    <a:pt x="118" y="104"/>
                  </a:lnTo>
                  <a:lnTo>
                    <a:pt x="118" y="104"/>
                  </a:lnTo>
                  <a:close/>
                  <a:moveTo>
                    <a:pt x="54" y="111"/>
                  </a:moveTo>
                  <a:lnTo>
                    <a:pt x="47" y="104"/>
                  </a:lnTo>
                  <a:lnTo>
                    <a:pt x="54" y="104"/>
                  </a:lnTo>
                  <a:lnTo>
                    <a:pt x="54" y="111"/>
                  </a:lnTo>
                  <a:lnTo>
                    <a:pt x="54" y="111"/>
                  </a:lnTo>
                  <a:lnTo>
                    <a:pt x="54" y="111"/>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3" name="Freeform 462">
              <a:extLst>
                <a:ext uri="{FF2B5EF4-FFF2-40B4-BE49-F238E27FC236}">
                  <a16:creationId xmlns:a16="http://schemas.microsoft.com/office/drawing/2014/main" id="{091A355A-4B9D-4B5C-BDF7-AA7708314B31}"/>
                </a:ext>
              </a:extLst>
            </p:cNvPr>
            <p:cNvSpPr>
              <a:spLocks/>
            </p:cNvSpPr>
            <p:nvPr/>
          </p:nvSpPr>
          <p:spPr bwMode="gray">
            <a:xfrm>
              <a:off x="15425161" y="5495270"/>
              <a:ext cx="14074" cy="6873"/>
            </a:xfrm>
            <a:custGeom>
              <a:avLst/>
              <a:gdLst>
                <a:gd name="T0" fmla="*/ 43 w 43"/>
                <a:gd name="T1" fmla="*/ 17 h 21"/>
                <a:gd name="T2" fmla="*/ 14 w 43"/>
                <a:gd name="T3" fmla="*/ 21 h 21"/>
                <a:gd name="T4" fmla="*/ 0 w 43"/>
                <a:gd name="T5" fmla="*/ 0 h 21"/>
                <a:gd name="T6" fmla="*/ 43 w 43"/>
                <a:gd name="T7" fmla="*/ 17 h 21"/>
                <a:gd name="T8" fmla="*/ 43 w 43"/>
                <a:gd name="T9" fmla="*/ 17 h 21"/>
                <a:gd name="T10" fmla="*/ 43 w 43"/>
                <a:gd name="T11" fmla="*/ 17 h 21"/>
              </a:gdLst>
              <a:ahLst/>
              <a:cxnLst>
                <a:cxn ang="0">
                  <a:pos x="T0" y="T1"/>
                </a:cxn>
                <a:cxn ang="0">
                  <a:pos x="T2" y="T3"/>
                </a:cxn>
                <a:cxn ang="0">
                  <a:pos x="T4" y="T5"/>
                </a:cxn>
                <a:cxn ang="0">
                  <a:pos x="T6" y="T7"/>
                </a:cxn>
                <a:cxn ang="0">
                  <a:pos x="T8" y="T9"/>
                </a:cxn>
                <a:cxn ang="0">
                  <a:pos x="T10" y="T11"/>
                </a:cxn>
              </a:cxnLst>
              <a:rect l="0" t="0" r="r" b="b"/>
              <a:pathLst>
                <a:path w="43" h="21">
                  <a:moveTo>
                    <a:pt x="43" y="17"/>
                  </a:moveTo>
                  <a:lnTo>
                    <a:pt x="14" y="21"/>
                  </a:lnTo>
                  <a:lnTo>
                    <a:pt x="0" y="0"/>
                  </a:lnTo>
                  <a:lnTo>
                    <a:pt x="43" y="17"/>
                  </a:lnTo>
                  <a:lnTo>
                    <a:pt x="43" y="17"/>
                  </a:lnTo>
                  <a:lnTo>
                    <a:pt x="43" y="1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4" name="Freeform 463">
              <a:extLst>
                <a:ext uri="{FF2B5EF4-FFF2-40B4-BE49-F238E27FC236}">
                  <a16:creationId xmlns:a16="http://schemas.microsoft.com/office/drawing/2014/main" id="{75FC2D71-131A-435D-BD5A-AD86C7D82403}"/>
                </a:ext>
              </a:extLst>
            </p:cNvPr>
            <p:cNvSpPr>
              <a:spLocks noEditPoints="1"/>
            </p:cNvSpPr>
            <p:nvPr/>
          </p:nvSpPr>
          <p:spPr bwMode="gray">
            <a:xfrm>
              <a:off x="11693325" y="3723941"/>
              <a:ext cx="141392" cy="81170"/>
            </a:xfrm>
            <a:custGeom>
              <a:avLst/>
              <a:gdLst>
                <a:gd name="T0" fmla="*/ 206 w 432"/>
                <a:gd name="T1" fmla="*/ 0 h 248"/>
                <a:gd name="T2" fmla="*/ 189 w 432"/>
                <a:gd name="T3" fmla="*/ 5 h 248"/>
                <a:gd name="T4" fmla="*/ 189 w 432"/>
                <a:gd name="T5" fmla="*/ 5 h 248"/>
                <a:gd name="T6" fmla="*/ 43 w 432"/>
                <a:gd name="T7" fmla="*/ 166 h 248"/>
                <a:gd name="T8" fmla="*/ 26 w 432"/>
                <a:gd name="T9" fmla="*/ 149 h 248"/>
                <a:gd name="T10" fmla="*/ 17 w 432"/>
                <a:gd name="T11" fmla="*/ 128 h 248"/>
                <a:gd name="T12" fmla="*/ 17 w 432"/>
                <a:gd name="T13" fmla="*/ 100 h 248"/>
                <a:gd name="T14" fmla="*/ 85 w 432"/>
                <a:gd name="T15" fmla="*/ 57 h 248"/>
                <a:gd name="T16" fmla="*/ 135 w 432"/>
                <a:gd name="T17" fmla="*/ 45 h 248"/>
                <a:gd name="T18" fmla="*/ 210 w 432"/>
                <a:gd name="T19" fmla="*/ 45 h 248"/>
                <a:gd name="T20" fmla="*/ 243 w 432"/>
                <a:gd name="T21" fmla="*/ 29 h 248"/>
                <a:gd name="T22" fmla="*/ 269 w 432"/>
                <a:gd name="T23" fmla="*/ 38 h 248"/>
                <a:gd name="T24" fmla="*/ 324 w 432"/>
                <a:gd name="T25" fmla="*/ 38 h 248"/>
                <a:gd name="T26" fmla="*/ 340 w 432"/>
                <a:gd name="T27" fmla="*/ 45 h 248"/>
                <a:gd name="T28" fmla="*/ 357 w 432"/>
                <a:gd name="T29" fmla="*/ 45 h 248"/>
                <a:gd name="T30" fmla="*/ 357 w 432"/>
                <a:gd name="T31" fmla="*/ 62 h 248"/>
                <a:gd name="T32" fmla="*/ 390 w 432"/>
                <a:gd name="T33" fmla="*/ 83 h 248"/>
                <a:gd name="T34" fmla="*/ 378 w 432"/>
                <a:gd name="T35" fmla="*/ 74 h 248"/>
                <a:gd name="T36" fmla="*/ 411 w 432"/>
                <a:gd name="T37" fmla="*/ 83 h 248"/>
                <a:gd name="T38" fmla="*/ 406 w 432"/>
                <a:gd name="T39" fmla="*/ 95 h 248"/>
                <a:gd name="T40" fmla="*/ 406 w 432"/>
                <a:gd name="T41" fmla="*/ 78 h 248"/>
                <a:gd name="T42" fmla="*/ 428 w 432"/>
                <a:gd name="T43" fmla="*/ 100 h 248"/>
                <a:gd name="T44" fmla="*/ 411 w 432"/>
                <a:gd name="T45" fmla="*/ 100 h 248"/>
                <a:gd name="T46" fmla="*/ 340 w 432"/>
                <a:gd name="T47" fmla="*/ 133 h 248"/>
                <a:gd name="T48" fmla="*/ 298 w 432"/>
                <a:gd name="T49" fmla="*/ 149 h 248"/>
                <a:gd name="T50" fmla="*/ 260 w 432"/>
                <a:gd name="T51" fmla="*/ 182 h 248"/>
                <a:gd name="T52" fmla="*/ 231 w 432"/>
                <a:gd name="T53" fmla="*/ 173 h 248"/>
                <a:gd name="T54" fmla="*/ 177 w 432"/>
                <a:gd name="T55" fmla="*/ 194 h 248"/>
                <a:gd name="T56" fmla="*/ 172 w 432"/>
                <a:gd name="T57" fmla="*/ 239 h 248"/>
                <a:gd name="T58" fmla="*/ 139 w 432"/>
                <a:gd name="T59" fmla="*/ 248 h 248"/>
                <a:gd name="T60" fmla="*/ 135 w 432"/>
                <a:gd name="T61" fmla="*/ 222 h 248"/>
                <a:gd name="T62" fmla="*/ 118 w 432"/>
                <a:gd name="T63" fmla="*/ 222 h 248"/>
                <a:gd name="T64" fmla="*/ 109 w 432"/>
                <a:gd name="T65" fmla="*/ 222 h 248"/>
                <a:gd name="T66" fmla="*/ 109 w 432"/>
                <a:gd name="T67" fmla="*/ 211 h 248"/>
                <a:gd name="T68" fmla="*/ 109 w 432"/>
                <a:gd name="T69" fmla="*/ 182 h 248"/>
                <a:gd name="T70" fmla="*/ 85 w 432"/>
                <a:gd name="T71" fmla="*/ 182 h 248"/>
                <a:gd name="T72" fmla="*/ 54 w 432"/>
                <a:gd name="T73" fmla="*/ 182 h 248"/>
                <a:gd name="T74" fmla="*/ 54 w 432"/>
                <a:gd name="T75" fmla="*/ 182 h 248"/>
                <a:gd name="T76" fmla="*/ 118 w 432"/>
                <a:gd name="T77" fmla="*/ 222 h 248"/>
                <a:gd name="T78" fmla="*/ 123 w 432"/>
                <a:gd name="T79" fmla="*/ 227 h 248"/>
                <a:gd name="T80" fmla="*/ 123 w 432"/>
                <a:gd name="T81" fmla="*/ 2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2" h="248">
                  <a:moveTo>
                    <a:pt x="189" y="5"/>
                  </a:moveTo>
                  <a:lnTo>
                    <a:pt x="206" y="0"/>
                  </a:lnTo>
                  <a:lnTo>
                    <a:pt x="215" y="0"/>
                  </a:lnTo>
                  <a:lnTo>
                    <a:pt x="189" y="5"/>
                  </a:lnTo>
                  <a:lnTo>
                    <a:pt x="189" y="5"/>
                  </a:lnTo>
                  <a:lnTo>
                    <a:pt x="189" y="5"/>
                  </a:lnTo>
                  <a:close/>
                  <a:moveTo>
                    <a:pt x="54" y="182"/>
                  </a:moveTo>
                  <a:lnTo>
                    <a:pt x="43" y="166"/>
                  </a:lnTo>
                  <a:lnTo>
                    <a:pt x="43" y="173"/>
                  </a:lnTo>
                  <a:lnTo>
                    <a:pt x="26" y="149"/>
                  </a:lnTo>
                  <a:lnTo>
                    <a:pt x="0" y="149"/>
                  </a:lnTo>
                  <a:lnTo>
                    <a:pt x="17" y="128"/>
                  </a:lnTo>
                  <a:lnTo>
                    <a:pt x="9" y="116"/>
                  </a:lnTo>
                  <a:lnTo>
                    <a:pt x="17" y="100"/>
                  </a:lnTo>
                  <a:lnTo>
                    <a:pt x="80" y="57"/>
                  </a:lnTo>
                  <a:lnTo>
                    <a:pt x="85" y="57"/>
                  </a:lnTo>
                  <a:lnTo>
                    <a:pt x="118" y="38"/>
                  </a:lnTo>
                  <a:lnTo>
                    <a:pt x="135" y="45"/>
                  </a:lnTo>
                  <a:lnTo>
                    <a:pt x="139" y="38"/>
                  </a:lnTo>
                  <a:lnTo>
                    <a:pt x="210" y="45"/>
                  </a:lnTo>
                  <a:lnTo>
                    <a:pt x="243" y="38"/>
                  </a:lnTo>
                  <a:lnTo>
                    <a:pt x="243" y="29"/>
                  </a:lnTo>
                  <a:lnTo>
                    <a:pt x="231" y="29"/>
                  </a:lnTo>
                  <a:lnTo>
                    <a:pt x="269" y="38"/>
                  </a:lnTo>
                  <a:lnTo>
                    <a:pt x="302" y="29"/>
                  </a:lnTo>
                  <a:lnTo>
                    <a:pt x="324" y="38"/>
                  </a:lnTo>
                  <a:lnTo>
                    <a:pt x="335" y="45"/>
                  </a:lnTo>
                  <a:lnTo>
                    <a:pt x="340" y="45"/>
                  </a:lnTo>
                  <a:lnTo>
                    <a:pt x="340" y="38"/>
                  </a:lnTo>
                  <a:lnTo>
                    <a:pt x="357" y="45"/>
                  </a:lnTo>
                  <a:lnTo>
                    <a:pt x="390" y="74"/>
                  </a:lnTo>
                  <a:lnTo>
                    <a:pt x="357" y="62"/>
                  </a:lnTo>
                  <a:lnTo>
                    <a:pt x="373" y="78"/>
                  </a:lnTo>
                  <a:lnTo>
                    <a:pt x="390" y="83"/>
                  </a:lnTo>
                  <a:lnTo>
                    <a:pt x="373" y="78"/>
                  </a:lnTo>
                  <a:lnTo>
                    <a:pt x="378" y="74"/>
                  </a:lnTo>
                  <a:lnTo>
                    <a:pt x="394" y="83"/>
                  </a:lnTo>
                  <a:lnTo>
                    <a:pt x="411" y="83"/>
                  </a:lnTo>
                  <a:lnTo>
                    <a:pt x="406" y="83"/>
                  </a:lnTo>
                  <a:lnTo>
                    <a:pt x="406" y="95"/>
                  </a:lnTo>
                  <a:lnTo>
                    <a:pt x="411" y="83"/>
                  </a:lnTo>
                  <a:lnTo>
                    <a:pt x="406" y="78"/>
                  </a:lnTo>
                  <a:lnTo>
                    <a:pt x="423" y="83"/>
                  </a:lnTo>
                  <a:lnTo>
                    <a:pt x="428" y="100"/>
                  </a:lnTo>
                  <a:lnTo>
                    <a:pt x="432" y="100"/>
                  </a:lnTo>
                  <a:lnTo>
                    <a:pt x="411" y="100"/>
                  </a:lnTo>
                  <a:lnTo>
                    <a:pt x="390" y="116"/>
                  </a:lnTo>
                  <a:lnTo>
                    <a:pt x="340" y="133"/>
                  </a:lnTo>
                  <a:lnTo>
                    <a:pt x="314" y="116"/>
                  </a:lnTo>
                  <a:lnTo>
                    <a:pt x="298" y="149"/>
                  </a:lnTo>
                  <a:lnTo>
                    <a:pt x="298" y="149"/>
                  </a:lnTo>
                  <a:lnTo>
                    <a:pt x="260" y="182"/>
                  </a:lnTo>
                  <a:lnTo>
                    <a:pt x="260" y="189"/>
                  </a:lnTo>
                  <a:lnTo>
                    <a:pt x="231" y="173"/>
                  </a:lnTo>
                  <a:lnTo>
                    <a:pt x="210" y="194"/>
                  </a:lnTo>
                  <a:lnTo>
                    <a:pt x="177" y="194"/>
                  </a:lnTo>
                  <a:lnTo>
                    <a:pt x="189" y="227"/>
                  </a:lnTo>
                  <a:lnTo>
                    <a:pt x="172" y="239"/>
                  </a:lnTo>
                  <a:lnTo>
                    <a:pt x="161" y="248"/>
                  </a:lnTo>
                  <a:lnTo>
                    <a:pt x="139" y="248"/>
                  </a:lnTo>
                  <a:lnTo>
                    <a:pt x="123" y="227"/>
                  </a:lnTo>
                  <a:lnTo>
                    <a:pt x="135" y="222"/>
                  </a:lnTo>
                  <a:lnTo>
                    <a:pt x="123" y="227"/>
                  </a:lnTo>
                  <a:lnTo>
                    <a:pt x="118" y="222"/>
                  </a:lnTo>
                  <a:lnTo>
                    <a:pt x="118" y="222"/>
                  </a:lnTo>
                  <a:lnTo>
                    <a:pt x="109" y="222"/>
                  </a:lnTo>
                  <a:lnTo>
                    <a:pt x="118" y="211"/>
                  </a:lnTo>
                  <a:lnTo>
                    <a:pt x="109" y="211"/>
                  </a:lnTo>
                  <a:lnTo>
                    <a:pt x="118" y="189"/>
                  </a:lnTo>
                  <a:lnTo>
                    <a:pt x="109" y="182"/>
                  </a:lnTo>
                  <a:lnTo>
                    <a:pt x="97" y="189"/>
                  </a:lnTo>
                  <a:lnTo>
                    <a:pt x="85" y="182"/>
                  </a:lnTo>
                  <a:lnTo>
                    <a:pt x="64" y="189"/>
                  </a:lnTo>
                  <a:lnTo>
                    <a:pt x="54" y="182"/>
                  </a:lnTo>
                  <a:lnTo>
                    <a:pt x="54" y="182"/>
                  </a:lnTo>
                  <a:lnTo>
                    <a:pt x="54" y="182"/>
                  </a:lnTo>
                  <a:close/>
                  <a:moveTo>
                    <a:pt x="123" y="227"/>
                  </a:moveTo>
                  <a:lnTo>
                    <a:pt x="118" y="222"/>
                  </a:lnTo>
                  <a:lnTo>
                    <a:pt x="123" y="222"/>
                  </a:lnTo>
                  <a:lnTo>
                    <a:pt x="123" y="227"/>
                  </a:lnTo>
                  <a:lnTo>
                    <a:pt x="123" y="227"/>
                  </a:lnTo>
                  <a:lnTo>
                    <a:pt x="123" y="22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5" name="Freeform 464">
              <a:extLst>
                <a:ext uri="{FF2B5EF4-FFF2-40B4-BE49-F238E27FC236}">
                  <a16:creationId xmlns:a16="http://schemas.microsoft.com/office/drawing/2014/main" id="{BFF6FBF4-6B2B-4017-B8EB-00C241B580FB}"/>
                </a:ext>
              </a:extLst>
            </p:cNvPr>
            <p:cNvSpPr>
              <a:spLocks noEditPoints="1"/>
            </p:cNvSpPr>
            <p:nvPr/>
          </p:nvSpPr>
          <p:spPr bwMode="gray">
            <a:xfrm>
              <a:off x="14053788" y="2929265"/>
              <a:ext cx="138446" cy="119136"/>
            </a:xfrm>
            <a:custGeom>
              <a:avLst/>
              <a:gdLst>
                <a:gd name="T0" fmla="*/ 82 w 423"/>
                <a:gd name="T1" fmla="*/ 83 h 364"/>
                <a:gd name="T2" fmla="*/ 125 w 423"/>
                <a:gd name="T3" fmla="*/ 95 h 364"/>
                <a:gd name="T4" fmla="*/ 125 w 423"/>
                <a:gd name="T5" fmla="*/ 71 h 364"/>
                <a:gd name="T6" fmla="*/ 151 w 423"/>
                <a:gd name="T7" fmla="*/ 38 h 364"/>
                <a:gd name="T8" fmla="*/ 196 w 423"/>
                <a:gd name="T9" fmla="*/ 0 h 364"/>
                <a:gd name="T10" fmla="*/ 264 w 423"/>
                <a:gd name="T11" fmla="*/ 54 h 364"/>
                <a:gd name="T12" fmla="*/ 340 w 423"/>
                <a:gd name="T13" fmla="*/ 71 h 364"/>
                <a:gd name="T14" fmla="*/ 378 w 423"/>
                <a:gd name="T15" fmla="*/ 88 h 364"/>
                <a:gd name="T16" fmla="*/ 389 w 423"/>
                <a:gd name="T17" fmla="*/ 104 h 364"/>
                <a:gd name="T18" fmla="*/ 389 w 423"/>
                <a:gd name="T19" fmla="*/ 149 h 364"/>
                <a:gd name="T20" fmla="*/ 356 w 423"/>
                <a:gd name="T21" fmla="*/ 137 h 364"/>
                <a:gd name="T22" fmla="*/ 260 w 423"/>
                <a:gd name="T23" fmla="*/ 128 h 364"/>
                <a:gd name="T24" fmla="*/ 212 w 423"/>
                <a:gd name="T25" fmla="*/ 121 h 364"/>
                <a:gd name="T26" fmla="*/ 163 w 423"/>
                <a:gd name="T27" fmla="*/ 128 h 364"/>
                <a:gd name="T28" fmla="*/ 189 w 423"/>
                <a:gd name="T29" fmla="*/ 199 h 364"/>
                <a:gd name="T30" fmla="*/ 243 w 423"/>
                <a:gd name="T31" fmla="*/ 260 h 364"/>
                <a:gd name="T32" fmla="*/ 286 w 423"/>
                <a:gd name="T33" fmla="*/ 310 h 364"/>
                <a:gd name="T34" fmla="*/ 243 w 423"/>
                <a:gd name="T35" fmla="*/ 276 h 364"/>
                <a:gd name="T36" fmla="*/ 175 w 423"/>
                <a:gd name="T37" fmla="*/ 253 h 364"/>
                <a:gd name="T38" fmla="*/ 108 w 423"/>
                <a:gd name="T39" fmla="*/ 203 h 364"/>
                <a:gd name="T40" fmla="*/ 141 w 423"/>
                <a:gd name="T41" fmla="*/ 203 h 364"/>
                <a:gd name="T42" fmla="*/ 104 w 423"/>
                <a:gd name="T43" fmla="*/ 144 h 364"/>
                <a:gd name="T44" fmla="*/ 54 w 423"/>
                <a:gd name="T45" fmla="*/ 111 h 364"/>
                <a:gd name="T46" fmla="*/ 12 w 423"/>
                <a:gd name="T47" fmla="*/ 128 h 364"/>
                <a:gd name="T48" fmla="*/ 12 w 423"/>
                <a:gd name="T49" fmla="*/ 95 h 364"/>
                <a:gd name="T50" fmla="*/ 66 w 423"/>
                <a:gd name="T51" fmla="*/ 137 h 364"/>
                <a:gd name="T52" fmla="*/ 87 w 423"/>
                <a:gd name="T53" fmla="*/ 144 h 364"/>
                <a:gd name="T54" fmla="*/ 71 w 423"/>
                <a:gd name="T55" fmla="*/ 177 h 364"/>
                <a:gd name="T56" fmla="*/ 54 w 423"/>
                <a:gd name="T57" fmla="*/ 128 h 364"/>
                <a:gd name="T58" fmla="*/ 71 w 423"/>
                <a:gd name="T59" fmla="*/ 177 h 364"/>
                <a:gd name="T60" fmla="*/ 87 w 423"/>
                <a:gd name="T61" fmla="*/ 165 h 364"/>
                <a:gd name="T62" fmla="*/ 87 w 423"/>
                <a:gd name="T63" fmla="*/ 165 h 364"/>
                <a:gd name="T64" fmla="*/ 120 w 423"/>
                <a:gd name="T65" fmla="*/ 236 h 364"/>
                <a:gd name="T66" fmla="*/ 120 w 423"/>
                <a:gd name="T67" fmla="*/ 236 h 364"/>
                <a:gd name="T68" fmla="*/ 226 w 423"/>
                <a:gd name="T69" fmla="*/ 293 h 364"/>
                <a:gd name="T70" fmla="*/ 243 w 423"/>
                <a:gd name="T71" fmla="*/ 288 h 364"/>
                <a:gd name="T72" fmla="*/ 226 w 423"/>
                <a:gd name="T73" fmla="*/ 293 h 364"/>
                <a:gd name="T74" fmla="*/ 260 w 423"/>
                <a:gd name="T75" fmla="*/ 305 h 364"/>
                <a:gd name="T76" fmla="*/ 248 w 423"/>
                <a:gd name="T77" fmla="*/ 310 h 364"/>
                <a:gd name="T78" fmla="*/ 196 w 423"/>
                <a:gd name="T79" fmla="*/ 310 h 364"/>
                <a:gd name="T80" fmla="*/ 179 w 423"/>
                <a:gd name="T81" fmla="*/ 314 h 364"/>
                <a:gd name="T82" fmla="*/ 352 w 423"/>
                <a:gd name="T83" fmla="*/ 359 h 364"/>
                <a:gd name="T84" fmla="*/ 314 w 423"/>
                <a:gd name="T85" fmla="*/ 331 h 364"/>
                <a:gd name="T86" fmla="*/ 286 w 423"/>
                <a:gd name="T87" fmla="*/ 326 h 364"/>
                <a:gd name="T88" fmla="*/ 217 w 423"/>
                <a:gd name="T89" fmla="*/ 314 h 364"/>
                <a:gd name="T90" fmla="*/ 234 w 423"/>
                <a:gd name="T91" fmla="*/ 326 h 364"/>
                <a:gd name="T92" fmla="*/ 234 w 423"/>
                <a:gd name="T93" fmla="*/ 331 h 364"/>
                <a:gd name="T94" fmla="*/ 243 w 423"/>
                <a:gd name="T95" fmla="*/ 343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3" h="364">
                  <a:moveTo>
                    <a:pt x="12" y="95"/>
                  </a:moveTo>
                  <a:lnTo>
                    <a:pt x="66" y="95"/>
                  </a:lnTo>
                  <a:lnTo>
                    <a:pt x="82" y="83"/>
                  </a:lnTo>
                  <a:lnTo>
                    <a:pt x="99" y="95"/>
                  </a:lnTo>
                  <a:lnTo>
                    <a:pt x="120" y="104"/>
                  </a:lnTo>
                  <a:lnTo>
                    <a:pt x="125" y="95"/>
                  </a:lnTo>
                  <a:lnTo>
                    <a:pt x="137" y="83"/>
                  </a:lnTo>
                  <a:lnTo>
                    <a:pt x="125" y="83"/>
                  </a:lnTo>
                  <a:lnTo>
                    <a:pt x="125" y="71"/>
                  </a:lnTo>
                  <a:lnTo>
                    <a:pt x="158" y="66"/>
                  </a:lnTo>
                  <a:lnTo>
                    <a:pt x="158" y="50"/>
                  </a:lnTo>
                  <a:lnTo>
                    <a:pt x="151" y="38"/>
                  </a:lnTo>
                  <a:lnTo>
                    <a:pt x="151" y="33"/>
                  </a:lnTo>
                  <a:lnTo>
                    <a:pt x="196" y="17"/>
                  </a:lnTo>
                  <a:lnTo>
                    <a:pt x="196" y="0"/>
                  </a:lnTo>
                  <a:lnTo>
                    <a:pt x="217" y="12"/>
                  </a:lnTo>
                  <a:lnTo>
                    <a:pt x="260" y="33"/>
                  </a:lnTo>
                  <a:lnTo>
                    <a:pt x="264" y="54"/>
                  </a:lnTo>
                  <a:lnTo>
                    <a:pt x="286" y="54"/>
                  </a:lnTo>
                  <a:lnTo>
                    <a:pt x="297" y="66"/>
                  </a:lnTo>
                  <a:lnTo>
                    <a:pt x="340" y="71"/>
                  </a:lnTo>
                  <a:lnTo>
                    <a:pt x="373" y="54"/>
                  </a:lnTo>
                  <a:lnTo>
                    <a:pt x="378" y="71"/>
                  </a:lnTo>
                  <a:lnTo>
                    <a:pt x="378" y="88"/>
                  </a:lnTo>
                  <a:lnTo>
                    <a:pt x="394" y="95"/>
                  </a:lnTo>
                  <a:lnTo>
                    <a:pt x="389" y="95"/>
                  </a:lnTo>
                  <a:lnTo>
                    <a:pt x="389" y="104"/>
                  </a:lnTo>
                  <a:lnTo>
                    <a:pt x="423" y="121"/>
                  </a:lnTo>
                  <a:lnTo>
                    <a:pt x="394" y="121"/>
                  </a:lnTo>
                  <a:lnTo>
                    <a:pt x="389" y="149"/>
                  </a:lnTo>
                  <a:lnTo>
                    <a:pt x="373" y="149"/>
                  </a:lnTo>
                  <a:lnTo>
                    <a:pt x="373" y="144"/>
                  </a:lnTo>
                  <a:lnTo>
                    <a:pt x="356" y="137"/>
                  </a:lnTo>
                  <a:lnTo>
                    <a:pt x="335" y="128"/>
                  </a:lnTo>
                  <a:lnTo>
                    <a:pt x="302" y="137"/>
                  </a:lnTo>
                  <a:lnTo>
                    <a:pt x="260" y="128"/>
                  </a:lnTo>
                  <a:lnTo>
                    <a:pt x="243" y="121"/>
                  </a:lnTo>
                  <a:lnTo>
                    <a:pt x="234" y="121"/>
                  </a:lnTo>
                  <a:lnTo>
                    <a:pt x="212" y="121"/>
                  </a:lnTo>
                  <a:lnTo>
                    <a:pt x="196" y="144"/>
                  </a:lnTo>
                  <a:lnTo>
                    <a:pt x="179" y="121"/>
                  </a:lnTo>
                  <a:lnTo>
                    <a:pt x="163" y="128"/>
                  </a:lnTo>
                  <a:lnTo>
                    <a:pt x="158" y="161"/>
                  </a:lnTo>
                  <a:lnTo>
                    <a:pt x="189" y="182"/>
                  </a:lnTo>
                  <a:lnTo>
                    <a:pt x="189" y="199"/>
                  </a:lnTo>
                  <a:lnTo>
                    <a:pt x="189" y="215"/>
                  </a:lnTo>
                  <a:lnTo>
                    <a:pt x="212" y="232"/>
                  </a:lnTo>
                  <a:lnTo>
                    <a:pt x="243" y="260"/>
                  </a:lnTo>
                  <a:lnTo>
                    <a:pt x="264" y="276"/>
                  </a:lnTo>
                  <a:lnTo>
                    <a:pt x="264" y="293"/>
                  </a:lnTo>
                  <a:lnTo>
                    <a:pt x="286" y="310"/>
                  </a:lnTo>
                  <a:lnTo>
                    <a:pt x="297" y="314"/>
                  </a:lnTo>
                  <a:lnTo>
                    <a:pt x="286" y="314"/>
                  </a:lnTo>
                  <a:lnTo>
                    <a:pt x="243" y="276"/>
                  </a:lnTo>
                  <a:lnTo>
                    <a:pt x="205" y="272"/>
                  </a:lnTo>
                  <a:lnTo>
                    <a:pt x="175" y="272"/>
                  </a:lnTo>
                  <a:lnTo>
                    <a:pt x="175" y="253"/>
                  </a:lnTo>
                  <a:lnTo>
                    <a:pt x="137" y="236"/>
                  </a:lnTo>
                  <a:lnTo>
                    <a:pt x="120" y="215"/>
                  </a:lnTo>
                  <a:lnTo>
                    <a:pt x="108" y="203"/>
                  </a:lnTo>
                  <a:lnTo>
                    <a:pt x="125" y="203"/>
                  </a:lnTo>
                  <a:lnTo>
                    <a:pt x="125" y="199"/>
                  </a:lnTo>
                  <a:lnTo>
                    <a:pt x="141" y="203"/>
                  </a:lnTo>
                  <a:lnTo>
                    <a:pt x="104" y="177"/>
                  </a:lnTo>
                  <a:lnTo>
                    <a:pt x="99" y="165"/>
                  </a:lnTo>
                  <a:lnTo>
                    <a:pt x="104" y="144"/>
                  </a:lnTo>
                  <a:lnTo>
                    <a:pt x="99" y="128"/>
                  </a:lnTo>
                  <a:lnTo>
                    <a:pt x="71" y="111"/>
                  </a:lnTo>
                  <a:lnTo>
                    <a:pt x="54" y="111"/>
                  </a:lnTo>
                  <a:lnTo>
                    <a:pt x="49" y="144"/>
                  </a:lnTo>
                  <a:lnTo>
                    <a:pt x="28" y="161"/>
                  </a:lnTo>
                  <a:lnTo>
                    <a:pt x="12" y="128"/>
                  </a:lnTo>
                  <a:lnTo>
                    <a:pt x="0" y="95"/>
                  </a:lnTo>
                  <a:lnTo>
                    <a:pt x="12" y="95"/>
                  </a:lnTo>
                  <a:lnTo>
                    <a:pt x="12" y="95"/>
                  </a:lnTo>
                  <a:lnTo>
                    <a:pt x="12" y="95"/>
                  </a:lnTo>
                  <a:close/>
                  <a:moveTo>
                    <a:pt x="87" y="144"/>
                  </a:moveTo>
                  <a:lnTo>
                    <a:pt x="66" y="137"/>
                  </a:lnTo>
                  <a:lnTo>
                    <a:pt x="71" y="121"/>
                  </a:lnTo>
                  <a:lnTo>
                    <a:pt x="99" y="144"/>
                  </a:lnTo>
                  <a:lnTo>
                    <a:pt x="87" y="144"/>
                  </a:lnTo>
                  <a:lnTo>
                    <a:pt x="87" y="144"/>
                  </a:lnTo>
                  <a:lnTo>
                    <a:pt x="87" y="144"/>
                  </a:lnTo>
                  <a:close/>
                  <a:moveTo>
                    <a:pt x="71" y="177"/>
                  </a:moveTo>
                  <a:lnTo>
                    <a:pt x="54" y="149"/>
                  </a:lnTo>
                  <a:lnTo>
                    <a:pt x="66" y="149"/>
                  </a:lnTo>
                  <a:lnTo>
                    <a:pt x="54" y="128"/>
                  </a:lnTo>
                  <a:lnTo>
                    <a:pt x="54" y="128"/>
                  </a:lnTo>
                  <a:lnTo>
                    <a:pt x="71" y="144"/>
                  </a:lnTo>
                  <a:lnTo>
                    <a:pt x="71" y="177"/>
                  </a:lnTo>
                  <a:lnTo>
                    <a:pt x="71" y="177"/>
                  </a:lnTo>
                  <a:lnTo>
                    <a:pt x="71" y="177"/>
                  </a:lnTo>
                  <a:close/>
                  <a:moveTo>
                    <a:pt x="87" y="165"/>
                  </a:moveTo>
                  <a:lnTo>
                    <a:pt x="125" y="199"/>
                  </a:lnTo>
                  <a:lnTo>
                    <a:pt x="108" y="199"/>
                  </a:lnTo>
                  <a:lnTo>
                    <a:pt x="87" y="165"/>
                  </a:lnTo>
                  <a:lnTo>
                    <a:pt x="87" y="165"/>
                  </a:lnTo>
                  <a:lnTo>
                    <a:pt x="87" y="165"/>
                  </a:lnTo>
                  <a:close/>
                  <a:moveTo>
                    <a:pt x="120" y="236"/>
                  </a:moveTo>
                  <a:lnTo>
                    <a:pt x="99" y="215"/>
                  </a:lnTo>
                  <a:lnTo>
                    <a:pt x="108" y="220"/>
                  </a:lnTo>
                  <a:lnTo>
                    <a:pt x="120" y="236"/>
                  </a:lnTo>
                  <a:lnTo>
                    <a:pt x="120" y="236"/>
                  </a:lnTo>
                  <a:lnTo>
                    <a:pt x="120" y="236"/>
                  </a:lnTo>
                  <a:close/>
                  <a:moveTo>
                    <a:pt x="226" y="293"/>
                  </a:moveTo>
                  <a:lnTo>
                    <a:pt x="205" y="288"/>
                  </a:lnTo>
                  <a:lnTo>
                    <a:pt x="205" y="288"/>
                  </a:lnTo>
                  <a:lnTo>
                    <a:pt x="243" y="288"/>
                  </a:lnTo>
                  <a:lnTo>
                    <a:pt x="226" y="293"/>
                  </a:lnTo>
                  <a:lnTo>
                    <a:pt x="226" y="293"/>
                  </a:lnTo>
                  <a:lnTo>
                    <a:pt x="226" y="293"/>
                  </a:lnTo>
                  <a:close/>
                  <a:moveTo>
                    <a:pt x="248" y="310"/>
                  </a:moveTo>
                  <a:lnTo>
                    <a:pt x="205" y="305"/>
                  </a:lnTo>
                  <a:lnTo>
                    <a:pt x="260" y="305"/>
                  </a:lnTo>
                  <a:lnTo>
                    <a:pt x="248" y="310"/>
                  </a:lnTo>
                  <a:lnTo>
                    <a:pt x="248" y="310"/>
                  </a:lnTo>
                  <a:lnTo>
                    <a:pt x="248" y="310"/>
                  </a:lnTo>
                  <a:close/>
                  <a:moveTo>
                    <a:pt x="179" y="314"/>
                  </a:moveTo>
                  <a:lnTo>
                    <a:pt x="179" y="310"/>
                  </a:lnTo>
                  <a:lnTo>
                    <a:pt x="196" y="310"/>
                  </a:lnTo>
                  <a:lnTo>
                    <a:pt x="179" y="314"/>
                  </a:lnTo>
                  <a:lnTo>
                    <a:pt x="179" y="314"/>
                  </a:lnTo>
                  <a:lnTo>
                    <a:pt x="179" y="314"/>
                  </a:lnTo>
                  <a:close/>
                  <a:moveTo>
                    <a:pt x="286" y="326"/>
                  </a:moveTo>
                  <a:lnTo>
                    <a:pt x="302" y="326"/>
                  </a:lnTo>
                  <a:lnTo>
                    <a:pt x="352" y="359"/>
                  </a:lnTo>
                  <a:lnTo>
                    <a:pt x="352" y="364"/>
                  </a:lnTo>
                  <a:lnTo>
                    <a:pt x="352" y="364"/>
                  </a:lnTo>
                  <a:lnTo>
                    <a:pt x="314" y="331"/>
                  </a:lnTo>
                  <a:lnTo>
                    <a:pt x="248" y="310"/>
                  </a:lnTo>
                  <a:lnTo>
                    <a:pt x="286" y="326"/>
                  </a:lnTo>
                  <a:lnTo>
                    <a:pt x="286" y="326"/>
                  </a:lnTo>
                  <a:lnTo>
                    <a:pt x="286" y="326"/>
                  </a:lnTo>
                  <a:close/>
                  <a:moveTo>
                    <a:pt x="234" y="326"/>
                  </a:moveTo>
                  <a:lnTo>
                    <a:pt x="217" y="314"/>
                  </a:lnTo>
                  <a:lnTo>
                    <a:pt x="260" y="326"/>
                  </a:lnTo>
                  <a:lnTo>
                    <a:pt x="234" y="326"/>
                  </a:lnTo>
                  <a:lnTo>
                    <a:pt x="234" y="326"/>
                  </a:lnTo>
                  <a:lnTo>
                    <a:pt x="234" y="326"/>
                  </a:lnTo>
                  <a:close/>
                  <a:moveTo>
                    <a:pt x="243" y="343"/>
                  </a:moveTo>
                  <a:lnTo>
                    <a:pt x="234" y="331"/>
                  </a:lnTo>
                  <a:lnTo>
                    <a:pt x="243" y="331"/>
                  </a:lnTo>
                  <a:lnTo>
                    <a:pt x="243" y="343"/>
                  </a:lnTo>
                  <a:lnTo>
                    <a:pt x="243" y="343"/>
                  </a:lnTo>
                  <a:lnTo>
                    <a:pt x="243" y="343"/>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6" name="Freeform 465">
              <a:extLst>
                <a:ext uri="{FF2B5EF4-FFF2-40B4-BE49-F238E27FC236}">
                  <a16:creationId xmlns:a16="http://schemas.microsoft.com/office/drawing/2014/main" id="{A24C30FE-4653-4AE7-A024-A3855A05A048}"/>
                </a:ext>
              </a:extLst>
            </p:cNvPr>
            <p:cNvSpPr>
              <a:spLocks/>
            </p:cNvSpPr>
            <p:nvPr/>
          </p:nvSpPr>
          <p:spPr bwMode="gray">
            <a:xfrm>
              <a:off x="14111720" y="2869042"/>
              <a:ext cx="156775" cy="84115"/>
            </a:xfrm>
            <a:custGeom>
              <a:avLst/>
              <a:gdLst>
                <a:gd name="T0" fmla="*/ 298 w 479"/>
                <a:gd name="T1" fmla="*/ 224 h 257"/>
                <a:gd name="T2" fmla="*/ 248 w 479"/>
                <a:gd name="T3" fmla="*/ 217 h 257"/>
                <a:gd name="T4" fmla="*/ 227 w 479"/>
                <a:gd name="T5" fmla="*/ 234 h 257"/>
                <a:gd name="T6" fmla="*/ 215 w 479"/>
                <a:gd name="T7" fmla="*/ 234 h 257"/>
                <a:gd name="T8" fmla="*/ 194 w 479"/>
                <a:gd name="T9" fmla="*/ 241 h 257"/>
                <a:gd name="T10" fmla="*/ 163 w 479"/>
                <a:gd name="T11" fmla="*/ 257 h 257"/>
                <a:gd name="T12" fmla="*/ 118 w 479"/>
                <a:gd name="T13" fmla="*/ 250 h 257"/>
                <a:gd name="T14" fmla="*/ 109 w 479"/>
                <a:gd name="T15" fmla="*/ 241 h 257"/>
                <a:gd name="T16" fmla="*/ 87 w 479"/>
                <a:gd name="T17" fmla="*/ 241 h 257"/>
                <a:gd name="T18" fmla="*/ 80 w 479"/>
                <a:gd name="T19" fmla="*/ 217 h 257"/>
                <a:gd name="T20" fmla="*/ 38 w 479"/>
                <a:gd name="T21" fmla="*/ 196 h 257"/>
                <a:gd name="T22" fmla="*/ 16 w 479"/>
                <a:gd name="T23" fmla="*/ 168 h 257"/>
                <a:gd name="T24" fmla="*/ 26 w 479"/>
                <a:gd name="T25" fmla="*/ 160 h 257"/>
                <a:gd name="T26" fmla="*/ 0 w 479"/>
                <a:gd name="T27" fmla="*/ 156 h 257"/>
                <a:gd name="T28" fmla="*/ 16 w 479"/>
                <a:gd name="T29" fmla="*/ 144 h 257"/>
                <a:gd name="T30" fmla="*/ 33 w 479"/>
                <a:gd name="T31" fmla="*/ 144 h 257"/>
                <a:gd name="T32" fmla="*/ 26 w 479"/>
                <a:gd name="T33" fmla="*/ 123 h 257"/>
                <a:gd name="T34" fmla="*/ 33 w 479"/>
                <a:gd name="T35" fmla="*/ 123 h 257"/>
                <a:gd name="T36" fmla="*/ 33 w 479"/>
                <a:gd name="T37" fmla="*/ 106 h 257"/>
                <a:gd name="T38" fmla="*/ 49 w 479"/>
                <a:gd name="T39" fmla="*/ 99 h 257"/>
                <a:gd name="T40" fmla="*/ 33 w 479"/>
                <a:gd name="T41" fmla="*/ 83 h 257"/>
                <a:gd name="T42" fmla="*/ 38 w 479"/>
                <a:gd name="T43" fmla="*/ 73 h 257"/>
                <a:gd name="T44" fmla="*/ 49 w 479"/>
                <a:gd name="T45" fmla="*/ 83 h 257"/>
                <a:gd name="T46" fmla="*/ 71 w 479"/>
                <a:gd name="T47" fmla="*/ 83 h 257"/>
                <a:gd name="T48" fmla="*/ 80 w 479"/>
                <a:gd name="T49" fmla="*/ 49 h 257"/>
                <a:gd name="T50" fmla="*/ 92 w 479"/>
                <a:gd name="T51" fmla="*/ 49 h 257"/>
                <a:gd name="T52" fmla="*/ 125 w 479"/>
                <a:gd name="T53" fmla="*/ 73 h 257"/>
                <a:gd name="T54" fmla="*/ 156 w 479"/>
                <a:gd name="T55" fmla="*/ 73 h 257"/>
                <a:gd name="T56" fmla="*/ 194 w 479"/>
                <a:gd name="T57" fmla="*/ 66 h 257"/>
                <a:gd name="T58" fmla="*/ 194 w 479"/>
                <a:gd name="T59" fmla="*/ 54 h 257"/>
                <a:gd name="T60" fmla="*/ 210 w 479"/>
                <a:gd name="T61" fmla="*/ 49 h 257"/>
                <a:gd name="T62" fmla="*/ 243 w 479"/>
                <a:gd name="T63" fmla="*/ 45 h 257"/>
                <a:gd name="T64" fmla="*/ 248 w 479"/>
                <a:gd name="T65" fmla="*/ 33 h 257"/>
                <a:gd name="T66" fmla="*/ 269 w 479"/>
                <a:gd name="T67" fmla="*/ 45 h 257"/>
                <a:gd name="T68" fmla="*/ 302 w 479"/>
                <a:gd name="T69" fmla="*/ 28 h 257"/>
                <a:gd name="T70" fmla="*/ 319 w 479"/>
                <a:gd name="T71" fmla="*/ 0 h 257"/>
                <a:gd name="T72" fmla="*/ 323 w 479"/>
                <a:gd name="T73" fmla="*/ 0 h 257"/>
                <a:gd name="T74" fmla="*/ 357 w 479"/>
                <a:gd name="T75" fmla="*/ 0 h 257"/>
                <a:gd name="T76" fmla="*/ 378 w 479"/>
                <a:gd name="T77" fmla="*/ 0 h 257"/>
                <a:gd name="T78" fmla="*/ 404 w 479"/>
                <a:gd name="T79" fmla="*/ 16 h 257"/>
                <a:gd name="T80" fmla="*/ 427 w 479"/>
                <a:gd name="T81" fmla="*/ 16 h 257"/>
                <a:gd name="T82" fmla="*/ 432 w 479"/>
                <a:gd name="T83" fmla="*/ 16 h 257"/>
                <a:gd name="T84" fmla="*/ 465 w 479"/>
                <a:gd name="T85" fmla="*/ 45 h 257"/>
                <a:gd name="T86" fmla="*/ 475 w 479"/>
                <a:gd name="T87" fmla="*/ 45 h 257"/>
                <a:gd name="T88" fmla="*/ 479 w 479"/>
                <a:gd name="T89" fmla="*/ 54 h 257"/>
                <a:gd name="T90" fmla="*/ 465 w 479"/>
                <a:gd name="T91" fmla="*/ 73 h 257"/>
                <a:gd name="T92" fmla="*/ 442 w 479"/>
                <a:gd name="T93" fmla="*/ 83 h 257"/>
                <a:gd name="T94" fmla="*/ 420 w 479"/>
                <a:gd name="T95" fmla="*/ 99 h 257"/>
                <a:gd name="T96" fmla="*/ 420 w 479"/>
                <a:gd name="T97" fmla="*/ 111 h 257"/>
                <a:gd name="T98" fmla="*/ 394 w 479"/>
                <a:gd name="T99" fmla="*/ 144 h 257"/>
                <a:gd name="T100" fmla="*/ 390 w 479"/>
                <a:gd name="T101" fmla="*/ 168 h 257"/>
                <a:gd name="T102" fmla="*/ 373 w 479"/>
                <a:gd name="T103" fmla="*/ 179 h 257"/>
                <a:gd name="T104" fmla="*/ 366 w 479"/>
                <a:gd name="T105" fmla="*/ 212 h 257"/>
                <a:gd name="T106" fmla="*/ 335 w 479"/>
                <a:gd name="T107" fmla="*/ 212 h 257"/>
                <a:gd name="T108" fmla="*/ 323 w 479"/>
                <a:gd name="T109" fmla="*/ 224 h 257"/>
                <a:gd name="T110" fmla="*/ 314 w 479"/>
                <a:gd name="T111" fmla="*/ 217 h 257"/>
                <a:gd name="T112" fmla="*/ 298 w 479"/>
                <a:gd name="T113" fmla="*/ 224 h 257"/>
                <a:gd name="T114" fmla="*/ 298 w 479"/>
                <a:gd name="T115" fmla="*/ 224 h 257"/>
                <a:gd name="T116" fmla="*/ 298 w 479"/>
                <a:gd name="T117" fmla="*/ 22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9" h="257">
                  <a:moveTo>
                    <a:pt x="298" y="224"/>
                  </a:moveTo>
                  <a:lnTo>
                    <a:pt x="248" y="217"/>
                  </a:lnTo>
                  <a:lnTo>
                    <a:pt x="227" y="234"/>
                  </a:lnTo>
                  <a:lnTo>
                    <a:pt x="215" y="234"/>
                  </a:lnTo>
                  <a:lnTo>
                    <a:pt x="194" y="241"/>
                  </a:lnTo>
                  <a:lnTo>
                    <a:pt x="163" y="257"/>
                  </a:lnTo>
                  <a:lnTo>
                    <a:pt x="118" y="250"/>
                  </a:lnTo>
                  <a:lnTo>
                    <a:pt x="109" y="241"/>
                  </a:lnTo>
                  <a:lnTo>
                    <a:pt x="87" y="241"/>
                  </a:lnTo>
                  <a:lnTo>
                    <a:pt x="80" y="217"/>
                  </a:lnTo>
                  <a:lnTo>
                    <a:pt x="38" y="196"/>
                  </a:lnTo>
                  <a:lnTo>
                    <a:pt x="16" y="168"/>
                  </a:lnTo>
                  <a:lnTo>
                    <a:pt x="26" y="160"/>
                  </a:lnTo>
                  <a:lnTo>
                    <a:pt x="0" y="156"/>
                  </a:lnTo>
                  <a:lnTo>
                    <a:pt x="16" y="144"/>
                  </a:lnTo>
                  <a:lnTo>
                    <a:pt x="33" y="144"/>
                  </a:lnTo>
                  <a:lnTo>
                    <a:pt x="26" y="123"/>
                  </a:lnTo>
                  <a:lnTo>
                    <a:pt x="33" y="123"/>
                  </a:lnTo>
                  <a:lnTo>
                    <a:pt x="33" y="106"/>
                  </a:lnTo>
                  <a:lnTo>
                    <a:pt x="49" y="99"/>
                  </a:lnTo>
                  <a:lnTo>
                    <a:pt x="33" y="83"/>
                  </a:lnTo>
                  <a:lnTo>
                    <a:pt x="38" y="73"/>
                  </a:lnTo>
                  <a:lnTo>
                    <a:pt x="49" y="83"/>
                  </a:lnTo>
                  <a:lnTo>
                    <a:pt x="71" y="83"/>
                  </a:lnTo>
                  <a:lnTo>
                    <a:pt x="80" y="49"/>
                  </a:lnTo>
                  <a:lnTo>
                    <a:pt x="92" y="49"/>
                  </a:lnTo>
                  <a:lnTo>
                    <a:pt x="125" y="73"/>
                  </a:lnTo>
                  <a:lnTo>
                    <a:pt x="156" y="73"/>
                  </a:lnTo>
                  <a:lnTo>
                    <a:pt x="194" y="66"/>
                  </a:lnTo>
                  <a:lnTo>
                    <a:pt x="194" y="54"/>
                  </a:lnTo>
                  <a:lnTo>
                    <a:pt x="210" y="49"/>
                  </a:lnTo>
                  <a:lnTo>
                    <a:pt x="243" y="45"/>
                  </a:lnTo>
                  <a:lnTo>
                    <a:pt x="248" y="33"/>
                  </a:lnTo>
                  <a:lnTo>
                    <a:pt x="269" y="45"/>
                  </a:lnTo>
                  <a:lnTo>
                    <a:pt x="302" y="28"/>
                  </a:lnTo>
                  <a:lnTo>
                    <a:pt x="319" y="0"/>
                  </a:lnTo>
                  <a:lnTo>
                    <a:pt x="323" y="0"/>
                  </a:lnTo>
                  <a:lnTo>
                    <a:pt x="357" y="0"/>
                  </a:lnTo>
                  <a:lnTo>
                    <a:pt x="378" y="0"/>
                  </a:lnTo>
                  <a:lnTo>
                    <a:pt x="404" y="16"/>
                  </a:lnTo>
                  <a:lnTo>
                    <a:pt x="427" y="16"/>
                  </a:lnTo>
                  <a:lnTo>
                    <a:pt x="432" y="16"/>
                  </a:lnTo>
                  <a:lnTo>
                    <a:pt x="465" y="45"/>
                  </a:lnTo>
                  <a:lnTo>
                    <a:pt x="475" y="45"/>
                  </a:lnTo>
                  <a:lnTo>
                    <a:pt x="479" y="54"/>
                  </a:lnTo>
                  <a:lnTo>
                    <a:pt x="465" y="73"/>
                  </a:lnTo>
                  <a:lnTo>
                    <a:pt x="442" y="83"/>
                  </a:lnTo>
                  <a:lnTo>
                    <a:pt x="420" y="99"/>
                  </a:lnTo>
                  <a:lnTo>
                    <a:pt x="420" y="111"/>
                  </a:lnTo>
                  <a:lnTo>
                    <a:pt x="394" y="144"/>
                  </a:lnTo>
                  <a:lnTo>
                    <a:pt x="390" y="168"/>
                  </a:lnTo>
                  <a:lnTo>
                    <a:pt x="373" y="179"/>
                  </a:lnTo>
                  <a:lnTo>
                    <a:pt x="366" y="212"/>
                  </a:lnTo>
                  <a:lnTo>
                    <a:pt x="335" y="212"/>
                  </a:lnTo>
                  <a:lnTo>
                    <a:pt x="323" y="224"/>
                  </a:lnTo>
                  <a:lnTo>
                    <a:pt x="314" y="217"/>
                  </a:lnTo>
                  <a:lnTo>
                    <a:pt x="298" y="224"/>
                  </a:lnTo>
                  <a:lnTo>
                    <a:pt x="298" y="224"/>
                  </a:lnTo>
                  <a:lnTo>
                    <a:pt x="298" y="224"/>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7" name="Freeform 466">
              <a:extLst>
                <a:ext uri="{FF2B5EF4-FFF2-40B4-BE49-F238E27FC236}">
                  <a16:creationId xmlns:a16="http://schemas.microsoft.com/office/drawing/2014/main" id="{8824F35A-2351-4504-9CDC-6B4F6E4B1F7C}"/>
                </a:ext>
              </a:extLst>
            </p:cNvPr>
            <p:cNvSpPr>
              <a:spLocks/>
            </p:cNvSpPr>
            <p:nvPr/>
          </p:nvSpPr>
          <p:spPr bwMode="gray">
            <a:xfrm>
              <a:off x="13180888" y="2252088"/>
              <a:ext cx="252673" cy="122082"/>
            </a:xfrm>
            <a:custGeom>
              <a:avLst/>
              <a:gdLst>
                <a:gd name="T0" fmla="*/ 215 w 772"/>
                <a:gd name="T1" fmla="*/ 241 h 373"/>
                <a:gd name="T2" fmla="*/ 160 w 772"/>
                <a:gd name="T3" fmla="*/ 250 h 373"/>
                <a:gd name="T4" fmla="*/ 156 w 772"/>
                <a:gd name="T5" fmla="*/ 224 h 373"/>
                <a:gd name="T6" fmla="*/ 47 w 772"/>
                <a:gd name="T7" fmla="*/ 224 h 373"/>
                <a:gd name="T8" fmla="*/ 90 w 772"/>
                <a:gd name="T9" fmla="*/ 184 h 373"/>
                <a:gd name="T10" fmla="*/ 172 w 772"/>
                <a:gd name="T11" fmla="*/ 179 h 373"/>
                <a:gd name="T12" fmla="*/ 156 w 772"/>
                <a:gd name="T13" fmla="*/ 127 h 373"/>
                <a:gd name="T14" fmla="*/ 101 w 772"/>
                <a:gd name="T15" fmla="*/ 123 h 373"/>
                <a:gd name="T16" fmla="*/ 14 w 772"/>
                <a:gd name="T17" fmla="*/ 111 h 373"/>
                <a:gd name="T18" fmla="*/ 52 w 772"/>
                <a:gd name="T19" fmla="*/ 111 h 373"/>
                <a:gd name="T20" fmla="*/ 68 w 772"/>
                <a:gd name="T21" fmla="*/ 111 h 373"/>
                <a:gd name="T22" fmla="*/ 90 w 772"/>
                <a:gd name="T23" fmla="*/ 94 h 373"/>
                <a:gd name="T24" fmla="*/ 52 w 772"/>
                <a:gd name="T25" fmla="*/ 85 h 373"/>
                <a:gd name="T26" fmla="*/ 52 w 772"/>
                <a:gd name="T27" fmla="*/ 68 h 373"/>
                <a:gd name="T28" fmla="*/ 75 w 772"/>
                <a:gd name="T29" fmla="*/ 49 h 373"/>
                <a:gd name="T30" fmla="*/ 139 w 772"/>
                <a:gd name="T31" fmla="*/ 73 h 373"/>
                <a:gd name="T32" fmla="*/ 144 w 772"/>
                <a:gd name="T33" fmla="*/ 90 h 373"/>
                <a:gd name="T34" fmla="*/ 106 w 772"/>
                <a:gd name="T35" fmla="*/ 40 h 373"/>
                <a:gd name="T36" fmla="*/ 106 w 772"/>
                <a:gd name="T37" fmla="*/ 16 h 373"/>
                <a:gd name="T38" fmla="*/ 194 w 772"/>
                <a:gd name="T39" fmla="*/ 49 h 373"/>
                <a:gd name="T40" fmla="*/ 210 w 772"/>
                <a:gd name="T41" fmla="*/ 73 h 373"/>
                <a:gd name="T42" fmla="*/ 210 w 772"/>
                <a:gd name="T43" fmla="*/ 106 h 373"/>
                <a:gd name="T44" fmla="*/ 227 w 772"/>
                <a:gd name="T45" fmla="*/ 123 h 373"/>
                <a:gd name="T46" fmla="*/ 248 w 772"/>
                <a:gd name="T47" fmla="*/ 139 h 373"/>
                <a:gd name="T48" fmla="*/ 269 w 772"/>
                <a:gd name="T49" fmla="*/ 123 h 373"/>
                <a:gd name="T50" fmla="*/ 302 w 772"/>
                <a:gd name="T51" fmla="*/ 94 h 373"/>
                <a:gd name="T52" fmla="*/ 345 w 772"/>
                <a:gd name="T53" fmla="*/ 94 h 373"/>
                <a:gd name="T54" fmla="*/ 354 w 772"/>
                <a:gd name="T55" fmla="*/ 73 h 373"/>
                <a:gd name="T56" fmla="*/ 387 w 772"/>
                <a:gd name="T57" fmla="*/ 49 h 373"/>
                <a:gd name="T58" fmla="*/ 425 w 772"/>
                <a:gd name="T59" fmla="*/ 73 h 373"/>
                <a:gd name="T60" fmla="*/ 453 w 772"/>
                <a:gd name="T61" fmla="*/ 90 h 373"/>
                <a:gd name="T62" fmla="*/ 463 w 772"/>
                <a:gd name="T63" fmla="*/ 49 h 373"/>
                <a:gd name="T64" fmla="*/ 517 w 772"/>
                <a:gd name="T65" fmla="*/ 40 h 373"/>
                <a:gd name="T66" fmla="*/ 571 w 772"/>
                <a:gd name="T67" fmla="*/ 33 h 373"/>
                <a:gd name="T68" fmla="*/ 614 w 772"/>
                <a:gd name="T69" fmla="*/ 28 h 373"/>
                <a:gd name="T70" fmla="*/ 668 w 772"/>
                <a:gd name="T71" fmla="*/ 28 h 373"/>
                <a:gd name="T72" fmla="*/ 668 w 772"/>
                <a:gd name="T73" fmla="*/ 49 h 373"/>
                <a:gd name="T74" fmla="*/ 680 w 772"/>
                <a:gd name="T75" fmla="*/ 106 h 373"/>
                <a:gd name="T76" fmla="*/ 701 w 772"/>
                <a:gd name="T77" fmla="*/ 127 h 373"/>
                <a:gd name="T78" fmla="*/ 765 w 772"/>
                <a:gd name="T79" fmla="*/ 127 h 373"/>
                <a:gd name="T80" fmla="*/ 734 w 772"/>
                <a:gd name="T81" fmla="*/ 168 h 373"/>
                <a:gd name="T82" fmla="*/ 765 w 772"/>
                <a:gd name="T83" fmla="*/ 196 h 373"/>
                <a:gd name="T84" fmla="*/ 734 w 772"/>
                <a:gd name="T85" fmla="*/ 196 h 373"/>
                <a:gd name="T86" fmla="*/ 739 w 772"/>
                <a:gd name="T87" fmla="*/ 224 h 373"/>
                <a:gd name="T88" fmla="*/ 711 w 772"/>
                <a:gd name="T89" fmla="*/ 224 h 373"/>
                <a:gd name="T90" fmla="*/ 701 w 772"/>
                <a:gd name="T91" fmla="*/ 257 h 373"/>
                <a:gd name="T92" fmla="*/ 642 w 772"/>
                <a:gd name="T93" fmla="*/ 262 h 373"/>
                <a:gd name="T94" fmla="*/ 560 w 772"/>
                <a:gd name="T95" fmla="*/ 319 h 373"/>
                <a:gd name="T96" fmla="*/ 522 w 772"/>
                <a:gd name="T97" fmla="*/ 328 h 373"/>
                <a:gd name="T98" fmla="*/ 468 w 772"/>
                <a:gd name="T99" fmla="*/ 352 h 373"/>
                <a:gd name="T100" fmla="*/ 302 w 772"/>
                <a:gd name="T101" fmla="*/ 364 h 373"/>
                <a:gd name="T102" fmla="*/ 290 w 772"/>
                <a:gd name="T103" fmla="*/ 335 h 373"/>
                <a:gd name="T104" fmla="*/ 279 w 772"/>
                <a:gd name="T105" fmla="*/ 328 h 373"/>
                <a:gd name="T106" fmla="*/ 231 w 772"/>
                <a:gd name="T107" fmla="*/ 319 h 373"/>
                <a:gd name="T108" fmla="*/ 123 w 772"/>
                <a:gd name="T109" fmla="*/ 328 h 373"/>
                <a:gd name="T110" fmla="*/ 177 w 772"/>
                <a:gd name="T111" fmla="*/ 295 h 373"/>
                <a:gd name="T112" fmla="*/ 198 w 772"/>
                <a:gd name="T113" fmla="*/ 279 h 373"/>
                <a:gd name="T114" fmla="*/ 227 w 772"/>
                <a:gd name="T115" fmla="*/ 262 h 373"/>
                <a:gd name="T116" fmla="*/ 177 w 772"/>
                <a:gd name="T117" fmla="*/ 257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72" h="373">
                  <a:moveTo>
                    <a:pt x="177" y="257"/>
                  </a:moveTo>
                  <a:lnTo>
                    <a:pt x="198" y="234"/>
                  </a:lnTo>
                  <a:lnTo>
                    <a:pt x="215" y="241"/>
                  </a:lnTo>
                  <a:lnTo>
                    <a:pt x="198" y="234"/>
                  </a:lnTo>
                  <a:lnTo>
                    <a:pt x="210" y="234"/>
                  </a:lnTo>
                  <a:lnTo>
                    <a:pt x="160" y="250"/>
                  </a:lnTo>
                  <a:lnTo>
                    <a:pt x="156" y="241"/>
                  </a:lnTo>
                  <a:lnTo>
                    <a:pt x="144" y="234"/>
                  </a:lnTo>
                  <a:lnTo>
                    <a:pt x="156" y="224"/>
                  </a:lnTo>
                  <a:lnTo>
                    <a:pt x="144" y="208"/>
                  </a:lnTo>
                  <a:lnTo>
                    <a:pt x="75" y="208"/>
                  </a:lnTo>
                  <a:lnTo>
                    <a:pt x="47" y="224"/>
                  </a:lnTo>
                  <a:lnTo>
                    <a:pt x="31" y="201"/>
                  </a:lnTo>
                  <a:lnTo>
                    <a:pt x="64" y="201"/>
                  </a:lnTo>
                  <a:lnTo>
                    <a:pt x="90" y="184"/>
                  </a:lnTo>
                  <a:lnTo>
                    <a:pt x="182" y="184"/>
                  </a:lnTo>
                  <a:lnTo>
                    <a:pt x="194" y="163"/>
                  </a:lnTo>
                  <a:lnTo>
                    <a:pt x="172" y="179"/>
                  </a:lnTo>
                  <a:lnTo>
                    <a:pt x="139" y="168"/>
                  </a:lnTo>
                  <a:lnTo>
                    <a:pt x="198" y="139"/>
                  </a:lnTo>
                  <a:lnTo>
                    <a:pt x="156" y="127"/>
                  </a:lnTo>
                  <a:lnTo>
                    <a:pt x="172" y="123"/>
                  </a:lnTo>
                  <a:lnTo>
                    <a:pt x="144" y="127"/>
                  </a:lnTo>
                  <a:lnTo>
                    <a:pt x="101" y="123"/>
                  </a:lnTo>
                  <a:lnTo>
                    <a:pt x="47" y="139"/>
                  </a:lnTo>
                  <a:lnTo>
                    <a:pt x="0" y="127"/>
                  </a:lnTo>
                  <a:lnTo>
                    <a:pt x="14" y="111"/>
                  </a:lnTo>
                  <a:lnTo>
                    <a:pt x="52" y="127"/>
                  </a:lnTo>
                  <a:lnTo>
                    <a:pt x="31" y="111"/>
                  </a:lnTo>
                  <a:lnTo>
                    <a:pt x="52" y="111"/>
                  </a:lnTo>
                  <a:lnTo>
                    <a:pt x="31" y="106"/>
                  </a:lnTo>
                  <a:lnTo>
                    <a:pt x="31" y="90"/>
                  </a:lnTo>
                  <a:lnTo>
                    <a:pt x="68" y="111"/>
                  </a:lnTo>
                  <a:lnTo>
                    <a:pt x="85" y="111"/>
                  </a:lnTo>
                  <a:lnTo>
                    <a:pt x="68" y="106"/>
                  </a:lnTo>
                  <a:lnTo>
                    <a:pt x="90" y="94"/>
                  </a:lnTo>
                  <a:lnTo>
                    <a:pt x="52" y="94"/>
                  </a:lnTo>
                  <a:lnTo>
                    <a:pt x="47" y="90"/>
                  </a:lnTo>
                  <a:lnTo>
                    <a:pt x="52" y="85"/>
                  </a:lnTo>
                  <a:lnTo>
                    <a:pt x="90" y="90"/>
                  </a:lnTo>
                  <a:lnTo>
                    <a:pt x="47" y="68"/>
                  </a:lnTo>
                  <a:lnTo>
                    <a:pt x="52" y="68"/>
                  </a:lnTo>
                  <a:lnTo>
                    <a:pt x="85" y="73"/>
                  </a:lnTo>
                  <a:lnTo>
                    <a:pt x="64" y="57"/>
                  </a:lnTo>
                  <a:lnTo>
                    <a:pt x="75" y="49"/>
                  </a:lnTo>
                  <a:lnTo>
                    <a:pt x="123" y="73"/>
                  </a:lnTo>
                  <a:lnTo>
                    <a:pt x="127" y="68"/>
                  </a:lnTo>
                  <a:lnTo>
                    <a:pt x="139" y="73"/>
                  </a:lnTo>
                  <a:lnTo>
                    <a:pt x="127" y="90"/>
                  </a:lnTo>
                  <a:lnTo>
                    <a:pt x="139" y="73"/>
                  </a:lnTo>
                  <a:lnTo>
                    <a:pt x="144" y="90"/>
                  </a:lnTo>
                  <a:lnTo>
                    <a:pt x="144" y="73"/>
                  </a:lnTo>
                  <a:lnTo>
                    <a:pt x="139" y="57"/>
                  </a:lnTo>
                  <a:lnTo>
                    <a:pt x="106" y="40"/>
                  </a:lnTo>
                  <a:lnTo>
                    <a:pt x="144" y="40"/>
                  </a:lnTo>
                  <a:lnTo>
                    <a:pt x="90" y="28"/>
                  </a:lnTo>
                  <a:lnTo>
                    <a:pt x="106" y="16"/>
                  </a:lnTo>
                  <a:lnTo>
                    <a:pt x="144" y="16"/>
                  </a:lnTo>
                  <a:lnTo>
                    <a:pt x="160" y="33"/>
                  </a:lnTo>
                  <a:lnTo>
                    <a:pt x="194" y="49"/>
                  </a:lnTo>
                  <a:lnTo>
                    <a:pt x="198" y="68"/>
                  </a:lnTo>
                  <a:lnTo>
                    <a:pt x="215" y="68"/>
                  </a:lnTo>
                  <a:lnTo>
                    <a:pt x="210" y="73"/>
                  </a:lnTo>
                  <a:lnTo>
                    <a:pt x="227" y="85"/>
                  </a:lnTo>
                  <a:lnTo>
                    <a:pt x="227" y="106"/>
                  </a:lnTo>
                  <a:lnTo>
                    <a:pt x="210" y="106"/>
                  </a:lnTo>
                  <a:lnTo>
                    <a:pt x="194" y="94"/>
                  </a:lnTo>
                  <a:lnTo>
                    <a:pt x="198" y="111"/>
                  </a:lnTo>
                  <a:lnTo>
                    <a:pt x="227" y="123"/>
                  </a:lnTo>
                  <a:lnTo>
                    <a:pt x="236" y="168"/>
                  </a:lnTo>
                  <a:lnTo>
                    <a:pt x="236" y="139"/>
                  </a:lnTo>
                  <a:lnTo>
                    <a:pt x="248" y="139"/>
                  </a:lnTo>
                  <a:lnTo>
                    <a:pt x="253" y="123"/>
                  </a:lnTo>
                  <a:lnTo>
                    <a:pt x="269" y="106"/>
                  </a:lnTo>
                  <a:lnTo>
                    <a:pt x="269" y="123"/>
                  </a:lnTo>
                  <a:lnTo>
                    <a:pt x="286" y="127"/>
                  </a:lnTo>
                  <a:lnTo>
                    <a:pt x="290" y="111"/>
                  </a:lnTo>
                  <a:lnTo>
                    <a:pt x="302" y="94"/>
                  </a:lnTo>
                  <a:lnTo>
                    <a:pt x="286" y="57"/>
                  </a:lnTo>
                  <a:lnTo>
                    <a:pt x="307" y="57"/>
                  </a:lnTo>
                  <a:lnTo>
                    <a:pt x="345" y="94"/>
                  </a:lnTo>
                  <a:lnTo>
                    <a:pt x="354" y="106"/>
                  </a:lnTo>
                  <a:lnTo>
                    <a:pt x="361" y="90"/>
                  </a:lnTo>
                  <a:lnTo>
                    <a:pt x="354" y="73"/>
                  </a:lnTo>
                  <a:lnTo>
                    <a:pt x="354" y="68"/>
                  </a:lnTo>
                  <a:lnTo>
                    <a:pt x="387" y="57"/>
                  </a:lnTo>
                  <a:lnTo>
                    <a:pt x="387" y="49"/>
                  </a:lnTo>
                  <a:lnTo>
                    <a:pt x="399" y="49"/>
                  </a:lnTo>
                  <a:lnTo>
                    <a:pt x="416" y="57"/>
                  </a:lnTo>
                  <a:lnTo>
                    <a:pt x="425" y="73"/>
                  </a:lnTo>
                  <a:lnTo>
                    <a:pt x="442" y="85"/>
                  </a:lnTo>
                  <a:lnTo>
                    <a:pt x="453" y="111"/>
                  </a:lnTo>
                  <a:lnTo>
                    <a:pt x="453" y="90"/>
                  </a:lnTo>
                  <a:lnTo>
                    <a:pt x="442" y="68"/>
                  </a:lnTo>
                  <a:lnTo>
                    <a:pt x="442" y="49"/>
                  </a:lnTo>
                  <a:lnTo>
                    <a:pt x="463" y="49"/>
                  </a:lnTo>
                  <a:lnTo>
                    <a:pt x="484" y="73"/>
                  </a:lnTo>
                  <a:lnTo>
                    <a:pt x="501" y="73"/>
                  </a:lnTo>
                  <a:lnTo>
                    <a:pt x="517" y="40"/>
                  </a:lnTo>
                  <a:lnTo>
                    <a:pt x="555" y="57"/>
                  </a:lnTo>
                  <a:lnTo>
                    <a:pt x="550" y="49"/>
                  </a:lnTo>
                  <a:lnTo>
                    <a:pt x="571" y="33"/>
                  </a:lnTo>
                  <a:lnTo>
                    <a:pt x="555" y="12"/>
                  </a:lnTo>
                  <a:lnTo>
                    <a:pt x="593" y="0"/>
                  </a:lnTo>
                  <a:lnTo>
                    <a:pt x="614" y="28"/>
                  </a:lnTo>
                  <a:lnTo>
                    <a:pt x="614" y="40"/>
                  </a:lnTo>
                  <a:lnTo>
                    <a:pt x="642" y="49"/>
                  </a:lnTo>
                  <a:lnTo>
                    <a:pt x="668" y="28"/>
                  </a:lnTo>
                  <a:lnTo>
                    <a:pt x="685" y="28"/>
                  </a:lnTo>
                  <a:lnTo>
                    <a:pt x="668" y="33"/>
                  </a:lnTo>
                  <a:lnTo>
                    <a:pt x="668" y="49"/>
                  </a:lnTo>
                  <a:lnTo>
                    <a:pt x="657" y="57"/>
                  </a:lnTo>
                  <a:lnTo>
                    <a:pt x="697" y="73"/>
                  </a:lnTo>
                  <a:lnTo>
                    <a:pt x="680" y="106"/>
                  </a:lnTo>
                  <a:lnTo>
                    <a:pt x="718" y="94"/>
                  </a:lnTo>
                  <a:lnTo>
                    <a:pt x="718" y="111"/>
                  </a:lnTo>
                  <a:lnTo>
                    <a:pt x="701" y="127"/>
                  </a:lnTo>
                  <a:lnTo>
                    <a:pt x="718" y="111"/>
                  </a:lnTo>
                  <a:lnTo>
                    <a:pt x="765" y="123"/>
                  </a:lnTo>
                  <a:lnTo>
                    <a:pt x="765" y="127"/>
                  </a:lnTo>
                  <a:lnTo>
                    <a:pt x="756" y="151"/>
                  </a:lnTo>
                  <a:lnTo>
                    <a:pt x="772" y="163"/>
                  </a:lnTo>
                  <a:lnTo>
                    <a:pt x="734" y="168"/>
                  </a:lnTo>
                  <a:lnTo>
                    <a:pt x="765" y="168"/>
                  </a:lnTo>
                  <a:lnTo>
                    <a:pt x="772" y="179"/>
                  </a:lnTo>
                  <a:lnTo>
                    <a:pt x="765" y="196"/>
                  </a:lnTo>
                  <a:lnTo>
                    <a:pt x="739" y="179"/>
                  </a:lnTo>
                  <a:lnTo>
                    <a:pt x="756" y="201"/>
                  </a:lnTo>
                  <a:lnTo>
                    <a:pt x="734" y="196"/>
                  </a:lnTo>
                  <a:lnTo>
                    <a:pt x="756" y="201"/>
                  </a:lnTo>
                  <a:lnTo>
                    <a:pt x="734" y="217"/>
                  </a:lnTo>
                  <a:lnTo>
                    <a:pt x="739" y="224"/>
                  </a:lnTo>
                  <a:lnTo>
                    <a:pt x="718" y="224"/>
                  </a:lnTo>
                  <a:lnTo>
                    <a:pt x="701" y="208"/>
                  </a:lnTo>
                  <a:lnTo>
                    <a:pt x="711" y="224"/>
                  </a:lnTo>
                  <a:lnTo>
                    <a:pt x="697" y="241"/>
                  </a:lnTo>
                  <a:lnTo>
                    <a:pt x="711" y="241"/>
                  </a:lnTo>
                  <a:lnTo>
                    <a:pt x="701" y="257"/>
                  </a:lnTo>
                  <a:lnTo>
                    <a:pt x="685" y="257"/>
                  </a:lnTo>
                  <a:lnTo>
                    <a:pt x="668" y="274"/>
                  </a:lnTo>
                  <a:lnTo>
                    <a:pt x="642" y="262"/>
                  </a:lnTo>
                  <a:lnTo>
                    <a:pt x="642" y="274"/>
                  </a:lnTo>
                  <a:lnTo>
                    <a:pt x="593" y="290"/>
                  </a:lnTo>
                  <a:lnTo>
                    <a:pt x="560" y="319"/>
                  </a:lnTo>
                  <a:lnTo>
                    <a:pt x="538" y="328"/>
                  </a:lnTo>
                  <a:lnTo>
                    <a:pt x="534" y="312"/>
                  </a:lnTo>
                  <a:lnTo>
                    <a:pt x="522" y="328"/>
                  </a:lnTo>
                  <a:lnTo>
                    <a:pt x="468" y="335"/>
                  </a:lnTo>
                  <a:lnTo>
                    <a:pt x="463" y="345"/>
                  </a:lnTo>
                  <a:lnTo>
                    <a:pt x="468" y="352"/>
                  </a:lnTo>
                  <a:lnTo>
                    <a:pt x="463" y="364"/>
                  </a:lnTo>
                  <a:lnTo>
                    <a:pt x="408" y="373"/>
                  </a:lnTo>
                  <a:lnTo>
                    <a:pt x="302" y="364"/>
                  </a:lnTo>
                  <a:lnTo>
                    <a:pt x="279" y="335"/>
                  </a:lnTo>
                  <a:lnTo>
                    <a:pt x="290" y="335"/>
                  </a:lnTo>
                  <a:lnTo>
                    <a:pt x="290" y="335"/>
                  </a:lnTo>
                  <a:lnTo>
                    <a:pt x="279" y="335"/>
                  </a:lnTo>
                  <a:lnTo>
                    <a:pt x="269" y="335"/>
                  </a:lnTo>
                  <a:lnTo>
                    <a:pt x="279" y="328"/>
                  </a:lnTo>
                  <a:lnTo>
                    <a:pt x="269" y="319"/>
                  </a:lnTo>
                  <a:lnTo>
                    <a:pt x="253" y="328"/>
                  </a:lnTo>
                  <a:lnTo>
                    <a:pt x="231" y="319"/>
                  </a:lnTo>
                  <a:lnTo>
                    <a:pt x="248" y="312"/>
                  </a:lnTo>
                  <a:lnTo>
                    <a:pt x="198" y="328"/>
                  </a:lnTo>
                  <a:lnTo>
                    <a:pt x="123" y="328"/>
                  </a:lnTo>
                  <a:lnTo>
                    <a:pt x="127" y="295"/>
                  </a:lnTo>
                  <a:lnTo>
                    <a:pt x="139" y="307"/>
                  </a:lnTo>
                  <a:lnTo>
                    <a:pt x="177" y="295"/>
                  </a:lnTo>
                  <a:lnTo>
                    <a:pt x="182" y="295"/>
                  </a:lnTo>
                  <a:lnTo>
                    <a:pt x="177" y="290"/>
                  </a:lnTo>
                  <a:lnTo>
                    <a:pt x="198" y="279"/>
                  </a:lnTo>
                  <a:lnTo>
                    <a:pt x="182" y="279"/>
                  </a:lnTo>
                  <a:lnTo>
                    <a:pt x="194" y="262"/>
                  </a:lnTo>
                  <a:lnTo>
                    <a:pt x="227" y="262"/>
                  </a:lnTo>
                  <a:lnTo>
                    <a:pt x="172" y="274"/>
                  </a:lnTo>
                  <a:lnTo>
                    <a:pt x="177" y="257"/>
                  </a:lnTo>
                  <a:lnTo>
                    <a:pt x="177" y="257"/>
                  </a:lnTo>
                  <a:lnTo>
                    <a:pt x="177" y="25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8" name="Freeform 467">
              <a:extLst>
                <a:ext uri="{FF2B5EF4-FFF2-40B4-BE49-F238E27FC236}">
                  <a16:creationId xmlns:a16="http://schemas.microsoft.com/office/drawing/2014/main" id="{E3AA16E9-53D6-4472-A384-9EC575B818BE}"/>
                </a:ext>
              </a:extLst>
            </p:cNvPr>
            <p:cNvSpPr>
              <a:spLocks noEditPoints="1"/>
            </p:cNvSpPr>
            <p:nvPr/>
          </p:nvSpPr>
          <p:spPr bwMode="gray">
            <a:xfrm>
              <a:off x="15930834" y="3973668"/>
              <a:ext cx="1051604" cy="398320"/>
            </a:xfrm>
            <a:custGeom>
              <a:avLst/>
              <a:gdLst>
                <a:gd name="T0" fmla="*/ 647 w 3213"/>
                <a:gd name="T1" fmla="*/ 629 h 1217"/>
                <a:gd name="T2" fmla="*/ 392 w 3213"/>
                <a:gd name="T3" fmla="*/ 600 h 1217"/>
                <a:gd name="T4" fmla="*/ 123 w 3213"/>
                <a:gd name="T5" fmla="*/ 52 h 1217"/>
                <a:gd name="T6" fmla="*/ 2213 w 3213"/>
                <a:gd name="T7" fmla="*/ 123 h 1217"/>
                <a:gd name="T8" fmla="*/ 1403 w 3213"/>
                <a:gd name="T9" fmla="*/ 206 h 1217"/>
                <a:gd name="T10" fmla="*/ 1592 w 3213"/>
                <a:gd name="T11" fmla="*/ 345 h 1217"/>
                <a:gd name="T12" fmla="*/ 1365 w 3213"/>
                <a:gd name="T13" fmla="*/ 733 h 1217"/>
                <a:gd name="T14" fmla="*/ 1042 w 3213"/>
                <a:gd name="T15" fmla="*/ 527 h 1217"/>
                <a:gd name="T16" fmla="*/ 895 w 3213"/>
                <a:gd name="T17" fmla="*/ 152 h 1217"/>
                <a:gd name="T18" fmla="*/ 1545 w 3213"/>
                <a:gd name="T19" fmla="*/ 180 h 1217"/>
                <a:gd name="T20" fmla="*/ 735 w 3213"/>
                <a:gd name="T21" fmla="*/ 222 h 1217"/>
                <a:gd name="T22" fmla="*/ 2332 w 3213"/>
                <a:gd name="T23" fmla="*/ 279 h 1217"/>
                <a:gd name="T24" fmla="*/ 2284 w 3213"/>
                <a:gd name="T25" fmla="*/ 456 h 1217"/>
                <a:gd name="T26" fmla="*/ 1852 w 3213"/>
                <a:gd name="T27" fmla="*/ 723 h 1217"/>
                <a:gd name="T28" fmla="*/ 1651 w 3213"/>
                <a:gd name="T29" fmla="*/ 629 h 1217"/>
                <a:gd name="T30" fmla="*/ 1906 w 3213"/>
                <a:gd name="T31" fmla="*/ 362 h 1217"/>
                <a:gd name="T32" fmla="*/ 1781 w 3213"/>
                <a:gd name="T33" fmla="*/ 527 h 1217"/>
                <a:gd name="T34" fmla="*/ 1890 w 3213"/>
                <a:gd name="T35" fmla="*/ 666 h 1217"/>
                <a:gd name="T36" fmla="*/ 2105 w 3213"/>
                <a:gd name="T37" fmla="*/ 317 h 1217"/>
                <a:gd name="T38" fmla="*/ 610 w 3213"/>
                <a:gd name="T39" fmla="*/ 350 h 1217"/>
                <a:gd name="T40" fmla="*/ 605 w 3213"/>
                <a:gd name="T41" fmla="*/ 350 h 1217"/>
                <a:gd name="T42" fmla="*/ 555 w 3213"/>
                <a:gd name="T43" fmla="*/ 378 h 1217"/>
                <a:gd name="T44" fmla="*/ 232 w 3213"/>
                <a:gd name="T45" fmla="*/ 456 h 1217"/>
                <a:gd name="T46" fmla="*/ 593 w 3213"/>
                <a:gd name="T47" fmla="*/ 444 h 1217"/>
                <a:gd name="T48" fmla="*/ 2284 w 3213"/>
                <a:gd name="T49" fmla="*/ 478 h 1217"/>
                <a:gd name="T50" fmla="*/ 3149 w 3213"/>
                <a:gd name="T51" fmla="*/ 995 h 1217"/>
                <a:gd name="T52" fmla="*/ 2787 w 3213"/>
                <a:gd name="T53" fmla="*/ 711 h 1217"/>
                <a:gd name="T54" fmla="*/ 2575 w 3213"/>
                <a:gd name="T55" fmla="*/ 629 h 1217"/>
                <a:gd name="T56" fmla="*/ 2587 w 3213"/>
                <a:gd name="T57" fmla="*/ 461 h 1217"/>
                <a:gd name="T58" fmla="*/ 3149 w 3213"/>
                <a:gd name="T59" fmla="*/ 600 h 1217"/>
                <a:gd name="T60" fmla="*/ 2872 w 3213"/>
                <a:gd name="T61" fmla="*/ 518 h 1217"/>
                <a:gd name="T62" fmla="*/ 236 w 3213"/>
                <a:gd name="T63" fmla="*/ 494 h 1217"/>
                <a:gd name="T64" fmla="*/ 1954 w 3213"/>
                <a:gd name="T65" fmla="*/ 527 h 1217"/>
                <a:gd name="T66" fmla="*/ 749 w 3213"/>
                <a:gd name="T67" fmla="*/ 629 h 1217"/>
                <a:gd name="T68" fmla="*/ 2894 w 3213"/>
                <a:gd name="T69" fmla="*/ 567 h 1217"/>
                <a:gd name="T70" fmla="*/ 2117 w 3213"/>
                <a:gd name="T71" fmla="*/ 555 h 1217"/>
                <a:gd name="T72" fmla="*/ 345 w 3213"/>
                <a:gd name="T73" fmla="*/ 629 h 1217"/>
                <a:gd name="T74" fmla="*/ 2461 w 3213"/>
                <a:gd name="T75" fmla="*/ 645 h 1217"/>
                <a:gd name="T76" fmla="*/ 810 w 3213"/>
                <a:gd name="T77" fmla="*/ 638 h 1217"/>
                <a:gd name="T78" fmla="*/ 1474 w 3213"/>
                <a:gd name="T79" fmla="*/ 711 h 1217"/>
                <a:gd name="T80" fmla="*/ 2306 w 3213"/>
                <a:gd name="T81" fmla="*/ 695 h 1217"/>
                <a:gd name="T82" fmla="*/ 1970 w 3213"/>
                <a:gd name="T83" fmla="*/ 723 h 1217"/>
                <a:gd name="T84" fmla="*/ 1923 w 3213"/>
                <a:gd name="T85" fmla="*/ 806 h 1217"/>
                <a:gd name="T86" fmla="*/ 2662 w 3213"/>
                <a:gd name="T87" fmla="*/ 811 h 1217"/>
                <a:gd name="T88" fmla="*/ 1765 w 3213"/>
                <a:gd name="T89" fmla="*/ 844 h 1217"/>
                <a:gd name="T90" fmla="*/ 739 w 3213"/>
                <a:gd name="T91" fmla="*/ 889 h 1217"/>
                <a:gd name="T92" fmla="*/ 1214 w 3213"/>
                <a:gd name="T93" fmla="*/ 933 h 1217"/>
                <a:gd name="T94" fmla="*/ 2733 w 3213"/>
                <a:gd name="T95" fmla="*/ 860 h 1217"/>
                <a:gd name="T96" fmla="*/ 697 w 3213"/>
                <a:gd name="T97" fmla="*/ 905 h 1217"/>
                <a:gd name="T98" fmla="*/ 1781 w 3213"/>
                <a:gd name="T99" fmla="*/ 938 h 1217"/>
                <a:gd name="T100" fmla="*/ 2523 w 3213"/>
                <a:gd name="T101" fmla="*/ 971 h 1217"/>
                <a:gd name="T102" fmla="*/ 2511 w 3213"/>
                <a:gd name="T103" fmla="*/ 962 h 1217"/>
                <a:gd name="T104" fmla="*/ 1349 w 3213"/>
                <a:gd name="T105" fmla="*/ 1011 h 1217"/>
                <a:gd name="T106" fmla="*/ 1944 w 3213"/>
                <a:gd name="T107" fmla="*/ 1016 h 1217"/>
                <a:gd name="T108" fmla="*/ 1559 w 3213"/>
                <a:gd name="T109" fmla="*/ 1044 h 1217"/>
                <a:gd name="T110" fmla="*/ 2301 w 3213"/>
                <a:gd name="T111" fmla="*/ 1028 h 1217"/>
                <a:gd name="T112" fmla="*/ 3061 w 3213"/>
                <a:gd name="T113" fmla="*/ 1033 h 1217"/>
                <a:gd name="T114" fmla="*/ 2306 w 3213"/>
                <a:gd name="T115" fmla="*/ 1016 h 1217"/>
                <a:gd name="T116" fmla="*/ 2230 w 3213"/>
                <a:gd name="T117" fmla="*/ 1028 h 1217"/>
                <a:gd name="T118" fmla="*/ 1961 w 3213"/>
                <a:gd name="T119" fmla="*/ 1044 h 1217"/>
                <a:gd name="T120" fmla="*/ 1755 w 3213"/>
                <a:gd name="T121" fmla="*/ 1127 h 1217"/>
                <a:gd name="T122" fmla="*/ 1939 w 3213"/>
                <a:gd name="T123" fmla="*/ 1210 h 1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13" h="1217">
                  <a:moveTo>
                    <a:pt x="10" y="12"/>
                  </a:moveTo>
                  <a:lnTo>
                    <a:pt x="0" y="12"/>
                  </a:lnTo>
                  <a:lnTo>
                    <a:pt x="0" y="0"/>
                  </a:lnTo>
                  <a:lnTo>
                    <a:pt x="10" y="12"/>
                  </a:lnTo>
                  <a:lnTo>
                    <a:pt x="10" y="12"/>
                  </a:lnTo>
                  <a:lnTo>
                    <a:pt x="10" y="12"/>
                  </a:lnTo>
                  <a:close/>
                  <a:moveTo>
                    <a:pt x="539" y="383"/>
                  </a:moveTo>
                  <a:lnTo>
                    <a:pt x="550" y="400"/>
                  </a:lnTo>
                  <a:lnTo>
                    <a:pt x="517" y="418"/>
                  </a:lnTo>
                  <a:lnTo>
                    <a:pt x="501" y="407"/>
                  </a:lnTo>
                  <a:lnTo>
                    <a:pt x="517" y="418"/>
                  </a:lnTo>
                  <a:lnTo>
                    <a:pt x="572" y="390"/>
                  </a:lnTo>
                  <a:lnTo>
                    <a:pt x="593" y="407"/>
                  </a:lnTo>
                  <a:lnTo>
                    <a:pt x="605" y="435"/>
                  </a:lnTo>
                  <a:lnTo>
                    <a:pt x="588" y="435"/>
                  </a:lnTo>
                  <a:lnTo>
                    <a:pt x="560" y="444"/>
                  </a:lnTo>
                  <a:lnTo>
                    <a:pt x="576" y="444"/>
                  </a:lnTo>
                  <a:lnTo>
                    <a:pt x="560" y="456"/>
                  </a:lnTo>
                  <a:lnTo>
                    <a:pt x="588" y="461"/>
                  </a:lnTo>
                  <a:lnTo>
                    <a:pt x="572" y="478"/>
                  </a:lnTo>
                  <a:lnTo>
                    <a:pt x="593" y="501"/>
                  </a:lnTo>
                  <a:lnTo>
                    <a:pt x="643" y="501"/>
                  </a:lnTo>
                  <a:lnTo>
                    <a:pt x="647" y="555"/>
                  </a:lnTo>
                  <a:lnTo>
                    <a:pt x="647" y="567"/>
                  </a:lnTo>
                  <a:lnTo>
                    <a:pt x="659" y="567"/>
                  </a:lnTo>
                  <a:lnTo>
                    <a:pt x="669" y="572"/>
                  </a:lnTo>
                  <a:lnTo>
                    <a:pt x="669" y="584"/>
                  </a:lnTo>
                  <a:lnTo>
                    <a:pt x="664" y="600"/>
                  </a:lnTo>
                  <a:lnTo>
                    <a:pt x="664" y="612"/>
                  </a:lnTo>
                  <a:lnTo>
                    <a:pt x="647" y="629"/>
                  </a:lnTo>
                  <a:lnTo>
                    <a:pt x="664" y="612"/>
                  </a:lnTo>
                  <a:lnTo>
                    <a:pt x="669" y="589"/>
                  </a:lnTo>
                  <a:lnTo>
                    <a:pt x="685" y="600"/>
                  </a:lnTo>
                  <a:lnTo>
                    <a:pt x="723" y="600"/>
                  </a:lnTo>
                  <a:lnTo>
                    <a:pt x="723" y="612"/>
                  </a:lnTo>
                  <a:lnTo>
                    <a:pt x="739" y="622"/>
                  </a:lnTo>
                  <a:lnTo>
                    <a:pt x="739" y="638"/>
                  </a:lnTo>
                  <a:lnTo>
                    <a:pt x="756" y="645"/>
                  </a:lnTo>
                  <a:lnTo>
                    <a:pt x="756" y="662"/>
                  </a:lnTo>
                  <a:lnTo>
                    <a:pt x="749" y="678"/>
                  </a:lnTo>
                  <a:lnTo>
                    <a:pt x="739" y="695"/>
                  </a:lnTo>
                  <a:lnTo>
                    <a:pt x="749" y="711"/>
                  </a:lnTo>
                  <a:lnTo>
                    <a:pt x="739" y="733"/>
                  </a:lnTo>
                  <a:lnTo>
                    <a:pt x="749" y="756"/>
                  </a:lnTo>
                  <a:lnTo>
                    <a:pt x="739" y="834"/>
                  </a:lnTo>
                  <a:lnTo>
                    <a:pt x="735" y="851"/>
                  </a:lnTo>
                  <a:lnTo>
                    <a:pt x="702" y="822"/>
                  </a:lnTo>
                  <a:lnTo>
                    <a:pt x="697" y="834"/>
                  </a:lnTo>
                  <a:lnTo>
                    <a:pt x="702" y="844"/>
                  </a:lnTo>
                  <a:lnTo>
                    <a:pt x="697" y="844"/>
                  </a:lnTo>
                  <a:lnTo>
                    <a:pt x="664" y="827"/>
                  </a:lnTo>
                  <a:lnTo>
                    <a:pt x="647" y="827"/>
                  </a:lnTo>
                  <a:lnTo>
                    <a:pt x="664" y="851"/>
                  </a:lnTo>
                  <a:lnTo>
                    <a:pt x="659" y="860"/>
                  </a:lnTo>
                  <a:lnTo>
                    <a:pt x="605" y="794"/>
                  </a:lnTo>
                  <a:lnTo>
                    <a:pt x="496" y="716"/>
                  </a:lnTo>
                  <a:lnTo>
                    <a:pt x="484" y="695"/>
                  </a:lnTo>
                  <a:lnTo>
                    <a:pt x="447" y="662"/>
                  </a:lnTo>
                  <a:lnTo>
                    <a:pt x="425" y="622"/>
                  </a:lnTo>
                  <a:lnTo>
                    <a:pt x="392" y="600"/>
                  </a:lnTo>
                  <a:lnTo>
                    <a:pt x="392" y="584"/>
                  </a:lnTo>
                  <a:lnTo>
                    <a:pt x="392" y="567"/>
                  </a:lnTo>
                  <a:lnTo>
                    <a:pt x="378" y="546"/>
                  </a:lnTo>
                  <a:lnTo>
                    <a:pt x="371" y="527"/>
                  </a:lnTo>
                  <a:lnTo>
                    <a:pt x="361" y="518"/>
                  </a:lnTo>
                  <a:lnTo>
                    <a:pt x="354" y="489"/>
                  </a:lnTo>
                  <a:lnTo>
                    <a:pt x="317" y="444"/>
                  </a:lnTo>
                  <a:lnTo>
                    <a:pt x="317" y="435"/>
                  </a:lnTo>
                  <a:lnTo>
                    <a:pt x="307" y="423"/>
                  </a:lnTo>
                  <a:lnTo>
                    <a:pt x="269" y="407"/>
                  </a:lnTo>
                  <a:lnTo>
                    <a:pt x="269" y="383"/>
                  </a:lnTo>
                  <a:lnTo>
                    <a:pt x="236" y="312"/>
                  </a:lnTo>
                  <a:lnTo>
                    <a:pt x="248" y="312"/>
                  </a:lnTo>
                  <a:lnTo>
                    <a:pt x="248" y="307"/>
                  </a:lnTo>
                  <a:lnTo>
                    <a:pt x="182" y="263"/>
                  </a:lnTo>
                  <a:lnTo>
                    <a:pt x="177" y="263"/>
                  </a:lnTo>
                  <a:lnTo>
                    <a:pt x="173" y="255"/>
                  </a:lnTo>
                  <a:lnTo>
                    <a:pt x="161" y="222"/>
                  </a:lnTo>
                  <a:lnTo>
                    <a:pt x="144" y="218"/>
                  </a:lnTo>
                  <a:lnTo>
                    <a:pt x="118" y="163"/>
                  </a:lnTo>
                  <a:lnTo>
                    <a:pt x="85" y="152"/>
                  </a:lnTo>
                  <a:lnTo>
                    <a:pt x="14" y="90"/>
                  </a:lnTo>
                  <a:lnTo>
                    <a:pt x="0" y="57"/>
                  </a:lnTo>
                  <a:lnTo>
                    <a:pt x="0" y="29"/>
                  </a:lnTo>
                  <a:lnTo>
                    <a:pt x="10" y="19"/>
                  </a:lnTo>
                  <a:lnTo>
                    <a:pt x="21" y="19"/>
                  </a:lnTo>
                  <a:lnTo>
                    <a:pt x="47" y="36"/>
                  </a:lnTo>
                  <a:lnTo>
                    <a:pt x="52" y="41"/>
                  </a:lnTo>
                  <a:lnTo>
                    <a:pt x="76" y="52"/>
                  </a:lnTo>
                  <a:lnTo>
                    <a:pt x="123" y="52"/>
                  </a:lnTo>
                  <a:lnTo>
                    <a:pt x="139" y="57"/>
                  </a:lnTo>
                  <a:lnTo>
                    <a:pt x="156" y="52"/>
                  </a:lnTo>
                  <a:lnTo>
                    <a:pt x="182" y="74"/>
                  </a:lnTo>
                  <a:lnTo>
                    <a:pt x="194" y="95"/>
                  </a:lnTo>
                  <a:lnTo>
                    <a:pt x="210" y="107"/>
                  </a:lnTo>
                  <a:lnTo>
                    <a:pt x="210" y="128"/>
                  </a:lnTo>
                  <a:lnTo>
                    <a:pt x="333" y="218"/>
                  </a:lnTo>
                  <a:lnTo>
                    <a:pt x="333" y="239"/>
                  </a:lnTo>
                  <a:lnTo>
                    <a:pt x="333" y="234"/>
                  </a:lnTo>
                  <a:lnTo>
                    <a:pt x="340" y="234"/>
                  </a:lnTo>
                  <a:lnTo>
                    <a:pt x="340" y="251"/>
                  </a:lnTo>
                  <a:lnTo>
                    <a:pt x="340" y="234"/>
                  </a:lnTo>
                  <a:lnTo>
                    <a:pt x="345" y="234"/>
                  </a:lnTo>
                  <a:lnTo>
                    <a:pt x="361" y="263"/>
                  </a:lnTo>
                  <a:lnTo>
                    <a:pt x="392" y="279"/>
                  </a:lnTo>
                  <a:lnTo>
                    <a:pt x="399" y="296"/>
                  </a:lnTo>
                  <a:lnTo>
                    <a:pt x="387" y="263"/>
                  </a:lnTo>
                  <a:lnTo>
                    <a:pt x="409" y="263"/>
                  </a:lnTo>
                  <a:lnTo>
                    <a:pt x="425" y="279"/>
                  </a:lnTo>
                  <a:lnTo>
                    <a:pt x="430" y="307"/>
                  </a:lnTo>
                  <a:lnTo>
                    <a:pt x="454" y="312"/>
                  </a:lnTo>
                  <a:lnTo>
                    <a:pt x="484" y="329"/>
                  </a:lnTo>
                  <a:lnTo>
                    <a:pt x="484" y="350"/>
                  </a:lnTo>
                  <a:lnTo>
                    <a:pt x="501" y="366"/>
                  </a:lnTo>
                  <a:lnTo>
                    <a:pt x="534" y="378"/>
                  </a:lnTo>
                  <a:lnTo>
                    <a:pt x="539" y="383"/>
                  </a:lnTo>
                  <a:lnTo>
                    <a:pt x="539" y="383"/>
                  </a:lnTo>
                  <a:lnTo>
                    <a:pt x="539" y="383"/>
                  </a:lnTo>
                  <a:close/>
                  <a:moveTo>
                    <a:pt x="2209" y="140"/>
                  </a:moveTo>
                  <a:lnTo>
                    <a:pt x="2213" y="123"/>
                  </a:lnTo>
                  <a:lnTo>
                    <a:pt x="2209" y="111"/>
                  </a:lnTo>
                  <a:lnTo>
                    <a:pt x="2209" y="95"/>
                  </a:lnTo>
                  <a:lnTo>
                    <a:pt x="2213" y="107"/>
                  </a:lnTo>
                  <a:lnTo>
                    <a:pt x="2225" y="123"/>
                  </a:lnTo>
                  <a:lnTo>
                    <a:pt x="2209" y="140"/>
                  </a:lnTo>
                  <a:lnTo>
                    <a:pt x="2209" y="140"/>
                  </a:lnTo>
                  <a:lnTo>
                    <a:pt x="2209" y="140"/>
                  </a:lnTo>
                  <a:close/>
                  <a:moveTo>
                    <a:pt x="1009" y="279"/>
                  </a:moveTo>
                  <a:lnTo>
                    <a:pt x="1004" y="291"/>
                  </a:lnTo>
                  <a:lnTo>
                    <a:pt x="1009" y="312"/>
                  </a:lnTo>
                  <a:lnTo>
                    <a:pt x="1075" y="366"/>
                  </a:lnTo>
                  <a:lnTo>
                    <a:pt x="1117" y="350"/>
                  </a:lnTo>
                  <a:lnTo>
                    <a:pt x="1167" y="362"/>
                  </a:lnTo>
                  <a:lnTo>
                    <a:pt x="1172" y="345"/>
                  </a:lnTo>
                  <a:lnTo>
                    <a:pt x="1181" y="345"/>
                  </a:lnTo>
                  <a:lnTo>
                    <a:pt x="1188" y="317"/>
                  </a:lnTo>
                  <a:lnTo>
                    <a:pt x="1205" y="312"/>
                  </a:lnTo>
                  <a:lnTo>
                    <a:pt x="1243" y="312"/>
                  </a:lnTo>
                  <a:lnTo>
                    <a:pt x="1252" y="329"/>
                  </a:lnTo>
                  <a:lnTo>
                    <a:pt x="1290" y="333"/>
                  </a:lnTo>
                  <a:lnTo>
                    <a:pt x="1311" y="317"/>
                  </a:lnTo>
                  <a:lnTo>
                    <a:pt x="1344" y="317"/>
                  </a:lnTo>
                  <a:lnTo>
                    <a:pt x="1361" y="329"/>
                  </a:lnTo>
                  <a:lnTo>
                    <a:pt x="1365" y="307"/>
                  </a:lnTo>
                  <a:lnTo>
                    <a:pt x="1377" y="291"/>
                  </a:lnTo>
                  <a:lnTo>
                    <a:pt x="1377" y="263"/>
                  </a:lnTo>
                  <a:lnTo>
                    <a:pt x="1403" y="251"/>
                  </a:lnTo>
                  <a:lnTo>
                    <a:pt x="1387" y="239"/>
                  </a:lnTo>
                  <a:lnTo>
                    <a:pt x="1398" y="218"/>
                  </a:lnTo>
                  <a:lnTo>
                    <a:pt x="1403" y="206"/>
                  </a:lnTo>
                  <a:lnTo>
                    <a:pt x="1420" y="206"/>
                  </a:lnTo>
                  <a:lnTo>
                    <a:pt x="1432" y="180"/>
                  </a:lnTo>
                  <a:lnTo>
                    <a:pt x="1432" y="163"/>
                  </a:lnTo>
                  <a:lnTo>
                    <a:pt x="1432" y="128"/>
                  </a:lnTo>
                  <a:lnTo>
                    <a:pt x="1441" y="111"/>
                  </a:lnTo>
                  <a:lnTo>
                    <a:pt x="1458" y="123"/>
                  </a:lnTo>
                  <a:lnTo>
                    <a:pt x="1469" y="111"/>
                  </a:lnTo>
                  <a:lnTo>
                    <a:pt x="1491" y="123"/>
                  </a:lnTo>
                  <a:lnTo>
                    <a:pt x="1545" y="111"/>
                  </a:lnTo>
                  <a:lnTo>
                    <a:pt x="1566" y="128"/>
                  </a:lnTo>
                  <a:lnTo>
                    <a:pt x="1550" y="128"/>
                  </a:lnTo>
                  <a:lnTo>
                    <a:pt x="1583" y="163"/>
                  </a:lnTo>
                  <a:lnTo>
                    <a:pt x="1576" y="168"/>
                  </a:lnTo>
                  <a:lnTo>
                    <a:pt x="1528" y="168"/>
                  </a:lnTo>
                  <a:lnTo>
                    <a:pt x="1538" y="168"/>
                  </a:lnTo>
                  <a:lnTo>
                    <a:pt x="1545" y="180"/>
                  </a:lnTo>
                  <a:lnTo>
                    <a:pt x="1559" y="180"/>
                  </a:lnTo>
                  <a:lnTo>
                    <a:pt x="1545" y="196"/>
                  </a:lnTo>
                  <a:lnTo>
                    <a:pt x="1566" y="206"/>
                  </a:lnTo>
                  <a:lnTo>
                    <a:pt x="1576" y="222"/>
                  </a:lnTo>
                  <a:lnTo>
                    <a:pt x="1583" y="222"/>
                  </a:lnTo>
                  <a:lnTo>
                    <a:pt x="1604" y="263"/>
                  </a:lnTo>
                  <a:lnTo>
                    <a:pt x="1592" y="279"/>
                  </a:lnTo>
                  <a:lnTo>
                    <a:pt x="1583" y="272"/>
                  </a:lnTo>
                  <a:lnTo>
                    <a:pt x="1592" y="296"/>
                  </a:lnTo>
                  <a:lnTo>
                    <a:pt x="1668" y="362"/>
                  </a:lnTo>
                  <a:lnTo>
                    <a:pt x="1651" y="366"/>
                  </a:lnTo>
                  <a:lnTo>
                    <a:pt x="1621" y="366"/>
                  </a:lnTo>
                  <a:lnTo>
                    <a:pt x="1597" y="362"/>
                  </a:lnTo>
                  <a:lnTo>
                    <a:pt x="1592" y="345"/>
                  </a:lnTo>
                  <a:lnTo>
                    <a:pt x="1597" y="366"/>
                  </a:lnTo>
                  <a:lnTo>
                    <a:pt x="1592" y="366"/>
                  </a:lnTo>
                  <a:lnTo>
                    <a:pt x="1576" y="378"/>
                  </a:lnTo>
                  <a:lnTo>
                    <a:pt x="1559" y="423"/>
                  </a:lnTo>
                  <a:lnTo>
                    <a:pt x="1559" y="435"/>
                  </a:lnTo>
                  <a:lnTo>
                    <a:pt x="1559" y="444"/>
                  </a:lnTo>
                  <a:lnTo>
                    <a:pt x="1559" y="461"/>
                  </a:lnTo>
                  <a:lnTo>
                    <a:pt x="1566" y="456"/>
                  </a:lnTo>
                  <a:lnTo>
                    <a:pt x="1566" y="489"/>
                  </a:lnTo>
                  <a:lnTo>
                    <a:pt x="1559" y="489"/>
                  </a:lnTo>
                  <a:lnTo>
                    <a:pt x="1545" y="489"/>
                  </a:lnTo>
                  <a:lnTo>
                    <a:pt x="1521" y="518"/>
                  </a:lnTo>
                  <a:lnTo>
                    <a:pt x="1512" y="518"/>
                  </a:lnTo>
                  <a:lnTo>
                    <a:pt x="1507" y="501"/>
                  </a:lnTo>
                  <a:lnTo>
                    <a:pt x="1507" y="527"/>
                  </a:lnTo>
                  <a:lnTo>
                    <a:pt x="1491" y="534"/>
                  </a:lnTo>
                  <a:lnTo>
                    <a:pt x="1491" y="546"/>
                  </a:lnTo>
                  <a:lnTo>
                    <a:pt x="1474" y="555"/>
                  </a:lnTo>
                  <a:lnTo>
                    <a:pt x="1491" y="555"/>
                  </a:lnTo>
                  <a:lnTo>
                    <a:pt x="1491" y="572"/>
                  </a:lnTo>
                  <a:lnTo>
                    <a:pt x="1484" y="584"/>
                  </a:lnTo>
                  <a:lnTo>
                    <a:pt x="1495" y="589"/>
                  </a:lnTo>
                  <a:lnTo>
                    <a:pt x="1491" y="612"/>
                  </a:lnTo>
                  <a:lnTo>
                    <a:pt x="1474" y="612"/>
                  </a:lnTo>
                  <a:lnTo>
                    <a:pt x="1484" y="629"/>
                  </a:lnTo>
                  <a:lnTo>
                    <a:pt x="1474" y="645"/>
                  </a:lnTo>
                  <a:lnTo>
                    <a:pt x="1469" y="629"/>
                  </a:lnTo>
                  <a:lnTo>
                    <a:pt x="1474" y="655"/>
                  </a:lnTo>
                  <a:lnTo>
                    <a:pt x="1453" y="683"/>
                  </a:lnTo>
                  <a:lnTo>
                    <a:pt x="1365" y="733"/>
                  </a:lnTo>
                  <a:lnTo>
                    <a:pt x="1361" y="723"/>
                  </a:lnTo>
                  <a:lnTo>
                    <a:pt x="1361" y="695"/>
                  </a:lnTo>
                  <a:lnTo>
                    <a:pt x="1349" y="678"/>
                  </a:lnTo>
                  <a:lnTo>
                    <a:pt x="1323" y="666"/>
                  </a:lnTo>
                  <a:lnTo>
                    <a:pt x="1290" y="678"/>
                  </a:lnTo>
                  <a:lnTo>
                    <a:pt x="1290" y="655"/>
                  </a:lnTo>
                  <a:lnTo>
                    <a:pt x="1273" y="662"/>
                  </a:lnTo>
                  <a:lnTo>
                    <a:pt x="1252" y="645"/>
                  </a:lnTo>
                  <a:lnTo>
                    <a:pt x="1243" y="655"/>
                  </a:lnTo>
                  <a:lnTo>
                    <a:pt x="1243" y="662"/>
                  </a:lnTo>
                  <a:lnTo>
                    <a:pt x="1219" y="678"/>
                  </a:lnTo>
                  <a:lnTo>
                    <a:pt x="1214" y="678"/>
                  </a:lnTo>
                  <a:lnTo>
                    <a:pt x="1188" y="666"/>
                  </a:lnTo>
                  <a:lnTo>
                    <a:pt x="1167" y="683"/>
                  </a:lnTo>
                  <a:lnTo>
                    <a:pt x="1160" y="683"/>
                  </a:lnTo>
                  <a:lnTo>
                    <a:pt x="1167" y="645"/>
                  </a:lnTo>
                  <a:lnTo>
                    <a:pt x="1160" y="629"/>
                  </a:lnTo>
                  <a:lnTo>
                    <a:pt x="1150" y="638"/>
                  </a:lnTo>
                  <a:lnTo>
                    <a:pt x="1143" y="645"/>
                  </a:lnTo>
                  <a:lnTo>
                    <a:pt x="1127" y="638"/>
                  </a:lnTo>
                  <a:lnTo>
                    <a:pt x="1106" y="655"/>
                  </a:lnTo>
                  <a:lnTo>
                    <a:pt x="1089" y="645"/>
                  </a:lnTo>
                  <a:lnTo>
                    <a:pt x="1096" y="638"/>
                  </a:lnTo>
                  <a:lnTo>
                    <a:pt x="1080" y="655"/>
                  </a:lnTo>
                  <a:lnTo>
                    <a:pt x="1075" y="638"/>
                  </a:lnTo>
                  <a:lnTo>
                    <a:pt x="1051" y="645"/>
                  </a:lnTo>
                  <a:lnTo>
                    <a:pt x="1042" y="572"/>
                  </a:lnTo>
                  <a:lnTo>
                    <a:pt x="1025" y="555"/>
                  </a:lnTo>
                  <a:lnTo>
                    <a:pt x="1037" y="551"/>
                  </a:lnTo>
                  <a:lnTo>
                    <a:pt x="1042" y="527"/>
                  </a:lnTo>
                  <a:lnTo>
                    <a:pt x="1021" y="494"/>
                  </a:lnTo>
                  <a:lnTo>
                    <a:pt x="983" y="489"/>
                  </a:lnTo>
                  <a:lnTo>
                    <a:pt x="983" y="478"/>
                  </a:lnTo>
                  <a:lnTo>
                    <a:pt x="1004" y="478"/>
                  </a:lnTo>
                  <a:lnTo>
                    <a:pt x="971" y="461"/>
                  </a:lnTo>
                  <a:lnTo>
                    <a:pt x="966" y="444"/>
                  </a:lnTo>
                  <a:lnTo>
                    <a:pt x="983" y="440"/>
                  </a:lnTo>
                  <a:lnTo>
                    <a:pt x="971" y="423"/>
                  </a:lnTo>
                  <a:lnTo>
                    <a:pt x="966" y="407"/>
                  </a:lnTo>
                  <a:lnTo>
                    <a:pt x="954" y="407"/>
                  </a:lnTo>
                  <a:lnTo>
                    <a:pt x="954" y="383"/>
                  </a:lnTo>
                  <a:lnTo>
                    <a:pt x="954" y="366"/>
                  </a:lnTo>
                  <a:lnTo>
                    <a:pt x="966" y="362"/>
                  </a:lnTo>
                  <a:lnTo>
                    <a:pt x="966" y="345"/>
                  </a:lnTo>
                  <a:lnTo>
                    <a:pt x="983" y="329"/>
                  </a:lnTo>
                  <a:lnTo>
                    <a:pt x="966" y="345"/>
                  </a:lnTo>
                  <a:lnTo>
                    <a:pt x="971" y="317"/>
                  </a:lnTo>
                  <a:lnTo>
                    <a:pt x="983" y="307"/>
                  </a:lnTo>
                  <a:lnTo>
                    <a:pt x="987" y="291"/>
                  </a:lnTo>
                  <a:lnTo>
                    <a:pt x="1009" y="279"/>
                  </a:lnTo>
                  <a:lnTo>
                    <a:pt x="1009" y="279"/>
                  </a:lnTo>
                  <a:lnTo>
                    <a:pt x="1009" y="279"/>
                  </a:lnTo>
                  <a:close/>
                  <a:moveTo>
                    <a:pt x="895" y="152"/>
                  </a:moveTo>
                  <a:lnTo>
                    <a:pt x="895" y="140"/>
                  </a:lnTo>
                  <a:lnTo>
                    <a:pt x="912" y="128"/>
                  </a:lnTo>
                  <a:lnTo>
                    <a:pt x="917" y="140"/>
                  </a:lnTo>
                  <a:lnTo>
                    <a:pt x="917" y="163"/>
                  </a:lnTo>
                  <a:lnTo>
                    <a:pt x="900" y="163"/>
                  </a:lnTo>
                  <a:lnTo>
                    <a:pt x="912" y="152"/>
                  </a:lnTo>
                  <a:lnTo>
                    <a:pt x="895" y="152"/>
                  </a:lnTo>
                  <a:lnTo>
                    <a:pt x="895" y="152"/>
                  </a:lnTo>
                  <a:lnTo>
                    <a:pt x="895" y="152"/>
                  </a:lnTo>
                  <a:close/>
                  <a:moveTo>
                    <a:pt x="1576" y="128"/>
                  </a:moveTo>
                  <a:lnTo>
                    <a:pt x="1592" y="128"/>
                  </a:lnTo>
                  <a:lnTo>
                    <a:pt x="1592" y="140"/>
                  </a:lnTo>
                  <a:lnTo>
                    <a:pt x="1576" y="128"/>
                  </a:lnTo>
                  <a:lnTo>
                    <a:pt x="1576" y="128"/>
                  </a:lnTo>
                  <a:lnTo>
                    <a:pt x="1576" y="128"/>
                  </a:lnTo>
                  <a:close/>
                  <a:moveTo>
                    <a:pt x="1566" y="128"/>
                  </a:moveTo>
                  <a:lnTo>
                    <a:pt x="1576" y="140"/>
                  </a:lnTo>
                  <a:lnTo>
                    <a:pt x="1566" y="140"/>
                  </a:lnTo>
                  <a:lnTo>
                    <a:pt x="1566" y="128"/>
                  </a:lnTo>
                  <a:lnTo>
                    <a:pt x="1566" y="128"/>
                  </a:lnTo>
                  <a:lnTo>
                    <a:pt x="1566" y="128"/>
                  </a:lnTo>
                  <a:close/>
                  <a:moveTo>
                    <a:pt x="2209" y="152"/>
                  </a:moveTo>
                  <a:lnTo>
                    <a:pt x="2197" y="140"/>
                  </a:lnTo>
                  <a:lnTo>
                    <a:pt x="2209" y="147"/>
                  </a:lnTo>
                  <a:lnTo>
                    <a:pt x="2209" y="152"/>
                  </a:lnTo>
                  <a:lnTo>
                    <a:pt x="2209" y="152"/>
                  </a:lnTo>
                  <a:lnTo>
                    <a:pt x="2209" y="152"/>
                  </a:lnTo>
                  <a:close/>
                  <a:moveTo>
                    <a:pt x="2143" y="185"/>
                  </a:moveTo>
                  <a:lnTo>
                    <a:pt x="2133" y="163"/>
                  </a:lnTo>
                  <a:lnTo>
                    <a:pt x="2143" y="163"/>
                  </a:lnTo>
                  <a:lnTo>
                    <a:pt x="2154" y="180"/>
                  </a:lnTo>
                  <a:lnTo>
                    <a:pt x="2143" y="185"/>
                  </a:lnTo>
                  <a:lnTo>
                    <a:pt x="2143" y="185"/>
                  </a:lnTo>
                  <a:lnTo>
                    <a:pt x="2143" y="185"/>
                  </a:lnTo>
                  <a:close/>
                  <a:moveTo>
                    <a:pt x="1545" y="168"/>
                  </a:moveTo>
                  <a:lnTo>
                    <a:pt x="1559" y="180"/>
                  </a:lnTo>
                  <a:lnTo>
                    <a:pt x="1545" y="180"/>
                  </a:lnTo>
                  <a:lnTo>
                    <a:pt x="1545" y="168"/>
                  </a:lnTo>
                  <a:lnTo>
                    <a:pt x="1545" y="168"/>
                  </a:lnTo>
                  <a:lnTo>
                    <a:pt x="1545" y="168"/>
                  </a:lnTo>
                  <a:close/>
                  <a:moveTo>
                    <a:pt x="1566" y="180"/>
                  </a:moveTo>
                  <a:lnTo>
                    <a:pt x="1576" y="185"/>
                  </a:lnTo>
                  <a:lnTo>
                    <a:pt x="1566" y="196"/>
                  </a:lnTo>
                  <a:lnTo>
                    <a:pt x="1566" y="180"/>
                  </a:lnTo>
                  <a:lnTo>
                    <a:pt x="1566" y="180"/>
                  </a:lnTo>
                  <a:lnTo>
                    <a:pt x="1566" y="180"/>
                  </a:lnTo>
                  <a:close/>
                  <a:moveTo>
                    <a:pt x="773" y="196"/>
                  </a:moveTo>
                  <a:lnTo>
                    <a:pt x="773" y="185"/>
                  </a:lnTo>
                  <a:lnTo>
                    <a:pt x="773" y="196"/>
                  </a:lnTo>
                  <a:lnTo>
                    <a:pt x="773" y="196"/>
                  </a:lnTo>
                  <a:lnTo>
                    <a:pt x="773" y="196"/>
                  </a:lnTo>
                  <a:close/>
                  <a:moveTo>
                    <a:pt x="1559" y="185"/>
                  </a:moveTo>
                  <a:lnTo>
                    <a:pt x="1559" y="196"/>
                  </a:lnTo>
                  <a:lnTo>
                    <a:pt x="1559" y="185"/>
                  </a:lnTo>
                  <a:lnTo>
                    <a:pt x="1559" y="185"/>
                  </a:lnTo>
                  <a:lnTo>
                    <a:pt x="1559" y="185"/>
                  </a:lnTo>
                  <a:close/>
                  <a:moveTo>
                    <a:pt x="773" y="201"/>
                  </a:moveTo>
                  <a:lnTo>
                    <a:pt x="773" y="196"/>
                  </a:lnTo>
                  <a:lnTo>
                    <a:pt x="773" y="201"/>
                  </a:lnTo>
                  <a:lnTo>
                    <a:pt x="773" y="201"/>
                  </a:lnTo>
                  <a:lnTo>
                    <a:pt x="773" y="201"/>
                  </a:lnTo>
                  <a:close/>
                  <a:moveTo>
                    <a:pt x="735" y="222"/>
                  </a:moveTo>
                  <a:lnTo>
                    <a:pt x="735" y="206"/>
                  </a:lnTo>
                  <a:lnTo>
                    <a:pt x="739" y="218"/>
                  </a:lnTo>
                  <a:lnTo>
                    <a:pt x="735" y="222"/>
                  </a:lnTo>
                  <a:lnTo>
                    <a:pt x="735" y="222"/>
                  </a:lnTo>
                  <a:lnTo>
                    <a:pt x="735" y="222"/>
                  </a:lnTo>
                  <a:close/>
                  <a:moveTo>
                    <a:pt x="950" y="218"/>
                  </a:moveTo>
                  <a:lnTo>
                    <a:pt x="954" y="206"/>
                  </a:lnTo>
                  <a:lnTo>
                    <a:pt x="954" y="218"/>
                  </a:lnTo>
                  <a:lnTo>
                    <a:pt x="950" y="218"/>
                  </a:lnTo>
                  <a:lnTo>
                    <a:pt x="950" y="218"/>
                  </a:lnTo>
                  <a:lnTo>
                    <a:pt x="950" y="218"/>
                  </a:lnTo>
                  <a:close/>
                  <a:moveTo>
                    <a:pt x="85" y="255"/>
                  </a:moveTo>
                  <a:lnTo>
                    <a:pt x="76" y="255"/>
                  </a:lnTo>
                  <a:lnTo>
                    <a:pt x="52" y="239"/>
                  </a:lnTo>
                  <a:lnTo>
                    <a:pt x="38" y="234"/>
                  </a:lnTo>
                  <a:lnTo>
                    <a:pt x="31" y="222"/>
                  </a:lnTo>
                  <a:lnTo>
                    <a:pt x="38" y="218"/>
                  </a:lnTo>
                  <a:lnTo>
                    <a:pt x="47" y="218"/>
                  </a:lnTo>
                  <a:lnTo>
                    <a:pt x="85" y="251"/>
                  </a:lnTo>
                  <a:lnTo>
                    <a:pt x="85" y="255"/>
                  </a:lnTo>
                  <a:lnTo>
                    <a:pt x="85" y="255"/>
                  </a:lnTo>
                  <a:lnTo>
                    <a:pt x="85" y="255"/>
                  </a:lnTo>
                  <a:close/>
                  <a:moveTo>
                    <a:pt x="2117" y="234"/>
                  </a:moveTo>
                  <a:lnTo>
                    <a:pt x="2117" y="239"/>
                  </a:lnTo>
                  <a:lnTo>
                    <a:pt x="2117" y="222"/>
                  </a:lnTo>
                  <a:lnTo>
                    <a:pt x="2117" y="234"/>
                  </a:lnTo>
                  <a:lnTo>
                    <a:pt x="2117" y="234"/>
                  </a:lnTo>
                  <a:lnTo>
                    <a:pt x="2117" y="234"/>
                  </a:lnTo>
                  <a:close/>
                  <a:moveTo>
                    <a:pt x="2317" y="279"/>
                  </a:moveTo>
                  <a:lnTo>
                    <a:pt x="2317" y="263"/>
                  </a:lnTo>
                  <a:lnTo>
                    <a:pt x="2332" y="239"/>
                  </a:lnTo>
                  <a:lnTo>
                    <a:pt x="2339" y="239"/>
                  </a:lnTo>
                  <a:lnTo>
                    <a:pt x="2348" y="251"/>
                  </a:lnTo>
                  <a:lnTo>
                    <a:pt x="2339" y="263"/>
                  </a:lnTo>
                  <a:lnTo>
                    <a:pt x="2332" y="279"/>
                  </a:lnTo>
                  <a:lnTo>
                    <a:pt x="2317" y="279"/>
                  </a:lnTo>
                  <a:lnTo>
                    <a:pt x="2317" y="279"/>
                  </a:lnTo>
                  <a:lnTo>
                    <a:pt x="2317" y="279"/>
                  </a:lnTo>
                  <a:close/>
                  <a:moveTo>
                    <a:pt x="144" y="279"/>
                  </a:moveTo>
                  <a:lnTo>
                    <a:pt x="128" y="263"/>
                  </a:lnTo>
                  <a:lnTo>
                    <a:pt x="139" y="263"/>
                  </a:lnTo>
                  <a:lnTo>
                    <a:pt x="144" y="279"/>
                  </a:lnTo>
                  <a:lnTo>
                    <a:pt x="144" y="279"/>
                  </a:lnTo>
                  <a:lnTo>
                    <a:pt x="144" y="279"/>
                  </a:lnTo>
                  <a:close/>
                  <a:moveTo>
                    <a:pt x="2284" y="366"/>
                  </a:moveTo>
                  <a:lnTo>
                    <a:pt x="2294" y="366"/>
                  </a:lnTo>
                  <a:lnTo>
                    <a:pt x="2294" y="350"/>
                  </a:lnTo>
                  <a:lnTo>
                    <a:pt x="2306" y="345"/>
                  </a:lnTo>
                  <a:lnTo>
                    <a:pt x="2306" y="329"/>
                  </a:lnTo>
                  <a:lnTo>
                    <a:pt x="2332" y="317"/>
                  </a:lnTo>
                  <a:lnTo>
                    <a:pt x="2348" y="312"/>
                  </a:lnTo>
                  <a:lnTo>
                    <a:pt x="2348" y="350"/>
                  </a:lnTo>
                  <a:lnTo>
                    <a:pt x="2317" y="366"/>
                  </a:lnTo>
                  <a:lnTo>
                    <a:pt x="2322" y="383"/>
                  </a:lnTo>
                  <a:lnTo>
                    <a:pt x="2348" y="390"/>
                  </a:lnTo>
                  <a:lnTo>
                    <a:pt x="2348" y="400"/>
                  </a:lnTo>
                  <a:lnTo>
                    <a:pt x="2360" y="418"/>
                  </a:lnTo>
                  <a:lnTo>
                    <a:pt x="2301" y="390"/>
                  </a:lnTo>
                  <a:lnTo>
                    <a:pt x="2294" y="400"/>
                  </a:lnTo>
                  <a:lnTo>
                    <a:pt x="2294" y="407"/>
                  </a:lnTo>
                  <a:lnTo>
                    <a:pt x="2294" y="435"/>
                  </a:lnTo>
                  <a:lnTo>
                    <a:pt x="2301" y="456"/>
                  </a:lnTo>
                  <a:lnTo>
                    <a:pt x="2322" y="494"/>
                  </a:lnTo>
                  <a:lnTo>
                    <a:pt x="2301" y="478"/>
                  </a:lnTo>
                  <a:lnTo>
                    <a:pt x="2284" y="456"/>
                  </a:lnTo>
                  <a:lnTo>
                    <a:pt x="2280" y="444"/>
                  </a:lnTo>
                  <a:lnTo>
                    <a:pt x="2280" y="418"/>
                  </a:lnTo>
                  <a:lnTo>
                    <a:pt x="2263" y="383"/>
                  </a:lnTo>
                  <a:lnTo>
                    <a:pt x="2268" y="366"/>
                  </a:lnTo>
                  <a:lnTo>
                    <a:pt x="2263" y="366"/>
                  </a:lnTo>
                  <a:lnTo>
                    <a:pt x="2263" y="350"/>
                  </a:lnTo>
                  <a:lnTo>
                    <a:pt x="2251" y="350"/>
                  </a:lnTo>
                  <a:lnTo>
                    <a:pt x="2268" y="307"/>
                  </a:lnTo>
                  <a:lnTo>
                    <a:pt x="2294" y="272"/>
                  </a:lnTo>
                  <a:lnTo>
                    <a:pt x="2301" y="272"/>
                  </a:lnTo>
                  <a:lnTo>
                    <a:pt x="2284" y="291"/>
                  </a:lnTo>
                  <a:lnTo>
                    <a:pt x="2301" y="307"/>
                  </a:lnTo>
                  <a:lnTo>
                    <a:pt x="2301" y="329"/>
                  </a:lnTo>
                  <a:lnTo>
                    <a:pt x="2268" y="362"/>
                  </a:lnTo>
                  <a:lnTo>
                    <a:pt x="2284" y="366"/>
                  </a:lnTo>
                  <a:lnTo>
                    <a:pt x="2284" y="366"/>
                  </a:lnTo>
                  <a:lnTo>
                    <a:pt x="2284" y="366"/>
                  </a:lnTo>
                  <a:close/>
                  <a:moveTo>
                    <a:pt x="454" y="291"/>
                  </a:moveTo>
                  <a:lnTo>
                    <a:pt x="447" y="307"/>
                  </a:lnTo>
                  <a:lnTo>
                    <a:pt x="430" y="307"/>
                  </a:lnTo>
                  <a:lnTo>
                    <a:pt x="430" y="291"/>
                  </a:lnTo>
                  <a:lnTo>
                    <a:pt x="430" y="279"/>
                  </a:lnTo>
                  <a:lnTo>
                    <a:pt x="447" y="272"/>
                  </a:lnTo>
                  <a:lnTo>
                    <a:pt x="454" y="291"/>
                  </a:lnTo>
                  <a:lnTo>
                    <a:pt x="454" y="291"/>
                  </a:lnTo>
                  <a:lnTo>
                    <a:pt x="454" y="291"/>
                  </a:lnTo>
                  <a:close/>
                  <a:moveTo>
                    <a:pt x="1873" y="778"/>
                  </a:moveTo>
                  <a:lnTo>
                    <a:pt x="1852" y="778"/>
                  </a:lnTo>
                  <a:lnTo>
                    <a:pt x="1835" y="766"/>
                  </a:lnTo>
                  <a:lnTo>
                    <a:pt x="1852" y="723"/>
                  </a:lnTo>
                  <a:lnTo>
                    <a:pt x="1831" y="716"/>
                  </a:lnTo>
                  <a:lnTo>
                    <a:pt x="1798" y="683"/>
                  </a:lnTo>
                  <a:lnTo>
                    <a:pt x="1798" y="666"/>
                  </a:lnTo>
                  <a:lnTo>
                    <a:pt x="1814" y="662"/>
                  </a:lnTo>
                  <a:lnTo>
                    <a:pt x="1814" y="629"/>
                  </a:lnTo>
                  <a:lnTo>
                    <a:pt x="1809" y="622"/>
                  </a:lnTo>
                  <a:lnTo>
                    <a:pt x="1793" y="612"/>
                  </a:lnTo>
                  <a:lnTo>
                    <a:pt x="1755" y="645"/>
                  </a:lnTo>
                  <a:lnTo>
                    <a:pt x="1765" y="662"/>
                  </a:lnTo>
                  <a:lnTo>
                    <a:pt x="1765" y="695"/>
                  </a:lnTo>
                  <a:lnTo>
                    <a:pt x="1760" y="723"/>
                  </a:lnTo>
                  <a:lnTo>
                    <a:pt x="1765" y="766"/>
                  </a:lnTo>
                  <a:lnTo>
                    <a:pt x="1755" y="794"/>
                  </a:lnTo>
                  <a:lnTo>
                    <a:pt x="1765" y="834"/>
                  </a:lnTo>
                  <a:lnTo>
                    <a:pt x="1760" y="827"/>
                  </a:lnTo>
                  <a:lnTo>
                    <a:pt x="1743" y="834"/>
                  </a:lnTo>
                  <a:lnTo>
                    <a:pt x="1727" y="827"/>
                  </a:lnTo>
                  <a:lnTo>
                    <a:pt x="1722" y="844"/>
                  </a:lnTo>
                  <a:lnTo>
                    <a:pt x="1710" y="844"/>
                  </a:lnTo>
                  <a:lnTo>
                    <a:pt x="1689" y="822"/>
                  </a:lnTo>
                  <a:lnTo>
                    <a:pt x="1706" y="740"/>
                  </a:lnTo>
                  <a:lnTo>
                    <a:pt x="1706" y="716"/>
                  </a:lnTo>
                  <a:lnTo>
                    <a:pt x="1701" y="695"/>
                  </a:lnTo>
                  <a:lnTo>
                    <a:pt x="1706" y="683"/>
                  </a:lnTo>
                  <a:lnTo>
                    <a:pt x="1689" y="678"/>
                  </a:lnTo>
                  <a:lnTo>
                    <a:pt x="1658" y="683"/>
                  </a:lnTo>
                  <a:lnTo>
                    <a:pt x="1651" y="666"/>
                  </a:lnTo>
                  <a:lnTo>
                    <a:pt x="1658" y="638"/>
                  </a:lnTo>
                  <a:lnTo>
                    <a:pt x="1651" y="638"/>
                  </a:lnTo>
                  <a:lnTo>
                    <a:pt x="1651" y="629"/>
                  </a:lnTo>
                  <a:lnTo>
                    <a:pt x="1651" y="612"/>
                  </a:lnTo>
                  <a:lnTo>
                    <a:pt x="1658" y="622"/>
                  </a:lnTo>
                  <a:lnTo>
                    <a:pt x="1672" y="605"/>
                  </a:lnTo>
                  <a:lnTo>
                    <a:pt x="1684" y="572"/>
                  </a:lnTo>
                  <a:lnTo>
                    <a:pt x="1689" y="567"/>
                  </a:lnTo>
                  <a:lnTo>
                    <a:pt x="1689" y="518"/>
                  </a:lnTo>
                  <a:lnTo>
                    <a:pt x="1706" y="494"/>
                  </a:lnTo>
                  <a:lnTo>
                    <a:pt x="1710" y="478"/>
                  </a:lnTo>
                  <a:lnTo>
                    <a:pt x="1727" y="489"/>
                  </a:lnTo>
                  <a:lnTo>
                    <a:pt x="1722" y="461"/>
                  </a:lnTo>
                  <a:lnTo>
                    <a:pt x="1722" y="440"/>
                  </a:lnTo>
                  <a:lnTo>
                    <a:pt x="1710" y="440"/>
                  </a:lnTo>
                  <a:lnTo>
                    <a:pt x="1706" y="435"/>
                  </a:lnTo>
                  <a:lnTo>
                    <a:pt x="1722" y="440"/>
                  </a:lnTo>
                  <a:lnTo>
                    <a:pt x="1727" y="423"/>
                  </a:lnTo>
                  <a:lnTo>
                    <a:pt x="1722" y="418"/>
                  </a:lnTo>
                  <a:lnTo>
                    <a:pt x="1727" y="390"/>
                  </a:lnTo>
                  <a:lnTo>
                    <a:pt x="1739" y="390"/>
                  </a:lnTo>
                  <a:lnTo>
                    <a:pt x="1739" y="378"/>
                  </a:lnTo>
                  <a:lnTo>
                    <a:pt x="1755" y="366"/>
                  </a:lnTo>
                  <a:lnTo>
                    <a:pt x="1760" y="362"/>
                  </a:lnTo>
                  <a:lnTo>
                    <a:pt x="1760" y="366"/>
                  </a:lnTo>
                  <a:lnTo>
                    <a:pt x="1776" y="378"/>
                  </a:lnTo>
                  <a:lnTo>
                    <a:pt x="1793" y="350"/>
                  </a:lnTo>
                  <a:lnTo>
                    <a:pt x="1793" y="333"/>
                  </a:lnTo>
                  <a:lnTo>
                    <a:pt x="1835" y="333"/>
                  </a:lnTo>
                  <a:lnTo>
                    <a:pt x="1847" y="350"/>
                  </a:lnTo>
                  <a:lnTo>
                    <a:pt x="1869" y="350"/>
                  </a:lnTo>
                  <a:lnTo>
                    <a:pt x="1873" y="350"/>
                  </a:lnTo>
                  <a:lnTo>
                    <a:pt x="1906" y="362"/>
                  </a:lnTo>
                  <a:lnTo>
                    <a:pt x="1939" y="366"/>
                  </a:lnTo>
                  <a:lnTo>
                    <a:pt x="1944" y="362"/>
                  </a:lnTo>
                  <a:lnTo>
                    <a:pt x="1961" y="362"/>
                  </a:lnTo>
                  <a:lnTo>
                    <a:pt x="2015" y="366"/>
                  </a:lnTo>
                  <a:lnTo>
                    <a:pt x="2036" y="350"/>
                  </a:lnTo>
                  <a:lnTo>
                    <a:pt x="2046" y="345"/>
                  </a:lnTo>
                  <a:lnTo>
                    <a:pt x="2062" y="345"/>
                  </a:lnTo>
                  <a:lnTo>
                    <a:pt x="2053" y="329"/>
                  </a:lnTo>
                  <a:lnTo>
                    <a:pt x="2079" y="317"/>
                  </a:lnTo>
                  <a:lnTo>
                    <a:pt x="2079" y="312"/>
                  </a:lnTo>
                  <a:lnTo>
                    <a:pt x="2084" y="307"/>
                  </a:lnTo>
                  <a:lnTo>
                    <a:pt x="2100" y="307"/>
                  </a:lnTo>
                  <a:lnTo>
                    <a:pt x="2105" y="317"/>
                  </a:lnTo>
                  <a:lnTo>
                    <a:pt x="2091" y="329"/>
                  </a:lnTo>
                  <a:lnTo>
                    <a:pt x="2079" y="362"/>
                  </a:lnTo>
                  <a:lnTo>
                    <a:pt x="2036" y="400"/>
                  </a:lnTo>
                  <a:lnTo>
                    <a:pt x="1991" y="407"/>
                  </a:lnTo>
                  <a:lnTo>
                    <a:pt x="1970" y="407"/>
                  </a:lnTo>
                  <a:lnTo>
                    <a:pt x="1954" y="390"/>
                  </a:lnTo>
                  <a:lnTo>
                    <a:pt x="1864" y="400"/>
                  </a:lnTo>
                  <a:lnTo>
                    <a:pt x="1847" y="390"/>
                  </a:lnTo>
                  <a:lnTo>
                    <a:pt x="1814" y="400"/>
                  </a:lnTo>
                  <a:lnTo>
                    <a:pt x="1776" y="390"/>
                  </a:lnTo>
                  <a:lnTo>
                    <a:pt x="1760" y="390"/>
                  </a:lnTo>
                  <a:lnTo>
                    <a:pt x="1743" y="418"/>
                  </a:lnTo>
                  <a:lnTo>
                    <a:pt x="1739" y="440"/>
                  </a:lnTo>
                  <a:lnTo>
                    <a:pt x="1743" y="473"/>
                  </a:lnTo>
                  <a:lnTo>
                    <a:pt x="1755" y="494"/>
                  </a:lnTo>
                  <a:lnTo>
                    <a:pt x="1776" y="501"/>
                  </a:lnTo>
                  <a:lnTo>
                    <a:pt x="1781" y="527"/>
                  </a:lnTo>
                  <a:lnTo>
                    <a:pt x="1793" y="527"/>
                  </a:lnTo>
                  <a:lnTo>
                    <a:pt x="1814" y="534"/>
                  </a:lnTo>
                  <a:lnTo>
                    <a:pt x="1835" y="494"/>
                  </a:lnTo>
                  <a:lnTo>
                    <a:pt x="1852" y="489"/>
                  </a:lnTo>
                  <a:lnTo>
                    <a:pt x="1852" y="494"/>
                  </a:lnTo>
                  <a:lnTo>
                    <a:pt x="1869" y="494"/>
                  </a:lnTo>
                  <a:lnTo>
                    <a:pt x="1885" y="494"/>
                  </a:lnTo>
                  <a:lnTo>
                    <a:pt x="1890" y="489"/>
                  </a:lnTo>
                  <a:lnTo>
                    <a:pt x="1939" y="489"/>
                  </a:lnTo>
                  <a:lnTo>
                    <a:pt x="1944" y="478"/>
                  </a:lnTo>
                  <a:lnTo>
                    <a:pt x="1928" y="478"/>
                  </a:lnTo>
                  <a:lnTo>
                    <a:pt x="1954" y="473"/>
                  </a:lnTo>
                  <a:lnTo>
                    <a:pt x="1970" y="473"/>
                  </a:lnTo>
                  <a:lnTo>
                    <a:pt x="1977" y="489"/>
                  </a:lnTo>
                  <a:lnTo>
                    <a:pt x="1970" y="501"/>
                  </a:lnTo>
                  <a:lnTo>
                    <a:pt x="1961" y="494"/>
                  </a:lnTo>
                  <a:lnTo>
                    <a:pt x="1939" y="494"/>
                  </a:lnTo>
                  <a:lnTo>
                    <a:pt x="1906" y="534"/>
                  </a:lnTo>
                  <a:lnTo>
                    <a:pt x="1869" y="551"/>
                  </a:lnTo>
                  <a:lnTo>
                    <a:pt x="1852" y="567"/>
                  </a:lnTo>
                  <a:lnTo>
                    <a:pt x="1831" y="555"/>
                  </a:lnTo>
                  <a:lnTo>
                    <a:pt x="1831" y="572"/>
                  </a:lnTo>
                  <a:lnTo>
                    <a:pt x="1835" y="572"/>
                  </a:lnTo>
                  <a:lnTo>
                    <a:pt x="1847" y="584"/>
                  </a:lnTo>
                  <a:lnTo>
                    <a:pt x="1869" y="600"/>
                  </a:lnTo>
                  <a:lnTo>
                    <a:pt x="1873" y="622"/>
                  </a:lnTo>
                  <a:lnTo>
                    <a:pt x="1902" y="638"/>
                  </a:lnTo>
                  <a:lnTo>
                    <a:pt x="1902" y="645"/>
                  </a:lnTo>
                  <a:lnTo>
                    <a:pt x="1906" y="655"/>
                  </a:lnTo>
                  <a:lnTo>
                    <a:pt x="1890" y="666"/>
                  </a:lnTo>
                  <a:lnTo>
                    <a:pt x="1890" y="695"/>
                  </a:lnTo>
                  <a:lnTo>
                    <a:pt x="1923" y="711"/>
                  </a:lnTo>
                  <a:lnTo>
                    <a:pt x="1923" y="723"/>
                  </a:lnTo>
                  <a:lnTo>
                    <a:pt x="1939" y="723"/>
                  </a:lnTo>
                  <a:lnTo>
                    <a:pt x="1928" y="716"/>
                  </a:lnTo>
                  <a:lnTo>
                    <a:pt x="1939" y="733"/>
                  </a:lnTo>
                  <a:lnTo>
                    <a:pt x="1939" y="749"/>
                  </a:lnTo>
                  <a:lnTo>
                    <a:pt x="1928" y="749"/>
                  </a:lnTo>
                  <a:lnTo>
                    <a:pt x="1916" y="749"/>
                  </a:lnTo>
                  <a:lnTo>
                    <a:pt x="1885" y="756"/>
                  </a:lnTo>
                  <a:lnTo>
                    <a:pt x="1873" y="766"/>
                  </a:lnTo>
                  <a:lnTo>
                    <a:pt x="1885" y="773"/>
                  </a:lnTo>
                  <a:lnTo>
                    <a:pt x="1873" y="778"/>
                  </a:lnTo>
                  <a:lnTo>
                    <a:pt x="1873" y="778"/>
                  </a:lnTo>
                  <a:lnTo>
                    <a:pt x="1873" y="778"/>
                  </a:lnTo>
                  <a:close/>
                  <a:moveTo>
                    <a:pt x="508" y="329"/>
                  </a:moveTo>
                  <a:lnTo>
                    <a:pt x="508" y="333"/>
                  </a:lnTo>
                  <a:lnTo>
                    <a:pt x="496" y="329"/>
                  </a:lnTo>
                  <a:lnTo>
                    <a:pt x="480" y="317"/>
                  </a:lnTo>
                  <a:lnTo>
                    <a:pt x="470" y="312"/>
                  </a:lnTo>
                  <a:lnTo>
                    <a:pt x="501" y="317"/>
                  </a:lnTo>
                  <a:lnTo>
                    <a:pt x="508" y="329"/>
                  </a:lnTo>
                  <a:lnTo>
                    <a:pt x="508" y="329"/>
                  </a:lnTo>
                  <a:lnTo>
                    <a:pt x="508" y="329"/>
                  </a:lnTo>
                  <a:close/>
                  <a:moveTo>
                    <a:pt x="2105" y="317"/>
                  </a:moveTo>
                  <a:lnTo>
                    <a:pt x="2105" y="329"/>
                  </a:lnTo>
                  <a:lnTo>
                    <a:pt x="2100" y="329"/>
                  </a:lnTo>
                  <a:lnTo>
                    <a:pt x="2105" y="317"/>
                  </a:lnTo>
                  <a:lnTo>
                    <a:pt x="2105" y="317"/>
                  </a:lnTo>
                  <a:lnTo>
                    <a:pt x="2105" y="317"/>
                  </a:lnTo>
                  <a:close/>
                  <a:moveTo>
                    <a:pt x="177" y="390"/>
                  </a:moveTo>
                  <a:lnTo>
                    <a:pt x="173" y="383"/>
                  </a:lnTo>
                  <a:lnTo>
                    <a:pt x="161" y="366"/>
                  </a:lnTo>
                  <a:lnTo>
                    <a:pt x="128" y="329"/>
                  </a:lnTo>
                  <a:lnTo>
                    <a:pt x="144" y="317"/>
                  </a:lnTo>
                  <a:lnTo>
                    <a:pt x="156" y="317"/>
                  </a:lnTo>
                  <a:lnTo>
                    <a:pt x="173" y="345"/>
                  </a:lnTo>
                  <a:lnTo>
                    <a:pt x="182" y="350"/>
                  </a:lnTo>
                  <a:lnTo>
                    <a:pt x="182" y="383"/>
                  </a:lnTo>
                  <a:lnTo>
                    <a:pt x="177" y="390"/>
                  </a:lnTo>
                  <a:lnTo>
                    <a:pt x="177" y="390"/>
                  </a:lnTo>
                  <a:lnTo>
                    <a:pt x="177" y="390"/>
                  </a:lnTo>
                  <a:close/>
                  <a:moveTo>
                    <a:pt x="508" y="345"/>
                  </a:moveTo>
                  <a:lnTo>
                    <a:pt x="508" y="362"/>
                  </a:lnTo>
                  <a:lnTo>
                    <a:pt x="501" y="362"/>
                  </a:lnTo>
                  <a:lnTo>
                    <a:pt x="484" y="350"/>
                  </a:lnTo>
                  <a:lnTo>
                    <a:pt x="484" y="329"/>
                  </a:lnTo>
                  <a:lnTo>
                    <a:pt x="508" y="345"/>
                  </a:lnTo>
                  <a:lnTo>
                    <a:pt x="508" y="345"/>
                  </a:lnTo>
                  <a:lnTo>
                    <a:pt x="508" y="345"/>
                  </a:lnTo>
                  <a:close/>
                  <a:moveTo>
                    <a:pt x="664" y="350"/>
                  </a:moveTo>
                  <a:lnTo>
                    <a:pt x="659" y="366"/>
                  </a:lnTo>
                  <a:lnTo>
                    <a:pt x="631" y="350"/>
                  </a:lnTo>
                  <a:lnTo>
                    <a:pt x="643" y="345"/>
                  </a:lnTo>
                  <a:lnTo>
                    <a:pt x="664" y="350"/>
                  </a:lnTo>
                  <a:lnTo>
                    <a:pt x="664" y="350"/>
                  </a:lnTo>
                  <a:lnTo>
                    <a:pt x="664" y="350"/>
                  </a:lnTo>
                  <a:close/>
                  <a:moveTo>
                    <a:pt x="626" y="345"/>
                  </a:moveTo>
                  <a:lnTo>
                    <a:pt x="614" y="362"/>
                  </a:lnTo>
                  <a:lnTo>
                    <a:pt x="610" y="350"/>
                  </a:lnTo>
                  <a:lnTo>
                    <a:pt x="614" y="345"/>
                  </a:lnTo>
                  <a:lnTo>
                    <a:pt x="626" y="345"/>
                  </a:lnTo>
                  <a:lnTo>
                    <a:pt x="626" y="345"/>
                  </a:lnTo>
                  <a:lnTo>
                    <a:pt x="626" y="345"/>
                  </a:lnTo>
                  <a:close/>
                  <a:moveTo>
                    <a:pt x="550" y="366"/>
                  </a:moveTo>
                  <a:lnTo>
                    <a:pt x="522" y="350"/>
                  </a:lnTo>
                  <a:lnTo>
                    <a:pt x="522" y="345"/>
                  </a:lnTo>
                  <a:lnTo>
                    <a:pt x="550" y="350"/>
                  </a:lnTo>
                  <a:lnTo>
                    <a:pt x="555" y="366"/>
                  </a:lnTo>
                  <a:lnTo>
                    <a:pt x="550" y="366"/>
                  </a:lnTo>
                  <a:lnTo>
                    <a:pt x="550" y="366"/>
                  </a:lnTo>
                  <a:lnTo>
                    <a:pt x="550" y="366"/>
                  </a:lnTo>
                  <a:close/>
                  <a:moveTo>
                    <a:pt x="539" y="378"/>
                  </a:moveTo>
                  <a:lnTo>
                    <a:pt x="534" y="366"/>
                  </a:lnTo>
                  <a:lnTo>
                    <a:pt x="508" y="366"/>
                  </a:lnTo>
                  <a:lnTo>
                    <a:pt x="501" y="366"/>
                  </a:lnTo>
                  <a:lnTo>
                    <a:pt x="508" y="362"/>
                  </a:lnTo>
                  <a:lnTo>
                    <a:pt x="508" y="345"/>
                  </a:lnTo>
                  <a:lnTo>
                    <a:pt x="550" y="366"/>
                  </a:lnTo>
                  <a:lnTo>
                    <a:pt x="539" y="378"/>
                  </a:lnTo>
                  <a:lnTo>
                    <a:pt x="539" y="378"/>
                  </a:lnTo>
                  <a:lnTo>
                    <a:pt x="539" y="378"/>
                  </a:lnTo>
                  <a:close/>
                  <a:moveTo>
                    <a:pt x="572" y="350"/>
                  </a:moveTo>
                  <a:lnTo>
                    <a:pt x="572" y="362"/>
                  </a:lnTo>
                  <a:lnTo>
                    <a:pt x="560" y="345"/>
                  </a:lnTo>
                  <a:lnTo>
                    <a:pt x="572" y="350"/>
                  </a:lnTo>
                  <a:lnTo>
                    <a:pt x="572" y="350"/>
                  </a:lnTo>
                  <a:lnTo>
                    <a:pt x="572" y="350"/>
                  </a:lnTo>
                  <a:close/>
                  <a:moveTo>
                    <a:pt x="610" y="362"/>
                  </a:moveTo>
                  <a:lnTo>
                    <a:pt x="605" y="350"/>
                  </a:lnTo>
                  <a:lnTo>
                    <a:pt x="610" y="362"/>
                  </a:lnTo>
                  <a:lnTo>
                    <a:pt x="610" y="362"/>
                  </a:lnTo>
                  <a:lnTo>
                    <a:pt x="610" y="362"/>
                  </a:lnTo>
                  <a:close/>
                  <a:moveTo>
                    <a:pt x="626" y="366"/>
                  </a:moveTo>
                  <a:lnTo>
                    <a:pt x="614" y="362"/>
                  </a:lnTo>
                  <a:lnTo>
                    <a:pt x="631" y="366"/>
                  </a:lnTo>
                  <a:lnTo>
                    <a:pt x="626" y="366"/>
                  </a:lnTo>
                  <a:lnTo>
                    <a:pt x="626" y="366"/>
                  </a:lnTo>
                  <a:lnTo>
                    <a:pt x="626" y="366"/>
                  </a:lnTo>
                  <a:close/>
                  <a:moveTo>
                    <a:pt x="576" y="378"/>
                  </a:moveTo>
                  <a:lnTo>
                    <a:pt x="572" y="383"/>
                  </a:lnTo>
                  <a:lnTo>
                    <a:pt x="572" y="366"/>
                  </a:lnTo>
                  <a:lnTo>
                    <a:pt x="576" y="378"/>
                  </a:lnTo>
                  <a:lnTo>
                    <a:pt x="576" y="378"/>
                  </a:lnTo>
                  <a:lnTo>
                    <a:pt x="576" y="378"/>
                  </a:lnTo>
                  <a:close/>
                  <a:moveTo>
                    <a:pt x="631" y="378"/>
                  </a:moveTo>
                  <a:lnTo>
                    <a:pt x="626" y="378"/>
                  </a:lnTo>
                  <a:lnTo>
                    <a:pt x="631" y="366"/>
                  </a:lnTo>
                  <a:lnTo>
                    <a:pt x="631" y="378"/>
                  </a:lnTo>
                  <a:lnTo>
                    <a:pt x="631" y="378"/>
                  </a:lnTo>
                  <a:lnTo>
                    <a:pt x="631" y="378"/>
                  </a:lnTo>
                  <a:close/>
                  <a:moveTo>
                    <a:pt x="2263" y="378"/>
                  </a:moveTo>
                  <a:lnTo>
                    <a:pt x="2251" y="383"/>
                  </a:lnTo>
                  <a:lnTo>
                    <a:pt x="2251" y="378"/>
                  </a:lnTo>
                  <a:lnTo>
                    <a:pt x="2263" y="378"/>
                  </a:lnTo>
                  <a:lnTo>
                    <a:pt x="2263" y="378"/>
                  </a:lnTo>
                  <a:lnTo>
                    <a:pt x="2263" y="378"/>
                  </a:lnTo>
                  <a:close/>
                  <a:moveTo>
                    <a:pt x="560" y="383"/>
                  </a:moveTo>
                  <a:lnTo>
                    <a:pt x="555" y="390"/>
                  </a:lnTo>
                  <a:lnTo>
                    <a:pt x="555" y="378"/>
                  </a:lnTo>
                  <a:lnTo>
                    <a:pt x="560" y="383"/>
                  </a:lnTo>
                  <a:lnTo>
                    <a:pt x="560" y="383"/>
                  </a:lnTo>
                  <a:lnTo>
                    <a:pt x="560" y="383"/>
                  </a:lnTo>
                  <a:close/>
                  <a:moveTo>
                    <a:pt x="2251" y="400"/>
                  </a:moveTo>
                  <a:lnTo>
                    <a:pt x="2251" y="407"/>
                  </a:lnTo>
                  <a:lnTo>
                    <a:pt x="2251" y="400"/>
                  </a:lnTo>
                  <a:lnTo>
                    <a:pt x="2251" y="400"/>
                  </a:lnTo>
                  <a:lnTo>
                    <a:pt x="2251" y="400"/>
                  </a:lnTo>
                  <a:close/>
                  <a:moveTo>
                    <a:pt x="248" y="423"/>
                  </a:moveTo>
                  <a:lnTo>
                    <a:pt x="232" y="418"/>
                  </a:lnTo>
                  <a:lnTo>
                    <a:pt x="248" y="418"/>
                  </a:lnTo>
                  <a:lnTo>
                    <a:pt x="248" y="423"/>
                  </a:lnTo>
                  <a:lnTo>
                    <a:pt x="248" y="423"/>
                  </a:lnTo>
                  <a:lnTo>
                    <a:pt x="248" y="423"/>
                  </a:lnTo>
                  <a:close/>
                  <a:moveTo>
                    <a:pt x="2407" y="444"/>
                  </a:moveTo>
                  <a:lnTo>
                    <a:pt x="2386" y="423"/>
                  </a:lnTo>
                  <a:lnTo>
                    <a:pt x="2407" y="440"/>
                  </a:lnTo>
                  <a:lnTo>
                    <a:pt x="2407" y="444"/>
                  </a:lnTo>
                  <a:lnTo>
                    <a:pt x="2407" y="444"/>
                  </a:lnTo>
                  <a:lnTo>
                    <a:pt x="2407" y="444"/>
                  </a:lnTo>
                  <a:close/>
                  <a:moveTo>
                    <a:pt x="680" y="456"/>
                  </a:moveTo>
                  <a:lnTo>
                    <a:pt x="664" y="444"/>
                  </a:lnTo>
                  <a:lnTo>
                    <a:pt x="647" y="444"/>
                  </a:lnTo>
                  <a:lnTo>
                    <a:pt x="643" y="444"/>
                  </a:lnTo>
                  <a:lnTo>
                    <a:pt x="647" y="435"/>
                  </a:lnTo>
                  <a:lnTo>
                    <a:pt x="680" y="440"/>
                  </a:lnTo>
                  <a:lnTo>
                    <a:pt x="680" y="456"/>
                  </a:lnTo>
                  <a:lnTo>
                    <a:pt x="680" y="456"/>
                  </a:lnTo>
                  <a:lnTo>
                    <a:pt x="680" y="456"/>
                  </a:lnTo>
                  <a:close/>
                  <a:moveTo>
                    <a:pt x="232" y="456"/>
                  </a:moveTo>
                  <a:lnTo>
                    <a:pt x="215" y="435"/>
                  </a:lnTo>
                  <a:lnTo>
                    <a:pt x="227" y="435"/>
                  </a:lnTo>
                  <a:lnTo>
                    <a:pt x="232" y="456"/>
                  </a:lnTo>
                  <a:lnTo>
                    <a:pt x="232" y="456"/>
                  </a:lnTo>
                  <a:lnTo>
                    <a:pt x="232" y="456"/>
                  </a:lnTo>
                  <a:close/>
                  <a:moveTo>
                    <a:pt x="2485" y="435"/>
                  </a:moveTo>
                  <a:lnTo>
                    <a:pt x="2516" y="435"/>
                  </a:lnTo>
                  <a:lnTo>
                    <a:pt x="2532" y="440"/>
                  </a:lnTo>
                  <a:lnTo>
                    <a:pt x="2532" y="444"/>
                  </a:lnTo>
                  <a:lnTo>
                    <a:pt x="2523" y="456"/>
                  </a:lnTo>
                  <a:lnTo>
                    <a:pt x="2511" y="456"/>
                  </a:lnTo>
                  <a:lnTo>
                    <a:pt x="2478" y="435"/>
                  </a:lnTo>
                  <a:lnTo>
                    <a:pt x="2499" y="456"/>
                  </a:lnTo>
                  <a:lnTo>
                    <a:pt x="2495" y="461"/>
                  </a:lnTo>
                  <a:lnTo>
                    <a:pt x="2485" y="444"/>
                  </a:lnTo>
                  <a:lnTo>
                    <a:pt x="2478" y="456"/>
                  </a:lnTo>
                  <a:lnTo>
                    <a:pt x="2478" y="444"/>
                  </a:lnTo>
                  <a:lnTo>
                    <a:pt x="2457" y="444"/>
                  </a:lnTo>
                  <a:lnTo>
                    <a:pt x="2469" y="440"/>
                  </a:lnTo>
                  <a:lnTo>
                    <a:pt x="2461" y="440"/>
                  </a:lnTo>
                  <a:lnTo>
                    <a:pt x="2457" y="440"/>
                  </a:lnTo>
                  <a:lnTo>
                    <a:pt x="2485" y="435"/>
                  </a:lnTo>
                  <a:lnTo>
                    <a:pt x="2485" y="435"/>
                  </a:lnTo>
                  <a:lnTo>
                    <a:pt x="2485" y="435"/>
                  </a:lnTo>
                  <a:close/>
                  <a:moveTo>
                    <a:pt x="1890" y="444"/>
                  </a:moveTo>
                  <a:lnTo>
                    <a:pt x="1885" y="444"/>
                  </a:lnTo>
                  <a:lnTo>
                    <a:pt x="1890" y="444"/>
                  </a:lnTo>
                  <a:lnTo>
                    <a:pt x="1890" y="444"/>
                  </a:lnTo>
                  <a:lnTo>
                    <a:pt x="1890" y="444"/>
                  </a:lnTo>
                  <a:close/>
                  <a:moveTo>
                    <a:pt x="593" y="444"/>
                  </a:moveTo>
                  <a:lnTo>
                    <a:pt x="593" y="456"/>
                  </a:lnTo>
                  <a:lnTo>
                    <a:pt x="572" y="456"/>
                  </a:lnTo>
                  <a:lnTo>
                    <a:pt x="576" y="444"/>
                  </a:lnTo>
                  <a:lnTo>
                    <a:pt x="593" y="444"/>
                  </a:lnTo>
                  <a:lnTo>
                    <a:pt x="593" y="444"/>
                  </a:lnTo>
                  <a:lnTo>
                    <a:pt x="593" y="444"/>
                  </a:lnTo>
                  <a:close/>
                  <a:moveTo>
                    <a:pt x="227" y="461"/>
                  </a:moveTo>
                  <a:lnTo>
                    <a:pt x="227" y="473"/>
                  </a:lnTo>
                  <a:lnTo>
                    <a:pt x="215" y="473"/>
                  </a:lnTo>
                  <a:lnTo>
                    <a:pt x="227" y="444"/>
                  </a:lnTo>
                  <a:lnTo>
                    <a:pt x="227" y="461"/>
                  </a:lnTo>
                  <a:lnTo>
                    <a:pt x="227" y="461"/>
                  </a:lnTo>
                  <a:lnTo>
                    <a:pt x="227" y="461"/>
                  </a:lnTo>
                  <a:close/>
                  <a:moveTo>
                    <a:pt x="2246" y="444"/>
                  </a:moveTo>
                  <a:lnTo>
                    <a:pt x="2246" y="461"/>
                  </a:lnTo>
                  <a:lnTo>
                    <a:pt x="2242" y="461"/>
                  </a:lnTo>
                  <a:lnTo>
                    <a:pt x="2242" y="444"/>
                  </a:lnTo>
                  <a:lnTo>
                    <a:pt x="2246" y="444"/>
                  </a:lnTo>
                  <a:lnTo>
                    <a:pt x="2246" y="444"/>
                  </a:lnTo>
                  <a:lnTo>
                    <a:pt x="2246" y="444"/>
                  </a:lnTo>
                  <a:close/>
                  <a:moveTo>
                    <a:pt x="1885" y="456"/>
                  </a:moveTo>
                  <a:lnTo>
                    <a:pt x="1885" y="444"/>
                  </a:lnTo>
                  <a:lnTo>
                    <a:pt x="1885" y="456"/>
                  </a:lnTo>
                  <a:lnTo>
                    <a:pt x="1885" y="456"/>
                  </a:lnTo>
                  <a:lnTo>
                    <a:pt x="1885" y="456"/>
                  </a:lnTo>
                  <a:close/>
                  <a:moveTo>
                    <a:pt x="2263" y="444"/>
                  </a:moveTo>
                  <a:lnTo>
                    <a:pt x="2280" y="461"/>
                  </a:lnTo>
                  <a:lnTo>
                    <a:pt x="2268" y="473"/>
                  </a:lnTo>
                  <a:lnTo>
                    <a:pt x="2280" y="478"/>
                  </a:lnTo>
                  <a:lnTo>
                    <a:pt x="2284" y="478"/>
                  </a:lnTo>
                  <a:lnTo>
                    <a:pt x="2294" y="489"/>
                  </a:lnTo>
                  <a:lnTo>
                    <a:pt x="2284" y="494"/>
                  </a:lnTo>
                  <a:lnTo>
                    <a:pt x="2268" y="489"/>
                  </a:lnTo>
                  <a:lnTo>
                    <a:pt x="2263" y="489"/>
                  </a:lnTo>
                  <a:lnTo>
                    <a:pt x="2246" y="461"/>
                  </a:lnTo>
                  <a:lnTo>
                    <a:pt x="2246" y="456"/>
                  </a:lnTo>
                  <a:lnTo>
                    <a:pt x="2263" y="444"/>
                  </a:lnTo>
                  <a:lnTo>
                    <a:pt x="2263" y="444"/>
                  </a:lnTo>
                  <a:lnTo>
                    <a:pt x="2263" y="444"/>
                  </a:lnTo>
                  <a:close/>
                  <a:moveTo>
                    <a:pt x="1885" y="456"/>
                  </a:moveTo>
                  <a:lnTo>
                    <a:pt x="1869" y="456"/>
                  </a:lnTo>
                  <a:lnTo>
                    <a:pt x="1873" y="444"/>
                  </a:lnTo>
                  <a:lnTo>
                    <a:pt x="1885" y="456"/>
                  </a:lnTo>
                  <a:lnTo>
                    <a:pt x="1885" y="456"/>
                  </a:lnTo>
                  <a:lnTo>
                    <a:pt x="1885" y="456"/>
                  </a:lnTo>
                  <a:close/>
                  <a:moveTo>
                    <a:pt x="647" y="456"/>
                  </a:moveTo>
                  <a:lnTo>
                    <a:pt x="659" y="461"/>
                  </a:lnTo>
                  <a:lnTo>
                    <a:pt x="647" y="473"/>
                  </a:lnTo>
                  <a:lnTo>
                    <a:pt x="631" y="461"/>
                  </a:lnTo>
                  <a:lnTo>
                    <a:pt x="647" y="456"/>
                  </a:lnTo>
                  <a:lnTo>
                    <a:pt x="647" y="456"/>
                  </a:lnTo>
                  <a:lnTo>
                    <a:pt x="647" y="456"/>
                  </a:lnTo>
                  <a:close/>
                  <a:moveTo>
                    <a:pt x="3213" y="612"/>
                  </a:moveTo>
                  <a:lnTo>
                    <a:pt x="3213" y="884"/>
                  </a:lnTo>
                  <a:lnTo>
                    <a:pt x="3203" y="905"/>
                  </a:lnTo>
                  <a:lnTo>
                    <a:pt x="3203" y="922"/>
                  </a:lnTo>
                  <a:lnTo>
                    <a:pt x="3213" y="922"/>
                  </a:lnTo>
                  <a:lnTo>
                    <a:pt x="3213" y="1089"/>
                  </a:lnTo>
                  <a:lnTo>
                    <a:pt x="3142" y="1016"/>
                  </a:lnTo>
                  <a:lnTo>
                    <a:pt x="3149" y="995"/>
                  </a:lnTo>
                  <a:lnTo>
                    <a:pt x="3132" y="1016"/>
                  </a:lnTo>
                  <a:lnTo>
                    <a:pt x="3095" y="1016"/>
                  </a:lnTo>
                  <a:lnTo>
                    <a:pt x="3090" y="1011"/>
                  </a:lnTo>
                  <a:lnTo>
                    <a:pt x="3061" y="1028"/>
                  </a:lnTo>
                  <a:lnTo>
                    <a:pt x="3057" y="1016"/>
                  </a:lnTo>
                  <a:lnTo>
                    <a:pt x="3078" y="978"/>
                  </a:lnTo>
                  <a:lnTo>
                    <a:pt x="3052" y="945"/>
                  </a:lnTo>
                  <a:lnTo>
                    <a:pt x="3073" y="955"/>
                  </a:lnTo>
                  <a:lnTo>
                    <a:pt x="3090" y="945"/>
                  </a:lnTo>
                  <a:lnTo>
                    <a:pt x="3073" y="945"/>
                  </a:lnTo>
                  <a:lnTo>
                    <a:pt x="3057" y="945"/>
                  </a:lnTo>
                  <a:lnTo>
                    <a:pt x="3040" y="933"/>
                  </a:lnTo>
                  <a:lnTo>
                    <a:pt x="3061" y="922"/>
                  </a:lnTo>
                  <a:lnTo>
                    <a:pt x="3078" y="933"/>
                  </a:lnTo>
                  <a:lnTo>
                    <a:pt x="3052" y="917"/>
                  </a:lnTo>
                  <a:lnTo>
                    <a:pt x="3052" y="905"/>
                  </a:lnTo>
                  <a:lnTo>
                    <a:pt x="3024" y="884"/>
                  </a:lnTo>
                  <a:lnTo>
                    <a:pt x="3019" y="851"/>
                  </a:lnTo>
                  <a:lnTo>
                    <a:pt x="3007" y="844"/>
                  </a:lnTo>
                  <a:lnTo>
                    <a:pt x="3024" y="834"/>
                  </a:lnTo>
                  <a:lnTo>
                    <a:pt x="3002" y="844"/>
                  </a:lnTo>
                  <a:lnTo>
                    <a:pt x="3002" y="822"/>
                  </a:lnTo>
                  <a:lnTo>
                    <a:pt x="2998" y="822"/>
                  </a:lnTo>
                  <a:lnTo>
                    <a:pt x="2948" y="789"/>
                  </a:lnTo>
                  <a:lnTo>
                    <a:pt x="2915" y="778"/>
                  </a:lnTo>
                  <a:lnTo>
                    <a:pt x="2856" y="756"/>
                  </a:lnTo>
                  <a:lnTo>
                    <a:pt x="2802" y="749"/>
                  </a:lnTo>
                  <a:lnTo>
                    <a:pt x="2764" y="723"/>
                  </a:lnTo>
                  <a:lnTo>
                    <a:pt x="2771" y="711"/>
                  </a:lnTo>
                  <a:lnTo>
                    <a:pt x="2787" y="711"/>
                  </a:lnTo>
                  <a:lnTo>
                    <a:pt x="2764" y="711"/>
                  </a:lnTo>
                  <a:lnTo>
                    <a:pt x="2754" y="716"/>
                  </a:lnTo>
                  <a:lnTo>
                    <a:pt x="2750" y="711"/>
                  </a:lnTo>
                  <a:lnTo>
                    <a:pt x="2738" y="716"/>
                  </a:lnTo>
                  <a:lnTo>
                    <a:pt x="2733" y="716"/>
                  </a:lnTo>
                  <a:lnTo>
                    <a:pt x="2733" y="700"/>
                  </a:lnTo>
                  <a:lnTo>
                    <a:pt x="2717" y="700"/>
                  </a:lnTo>
                  <a:lnTo>
                    <a:pt x="2712" y="683"/>
                  </a:lnTo>
                  <a:lnTo>
                    <a:pt x="2700" y="695"/>
                  </a:lnTo>
                  <a:lnTo>
                    <a:pt x="2695" y="678"/>
                  </a:lnTo>
                  <a:lnTo>
                    <a:pt x="2700" y="662"/>
                  </a:lnTo>
                  <a:lnTo>
                    <a:pt x="2712" y="655"/>
                  </a:lnTo>
                  <a:lnTo>
                    <a:pt x="2712" y="645"/>
                  </a:lnTo>
                  <a:lnTo>
                    <a:pt x="2695" y="655"/>
                  </a:lnTo>
                  <a:lnTo>
                    <a:pt x="2695" y="678"/>
                  </a:lnTo>
                  <a:lnTo>
                    <a:pt x="2683" y="678"/>
                  </a:lnTo>
                  <a:lnTo>
                    <a:pt x="2683" y="683"/>
                  </a:lnTo>
                  <a:lnTo>
                    <a:pt x="2679" y="700"/>
                  </a:lnTo>
                  <a:lnTo>
                    <a:pt x="2679" y="711"/>
                  </a:lnTo>
                  <a:lnTo>
                    <a:pt x="2662" y="723"/>
                  </a:lnTo>
                  <a:lnTo>
                    <a:pt x="2641" y="723"/>
                  </a:lnTo>
                  <a:lnTo>
                    <a:pt x="2629" y="695"/>
                  </a:lnTo>
                  <a:lnTo>
                    <a:pt x="2641" y="683"/>
                  </a:lnTo>
                  <a:lnTo>
                    <a:pt x="2641" y="678"/>
                  </a:lnTo>
                  <a:lnTo>
                    <a:pt x="2629" y="666"/>
                  </a:lnTo>
                  <a:lnTo>
                    <a:pt x="2624" y="666"/>
                  </a:lnTo>
                  <a:lnTo>
                    <a:pt x="2620" y="655"/>
                  </a:lnTo>
                  <a:lnTo>
                    <a:pt x="2603" y="638"/>
                  </a:lnTo>
                  <a:lnTo>
                    <a:pt x="2587" y="645"/>
                  </a:lnTo>
                  <a:lnTo>
                    <a:pt x="2575" y="629"/>
                  </a:lnTo>
                  <a:lnTo>
                    <a:pt x="2603" y="622"/>
                  </a:lnTo>
                  <a:lnTo>
                    <a:pt x="2629" y="629"/>
                  </a:lnTo>
                  <a:lnTo>
                    <a:pt x="2646" y="605"/>
                  </a:lnTo>
                  <a:lnTo>
                    <a:pt x="2662" y="605"/>
                  </a:lnTo>
                  <a:lnTo>
                    <a:pt x="2683" y="612"/>
                  </a:lnTo>
                  <a:lnTo>
                    <a:pt x="2695" y="612"/>
                  </a:lnTo>
                  <a:lnTo>
                    <a:pt x="2695" y="622"/>
                  </a:lnTo>
                  <a:lnTo>
                    <a:pt x="2700" y="605"/>
                  </a:lnTo>
                  <a:lnTo>
                    <a:pt x="2712" y="622"/>
                  </a:lnTo>
                  <a:lnTo>
                    <a:pt x="2700" y="605"/>
                  </a:lnTo>
                  <a:lnTo>
                    <a:pt x="2717" y="600"/>
                  </a:lnTo>
                  <a:lnTo>
                    <a:pt x="2717" y="589"/>
                  </a:lnTo>
                  <a:lnTo>
                    <a:pt x="2712" y="600"/>
                  </a:lnTo>
                  <a:lnTo>
                    <a:pt x="2700" y="589"/>
                  </a:lnTo>
                  <a:lnTo>
                    <a:pt x="2717" y="584"/>
                  </a:lnTo>
                  <a:lnTo>
                    <a:pt x="2695" y="589"/>
                  </a:lnTo>
                  <a:lnTo>
                    <a:pt x="2674" y="589"/>
                  </a:lnTo>
                  <a:lnTo>
                    <a:pt x="2624" y="600"/>
                  </a:lnTo>
                  <a:lnTo>
                    <a:pt x="2620" y="589"/>
                  </a:lnTo>
                  <a:lnTo>
                    <a:pt x="2603" y="589"/>
                  </a:lnTo>
                  <a:lnTo>
                    <a:pt x="2575" y="584"/>
                  </a:lnTo>
                  <a:lnTo>
                    <a:pt x="2570" y="551"/>
                  </a:lnTo>
                  <a:lnTo>
                    <a:pt x="2523" y="527"/>
                  </a:lnTo>
                  <a:lnTo>
                    <a:pt x="2532" y="534"/>
                  </a:lnTo>
                  <a:lnTo>
                    <a:pt x="2523" y="534"/>
                  </a:lnTo>
                  <a:lnTo>
                    <a:pt x="2511" y="527"/>
                  </a:lnTo>
                  <a:lnTo>
                    <a:pt x="2523" y="511"/>
                  </a:lnTo>
                  <a:lnTo>
                    <a:pt x="2523" y="489"/>
                  </a:lnTo>
                  <a:lnTo>
                    <a:pt x="2570" y="478"/>
                  </a:lnTo>
                  <a:lnTo>
                    <a:pt x="2587" y="461"/>
                  </a:lnTo>
                  <a:lnTo>
                    <a:pt x="2608" y="456"/>
                  </a:lnTo>
                  <a:lnTo>
                    <a:pt x="2662" y="473"/>
                  </a:lnTo>
                  <a:lnTo>
                    <a:pt x="2679" y="478"/>
                  </a:lnTo>
                  <a:lnTo>
                    <a:pt x="2717" y="478"/>
                  </a:lnTo>
                  <a:lnTo>
                    <a:pt x="2726" y="489"/>
                  </a:lnTo>
                  <a:lnTo>
                    <a:pt x="2717" y="494"/>
                  </a:lnTo>
                  <a:lnTo>
                    <a:pt x="2738" y="527"/>
                  </a:lnTo>
                  <a:lnTo>
                    <a:pt x="2726" y="551"/>
                  </a:lnTo>
                  <a:lnTo>
                    <a:pt x="2733" y="600"/>
                  </a:lnTo>
                  <a:lnTo>
                    <a:pt x="2750" y="638"/>
                  </a:lnTo>
                  <a:lnTo>
                    <a:pt x="2754" y="629"/>
                  </a:lnTo>
                  <a:lnTo>
                    <a:pt x="2754" y="612"/>
                  </a:lnTo>
                  <a:lnTo>
                    <a:pt x="2754" y="605"/>
                  </a:lnTo>
                  <a:lnTo>
                    <a:pt x="2764" y="605"/>
                  </a:lnTo>
                  <a:lnTo>
                    <a:pt x="2771" y="645"/>
                  </a:lnTo>
                  <a:lnTo>
                    <a:pt x="2780" y="638"/>
                  </a:lnTo>
                  <a:lnTo>
                    <a:pt x="2780" y="655"/>
                  </a:lnTo>
                  <a:lnTo>
                    <a:pt x="2780" y="662"/>
                  </a:lnTo>
                  <a:lnTo>
                    <a:pt x="2792" y="666"/>
                  </a:lnTo>
                  <a:lnTo>
                    <a:pt x="2825" y="666"/>
                  </a:lnTo>
                  <a:lnTo>
                    <a:pt x="2856" y="645"/>
                  </a:lnTo>
                  <a:lnTo>
                    <a:pt x="2863" y="622"/>
                  </a:lnTo>
                  <a:lnTo>
                    <a:pt x="2877" y="612"/>
                  </a:lnTo>
                  <a:lnTo>
                    <a:pt x="2889" y="589"/>
                  </a:lnTo>
                  <a:lnTo>
                    <a:pt x="2910" y="589"/>
                  </a:lnTo>
                  <a:lnTo>
                    <a:pt x="2943" y="584"/>
                  </a:lnTo>
                  <a:lnTo>
                    <a:pt x="2943" y="555"/>
                  </a:lnTo>
                  <a:lnTo>
                    <a:pt x="2986" y="534"/>
                  </a:lnTo>
                  <a:lnTo>
                    <a:pt x="3128" y="600"/>
                  </a:lnTo>
                  <a:lnTo>
                    <a:pt x="3149" y="600"/>
                  </a:lnTo>
                  <a:lnTo>
                    <a:pt x="3165" y="605"/>
                  </a:lnTo>
                  <a:lnTo>
                    <a:pt x="3187" y="605"/>
                  </a:lnTo>
                  <a:lnTo>
                    <a:pt x="3187" y="622"/>
                  </a:lnTo>
                  <a:lnTo>
                    <a:pt x="3213" y="612"/>
                  </a:lnTo>
                  <a:lnTo>
                    <a:pt x="3213" y="612"/>
                  </a:lnTo>
                  <a:lnTo>
                    <a:pt x="3213" y="612"/>
                  </a:lnTo>
                  <a:close/>
                  <a:moveTo>
                    <a:pt x="1869" y="461"/>
                  </a:moveTo>
                  <a:lnTo>
                    <a:pt x="1852" y="473"/>
                  </a:lnTo>
                  <a:lnTo>
                    <a:pt x="1864" y="456"/>
                  </a:lnTo>
                  <a:lnTo>
                    <a:pt x="1869" y="461"/>
                  </a:lnTo>
                  <a:lnTo>
                    <a:pt x="1869" y="461"/>
                  </a:lnTo>
                  <a:lnTo>
                    <a:pt x="1869" y="461"/>
                  </a:lnTo>
                  <a:close/>
                  <a:moveTo>
                    <a:pt x="2485" y="456"/>
                  </a:moveTo>
                  <a:lnTo>
                    <a:pt x="2485" y="461"/>
                  </a:lnTo>
                  <a:lnTo>
                    <a:pt x="2469" y="461"/>
                  </a:lnTo>
                  <a:lnTo>
                    <a:pt x="2485" y="456"/>
                  </a:lnTo>
                  <a:lnTo>
                    <a:pt x="2485" y="456"/>
                  </a:lnTo>
                  <a:lnTo>
                    <a:pt x="2485" y="456"/>
                  </a:lnTo>
                  <a:close/>
                  <a:moveTo>
                    <a:pt x="2246" y="473"/>
                  </a:moveTo>
                  <a:lnTo>
                    <a:pt x="2246" y="489"/>
                  </a:lnTo>
                  <a:lnTo>
                    <a:pt x="2242" y="489"/>
                  </a:lnTo>
                  <a:lnTo>
                    <a:pt x="2246" y="473"/>
                  </a:lnTo>
                  <a:lnTo>
                    <a:pt x="2246" y="473"/>
                  </a:lnTo>
                  <a:lnTo>
                    <a:pt x="2246" y="473"/>
                  </a:lnTo>
                  <a:close/>
                  <a:moveTo>
                    <a:pt x="2818" y="478"/>
                  </a:moveTo>
                  <a:lnTo>
                    <a:pt x="2839" y="478"/>
                  </a:lnTo>
                  <a:lnTo>
                    <a:pt x="2846" y="478"/>
                  </a:lnTo>
                  <a:lnTo>
                    <a:pt x="2872" y="501"/>
                  </a:lnTo>
                  <a:lnTo>
                    <a:pt x="2889" y="511"/>
                  </a:lnTo>
                  <a:lnTo>
                    <a:pt x="2872" y="518"/>
                  </a:lnTo>
                  <a:lnTo>
                    <a:pt x="2846" y="511"/>
                  </a:lnTo>
                  <a:lnTo>
                    <a:pt x="2839" y="489"/>
                  </a:lnTo>
                  <a:lnTo>
                    <a:pt x="2835" y="494"/>
                  </a:lnTo>
                  <a:lnTo>
                    <a:pt x="2825" y="489"/>
                  </a:lnTo>
                  <a:lnTo>
                    <a:pt x="2818" y="478"/>
                  </a:lnTo>
                  <a:lnTo>
                    <a:pt x="2818" y="478"/>
                  </a:lnTo>
                  <a:lnTo>
                    <a:pt x="2818" y="478"/>
                  </a:lnTo>
                  <a:close/>
                  <a:moveTo>
                    <a:pt x="2495" y="489"/>
                  </a:moveTo>
                  <a:lnTo>
                    <a:pt x="2499" y="489"/>
                  </a:lnTo>
                  <a:lnTo>
                    <a:pt x="2495" y="489"/>
                  </a:lnTo>
                  <a:lnTo>
                    <a:pt x="2461" y="494"/>
                  </a:lnTo>
                  <a:lnTo>
                    <a:pt x="2469" y="489"/>
                  </a:lnTo>
                  <a:lnTo>
                    <a:pt x="2495" y="489"/>
                  </a:lnTo>
                  <a:lnTo>
                    <a:pt x="2495" y="489"/>
                  </a:lnTo>
                  <a:lnTo>
                    <a:pt x="2495" y="489"/>
                  </a:lnTo>
                  <a:close/>
                  <a:moveTo>
                    <a:pt x="2499" y="494"/>
                  </a:moveTo>
                  <a:lnTo>
                    <a:pt x="2516" y="494"/>
                  </a:lnTo>
                  <a:lnTo>
                    <a:pt x="2511" y="527"/>
                  </a:lnTo>
                  <a:lnTo>
                    <a:pt x="2495" y="518"/>
                  </a:lnTo>
                  <a:lnTo>
                    <a:pt x="2485" y="501"/>
                  </a:lnTo>
                  <a:lnTo>
                    <a:pt x="2499" y="494"/>
                  </a:lnTo>
                  <a:lnTo>
                    <a:pt x="2499" y="494"/>
                  </a:lnTo>
                  <a:lnTo>
                    <a:pt x="2499" y="494"/>
                  </a:lnTo>
                  <a:close/>
                  <a:moveTo>
                    <a:pt x="286" y="551"/>
                  </a:moveTo>
                  <a:lnTo>
                    <a:pt x="279" y="546"/>
                  </a:lnTo>
                  <a:lnTo>
                    <a:pt x="279" y="555"/>
                  </a:lnTo>
                  <a:lnTo>
                    <a:pt x="269" y="555"/>
                  </a:lnTo>
                  <a:lnTo>
                    <a:pt x="248" y="546"/>
                  </a:lnTo>
                  <a:lnTo>
                    <a:pt x="232" y="511"/>
                  </a:lnTo>
                  <a:lnTo>
                    <a:pt x="236" y="494"/>
                  </a:lnTo>
                  <a:lnTo>
                    <a:pt x="253" y="494"/>
                  </a:lnTo>
                  <a:lnTo>
                    <a:pt x="286" y="551"/>
                  </a:lnTo>
                  <a:lnTo>
                    <a:pt x="286" y="551"/>
                  </a:lnTo>
                  <a:lnTo>
                    <a:pt x="286" y="551"/>
                  </a:lnTo>
                  <a:close/>
                  <a:moveTo>
                    <a:pt x="2780" y="494"/>
                  </a:moveTo>
                  <a:lnTo>
                    <a:pt x="2787" y="501"/>
                  </a:lnTo>
                  <a:lnTo>
                    <a:pt x="2780" y="511"/>
                  </a:lnTo>
                  <a:lnTo>
                    <a:pt x="2771" y="501"/>
                  </a:lnTo>
                  <a:lnTo>
                    <a:pt x="2780" y="494"/>
                  </a:lnTo>
                  <a:lnTo>
                    <a:pt x="2780" y="494"/>
                  </a:lnTo>
                  <a:lnTo>
                    <a:pt x="2780" y="494"/>
                  </a:lnTo>
                  <a:close/>
                  <a:moveTo>
                    <a:pt x="1021" y="501"/>
                  </a:moveTo>
                  <a:lnTo>
                    <a:pt x="1021" y="511"/>
                  </a:lnTo>
                  <a:lnTo>
                    <a:pt x="999" y="518"/>
                  </a:lnTo>
                  <a:lnTo>
                    <a:pt x="999" y="501"/>
                  </a:lnTo>
                  <a:lnTo>
                    <a:pt x="1021" y="501"/>
                  </a:lnTo>
                  <a:lnTo>
                    <a:pt x="1021" y="501"/>
                  </a:lnTo>
                  <a:lnTo>
                    <a:pt x="1021" y="501"/>
                  </a:lnTo>
                  <a:close/>
                  <a:moveTo>
                    <a:pt x="2431" y="511"/>
                  </a:moveTo>
                  <a:lnTo>
                    <a:pt x="2414" y="518"/>
                  </a:lnTo>
                  <a:lnTo>
                    <a:pt x="2431" y="511"/>
                  </a:lnTo>
                  <a:lnTo>
                    <a:pt x="2431" y="511"/>
                  </a:lnTo>
                  <a:lnTo>
                    <a:pt x="2431" y="511"/>
                  </a:lnTo>
                  <a:close/>
                  <a:moveTo>
                    <a:pt x="1982" y="518"/>
                  </a:moveTo>
                  <a:lnTo>
                    <a:pt x="1977" y="534"/>
                  </a:lnTo>
                  <a:lnTo>
                    <a:pt x="1970" y="534"/>
                  </a:lnTo>
                  <a:lnTo>
                    <a:pt x="1961" y="546"/>
                  </a:lnTo>
                  <a:lnTo>
                    <a:pt x="1954" y="546"/>
                  </a:lnTo>
                  <a:lnTo>
                    <a:pt x="1961" y="534"/>
                  </a:lnTo>
                  <a:lnTo>
                    <a:pt x="1954" y="527"/>
                  </a:lnTo>
                  <a:lnTo>
                    <a:pt x="1939" y="546"/>
                  </a:lnTo>
                  <a:lnTo>
                    <a:pt x="1928" y="534"/>
                  </a:lnTo>
                  <a:lnTo>
                    <a:pt x="1939" y="511"/>
                  </a:lnTo>
                  <a:lnTo>
                    <a:pt x="1961" y="511"/>
                  </a:lnTo>
                  <a:lnTo>
                    <a:pt x="1961" y="527"/>
                  </a:lnTo>
                  <a:lnTo>
                    <a:pt x="1977" y="518"/>
                  </a:lnTo>
                  <a:lnTo>
                    <a:pt x="1982" y="518"/>
                  </a:lnTo>
                  <a:lnTo>
                    <a:pt x="1982" y="518"/>
                  </a:lnTo>
                  <a:lnTo>
                    <a:pt x="1982" y="518"/>
                  </a:lnTo>
                  <a:close/>
                  <a:moveTo>
                    <a:pt x="2268" y="511"/>
                  </a:moveTo>
                  <a:lnTo>
                    <a:pt x="2268" y="518"/>
                  </a:lnTo>
                  <a:lnTo>
                    <a:pt x="2263" y="518"/>
                  </a:lnTo>
                  <a:lnTo>
                    <a:pt x="2268" y="511"/>
                  </a:lnTo>
                  <a:lnTo>
                    <a:pt x="2268" y="511"/>
                  </a:lnTo>
                  <a:lnTo>
                    <a:pt x="2268" y="511"/>
                  </a:lnTo>
                  <a:close/>
                  <a:moveTo>
                    <a:pt x="2251" y="546"/>
                  </a:moveTo>
                  <a:lnTo>
                    <a:pt x="2263" y="534"/>
                  </a:lnTo>
                  <a:lnTo>
                    <a:pt x="2268" y="527"/>
                  </a:lnTo>
                  <a:lnTo>
                    <a:pt x="2306" y="551"/>
                  </a:lnTo>
                  <a:lnTo>
                    <a:pt x="2301" y="551"/>
                  </a:lnTo>
                  <a:lnTo>
                    <a:pt x="2268" y="551"/>
                  </a:lnTo>
                  <a:lnTo>
                    <a:pt x="2251" y="551"/>
                  </a:lnTo>
                  <a:lnTo>
                    <a:pt x="2251" y="546"/>
                  </a:lnTo>
                  <a:lnTo>
                    <a:pt x="2251" y="546"/>
                  </a:lnTo>
                  <a:lnTo>
                    <a:pt x="2251" y="546"/>
                  </a:lnTo>
                  <a:close/>
                  <a:moveTo>
                    <a:pt x="803" y="645"/>
                  </a:moveTo>
                  <a:lnTo>
                    <a:pt x="803" y="655"/>
                  </a:lnTo>
                  <a:lnTo>
                    <a:pt x="787" y="655"/>
                  </a:lnTo>
                  <a:lnTo>
                    <a:pt x="787" y="645"/>
                  </a:lnTo>
                  <a:lnTo>
                    <a:pt x="749" y="629"/>
                  </a:lnTo>
                  <a:lnTo>
                    <a:pt x="749" y="622"/>
                  </a:lnTo>
                  <a:lnTo>
                    <a:pt x="749" y="605"/>
                  </a:lnTo>
                  <a:lnTo>
                    <a:pt x="739" y="600"/>
                  </a:lnTo>
                  <a:lnTo>
                    <a:pt x="735" y="584"/>
                  </a:lnTo>
                  <a:lnTo>
                    <a:pt x="697" y="572"/>
                  </a:lnTo>
                  <a:lnTo>
                    <a:pt x="697" y="567"/>
                  </a:lnTo>
                  <a:lnTo>
                    <a:pt x="711" y="555"/>
                  </a:lnTo>
                  <a:lnTo>
                    <a:pt x="711" y="551"/>
                  </a:lnTo>
                  <a:lnTo>
                    <a:pt x="711" y="546"/>
                  </a:lnTo>
                  <a:lnTo>
                    <a:pt x="723" y="546"/>
                  </a:lnTo>
                  <a:lnTo>
                    <a:pt x="735" y="551"/>
                  </a:lnTo>
                  <a:lnTo>
                    <a:pt x="739" y="555"/>
                  </a:lnTo>
                  <a:lnTo>
                    <a:pt x="735" y="546"/>
                  </a:lnTo>
                  <a:lnTo>
                    <a:pt x="749" y="534"/>
                  </a:lnTo>
                  <a:lnTo>
                    <a:pt x="756" y="546"/>
                  </a:lnTo>
                  <a:lnTo>
                    <a:pt x="773" y="600"/>
                  </a:lnTo>
                  <a:lnTo>
                    <a:pt x="810" y="612"/>
                  </a:lnTo>
                  <a:lnTo>
                    <a:pt x="794" y="638"/>
                  </a:lnTo>
                  <a:lnTo>
                    <a:pt x="803" y="645"/>
                  </a:lnTo>
                  <a:lnTo>
                    <a:pt x="803" y="645"/>
                  </a:lnTo>
                  <a:lnTo>
                    <a:pt x="803" y="645"/>
                  </a:lnTo>
                  <a:close/>
                  <a:moveTo>
                    <a:pt x="966" y="546"/>
                  </a:moveTo>
                  <a:lnTo>
                    <a:pt x="954" y="551"/>
                  </a:lnTo>
                  <a:lnTo>
                    <a:pt x="950" y="546"/>
                  </a:lnTo>
                  <a:lnTo>
                    <a:pt x="966" y="546"/>
                  </a:lnTo>
                  <a:lnTo>
                    <a:pt x="966" y="546"/>
                  </a:lnTo>
                  <a:lnTo>
                    <a:pt x="966" y="546"/>
                  </a:lnTo>
                  <a:close/>
                  <a:moveTo>
                    <a:pt x="2825" y="546"/>
                  </a:moveTo>
                  <a:lnTo>
                    <a:pt x="2927" y="555"/>
                  </a:lnTo>
                  <a:lnTo>
                    <a:pt x="2894" y="567"/>
                  </a:lnTo>
                  <a:lnTo>
                    <a:pt x="2872" y="567"/>
                  </a:lnTo>
                  <a:lnTo>
                    <a:pt x="2818" y="546"/>
                  </a:lnTo>
                  <a:lnTo>
                    <a:pt x="2825" y="546"/>
                  </a:lnTo>
                  <a:lnTo>
                    <a:pt x="2825" y="546"/>
                  </a:lnTo>
                  <a:lnTo>
                    <a:pt x="2825" y="546"/>
                  </a:lnTo>
                  <a:close/>
                  <a:moveTo>
                    <a:pt x="2046" y="551"/>
                  </a:moveTo>
                  <a:lnTo>
                    <a:pt x="2100" y="551"/>
                  </a:lnTo>
                  <a:lnTo>
                    <a:pt x="2105" y="551"/>
                  </a:lnTo>
                  <a:lnTo>
                    <a:pt x="2105" y="567"/>
                  </a:lnTo>
                  <a:lnTo>
                    <a:pt x="2079" y="567"/>
                  </a:lnTo>
                  <a:lnTo>
                    <a:pt x="2046" y="572"/>
                  </a:lnTo>
                  <a:lnTo>
                    <a:pt x="2036" y="555"/>
                  </a:lnTo>
                  <a:lnTo>
                    <a:pt x="2046" y="551"/>
                  </a:lnTo>
                  <a:lnTo>
                    <a:pt x="2046" y="551"/>
                  </a:lnTo>
                  <a:lnTo>
                    <a:pt x="2046" y="551"/>
                  </a:lnTo>
                  <a:close/>
                  <a:moveTo>
                    <a:pt x="2461" y="551"/>
                  </a:moveTo>
                  <a:lnTo>
                    <a:pt x="2469" y="555"/>
                  </a:lnTo>
                  <a:lnTo>
                    <a:pt x="2461" y="572"/>
                  </a:lnTo>
                  <a:lnTo>
                    <a:pt x="2445" y="572"/>
                  </a:lnTo>
                  <a:lnTo>
                    <a:pt x="2414" y="567"/>
                  </a:lnTo>
                  <a:lnTo>
                    <a:pt x="2461" y="551"/>
                  </a:lnTo>
                  <a:lnTo>
                    <a:pt x="2461" y="551"/>
                  </a:lnTo>
                  <a:lnTo>
                    <a:pt x="2461" y="551"/>
                  </a:lnTo>
                  <a:close/>
                  <a:moveTo>
                    <a:pt x="1961" y="555"/>
                  </a:moveTo>
                  <a:lnTo>
                    <a:pt x="1954" y="567"/>
                  </a:lnTo>
                  <a:lnTo>
                    <a:pt x="1954" y="555"/>
                  </a:lnTo>
                  <a:lnTo>
                    <a:pt x="1961" y="555"/>
                  </a:lnTo>
                  <a:lnTo>
                    <a:pt x="1961" y="555"/>
                  </a:lnTo>
                  <a:lnTo>
                    <a:pt x="1961" y="555"/>
                  </a:lnTo>
                  <a:close/>
                  <a:moveTo>
                    <a:pt x="2117" y="555"/>
                  </a:moveTo>
                  <a:lnTo>
                    <a:pt x="2187" y="555"/>
                  </a:lnTo>
                  <a:lnTo>
                    <a:pt x="2121" y="567"/>
                  </a:lnTo>
                  <a:lnTo>
                    <a:pt x="2105" y="567"/>
                  </a:lnTo>
                  <a:lnTo>
                    <a:pt x="2117" y="555"/>
                  </a:lnTo>
                  <a:lnTo>
                    <a:pt x="2117" y="555"/>
                  </a:lnTo>
                  <a:lnTo>
                    <a:pt x="2117" y="555"/>
                  </a:lnTo>
                  <a:close/>
                  <a:moveTo>
                    <a:pt x="2008" y="567"/>
                  </a:moveTo>
                  <a:lnTo>
                    <a:pt x="2008" y="572"/>
                  </a:lnTo>
                  <a:lnTo>
                    <a:pt x="1998" y="567"/>
                  </a:lnTo>
                  <a:lnTo>
                    <a:pt x="2008" y="567"/>
                  </a:lnTo>
                  <a:lnTo>
                    <a:pt x="2008" y="567"/>
                  </a:lnTo>
                  <a:lnTo>
                    <a:pt x="2008" y="567"/>
                  </a:lnTo>
                  <a:close/>
                  <a:moveTo>
                    <a:pt x="2154" y="572"/>
                  </a:moveTo>
                  <a:lnTo>
                    <a:pt x="2159" y="605"/>
                  </a:lnTo>
                  <a:lnTo>
                    <a:pt x="2143" y="584"/>
                  </a:lnTo>
                  <a:lnTo>
                    <a:pt x="2154" y="572"/>
                  </a:lnTo>
                  <a:lnTo>
                    <a:pt x="2154" y="572"/>
                  </a:lnTo>
                  <a:lnTo>
                    <a:pt x="2154" y="572"/>
                  </a:lnTo>
                  <a:close/>
                  <a:moveTo>
                    <a:pt x="324" y="600"/>
                  </a:moveTo>
                  <a:lnTo>
                    <a:pt x="302" y="589"/>
                  </a:lnTo>
                  <a:lnTo>
                    <a:pt x="302" y="572"/>
                  </a:lnTo>
                  <a:lnTo>
                    <a:pt x="307" y="572"/>
                  </a:lnTo>
                  <a:lnTo>
                    <a:pt x="324" y="600"/>
                  </a:lnTo>
                  <a:lnTo>
                    <a:pt x="324" y="600"/>
                  </a:lnTo>
                  <a:lnTo>
                    <a:pt x="324" y="600"/>
                  </a:lnTo>
                  <a:close/>
                  <a:moveTo>
                    <a:pt x="345" y="629"/>
                  </a:moveTo>
                  <a:lnTo>
                    <a:pt x="333" y="629"/>
                  </a:lnTo>
                  <a:lnTo>
                    <a:pt x="333" y="605"/>
                  </a:lnTo>
                  <a:lnTo>
                    <a:pt x="345" y="629"/>
                  </a:lnTo>
                  <a:lnTo>
                    <a:pt x="345" y="629"/>
                  </a:lnTo>
                  <a:lnTo>
                    <a:pt x="345" y="629"/>
                  </a:lnTo>
                  <a:close/>
                  <a:moveTo>
                    <a:pt x="862" y="629"/>
                  </a:moveTo>
                  <a:lnTo>
                    <a:pt x="874" y="612"/>
                  </a:lnTo>
                  <a:lnTo>
                    <a:pt x="879" y="612"/>
                  </a:lnTo>
                  <a:lnTo>
                    <a:pt x="900" y="612"/>
                  </a:lnTo>
                  <a:lnTo>
                    <a:pt x="917" y="638"/>
                  </a:lnTo>
                  <a:lnTo>
                    <a:pt x="900" y="662"/>
                  </a:lnTo>
                  <a:lnTo>
                    <a:pt x="895" y="662"/>
                  </a:lnTo>
                  <a:lnTo>
                    <a:pt x="891" y="645"/>
                  </a:lnTo>
                  <a:lnTo>
                    <a:pt x="879" y="655"/>
                  </a:lnTo>
                  <a:lnTo>
                    <a:pt x="862" y="662"/>
                  </a:lnTo>
                  <a:lnTo>
                    <a:pt x="862" y="629"/>
                  </a:lnTo>
                  <a:lnTo>
                    <a:pt x="862" y="629"/>
                  </a:lnTo>
                  <a:lnTo>
                    <a:pt x="862" y="629"/>
                  </a:lnTo>
                  <a:close/>
                  <a:moveTo>
                    <a:pt x="361" y="666"/>
                  </a:moveTo>
                  <a:lnTo>
                    <a:pt x="345" y="645"/>
                  </a:lnTo>
                  <a:lnTo>
                    <a:pt x="345" y="629"/>
                  </a:lnTo>
                  <a:lnTo>
                    <a:pt x="361" y="645"/>
                  </a:lnTo>
                  <a:lnTo>
                    <a:pt x="361" y="655"/>
                  </a:lnTo>
                  <a:lnTo>
                    <a:pt x="361" y="666"/>
                  </a:lnTo>
                  <a:lnTo>
                    <a:pt x="361" y="666"/>
                  </a:lnTo>
                  <a:lnTo>
                    <a:pt x="361" y="666"/>
                  </a:lnTo>
                  <a:close/>
                  <a:moveTo>
                    <a:pt x="2294" y="683"/>
                  </a:moveTo>
                  <a:lnTo>
                    <a:pt x="2284" y="662"/>
                  </a:lnTo>
                  <a:lnTo>
                    <a:pt x="2306" y="638"/>
                  </a:lnTo>
                  <a:lnTo>
                    <a:pt x="2360" y="638"/>
                  </a:lnTo>
                  <a:lnTo>
                    <a:pt x="2376" y="645"/>
                  </a:lnTo>
                  <a:lnTo>
                    <a:pt x="2407" y="629"/>
                  </a:lnTo>
                  <a:lnTo>
                    <a:pt x="2440" y="645"/>
                  </a:lnTo>
                  <a:lnTo>
                    <a:pt x="2461" y="645"/>
                  </a:lnTo>
                  <a:lnTo>
                    <a:pt x="2478" y="655"/>
                  </a:lnTo>
                  <a:lnTo>
                    <a:pt x="2485" y="666"/>
                  </a:lnTo>
                  <a:lnTo>
                    <a:pt x="2495" y="678"/>
                  </a:lnTo>
                  <a:lnTo>
                    <a:pt x="2499" y="683"/>
                  </a:lnTo>
                  <a:lnTo>
                    <a:pt x="2495" y="711"/>
                  </a:lnTo>
                  <a:lnTo>
                    <a:pt x="2440" y="678"/>
                  </a:lnTo>
                  <a:lnTo>
                    <a:pt x="2431" y="666"/>
                  </a:lnTo>
                  <a:lnTo>
                    <a:pt x="2402" y="666"/>
                  </a:lnTo>
                  <a:lnTo>
                    <a:pt x="2402" y="678"/>
                  </a:lnTo>
                  <a:lnTo>
                    <a:pt x="2360" y="666"/>
                  </a:lnTo>
                  <a:lnTo>
                    <a:pt x="2369" y="662"/>
                  </a:lnTo>
                  <a:lnTo>
                    <a:pt x="2360" y="662"/>
                  </a:lnTo>
                  <a:lnTo>
                    <a:pt x="2332" y="678"/>
                  </a:lnTo>
                  <a:lnTo>
                    <a:pt x="2306" y="655"/>
                  </a:lnTo>
                  <a:lnTo>
                    <a:pt x="2294" y="683"/>
                  </a:lnTo>
                  <a:lnTo>
                    <a:pt x="2294" y="683"/>
                  </a:lnTo>
                  <a:lnTo>
                    <a:pt x="2294" y="683"/>
                  </a:lnTo>
                  <a:close/>
                  <a:moveTo>
                    <a:pt x="858" y="629"/>
                  </a:moveTo>
                  <a:lnTo>
                    <a:pt x="858" y="638"/>
                  </a:lnTo>
                  <a:lnTo>
                    <a:pt x="848" y="638"/>
                  </a:lnTo>
                  <a:lnTo>
                    <a:pt x="858" y="629"/>
                  </a:lnTo>
                  <a:lnTo>
                    <a:pt x="858" y="629"/>
                  </a:lnTo>
                  <a:lnTo>
                    <a:pt x="858" y="629"/>
                  </a:lnTo>
                  <a:close/>
                  <a:moveTo>
                    <a:pt x="810" y="638"/>
                  </a:moveTo>
                  <a:lnTo>
                    <a:pt x="820" y="638"/>
                  </a:lnTo>
                  <a:lnTo>
                    <a:pt x="820" y="645"/>
                  </a:lnTo>
                  <a:lnTo>
                    <a:pt x="803" y="645"/>
                  </a:lnTo>
                  <a:lnTo>
                    <a:pt x="810" y="638"/>
                  </a:lnTo>
                  <a:lnTo>
                    <a:pt x="810" y="638"/>
                  </a:lnTo>
                  <a:lnTo>
                    <a:pt x="810" y="638"/>
                  </a:lnTo>
                  <a:close/>
                  <a:moveTo>
                    <a:pt x="2294" y="638"/>
                  </a:moveTo>
                  <a:lnTo>
                    <a:pt x="2294" y="645"/>
                  </a:lnTo>
                  <a:lnTo>
                    <a:pt x="2284" y="645"/>
                  </a:lnTo>
                  <a:lnTo>
                    <a:pt x="2294" y="638"/>
                  </a:lnTo>
                  <a:lnTo>
                    <a:pt x="2294" y="638"/>
                  </a:lnTo>
                  <a:lnTo>
                    <a:pt x="2294" y="638"/>
                  </a:lnTo>
                  <a:close/>
                  <a:moveTo>
                    <a:pt x="2171" y="655"/>
                  </a:moveTo>
                  <a:lnTo>
                    <a:pt x="2171" y="662"/>
                  </a:lnTo>
                  <a:lnTo>
                    <a:pt x="2187" y="655"/>
                  </a:lnTo>
                  <a:lnTo>
                    <a:pt x="2209" y="645"/>
                  </a:lnTo>
                  <a:lnTo>
                    <a:pt x="2230" y="655"/>
                  </a:lnTo>
                  <a:lnTo>
                    <a:pt x="2242" y="662"/>
                  </a:lnTo>
                  <a:lnTo>
                    <a:pt x="2230" y="666"/>
                  </a:lnTo>
                  <a:lnTo>
                    <a:pt x="2246" y="666"/>
                  </a:lnTo>
                  <a:lnTo>
                    <a:pt x="2246" y="695"/>
                  </a:lnTo>
                  <a:lnTo>
                    <a:pt x="2209" y="700"/>
                  </a:lnTo>
                  <a:lnTo>
                    <a:pt x="2192" y="700"/>
                  </a:lnTo>
                  <a:lnTo>
                    <a:pt x="2159" y="678"/>
                  </a:lnTo>
                  <a:lnTo>
                    <a:pt x="2159" y="662"/>
                  </a:lnTo>
                  <a:lnTo>
                    <a:pt x="2171" y="655"/>
                  </a:lnTo>
                  <a:lnTo>
                    <a:pt x="2171" y="655"/>
                  </a:lnTo>
                  <a:lnTo>
                    <a:pt x="2171" y="655"/>
                  </a:lnTo>
                  <a:close/>
                  <a:moveTo>
                    <a:pt x="2280" y="655"/>
                  </a:moveTo>
                  <a:lnTo>
                    <a:pt x="2284" y="662"/>
                  </a:lnTo>
                  <a:lnTo>
                    <a:pt x="2268" y="662"/>
                  </a:lnTo>
                  <a:lnTo>
                    <a:pt x="2280" y="655"/>
                  </a:lnTo>
                  <a:lnTo>
                    <a:pt x="2280" y="655"/>
                  </a:lnTo>
                  <a:lnTo>
                    <a:pt x="2280" y="655"/>
                  </a:lnTo>
                  <a:close/>
                  <a:moveTo>
                    <a:pt x="1474" y="662"/>
                  </a:moveTo>
                  <a:lnTo>
                    <a:pt x="1474" y="711"/>
                  </a:lnTo>
                  <a:lnTo>
                    <a:pt x="1458" y="716"/>
                  </a:lnTo>
                  <a:lnTo>
                    <a:pt x="1458" y="695"/>
                  </a:lnTo>
                  <a:lnTo>
                    <a:pt x="1469" y="666"/>
                  </a:lnTo>
                  <a:lnTo>
                    <a:pt x="1474" y="662"/>
                  </a:lnTo>
                  <a:lnTo>
                    <a:pt x="1474" y="662"/>
                  </a:lnTo>
                  <a:lnTo>
                    <a:pt x="1474" y="662"/>
                  </a:lnTo>
                  <a:close/>
                  <a:moveTo>
                    <a:pt x="2268" y="662"/>
                  </a:moveTo>
                  <a:lnTo>
                    <a:pt x="2268" y="666"/>
                  </a:lnTo>
                  <a:lnTo>
                    <a:pt x="2263" y="666"/>
                  </a:lnTo>
                  <a:lnTo>
                    <a:pt x="2268" y="662"/>
                  </a:lnTo>
                  <a:lnTo>
                    <a:pt x="2268" y="662"/>
                  </a:lnTo>
                  <a:lnTo>
                    <a:pt x="2268" y="662"/>
                  </a:lnTo>
                  <a:close/>
                  <a:moveTo>
                    <a:pt x="1484" y="678"/>
                  </a:moveTo>
                  <a:lnTo>
                    <a:pt x="1484" y="695"/>
                  </a:lnTo>
                  <a:lnTo>
                    <a:pt x="1474" y="683"/>
                  </a:lnTo>
                  <a:lnTo>
                    <a:pt x="1484" y="678"/>
                  </a:lnTo>
                  <a:lnTo>
                    <a:pt x="1484" y="678"/>
                  </a:lnTo>
                  <a:lnTo>
                    <a:pt x="1484" y="678"/>
                  </a:lnTo>
                  <a:close/>
                  <a:moveTo>
                    <a:pt x="2339" y="678"/>
                  </a:moveTo>
                  <a:lnTo>
                    <a:pt x="2348" y="678"/>
                  </a:lnTo>
                  <a:lnTo>
                    <a:pt x="2348" y="683"/>
                  </a:lnTo>
                  <a:lnTo>
                    <a:pt x="2339" y="695"/>
                  </a:lnTo>
                  <a:lnTo>
                    <a:pt x="2339" y="678"/>
                  </a:lnTo>
                  <a:lnTo>
                    <a:pt x="2339" y="678"/>
                  </a:lnTo>
                  <a:lnTo>
                    <a:pt x="2339" y="678"/>
                  </a:lnTo>
                  <a:close/>
                  <a:moveTo>
                    <a:pt x="2301" y="683"/>
                  </a:moveTo>
                  <a:lnTo>
                    <a:pt x="2322" y="683"/>
                  </a:lnTo>
                  <a:lnTo>
                    <a:pt x="2317" y="700"/>
                  </a:lnTo>
                  <a:lnTo>
                    <a:pt x="2306" y="700"/>
                  </a:lnTo>
                  <a:lnTo>
                    <a:pt x="2306" y="695"/>
                  </a:lnTo>
                  <a:lnTo>
                    <a:pt x="2294" y="700"/>
                  </a:lnTo>
                  <a:lnTo>
                    <a:pt x="2294" y="695"/>
                  </a:lnTo>
                  <a:lnTo>
                    <a:pt x="2301" y="683"/>
                  </a:lnTo>
                  <a:lnTo>
                    <a:pt x="2301" y="683"/>
                  </a:lnTo>
                  <a:lnTo>
                    <a:pt x="2301" y="683"/>
                  </a:lnTo>
                  <a:close/>
                  <a:moveTo>
                    <a:pt x="2332" y="683"/>
                  </a:moveTo>
                  <a:lnTo>
                    <a:pt x="2339" y="683"/>
                  </a:lnTo>
                  <a:lnTo>
                    <a:pt x="2322" y="695"/>
                  </a:lnTo>
                  <a:lnTo>
                    <a:pt x="2332" y="683"/>
                  </a:lnTo>
                  <a:lnTo>
                    <a:pt x="2332" y="683"/>
                  </a:lnTo>
                  <a:lnTo>
                    <a:pt x="2332" y="683"/>
                  </a:lnTo>
                  <a:close/>
                  <a:moveTo>
                    <a:pt x="1954" y="683"/>
                  </a:moveTo>
                  <a:lnTo>
                    <a:pt x="1961" y="683"/>
                  </a:lnTo>
                  <a:lnTo>
                    <a:pt x="1954" y="695"/>
                  </a:lnTo>
                  <a:lnTo>
                    <a:pt x="1954" y="683"/>
                  </a:lnTo>
                  <a:lnTo>
                    <a:pt x="1954" y="683"/>
                  </a:lnTo>
                  <a:lnTo>
                    <a:pt x="1954" y="683"/>
                  </a:lnTo>
                  <a:close/>
                  <a:moveTo>
                    <a:pt x="2246" y="700"/>
                  </a:moveTo>
                  <a:lnTo>
                    <a:pt x="2246" y="711"/>
                  </a:lnTo>
                  <a:lnTo>
                    <a:pt x="2242" y="711"/>
                  </a:lnTo>
                  <a:lnTo>
                    <a:pt x="2246" y="700"/>
                  </a:lnTo>
                  <a:lnTo>
                    <a:pt x="2246" y="700"/>
                  </a:lnTo>
                  <a:lnTo>
                    <a:pt x="2246" y="700"/>
                  </a:lnTo>
                  <a:close/>
                  <a:moveTo>
                    <a:pt x="2726" y="711"/>
                  </a:moveTo>
                  <a:lnTo>
                    <a:pt x="2733" y="716"/>
                  </a:lnTo>
                  <a:lnTo>
                    <a:pt x="2726" y="711"/>
                  </a:lnTo>
                  <a:lnTo>
                    <a:pt x="2726" y="711"/>
                  </a:lnTo>
                  <a:lnTo>
                    <a:pt x="2726" y="711"/>
                  </a:lnTo>
                  <a:close/>
                  <a:moveTo>
                    <a:pt x="1954" y="716"/>
                  </a:moveTo>
                  <a:lnTo>
                    <a:pt x="1970" y="723"/>
                  </a:lnTo>
                  <a:lnTo>
                    <a:pt x="1961" y="733"/>
                  </a:lnTo>
                  <a:lnTo>
                    <a:pt x="1944" y="723"/>
                  </a:lnTo>
                  <a:lnTo>
                    <a:pt x="1954" y="716"/>
                  </a:lnTo>
                  <a:lnTo>
                    <a:pt x="1954" y="716"/>
                  </a:lnTo>
                  <a:lnTo>
                    <a:pt x="1954" y="716"/>
                  </a:lnTo>
                  <a:close/>
                  <a:moveTo>
                    <a:pt x="2674" y="723"/>
                  </a:moveTo>
                  <a:lnTo>
                    <a:pt x="2695" y="740"/>
                  </a:lnTo>
                  <a:lnTo>
                    <a:pt x="2674" y="733"/>
                  </a:lnTo>
                  <a:lnTo>
                    <a:pt x="2674" y="723"/>
                  </a:lnTo>
                  <a:lnTo>
                    <a:pt x="2674" y="723"/>
                  </a:lnTo>
                  <a:lnTo>
                    <a:pt x="2674" y="723"/>
                  </a:lnTo>
                  <a:close/>
                  <a:moveTo>
                    <a:pt x="1954" y="749"/>
                  </a:moveTo>
                  <a:lnTo>
                    <a:pt x="1961" y="756"/>
                  </a:lnTo>
                  <a:lnTo>
                    <a:pt x="1961" y="778"/>
                  </a:lnTo>
                  <a:lnTo>
                    <a:pt x="1954" y="766"/>
                  </a:lnTo>
                  <a:lnTo>
                    <a:pt x="1954" y="773"/>
                  </a:lnTo>
                  <a:lnTo>
                    <a:pt x="1944" y="794"/>
                  </a:lnTo>
                  <a:lnTo>
                    <a:pt x="1961" y="811"/>
                  </a:lnTo>
                  <a:lnTo>
                    <a:pt x="1939" y="822"/>
                  </a:lnTo>
                  <a:lnTo>
                    <a:pt x="1939" y="834"/>
                  </a:lnTo>
                  <a:lnTo>
                    <a:pt x="1923" y="834"/>
                  </a:lnTo>
                  <a:lnTo>
                    <a:pt x="1916" y="827"/>
                  </a:lnTo>
                  <a:lnTo>
                    <a:pt x="1928" y="794"/>
                  </a:lnTo>
                  <a:lnTo>
                    <a:pt x="1939" y="756"/>
                  </a:lnTo>
                  <a:lnTo>
                    <a:pt x="1954" y="749"/>
                  </a:lnTo>
                  <a:lnTo>
                    <a:pt x="1954" y="749"/>
                  </a:lnTo>
                  <a:lnTo>
                    <a:pt x="1954" y="749"/>
                  </a:lnTo>
                  <a:close/>
                  <a:moveTo>
                    <a:pt x="1928" y="766"/>
                  </a:moveTo>
                  <a:lnTo>
                    <a:pt x="1928" y="789"/>
                  </a:lnTo>
                  <a:lnTo>
                    <a:pt x="1923" y="806"/>
                  </a:lnTo>
                  <a:lnTo>
                    <a:pt x="1923" y="811"/>
                  </a:lnTo>
                  <a:lnTo>
                    <a:pt x="1916" y="822"/>
                  </a:lnTo>
                  <a:lnTo>
                    <a:pt x="1902" y="822"/>
                  </a:lnTo>
                  <a:lnTo>
                    <a:pt x="1906" y="794"/>
                  </a:lnTo>
                  <a:lnTo>
                    <a:pt x="1902" y="778"/>
                  </a:lnTo>
                  <a:lnTo>
                    <a:pt x="1928" y="766"/>
                  </a:lnTo>
                  <a:lnTo>
                    <a:pt x="1928" y="766"/>
                  </a:lnTo>
                  <a:lnTo>
                    <a:pt x="1928" y="766"/>
                  </a:lnTo>
                  <a:close/>
                  <a:moveTo>
                    <a:pt x="1873" y="794"/>
                  </a:moveTo>
                  <a:lnTo>
                    <a:pt x="1885" y="822"/>
                  </a:lnTo>
                  <a:lnTo>
                    <a:pt x="1873" y="822"/>
                  </a:lnTo>
                  <a:lnTo>
                    <a:pt x="1864" y="811"/>
                  </a:lnTo>
                  <a:lnTo>
                    <a:pt x="1869" y="794"/>
                  </a:lnTo>
                  <a:lnTo>
                    <a:pt x="1873" y="794"/>
                  </a:lnTo>
                  <a:lnTo>
                    <a:pt x="1873" y="794"/>
                  </a:lnTo>
                  <a:lnTo>
                    <a:pt x="1873" y="794"/>
                  </a:lnTo>
                  <a:close/>
                  <a:moveTo>
                    <a:pt x="501" y="827"/>
                  </a:moveTo>
                  <a:lnTo>
                    <a:pt x="480" y="811"/>
                  </a:lnTo>
                  <a:lnTo>
                    <a:pt x="484" y="811"/>
                  </a:lnTo>
                  <a:lnTo>
                    <a:pt x="501" y="822"/>
                  </a:lnTo>
                  <a:lnTo>
                    <a:pt x="501" y="827"/>
                  </a:lnTo>
                  <a:lnTo>
                    <a:pt x="501" y="827"/>
                  </a:lnTo>
                  <a:lnTo>
                    <a:pt x="501" y="827"/>
                  </a:lnTo>
                  <a:close/>
                  <a:moveTo>
                    <a:pt x="2662" y="811"/>
                  </a:moveTo>
                  <a:lnTo>
                    <a:pt x="2658" y="834"/>
                  </a:lnTo>
                  <a:lnTo>
                    <a:pt x="2641" y="860"/>
                  </a:lnTo>
                  <a:lnTo>
                    <a:pt x="2658" y="811"/>
                  </a:lnTo>
                  <a:lnTo>
                    <a:pt x="2662" y="811"/>
                  </a:lnTo>
                  <a:lnTo>
                    <a:pt x="2662" y="811"/>
                  </a:lnTo>
                  <a:lnTo>
                    <a:pt x="2662" y="811"/>
                  </a:lnTo>
                  <a:close/>
                  <a:moveTo>
                    <a:pt x="2754" y="822"/>
                  </a:moveTo>
                  <a:lnTo>
                    <a:pt x="2764" y="827"/>
                  </a:lnTo>
                  <a:lnTo>
                    <a:pt x="2771" y="851"/>
                  </a:lnTo>
                  <a:lnTo>
                    <a:pt x="2771" y="860"/>
                  </a:lnTo>
                  <a:lnTo>
                    <a:pt x="2764" y="860"/>
                  </a:lnTo>
                  <a:lnTo>
                    <a:pt x="2738" y="860"/>
                  </a:lnTo>
                  <a:lnTo>
                    <a:pt x="2750" y="844"/>
                  </a:lnTo>
                  <a:lnTo>
                    <a:pt x="2733" y="844"/>
                  </a:lnTo>
                  <a:lnTo>
                    <a:pt x="2738" y="844"/>
                  </a:lnTo>
                  <a:lnTo>
                    <a:pt x="2754" y="822"/>
                  </a:lnTo>
                  <a:lnTo>
                    <a:pt x="2754" y="822"/>
                  </a:lnTo>
                  <a:lnTo>
                    <a:pt x="2754" y="822"/>
                  </a:lnTo>
                  <a:close/>
                  <a:moveTo>
                    <a:pt x="2629" y="834"/>
                  </a:moveTo>
                  <a:lnTo>
                    <a:pt x="2629" y="851"/>
                  </a:lnTo>
                  <a:lnTo>
                    <a:pt x="2629" y="860"/>
                  </a:lnTo>
                  <a:lnTo>
                    <a:pt x="2624" y="834"/>
                  </a:lnTo>
                  <a:lnTo>
                    <a:pt x="2629" y="834"/>
                  </a:lnTo>
                  <a:lnTo>
                    <a:pt x="2629" y="834"/>
                  </a:lnTo>
                  <a:lnTo>
                    <a:pt x="2629" y="834"/>
                  </a:lnTo>
                  <a:close/>
                  <a:moveTo>
                    <a:pt x="1226" y="844"/>
                  </a:moveTo>
                  <a:lnTo>
                    <a:pt x="1226" y="851"/>
                  </a:lnTo>
                  <a:lnTo>
                    <a:pt x="1219" y="851"/>
                  </a:lnTo>
                  <a:lnTo>
                    <a:pt x="1226" y="844"/>
                  </a:lnTo>
                  <a:lnTo>
                    <a:pt x="1226" y="844"/>
                  </a:lnTo>
                  <a:lnTo>
                    <a:pt x="1226" y="844"/>
                  </a:lnTo>
                  <a:close/>
                  <a:moveTo>
                    <a:pt x="1765" y="844"/>
                  </a:moveTo>
                  <a:lnTo>
                    <a:pt x="1776" y="867"/>
                  </a:lnTo>
                  <a:lnTo>
                    <a:pt x="1765" y="900"/>
                  </a:lnTo>
                  <a:lnTo>
                    <a:pt x="1765" y="844"/>
                  </a:lnTo>
                  <a:lnTo>
                    <a:pt x="1765" y="844"/>
                  </a:lnTo>
                  <a:lnTo>
                    <a:pt x="1765" y="844"/>
                  </a:lnTo>
                  <a:close/>
                  <a:moveTo>
                    <a:pt x="1361" y="1066"/>
                  </a:moveTo>
                  <a:lnTo>
                    <a:pt x="1332" y="1049"/>
                  </a:lnTo>
                  <a:lnTo>
                    <a:pt x="1323" y="1049"/>
                  </a:lnTo>
                  <a:lnTo>
                    <a:pt x="1295" y="1044"/>
                  </a:lnTo>
                  <a:lnTo>
                    <a:pt x="1257" y="1028"/>
                  </a:lnTo>
                  <a:lnTo>
                    <a:pt x="1219" y="1033"/>
                  </a:lnTo>
                  <a:lnTo>
                    <a:pt x="1160" y="1028"/>
                  </a:lnTo>
                  <a:lnTo>
                    <a:pt x="1150" y="1033"/>
                  </a:lnTo>
                  <a:lnTo>
                    <a:pt x="1080" y="1016"/>
                  </a:lnTo>
                  <a:lnTo>
                    <a:pt x="1037" y="995"/>
                  </a:lnTo>
                  <a:lnTo>
                    <a:pt x="987" y="988"/>
                  </a:lnTo>
                  <a:lnTo>
                    <a:pt x="966" y="988"/>
                  </a:lnTo>
                  <a:lnTo>
                    <a:pt x="954" y="978"/>
                  </a:lnTo>
                  <a:lnTo>
                    <a:pt x="933" y="988"/>
                  </a:lnTo>
                  <a:lnTo>
                    <a:pt x="928" y="995"/>
                  </a:lnTo>
                  <a:lnTo>
                    <a:pt x="900" y="995"/>
                  </a:lnTo>
                  <a:lnTo>
                    <a:pt x="858" y="971"/>
                  </a:lnTo>
                  <a:lnTo>
                    <a:pt x="777" y="962"/>
                  </a:lnTo>
                  <a:lnTo>
                    <a:pt x="777" y="955"/>
                  </a:lnTo>
                  <a:lnTo>
                    <a:pt x="794" y="938"/>
                  </a:lnTo>
                  <a:lnTo>
                    <a:pt x="787" y="933"/>
                  </a:lnTo>
                  <a:lnTo>
                    <a:pt x="777" y="933"/>
                  </a:lnTo>
                  <a:lnTo>
                    <a:pt x="756" y="922"/>
                  </a:lnTo>
                  <a:lnTo>
                    <a:pt x="718" y="922"/>
                  </a:lnTo>
                  <a:lnTo>
                    <a:pt x="702" y="917"/>
                  </a:lnTo>
                  <a:lnTo>
                    <a:pt x="718" y="922"/>
                  </a:lnTo>
                  <a:lnTo>
                    <a:pt x="723" y="905"/>
                  </a:lnTo>
                  <a:lnTo>
                    <a:pt x="723" y="900"/>
                  </a:lnTo>
                  <a:lnTo>
                    <a:pt x="739" y="889"/>
                  </a:lnTo>
                  <a:lnTo>
                    <a:pt x="739" y="867"/>
                  </a:lnTo>
                  <a:lnTo>
                    <a:pt x="756" y="851"/>
                  </a:lnTo>
                  <a:lnTo>
                    <a:pt x="765" y="860"/>
                  </a:lnTo>
                  <a:lnTo>
                    <a:pt x="773" y="860"/>
                  </a:lnTo>
                  <a:lnTo>
                    <a:pt x="787" y="867"/>
                  </a:lnTo>
                  <a:lnTo>
                    <a:pt x="803" y="860"/>
                  </a:lnTo>
                  <a:lnTo>
                    <a:pt x="810" y="867"/>
                  </a:lnTo>
                  <a:lnTo>
                    <a:pt x="824" y="867"/>
                  </a:lnTo>
                  <a:lnTo>
                    <a:pt x="824" y="851"/>
                  </a:lnTo>
                  <a:lnTo>
                    <a:pt x="848" y="860"/>
                  </a:lnTo>
                  <a:lnTo>
                    <a:pt x="874" y="884"/>
                  </a:lnTo>
                  <a:lnTo>
                    <a:pt x="891" y="877"/>
                  </a:lnTo>
                  <a:lnTo>
                    <a:pt x="900" y="884"/>
                  </a:lnTo>
                  <a:lnTo>
                    <a:pt x="917" y="884"/>
                  </a:lnTo>
                  <a:lnTo>
                    <a:pt x="933" y="900"/>
                  </a:lnTo>
                  <a:lnTo>
                    <a:pt x="933" y="917"/>
                  </a:lnTo>
                  <a:lnTo>
                    <a:pt x="983" y="922"/>
                  </a:lnTo>
                  <a:lnTo>
                    <a:pt x="1004" y="922"/>
                  </a:lnTo>
                  <a:lnTo>
                    <a:pt x="1063" y="933"/>
                  </a:lnTo>
                  <a:lnTo>
                    <a:pt x="1075" y="922"/>
                  </a:lnTo>
                  <a:lnTo>
                    <a:pt x="1089" y="889"/>
                  </a:lnTo>
                  <a:lnTo>
                    <a:pt x="1096" y="889"/>
                  </a:lnTo>
                  <a:lnTo>
                    <a:pt x="1113" y="889"/>
                  </a:lnTo>
                  <a:lnTo>
                    <a:pt x="1113" y="917"/>
                  </a:lnTo>
                  <a:lnTo>
                    <a:pt x="1134" y="917"/>
                  </a:lnTo>
                  <a:lnTo>
                    <a:pt x="1143" y="905"/>
                  </a:lnTo>
                  <a:lnTo>
                    <a:pt x="1160" y="917"/>
                  </a:lnTo>
                  <a:lnTo>
                    <a:pt x="1172" y="917"/>
                  </a:lnTo>
                  <a:lnTo>
                    <a:pt x="1181" y="933"/>
                  </a:lnTo>
                  <a:lnTo>
                    <a:pt x="1214" y="933"/>
                  </a:lnTo>
                  <a:lnTo>
                    <a:pt x="1219" y="945"/>
                  </a:lnTo>
                  <a:lnTo>
                    <a:pt x="1226" y="945"/>
                  </a:lnTo>
                  <a:lnTo>
                    <a:pt x="1235" y="955"/>
                  </a:lnTo>
                  <a:lnTo>
                    <a:pt x="1226" y="971"/>
                  </a:lnTo>
                  <a:lnTo>
                    <a:pt x="1257" y="988"/>
                  </a:lnTo>
                  <a:lnTo>
                    <a:pt x="1295" y="988"/>
                  </a:lnTo>
                  <a:lnTo>
                    <a:pt x="1323" y="978"/>
                  </a:lnTo>
                  <a:lnTo>
                    <a:pt x="1344" y="995"/>
                  </a:lnTo>
                  <a:lnTo>
                    <a:pt x="1344" y="1033"/>
                  </a:lnTo>
                  <a:lnTo>
                    <a:pt x="1349" y="1049"/>
                  </a:lnTo>
                  <a:lnTo>
                    <a:pt x="1361" y="1056"/>
                  </a:lnTo>
                  <a:lnTo>
                    <a:pt x="1361" y="1066"/>
                  </a:lnTo>
                  <a:lnTo>
                    <a:pt x="1361" y="1066"/>
                  </a:lnTo>
                  <a:lnTo>
                    <a:pt x="1361" y="1066"/>
                  </a:lnTo>
                  <a:close/>
                  <a:moveTo>
                    <a:pt x="2754" y="860"/>
                  </a:moveTo>
                  <a:lnTo>
                    <a:pt x="2764" y="860"/>
                  </a:lnTo>
                  <a:lnTo>
                    <a:pt x="2771" y="867"/>
                  </a:lnTo>
                  <a:lnTo>
                    <a:pt x="2771" y="884"/>
                  </a:lnTo>
                  <a:lnTo>
                    <a:pt x="2764" y="889"/>
                  </a:lnTo>
                  <a:lnTo>
                    <a:pt x="2738" y="867"/>
                  </a:lnTo>
                  <a:lnTo>
                    <a:pt x="2754" y="860"/>
                  </a:lnTo>
                  <a:lnTo>
                    <a:pt x="2754" y="860"/>
                  </a:lnTo>
                  <a:lnTo>
                    <a:pt x="2754" y="860"/>
                  </a:lnTo>
                  <a:close/>
                  <a:moveTo>
                    <a:pt x="2733" y="860"/>
                  </a:moveTo>
                  <a:lnTo>
                    <a:pt x="2733" y="867"/>
                  </a:lnTo>
                  <a:lnTo>
                    <a:pt x="2750" y="884"/>
                  </a:lnTo>
                  <a:lnTo>
                    <a:pt x="2738" y="884"/>
                  </a:lnTo>
                  <a:lnTo>
                    <a:pt x="2726" y="867"/>
                  </a:lnTo>
                  <a:lnTo>
                    <a:pt x="2726" y="860"/>
                  </a:lnTo>
                  <a:lnTo>
                    <a:pt x="2733" y="860"/>
                  </a:lnTo>
                  <a:lnTo>
                    <a:pt x="2733" y="860"/>
                  </a:lnTo>
                  <a:lnTo>
                    <a:pt x="2733" y="860"/>
                  </a:lnTo>
                  <a:close/>
                  <a:moveTo>
                    <a:pt x="2726" y="877"/>
                  </a:moveTo>
                  <a:lnTo>
                    <a:pt x="2754" y="905"/>
                  </a:lnTo>
                  <a:lnTo>
                    <a:pt x="2733" y="933"/>
                  </a:lnTo>
                  <a:lnTo>
                    <a:pt x="2726" y="917"/>
                  </a:lnTo>
                  <a:lnTo>
                    <a:pt x="2726" y="877"/>
                  </a:lnTo>
                  <a:lnTo>
                    <a:pt x="2726" y="877"/>
                  </a:lnTo>
                  <a:lnTo>
                    <a:pt x="2726" y="877"/>
                  </a:lnTo>
                  <a:close/>
                  <a:moveTo>
                    <a:pt x="2750" y="884"/>
                  </a:moveTo>
                  <a:lnTo>
                    <a:pt x="2764" y="889"/>
                  </a:lnTo>
                  <a:lnTo>
                    <a:pt x="2754" y="900"/>
                  </a:lnTo>
                  <a:lnTo>
                    <a:pt x="2738" y="889"/>
                  </a:lnTo>
                  <a:lnTo>
                    <a:pt x="2750" y="884"/>
                  </a:lnTo>
                  <a:lnTo>
                    <a:pt x="2750" y="884"/>
                  </a:lnTo>
                  <a:lnTo>
                    <a:pt x="2750" y="884"/>
                  </a:lnTo>
                  <a:close/>
                  <a:moveTo>
                    <a:pt x="2780" y="884"/>
                  </a:moveTo>
                  <a:lnTo>
                    <a:pt x="2780" y="900"/>
                  </a:lnTo>
                  <a:lnTo>
                    <a:pt x="2771" y="889"/>
                  </a:lnTo>
                  <a:lnTo>
                    <a:pt x="2780" y="884"/>
                  </a:lnTo>
                  <a:lnTo>
                    <a:pt x="2780" y="884"/>
                  </a:lnTo>
                  <a:lnTo>
                    <a:pt x="2780" y="884"/>
                  </a:lnTo>
                  <a:close/>
                  <a:moveTo>
                    <a:pt x="2764" y="889"/>
                  </a:moveTo>
                  <a:lnTo>
                    <a:pt x="2771" y="900"/>
                  </a:lnTo>
                  <a:lnTo>
                    <a:pt x="2764" y="900"/>
                  </a:lnTo>
                  <a:lnTo>
                    <a:pt x="2764" y="889"/>
                  </a:lnTo>
                  <a:lnTo>
                    <a:pt x="2764" y="889"/>
                  </a:lnTo>
                  <a:lnTo>
                    <a:pt x="2764" y="889"/>
                  </a:lnTo>
                  <a:close/>
                  <a:moveTo>
                    <a:pt x="702" y="900"/>
                  </a:moveTo>
                  <a:lnTo>
                    <a:pt x="697" y="905"/>
                  </a:lnTo>
                  <a:lnTo>
                    <a:pt x="702" y="900"/>
                  </a:lnTo>
                  <a:lnTo>
                    <a:pt x="702" y="900"/>
                  </a:lnTo>
                  <a:lnTo>
                    <a:pt x="702" y="900"/>
                  </a:lnTo>
                  <a:close/>
                  <a:moveTo>
                    <a:pt x="3040" y="917"/>
                  </a:moveTo>
                  <a:lnTo>
                    <a:pt x="3057" y="922"/>
                  </a:lnTo>
                  <a:lnTo>
                    <a:pt x="3052" y="922"/>
                  </a:lnTo>
                  <a:lnTo>
                    <a:pt x="3040" y="917"/>
                  </a:lnTo>
                  <a:lnTo>
                    <a:pt x="3040" y="917"/>
                  </a:lnTo>
                  <a:lnTo>
                    <a:pt x="3040" y="917"/>
                  </a:lnTo>
                  <a:close/>
                  <a:moveTo>
                    <a:pt x="1403" y="922"/>
                  </a:moveTo>
                  <a:lnTo>
                    <a:pt x="1432" y="933"/>
                  </a:lnTo>
                  <a:lnTo>
                    <a:pt x="1415" y="933"/>
                  </a:lnTo>
                  <a:lnTo>
                    <a:pt x="1403" y="933"/>
                  </a:lnTo>
                  <a:lnTo>
                    <a:pt x="1398" y="933"/>
                  </a:lnTo>
                  <a:lnTo>
                    <a:pt x="1403" y="922"/>
                  </a:lnTo>
                  <a:lnTo>
                    <a:pt x="1403" y="922"/>
                  </a:lnTo>
                  <a:lnTo>
                    <a:pt x="1403" y="922"/>
                  </a:lnTo>
                  <a:close/>
                  <a:moveTo>
                    <a:pt x="1243" y="922"/>
                  </a:moveTo>
                  <a:lnTo>
                    <a:pt x="1311" y="922"/>
                  </a:lnTo>
                  <a:lnTo>
                    <a:pt x="1328" y="933"/>
                  </a:lnTo>
                  <a:lnTo>
                    <a:pt x="1280" y="945"/>
                  </a:lnTo>
                  <a:lnTo>
                    <a:pt x="1226" y="945"/>
                  </a:lnTo>
                  <a:lnTo>
                    <a:pt x="1219" y="938"/>
                  </a:lnTo>
                  <a:lnTo>
                    <a:pt x="1243" y="922"/>
                  </a:lnTo>
                  <a:lnTo>
                    <a:pt x="1243" y="922"/>
                  </a:lnTo>
                  <a:lnTo>
                    <a:pt x="1243" y="922"/>
                  </a:lnTo>
                  <a:close/>
                  <a:moveTo>
                    <a:pt x="1781" y="938"/>
                  </a:moveTo>
                  <a:lnTo>
                    <a:pt x="1793" y="938"/>
                  </a:lnTo>
                  <a:lnTo>
                    <a:pt x="1793" y="945"/>
                  </a:lnTo>
                  <a:lnTo>
                    <a:pt x="1781" y="938"/>
                  </a:lnTo>
                  <a:lnTo>
                    <a:pt x="1781" y="938"/>
                  </a:lnTo>
                  <a:lnTo>
                    <a:pt x="1781" y="938"/>
                  </a:lnTo>
                  <a:close/>
                  <a:moveTo>
                    <a:pt x="1332" y="938"/>
                  </a:moveTo>
                  <a:lnTo>
                    <a:pt x="1344" y="945"/>
                  </a:lnTo>
                  <a:lnTo>
                    <a:pt x="1332" y="945"/>
                  </a:lnTo>
                  <a:lnTo>
                    <a:pt x="1332" y="938"/>
                  </a:lnTo>
                  <a:lnTo>
                    <a:pt x="1332" y="938"/>
                  </a:lnTo>
                  <a:lnTo>
                    <a:pt x="1332" y="938"/>
                  </a:lnTo>
                  <a:close/>
                  <a:moveTo>
                    <a:pt x="2339" y="938"/>
                  </a:moveTo>
                  <a:lnTo>
                    <a:pt x="2348" y="938"/>
                  </a:lnTo>
                  <a:lnTo>
                    <a:pt x="2339" y="945"/>
                  </a:lnTo>
                  <a:lnTo>
                    <a:pt x="2332" y="945"/>
                  </a:lnTo>
                  <a:lnTo>
                    <a:pt x="2339" y="938"/>
                  </a:lnTo>
                  <a:lnTo>
                    <a:pt x="2339" y="938"/>
                  </a:lnTo>
                  <a:lnTo>
                    <a:pt x="2339" y="938"/>
                  </a:lnTo>
                  <a:close/>
                  <a:moveTo>
                    <a:pt x="2565" y="938"/>
                  </a:moveTo>
                  <a:lnTo>
                    <a:pt x="2570" y="938"/>
                  </a:lnTo>
                  <a:lnTo>
                    <a:pt x="2575" y="955"/>
                  </a:lnTo>
                  <a:lnTo>
                    <a:pt x="2565" y="938"/>
                  </a:lnTo>
                  <a:lnTo>
                    <a:pt x="2565" y="938"/>
                  </a:lnTo>
                  <a:lnTo>
                    <a:pt x="2565" y="938"/>
                  </a:lnTo>
                  <a:close/>
                  <a:moveTo>
                    <a:pt x="2554" y="938"/>
                  </a:moveTo>
                  <a:lnTo>
                    <a:pt x="2565" y="945"/>
                  </a:lnTo>
                  <a:lnTo>
                    <a:pt x="2554" y="955"/>
                  </a:lnTo>
                  <a:lnTo>
                    <a:pt x="2554" y="978"/>
                  </a:lnTo>
                  <a:lnTo>
                    <a:pt x="2537" y="995"/>
                  </a:lnTo>
                  <a:lnTo>
                    <a:pt x="2532" y="1011"/>
                  </a:lnTo>
                  <a:lnTo>
                    <a:pt x="2516" y="1011"/>
                  </a:lnTo>
                  <a:lnTo>
                    <a:pt x="2516" y="995"/>
                  </a:lnTo>
                  <a:lnTo>
                    <a:pt x="2523" y="971"/>
                  </a:lnTo>
                  <a:lnTo>
                    <a:pt x="2554" y="938"/>
                  </a:lnTo>
                  <a:lnTo>
                    <a:pt x="2554" y="938"/>
                  </a:lnTo>
                  <a:lnTo>
                    <a:pt x="2554" y="938"/>
                  </a:lnTo>
                  <a:close/>
                  <a:moveTo>
                    <a:pt x="1814" y="955"/>
                  </a:moveTo>
                  <a:lnTo>
                    <a:pt x="1819" y="962"/>
                  </a:lnTo>
                  <a:lnTo>
                    <a:pt x="1814" y="962"/>
                  </a:lnTo>
                  <a:lnTo>
                    <a:pt x="1814" y="955"/>
                  </a:lnTo>
                  <a:lnTo>
                    <a:pt x="1814" y="955"/>
                  </a:lnTo>
                  <a:lnTo>
                    <a:pt x="1814" y="955"/>
                  </a:lnTo>
                  <a:close/>
                  <a:moveTo>
                    <a:pt x="1864" y="962"/>
                  </a:moveTo>
                  <a:lnTo>
                    <a:pt x="1869" y="962"/>
                  </a:lnTo>
                  <a:lnTo>
                    <a:pt x="1864" y="962"/>
                  </a:lnTo>
                  <a:lnTo>
                    <a:pt x="1864" y="962"/>
                  </a:lnTo>
                  <a:lnTo>
                    <a:pt x="1864" y="962"/>
                  </a:lnTo>
                  <a:close/>
                  <a:moveTo>
                    <a:pt x="3040" y="962"/>
                  </a:moveTo>
                  <a:lnTo>
                    <a:pt x="3057" y="962"/>
                  </a:lnTo>
                  <a:lnTo>
                    <a:pt x="3073" y="978"/>
                  </a:lnTo>
                  <a:lnTo>
                    <a:pt x="3057" y="1011"/>
                  </a:lnTo>
                  <a:lnTo>
                    <a:pt x="3024" y="1033"/>
                  </a:lnTo>
                  <a:lnTo>
                    <a:pt x="2986" y="1033"/>
                  </a:lnTo>
                  <a:lnTo>
                    <a:pt x="2969" y="1033"/>
                  </a:lnTo>
                  <a:lnTo>
                    <a:pt x="3002" y="978"/>
                  </a:lnTo>
                  <a:lnTo>
                    <a:pt x="3040" y="962"/>
                  </a:lnTo>
                  <a:lnTo>
                    <a:pt x="3040" y="962"/>
                  </a:lnTo>
                  <a:lnTo>
                    <a:pt x="3040" y="962"/>
                  </a:lnTo>
                  <a:close/>
                  <a:moveTo>
                    <a:pt x="2511" y="962"/>
                  </a:moveTo>
                  <a:lnTo>
                    <a:pt x="2523" y="962"/>
                  </a:lnTo>
                  <a:lnTo>
                    <a:pt x="2511" y="971"/>
                  </a:lnTo>
                  <a:lnTo>
                    <a:pt x="2511" y="962"/>
                  </a:lnTo>
                  <a:lnTo>
                    <a:pt x="2511" y="962"/>
                  </a:lnTo>
                  <a:lnTo>
                    <a:pt x="2511" y="962"/>
                  </a:lnTo>
                  <a:close/>
                  <a:moveTo>
                    <a:pt x="2251" y="971"/>
                  </a:moveTo>
                  <a:lnTo>
                    <a:pt x="2263" y="978"/>
                  </a:lnTo>
                  <a:lnTo>
                    <a:pt x="2251" y="978"/>
                  </a:lnTo>
                  <a:lnTo>
                    <a:pt x="2251" y="971"/>
                  </a:lnTo>
                  <a:lnTo>
                    <a:pt x="2251" y="971"/>
                  </a:lnTo>
                  <a:lnTo>
                    <a:pt x="2251" y="971"/>
                  </a:lnTo>
                  <a:close/>
                  <a:moveTo>
                    <a:pt x="2154" y="978"/>
                  </a:moveTo>
                  <a:lnTo>
                    <a:pt x="2171" y="988"/>
                  </a:lnTo>
                  <a:lnTo>
                    <a:pt x="2197" y="978"/>
                  </a:lnTo>
                  <a:lnTo>
                    <a:pt x="2213" y="988"/>
                  </a:lnTo>
                  <a:lnTo>
                    <a:pt x="2187" y="1000"/>
                  </a:lnTo>
                  <a:lnTo>
                    <a:pt x="2159" y="995"/>
                  </a:lnTo>
                  <a:lnTo>
                    <a:pt x="2138" y="1011"/>
                  </a:lnTo>
                  <a:lnTo>
                    <a:pt x="2154" y="978"/>
                  </a:lnTo>
                  <a:lnTo>
                    <a:pt x="2154" y="978"/>
                  </a:lnTo>
                  <a:lnTo>
                    <a:pt x="2154" y="978"/>
                  </a:lnTo>
                  <a:close/>
                  <a:moveTo>
                    <a:pt x="2407" y="995"/>
                  </a:moveTo>
                  <a:lnTo>
                    <a:pt x="2424" y="995"/>
                  </a:lnTo>
                  <a:lnTo>
                    <a:pt x="2424" y="1011"/>
                  </a:lnTo>
                  <a:lnTo>
                    <a:pt x="2407" y="1000"/>
                  </a:lnTo>
                  <a:lnTo>
                    <a:pt x="2407" y="995"/>
                  </a:lnTo>
                  <a:lnTo>
                    <a:pt x="2407" y="995"/>
                  </a:lnTo>
                  <a:lnTo>
                    <a:pt x="2407" y="995"/>
                  </a:lnTo>
                  <a:close/>
                  <a:moveTo>
                    <a:pt x="2242" y="1011"/>
                  </a:moveTo>
                  <a:lnTo>
                    <a:pt x="2246" y="1011"/>
                  </a:lnTo>
                  <a:lnTo>
                    <a:pt x="2242" y="1011"/>
                  </a:lnTo>
                  <a:lnTo>
                    <a:pt x="2242" y="1011"/>
                  </a:lnTo>
                  <a:lnTo>
                    <a:pt x="2242" y="1011"/>
                  </a:lnTo>
                  <a:close/>
                  <a:moveTo>
                    <a:pt x="1349" y="1011"/>
                  </a:moveTo>
                  <a:lnTo>
                    <a:pt x="1382" y="1016"/>
                  </a:lnTo>
                  <a:lnTo>
                    <a:pt x="1398" y="1011"/>
                  </a:lnTo>
                  <a:lnTo>
                    <a:pt x="1420" y="1016"/>
                  </a:lnTo>
                  <a:lnTo>
                    <a:pt x="1436" y="1033"/>
                  </a:lnTo>
                  <a:lnTo>
                    <a:pt x="1403" y="1049"/>
                  </a:lnTo>
                  <a:lnTo>
                    <a:pt x="1398" y="1056"/>
                  </a:lnTo>
                  <a:lnTo>
                    <a:pt x="1403" y="1066"/>
                  </a:lnTo>
                  <a:lnTo>
                    <a:pt x="1398" y="1066"/>
                  </a:lnTo>
                  <a:lnTo>
                    <a:pt x="1398" y="1056"/>
                  </a:lnTo>
                  <a:lnTo>
                    <a:pt x="1377" y="1044"/>
                  </a:lnTo>
                  <a:lnTo>
                    <a:pt x="1361" y="1033"/>
                  </a:lnTo>
                  <a:lnTo>
                    <a:pt x="1349" y="1016"/>
                  </a:lnTo>
                  <a:lnTo>
                    <a:pt x="1349" y="1011"/>
                  </a:lnTo>
                  <a:lnTo>
                    <a:pt x="1349" y="1011"/>
                  </a:lnTo>
                  <a:lnTo>
                    <a:pt x="1349" y="1011"/>
                  </a:lnTo>
                  <a:close/>
                  <a:moveTo>
                    <a:pt x="1722" y="1056"/>
                  </a:moveTo>
                  <a:lnTo>
                    <a:pt x="1722" y="1049"/>
                  </a:lnTo>
                  <a:lnTo>
                    <a:pt x="1755" y="1028"/>
                  </a:lnTo>
                  <a:lnTo>
                    <a:pt x="1798" y="1033"/>
                  </a:lnTo>
                  <a:lnTo>
                    <a:pt x="1847" y="1049"/>
                  </a:lnTo>
                  <a:lnTo>
                    <a:pt x="1852" y="1044"/>
                  </a:lnTo>
                  <a:lnTo>
                    <a:pt x="1873" y="1044"/>
                  </a:lnTo>
                  <a:lnTo>
                    <a:pt x="1902" y="1049"/>
                  </a:lnTo>
                  <a:lnTo>
                    <a:pt x="1906" y="1049"/>
                  </a:lnTo>
                  <a:lnTo>
                    <a:pt x="1923" y="1033"/>
                  </a:lnTo>
                  <a:lnTo>
                    <a:pt x="1939" y="1028"/>
                  </a:lnTo>
                  <a:lnTo>
                    <a:pt x="1944" y="1016"/>
                  </a:lnTo>
                  <a:lnTo>
                    <a:pt x="1928" y="1028"/>
                  </a:lnTo>
                  <a:lnTo>
                    <a:pt x="1939" y="1011"/>
                  </a:lnTo>
                  <a:lnTo>
                    <a:pt x="1944" y="1016"/>
                  </a:lnTo>
                  <a:lnTo>
                    <a:pt x="1944" y="1028"/>
                  </a:lnTo>
                  <a:lnTo>
                    <a:pt x="1928" y="1033"/>
                  </a:lnTo>
                  <a:lnTo>
                    <a:pt x="1939" y="1049"/>
                  </a:lnTo>
                  <a:lnTo>
                    <a:pt x="1864" y="1073"/>
                  </a:lnTo>
                  <a:lnTo>
                    <a:pt x="1835" y="1066"/>
                  </a:lnTo>
                  <a:lnTo>
                    <a:pt x="1831" y="1073"/>
                  </a:lnTo>
                  <a:lnTo>
                    <a:pt x="1809" y="1073"/>
                  </a:lnTo>
                  <a:lnTo>
                    <a:pt x="1776" y="1066"/>
                  </a:lnTo>
                  <a:lnTo>
                    <a:pt x="1727" y="1066"/>
                  </a:lnTo>
                  <a:lnTo>
                    <a:pt x="1722" y="1056"/>
                  </a:lnTo>
                  <a:lnTo>
                    <a:pt x="1722" y="1056"/>
                  </a:lnTo>
                  <a:lnTo>
                    <a:pt x="1722" y="1056"/>
                  </a:lnTo>
                  <a:close/>
                  <a:moveTo>
                    <a:pt x="1684" y="1056"/>
                  </a:moveTo>
                  <a:lnTo>
                    <a:pt x="1668" y="1066"/>
                  </a:lnTo>
                  <a:lnTo>
                    <a:pt x="1658" y="1056"/>
                  </a:lnTo>
                  <a:lnTo>
                    <a:pt x="1651" y="1056"/>
                  </a:lnTo>
                  <a:lnTo>
                    <a:pt x="1647" y="1056"/>
                  </a:lnTo>
                  <a:lnTo>
                    <a:pt x="1658" y="1066"/>
                  </a:lnTo>
                  <a:lnTo>
                    <a:pt x="1630" y="1066"/>
                  </a:lnTo>
                  <a:lnTo>
                    <a:pt x="1621" y="1066"/>
                  </a:lnTo>
                  <a:lnTo>
                    <a:pt x="1621" y="1049"/>
                  </a:lnTo>
                  <a:lnTo>
                    <a:pt x="1604" y="1066"/>
                  </a:lnTo>
                  <a:lnTo>
                    <a:pt x="1576" y="1073"/>
                  </a:lnTo>
                  <a:lnTo>
                    <a:pt x="1550" y="1082"/>
                  </a:lnTo>
                  <a:lnTo>
                    <a:pt x="1545" y="1082"/>
                  </a:lnTo>
                  <a:lnTo>
                    <a:pt x="1528" y="1089"/>
                  </a:lnTo>
                  <a:lnTo>
                    <a:pt x="1507" y="1073"/>
                  </a:lnTo>
                  <a:lnTo>
                    <a:pt x="1512" y="1049"/>
                  </a:lnTo>
                  <a:lnTo>
                    <a:pt x="1538" y="1033"/>
                  </a:lnTo>
                  <a:lnTo>
                    <a:pt x="1559" y="1044"/>
                  </a:lnTo>
                  <a:lnTo>
                    <a:pt x="1566" y="1033"/>
                  </a:lnTo>
                  <a:lnTo>
                    <a:pt x="1566" y="1044"/>
                  </a:lnTo>
                  <a:lnTo>
                    <a:pt x="1592" y="1056"/>
                  </a:lnTo>
                  <a:lnTo>
                    <a:pt x="1597" y="1056"/>
                  </a:lnTo>
                  <a:lnTo>
                    <a:pt x="1613" y="1056"/>
                  </a:lnTo>
                  <a:lnTo>
                    <a:pt x="1613" y="1049"/>
                  </a:lnTo>
                  <a:lnTo>
                    <a:pt x="1597" y="1044"/>
                  </a:lnTo>
                  <a:lnTo>
                    <a:pt x="1576" y="1028"/>
                  </a:lnTo>
                  <a:lnTo>
                    <a:pt x="1576" y="1016"/>
                  </a:lnTo>
                  <a:lnTo>
                    <a:pt x="1592" y="1011"/>
                  </a:lnTo>
                  <a:lnTo>
                    <a:pt x="1604" y="1016"/>
                  </a:lnTo>
                  <a:lnTo>
                    <a:pt x="1621" y="1033"/>
                  </a:lnTo>
                  <a:lnTo>
                    <a:pt x="1630" y="1028"/>
                  </a:lnTo>
                  <a:lnTo>
                    <a:pt x="1647" y="1028"/>
                  </a:lnTo>
                  <a:lnTo>
                    <a:pt x="1647" y="1049"/>
                  </a:lnTo>
                  <a:lnTo>
                    <a:pt x="1651" y="1028"/>
                  </a:lnTo>
                  <a:lnTo>
                    <a:pt x="1668" y="1028"/>
                  </a:lnTo>
                  <a:lnTo>
                    <a:pt x="1668" y="1049"/>
                  </a:lnTo>
                  <a:lnTo>
                    <a:pt x="1684" y="1056"/>
                  </a:lnTo>
                  <a:lnTo>
                    <a:pt x="1684" y="1056"/>
                  </a:lnTo>
                  <a:lnTo>
                    <a:pt x="1684" y="1056"/>
                  </a:lnTo>
                  <a:close/>
                  <a:moveTo>
                    <a:pt x="2495" y="1033"/>
                  </a:moveTo>
                  <a:lnTo>
                    <a:pt x="2511" y="1011"/>
                  </a:lnTo>
                  <a:lnTo>
                    <a:pt x="2523" y="1016"/>
                  </a:lnTo>
                  <a:lnTo>
                    <a:pt x="2495" y="1033"/>
                  </a:lnTo>
                  <a:lnTo>
                    <a:pt x="2495" y="1033"/>
                  </a:lnTo>
                  <a:lnTo>
                    <a:pt x="2495" y="1033"/>
                  </a:lnTo>
                  <a:close/>
                  <a:moveTo>
                    <a:pt x="2284" y="1011"/>
                  </a:moveTo>
                  <a:lnTo>
                    <a:pt x="2306" y="1016"/>
                  </a:lnTo>
                  <a:lnTo>
                    <a:pt x="2301" y="1028"/>
                  </a:lnTo>
                  <a:lnTo>
                    <a:pt x="2284" y="1016"/>
                  </a:lnTo>
                  <a:lnTo>
                    <a:pt x="2284" y="1011"/>
                  </a:lnTo>
                  <a:lnTo>
                    <a:pt x="2284" y="1011"/>
                  </a:lnTo>
                  <a:lnTo>
                    <a:pt x="2284" y="1011"/>
                  </a:lnTo>
                  <a:close/>
                  <a:moveTo>
                    <a:pt x="2053" y="1016"/>
                  </a:moveTo>
                  <a:lnTo>
                    <a:pt x="2091" y="1016"/>
                  </a:lnTo>
                  <a:lnTo>
                    <a:pt x="2100" y="1028"/>
                  </a:lnTo>
                  <a:lnTo>
                    <a:pt x="2046" y="1044"/>
                  </a:lnTo>
                  <a:lnTo>
                    <a:pt x="2053" y="1016"/>
                  </a:lnTo>
                  <a:lnTo>
                    <a:pt x="2053" y="1016"/>
                  </a:lnTo>
                  <a:lnTo>
                    <a:pt x="2053" y="1016"/>
                  </a:lnTo>
                  <a:close/>
                  <a:moveTo>
                    <a:pt x="1672" y="1016"/>
                  </a:moveTo>
                  <a:lnTo>
                    <a:pt x="1668" y="1028"/>
                  </a:lnTo>
                  <a:lnTo>
                    <a:pt x="1672" y="1016"/>
                  </a:lnTo>
                  <a:lnTo>
                    <a:pt x="1672" y="1016"/>
                  </a:lnTo>
                  <a:lnTo>
                    <a:pt x="1672" y="1016"/>
                  </a:lnTo>
                  <a:close/>
                  <a:moveTo>
                    <a:pt x="1566" y="1033"/>
                  </a:moveTo>
                  <a:lnTo>
                    <a:pt x="1559" y="1016"/>
                  </a:lnTo>
                  <a:lnTo>
                    <a:pt x="1576" y="1016"/>
                  </a:lnTo>
                  <a:lnTo>
                    <a:pt x="1566" y="1033"/>
                  </a:lnTo>
                  <a:lnTo>
                    <a:pt x="1566" y="1033"/>
                  </a:lnTo>
                  <a:lnTo>
                    <a:pt x="1566" y="1033"/>
                  </a:lnTo>
                  <a:close/>
                  <a:moveTo>
                    <a:pt x="2280" y="1016"/>
                  </a:moveTo>
                  <a:lnTo>
                    <a:pt x="2284" y="1016"/>
                  </a:lnTo>
                  <a:lnTo>
                    <a:pt x="2268" y="1028"/>
                  </a:lnTo>
                  <a:lnTo>
                    <a:pt x="2280" y="1016"/>
                  </a:lnTo>
                  <a:lnTo>
                    <a:pt x="2280" y="1016"/>
                  </a:lnTo>
                  <a:lnTo>
                    <a:pt x="2280" y="1016"/>
                  </a:lnTo>
                  <a:close/>
                  <a:moveTo>
                    <a:pt x="3057" y="1016"/>
                  </a:moveTo>
                  <a:lnTo>
                    <a:pt x="3061" y="1033"/>
                  </a:lnTo>
                  <a:lnTo>
                    <a:pt x="3040" y="1033"/>
                  </a:lnTo>
                  <a:lnTo>
                    <a:pt x="3052" y="1016"/>
                  </a:lnTo>
                  <a:lnTo>
                    <a:pt x="3057" y="1016"/>
                  </a:lnTo>
                  <a:lnTo>
                    <a:pt x="3057" y="1016"/>
                  </a:lnTo>
                  <a:lnTo>
                    <a:pt x="3057" y="1016"/>
                  </a:lnTo>
                  <a:close/>
                  <a:moveTo>
                    <a:pt x="2015" y="1033"/>
                  </a:moveTo>
                  <a:lnTo>
                    <a:pt x="2024" y="1033"/>
                  </a:lnTo>
                  <a:lnTo>
                    <a:pt x="2036" y="1016"/>
                  </a:lnTo>
                  <a:lnTo>
                    <a:pt x="2024" y="1049"/>
                  </a:lnTo>
                  <a:lnTo>
                    <a:pt x="2015" y="1033"/>
                  </a:lnTo>
                  <a:lnTo>
                    <a:pt x="2008" y="1044"/>
                  </a:lnTo>
                  <a:lnTo>
                    <a:pt x="2015" y="1033"/>
                  </a:lnTo>
                  <a:lnTo>
                    <a:pt x="2015" y="1033"/>
                  </a:lnTo>
                  <a:lnTo>
                    <a:pt x="2015" y="1033"/>
                  </a:lnTo>
                  <a:close/>
                  <a:moveTo>
                    <a:pt x="1977" y="1049"/>
                  </a:moveTo>
                  <a:lnTo>
                    <a:pt x="1961" y="1044"/>
                  </a:lnTo>
                  <a:lnTo>
                    <a:pt x="1982" y="1033"/>
                  </a:lnTo>
                  <a:lnTo>
                    <a:pt x="1970" y="1028"/>
                  </a:lnTo>
                  <a:lnTo>
                    <a:pt x="1977" y="1028"/>
                  </a:lnTo>
                  <a:lnTo>
                    <a:pt x="1982" y="1028"/>
                  </a:lnTo>
                  <a:lnTo>
                    <a:pt x="1991" y="1033"/>
                  </a:lnTo>
                  <a:lnTo>
                    <a:pt x="1998" y="1016"/>
                  </a:lnTo>
                  <a:lnTo>
                    <a:pt x="2015" y="1028"/>
                  </a:lnTo>
                  <a:lnTo>
                    <a:pt x="1977" y="1049"/>
                  </a:lnTo>
                  <a:lnTo>
                    <a:pt x="1977" y="1049"/>
                  </a:lnTo>
                  <a:lnTo>
                    <a:pt x="1977" y="1049"/>
                  </a:lnTo>
                  <a:close/>
                  <a:moveTo>
                    <a:pt x="2306" y="1016"/>
                  </a:moveTo>
                  <a:lnTo>
                    <a:pt x="2317" y="1028"/>
                  </a:lnTo>
                  <a:lnTo>
                    <a:pt x="2306" y="1028"/>
                  </a:lnTo>
                  <a:lnTo>
                    <a:pt x="2306" y="1016"/>
                  </a:lnTo>
                  <a:lnTo>
                    <a:pt x="2306" y="1016"/>
                  </a:lnTo>
                  <a:lnTo>
                    <a:pt x="2306" y="1016"/>
                  </a:lnTo>
                  <a:close/>
                  <a:moveTo>
                    <a:pt x="1484" y="1016"/>
                  </a:moveTo>
                  <a:lnTo>
                    <a:pt x="1507" y="1033"/>
                  </a:lnTo>
                  <a:lnTo>
                    <a:pt x="1495" y="1066"/>
                  </a:lnTo>
                  <a:lnTo>
                    <a:pt x="1495" y="1073"/>
                  </a:lnTo>
                  <a:lnTo>
                    <a:pt x="1491" y="1073"/>
                  </a:lnTo>
                  <a:lnTo>
                    <a:pt x="1491" y="1066"/>
                  </a:lnTo>
                  <a:lnTo>
                    <a:pt x="1469" y="1073"/>
                  </a:lnTo>
                  <a:lnTo>
                    <a:pt x="1441" y="1066"/>
                  </a:lnTo>
                  <a:lnTo>
                    <a:pt x="1441" y="1056"/>
                  </a:lnTo>
                  <a:lnTo>
                    <a:pt x="1458" y="1056"/>
                  </a:lnTo>
                  <a:lnTo>
                    <a:pt x="1458" y="1033"/>
                  </a:lnTo>
                  <a:lnTo>
                    <a:pt x="1484" y="1016"/>
                  </a:lnTo>
                  <a:lnTo>
                    <a:pt x="1484" y="1016"/>
                  </a:lnTo>
                  <a:lnTo>
                    <a:pt x="1484" y="1016"/>
                  </a:lnTo>
                  <a:close/>
                  <a:moveTo>
                    <a:pt x="1954" y="1028"/>
                  </a:moveTo>
                  <a:lnTo>
                    <a:pt x="1970" y="1028"/>
                  </a:lnTo>
                  <a:lnTo>
                    <a:pt x="1970" y="1033"/>
                  </a:lnTo>
                  <a:lnTo>
                    <a:pt x="1944" y="1033"/>
                  </a:lnTo>
                  <a:lnTo>
                    <a:pt x="1954" y="1028"/>
                  </a:lnTo>
                  <a:lnTo>
                    <a:pt x="1954" y="1028"/>
                  </a:lnTo>
                  <a:lnTo>
                    <a:pt x="1954" y="1028"/>
                  </a:lnTo>
                  <a:close/>
                  <a:moveTo>
                    <a:pt x="2024" y="1106"/>
                  </a:moveTo>
                  <a:lnTo>
                    <a:pt x="2062" y="1089"/>
                  </a:lnTo>
                  <a:lnTo>
                    <a:pt x="2084" y="1073"/>
                  </a:lnTo>
                  <a:lnTo>
                    <a:pt x="2100" y="1049"/>
                  </a:lnTo>
                  <a:lnTo>
                    <a:pt x="2187" y="1033"/>
                  </a:lnTo>
                  <a:lnTo>
                    <a:pt x="2197" y="1044"/>
                  </a:lnTo>
                  <a:lnTo>
                    <a:pt x="2230" y="1028"/>
                  </a:lnTo>
                  <a:lnTo>
                    <a:pt x="2246" y="1033"/>
                  </a:lnTo>
                  <a:lnTo>
                    <a:pt x="2230" y="1056"/>
                  </a:lnTo>
                  <a:lnTo>
                    <a:pt x="2197" y="1066"/>
                  </a:lnTo>
                  <a:lnTo>
                    <a:pt x="2192" y="1073"/>
                  </a:lnTo>
                  <a:lnTo>
                    <a:pt x="2171" y="1082"/>
                  </a:lnTo>
                  <a:lnTo>
                    <a:pt x="2117" y="1099"/>
                  </a:lnTo>
                  <a:lnTo>
                    <a:pt x="2091" y="1111"/>
                  </a:lnTo>
                  <a:lnTo>
                    <a:pt x="2084" y="1127"/>
                  </a:lnTo>
                  <a:lnTo>
                    <a:pt x="2046" y="1160"/>
                  </a:lnTo>
                  <a:lnTo>
                    <a:pt x="2024" y="1160"/>
                  </a:lnTo>
                  <a:lnTo>
                    <a:pt x="2008" y="1177"/>
                  </a:lnTo>
                  <a:lnTo>
                    <a:pt x="1982" y="1177"/>
                  </a:lnTo>
                  <a:lnTo>
                    <a:pt x="1982" y="1165"/>
                  </a:lnTo>
                  <a:lnTo>
                    <a:pt x="1998" y="1160"/>
                  </a:lnTo>
                  <a:lnTo>
                    <a:pt x="1982" y="1155"/>
                  </a:lnTo>
                  <a:lnTo>
                    <a:pt x="1991" y="1127"/>
                  </a:lnTo>
                  <a:lnTo>
                    <a:pt x="2024" y="1106"/>
                  </a:lnTo>
                  <a:lnTo>
                    <a:pt x="2024" y="1106"/>
                  </a:lnTo>
                  <a:lnTo>
                    <a:pt x="2024" y="1106"/>
                  </a:lnTo>
                  <a:close/>
                  <a:moveTo>
                    <a:pt x="1701" y="1033"/>
                  </a:moveTo>
                  <a:lnTo>
                    <a:pt x="1706" y="1049"/>
                  </a:lnTo>
                  <a:lnTo>
                    <a:pt x="1701" y="1049"/>
                  </a:lnTo>
                  <a:lnTo>
                    <a:pt x="1701" y="1056"/>
                  </a:lnTo>
                  <a:lnTo>
                    <a:pt x="1689" y="1056"/>
                  </a:lnTo>
                  <a:lnTo>
                    <a:pt x="1701" y="1033"/>
                  </a:lnTo>
                  <a:lnTo>
                    <a:pt x="1701" y="1033"/>
                  </a:lnTo>
                  <a:lnTo>
                    <a:pt x="1701" y="1033"/>
                  </a:lnTo>
                  <a:close/>
                  <a:moveTo>
                    <a:pt x="1944" y="1049"/>
                  </a:moveTo>
                  <a:lnTo>
                    <a:pt x="1944" y="1044"/>
                  </a:lnTo>
                  <a:lnTo>
                    <a:pt x="1961" y="1044"/>
                  </a:lnTo>
                  <a:lnTo>
                    <a:pt x="1944" y="1049"/>
                  </a:lnTo>
                  <a:lnTo>
                    <a:pt x="1944" y="1049"/>
                  </a:lnTo>
                  <a:lnTo>
                    <a:pt x="1944" y="1049"/>
                  </a:lnTo>
                  <a:close/>
                  <a:moveTo>
                    <a:pt x="1269" y="1044"/>
                  </a:moveTo>
                  <a:lnTo>
                    <a:pt x="1269" y="1033"/>
                  </a:lnTo>
                  <a:lnTo>
                    <a:pt x="1273" y="1044"/>
                  </a:lnTo>
                  <a:lnTo>
                    <a:pt x="1269" y="1044"/>
                  </a:lnTo>
                  <a:lnTo>
                    <a:pt x="1269" y="1044"/>
                  </a:lnTo>
                  <a:lnTo>
                    <a:pt x="1269" y="1044"/>
                  </a:lnTo>
                  <a:close/>
                  <a:moveTo>
                    <a:pt x="1710" y="1056"/>
                  </a:moveTo>
                  <a:lnTo>
                    <a:pt x="1710" y="1066"/>
                  </a:lnTo>
                  <a:lnTo>
                    <a:pt x="1706" y="1066"/>
                  </a:lnTo>
                  <a:lnTo>
                    <a:pt x="1710" y="1049"/>
                  </a:lnTo>
                  <a:lnTo>
                    <a:pt x="1710" y="1056"/>
                  </a:lnTo>
                  <a:lnTo>
                    <a:pt x="1710" y="1056"/>
                  </a:lnTo>
                  <a:lnTo>
                    <a:pt x="1710" y="1056"/>
                  </a:lnTo>
                  <a:close/>
                  <a:moveTo>
                    <a:pt x="1432" y="1066"/>
                  </a:moveTo>
                  <a:lnTo>
                    <a:pt x="1420" y="1056"/>
                  </a:lnTo>
                  <a:lnTo>
                    <a:pt x="1432" y="1056"/>
                  </a:lnTo>
                  <a:lnTo>
                    <a:pt x="1432" y="1066"/>
                  </a:lnTo>
                  <a:lnTo>
                    <a:pt x="1432" y="1066"/>
                  </a:lnTo>
                  <a:lnTo>
                    <a:pt x="1432" y="1066"/>
                  </a:lnTo>
                  <a:close/>
                  <a:moveTo>
                    <a:pt x="1684" y="1139"/>
                  </a:moveTo>
                  <a:lnTo>
                    <a:pt x="1658" y="1122"/>
                  </a:lnTo>
                  <a:lnTo>
                    <a:pt x="1668" y="1111"/>
                  </a:lnTo>
                  <a:lnTo>
                    <a:pt x="1684" y="1106"/>
                  </a:lnTo>
                  <a:lnTo>
                    <a:pt x="1722" y="1106"/>
                  </a:lnTo>
                  <a:lnTo>
                    <a:pt x="1727" y="1099"/>
                  </a:lnTo>
                  <a:lnTo>
                    <a:pt x="1755" y="1111"/>
                  </a:lnTo>
                  <a:lnTo>
                    <a:pt x="1755" y="1127"/>
                  </a:lnTo>
                  <a:lnTo>
                    <a:pt x="1765" y="1122"/>
                  </a:lnTo>
                  <a:lnTo>
                    <a:pt x="1776" y="1127"/>
                  </a:lnTo>
                  <a:lnTo>
                    <a:pt x="1798" y="1160"/>
                  </a:lnTo>
                  <a:lnTo>
                    <a:pt x="1781" y="1165"/>
                  </a:lnTo>
                  <a:lnTo>
                    <a:pt x="1755" y="1165"/>
                  </a:lnTo>
                  <a:lnTo>
                    <a:pt x="1710" y="1139"/>
                  </a:lnTo>
                  <a:lnTo>
                    <a:pt x="1684" y="1139"/>
                  </a:lnTo>
                  <a:lnTo>
                    <a:pt x="1684" y="1139"/>
                  </a:lnTo>
                  <a:lnTo>
                    <a:pt x="1684" y="1139"/>
                  </a:lnTo>
                  <a:close/>
                  <a:moveTo>
                    <a:pt x="1977" y="1160"/>
                  </a:moveTo>
                  <a:lnTo>
                    <a:pt x="1982" y="1165"/>
                  </a:lnTo>
                  <a:lnTo>
                    <a:pt x="1970" y="1177"/>
                  </a:lnTo>
                  <a:lnTo>
                    <a:pt x="1977" y="1160"/>
                  </a:lnTo>
                  <a:lnTo>
                    <a:pt x="1977" y="1160"/>
                  </a:lnTo>
                  <a:lnTo>
                    <a:pt x="1977" y="1160"/>
                  </a:lnTo>
                  <a:close/>
                  <a:moveTo>
                    <a:pt x="1864" y="1193"/>
                  </a:moveTo>
                  <a:lnTo>
                    <a:pt x="1869" y="1181"/>
                  </a:lnTo>
                  <a:lnTo>
                    <a:pt x="1873" y="1181"/>
                  </a:lnTo>
                  <a:lnTo>
                    <a:pt x="1869" y="1193"/>
                  </a:lnTo>
                  <a:lnTo>
                    <a:pt x="1864" y="1193"/>
                  </a:lnTo>
                  <a:lnTo>
                    <a:pt x="1864" y="1193"/>
                  </a:lnTo>
                  <a:lnTo>
                    <a:pt x="1864" y="1193"/>
                  </a:lnTo>
                  <a:close/>
                  <a:moveTo>
                    <a:pt x="1939" y="1210"/>
                  </a:moveTo>
                  <a:lnTo>
                    <a:pt x="1977" y="1181"/>
                  </a:lnTo>
                  <a:lnTo>
                    <a:pt x="1977" y="1200"/>
                  </a:lnTo>
                  <a:lnTo>
                    <a:pt x="1961" y="1210"/>
                  </a:lnTo>
                  <a:lnTo>
                    <a:pt x="1939" y="1217"/>
                  </a:lnTo>
                  <a:lnTo>
                    <a:pt x="1939" y="1210"/>
                  </a:lnTo>
                  <a:lnTo>
                    <a:pt x="1939" y="1210"/>
                  </a:lnTo>
                  <a:lnTo>
                    <a:pt x="1939" y="121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9" name="Freeform 468">
              <a:extLst>
                <a:ext uri="{FF2B5EF4-FFF2-40B4-BE49-F238E27FC236}">
                  <a16:creationId xmlns:a16="http://schemas.microsoft.com/office/drawing/2014/main" id="{F2FEA076-2DBB-4289-ABF5-F43D7607E292}"/>
                </a:ext>
              </a:extLst>
            </p:cNvPr>
            <p:cNvSpPr>
              <a:spLocks/>
            </p:cNvSpPr>
            <p:nvPr/>
          </p:nvSpPr>
          <p:spPr bwMode="gray">
            <a:xfrm>
              <a:off x="13635503" y="2686411"/>
              <a:ext cx="9819" cy="12437"/>
            </a:xfrm>
            <a:custGeom>
              <a:avLst/>
              <a:gdLst>
                <a:gd name="T0" fmla="*/ 0 w 30"/>
                <a:gd name="T1" fmla="*/ 38 h 38"/>
                <a:gd name="T2" fmla="*/ 0 w 30"/>
                <a:gd name="T3" fmla="*/ 22 h 38"/>
                <a:gd name="T4" fmla="*/ 26 w 30"/>
                <a:gd name="T5" fmla="*/ 0 h 38"/>
                <a:gd name="T6" fmla="*/ 30 w 30"/>
                <a:gd name="T7" fmla="*/ 17 h 38"/>
                <a:gd name="T8" fmla="*/ 26 w 30"/>
                <a:gd name="T9" fmla="*/ 22 h 38"/>
                <a:gd name="T10" fmla="*/ 0 w 30"/>
                <a:gd name="T11" fmla="*/ 38 h 38"/>
                <a:gd name="T12" fmla="*/ 0 w 30"/>
                <a:gd name="T13" fmla="*/ 38 h 38"/>
                <a:gd name="T14" fmla="*/ 0 w 3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8">
                  <a:moveTo>
                    <a:pt x="0" y="38"/>
                  </a:moveTo>
                  <a:lnTo>
                    <a:pt x="0" y="22"/>
                  </a:lnTo>
                  <a:lnTo>
                    <a:pt x="26" y="0"/>
                  </a:lnTo>
                  <a:lnTo>
                    <a:pt x="30" y="17"/>
                  </a:lnTo>
                  <a:lnTo>
                    <a:pt x="26" y="22"/>
                  </a:lnTo>
                  <a:lnTo>
                    <a:pt x="0" y="38"/>
                  </a:lnTo>
                  <a:lnTo>
                    <a:pt x="0" y="38"/>
                  </a:lnTo>
                  <a:lnTo>
                    <a:pt x="0" y="38"/>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0" name="Freeform 469">
              <a:extLst>
                <a:ext uri="{FF2B5EF4-FFF2-40B4-BE49-F238E27FC236}">
                  <a16:creationId xmlns:a16="http://schemas.microsoft.com/office/drawing/2014/main" id="{9456CAE9-BF74-42AF-BE36-3F255A8F8940}"/>
                </a:ext>
              </a:extLst>
            </p:cNvPr>
            <p:cNvSpPr>
              <a:spLocks noEditPoints="1"/>
            </p:cNvSpPr>
            <p:nvPr/>
          </p:nvSpPr>
          <p:spPr bwMode="gray">
            <a:xfrm>
              <a:off x="15307007" y="3240851"/>
              <a:ext cx="670958" cy="713507"/>
            </a:xfrm>
            <a:custGeom>
              <a:avLst/>
              <a:gdLst>
                <a:gd name="T0" fmla="*/ 1634 w 2050"/>
                <a:gd name="T1" fmla="*/ 959 h 2180"/>
                <a:gd name="T2" fmla="*/ 1701 w 2050"/>
                <a:gd name="T3" fmla="*/ 839 h 2180"/>
                <a:gd name="T4" fmla="*/ 1507 w 2050"/>
                <a:gd name="T5" fmla="*/ 756 h 2180"/>
                <a:gd name="T6" fmla="*/ 1419 w 2050"/>
                <a:gd name="T7" fmla="*/ 711 h 2180"/>
                <a:gd name="T8" fmla="*/ 1469 w 2050"/>
                <a:gd name="T9" fmla="*/ 810 h 2180"/>
                <a:gd name="T10" fmla="*/ 1441 w 2050"/>
                <a:gd name="T11" fmla="*/ 876 h 2180"/>
                <a:gd name="T12" fmla="*/ 1474 w 2050"/>
                <a:gd name="T13" fmla="*/ 1049 h 2180"/>
                <a:gd name="T14" fmla="*/ 1431 w 2050"/>
                <a:gd name="T15" fmla="*/ 1094 h 2180"/>
                <a:gd name="T16" fmla="*/ 1386 w 2050"/>
                <a:gd name="T17" fmla="*/ 1020 h 2180"/>
                <a:gd name="T18" fmla="*/ 1327 w 2050"/>
                <a:gd name="T19" fmla="*/ 1160 h 2180"/>
                <a:gd name="T20" fmla="*/ 1219 w 2050"/>
                <a:gd name="T21" fmla="*/ 1238 h 2180"/>
                <a:gd name="T22" fmla="*/ 1171 w 2050"/>
                <a:gd name="T23" fmla="*/ 1276 h 2180"/>
                <a:gd name="T24" fmla="*/ 954 w 2050"/>
                <a:gd name="T25" fmla="*/ 1481 h 2180"/>
                <a:gd name="T26" fmla="*/ 848 w 2050"/>
                <a:gd name="T27" fmla="*/ 1609 h 2180"/>
                <a:gd name="T28" fmla="*/ 827 w 2050"/>
                <a:gd name="T29" fmla="*/ 1864 h 2180"/>
                <a:gd name="T30" fmla="*/ 765 w 2050"/>
                <a:gd name="T31" fmla="*/ 1998 h 2180"/>
                <a:gd name="T32" fmla="*/ 593 w 2050"/>
                <a:gd name="T33" fmla="*/ 2020 h 2180"/>
                <a:gd name="T34" fmla="*/ 534 w 2050"/>
                <a:gd name="T35" fmla="*/ 1835 h 2180"/>
                <a:gd name="T36" fmla="*/ 404 w 2050"/>
                <a:gd name="T37" fmla="*/ 1547 h 2180"/>
                <a:gd name="T38" fmla="*/ 340 w 2050"/>
                <a:gd name="T39" fmla="*/ 1292 h 2180"/>
                <a:gd name="T40" fmla="*/ 340 w 2050"/>
                <a:gd name="T41" fmla="*/ 1148 h 2180"/>
                <a:gd name="T42" fmla="*/ 356 w 2050"/>
                <a:gd name="T43" fmla="*/ 1077 h 2180"/>
                <a:gd name="T44" fmla="*/ 286 w 2050"/>
                <a:gd name="T45" fmla="*/ 1037 h 2180"/>
                <a:gd name="T46" fmla="*/ 297 w 2050"/>
                <a:gd name="T47" fmla="*/ 1087 h 2180"/>
                <a:gd name="T48" fmla="*/ 172 w 2050"/>
                <a:gd name="T49" fmla="*/ 983 h 2180"/>
                <a:gd name="T50" fmla="*/ 26 w 2050"/>
                <a:gd name="T51" fmla="*/ 933 h 2180"/>
                <a:gd name="T52" fmla="*/ 64 w 2050"/>
                <a:gd name="T53" fmla="*/ 888 h 2180"/>
                <a:gd name="T54" fmla="*/ 198 w 2050"/>
                <a:gd name="T55" fmla="*/ 872 h 2180"/>
                <a:gd name="T56" fmla="*/ 125 w 2050"/>
                <a:gd name="T57" fmla="*/ 704 h 2180"/>
                <a:gd name="T58" fmla="*/ 286 w 2050"/>
                <a:gd name="T59" fmla="*/ 560 h 2180"/>
                <a:gd name="T60" fmla="*/ 458 w 2050"/>
                <a:gd name="T61" fmla="*/ 354 h 2180"/>
                <a:gd name="T62" fmla="*/ 486 w 2050"/>
                <a:gd name="T63" fmla="*/ 243 h 2180"/>
                <a:gd name="T64" fmla="*/ 411 w 2050"/>
                <a:gd name="T65" fmla="*/ 111 h 2180"/>
                <a:gd name="T66" fmla="*/ 621 w 2050"/>
                <a:gd name="T67" fmla="*/ 61 h 2180"/>
                <a:gd name="T68" fmla="*/ 751 w 2050"/>
                <a:gd name="T69" fmla="*/ 111 h 2180"/>
                <a:gd name="T70" fmla="*/ 751 w 2050"/>
                <a:gd name="T71" fmla="*/ 243 h 2180"/>
                <a:gd name="T72" fmla="*/ 756 w 2050"/>
                <a:gd name="T73" fmla="*/ 338 h 2180"/>
                <a:gd name="T74" fmla="*/ 864 w 2050"/>
                <a:gd name="T75" fmla="*/ 477 h 2180"/>
                <a:gd name="T76" fmla="*/ 982 w 2050"/>
                <a:gd name="T77" fmla="*/ 600 h 2180"/>
                <a:gd name="T78" fmla="*/ 1129 w 2050"/>
                <a:gd name="T79" fmla="*/ 633 h 2180"/>
                <a:gd name="T80" fmla="*/ 1327 w 2050"/>
                <a:gd name="T81" fmla="*/ 711 h 2180"/>
                <a:gd name="T82" fmla="*/ 1403 w 2050"/>
                <a:gd name="T83" fmla="*/ 600 h 2180"/>
                <a:gd name="T84" fmla="*/ 1474 w 2050"/>
                <a:gd name="T85" fmla="*/ 687 h 2180"/>
                <a:gd name="T86" fmla="*/ 1684 w 2050"/>
                <a:gd name="T87" fmla="*/ 683 h 2180"/>
                <a:gd name="T88" fmla="*/ 1710 w 2050"/>
                <a:gd name="T89" fmla="*/ 609 h 2180"/>
                <a:gd name="T90" fmla="*/ 1916 w 2050"/>
                <a:gd name="T91" fmla="*/ 517 h 2180"/>
                <a:gd name="T92" fmla="*/ 1982 w 2050"/>
                <a:gd name="T93" fmla="*/ 555 h 2180"/>
                <a:gd name="T94" fmla="*/ 2024 w 2050"/>
                <a:gd name="T95" fmla="*/ 654 h 2180"/>
                <a:gd name="T96" fmla="*/ 1861 w 2050"/>
                <a:gd name="T97" fmla="*/ 810 h 2180"/>
                <a:gd name="T98" fmla="*/ 1764 w 2050"/>
                <a:gd name="T99" fmla="*/ 983 h 2180"/>
                <a:gd name="T100" fmla="*/ 1705 w 2050"/>
                <a:gd name="T101" fmla="*/ 983 h 2180"/>
                <a:gd name="T102" fmla="*/ 1441 w 2050"/>
                <a:gd name="T103" fmla="*/ 1070 h 2180"/>
                <a:gd name="T104" fmla="*/ 1743 w 2050"/>
                <a:gd name="T105" fmla="*/ 1687 h 2180"/>
                <a:gd name="T106" fmla="*/ 1727 w 2050"/>
                <a:gd name="T107" fmla="*/ 1743 h 2180"/>
                <a:gd name="T108" fmla="*/ 1727 w 2050"/>
                <a:gd name="T109" fmla="*/ 1776 h 2180"/>
                <a:gd name="T110" fmla="*/ 1727 w 2050"/>
                <a:gd name="T111" fmla="*/ 1793 h 2180"/>
                <a:gd name="T112" fmla="*/ 1701 w 2050"/>
                <a:gd name="T113" fmla="*/ 1831 h 2180"/>
                <a:gd name="T114" fmla="*/ 1722 w 2050"/>
                <a:gd name="T115" fmla="*/ 1847 h 2180"/>
                <a:gd name="T116" fmla="*/ 1710 w 2050"/>
                <a:gd name="T117" fmla="*/ 1887 h 2180"/>
                <a:gd name="T118" fmla="*/ 1755 w 2050"/>
                <a:gd name="T119" fmla="*/ 2069 h 2180"/>
                <a:gd name="T120" fmla="*/ 1776 w 2050"/>
                <a:gd name="T121" fmla="*/ 2091 h 2180"/>
                <a:gd name="T122" fmla="*/ 1793 w 2050"/>
                <a:gd name="T123" fmla="*/ 2091 h 2180"/>
                <a:gd name="T124" fmla="*/ 1814 w 2050"/>
                <a:gd name="T125" fmla="*/ 2164 h 2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0" h="2180">
                  <a:moveTo>
                    <a:pt x="1701" y="926"/>
                  </a:moveTo>
                  <a:lnTo>
                    <a:pt x="1684" y="933"/>
                  </a:lnTo>
                  <a:lnTo>
                    <a:pt x="1672" y="926"/>
                  </a:lnTo>
                  <a:lnTo>
                    <a:pt x="1672" y="943"/>
                  </a:lnTo>
                  <a:lnTo>
                    <a:pt x="1656" y="959"/>
                  </a:lnTo>
                  <a:lnTo>
                    <a:pt x="1667" y="976"/>
                  </a:lnTo>
                  <a:lnTo>
                    <a:pt x="1656" y="983"/>
                  </a:lnTo>
                  <a:lnTo>
                    <a:pt x="1646" y="983"/>
                  </a:lnTo>
                  <a:lnTo>
                    <a:pt x="1634" y="959"/>
                  </a:lnTo>
                  <a:lnTo>
                    <a:pt x="1634" y="976"/>
                  </a:lnTo>
                  <a:lnTo>
                    <a:pt x="1630" y="976"/>
                  </a:lnTo>
                  <a:lnTo>
                    <a:pt x="1618" y="933"/>
                  </a:lnTo>
                  <a:lnTo>
                    <a:pt x="1630" y="909"/>
                  </a:lnTo>
                  <a:lnTo>
                    <a:pt x="1634" y="893"/>
                  </a:lnTo>
                  <a:lnTo>
                    <a:pt x="1667" y="893"/>
                  </a:lnTo>
                  <a:lnTo>
                    <a:pt x="1672" y="876"/>
                  </a:lnTo>
                  <a:lnTo>
                    <a:pt x="1689" y="872"/>
                  </a:lnTo>
                  <a:lnTo>
                    <a:pt x="1701" y="839"/>
                  </a:lnTo>
                  <a:lnTo>
                    <a:pt x="1710" y="839"/>
                  </a:lnTo>
                  <a:lnTo>
                    <a:pt x="1705" y="822"/>
                  </a:lnTo>
                  <a:lnTo>
                    <a:pt x="1684" y="815"/>
                  </a:lnTo>
                  <a:lnTo>
                    <a:pt x="1566" y="815"/>
                  </a:lnTo>
                  <a:lnTo>
                    <a:pt x="1528" y="810"/>
                  </a:lnTo>
                  <a:lnTo>
                    <a:pt x="1528" y="761"/>
                  </a:lnTo>
                  <a:lnTo>
                    <a:pt x="1521" y="737"/>
                  </a:lnTo>
                  <a:lnTo>
                    <a:pt x="1512" y="737"/>
                  </a:lnTo>
                  <a:lnTo>
                    <a:pt x="1507" y="756"/>
                  </a:lnTo>
                  <a:lnTo>
                    <a:pt x="1490" y="756"/>
                  </a:lnTo>
                  <a:lnTo>
                    <a:pt x="1474" y="737"/>
                  </a:lnTo>
                  <a:lnTo>
                    <a:pt x="1474" y="721"/>
                  </a:lnTo>
                  <a:lnTo>
                    <a:pt x="1469" y="721"/>
                  </a:lnTo>
                  <a:lnTo>
                    <a:pt x="1457" y="721"/>
                  </a:lnTo>
                  <a:lnTo>
                    <a:pt x="1474" y="728"/>
                  </a:lnTo>
                  <a:lnTo>
                    <a:pt x="1457" y="737"/>
                  </a:lnTo>
                  <a:lnTo>
                    <a:pt x="1431" y="704"/>
                  </a:lnTo>
                  <a:lnTo>
                    <a:pt x="1419" y="711"/>
                  </a:lnTo>
                  <a:lnTo>
                    <a:pt x="1431" y="711"/>
                  </a:lnTo>
                  <a:lnTo>
                    <a:pt x="1436" y="721"/>
                  </a:lnTo>
                  <a:lnTo>
                    <a:pt x="1415" y="737"/>
                  </a:lnTo>
                  <a:lnTo>
                    <a:pt x="1403" y="761"/>
                  </a:lnTo>
                  <a:lnTo>
                    <a:pt x="1419" y="765"/>
                  </a:lnTo>
                  <a:lnTo>
                    <a:pt x="1436" y="794"/>
                  </a:lnTo>
                  <a:lnTo>
                    <a:pt x="1453" y="794"/>
                  </a:lnTo>
                  <a:lnTo>
                    <a:pt x="1457" y="798"/>
                  </a:lnTo>
                  <a:lnTo>
                    <a:pt x="1469" y="810"/>
                  </a:lnTo>
                  <a:lnTo>
                    <a:pt x="1469" y="815"/>
                  </a:lnTo>
                  <a:lnTo>
                    <a:pt x="1431" y="815"/>
                  </a:lnTo>
                  <a:lnTo>
                    <a:pt x="1419" y="839"/>
                  </a:lnTo>
                  <a:lnTo>
                    <a:pt x="1403" y="832"/>
                  </a:lnTo>
                  <a:lnTo>
                    <a:pt x="1415" y="839"/>
                  </a:lnTo>
                  <a:lnTo>
                    <a:pt x="1398" y="855"/>
                  </a:lnTo>
                  <a:lnTo>
                    <a:pt x="1403" y="865"/>
                  </a:lnTo>
                  <a:lnTo>
                    <a:pt x="1436" y="876"/>
                  </a:lnTo>
                  <a:lnTo>
                    <a:pt x="1441" y="876"/>
                  </a:lnTo>
                  <a:lnTo>
                    <a:pt x="1453" y="888"/>
                  </a:lnTo>
                  <a:lnTo>
                    <a:pt x="1453" y="909"/>
                  </a:lnTo>
                  <a:lnTo>
                    <a:pt x="1436" y="921"/>
                  </a:lnTo>
                  <a:lnTo>
                    <a:pt x="1436" y="933"/>
                  </a:lnTo>
                  <a:lnTo>
                    <a:pt x="1453" y="943"/>
                  </a:lnTo>
                  <a:lnTo>
                    <a:pt x="1453" y="959"/>
                  </a:lnTo>
                  <a:lnTo>
                    <a:pt x="1469" y="966"/>
                  </a:lnTo>
                  <a:lnTo>
                    <a:pt x="1457" y="983"/>
                  </a:lnTo>
                  <a:lnTo>
                    <a:pt x="1474" y="1049"/>
                  </a:lnTo>
                  <a:lnTo>
                    <a:pt x="1469" y="1061"/>
                  </a:lnTo>
                  <a:lnTo>
                    <a:pt x="1474" y="1087"/>
                  </a:lnTo>
                  <a:lnTo>
                    <a:pt x="1441" y="1094"/>
                  </a:lnTo>
                  <a:lnTo>
                    <a:pt x="1453" y="1054"/>
                  </a:lnTo>
                  <a:lnTo>
                    <a:pt x="1441" y="1054"/>
                  </a:lnTo>
                  <a:lnTo>
                    <a:pt x="1441" y="1061"/>
                  </a:lnTo>
                  <a:lnTo>
                    <a:pt x="1441" y="1037"/>
                  </a:lnTo>
                  <a:lnTo>
                    <a:pt x="1436" y="1094"/>
                  </a:lnTo>
                  <a:lnTo>
                    <a:pt x="1431" y="1094"/>
                  </a:lnTo>
                  <a:lnTo>
                    <a:pt x="1436" y="1061"/>
                  </a:lnTo>
                  <a:lnTo>
                    <a:pt x="1431" y="1087"/>
                  </a:lnTo>
                  <a:lnTo>
                    <a:pt x="1419" y="1087"/>
                  </a:lnTo>
                  <a:lnTo>
                    <a:pt x="1415" y="1070"/>
                  </a:lnTo>
                  <a:lnTo>
                    <a:pt x="1415" y="1094"/>
                  </a:lnTo>
                  <a:lnTo>
                    <a:pt x="1403" y="1061"/>
                  </a:lnTo>
                  <a:lnTo>
                    <a:pt x="1415" y="1049"/>
                  </a:lnTo>
                  <a:lnTo>
                    <a:pt x="1398" y="1037"/>
                  </a:lnTo>
                  <a:lnTo>
                    <a:pt x="1386" y="1020"/>
                  </a:lnTo>
                  <a:lnTo>
                    <a:pt x="1398" y="1037"/>
                  </a:lnTo>
                  <a:lnTo>
                    <a:pt x="1415" y="1054"/>
                  </a:lnTo>
                  <a:lnTo>
                    <a:pt x="1382" y="1077"/>
                  </a:lnTo>
                  <a:lnTo>
                    <a:pt x="1344" y="1094"/>
                  </a:lnTo>
                  <a:lnTo>
                    <a:pt x="1327" y="1103"/>
                  </a:lnTo>
                  <a:lnTo>
                    <a:pt x="1311" y="1115"/>
                  </a:lnTo>
                  <a:lnTo>
                    <a:pt x="1327" y="1148"/>
                  </a:lnTo>
                  <a:lnTo>
                    <a:pt x="1323" y="1148"/>
                  </a:lnTo>
                  <a:lnTo>
                    <a:pt x="1327" y="1160"/>
                  </a:lnTo>
                  <a:lnTo>
                    <a:pt x="1311" y="1172"/>
                  </a:lnTo>
                  <a:lnTo>
                    <a:pt x="1306" y="1181"/>
                  </a:lnTo>
                  <a:lnTo>
                    <a:pt x="1311" y="1172"/>
                  </a:lnTo>
                  <a:lnTo>
                    <a:pt x="1311" y="1181"/>
                  </a:lnTo>
                  <a:lnTo>
                    <a:pt x="1290" y="1198"/>
                  </a:lnTo>
                  <a:lnTo>
                    <a:pt x="1290" y="1214"/>
                  </a:lnTo>
                  <a:lnTo>
                    <a:pt x="1273" y="1205"/>
                  </a:lnTo>
                  <a:lnTo>
                    <a:pt x="1280" y="1214"/>
                  </a:lnTo>
                  <a:lnTo>
                    <a:pt x="1219" y="1238"/>
                  </a:lnTo>
                  <a:lnTo>
                    <a:pt x="1226" y="1221"/>
                  </a:lnTo>
                  <a:lnTo>
                    <a:pt x="1219" y="1214"/>
                  </a:lnTo>
                  <a:lnTo>
                    <a:pt x="1205" y="1226"/>
                  </a:lnTo>
                  <a:lnTo>
                    <a:pt x="1197" y="1243"/>
                  </a:lnTo>
                  <a:lnTo>
                    <a:pt x="1205" y="1238"/>
                  </a:lnTo>
                  <a:lnTo>
                    <a:pt x="1214" y="1226"/>
                  </a:lnTo>
                  <a:lnTo>
                    <a:pt x="1214" y="1238"/>
                  </a:lnTo>
                  <a:lnTo>
                    <a:pt x="1167" y="1276"/>
                  </a:lnTo>
                  <a:lnTo>
                    <a:pt x="1171" y="1276"/>
                  </a:lnTo>
                  <a:lnTo>
                    <a:pt x="1167" y="1283"/>
                  </a:lnTo>
                  <a:lnTo>
                    <a:pt x="1129" y="1332"/>
                  </a:lnTo>
                  <a:lnTo>
                    <a:pt x="1091" y="1354"/>
                  </a:lnTo>
                  <a:lnTo>
                    <a:pt x="1063" y="1387"/>
                  </a:lnTo>
                  <a:lnTo>
                    <a:pt x="1004" y="1427"/>
                  </a:lnTo>
                  <a:lnTo>
                    <a:pt x="999" y="1436"/>
                  </a:lnTo>
                  <a:lnTo>
                    <a:pt x="1004" y="1443"/>
                  </a:lnTo>
                  <a:lnTo>
                    <a:pt x="999" y="1460"/>
                  </a:lnTo>
                  <a:lnTo>
                    <a:pt x="954" y="1481"/>
                  </a:lnTo>
                  <a:lnTo>
                    <a:pt x="928" y="1481"/>
                  </a:lnTo>
                  <a:lnTo>
                    <a:pt x="912" y="1521"/>
                  </a:lnTo>
                  <a:lnTo>
                    <a:pt x="895" y="1514"/>
                  </a:lnTo>
                  <a:lnTo>
                    <a:pt x="895" y="1505"/>
                  </a:lnTo>
                  <a:lnTo>
                    <a:pt x="895" y="1521"/>
                  </a:lnTo>
                  <a:lnTo>
                    <a:pt x="890" y="1514"/>
                  </a:lnTo>
                  <a:lnTo>
                    <a:pt x="857" y="1531"/>
                  </a:lnTo>
                  <a:lnTo>
                    <a:pt x="841" y="1576"/>
                  </a:lnTo>
                  <a:lnTo>
                    <a:pt x="848" y="1609"/>
                  </a:lnTo>
                  <a:lnTo>
                    <a:pt x="841" y="1642"/>
                  </a:lnTo>
                  <a:lnTo>
                    <a:pt x="857" y="1698"/>
                  </a:lnTo>
                  <a:lnTo>
                    <a:pt x="848" y="1670"/>
                  </a:lnTo>
                  <a:lnTo>
                    <a:pt x="841" y="1682"/>
                  </a:lnTo>
                  <a:lnTo>
                    <a:pt x="857" y="1703"/>
                  </a:lnTo>
                  <a:lnTo>
                    <a:pt x="848" y="1769"/>
                  </a:lnTo>
                  <a:lnTo>
                    <a:pt x="827" y="1798"/>
                  </a:lnTo>
                  <a:lnTo>
                    <a:pt x="819" y="1826"/>
                  </a:lnTo>
                  <a:lnTo>
                    <a:pt x="827" y="1864"/>
                  </a:lnTo>
                  <a:lnTo>
                    <a:pt x="827" y="1925"/>
                  </a:lnTo>
                  <a:lnTo>
                    <a:pt x="789" y="1925"/>
                  </a:lnTo>
                  <a:lnTo>
                    <a:pt x="782" y="1942"/>
                  </a:lnTo>
                  <a:lnTo>
                    <a:pt x="756" y="1980"/>
                  </a:lnTo>
                  <a:lnTo>
                    <a:pt x="765" y="1998"/>
                  </a:lnTo>
                  <a:lnTo>
                    <a:pt x="789" y="1998"/>
                  </a:lnTo>
                  <a:lnTo>
                    <a:pt x="793" y="2003"/>
                  </a:lnTo>
                  <a:lnTo>
                    <a:pt x="789" y="1998"/>
                  </a:lnTo>
                  <a:lnTo>
                    <a:pt x="765" y="1998"/>
                  </a:lnTo>
                  <a:lnTo>
                    <a:pt x="727" y="2015"/>
                  </a:lnTo>
                  <a:lnTo>
                    <a:pt x="713" y="2020"/>
                  </a:lnTo>
                  <a:lnTo>
                    <a:pt x="701" y="2057"/>
                  </a:lnTo>
                  <a:lnTo>
                    <a:pt x="664" y="2086"/>
                  </a:lnTo>
                  <a:lnTo>
                    <a:pt x="647" y="2086"/>
                  </a:lnTo>
                  <a:lnTo>
                    <a:pt x="626" y="2057"/>
                  </a:lnTo>
                  <a:lnTo>
                    <a:pt x="593" y="2031"/>
                  </a:lnTo>
                  <a:lnTo>
                    <a:pt x="605" y="2020"/>
                  </a:lnTo>
                  <a:lnTo>
                    <a:pt x="593" y="2020"/>
                  </a:lnTo>
                  <a:lnTo>
                    <a:pt x="576" y="1998"/>
                  </a:lnTo>
                  <a:lnTo>
                    <a:pt x="571" y="1946"/>
                  </a:lnTo>
                  <a:lnTo>
                    <a:pt x="576" y="1958"/>
                  </a:lnTo>
                  <a:lnTo>
                    <a:pt x="576" y="1980"/>
                  </a:lnTo>
                  <a:lnTo>
                    <a:pt x="588" y="1980"/>
                  </a:lnTo>
                  <a:lnTo>
                    <a:pt x="571" y="1937"/>
                  </a:lnTo>
                  <a:lnTo>
                    <a:pt x="571" y="1946"/>
                  </a:lnTo>
                  <a:lnTo>
                    <a:pt x="571" y="1942"/>
                  </a:lnTo>
                  <a:lnTo>
                    <a:pt x="534" y="1835"/>
                  </a:lnTo>
                  <a:lnTo>
                    <a:pt x="501" y="1798"/>
                  </a:lnTo>
                  <a:lnTo>
                    <a:pt x="470" y="1736"/>
                  </a:lnTo>
                  <a:lnTo>
                    <a:pt x="442" y="1616"/>
                  </a:lnTo>
                  <a:lnTo>
                    <a:pt x="442" y="1609"/>
                  </a:lnTo>
                  <a:lnTo>
                    <a:pt x="432" y="1616"/>
                  </a:lnTo>
                  <a:lnTo>
                    <a:pt x="432" y="1604"/>
                  </a:lnTo>
                  <a:lnTo>
                    <a:pt x="425" y="1592"/>
                  </a:lnTo>
                  <a:lnTo>
                    <a:pt x="411" y="1554"/>
                  </a:lnTo>
                  <a:lnTo>
                    <a:pt x="404" y="1547"/>
                  </a:lnTo>
                  <a:lnTo>
                    <a:pt x="411" y="1554"/>
                  </a:lnTo>
                  <a:lnTo>
                    <a:pt x="404" y="1547"/>
                  </a:lnTo>
                  <a:lnTo>
                    <a:pt x="378" y="1498"/>
                  </a:lnTo>
                  <a:lnTo>
                    <a:pt x="361" y="1427"/>
                  </a:lnTo>
                  <a:lnTo>
                    <a:pt x="335" y="1309"/>
                  </a:lnTo>
                  <a:lnTo>
                    <a:pt x="335" y="1299"/>
                  </a:lnTo>
                  <a:lnTo>
                    <a:pt x="340" y="1299"/>
                  </a:lnTo>
                  <a:lnTo>
                    <a:pt x="349" y="1299"/>
                  </a:lnTo>
                  <a:lnTo>
                    <a:pt x="340" y="1292"/>
                  </a:lnTo>
                  <a:lnTo>
                    <a:pt x="349" y="1283"/>
                  </a:lnTo>
                  <a:lnTo>
                    <a:pt x="340" y="1276"/>
                  </a:lnTo>
                  <a:lnTo>
                    <a:pt x="335" y="1292"/>
                  </a:lnTo>
                  <a:lnTo>
                    <a:pt x="335" y="1283"/>
                  </a:lnTo>
                  <a:lnTo>
                    <a:pt x="335" y="1259"/>
                  </a:lnTo>
                  <a:lnTo>
                    <a:pt x="349" y="1271"/>
                  </a:lnTo>
                  <a:lnTo>
                    <a:pt x="323" y="1254"/>
                  </a:lnTo>
                  <a:lnTo>
                    <a:pt x="323" y="1221"/>
                  </a:lnTo>
                  <a:lnTo>
                    <a:pt x="340" y="1148"/>
                  </a:lnTo>
                  <a:lnTo>
                    <a:pt x="335" y="1143"/>
                  </a:lnTo>
                  <a:lnTo>
                    <a:pt x="335" y="1127"/>
                  </a:lnTo>
                  <a:lnTo>
                    <a:pt x="319" y="1127"/>
                  </a:lnTo>
                  <a:lnTo>
                    <a:pt x="323" y="1115"/>
                  </a:lnTo>
                  <a:lnTo>
                    <a:pt x="319" y="1103"/>
                  </a:lnTo>
                  <a:lnTo>
                    <a:pt x="323" y="1103"/>
                  </a:lnTo>
                  <a:lnTo>
                    <a:pt x="319" y="1103"/>
                  </a:lnTo>
                  <a:lnTo>
                    <a:pt x="335" y="1087"/>
                  </a:lnTo>
                  <a:lnTo>
                    <a:pt x="356" y="1077"/>
                  </a:lnTo>
                  <a:lnTo>
                    <a:pt x="307" y="1087"/>
                  </a:lnTo>
                  <a:lnTo>
                    <a:pt x="319" y="1070"/>
                  </a:lnTo>
                  <a:lnTo>
                    <a:pt x="323" y="1061"/>
                  </a:lnTo>
                  <a:lnTo>
                    <a:pt x="319" y="1061"/>
                  </a:lnTo>
                  <a:lnTo>
                    <a:pt x="307" y="1061"/>
                  </a:lnTo>
                  <a:lnTo>
                    <a:pt x="319" y="1049"/>
                  </a:lnTo>
                  <a:lnTo>
                    <a:pt x="323" y="1049"/>
                  </a:lnTo>
                  <a:lnTo>
                    <a:pt x="340" y="1037"/>
                  </a:lnTo>
                  <a:lnTo>
                    <a:pt x="286" y="1037"/>
                  </a:lnTo>
                  <a:lnTo>
                    <a:pt x="302" y="1049"/>
                  </a:lnTo>
                  <a:lnTo>
                    <a:pt x="297" y="1054"/>
                  </a:lnTo>
                  <a:lnTo>
                    <a:pt x="281" y="1061"/>
                  </a:lnTo>
                  <a:lnTo>
                    <a:pt x="286" y="1061"/>
                  </a:lnTo>
                  <a:lnTo>
                    <a:pt x="286" y="1070"/>
                  </a:lnTo>
                  <a:lnTo>
                    <a:pt x="281" y="1070"/>
                  </a:lnTo>
                  <a:lnTo>
                    <a:pt x="281" y="1077"/>
                  </a:lnTo>
                  <a:lnTo>
                    <a:pt x="286" y="1070"/>
                  </a:lnTo>
                  <a:lnTo>
                    <a:pt x="297" y="1087"/>
                  </a:lnTo>
                  <a:lnTo>
                    <a:pt x="286" y="1115"/>
                  </a:lnTo>
                  <a:lnTo>
                    <a:pt x="243" y="1143"/>
                  </a:lnTo>
                  <a:lnTo>
                    <a:pt x="193" y="1160"/>
                  </a:lnTo>
                  <a:lnTo>
                    <a:pt x="139" y="1127"/>
                  </a:lnTo>
                  <a:lnTo>
                    <a:pt x="64" y="1037"/>
                  </a:lnTo>
                  <a:lnTo>
                    <a:pt x="71" y="1020"/>
                  </a:lnTo>
                  <a:lnTo>
                    <a:pt x="80" y="1037"/>
                  </a:lnTo>
                  <a:lnTo>
                    <a:pt x="146" y="1016"/>
                  </a:lnTo>
                  <a:lnTo>
                    <a:pt x="172" y="983"/>
                  </a:lnTo>
                  <a:lnTo>
                    <a:pt x="172" y="976"/>
                  </a:lnTo>
                  <a:lnTo>
                    <a:pt x="163" y="976"/>
                  </a:lnTo>
                  <a:lnTo>
                    <a:pt x="163" y="983"/>
                  </a:lnTo>
                  <a:lnTo>
                    <a:pt x="125" y="987"/>
                  </a:lnTo>
                  <a:lnTo>
                    <a:pt x="118" y="999"/>
                  </a:lnTo>
                  <a:lnTo>
                    <a:pt x="80" y="987"/>
                  </a:lnTo>
                  <a:lnTo>
                    <a:pt x="38" y="966"/>
                  </a:lnTo>
                  <a:lnTo>
                    <a:pt x="26" y="950"/>
                  </a:lnTo>
                  <a:lnTo>
                    <a:pt x="26" y="933"/>
                  </a:lnTo>
                  <a:lnTo>
                    <a:pt x="49" y="921"/>
                  </a:lnTo>
                  <a:lnTo>
                    <a:pt x="26" y="926"/>
                  </a:lnTo>
                  <a:lnTo>
                    <a:pt x="16" y="933"/>
                  </a:lnTo>
                  <a:lnTo>
                    <a:pt x="0" y="933"/>
                  </a:lnTo>
                  <a:lnTo>
                    <a:pt x="12" y="921"/>
                  </a:lnTo>
                  <a:lnTo>
                    <a:pt x="16" y="909"/>
                  </a:lnTo>
                  <a:lnTo>
                    <a:pt x="49" y="909"/>
                  </a:lnTo>
                  <a:lnTo>
                    <a:pt x="49" y="876"/>
                  </a:lnTo>
                  <a:lnTo>
                    <a:pt x="64" y="888"/>
                  </a:lnTo>
                  <a:lnTo>
                    <a:pt x="108" y="888"/>
                  </a:lnTo>
                  <a:lnTo>
                    <a:pt x="118" y="893"/>
                  </a:lnTo>
                  <a:lnTo>
                    <a:pt x="134" y="893"/>
                  </a:lnTo>
                  <a:lnTo>
                    <a:pt x="139" y="876"/>
                  </a:lnTo>
                  <a:lnTo>
                    <a:pt x="172" y="872"/>
                  </a:lnTo>
                  <a:lnTo>
                    <a:pt x="177" y="888"/>
                  </a:lnTo>
                  <a:lnTo>
                    <a:pt x="189" y="888"/>
                  </a:lnTo>
                  <a:lnTo>
                    <a:pt x="210" y="872"/>
                  </a:lnTo>
                  <a:lnTo>
                    <a:pt x="198" y="872"/>
                  </a:lnTo>
                  <a:lnTo>
                    <a:pt x="198" y="855"/>
                  </a:lnTo>
                  <a:lnTo>
                    <a:pt x="210" y="855"/>
                  </a:lnTo>
                  <a:lnTo>
                    <a:pt x="193" y="815"/>
                  </a:lnTo>
                  <a:lnTo>
                    <a:pt x="189" y="798"/>
                  </a:lnTo>
                  <a:lnTo>
                    <a:pt x="177" y="777"/>
                  </a:lnTo>
                  <a:lnTo>
                    <a:pt x="156" y="777"/>
                  </a:lnTo>
                  <a:lnTo>
                    <a:pt x="139" y="756"/>
                  </a:lnTo>
                  <a:lnTo>
                    <a:pt x="146" y="711"/>
                  </a:lnTo>
                  <a:lnTo>
                    <a:pt x="125" y="704"/>
                  </a:lnTo>
                  <a:lnTo>
                    <a:pt x="101" y="699"/>
                  </a:lnTo>
                  <a:lnTo>
                    <a:pt x="108" y="654"/>
                  </a:lnTo>
                  <a:lnTo>
                    <a:pt x="163" y="593"/>
                  </a:lnTo>
                  <a:lnTo>
                    <a:pt x="177" y="593"/>
                  </a:lnTo>
                  <a:lnTo>
                    <a:pt x="189" y="617"/>
                  </a:lnTo>
                  <a:lnTo>
                    <a:pt x="193" y="617"/>
                  </a:lnTo>
                  <a:lnTo>
                    <a:pt x="269" y="600"/>
                  </a:lnTo>
                  <a:lnTo>
                    <a:pt x="269" y="588"/>
                  </a:lnTo>
                  <a:lnTo>
                    <a:pt x="286" y="560"/>
                  </a:lnTo>
                  <a:lnTo>
                    <a:pt x="302" y="539"/>
                  </a:lnTo>
                  <a:lnTo>
                    <a:pt x="340" y="517"/>
                  </a:lnTo>
                  <a:lnTo>
                    <a:pt x="373" y="444"/>
                  </a:lnTo>
                  <a:lnTo>
                    <a:pt x="411" y="428"/>
                  </a:lnTo>
                  <a:lnTo>
                    <a:pt x="411" y="411"/>
                  </a:lnTo>
                  <a:lnTo>
                    <a:pt x="442" y="371"/>
                  </a:lnTo>
                  <a:lnTo>
                    <a:pt x="463" y="354"/>
                  </a:lnTo>
                  <a:lnTo>
                    <a:pt x="458" y="350"/>
                  </a:lnTo>
                  <a:lnTo>
                    <a:pt x="458" y="354"/>
                  </a:lnTo>
                  <a:lnTo>
                    <a:pt x="449" y="350"/>
                  </a:lnTo>
                  <a:lnTo>
                    <a:pt x="458" y="321"/>
                  </a:lnTo>
                  <a:lnTo>
                    <a:pt x="449" y="300"/>
                  </a:lnTo>
                  <a:lnTo>
                    <a:pt x="458" y="295"/>
                  </a:lnTo>
                  <a:lnTo>
                    <a:pt x="479" y="279"/>
                  </a:lnTo>
                  <a:lnTo>
                    <a:pt x="501" y="279"/>
                  </a:lnTo>
                  <a:lnTo>
                    <a:pt x="512" y="262"/>
                  </a:lnTo>
                  <a:lnTo>
                    <a:pt x="512" y="255"/>
                  </a:lnTo>
                  <a:lnTo>
                    <a:pt x="486" y="243"/>
                  </a:lnTo>
                  <a:lnTo>
                    <a:pt x="463" y="243"/>
                  </a:lnTo>
                  <a:lnTo>
                    <a:pt x="463" y="222"/>
                  </a:lnTo>
                  <a:lnTo>
                    <a:pt x="442" y="222"/>
                  </a:lnTo>
                  <a:lnTo>
                    <a:pt x="442" y="201"/>
                  </a:lnTo>
                  <a:lnTo>
                    <a:pt x="416" y="189"/>
                  </a:lnTo>
                  <a:lnTo>
                    <a:pt x="425" y="156"/>
                  </a:lnTo>
                  <a:lnTo>
                    <a:pt x="416" y="144"/>
                  </a:lnTo>
                  <a:lnTo>
                    <a:pt x="432" y="116"/>
                  </a:lnTo>
                  <a:lnTo>
                    <a:pt x="411" y="111"/>
                  </a:lnTo>
                  <a:lnTo>
                    <a:pt x="416" y="99"/>
                  </a:lnTo>
                  <a:lnTo>
                    <a:pt x="404" y="90"/>
                  </a:lnTo>
                  <a:lnTo>
                    <a:pt x="411" y="73"/>
                  </a:lnTo>
                  <a:lnTo>
                    <a:pt x="442" y="57"/>
                  </a:lnTo>
                  <a:lnTo>
                    <a:pt x="534" y="78"/>
                  </a:lnTo>
                  <a:lnTo>
                    <a:pt x="555" y="73"/>
                  </a:lnTo>
                  <a:lnTo>
                    <a:pt x="567" y="73"/>
                  </a:lnTo>
                  <a:lnTo>
                    <a:pt x="588" y="57"/>
                  </a:lnTo>
                  <a:lnTo>
                    <a:pt x="621" y="61"/>
                  </a:lnTo>
                  <a:lnTo>
                    <a:pt x="626" y="33"/>
                  </a:lnTo>
                  <a:lnTo>
                    <a:pt x="685" y="0"/>
                  </a:lnTo>
                  <a:lnTo>
                    <a:pt x="701" y="0"/>
                  </a:lnTo>
                  <a:lnTo>
                    <a:pt x="697" y="17"/>
                  </a:lnTo>
                  <a:lnTo>
                    <a:pt x="718" y="73"/>
                  </a:lnTo>
                  <a:lnTo>
                    <a:pt x="739" y="78"/>
                  </a:lnTo>
                  <a:lnTo>
                    <a:pt x="765" y="95"/>
                  </a:lnTo>
                  <a:lnTo>
                    <a:pt x="765" y="99"/>
                  </a:lnTo>
                  <a:lnTo>
                    <a:pt x="751" y="111"/>
                  </a:lnTo>
                  <a:lnTo>
                    <a:pt x="751" y="156"/>
                  </a:lnTo>
                  <a:lnTo>
                    <a:pt x="765" y="172"/>
                  </a:lnTo>
                  <a:lnTo>
                    <a:pt x="793" y="189"/>
                  </a:lnTo>
                  <a:lnTo>
                    <a:pt x="789" y="206"/>
                  </a:lnTo>
                  <a:lnTo>
                    <a:pt x="803" y="222"/>
                  </a:lnTo>
                  <a:lnTo>
                    <a:pt x="789" y="243"/>
                  </a:lnTo>
                  <a:lnTo>
                    <a:pt x="782" y="243"/>
                  </a:lnTo>
                  <a:lnTo>
                    <a:pt x="765" y="255"/>
                  </a:lnTo>
                  <a:lnTo>
                    <a:pt x="751" y="243"/>
                  </a:lnTo>
                  <a:lnTo>
                    <a:pt x="751" y="227"/>
                  </a:lnTo>
                  <a:lnTo>
                    <a:pt x="727" y="239"/>
                  </a:lnTo>
                  <a:lnTo>
                    <a:pt x="727" y="262"/>
                  </a:lnTo>
                  <a:lnTo>
                    <a:pt x="751" y="284"/>
                  </a:lnTo>
                  <a:lnTo>
                    <a:pt x="739" y="300"/>
                  </a:lnTo>
                  <a:lnTo>
                    <a:pt x="756" y="312"/>
                  </a:lnTo>
                  <a:lnTo>
                    <a:pt x="751" y="317"/>
                  </a:lnTo>
                  <a:lnTo>
                    <a:pt x="751" y="333"/>
                  </a:lnTo>
                  <a:lnTo>
                    <a:pt x="756" y="338"/>
                  </a:lnTo>
                  <a:lnTo>
                    <a:pt x="772" y="321"/>
                  </a:lnTo>
                  <a:lnTo>
                    <a:pt x="803" y="366"/>
                  </a:lnTo>
                  <a:lnTo>
                    <a:pt x="827" y="366"/>
                  </a:lnTo>
                  <a:lnTo>
                    <a:pt x="857" y="378"/>
                  </a:lnTo>
                  <a:lnTo>
                    <a:pt x="848" y="395"/>
                  </a:lnTo>
                  <a:lnTo>
                    <a:pt x="879" y="406"/>
                  </a:lnTo>
                  <a:lnTo>
                    <a:pt x="912" y="428"/>
                  </a:lnTo>
                  <a:lnTo>
                    <a:pt x="864" y="461"/>
                  </a:lnTo>
                  <a:lnTo>
                    <a:pt x="864" y="477"/>
                  </a:lnTo>
                  <a:lnTo>
                    <a:pt x="848" y="482"/>
                  </a:lnTo>
                  <a:lnTo>
                    <a:pt x="857" y="501"/>
                  </a:lnTo>
                  <a:lnTo>
                    <a:pt x="841" y="534"/>
                  </a:lnTo>
                  <a:lnTo>
                    <a:pt x="874" y="555"/>
                  </a:lnTo>
                  <a:lnTo>
                    <a:pt x="874" y="543"/>
                  </a:lnTo>
                  <a:lnTo>
                    <a:pt x="916" y="572"/>
                  </a:lnTo>
                  <a:lnTo>
                    <a:pt x="928" y="588"/>
                  </a:lnTo>
                  <a:lnTo>
                    <a:pt x="966" y="609"/>
                  </a:lnTo>
                  <a:lnTo>
                    <a:pt x="982" y="600"/>
                  </a:lnTo>
                  <a:lnTo>
                    <a:pt x="1004" y="628"/>
                  </a:lnTo>
                  <a:lnTo>
                    <a:pt x="1025" y="617"/>
                  </a:lnTo>
                  <a:lnTo>
                    <a:pt x="1025" y="633"/>
                  </a:lnTo>
                  <a:lnTo>
                    <a:pt x="1058" y="645"/>
                  </a:lnTo>
                  <a:lnTo>
                    <a:pt x="1063" y="650"/>
                  </a:lnTo>
                  <a:lnTo>
                    <a:pt x="1075" y="645"/>
                  </a:lnTo>
                  <a:lnTo>
                    <a:pt x="1105" y="650"/>
                  </a:lnTo>
                  <a:lnTo>
                    <a:pt x="1105" y="645"/>
                  </a:lnTo>
                  <a:lnTo>
                    <a:pt x="1129" y="633"/>
                  </a:lnTo>
                  <a:lnTo>
                    <a:pt x="1134" y="645"/>
                  </a:lnTo>
                  <a:lnTo>
                    <a:pt x="1160" y="650"/>
                  </a:lnTo>
                  <a:lnTo>
                    <a:pt x="1167" y="671"/>
                  </a:lnTo>
                  <a:lnTo>
                    <a:pt x="1214" y="699"/>
                  </a:lnTo>
                  <a:lnTo>
                    <a:pt x="1226" y="683"/>
                  </a:lnTo>
                  <a:lnTo>
                    <a:pt x="1252" y="704"/>
                  </a:lnTo>
                  <a:lnTo>
                    <a:pt x="1256" y="699"/>
                  </a:lnTo>
                  <a:lnTo>
                    <a:pt x="1311" y="721"/>
                  </a:lnTo>
                  <a:lnTo>
                    <a:pt x="1327" y="711"/>
                  </a:lnTo>
                  <a:lnTo>
                    <a:pt x="1344" y="721"/>
                  </a:lnTo>
                  <a:lnTo>
                    <a:pt x="1386" y="711"/>
                  </a:lnTo>
                  <a:lnTo>
                    <a:pt x="1398" y="721"/>
                  </a:lnTo>
                  <a:lnTo>
                    <a:pt x="1415" y="699"/>
                  </a:lnTo>
                  <a:lnTo>
                    <a:pt x="1398" y="666"/>
                  </a:lnTo>
                  <a:lnTo>
                    <a:pt x="1403" y="633"/>
                  </a:lnTo>
                  <a:lnTo>
                    <a:pt x="1415" y="609"/>
                  </a:lnTo>
                  <a:lnTo>
                    <a:pt x="1403" y="609"/>
                  </a:lnTo>
                  <a:lnTo>
                    <a:pt x="1403" y="600"/>
                  </a:lnTo>
                  <a:lnTo>
                    <a:pt x="1431" y="593"/>
                  </a:lnTo>
                  <a:lnTo>
                    <a:pt x="1441" y="588"/>
                  </a:lnTo>
                  <a:lnTo>
                    <a:pt x="1457" y="593"/>
                  </a:lnTo>
                  <a:lnTo>
                    <a:pt x="1457" y="609"/>
                  </a:lnTo>
                  <a:lnTo>
                    <a:pt x="1453" y="633"/>
                  </a:lnTo>
                  <a:lnTo>
                    <a:pt x="1457" y="650"/>
                  </a:lnTo>
                  <a:lnTo>
                    <a:pt x="1453" y="666"/>
                  </a:lnTo>
                  <a:lnTo>
                    <a:pt x="1457" y="671"/>
                  </a:lnTo>
                  <a:lnTo>
                    <a:pt x="1474" y="687"/>
                  </a:lnTo>
                  <a:lnTo>
                    <a:pt x="1490" y="687"/>
                  </a:lnTo>
                  <a:lnTo>
                    <a:pt x="1512" y="699"/>
                  </a:lnTo>
                  <a:lnTo>
                    <a:pt x="1545" y="699"/>
                  </a:lnTo>
                  <a:lnTo>
                    <a:pt x="1566" y="683"/>
                  </a:lnTo>
                  <a:lnTo>
                    <a:pt x="1592" y="687"/>
                  </a:lnTo>
                  <a:lnTo>
                    <a:pt x="1630" y="687"/>
                  </a:lnTo>
                  <a:lnTo>
                    <a:pt x="1634" y="683"/>
                  </a:lnTo>
                  <a:lnTo>
                    <a:pt x="1646" y="687"/>
                  </a:lnTo>
                  <a:lnTo>
                    <a:pt x="1684" y="683"/>
                  </a:lnTo>
                  <a:lnTo>
                    <a:pt x="1672" y="666"/>
                  </a:lnTo>
                  <a:lnTo>
                    <a:pt x="1684" y="650"/>
                  </a:lnTo>
                  <a:lnTo>
                    <a:pt x="1672" y="633"/>
                  </a:lnTo>
                  <a:lnTo>
                    <a:pt x="1651" y="633"/>
                  </a:lnTo>
                  <a:lnTo>
                    <a:pt x="1651" y="628"/>
                  </a:lnTo>
                  <a:lnTo>
                    <a:pt x="1651" y="617"/>
                  </a:lnTo>
                  <a:lnTo>
                    <a:pt x="1672" y="617"/>
                  </a:lnTo>
                  <a:lnTo>
                    <a:pt x="1701" y="609"/>
                  </a:lnTo>
                  <a:lnTo>
                    <a:pt x="1710" y="609"/>
                  </a:lnTo>
                  <a:lnTo>
                    <a:pt x="1727" y="600"/>
                  </a:lnTo>
                  <a:lnTo>
                    <a:pt x="1727" y="588"/>
                  </a:lnTo>
                  <a:lnTo>
                    <a:pt x="1760" y="572"/>
                  </a:lnTo>
                  <a:lnTo>
                    <a:pt x="1776" y="543"/>
                  </a:lnTo>
                  <a:lnTo>
                    <a:pt x="1814" y="543"/>
                  </a:lnTo>
                  <a:lnTo>
                    <a:pt x="1835" y="517"/>
                  </a:lnTo>
                  <a:lnTo>
                    <a:pt x="1861" y="489"/>
                  </a:lnTo>
                  <a:lnTo>
                    <a:pt x="1873" y="506"/>
                  </a:lnTo>
                  <a:lnTo>
                    <a:pt x="1916" y="517"/>
                  </a:lnTo>
                  <a:lnTo>
                    <a:pt x="1927" y="501"/>
                  </a:lnTo>
                  <a:lnTo>
                    <a:pt x="1958" y="482"/>
                  </a:lnTo>
                  <a:lnTo>
                    <a:pt x="1975" y="501"/>
                  </a:lnTo>
                  <a:lnTo>
                    <a:pt x="1982" y="501"/>
                  </a:lnTo>
                  <a:lnTo>
                    <a:pt x="1970" y="517"/>
                  </a:lnTo>
                  <a:lnTo>
                    <a:pt x="1970" y="522"/>
                  </a:lnTo>
                  <a:lnTo>
                    <a:pt x="1991" y="517"/>
                  </a:lnTo>
                  <a:lnTo>
                    <a:pt x="1996" y="539"/>
                  </a:lnTo>
                  <a:lnTo>
                    <a:pt x="1982" y="555"/>
                  </a:lnTo>
                  <a:lnTo>
                    <a:pt x="1982" y="572"/>
                  </a:lnTo>
                  <a:lnTo>
                    <a:pt x="2008" y="560"/>
                  </a:lnTo>
                  <a:lnTo>
                    <a:pt x="2029" y="572"/>
                  </a:lnTo>
                  <a:lnTo>
                    <a:pt x="2034" y="572"/>
                  </a:lnTo>
                  <a:lnTo>
                    <a:pt x="2050" y="576"/>
                  </a:lnTo>
                  <a:lnTo>
                    <a:pt x="2050" y="600"/>
                  </a:lnTo>
                  <a:lnTo>
                    <a:pt x="2024" y="628"/>
                  </a:lnTo>
                  <a:lnTo>
                    <a:pt x="2034" y="666"/>
                  </a:lnTo>
                  <a:lnTo>
                    <a:pt x="2024" y="654"/>
                  </a:lnTo>
                  <a:lnTo>
                    <a:pt x="2008" y="650"/>
                  </a:lnTo>
                  <a:lnTo>
                    <a:pt x="1975" y="650"/>
                  </a:lnTo>
                  <a:lnTo>
                    <a:pt x="1920" y="699"/>
                  </a:lnTo>
                  <a:lnTo>
                    <a:pt x="1899" y="704"/>
                  </a:lnTo>
                  <a:lnTo>
                    <a:pt x="1890" y="728"/>
                  </a:lnTo>
                  <a:lnTo>
                    <a:pt x="1899" y="744"/>
                  </a:lnTo>
                  <a:lnTo>
                    <a:pt x="1882" y="782"/>
                  </a:lnTo>
                  <a:lnTo>
                    <a:pt x="1861" y="798"/>
                  </a:lnTo>
                  <a:lnTo>
                    <a:pt x="1861" y="810"/>
                  </a:lnTo>
                  <a:lnTo>
                    <a:pt x="1868" y="815"/>
                  </a:lnTo>
                  <a:lnTo>
                    <a:pt x="1868" y="822"/>
                  </a:lnTo>
                  <a:lnTo>
                    <a:pt x="1830" y="921"/>
                  </a:lnTo>
                  <a:lnTo>
                    <a:pt x="1797" y="905"/>
                  </a:lnTo>
                  <a:lnTo>
                    <a:pt x="1781" y="909"/>
                  </a:lnTo>
                  <a:lnTo>
                    <a:pt x="1776" y="893"/>
                  </a:lnTo>
                  <a:lnTo>
                    <a:pt x="1776" y="926"/>
                  </a:lnTo>
                  <a:lnTo>
                    <a:pt x="1776" y="966"/>
                  </a:lnTo>
                  <a:lnTo>
                    <a:pt x="1764" y="983"/>
                  </a:lnTo>
                  <a:lnTo>
                    <a:pt x="1760" y="976"/>
                  </a:lnTo>
                  <a:lnTo>
                    <a:pt x="1755" y="1004"/>
                  </a:lnTo>
                  <a:lnTo>
                    <a:pt x="1760" y="1037"/>
                  </a:lnTo>
                  <a:lnTo>
                    <a:pt x="1755" y="1037"/>
                  </a:lnTo>
                  <a:lnTo>
                    <a:pt x="1743" y="1054"/>
                  </a:lnTo>
                  <a:lnTo>
                    <a:pt x="1727" y="1049"/>
                  </a:lnTo>
                  <a:lnTo>
                    <a:pt x="1722" y="1061"/>
                  </a:lnTo>
                  <a:lnTo>
                    <a:pt x="1710" y="1004"/>
                  </a:lnTo>
                  <a:lnTo>
                    <a:pt x="1705" y="983"/>
                  </a:lnTo>
                  <a:lnTo>
                    <a:pt x="1705" y="959"/>
                  </a:lnTo>
                  <a:lnTo>
                    <a:pt x="1701" y="926"/>
                  </a:lnTo>
                  <a:lnTo>
                    <a:pt x="1701" y="926"/>
                  </a:lnTo>
                  <a:lnTo>
                    <a:pt x="1701" y="926"/>
                  </a:lnTo>
                  <a:close/>
                  <a:moveTo>
                    <a:pt x="1441" y="1070"/>
                  </a:moveTo>
                  <a:lnTo>
                    <a:pt x="1436" y="1070"/>
                  </a:lnTo>
                  <a:lnTo>
                    <a:pt x="1441" y="1061"/>
                  </a:lnTo>
                  <a:lnTo>
                    <a:pt x="1441" y="1070"/>
                  </a:lnTo>
                  <a:lnTo>
                    <a:pt x="1441" y="1070"/>
                  </a:lnTo>
                  <a:lnTo>
                    <a:pt x="1441" y="1070"/>
                  </a:lnTo>
                  <a:close/>
                  <a:moveTo>
                    <a:pt x="1403" y="1070"/>
                  </a:moveTo>
                  <a:lnTo>
                    <a:pt x="1403" y="1087"/>
                  </a:lnTo>
                  <a:lnTo>
                    <a:pt x="1403" y="1070"/>
                  </a:lnTo>
                  <a:lnTo>
                    <a:pt x="1403" y="1070"/>
                  </a:lnTo>
                  <a:lnTo>
                    <a:pt x="1403" y="1070"/>
                  </a:lnTo>
                  <a:close/>
                  <a:moveTo>
                    <a:pt x="1738" y="1736"/>
                  </a:moveTo>
                  <a:lnTo>
                    <a:pt x="1738" y="1703"/>
                  </a:lnTo>
                  <a:lnTo>
                    <a:pt x="1743" y="1687"/>
                  </a:lnTo>
                  <a:lnTo>
                    <a:pt x="1755" y="1687"/>
                  </a:lnTo>
                  <a:lnTo>
                    <a:pt x="1755" y="1720"/>
                  </a:lnTo>
                  <a:lnTo>
                    <a:pt x="1743" y="1720"/>
                  </a:lnTo>
                  <a:lnTo>
                    <a:pt x="1738" y="1736"/>
                  </a:lnTo>
                  <a:lnTo>
                    <a:pt x="1738" y="1736"/>
                  </a:lnTo>
                  <a:lnTo>
                    <a:pt x="1738" y="1736"/>
                  </a:lnTo>
                  <a:close/>
                  <a:moveTo>
                    <a:pt x="1738" y="1776"/>
                  </a:moveTo>
                  <a:lnTo>
                    <a:pt x="1727" y="1776"/>
                  </a:lnTo>
                  <a:lnTo>
                    <a:pt x="1727" y="1743"/>
                  </a:lnTo>
                  <a:lnTo>
                    <a:pt x="1743" y="1736"/>
                  </a:lnTo>
                  <a:lnTo>
                    <a:pt x="1743" y="1760"/>
                  </a:lnTo>
                  <a:lnTo>
                    <a:pt x="1743" y="1769"/>
                  </a:lnTo>
                  <a:lnTo>
                    <a:pt x="1738" y="1769"/>
                  </a:lnTo>
                  <a:lnTo>
                    <a:pt x="1738" y="1776"/>
                  </a:lnTo>
                  <a:lnTo>
                    <a:pt x="1738" y="1776"/>
                  </a:lnTo>
                  <a:lnTo>
                    <a:pt x="1738" y="1776"/>
                  </a:lnTo>
                  <a:close/>
                  <a:moveTo>
                    <a:pt x="1727" y="1793"/>
                  </a:moveTo>
                  <a:lnTo>
                    <a:pt x="1727" y="1776"/>
                  </a:lnTo>
                  <a:lnTo>
                    <a:pt x="1743" y="1776"/>
                  </a:lnTo>
                  <a:lnTo>
                    <a:pt x="1727" y="1793"/>
                  </a:lnTo>
                  <a:lnTo>
                    <a:pt x="1727" y="1793"/>
                  </a:lnTo>
                  <a:lnTo>
                    <a:pt x="1727" y="1793"/>
                  </a:lnTo>
                  <a:close/>
                  <a:moveTo>
                    <a:pt x="1727" y="1793"/>
                  </a:moveTo>
                  <a:lnTo>
                    <a:pt x="1727" y="1835"/>
                  </a:lnTo>
                  <a:lnTo>
                    <a:pt x="1710" y="1809"/>
                  </a:lnTo>
                  <a:lnTo>
                    <a:pt x="1727" y="1781"/>
                  </a:lnTo>
                  <a:lnTo>
                    <a:pt x="1727" y="1793"/>
                  </a:lnTo>
                  <a:lnTo>
                    <a:pt x="1727" y="1793"/>
                  </a:lnTo>
                  <a:lnTo>
                    <a:pt x="1727" y="1793"/>
                  </a:lnTo>
                  <a:close/>
                  <a:moveTo>
                    <a:pt x="1755" y="1798"/>
                  </a:moveTo>
                  <a:lnTo>
                    <a:pt x="1755" y="1809"/>
                  </a:lnTo>
                  <a:lnTo>
                    <a:pt x="1743" y="1798"/>
                  </a:lnTo>
                  <a:lnTo>
                    <a:pt x="1755" y="1798"/>
                  </a:lnTo>
                  <a:lnTo>
                    <a:pt x="1755" y="1798"/>
                  </a:lnTo>
                  <a:lnTo>
                    <a:pt x="1755" y="1798"/>
                  </a:lnTo>
                  <a:close/>
                  <a:moveTo>
                    <a:pt x="1701" y="1831"/>
                  </a:moveTo>
                  <a:lnTo>
                    <a:pt x="1689" y="1831"/>
                  </a:lnTo>
                  <a:lnTo>
                    <a:pt x="1701" y="1831"/>
                  </a:lnTo>
                  <a:lnTo>
                    <a:pt x="1701" y="1831"/>
                  </a:lnTo>
                  <a:lnTo>
                    <a:pt x="1701" y="1831"/>
                  </a:lnTo>
                  <a:close/>
                  <a:moveTo>
                    <a:pt x="1722" y="1847"/>
                  </a:moveTo>
                  <a:lnTo>
                    <a:pt x="1722" y="1831"/>
                  </a:lnTo>
                  <a:lnTo>
                    <a:pt x="1727" y="1847"/>
                  </a:lnTo>
                  <a:lnTo>
                    <a:pt x="1722" y="1847"/>
                  </a:lnTo>
                  <a:lnTo>
                    <a:pt x="1722" y="1847"/>
                  </a:lnTo>
                  <a:lnTo>
                    <a:pt x="1722" y="1847"/>
                  </a:lnTo>
                  <a:close/>
                  <a:moveTo>
                    <a:pt x="1710" y="1887"/>
                  </a:moveTo>
                  <a:lnTo>
                    <a:pt x="1710" y="1909"/>
                  </a:lnTo>
                  <a:lnTo>
                    <a:pt x="1705" y="1904"/>
                  </a:lnTo>
                  <a:lnTo>
                    <a:pt x="1705" y="1887"/>
                  </a:lnTo>
                  <a:lnTo>
                    <a:pt x="1710" y="1880"/>
                  </a:lnTo>
                  <a:lnTo>
                    <a:pt x="1710" y="1887"/>
                  </a:lnTo>
                  <a:lnTo>
                    <a:pt x="1710" y="1887"/>
                  </a:lnTo>
                  <a:lnTo>
                    <a:pt x="1710" y="1887"/>
                  </a:lnTo>
                  <a:close/>
                  <a:moveTo>
                    <a:pt x="1738" y="1998"/>
                  </a:moveTo>
                  <a:lnTo>
                    <a:pt x="1738" y="2003"/>
                  </a:lnTo>
                  <a:lnTo>
                    <a:pt x="1727" y="2003"/>
                  </a:lnTo>
                  <a:lnTo>
                    <a:pt x="1738" y="1998"/>
                  </a:lnTo>
                  <a:lnTo>
                    <a:pt x="1738" y="1998"/>
                  </a:lnTo>
                  <a:lnTo>
                    <a:pt x="1738" y="1998"/>
                  </a:lnTo>
                  <a:close/>
                  <a:moveTo>
                    <a:pt x="1755" y="2069"/>
                  </a:moveTo>
                  <a:lnTo>
                    <a:pt x="1760" y="2074"/>
                  </a:lnTo>
                  <a:lnTo>
                    <a:pt x="1755" y="2069"/>
                  </a:lnTo>
                  <a:lnTo>
                    <a:pt x="1755" y="2069"/>
                  </a:lnTo>
                  <a:lnTo>
                    <a:pt x="1755" y="2069"/>
                  </a:lnTo>
                  <a:close/>
                  <a:moveTo>
                    <a:pt x="1781" y="2074"/>
                  </a:moveTo>
                  <a:lnTo>
                    <a:pt x="1781" y="2091"/>
                  </a:lnTo>
                  <a:lnTo>
                    <a:pt x="1776" y="2074"/>
                  </a:lnTo>
                  <a:lnTo>
                    <a:pt x="1781" y="2074"/>
                  </a:lnTo>
                  <a:lnTo>
                    <a:pt x="1781" y="2074"/>
                  </a:lnTo>
                  <a:lnTo>
                    <a:pt x="1781" y="2074"/>
                  </a:lnTo>
                  <a:close/>
                  <a:moveTo>
                    <a:pt x="1776" y="2091"/>
                  </a:moveTo>
                  <a:lnTo>
                    <a:pt x="1781" y="2102"/>
                  </a:lnTo>
                  <a:lnTo>
                    <a:pt x="1764" y="2091"/>
                  </a:lnTo>
                  <a:lnTo>
                    <a:pt x="1776" y="2091"/>
                  </a:lnTo>
                  <a:lnTo>
                    <a:pt x="1776" y="2091"/>
                  </a:lnTo>
                  <a:lnTo>
                    <a:pt x="1776" y="2091"/>
                  </a:lnTo>
                  <a:close/>
                  <a:moveTo>
                    <a:pt x="1793" y="2091"/>
                  </a:moveTo>
                  <a:lnTo>
                    <a:pt x="1781" y="2091"/>
                  </a:lnTo>
                  <a:lnTo>
                    <a:pt x="1793" y="2091"/>
                  </a:lnTo>
                  <a:lnTo>
                    <a:pt x="1793" y="2091"/>
                  </a:lnTo>
                  <a:lnTo>
                    <a:pt x="1793" y="2091"/>
                  </a:lnTo>
                  <a:close/>
                  <a:moveTo>
                    <a:pt x="1797" y="2131"/>
                  </a:moveTo>
                  <a:lnTo>
                    <a:pt x="1797" y="2143"/>
                  </a:lnTo>
                  <a:lnTo>
                    <a:pt x="1793" y="2147"/>
                  </a:lnTo>
                  <a:lnTo>
                    <a:pt x="1797" y="2131"/>
                  </a:lnTo>
                  <a:lnTo>
                    <a:pt x="1797" y="2131"/>
                  </a:lnTo>
                  <a:lnTo>
                    <a:pt x="1797" y="2131"/>
                  </a:lnTo>
                  <a:close/>
                  <a:moveTo>
                    <a:pt x="1807" y="2147"/>
                  </a:moveTo>
                  <a:lnTo>
                    <a:pt x="1814" y="2164"/>
                  </a:lnTo>
                  <a:lnTo>
                    <a:pt x="1807" y="2180"/>
                  </a:lnTo>
                  <a:lnTo>
                    <a:pt x="1793" y="2159"/>
                  </a:lnTo>
                  <a:lnTo>
                    <a:pt x="1807" y="2147"/>
                  </a:lnTo>
                  <a:lnTo>
                    <a:pt x="1807" y="2147"/>
                  </a:lnTo>
                  <a:lnTo>
                    <a:pt x="1807" y="214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1" name="Freeform 470">
              <a:extLst>
                <a:ext uri="{FF2B5EF4-FFF2-40B4-BE49-F238E27FC236}">
                  <a16:creationId xmlns:a16="http://schemas.microsoft.com/office/drawing/2014/main" id="{69D4E3D2-B2BE-4954-879D-6B0F73614D31}"/>
                </a:ext>
              </a:extLst>
            </p:cNvPr>
            <p:cNvSpPr>
              <a:spLocks/>
            </p:cNvSpPr>
            <p:nvPr/>
          </p:nvSpPr>
          <p:spPr bwMode="gray">
            <a:xfrm>
              <a:off x="15405196" y="4282964"/>
              <a:ext cx="2946" cy="5564"/>
            </a:xfrm>
            <a:custGeom>
              <a:avLst/>
              <a:gdLst>
                <a:gd name="T0" fmla="*/ 9 w 9"/>
                <a:gd name="T1" fmla="*/ 17 h 17"/>
                <a:gd name="T2" fmla="*/ 0 w 9"/>
                <a:gd name="T3" fmla="*/ 12 h 17"/>
                <a:gd name="T4" fmla="*/ 9 w 9"/>
                <a:gd name="T5" fmla="*/ 17 h 17"/>
                <a:gd name="T6" fmla="*/ 9 w 9"/>
                <a:gd name="T7" fmla="*/ 0 h 17"/>
                <a:gd name="T8" fmla="*/ 9 w 9"/>
                <a:gd name="T9" fmla="*/ 12 h 17"/>
                <a:gd name="T10" fmla="*/ 9 w 9"/>
                <a:gd name="T11" fmla="*/ 17 h 17"/>
                <a:gd name="T12" fmla="*/ 9 w 9"/>
                <a:gd name="T13" fmla="*/ 17 h 17"/>
                <a:gd name="T14" fmla="*/ 9 w 9"/>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7">
                  <a:moveTo>
                    <a:pt x="9" y="17"/>
                  </a:moveTo>
                  <a:lnTo>
                    <a:pt x="0" y="12"/>
                  </a:lnTo>
                  <a:lnTo>
                    <a:pt x="9" y="17"/>
                  </a:lnTo>
                  <a:lnTo>
                    <a:pt x="9" y="0"/>
                  </a:lnTo>
                  <a:lnTo>
                    <a:pt x="9" y="12"/>
                  </a:lnTo>
                  <a:lnTo>
                    <a:pt x="9" y="17"/>
                  </a:lnTo>
                  <a:lnTo>
                    <a:pt x="9" y="17"/>
                  </a:lnTo>
                  <a:lnTo>
                    <a:pt x="9" y="1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2" name="Freeform 471">
              <a:extLst>
                <a:ext uri="{FF2B5EF4-FFF2-40B4-BE49-F238E27FC236}">
                  <a16:creationId xmlns:a16="http://schemas.microsoft.com/office/drawing/2014/main" id="{EFCE762D-E7D7-46DC-A523-73275454C639}"/>
                </a:ext>
              </a:extLst>
            </p:cNvPr>
            <p:cNvSpPr>
              <a:spLocks noEditPoints="1"/>
            </p:cNvSpPr>
            <p:nvPr/>
          </p:nvSpPr>
          <p:spPr bwMode="gray">
            <a:xfrm>
              <a:off x="14753221" y="3125643"/>
              <a:ext cx="445451" cy="384901"/>
            </a:xfrm>
            <a:custGeom>
              <a:avLst/>
              <a:gdLst>
                <a:gd name="T0" fmla="*/ 1252 w 1361"/>
                <a:gd name="T1" fmla="*/ 711 h 1176"/>
                <a:gd name="T2" fmla="*/ 1238 w 1361"/>
                <a:gd name="T3" fmla="*/ 893 h 1176"/>
                <a:gd name="T4" fmla="*/ 1323 w 1361"/>
                <a:gd name="T5" fmla="*/ 933 h 1176"/>
                <a:gd name="T6" fmla="*/ 1361 w 1361"/>
                <a:gd name="T7" fmla="*/ 1021 h 1176"/>
                <a:gd name="T8" fmla="*/ 1297 w 1361"/>
                <a:gd name="T9" fmla="*/ 1061 h 1176"/>
                <a:gd name="T10" fmla="*/ 1252 w 1361"/>
                <a:gd name="T11" fmla="*/ 1094 h 1176"/>
                <a:gd name="T12" fmla="*/ 1222 w 1361"/>
                <a:gd name="T13" fmla="*/ 1176 h 1176"/>
                <a:gd name="T14" fmla="*/ 1163 w 1361"/>
                <a:gd name="T15" fmla="*/ 1165 h 1176"/>
                <a:gd name="T16" fmla="*/ 1059 w 1361"/>
                <a:gd name="T17" fmla="*/ 1155 h 1176"/>
                <a:gd name="T18" fmla="*/ 983 w 1361"/>
                <a:gd name="T19" fmla="*/ 1132 h 1176"/>
                <a:gd name="T20" fmla="*/ 898 w 1361"/>
                <a:gd name="T21" fmla="*/ 1021 h 1176"/>
                <a:gd name="T22" fmla="*/ 823 w 1361"/>
                <a:gd name="T23" fmla="*/ 1028 h 1176"/>
                <a:gd name="T24" fmla="*/ 730 w 1361"/>
                <a:gd name="T25" fmla="*/ 1054 h 1176"/>
                <a:gd name="T26" fmla="*/ 605 w 1361"/>
                <a:gd name="T27" fmla="*/ 999 h 1176"/>
                <a:gd name="T28" fmla="*/ 525 w 1361"/>
                <a:gd name="T29" fmla="*/ 954 h 1176"/>
                <a:gd name="T30" fmla="*/ 482 w 1361"/>
                <a:gd name="T31" fmla="*/ 876 h 1176"/>
                <a:gd name="T32" fmla="*/ 466 w 1361"/>
                <a:gd name="T33" fmla="*/ 839 h 1176"/>
                <a:gd name="T34" fmla="*/ 390 w 1361"/>
                <a:gd name="T35" fmla="*/ 782 h 1176"/>
                <a:gd name="T36" fmla="*/ 374 w 1361"/>
                <a:gd name="T37" fmla="*/ 761 h 1176"/>
                <a:gd name="T38" fmla="*/ 319 w 1361"/>
                <a:gd name="T39" fmla="*/ 798 h 1176"/>
                <a:gd name="T40" fmla="*/ 286 w 1361"/>
                <a:gd name="T41" fmla="*/ 721 h 1176"/>
                <a:gd name="T42" fmla="*/ 244 w 1361"/>
                <a:gd name="T43" fmla="*/ 610 h 1176"/>
                <a:gd name="T44" fmla="*/ 147 w 1361"/>
                <a:gd name="T45" fmla="*/ 560 h 1176"/>
                <a:gd name="T46" fmla="*/ 142 w 1361"/>
                <a:gd name="T47" fmla="*/ 510 h 1176"/>
                <a:gd name="T48" fmla="*/ 104 w 1361"/>
                <a:gd name="T49" fmla="*/ 473 h 1176"/>
                <a:gd name="T50" fmla="*/ 109 w 1361"/>
                <a:gd name="T51" fmla="*/ 428 h 1176"/>
                <a:gd name="T52" fmla="*/ 142 w 1361"/>
                <a:gd name="T53" fmla="*/ 390 h 1176"/>
                <a:gd name="T54" fmla="*/ 142 w 1361"/>
                <a:gd name="T55" fmla="*/ 338 h 1176"/>
                <a:gd name="T56" fmla="*/ 119 w 1361"/>
                <a:gd name="T57" fmla="*/ 317 h 1176"/>
                <a:gd name="T58" fmla="*/ 71 w 1361"/>
                <a:gd name="T59" fmla="*/ 267 h 1176"/>
                <a:gd name="T60" fmla="*/ 55 w 1361"/>
                <a:gd name="T61" fmla="*/ 222 h 1176"/>
                <a:gd name="T62" fmla="*/ 17 w 1361"/>
                <a:gd name="T63" fmla="*/ 156 h 1176"/>
                <a:gd name="T64" fmla="*/ 17 w 1361"/>
                <a:gd name="T65" fmla="*/ 66 h 1176"/>
                <a:gd name="T66" fmla="*/ 34 w 1361"/>
                <a:gd name="T67" fmla="*/ 7 h 1176"/>
                <a:gd name="T68" fmla="*/ 93 w 1361"/>
                <a:gd name="T69" fmla="*/ 45 h 1176"/>
                <a:gd name="T70" fmla="*/ 201 w 1361"/>
                <a:gd name="T71" fmla="*/ 45 h 1176"/>
                <a:gd name="T72" fmla="*/ 303 w 1361"/>
                <a:gd name="T73" fmla="*/ 62 h 1176"/>
                <a:gd name="T74" fmla="*/ 308 w 1361"/>
                <a:gd name="T75" fmla="*/ 95 h 1176"/>
                <a:gd name="T76" fmla="*/ 357 w 1361"/>
                <a:gd name="T77" fmla="*/ 173 h 1176"/>
                <a:gd name="T78" fmla="*/ 504 w 1361"/>
                <a:gd name="T79" fmla="*/ 250 h 1176"/>
                <a:gd name="T80" fmla="*/ 697 w 1361"/>
                <a:gd name="T81" fmla="*/ 246 h 1176"/>
                <a:gd name="T82" fmla="*/ 719 w 1361"/>
                <a:gd name="T83" fmla="*/ 206 h 1176"/>
                <a:gd name="T84" fmla="*/ 806 w 1361"/>
                <a:gd name="T85" fmla="*/ 139 h 1176"/>
                <a:gd name="T86" fmla="*/ 874 w 1361"/>
                <a:gd name="T87" fmla="*/ 123 h 1176"/>
                <a:gd name="T88" fmla="*/ 945 w 1361"/>
                <a:gd name="T89" fmla="*/ 151 h 1176"/>
                <a:gd name="T90" fmla="*/ 1075 w 1361"/>
                <a:gd name="T91" fmla="*/ 189 h 1176"/>
                <a:gd name="T92" fmla="*/ 1205 w 1361"/>
                <a:gd name="T93" fmla="*/ 262 h 1176"/>
                <a:gd name="T94" fmla="*/ 1189 w 1361"/>
                <a:gd name="T95" fmla="*/ 428 h 1176"/>
                <a:gd name="T96" fmla="*/ 1163 w 1361"/>
                <a:gd name="T97" fmla="*/ 465 h 1176"/>
                <a:gd name="T98" fmla="*/ 1184 w 1361"/>
                <a:gd name="T99" fmla="*/ 617 h 1176"/>
                <a:gd name="T100" fmla="*/ 865 w 1361"/>
                <a:gd name="T101" fmla="*/ 1037 h 1176"/>
                <a:gd name="T102" fmla="*/ 827 w 1361"/>
                <a:gd name="T103" fmla="*/ 1044 h 1176"/>
                <a:gd name="T104" fmla="*/ 865 w 1361"/>
                <a:gd name="T105" fmla="*/ 1037 h 1176"/>
                <a:gd name="T106" fmla="*/ 823 w 1361"/>
                <a:gd name="T107" fmla="*/ 1044 h 1176"/>
                <a:gd name="T108" fmla="*/ 697 w 1361"/>
                <a:gd name="T109" fmla="*/ 1065 h 1176"/>
                <a:gd name="T110" fmla="*/ 702 w 1361"/>
                <a:gd name="T111" fmla="*/ 1065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61" h="1176">
                  <a:moveTo>
                    <a:pt x="1184" y="638"/>
                  </a:moveTo>
                  <a:lnTo>
                    <a:pt x="1184" y="678"/>
                  </a:lnTo>
                  <a:lnTo>
                    <a:pt x="1243" y="687"/>
                  </a:lnTo>
                  <a:lnTo>
                    <a:pt x="1252" y="711"/>
                  </a:lnTo>
                  <a:lnTo>
                    <a:pt x="1243" y="732"/>
                  </a:lnTo>
                  <a:lnTo>
                    <a:pt x="1184" y="806"/>
                  </a:lnTo>
                  <a:lnTo>
                    <a:pt x="1215" y="843"/>
                  </a:lnTo>
                  <a:lnTo>
                    <a:pt x="1238" y="893"/>
                  </a:lnTo>
                  <a:lnTo>
                    <a:pt x="1260" y="910"/>
                  </a:lnTo>
                  <a:lnTo>
                    <a:pt x="1290" y="917"/>
                  </a:lnTo>
                  <a:lnTo>
                    <a:pt x="1307" y="933"/>
                  </a:lnTo>
                  <a:lnTo>
                    <a:pt x="1323" y="933"/>
                  </a:lnTo>
                  <a:lnTo>
                    <a:pt x="1323" y="999"/>
                  </a:lnTo>
                  <a:lnTo>
                    <a:pt x="1323" y="1011"/>
                  </a:lnTo>
                  <a:lnTo>
                    <a:pt x="1349" y="1004"/>
                  </a:lnTo>
                  <a:lnTo>
                    <a:pt x="1361" y="1021"/>
                  </a:lnTo>
                  <a:lnTo>
                    <a:pt x="1349" y="1021"/>
                  </a:lnTo>
                  <a:lnTo>
                    <a:pt x="1345" y="1061"/>
                  </a:lnTo>
                  <a:lnTo>
                    <a:pt x="1323" y="1061"/>
                  </a:lnTo>
                  <a:lnTo>
                    <a:pt x="1297" y="1061"/>
                  </a:lnTo>
                  <a:lnTo>
                    <a:pt x="1281" y="1065"/>
                  </a:lnTo>
                  <a:lnTo>
                    <a:pt x="1281" y="1077"/>
                  </a:lnTo>
                  <a:lnTo>
                    <a:pt x="1276" y="1077"/>
                  </a:lnTo>
                  <a:lnTo>
                    <a:pt x="1252" y="1094"/>
                  </a:lnTo>
                  <a:lnTo>
                    <a:pt x="1252" y="1120"/>
                  </a:lnTo>
                  <a:lnTo>
                    <a:pt x="1243" y="1120"/>
                  </a:lnTo>
                  <a:lnTo>
                    <a:pt x="1238" y="1172"/>
                  </a:lnTo>
                  <a:lnTo>
                    <a:pt x="1222" y="1176"/>
                  </a:lnTo>
                  <a:lnTo>
                    <a:pt x="1167" y="1165"/>
                  </a:lnTo>
                  <a:lnTo>
                    <a:pt x="1163" y="1148"/>
                  </a:lnTo>
                  <a:lnTo>
                    <a:pt x="1151" y="1155"/>
                  </a:lnTo>
                  <a:lnTo>
                    <a:pt x="1163" y="1165"/>
                  </a:lnTo>
                  <a:lnTo>
                    <a:pt x="1146" y="1155"/>
                  </a:lnTo>
                  <a:lnTo>
                    <a:pt x="1097" y="1155"/>
                  </a:lnTo>
                  <a:lnTo>
                    <a:pt x="1092" y="1148"/>
                  </a:lnTo>
                  <a:lnTo>
                    <a:pt x="1059" y="1155"/>
                  </a:lnTo>
                  <a:lnTo>
                    <a:pt x="1042" y="1139"/>
                  </a:lnTo>
                  <a:lnTo>
                    <a:pt x="1011" y="1139"/>
                  </a:lnTo>
                  <a:lnTo>
                    <a:pt x="1000" y="1139"/>
                  </a:lnTo>
                  <a:lnTo>
                    <a:pt x="983" y="1132"/>
                  </a:lnTo>
                  <a:lnTo>
                    <a:pt x="936" y="1120"/>
                  </a:lnTo>
                  <a:lnTo>
                    <a:pt x="929" y="1098"/>
                  </a:lnTo>
                  <a:lnTo>
                    <a:pt x="912" y="1044"/>
                  </a:lnTo>
                  <a:lnTo>
                    <a:pt x="898" y="1021"/>
                  </a:lnTo>
                  <a:lnTo>
                    <a:pt x="891" y="1021"/>
                  </a:lnTo>
                  <a:lnTo>
                    <a:pt x="849" y="1021"/>
                  </a:lnTo>
                  <a:lnTo>
                    <a:pt x="844" y="1028"/>
                  </a:lnTo>
                  <a:lnTo>
                    <a:pt x="823" y="1028"/>
                  </a:lnTo>
                  <a:lnTo>
                    <a:pt x="811" y="1044"/>
                  </a:lnTo>
                  <a:lnTo>
                    <a:pt x="789" y="1044"/>
                  </a:lnTo>
                  <a:lnTo>
                    <a:pt x="756" y="1065"/>
                  </a:lnTo>
                  <a:lnTo>
                    <a:pt x="730" y="1054"/>
                  </a:lnTo>
                  <a:lnTo>
                    <a:pt x="686" y="1054"/>
                  </a:lnTo>
                  <a:lnTo>
                    <a:pt x="660" y="1028"/>
                  </a:lnTo>
                  <a:lnTo>
                    <a:pt x="605" y="1004"/>
                  </a:lnTo>
                  <a:lnTo>
                    <a:pt x="605" y="999"/>
                  </a:lnTo>
                  <a:lnTo>
                    <a:pt x="596" y="983"/>
                  </a:lnTo>
                  <a:lnTo>
                    <a:pt x="567" y="966"/>
                  </a:lnTo>
                  <a:lnTo>
                    <a:pt x="534" y="966"/>
                  </a:lnTo>
                  <a:lnTo>
                    <a:pt x="525" y="954"/>
                  </a:lnTo>
                  <a:lnTo>
                    <a:pt x="497" y="910"/>
                  </a:lnTo>
                  <a:lnTo>
                    <a:pt x="497" y="893"/>
                  </a:lnTo>
                  <a:lnTo>
                    <a:pt x="482" y="876"/>
                  </a:lnTo>
                  <a:lnTo>
                    <a:pt x="482" y="876"/>
                  </a:lnTo>
                  <a:lnTo>
                    <a:pt x="487" y="876"/>
                  </a:lnTo>
                  <a:lnTo>
                    <a:pt x="487" y="872"/>
                  </a:lnTo>
                  <a:lnTo>
                    <a:pt x="466" y="860"/>
                  </a:lnTo>
                  <a:lnTo>
                    <a:pt x="466" y="839"/>
                  </a:lnTo>
                  <a:lnTo>
                    <a:pt x="433" y="798"/>
                  </a:lnTo>
                  <a:lnTo>
                    <a:pt x="428" y="777"/>
                  </a:lnTo>
                  <a:lnTo>
                    <a:pt x="390" y="789"/>
                  </a:lnTo>
                  <a:lnTo>
                    <a:pt x="390" y="782"/>
                  </a:lnTo>
                  <a:lnTo>
                    <a:pt x="357" y="777"/>
                  </a:lnTo>
                  <a:lnTo>
                    <a:pt x="352" y="765"/>
                  </a:lnTo>
                  <a:lnTo>
                    <a:pt x="362" y="765"/>
                  </a:lnTo>
                  <a:lnTo>
                    <a:pt x="374" y="761"/>
                  </a:lnTo>
                  <a:lnTo>
                    <a:pt x="352" y="749"/>
                  </a:lnTo>
                  <a:lnTo>
                    <a:pt x="341" y="765"/>
                  </a:lnTo>
                  <a:lnTo>
                    <a:pt x="352" y="789"/>
                  </a:lnTo>
                  <a:lnTo>
                    <a:pt x="319" y="798"/>
                  </a:lnTo>
                  <a:lnTo>
                    <a:pt x="308" y="798"/>
                  </a:lnTo>
                  <a:lnTo>
                    <a:pt x="308" y="777"/>
                  </a:lnTo>
                  <a:lnTo>
                    <a:pt x="286" y="761"/>
                  </a:lnTo>
                  <a:lnTo>
                    <a:pt x="286" y="721"/>
                  </a:lnTo>
                  <a:lnTo>
                    <a:pt x="265" y="721"/>
                  </a:lnTo>
                  <a:lnTo>
                    <a:pt x="265" y="678"/>
                  </a:lnTo>
                  <a:lnTo>
                    <a:pt x="270" y="654"/>
                  </a:lnTo>
                  <a:lnTo>
                    <a:pt x="244" y="610"/>
                  </a:lnTo>
                  <a:lnTo>
                    <a:pt x="244" y="600"/>
                  </a:lnTo>
                  <a:lnTo>
                    <a:pt x="227" y="600"/>
                  </a:lnTo>
                  <a:lnTo>
                    <a:pt x="173" y="560"/>
                  </a:lnTo>
                  <a:lnTo>
                    <a:pt x="147" y="560"/>
                  </a:lnTo>
                  <a:lnTo>
                    <a:pt x="156" y="539"/>
                  </a:lnTo>
                  <a:lnTo>
                    <a:pt x="142" y="510"/>
                  </a:lnTo>
                  <a:lnTo>
                    <a:pt x="135" y="510"/>
                  </a:lnTo>
                  <a:lnTo>
                    <a:pt x="142" y="510"/>
                  </a:lnTo>
                  <a:lnTo>
                    <a:pt x="135" y="506"/>
                  </a:lnTo>
                  <a:lnTo>
                    <a:pt x="126" y="506"/>
                  </a:lnTo>
                  <a:lnTo>
                    <a:pt x="109" y="482"/>
                  </a:lnTo>
                  <a:lnTo>
                    <a:pt x="104" y="473"/>
                  </a:lnTo>
                  <a:lnTo>
                    <a:pt x="109" y="465"/>
                  </a:lnTo>
                  <a:lnTo>
                    <a:pt x="109" y="449"/>
                  </a:lnTo>
                  <a:lnTo>
                    <a:pt x="104" y="432"/>
                  </a:lnTo>
                  <a:lnTo>
                    <a:pt x="109" y="428"/>
                  </a:lnTo>
                  <a:lnTo>
                    <a:pt x="126" y="432"/>
                  </a:lnTo>
                  <a:lnTo>
                    <a:pt x="119" y="416"/>
                  </a:lnTo>
                  <a:lnTo>
                    <a:pt x="135" y="399"/>
                  </a:lnTo>
                  <a:lnTo>
                    <a:pt x="142" y="390"/>
                  </a:lnTo>
                  <a:lnTo>
                    <a:pt x="156" y="390"/>
                  </a:lnTo>
                  <a:lnTo>
                    <a:pt x="156" y="378"/>
                  </a:lnTo>
                  <a:lnTo>
                    <a:pt x="142" y="354"/>
                  </a:lnTo>
                  <a:lnTo>
                    <a:pt x="142" y="338"/>
                  </a:lnTo>
                  <a:lnTo>
                    <a:pt x="163" y="333"/>
                  </a:lnTo>
                  <a:lnTo>
                    <a:pt x="147" y="321"/>
                  </a:lnTo>
                  <a:lnTo>
                    <a:pt x="126" y="333"/>
                  </a:lnTo>
                  <a:lnTo>
                    <a:pt x="119" y="317"/>
                  </a:lnTo>
                  <a:lnTo>
                    <a:pt x="104" y="317"/>
                  </a:lnTo>
                  <a:lnTo>
                    <a:pt x="93" y="284"/>
                  </a:lnTo>
                  <a:lnTo>
                    <a:pt x="81" y="279"/>
                  </a:lnTo>
                  <a:lnTo>
                    <a:pt x="71" y="267"/>
                  </a:lnTo>
                  <a:lnTo>
                    <a:pt x="81" y="250"/>
                  </a:lnTo>
                  <a:lnTo>
                    <a:pt x="67" y="246"/>
                  </a:lnTo>
                  <a:lnTo>
                    <a:pt x="67" y="227"/>
                  </a:lnTo>
                  <a:lnTo>
                    <a:pt x="55" y="222"/>
                  </a:lnTo>
                  <a:lnTo>
                    <a:pt x="55" y="206"/>
                  </a:lnTo>
                  <a:lnTo>
                    <a:pt x="38" y="194"/>
                  </a:lnTo>
                  <a:lnTo>
                    <a:pt x="50" y="173"/>
                  </a:lnTo>
                  <a:lnTo>
                    <a:pt x="17" y="156"/>
                  </a:lnTo>
                  <a:lnTo>
                    <a:pt x="34" y="118"/>
                  </a:lnTo>
                  <a:lnTo>
                    <a:pt x="29" y="118"/>
                  </a:lnTo>
                  <a:lnTo>
                    <a:pt x="29" y="78"/>
                  </a:lnTo>
                  <a:lnTo>
                    <a:pt x="17" y="66"/>
                  </a:lnTo>
                  <a:lnTo>
                    <a:pt x="17" y="57"/>
                  </a:lnTo>
                  <a:lnTo>
                    <a:pt x="0" y="28"/>
                  </a:lnTo>
                  <a:lnTo>
                    <a:pt x="34" y="28"/>
                  </a:lnTo>
                  <a:lnTo>
                    <a:pt x="34" y="7"/>
                  </a:lnTo>
                  <a:lnTo>
                    <a:pt x="50" y="0"/>
                  </a:lnTo>
                  <a:lnTo>
                    <a:pt x="55" y="7"/>
                  </a:lnTo>
                  <a:lnTo>
                    <a:pt x="81" y="45"/>
                  </a:lnTo>
                  <a:lnTo>
                    <a:pt x="93" y="45"/>
                  </a:lnTo>
                  <a:lnTo>
                    <a:pt x="104" y="62"/>
                  </a:lnTo>
                  <a:lnTo>
                    <a:pt x="156" y="78"/>
                  </a:lnTo>
                  <a:lnTo>
                    <a:pt x="180" y="66"/>
                  </a:lnTo>
                  <a:lnTo>
                    <a:pt x="201" y="45"/>
                  </a:lnTo>
                  <a:lnTo>
                    <a:pt x="282" y="0"/>
                  </a:lnTo>
                  <a:lnTo>
                    <a:pt x="308" y="28"/>
                  </a:lnTo>
                  <a:lnTo>
                    <a:pt x="286" y="40"/>
                  </a:lnTo>
                  <a:lnTo>
                    <a:pt x="303" y="62"/>
                  </a:lnTo>
                  <a:lnTo>
                    <a:pt x="286" y="66"/>
                  </a:lnTo>
                  <a:lnTo>
                    <a:pt x="286" y="78"/>
                  </a:lnTo>
                  <a:lnTo>
                    <a:pt x="303" y="95"/>
                  </a:lnTo>
                  <a:lnTo>
                    <a:pt x="308" y="95"/>
                  </a:lnTo>
                  <a:lnTo>
                    <a:pt x="324" y="118"/>
                  </a:lnTo>
                  <a:lnTo>
                    <a:pt x="341" y="111"/>
                  </a:lnTo>
                  <a:lnTo>
                    <a:pt x="352" y="156"/>
                  </a:lnTo>
                  <a:lnTo>
                    <a:pt x="357" y="173"/>
                  </a:lnTo>
                  <a:lnTo>
                    <a:pt x="378" y="189"/>
                  </a:lnTo>
                  <a:lnTo>
                    <a:pt x="433" y="194"/>
                  </a:lnTo>
                  <a:lnTo>
                    <a:pt x="449" y="222"/>
                  </a:lnTo>
                  <a:lnTo>
                    <a:pt x="504" y="250"/>
                  </a:lnTo>
                  <a:lnTo>
                    <a:pt x="558" y="267"/>
                  </a:lnTo>
                  <a:lnTo>
                    <a:pt x="702" y="234"/>
                  </a:lnTo>
                  <a:lnTo>
                    <a:pt x="676" y="246"/>
                  </a:lnTo>
                  <a:lnTo>
                    <a:pt x="697" y="246"/>
                  </a:lnTo>
                  <a:lnTo>
                    <a:pt x="702" y="246"/>
                  </a:lnTo>
                  <a:lnTo>
                    <a:pt x="702" y="234"/>
                  </a:lnTo>
                  <a:lnTo>
                    <a:pt x="697" y="206"/>
                  </a:lnTo>
                  <a:lnTo>
                    <a:pt x="719" y="206"/>
                  </a:lnTo>
                  <a:lnTo>
                    <a:pt x="752" y="194"/>
                  </a:lnTo>
                  <a:lnTo>
                    <a:pt x="756" y="189"/>
                  </a:lnTo>
                  <a:lnTo>
                    <a:pt x="768" y="168"/>
                  </a:lnTo>
                  <a:lnTo>
                    <a:pt x="806" y="139"/>
                  </a:lnTo>
                  <a:lnTo>
                    <a:pt x="860" y="139"/>
                  </a:lnTo>
                  <a:lnTo>
                    <a:pt x="865" y="139"/>
                  </a:lnTo>
                  <a:lnTo>
                    <a:pt x="865" y="135"/>
                  </a:lnTo>
                  <a:lnTo>
                    <a:pt x="874" y="123"/>
                  </a:lnTo>
                  <a:lnTo>
                    <a:pt x="898" y="123"/>
                  </a:lnTo>
                  <a:lnTo>
                    <a:pt x="919" y="135"/>
                  </a:lnTo>
                  <a:lnTo>
                    <a:pt x="929" y="123"/>
                  </a:lnTo>
                  <a:lnTo>
                    <a:pt x="945" y="151"/>
                  </a:lnTo>
                  <a:lnTo>
                    <a:pt x="1000" y="168"/>
                  </a:lnTo>
                  <a:lnTo>
                    <a:pt x="1004" y="173"/>
                  </a:lnTo>
                  <a:lnTo>
                    <a:pt x="1054" y="173"/>
                  </a:lnTo>
                  <a:lnTo>
                    <a:pt x="1075" y="189"/>
                  </a:lnTo>
                  <a:lnTo>
                    <a:pt x="1092" y="210"/>
                  </a:lnTo>
                  <a:lnTo>
                    <a:pt x="1130" y="227"/>
                  </a:lnTo>
                  <a:lnTo>
                    <a:pt x="1146" y="262"/>
                  </a:lnTo>
                  <a:lnTo>
                    <a:pt x="1205" y="262"/>
                  </a:lnTo>
                  <a:lnTo>
                    <a:pt x="1215" y="345"/>
                  </a:lnTo>
                  <a:lnTo>
                    <a:pt x="1200" y="373"/>
                  </a:lnTo>
                  <a:lnTo>
                    <a:pt x="1200" y="411"/>
                  </a:lnTo>
                  <a:lnTo>
                    <a:pt x="1189" y="428"/>
                  </a:lnTo>
                  <a:lnTo>
                    <a:pt x="1172" y="432"/>
                  </a:lnTo>
                  <a:lnTo>
                    <a:pt x="1184" y="449"/>
                  </a:lnTo>
                  <a:lnTo>
                    <a:pt x="1167" y="449"/>
                  </a:lnTo>
                  <a:lnTo>
                    <a:pt x="1163" y="465"/>
                  </a:lnTo>
                  <a:lnTo>
                    <a:pt x="1163" y="506"/>
                  </a:lnTo>
                  <a:lnTo>
                    <a:pt x="1189" y="510"/>
                  </a:lnTo>
                  <a:lnTo>
                    <a:pt x="1167" y="543"/>
                  </a:lnTo>
                  <a:lnTo>
                    <a:pt x="1184" y="617"/>
                  </a:lnTo>
                  <a:lnTo>
                    <a:pt x="1184" y="638"/>
                  </a:lnTo>
                  <a:lnTo>
                    <a:pt x="1184" y="638"/>
                  </a:lnTo>
                  <a:lnTo>
                    <a:pt x="1184" y="638"/>
                  </a:lnTo>
                  <a:close/>
                  <a:moveTo>
                    <a:pt x="865" y="1037"/>
                  </a:moveTo>
                  <a:lnTo>
                    <a:pt x="844" y="1054"/>
                  </a:lnTo>
                  <a:lnTo>
                    <a:pt x="794" y="1061"/>
                  </a:lnTo>
                  <a:lnTo>
                    <a:pt x="794" y="1054"/>
                  </a:lnTo>
                  <a:lnTo>
                    <a:pt x="827" y="1044"/>
                  </a:lnTo>
                  <a:lnTo>
                    <a:pt x="827" y="1037"/>
                  </a:lnTo>
                  <a:lnTo>
                    <a:pt x="865" y="1037"/>
                  </a:lnTo>
                  <a:lnTo>
                    <a:pt x="865" y="1037"/>
                  </a:lnTo>
                  <a:lnTo>
                    <a:pt x="865" y="1037"/>
                  </a:lnTo>
                  <a:close/>
                  <a:moveTo>
                    <a:pt x="823" y="1044"/>
                  </a:moveTo>
                  <a:lnTo>
                    <a:pt x="823" y="1044"/>
                  </a:lnTo>
                  <a:lnTo>
                    <a:pt x="823" y="1037"/>
                  </a:lnTo>
                  <a:lnTo>
                    <a:pt x="823" y="1044"/>
                  </a:lnTo>
                  <a:lnTo>
                    <a:pt x="823" y="1044"/>
                  </a:lnTo>
                  <a:lnTo>
                    <a:pt x="823" y="1044"/>
                  </a:lnTo>
                  <a:close/>
                  <a:moveTo>
                    <a:pt x="702" y="1065"/>
                  </a:moveTo>
                  <a:lnTo>
                    <a:pt x="697" y="1065"/>
                  </a:lnTo>
                  <a:lnTo>
                    <a:pt x="702" y="1061"/>
                  </a:lnTo>
                  <a:lnTo>
                    <a:pt x="702" y="1065"/>
                  </a:lnTo>
                  <a:lnTo>
                    <a:pt x="702" y="1065"/>
                  </a:lnTo>
                  <a:lnTo>
                    <a:pt x="702" y="1065"/>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3" name="Freeform 472">
              <a:extLst>
                <a:ext uri="{FF2B5EF4-FFF2-40B4-BE49-F238E27FC236}">
                  <a16:creationId xmlns:a16="http://schemas.microsoft.com/office/drawing/2014/main" id="{F820C7DF-B139-4A43-9987-9B08DB2DB8E0}"/>
                </a:ext>
              </a:extLst>
            </p:cNvPr>
            <p:cNvSpPr>
              <a:spLocks/>
            </p:cNvSpPr>
            <p:nvPr/>
          </p:nvSpPr>
          <p:spPr bwMode="gray">
            <a:xfrm>
              <a:off x="14532950" y="3301074"/>
              <a:ext cx="29457" cy="98189"/>
            </a:xfrm>
            <a:custGeom>
              <a:avLst/>
              <a:gdLst>
                <a:gd name="T0" fmla="*/ 52 w 90"/>
                <a:gd name="T1" fmla="*/ 7 h 300"/>
                <a:gd name="T2" fmla="*/ 73 w 90"/>
                <a:gd name="T3" fmla="*/ 17 h 300"/>
                <a:gd name="T4" fmla="*/ 90 w 90"/>
                <a:gd name="T5" fmla="*/ 0 h 300"/>
                <a:gd name="T6" fmla="*/ 90 w 90"/>
                <a:gd name="T7" fmla="*/ 0 h 300"/>
                <a:gd name="T8" fmla="*/ 90 w 90"/>
                <a:gd name="T9" fmla="*/ 45 h 300"/>
                <a:gd name="T10" fmla="*/ 81 w 90"/>
                <a:gd name="T11" fmla="*/ 45 h 300"/>
                <a:gd name="T12" fmla="*/ 81 w 90"/>
                <a:gd name="T13" fmla="*/ 74 h 300"/>
                <a:gd name="T14" fmla="*/ 59 w 90"/>
                <a:gd name="T15" fmla="*/ 57 h 300"/>
                <a:gd name="T16" fmla="*/ 52 w 90"/>
                <a:gd name="T17" fmla="*/ 62 h 300"/>
                <a:gd name="T18" fmla="*/ 43 w 90"/>
                <a:gd name="T19" fmla="*/ 111 h 300"/>
                <a:gd name="T20" fmla="*/ 59 w 90"/>
                <a:gd name="T21" fmla="*/ 118 h 300"/>
                <a:gd name="T22" fmla="*/ 43 w 90"/>
                <a:gd name="T23" fmla="*/ 128 h 300"/>
                <a:gd name="T24" fmla="*/ 38 w 90"/>
                <a:gd name="T25" fmla="*/ 151 h 300"/>
                <a:gd name="T26" fmla="*/ 52 w 90"/>
                <a:gd name="T27" fmla="*/ 151 h 300"/>
                <a:gd name="T28" fmla="*/ 81 w 90"/>
                <a:gd name="T29" fmla="*/ 140 h 300"/>
                <a:gd name="T30" fmla="*/ 73 w 90"/>
                <a:gd name="T31" fmla="*/ 156 h 300"/>
                <a:gd name="T32" fmla="*/ 73 w 90"/>
                <a:gd name="T33" fmla="*/ 168 h 300"/>
                <a:gd name="T34" fmla="*/ 59 w 90"/>
                <a:gd name="T35" fmla="*/ 222 h 300"/>
                <a:gd name="T36" fmla="*/ 59 w 90"/>
                <a:gd name="T37" fmla="*/ 246 h 300"/>
                <a:gd name="T38" fmla="*/ 43 w 90"/>
                <a:gd name="T39" fmla="*/ 296 h 300"/>
                <a:gd name="T40" fmla="*/ 38 w 90"/>
                <a:gd name="T41" fmla="*/ 300 h 300"/>
                <a:gd name="T42" fmla="*/ 0 w 90"/>
                <a:gd name="T43" fmla="*/ 156 h 300"/>
                <a:gd name="T44" fmla="*/ 10 w 90"/>
                <a:gd name="T45" fmla="*/ 135 h 300"/>
                <a:gd name="T46" fmla="*/ 10 w 90"/>
                <a:gd name="T47" fmla="*/ 135 h 300"/>
                <a:gd name="T48" fmla="*/ 26 w 90"/>
                <a:gd name="T49" fmla="*/ 102 h 300"/>
                <a:gd name="T50" fmla="*/ 43 w 90"/>
                <a:gd name="T51" fmla="*/ 29 h 300"/>
                <a:gd name="T52" fmla="*/ 52 w 90"/>
                <a:gd name="T53" fmla="*/ 29 h 300"/>
                <a:gd name="T54" fmla="*/ 52 w 90"/>
                <a:gd name="T55" fmla="*/ 7 h 300"/>
                <a:gd name="T56" fmla="*/ 52 w 90"/>
                <a:gd name="T57" fmla="*/ 7 h 300"/>
                <a:gd name="T58" fmla="*/ 52 w 90"/>
                <a:gd name="T59" fmla="*/ 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 h="300">
                  <a:moveTo>
                    <a:pt x="52" y="7"/>
                  </a:moveTo>
                  <a:lnTo>
                    <a:pt x="73" y="17"/>
                  </a:lnTo>
                  <a:lnTo>
                    <a:pt x="90" y="0"/>
                  </a:lnTo>
                  <a:lnTo>
                    <a:pt x="90" y="0"/>
                  </a:lnTo>
                  <a:lnTo>
                    <a:pt x="90" y="45"/>
                  </a:lnTo>
                  <a:lnTo>
                    <a:pt x="81" y="45"/>
                  </a:lnTo>
                  <a:lnTo>
                    <a:pt x="81" y="74"/>
                  </a:lnTo>
                  <a:lnTo>
                    <a:pt x="59" y="57"/>
                  </a:lnTo>
                  <a:lnTo>
                    <a:pt x="52" y="62"/>
                  </a:lnTo>
                  <a:lnTo>
                    <a:pt x="43" y="111"/>
                  </a:lnTo>
                  <a:lnTo>
                    <a:pt x="59" y="118"/>
                  </a:lnTo>
                  <a:lnTo>
                    <a:pt x="43" y="128"/>
                  </a:lnTo>
                  <a:lnTo>
                    <a:pt x="38" y="151"/>
                  </a:lnTo>
                  <a:lnTo>
                    <a:pt x="52" y="151"/>
                  </a:lnTo>
                  <a:lnTo>
                    <a:pt x="81" y="140"/>
                  </a:lnTo>
                  <a:lnTo>
                    <a:pt x="73" y="156"/>
                  </a:lnTo>
                  <a:lnTo>
                    <a:pt x="73" y="168"/>
                  </a:lnTo>
                  <a:lnTo>
                    <a:pt x="59" y="222"/>
                  </a:lnTo>
                  <a:lnTo>
                    <a:pt x="59" y="246"/>
                  </a:lnTo>
                  <a:lnTo>
                    <a:pt x="43" y="296"/>
                  </a:lnTo>
                  <a:lnTo>
                    <a:pt x="38" y="300"/>
                  </a:lnTo>
                  <a:lnTo>
                    <a:pt x="0" y="156"/>
                  </a:lnTo>
                  <a:lnTo>
                    <a:pt x="10" y="135"/>
                  </a:lnTo>
                  <a:lnTo>
                    <a:pt x="10" y="135"/>
                  </a:lnTo>
                  <a:lnTo>
                    <a:pt x="26" y="102"/>
                  </a:lnTo>
                  <a:lnTo>
                    <a:pt x="43" y="29"/>
                  </a:lnTo>
                  <a:lnTo>
                    <a:pt x="52" y="29"/>
                  </a:lnTo>
                  <a:lnTo>
                    <a:pt x="52" y="7"/>
                  </a:lnTo>
                  <a:lnTo>
                    <a:pt x="52" y="7"/>
                  </a:lnTo>
                  <a:lnTo>
                    <a:pt x="52" y="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4" name="Freeform 474">
              <a:extLst>
                <a:ext uri="{FF2B5EF4-FFF2-40B4-BE49-F238E27FC236}">
                  <a16:creationId xmlns:a16="http://schemas.microsoft.com/office/drawing/2014/main" id="{547BCA59-8AD8-48FB-A278-0BED07910476}"/>
                </a:ext>
              </a:extLst>
            </p:cNvPr>
            <p:cNvSpPr>
              <a:spLocks noEditPoints="1"/>
            </p:cNvSpPr>
            <p:nvPr/>
          </p:nvSpPr>
          <p:spPr bwMode="gray">
            <a:xfrm>
              <a:off x="13547133" y="3860096"/>
              <a:ext cx="139428" cy="150884"/>
            </a:xfrm>
            <a:custGeom>
              <a:avLst/>
              <a:gdLst>
                <a:gd name="T0" fmla="*/ 69 w 426"/>
                <a:gd name="T1" fmla="*/ 421 h 461"/>
                <a:gd name="T2" fmla="*/ 81 w 426"/>
                <a:gd name="T3" fmla="*/ 383 h 461"/>
                <a:gd name="T4" fmla="*/ 86 w 426"/>
                <a:gd name="T5" fmla="*/ 350 h 461"/>
                <a:gd name="T6" fmla="*/ 48 w 426"/>
                <a:gd name="T7" fmla="*/ 326 h 461"/>
                <a:gd name="T8" fmla="*/ 0 w 426"/>
                <a:gd name="T9" fmla="*/ 305 h 461"/>
                <a:gd name="T10" fmla="*/ 26 w 426"/>
                <a:gd name="T11" fmla="*/ 255 h 461"/>
                <a:gd name="T12" fmla="*/ 15 w 426"/>
                <a:gd name="T13" fmla="*/ 222 h 461"/>
                <a:gd name="T14" fmla="*/ 38 w 426"/>
                <a:gd name="T15" fmla="*/ 194 h 461"/>
                <a:gd name="T16" fmla="*/ 38 w 426"/>
                <a:gd name="T17" fmla="*/ 184 h 461"/>
                <a:gd name="T18" fmla="*/ 26 w 426"/>
                <a:gd name="T19" fmla="*/ 161 h 461"/>
                <a:gd name="T20" fmla="*/ 64 w 426"/>
                <a:gd name="T21" fmla="*/ 168 h 461"/>
                <a:gd name="T22" fmla="*/ 64 w 426"/>
                <a:gd name="T23" fmla="*/ 156 h 461"/>
                <a:gd name="T24" fmla="*/ 48 w 426"/>
                <a:gd name="T25" fmla="*/ 123 h 461"/>
                <a:gd name="T26" fmla="*/ 48 w 426"/>
                <a:gd name="T27" fmla="*/ 111 h 461"/>
                <a:gd name="T28" fmla="*/ 38 w 426"/>
                <a:gd name="T29" fmla="*/ 99 h 461"/>
                <a:gd name="T30" fmla="*/ 31 w 426"/>
                <a:gd name="T31" fmla="*/ 57 h 461"/>
                <a:gd name="T32" fmla="*/ 52 w 426"/>
                <a:gd name="T33" fmla="*/ 45 h 461"/>
                <a:gd name="T34" fmla="*/ 107 w 426"/>
                <a:gd name="T35" fmla="*/ 45 h 461"/>
                <a:gd name="T36" fmla="*/ 140 w 426"/>
                <a:gd name="T37" fmla="*/ 28 h 461"/>
                <a:gd name="T38" fmla="*/ 156 w 426"/>
                <a:gd name="T39" fmla="*/ 12 h 461"/>
                <a:gd name="T40" fmla="*/ 161 w 426"/>
                <a:gd name="T41" fmla="*/ 0 h 461"/>
                <a:gd name="T42" fmla="*/ 173 w 426"/>
                <a:gd name="T43" fmla="*/ 45 h 461"/>
                <a:gd name="T44" fmla="*/ 194 w 426"/>
                <a:gd name="T45" fmla="*/ 28 h 461"/>
                <a:gd name="T46" fmla="*/ 225 w 426"/>
                <a:gd name="T47" fmla="*/ 33 h 461"/>
                <a:gd name="T48" fmla="*/ 253 w 426"/>
                <a:gd name="T49" fmla="*/ 57 h 461"/>
                <a:gd name="T50" fmla="*/ 300 w 426"/>
                <a:gd name="T51" fmla="*/ 83 h 461"/>
                <a:gd name="T52" fmla="*/ 350 w 426"/>
                <a:gd name="T53" fmla="*/ 57 h 461"/>
                <a:gd name="T54" fmla="*/ 409 w 426"/>
                <a:gd name="T55" fmla="*/ 99 h 461"/>
                <a:gd name="T56" fmla="*/ 409 w 426"/>
                <a:gd name="T57" fmla="*/ 123 h 461"/>
                <a:gd name="T58" fmla="*/ 426 w 426"/>
                <a:gd name="T59" fmla="*/ 184 h 461"/>
                <a:gd name="T60" fmla="*/ 393 w 426"/>
                <a:gd name="T61" fmla="*/ 267 h 461"/>
                <a:gd name="T62" fmla="*/ 371 w 426"/>
                <a:gd name="T63" fmla="*/ 293 h 461"/>
                <a:gd name="T64" fmla="*/ 409 w 426"/>
                <a:gd name="T65" fmla="*/ 378 h 461"/>
                <a:gd name="T66" fmla="*/ 393 w 426"/>
                <a:gd name="T67" fmla="*/ 404 h 461"/>
                <a:gd name="T68" fmla="*/ 393 w 426"/>
                <a:gd name="T69" fmla="*/ 404 h 461"/>
                <a:gd name="T70" fmla="*/ 376 w 426"/>
                <a:gd name="T71" fmla="*/ 388 h 461"/>
                <a:gd name="T72" fmla="*/ 371 w 426"/>
                <a:gd name="T73" fmla="*/ 404 h 461"/>
                <a:gd name="T74" fmla="*/ 338 w 426"/>
                <a:gd name="T75" fmla="*/ 399 h 461"/>
                <a:gd name="T76" fmla="*/ 338 w 426"/>
                <a:gd name="T77" fmla="*/ 399 h 461"/>
                <a:gd name="T78" fmla="*/ 263 w 426"/>
                <a:gd name="T79" fmla="*/ 404 h 461"/>
                <a:gd name="T80" fmla="*/ 232 w 426"/>
                <a:gd name="T81" fmla="*/ 399 h 461"/>
                <a:gd name="T82" fmla="*/ 232 w 426"/>
                <a:gd name="T83" fmla="*/ 404 h 461"/>
                <a:gd name="T84" fmla="*/ 253 w 426"/>
                <a:gd name="T85" fmla="*/ 404 h 461"/>
                <a:gd name="T86" fmla="*/ 81 w 426"/>
                <a:gd name="T87" fmla="*/ 461 h 461"/>
                <a:gd name="T88" fmla="*/ 81 w 426"/>
                <a:gd name="T89" fmla="*/ 461 h 461"/>
                <a:gd name="T90" fmla="*/ 305 w 426"/>
                <a:gd name="T91" fmla="*/ 399 h 461"/>
                <a:gd name="T92" fmla="*/ 263 w 426"/>
                <a:gd name="T93" fmla="*/ 404 h 461"/>
                <a:gd name="T94" fmla="*/ 263 w 426"/>
                <a:gd name="T95" fmla="*/ 404 h 461"/>
                <a:gd name="T96" fmla="*/ 388 w 426"/>
                <a:gd name="T97" fmla="*/ 404 h 461"/>
                <a:gd name="T98" fmla="*/ 388 w 426"/>
                <a:gd name="T99" fmla="*/ 404 h 461"/>
                <a:gd name="T100" fmla="*/ 388 w 426"/>
                <a:gd name="T101" fmla="*/ 404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6" h="461">
                  <a:moveTo>
                    <a:pt x="81" y="461"/>
                  </a:moveTo>
                  <a:lnTo>
                    <a:pt x="69" y="421"/>
                  </a:lnTo>
                  <a:lnTo>
                    <a:pt x="86" y="388"/>
                  </a:lnTo>
                  <a:lnTo>
                    <a:pt x="81" y="383"/>
                  </a:lnTo>
                  <a:lnTo>
                    <a:pt x="86" y="378"/>
                  </a:lnTo>
                  <a:lnTo>
                    <a:pt x="86" y="350"/>
                  </a:lnTo>
                  <a:lnTo>
                    <a:pt x="52" y="350"/>
                  </a:lnTo>
                  <a:lnTo>
                    <a:pt x="48" y="326"/>
                  </a:lnTo>
                  <a:lnTo>
                    <a:pt x="31" y="326"/>
                  </a:lnTo>
                  <a:lnTo>
                    <a:pt x="0" y="305"/>
                  </a:lnTo>
                  <a:lnTo>
                    <a:pt x="15" y="276"/>
                  </a:lnTo>
                  <a:lnTo>
                    <a:pt x="26" y="255"/>
                  </a:lnTo>
                  <a:lnTo>
                    <a:pt x="10" y="234"/>
                  </a:lnTo>
                  <a:lnTo>
                    <a:pt x="15" y="222"/>
                  </a:lnTo>
                  <a:lnTo>
                    <a:pt x="26" y="234"/>
                  </a:lnTo>
                  <a:lnTo>
                    <a:pt x="38" y="194"/>
                  </a:lnTo>
                  <a:lnTo>
                    <a:pt x="48" y="201"/>
                  </a:lnTo>
                  <a:lnTo>
                    <a:pt x="38" y="184"/>
                  </a:lnTo>
                  <a:lnTo>
                    <a:pt x="26" y="184"/>
                  </a:lnTo>
                  <a:lnTo>
                    <a:pt x="26" y="161"/>
                  </a:lnTo>
                  <a:lnTo>
                    <a:pt x="52" y="161"/>
                  </a:lnTo>
                  <a:lnTo>
                    <a:pt x="64" y="168"/>
                  </a:lnTo>
                  <a:lnTo>
                    <a:pt x="64" y="168"/>
                  </a:lnTo>
                  <a:lnTo>
                    <a:pt x="64" y="156"/>
                  </a:lnTo>
                  <a:lnTo>
                    <a:pt x="48" y="139"/>
                  </a:lnTo>
                  <a:lnTo>
                    <a:pt x="48" y="123"/>
                  </a:lnTo>
                  <a:lnTo>
                    <a:pt x="64" y="123"/>
                  </a:lnTo>
                  <a:lnTo>
                    <a:pt x="48" y="111"/>
                  </a:lnTo>
                  <a:lnTo>
                    <a:pt x="48" y="99"/>
                  </a:lnTo>
                  <a:lnTo>
                    <a:pt x="38" y="99"/>
                  </a:lnTo>
                  <a:lnTo>
                    <a:pt x="31" y="90"/>
                  </a:lnTo>
                  <a:lnTo>
                    <a:pt x="31" y="57"/>
                  </a:lnTo>
                  <a:lnTo>
                    <a:pt x="38" y="45"/>
                  </a:lnTo>
                  <a:lnTo>
                    <a:pt x="52" y="45"/>
                  </a:lnTo>
                  <a:lnTo>
                    <a:pt x="69" y="17"/>
                  </a:lnTo>
                  <a:lnTo>
                    <a:pt x="107" y="45"/>
                  </a:lnTo>
                  <a:lnTo>
                    <a:pt x="119" y="28"/>
                  </a:lnTo>
                  <a:lnTo>
                    <a:pt x="140" y="28"/>
                  </a:lnTo>
                  <a:lnTo>
                    <a:pt x="140" y="0"/>
                  </a:lnTo>
                  <a:lnTo>
                    <a:pt x="156" y="12"/>
                  </a:lnTo>
                  <a:lnTo>
                    <a:pt x="156" y="0"/>
                  </a:lnTo>
                  <a:lnTo>
                    <a:pt x="161" y="0"/>
                  </a:lnTo>
                  <a:lnTo>
                    <a:pt x="173" y="33"/>
                  </a:lnTo>
                  <a:lnTo>
                    <a:pt x="173" y="45"/>
                  </a:lnTo>
                  <a:lnTo>
                    <a:pt x="178" y="45"/>
                  </a:lnTo>
                  <a:lnTo>
                    <a:pt x="194" y="28"/>
                  </a:lnTo>
                  <a:lnTo>
                    <a:pt x="215" y="17"/>
                  </a:lnTo>
                  <a:lnTo>
                    <a:pt x="225" y="33"/>
                  </a:lnTo>
                  <a:lnTo>
                    <a:pt x="241" y="33"/>
                  </a:lnTo>
                  <a:lnTo>
                    <a:pt x="253" y="57"/>
                  </a:lnTo>
                  <a:lnTo>
                    <a:pt x="267" y="73"/>
                  </a:lnTo>
                  <a:lnTo>
                    <a:pt x="300" y="83"/>
                  </a:lnTo>
                  <a:lnTo>
                    <a:pt x="305" y="66"/>
                  </a:lnTo>
                  <a:lnTo>
                    <a:pt x="350" y="57"/>
                  </a:lnTo>
                  <a:lnTo>
                    <a:pt x="376" y="57"/>
                  </a:lnTo>
                  <a:lnTo>
                    <a:pt x="409" y="99"/>
                  </a:lnTo>
                  <a:lnTo>
                    <a:pt x="414" y="90"/>
                  </a:lnTo>
                  <a:lnTo>
                    <a:pt x="409" y="123"/>
                  </a:lnTo>
                  <a:lnTo>
                    <a:pt x="414" y="128"/>
                  </a:lnTo>
                  <a:lnTo>
                    <a:pt x="426" y="184"/>
                  </a:lnTo>
                  <a:lnTo>
                    <a:pt x="409" y="201"/>
                  </a:lnTo>
                  <a:lnTo>
                    <a:pt x="393" y="267"/>
                  </a:lnTo>
                  <a:lnTo>
                    <a:pt x="376" y="288"/>
                  </a:lnTo>
                  <a:lnTo>
                    <a:pt x="371" y="293"/>
                  </a:lnTo>
                  <a:lnTo>
                    <a:pt x="393" y="366"/>
                  </a:lnTo>
                  <a:lnTo>
                    <a:pt x="409" y="378"/>
                  </a:lnTo>
                  <a:lnTo>
                    <a:pt x="409" y="404"/>
                  </a:lnTo>
                  <a:lnTo>
                    <a:pt x="393" y="404"/>
                  </a:lnTo>
                  <a:lnTo>
                    <a:pt x="402" y="399"/>
                  </a:lnTo>
                  <a:lnTo>
                    <a:pt x="393" y="404"/>
                  </a:lnTo>
                  <a:lnTo>
                    <a:pt x="376" y="399"/>
                  </a:lnTo>
                  <a:lnTo>
                    <a:pt x="376" y="388"/>
                  </a:lnTo>
                  <a:lnTo>
                    <a:pt x="371" y="388"/>
                  </a:lnTo>
                  <a:lnTo>
                    <a:pt x="371" y="404"/>
                  </a:lnTo>
                  <a:lnTo>
                    <a:pt x="322" y="399"/>
                  </a:lnTo>
                  <a:lnTo>
                    <a:pt x="338" y="399"/>
                  </a:lnTo>
                  <a:lnTo>
                    <a:pt x="334" y="388"/>
                  </a:lnTo>
                  <a:lnTo>
                    <a:pt x="338" y="399"/>
                  </a:lnTo>
                  <a:lnTo>
                    <a:pt x="284" y="388"/>
                  </a:lnTo>
                  <a:lnTo>
                    <a:pt x="263" y="404"/>
                  </a:lnTo>
                  <a:lnTo>
                    <a:pt x="253" y="399"/>
                  </a:lnTo>
                  <a:lnTo>
                    <a:pt x="232" y="399"/>
                  </a:lnTo>
                  <a:lnTo>
                    <a:pt x="225" y="404"/>
                  </a:lnTo>
                  <a:lnTo>
                    <a:pt x="232" y="404"/>
                  </a:lnTo>
                  <a:lnTo>
                    <a:pt x="232" y="399"/>
                  </a:lnTo>
                  <a:lnTo>
                    <a:pt x="253" y="404"/>
                  </a:lnTo>
                  <a:lnTo>
                    <a:pt x="187" y="416"/>
                  </a:lnTo>
                  <a:lnTo>
                    <a:pt x="81" y="461"/>
                  </a:lnTo>
                  <a:lnTo>
                    <a:pt x="81" y="461"/>
                  </a:lnTo>
                  <a:lnTo>
                    <a:pt x="81" y="461"/>
                  </a:lnTo>
                  <a:close/>
                  <a:moveTo>
                    <a:pt x="263" y="404"/>
                  </a:moveTo>
                  <a:lnTo>
                    <a:pt x="305" y="399"/>
                  </a:lnTo>
                  <a:lnTo>
                    <a:pt x="322" y="399"/>
                  </a:lnTo>
                  <a:lnTo>
                    <a:pt x="263" y="404"/>
                  </a:lnTo>
                  <a:lnTo>
                    <a:pt x="263" y="404"/>
                  </a:lnTo>
                  <a:lnTo>
                    <a:pt x="263" y="404"/>
                  </a:lnTo>
                  <a:close/>
                  <a:moveTo>
                    <a:pt x="388" y="404"/>
                  </a:moveTo>
                  <a:lnTo>
                    <a:pt x="388" y="404"/>
                  </a:lnTo>
                  <a:lnTo>
                    <a:pt x="376" y="404"/>
                  </a:lnTo>
                  <a:lnTo>
                    <a:pt x="388" y="404"/>
                  </a:lnTo>
                  <a:lnTo>
                    <a:pt x="388" y="404"/>
                  </a:lnTo>
                  <a:lnTo>
                    <a:pt x="388" y="404"/>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5" name="Freeform 475">
              <a:extLst>
                <a:ext uri="{FF2B5EF4-FFF2-40B4-BE49-F238E27FC236}">
                  <a16:creationId xmlns:a16="http://schemas.microsoft.com/office/drawing/2014/main" id="{3E530761-2C6E-4235-AB99-2D2F4D148269}"/>
                </a:ext>
              </a:extLst>
            </p:cNvPr>
            <p:cNvSpPr>
              <a:spLocks/>
            </p:cNvSpPr>
            <p:nvPr/>
          </p:nvSpPr>
          <p:spPr bwMode="gray">
            <a:xfrm>
              <a:off x="14635721" y="3189138"/>
              <a:ext cx="221907" cy="217980"/>
            </a:xfrm>
            <a:custGeom>
              <a:avLst/>
              <a:gdLst>
                <a:gd name="T0" fmla="*/ 31 w 678"/>
                <a:gd name="T1" fmla="*/ 420 h 666"/>
                <a:gd name="T2" fmla="*/ 15 w 678"/>
                <a:gd name="T3" fmla="*/ 416 h 666"/>
                <a:gd name="T4" fmla="*/ 15 w 678"/>
                <a:gd name="T5" fmla="*/ 399 h 666"/>
                <a:gd name="T6" fmla="*/ 156 w 678"/>
                <a:gd name="T7" fmla="*/ 250 h 666"/>
                <a:gd name="T8" fmla="*/ 171 w 678"/>
                <a:gd name="T9" fmla="*/ 182 h 666"/>
                <a:gd name="T10" fmla="*/ 178 w 678"/>
                <a:gd name="T11" fmla="*/ 127 h 666"/>
                <a:gd name="T12" fmla="*/ 171 w 678"/>
                <a:gd name="T13" fmla="*/ 87 h 666"/>
                <a:gd name="T14" fmla="*/ 208 w 678"/>
                <a:gd name="T15" fmla="*/ 66 h 666"/>
                <a:gd name="T16" fmla="*/ 263 w 678"/>
                <a:gd name="T17" fmla="*/ 28 h 666"/>
                <a:gd name="T18" fmla="*/ 291 w 678"/>
                <a:gd name="T19" fmla="*/ 12 h 666"/>
                <a:gd name="T20" fmla="*/ 338 w 678"/>
                <a:gd name="T21" fmla="*/ 16 h 666"/>
                <a:gd name="T22" fmla="*/ 371 w 678"/>
                <a:gd name="T23" fmla="*/ 12 h 666"/>
                <a:gd name="T24" fmla="*/ 376 w 678"/>
                <a:gd name="T25" fmla="*/ 28 h 666"/>
                <a:gd name="T26" fmla="*/ 409 w 678"/>
                <a:gd name="T27" fmla="*/ 16 h 666"/>
                <a:gd name="T28" fmla="*/ 426 w 678"/>
                <a:gd name="T29" fmla="*/ 33 h 666"/>
                <a:gd name="T30" fmla="*/ 440 w 678"/>
                <a:gd name="T31" fmla="*/ 54 h 666"/>
                <a:gd name="T32" fmla="*/ 440 w 678"/>
                <a:gd name="T33" fmla="*/ 82 h 666"/>
                <a:gd name="T34" fmla="*/ 461 w 678"/>
                <a:gd name="T35" fmla="*/ 123 h 666"/>
                <a:gd name="T36" fmla="*/ 485 w 678"/>
                <a:gd name="T37" fmla="*/ 139 h 666"/>
                <a:gd name="T38" fmla="*/ 522 w 678"/>
                <a:gd name="T39" fmla="*/ 139 h 666"/>
                <a:gd name="T40" fmla="*/ 499 w 678"/>
                <a:gd name="T41" fmla="*/ 160 h 666"/>
                <a:gd name="T42" fmla="*/ 515 w 678"/>
                <a:gd name="T43" fmla="*/ 193 h 666"/>
                <a:gd name="T44" fmla="*/ 494 w 678"/>
                <a:gd name="T45" fmla="*/ 205 h 666"/>
                <a:gd name="T46" fmla="*/ 485 w 678"/>
                <a:gd name="T47" fmla="*/ 238 h 666"/>
                <a:gd name="T48" fmla="*/ 461 w 678"/>
                <a:gd name="T49" fmla="*/ 238 h 666"/>
                <a:gd name="T50" fmla="*/ 468 w 678"/>
                <a:gd name="T51" fmla="*/ 271 h 666"/>
                <a:gd name="T52" fmla="*/ 468 w 678"/>
                <a:gd name="T53" fmla="*/ 288 h 666"/>
                <a:gd name="T54" fmla="*/ 494 w 678"/>
                <a:gd name="T55" fmla="*/ 309 h 666"/>
                <a:gd name="T56" fmla="*/ 494 w 678"/>
                <a:gd name="T57" fmla="*/ 316 h 666"/>
                <a:gd name="T58" fmla="*/ 515 w 678"/>
                <a:gd name="T59" fmla="*/ 342 h 666"/>
                <a:gd name="T60" fmla="*/ 532 w 678"/>
                <a:gd name="T61" fmla="*/ 366 h 666"/>
                <a:gd name="T62" fmla="*/ 603 w 678"/>
                <a:gd name="T63" fmla="*/ 404 h 666"/>
                <a:gd name="T64" fmla="*/ 629 w 678"/>
                <a:gd name="T65" fmla="*/ 460 h 666"/>
                <a:gd name="T66" fmla="*/ 624 w 678"/>
                <a:gd name="T67" fmla="*/ 527 h 666"/>
                <a:gd name="T68" fmla="*/ 645 w 678"/>
                <a:gd name="T69" fmla="*/ 564 h 666"/>
                <a:gd name="T70" fmla="*/ 667 w 678"/>
                <a:gd name="T71" fmla="*/ 604 h 666"/>
                <a:gd name="T72" fmla="*/ 641 w 678"/>
                <a:gd name="T73" fmla="*/ 593 h 666"/>
                <a:gd name="T74" fmla="*/ 586 w 678"/>
                <a:gd name="T75" fmla="*/ 593 h 666"/>
                <a:gd name="T76" fmla="*/ 537 w 678"/>
                <a:gd name="T77" fmla="*/ 666 h 666"/>
                <a:gd name="T78" fmla="*/ 414 w 678"/>
                <a:gd name="T79" fmla="*/ 666 h 666"/>
                <a:gd name="T80" fmla="*/ 182 w 678"/>
                <a:gd name="T81" fmla="*/ 493 h 666"/>
                <a:gd name="T82" fmla="*/ 22 w 678"/>
                <a:gd name="T83" fmla="*/ 427 h 666"/>
                <a:gd name="T84" fmla="*/ 22 w 678"/>
                <a:gd name="T85" fmla="*/ 427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8" h="666">
                  <a:moveTo>
                    <a:pt x="22" y="427"/>
                  </a:moveTo>
                  <a:lnTo>
                    <a:pt x="31" y="420"/>
                  </a:lnTo>
                  <a:lnTo>
                    <a:pt x="31" y="416"/>
                  </a:lnTo>
                  <a:lnTo>
                    <a:pt x="15" y="416"/>
                  </a:lnTo>
                  <a:lnTo>
                    <a:pt x="10" y="404"/>
                  </a:lnTo>
                  <a:lnTo>
                    <a:pt x="15" y="399"/>
                  </a:lnTo>
                  <a:lnTo>
                    <a:pt x="0" y="333"/>
                  </a:lnTo>
                  <a:lnTo>
                    <a:pt x="156" y="250"/>
                  </a:lnTo>
                  <a:lnTo>
                    <a:pt x="171" y="215"/>
                  </a:lnTo>
                  <a:lnTo>
                    <a:pt x="171" y="182"/>
                  </a:lnTo>
                  <a:lnTo>
                    <a:pt x="178" y="149"/>
                  </a:lnTo>
                  <a:lnTo>
                    <a:pt x="178" y="127"/>
                  </a:lnTo>
                  <a:lnTo>
                    <a:pt x="171" y="111"/>
                  </a:lnTo>
                  <a:lnTo>
                    <a:pt x="171" y="87"/>
                  </a:lnTo>
                  <a:lnTo>
                    <a:pt x="178" y="71"/>
                  </a:lnTo>
                  <a:lnTo>
                    <a:pt x="208" y="66"/>
                  </a:lnTo>
                  <a:lnTo>
                    <a:pt x="246" y="28"/>
                  </a:lnTo>
                  <a:lnTo>
                    <a:pt x="263" y="28"/>
                  </a:lnTo>
                  <a:lnTo>
                    <a:pt x="279" y="0"/>
                  </a:lnTo>
                  <a:lnTo>
                    <a:pt x="291" y="12"/>
                  </a:lnTo>
                  <a:lnTo>
                    <a:pt x="300" y="0"/>
                  </a:lnTo>
                  <a:lnTo>
                    <a:pt x="338" y="16"/>
                  </a:lnTo>
                  <a:lnTo>
                    <a:pt x="355" y="16"/>
                  </a:lnTo>
                  <a:lnTo>
                    <a:pt x="371" y="12"/>
                  </a:lnTo>
                  <a:lnTo>
                    <a:pt x="376" y="16"/>
                  </a:lnTo>
                  <a:lnTo>
                    <a:pt x="376" y="28"/>
                  </a:lnTo>
                  <a:lnTo>
                    <a:pt x="388" y="38"/>
                  </a:lnTo>
                  <a:lnTo>
                    <a:pt x="409" y="16"/>
                  </a:lnTo>
                  <a:lnTo>
                    <a:pt x="414" y="28"/>
                  </a:lnTo>
                  <a:lnTo>
                    <a:pt x="426" y="33"/>
                  </a:lnTo>
                  <a:lnTo>
                    <a:pt x="426" y="49"/>
                  </a:lnTo>
                  <a:lnTo>
                    <a:pt x="440" y="54"/>
                  </a:lnTo>
                  <a:lnTo>
                    <a:pt x="430" y="71"/>
                  </a:lnTo>
                  <a:lnTo>
                    <a:pt x="440" y="82"/>
                  </a:lnTo>
                  <a:lnTo>
                    <a:pt x="452" y="87"/>
                  </a:lnTo>
                  <a:lnTo>
                    <a:pt x="461" y="123"/>
                  </a:lnTo>
                  <a:lnTo>
                    <a:pt x="478" y="123"/>
                  </a:lnTo>
                  <a:lnTo>
                    <a:pt x="485" y="139"/>
                  </a:lnTo>
                  <a:lnTo>
                    <a:pt x="506" y="127"/>
                  </a:lnTo>
                  <a:lnTo>
                    <a:pt x="522" y="139"/>
                  </a:lnTo>
                  <a:lnTo>
                    <a:pt x="499" y="144"/>
                  </a:lnTo>
                  <a:lnTo>
                    <a:pt x="499" y="160"/>
                  </a:lnTo>
                  <a:lnTo>
                    <a:pt x="515" y="182"/>
                  </a:lnTo>
                  <a:lnTo>
                    <a:pt x="515" y="193"/>
                  </a:lnTo>
                  <a:lnTo>
                    <a:pt x="499" y="193"/>
                  </a:lnTo>
                  <a:lnTo>
                    <a:pt x="494" y="205"/>
                  </a:lnTo>
                  <a:lnTo>
                    <a:pt x="478" y="222"/>
                  </a:lnTo>
                  <a:lnTo>
                    <a:pt x="485" y="238"/>
                  </a:lnTo>
                  <a:lnTo>
                    <a:pt x="468" y="234"/>
                  </a:lnTo>
                  <a:lnTo>
                    <a:pt x="461" y="238"/>
                  </a:lnTo>
                  <a:lnTo>
                    <a:pt x="468" y="255"/>
                  </a:lnTo>
                  <a:lnTo>
                    <a:pt x="468" y="271"/>
                  </a:lnTo>
                  <a:lnTo>
                    <a:pt x="461" y="276"/>
                  </a:lnTo>
                  <a:lnTo>
                    <a:pt x="468" y="288"/>
                  </a:lnTo>
                  <a:lnTo>
                    <a:pt x="485" y="309"/>
                  </a:lnTo>
                  <a:lnTo>
                    <a:pt x="494" y="309"/>
                  </a:lnTo>
                  <a:lnTo>
                    <a:pt x="499" y="316"/>
                  </a:lnTo>
                  <a:lnTo>
                    <a:pt x="494" y="316"/>
                  </a:lnTo>
                  <a:lnTo>
                    <a:pt x="499" y="316"/>
                  </a:lnTo>
                  <a:lnTo>
                    <a:pt x="515" y="342"/>
                  </a:lnTo>
                  <a:lnTo>
                    <a:pt x="506" y="366"/>
                  </a:lnTo>
                  <a:lnTo>
                    <a:pt x="532" y="366"/>
                  </a:lnTo>
                  <a:lnTo>
                    <a:pt x="586" y="404"/>
                  </a:lnTo>
                  <a:lnTo>
                    <a:pt x="603" y="404"/>
                  </a:lnTo>
                  <a:lnTo>
                    <a:pt x="603" y="416"/>
                  </a:lnTo>
                  <a:lnTo>
                    <a:pt x="629" y="460"/>
                  </a:lnTo>
                  <a:lnTo>
                    <a:pt x="624" y="482"/>
                  </a:lnTo>
                  <a:lnTo>
                    <a:pt x="624" y="527"/>
                  </a:lnTo>
                  <a:lnTo>
                    <a:pt x="645" y="527"/>
                  </a:lnTo>
                  <a:lnTo>
                    <a:pt x="645" y="564"/>
                  </a:lnTo>
                  <a:lnTo>
                    <a:pt x="667" y="581"/>
                  </a:lnTo>
                  <a:lnTo>
                    <a:pt x="667" y="604"/>
                  </a:lnTo>
                  <a:lnTo>
                    <a:pt x="678" y="604"/>
                  </a:lnTo>
                  <a:lnTo>
                    <a:pt x="641" y="593"/>
                  </a:lnTo>
                  <a:lnTo>
                    <a:pt x="624" y="593"/>
                  </a:lnTo>
                  <a:lnTo>
                    <a:pt x="586" y="593"/>
                  </a:lnTo>
                  <a:lnTo>
                    <a:pt x="570" y="638"/>
                  </a:lnTo>
                  <a:lnTo>
                    <a:pt x="537" y="666"/>
                  </a:lnTo>
                  <a:lnTo>
                    <a:pt x="537" y="666"/>
                  </a:lnTo>
                  <a:lnTo>
                    <a:pt x="414" y="666"/>
                  </a:lnTo>
                  <a:lnTo>
                    <a:pt x="232" y="510"/>
                  </a:lnTo>
                  <a:lnTo>
                    <a:pt x="182" y="493"/>
                  </a:lnTo>
                  <a:lnTo>
                    <a:pt x="107" y="444"/>
                  </a:lnTo>
                  <a:lnTo>
                    <a:pt x="22" y="427"/>
                  </a:lnTo>
                  <a:lnTo>
                    <a:pt x="22" y="427"/>
                  </a:lnTo>
                  <a:lnTo>
                    <a:pt x="22" y="42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6" name="Freeform 476">
              <a:extLst>
                <a:ext uri="{FF2B5EF4-FFF2-40B4-BE49-F238E27FC236}">
                  <a16:creationId xmlns:a16="http://schemas.microsoft.com/office/drawing/2014/main" id="{6B119AC4-53A7-4B05-B098-A29F97D1A93D}"/>
                </a:ext>
              </a:extLst>
            </p:cNvPr>
            <p:cNvSpPr>
              <a:spLocks noEditPoints="1"/>
            </p:cNvSpPr>
            <p:nvPr/>
          </p:nvSpPr>
          <p:spPr bwMode="gray">
            <a:xfrm>
              <a:off x="16581827" y="2960358"/>
              <a:ext cx="510255" cy="571133"/>
            </a:xfrm>
            <a:custGeom>
              <a:avLst/>
              <a:gdLst>
                <a:gd name="T0" fmla="*/ 1521 w 1559"/>
                <a:gd name="T1" fmla="*/ 193 h 1745"/>
                <a:gd name="T2" fmla="*/ 1483 w 1559"/>
                <a:gd name="T3" fmla="*/ 215 h 1745"/>
                <a:gd name="T4" fmla="*/ 1207 w 1559"/>
                <a:gd name="T5" fmla="*/ 267 h 1745"/>
                <a:gd name="T6" fmla="*/ 1181 w 1559"/>
                <a:gd name="T7" fmla="*/ 337 h 1745"/>
                <a:gd name="T8" fmla="*/ 1191 w 1559"/>
                <a:gd name="T9" fmla="*/ 222 h 1745"/>
                <a:gd name="T10" fmla="*/ 1278 w 1559"/>
                <a:gd name="T11" fmla="*/ 82 h 1745"/>
                <a:gd name="T12" fmla="*/ 1450 w 1559"/>
                <a:gd name="T13" fmla="*/ 139 h 1745"/>
                <a:gd name="T14" fmla="*/ 1245 w 1559"/>
                <a:gd name="T15" fmla="*/ 33 h 1745"/>
                <a:gd name="T16" fmla="*/ 1115 w 1559"/>
                <a:gd name="T17" fmla="*/ 292 h 1745"/>
                <a:gd name="T18" fmla="*/ 1136 w 1559"/>
                <a:gd name="T19" fmla="*/ 897 h 1745"/>
                <a:gd name="T20" fmla="*/ 1127 w 1559"/>
                <a:gd name="T21" fmla="*/ 876 h 1745"/>
                <a:gd name="T22" fmla="*/ 1072 w 1559"/>
                <a:gd name="T23" fmla="*/ 897 h 1745"/>
                <a:gd name="T24" fmla="*/ 943 w 1559"/>
                <a:gd name="T25" fmla="*/ 914 h 1745"/>
                <a:gd name="T26" fmla="*/ 938 w 1559"/>
                <a:gd name="T27" fmla="*/ 947 h 1745"/>
                <a:gd name="T28" fmla="*/ 801 w 1559"/>
                <a:gd name="T29" fmla="*/ 987 h 1745"/>
                <a:gd name="T30" fmla="*/ 737 w 1559"/>
                <a:gd name="T31" fmla="*/ 930 h 1745"/>
                <a:gd name="T32" fmla="*/ 666 w 1559"/>
                <a:gd name="T33" fmla="*/ 954 h 1745"/>
                <a:gd name="T34" fmla="*/ 574 w 1559"/>
                <a:gd name="T35" fmla="*/ 975 h 1745"/>
                <a:gd name="T36" fmla="*/ 633 w 1559"/>
                <a:gd name="T37" fmla="*/ 864 h 1745"/>
                <a:gd name="T38" fmla="*/ 829 w 1559"/>
                <a:gd name="T39" fmla="*/ 859 h 1745"/>
                <a:gd name="T40" fmla="*/ 921 w 1559"/>
                <a:gd name="T41" fmla="*/ 753 h 1745"/>
                <a:gd name="T42" fmla="*/ 943 w 1559"/>
                <a:gd name="T43" fmla="*/ 732 h 1745"/>
                <a:gd name="T44" fmla="*/ 1136 w 1559"/>
                <a:gd name="T45" fmla="*/ 581 h 1745"/>
                <a:gd name="T46" fmla="*/ 1169 w 1559"/>
                <a:gd name="T47" fmla="*/ 415 h 1745"/>
                <a:gd name="T48" fmla="*/ 1235 w 1559"/>
                <a:gd name="T49" fmla="*/ 375 h 1745"/>
                <a:gd name="T50" fmla="*/ 1283 w 1559"/>
                <a:gd name="T51" fmla="*/ 543 h 1745"/>
                <a:gd name="T52" fmla="*/ 1212 w 1559"/>
                <a:gd name="T53" fmla="*/ 654 h 1745"/>
                <a:gd name="T54" fmla="*/ 1051 w 1559"/>
                <a:gd name="T55" fmla="*/ 642 h 1745"/>
                <a:gd name="T56" fmla="*/ 683 w 1559"/>
                <a:gd name="T57" fmla="*/ 786 h 1745"/>
                <a:gd name="T58" fmla="*/ 1106 w 1559"/>
                <a:gd name="T59" fmla="*/ 918 h 1745"/>
                <a:gd name="T60" fmla="*/ 411 w 1559"/>
                <a:gd name="T61" fmla="*/ 918 h 1745"/>
                <a:gd name="T62" fmla="*/ 780 w 1559"/>
                <a:gd name="T63" fmla="*/ 959 h 1745"/>
                <a:gd name="T64" fmla="*/ 725 w 1559"/>
                <a:gd name="T65" fmla="*/ 1025 h 1745"/>
                <a:gd name="T66" fmla="*/ 628 w 1559"/>
                <a:gd name="T67" fmla="*/ 1041 h 1745"/>
                <a:gd name="T68" fmla="*/ 720 w 1559"/>
                <a:gd name="T69" fmla="*/ 954 h 1745"/>
                <a:gd name="T70" fmla="*/ 402 w 1559"/>
                <a:gd name="T71" fmla="*/ 959 h 1745"/>
                <a:gd name="T72" fmla="*/ 657 w 1559"/>
                <a:gd name="T73" fmla="*/ 954 h 1745"/>
                <a:gd name="T74" fmla="*/ 628 w 1559"/>
                <a:gd name="T75" fmla="*/ 970 h 1745"/>
                <a:gd name="T76" fmla="*/ 565 w 1559"/>
                <a:gd name="T77" fmla="*/ 1008 h 1745"/>
                <a:gd name="T78" fmla="*/ 527 w 1559"/>
                <a:gd name="T79" fmla="*/ 1181 h 1745"/>
                <a:gd name="T80" fmla="*/ 489 w 1559"/>
                <a:gd name="T81" fmla="*/ 1174 h 1745"/>
                <a:gd name="T82" fmla="*/ 489 w 1559"/>
                <a:gd name="T83" fmla="*/ 1081 h 1745"/>
                <a:gd name="T84" fmla="*/ 456 w 1559"/>
                <a:gd name="T85" fmla="*/ 1098 h 1745"/>
                <a:gd name="T86" fmla="*/ 435 w 1559"/>
                <a:gd name="T87" fmla="*/ 1070 h 1745"/>
                <a:gd name="T88" fmla="*/ 472 w 1559"/>
                <a:gd name="T89" fmla="*/ 1008 h 1745"/>
                <a:gd name="T90" fmla="*/ 423 w 1559"/>
                <a:gd name="T91" fmla="*/ 1004 h 1745"/>
                <a:gd name="T92" fmla="*/ 418 w 1559"/>
                <a:gd name="T93" fmla="*/ 1029 h 1745"/>
                <a:gd name="T94" fmla="*/ 385 w 1559"/>
                <a:gd name="T95" fmla="*/ 1058 h 1745"/>
                <a:gd name="T96" fmla="*/ 359 w 1559"/>
                <a:gd name="T97" fmla="*/ 1081 h 1745"/>
                <a:gd name="T98" fmla="*/ 465 w 1559"/>
                <a:gd name="T99" fmla="*/ 1103 h 1745"/>
                <a:gd name="T100" fmla="*/ 456 w 1559"/>
                <a:gd name="T101" fmla="*/ 1124 h 1745"/>
                <a:gd name="T102" fmla="*/ 527 w 1559"/>
                <a:gd name="T103" fmla="*/ 1230 h 1745"/>
                <a:gd name="T104" fmla="*/ 489 w 1559"/>
                <a:gd name="T105" fmla="*/ 1280 h 1745"/>
                <a:gd name="T106" fmla="*/ 385 w 1559"/>
                <a:gd name="T107" fmla="*/ 1436 h 1745"/>
                <a:gd name="T108" fmla="*/ 397 w 1559"/>
                <a:gd name="T109" fmla="*/ 1436 h 1745"/>
                <a:gd name="T110" fmla="*/ 359 w 1559"/>
                <a:gd name="T111" fmla="*/ 1502 h 1745"/>
                <a:gd name="T112" fmla="*/ 293 w 1559"/>
                <a:gd name="T113" fmla="*/ 1596 h 1745"/>
                <a:gd name="T114" fmla="*/ 217 w 1559"/>
                <a:gd name="T115" fmla="*/ 1580 h 1745"/>
                <a:gd name="T116" fmla="*/ 116 w 1559"/>
                <a:gd name="T117" fmla="*/ 1696 h 1745"/>
                <a:gd name="T118" fmla="*/ 33 w 1559"/>
                <a:gd name="T119" fmla="*/ 1729 h 1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59" h="1745">
                  <a:moveTo>
                    <a:pt x="1450" y="139"/>
                  </a:moveTo>
                  <a:lnTo>
                    <a:pt x="1483" y="144"/>
                  </a:lnTo>
                  <a:lnTo>
                    <a:pt x="1521" y="104"/>
                  </a:lnTo>
                  <a:lnTo>
                    <a:pt x="1531" y="111"/>
                  </a:lnTo>
                  <a:lnTo>
                    <a:pt x="1505" y="155"/>
                  </a:lnTo>
                  <a:lnTo>
                    <a:pt x="1517" y="165"/>
                  </a:lnTo>
                  <a:lnTo>
                    <a:pt x="1521" y="177"/>
                  </a:lnTo>
                  <a:lnTo>
                    <a:pt x="1517" y="165"/>
                  </a:lnTo>
                  <a:lnTo>
                    <a:pt x="1521" y="193"/>
                  </a:lnTo>
                  <a:lnTo>
                    <a:pt x="1521" y="193"/>
                  </a:lnTo>
                  <a:lnTo>
                    <a:pt x="1538" y="198"/>
                  </a:lnTo>
                  <a:lnTo>
                    <a:pt x="1547" y="193"/>
                  </a:lnTo>
                  <a:lnTo>
                    <a:pt x="1559" y="193"/>
                  </a:lnTo>
                  <a:lnTo>
                    <a:pt x="1547" y="193"/>
                  </a:lnTo>
                  <a:lnTo>
                    <a:pt x="1538" y="210"/>
                  </a:lnTo>
                  <a:lnTo>
                    <a:pt x="1517" y="210"/>
                  </a:lnTo>
                  <a:lnTo>
                    <a:pt x="1500" y="222"/>
                  </a:lnTo>
                  <a:lnTo>
                    <a:pt x="1483" y="215"/>
                  </a:lnTo>
                  <a:lnTo>
                    <a:pt x="1479" y="231"/>
                  </a:lnTo>
                  <a:lnTo>
                    <a:pt x="1450" y="222"/>
                  </a:lnTo>
                  <a:lnTo>
                    <a:pt x="1429" y="231"/>
                  </a:lnTo>
                  <a:lnTo>
                    <a:pt x="1391" y="271"/>
                  </a:lnTo>
                  <a:lnTo>
                    <a:pt x="1375" y="321"/>
                  </a:lnTo>
                  <a:lnTo>
                    <a:pt x="1278" y="255"/>
                  </a:lnTo>
                  <a:lnTo>
                    <a:pt x="1250" y="267"/>
                  </a:lnTo>
                  <a:lnTo>
                    <a:pt x="1224" y="288"/>
                  </a:lnTo>
                  <a:lnTo>
                    <a:pt x="1207" y="267"/>
                  </a:lnTo>
                  <a:lnTo>
                    <a:pt x="1181" y="267"/>
                  </a:lnTo>
                  <a:lnTo>
                    <a:pt x="1174" y="271"/>
                  </a:lnTo>
                  <a:lnTo>
                    <a:pt x="1169" y="288"/>
                  </a:lnTo>
                  <a:lnTo>
                    <a:pt x="1191" y="304"/>
                  </a:lnTo>
                  <a:lnTo>
                    <a:pt x="1198" y="304"/>
                  </a:lnTo>
                  <a:lnTo>
                    <a:pt x="1235" y="326"/>
                  </a:lnTo>
                  <a:lnTo>
                    <a:pt x="1224" y="337"/>
                  </a:lnTo>
                  <a:lnTo>
                    <a:pt x="1198" y="326"/>
                  </a:lnTo>
                  <a:lnTo>
                    <a:pt x="1181" y="337"/>
                  </a:lnTo>
                  <a:lnTo>
                    <a:pt x="1181" y="349"/>
                  </a:lnTo>
                  <a:lnTo>
                    <a:pt x="1169" y="359"/>
                  </a:lnTo>
                  <a:lnTo>
                    <a:pt x="1153" y="359"/>
                  </a:lnTo>
                  <a:lnTo>
                    <a:pt x="1153" y="342"/>
                  </a:lnTo>
                  <a:lnTo>
                    <a:pt x="1157" y="309"/>
                  </a:lnTo>
                  <a:lnTo>
                    <a:pt x="1136" y="288"/>
                  </a:lnTo>
                  <a:lnTo>
                    <a:pt x="1136" y="255"/>
                  </a:lnTo>
                  <a:lnTo>
                    <a:pt x="1174" y="238"/>
                  </a:lnTo>
                  <a:lnTo>
                    <a:pt x="1191" y="222"/>
                  </a:lnTo>
                  <a:lnTo>
                    <a:pt x="1174" y="198"/>
                  </a:lnTo>
                  <a:lnTo>
                    <a:pt x="1181" y="193"/>
                  </a:lnTo>
                  <a:lnTo>
                    <a:pt x="1207" y="210"/>
                  </a:lnTo>
                  <a:lnTo>
                    <a:pt x="1228" y="210"/>
                  </a:lnTo>
                  <a:lnTo>
                    <a:pt x="1250" y="193"/>
                  </a:lnTo>
                  <a:lnTo>
                    <a:pt x="1245" y="160"/>
                  </a:lnTo>
                  <a:lnTo>
                    <a:pt x="1266" y="139"/>
                  </a:lnTo>
                  <a:lnTo>
                    <a:pt x="1266" y="111"/>
                  </a:lnTo>
                  <a:lnTo>
                    <a:pt x="1278" y="82"/>
                  </a:lnTo>
                  <a:lnTo>
                    <a:pt x="1261" y="28"/>
                  </a:lnTo>
                  <a:lnTo>
                    <a:pt x="1266" y="11"/>
                  </a:lnTo>
                  <a:lnTo>
                    <a:pt x="1287" y="0"/>
                  </a:lnTo>
                  <a:lnTo>
                    <a:pt x="1370" y="87"/>
                  </a:lnTo>
                  <a:lnTo>
                    <a:pt x="1408" y="111"/>
                  </a:lnTo>
                  <a:lnTo>
                    <a:pt x="1413" y="127"/>
                  </a:lnTo>
                  <a:lnTo>
                    <a:pt x="1446" y="127"/>
                  </a:lnTo>
                  <a:lnTo>
                    <a:pt x="1450" y="139"/>
                  </a:lnTo>
                  <a:lnTo>
                    <a:pt x="1450" y="139"/>
                  </a:lnTo>
                  <a:lnTo>
                    <a:pt x="1450" y="139"/>
                  </a:lnTo>
                  <a:close/>
                  <a:moveTo>
                    <a:pt x="1224" y="11"/>
                  </a:moveTo>
                  <a:lnTo>
                    <a:pt x="1228" y="11"/>
                  </a:lnTo>
                  <a:lnTo>
                    <a:pt x="1224" y="28"/>
                  </a:lnTo>
                  <a:lnTo>
                    <a:pt x="1224" y="11"/>
                  </a:lnTo>
                  <a:lnTo>
                    <a:pt x="1224" y="11"/>
                  </a:lnTo>
                  <a:lnTo>
                    <a:pt x="1224" y="11"/>
                  </a:lnTo>
                  <a:close/>
                  <a:moveTo>
                    <a:pt x="1228" y="28"/>
                  </a:moveTo>
                  <a:lnTo>
                    <a:pt x="1245" y="33"/>
                  </a:lnTo>
                  <a:lnTo>
                    <a:pt x="1228" y="33"/>
                  </a:lnTo>
                  <a:lnTo>
                    <a:pt x="1228" y="28"/>
                  </a:lnTo>
                  <a:lnTo>
                    <a:pt x="1228" y="28"/>
                  </a:lnTo>
                  <a:lnTo>
                    <a:pt x="1228" y="28"/>
                  </a:lnTo>
                  <a:close/>
                  <a:moveTo>
                    <a:pt x="1115" y="292"/>
                  </a:moveTo>
                  <a:lnTo>
                    <a:pt x="1120" y="288"/>
                  </a:lnTo>
                  <a:lnTo>
                    <a:pt x="1115" y="304"/>
                  </a:lnTo>
                  <a:lnTo>
                    <a:pt x="1115" y="292"/>
                  </a:lnTo>
                  <a:lnTo>
                    <a:pt x="1115" y="292"/>
                  </a:lnTo>
                  <a:lnTo>
                    <a:pt x="1115" y="292"/>
                  </a:lnTo>
                  <a:close/>
                  <a:moveTo>
                    <a:pt x="1207" y="748"/>
                  </a:moveTo>
                  <a:lnTo>
                    <a:pt x="1191" y="791"/>
                  </a:lnTo>
                  <a:lnTo>
                    <a:pt x="1207" y="843"/>
                  </a:lnTo>
                  <a:lnTo>
                    <a:pt x="1181" y="859"/>
                  </a:lnTo>
                  <a:lnTo>
                    <a:pt x="1174" y="892"/>
                  </a:lnTo>
                  <a:lnTo>
                    <a:pt x="1157" y="892"/>
                  </a:lnTo>
                  <a:lnTo>
                    <a:pt x="1143" y="902"/>
                  </a:lnTo>
                  <a:lnTo>
                    <a:pt x="1136" y="897"/>
                  </a:lnTo>
                  <a:lnTo>
                    <a:pt x="1143" y="897"/>
                  </a:lnTo>
                  <a:lnTo>
                    <a:pt x="1136" y="876"/>
                  </a:lnTo>
                  <a:lnTo>
                    <a:pt x="1157" y="848"/>
                  </a:lnTo>
                  <a:lnTo>
                    <a:pt x="1143" y="843"/>
                  </a:lnTo>
                  <a:lnTo>
                    <a:pt x="1136" y="843"/>
                  </a:lnTo>
                  <a:lnTo>
                    <a:pt x="1136" y="859"/>
                  </a:lnTo>
                  <a:lnTo>
                    <a:pt x="1127" y="859"/>
                  </a:lnTo>
                  <a:lnTo>
                    <a:pt x="1127" y="876"/>
                  </a:lnTo>
                  <a:lnTo>
                    <a:pt x="1127" y="876"/>
                  </a:lnTo>
                  <a:lnTo>
                    <a:pt x="1127" y="892"/>
                  </a:lnTo>
                  <a:lnTo>
                    <a:pt x="1120" y="876"/>
                  </a:lnTo>
                  <a:lnTo>
                    <a:pt x="1089" y="881"/>
                  </a:lnTo>
                  <a:lnTo>
                    <a:pt x="1082" y="892"/>
                  </a:lnTo>
                  <a:lnTo>
                    <a:pt x="1089" y="902"/>
                  </a:lnTo>
                  <a:lnTo>
                    <a:pt x="1068" y="930"/>
                  </a:lnTo>
                  <a:lnTo>
                    <a:pt x="1061" y="918"/>
                  </a:lnTo>
                  <a:lnTo>
                    <a:pt x="1068" y="897"/>
                  </a:lnTo>
                  <a:lnTo>
                    <a:pt x="1072" y="897"/>
                  </a:lnTo>
                  <a:lnTo>
                    <a:pt x="1061" y="892"/>
                  </a:lnTo>
                  <a:lnTo>
                    <a:pt x="1051" y="892"/>
                  </a:lnTo>
                  <a:lnTo>
                    <a:pt x="1035" y="902"/>
                  </a:lnTo>
                  <a:lnTo>
                    <a:pt x="1018" y="930"/>
                  </a:lnTo>
                  <a:lnTo>
                    <a:pt x="980" y="918"/>
                  </a:lnTo>
                  <a:lnTo>
                    <a:pt x="943" y="930"/>
                  </a:lnTo>
                  <a:lnTo>
                    <a:pt x="964" y="918"/>
                  </a:lnTo>
                  <a:lnTo>
                    <a:pt x="959" y="914"/>
                  </a:lnTo>
                  <a:lnTo>
                    <a:pt x="943" y="914"/>
                  </a:lnTo>
                  <a:lnTo>
                    <a:pt x="938" y="902"/>
                  </a:lnTo>
                  <a:lnTo>
                    <a:pt x="938" y="914"/>
                  </a:lnTo>
                  <a:lnTo>
                    <a:pt x="938" y="918"/>
                  </a:lnTo>
                  <a:lnTo>
                    <a:pt x="926" y="918"/>
                  </a:lnTo>
                  <a:lnTo>
                    <a:pt x="926" y="892"/>
                  </a:lnTo>
                  <a:lnTo>
                    <a:pt x="909" y="897"/>
                  </a:lnTo>
                  <a:lnTo>
                    <a:pt x="905" y="918"/>
                  </a:lnTo>
                  <a:lnTo>
                    <a:pt x="905" y="930"/>
                  </a:lnTo>
                  <a:lnTo>
                    <a:pt x="938" y="947"/>
                  </a:lnTo>
                  <a:lnTo>
                    <a:pt x="938" y="954"/>
                  </a:lnTo>
                  <a:lnTo>
                    <a:pt x="909" y="954"/>
                  </a:lnTo>
                  <a:lnTo>
                    <a:pt x="900" y="959"/>
                  </a:lnTo>
                  <a:lnTo>
                    <a:pt x="888" y="987"/>
                  </a:lnTo>
                  <a:lnTo>
                    <a:pt x="850" y="1025"/>
                  </a:lnTo>
                  <a:lnTo>
                    <a:pt x="829" y="1013"/>
                  </a:lnTo>
                  <a:lnTo>
                    <a:pt x="817" y="1008"/>
                  </a:lnTo>
                  <a:lnTo>
                    <a:pt x="829" y="1004"/>
                  </a:lnTo>
                  <a:lnTo>
                    <a:pt x="801" y="987"/>
                  </a:lnTo>
                  <a:lnTo>
                    <a:pt x="813" y="970"/>
                  </a:lnTo>
                  <a:lnTo>
                    <a:pt x="801" y="959"/>
                  </a:lnTo>
                  <a:lnTo>
                    <a:pt x="801" y="954"/>
                  </a:lnTo>
                  <a:lnTo>
                    <a:pt x="829" y="930"/>
                  </a:lnTo>
                  <a:lnTo>
                    <a:pt x="817" y="918"/>
                  </a:lnTo>
                  <a:lnTo>
                    <a:pt x="801" y="930"/>
                  </a:lnTo>
                  <a:lnTo>
                    <a:pt x="775" y="914"/>
                  </a:lnTo>
                  <a:lnTo>
                    <a:pt x="742" y="918"/>
                  </a:lnTo>
                  <a:lnTo>
                    <a:pt x="737" y="930"/>
                  </a:lnTo>
                  <a:lnTo>
                    <a:pt x="725" y="930"/>
                  </a:lnTo>
                  <a:lnTo>
                    <a:pt x="737" y="930"/>
                  </a:lnTo>
                  <a:lnTo>
                    <a:pt x="725" y="947"/>
                  </a:lnTo>
                  <a:lnTo>
                    <a:pt x="704" y="937"/>
                  </a:lnTo>
                  <a:lnTo>
                    <a:pt x="683" y="954"/>
                  </a:lnTo>
                  <a:lnTo>
                    <a:pt x="671" y="947"/>
                  </a:lnTo>
                  <a:lnTo>
                    <a:pt x="671" y="954"/>
                  </a:lnTo>
                  <a:lnTo>
                    <a:pt x="666" y="959"/>
                  </a:lnTo>
                  <a:lnTo>
                    <a:pt x="666" y="954"/>
                  </a:lnTo>
                  <a:lnTo>
                    <a:pt x="650" y="954"/>
                  </a:lnTo>
                  <a:lnTo>
                    <a:pt x="628" y="959"/>
                  </a:lnTo>
                  <a:lnTo>
                    <a:pt x="628" y="954"/>
                  </a:lnTo>
                  <a:lnTo>
                    <a:pt x="612" y="954"/>
                  </a:lnTo>
                  <a:lnTo>
                    <a:pt x="602" y="959"/>
                  </a:lnTo>
                  <a:lnTo>
                    <a:pt x="595" y="992"/>
                  </a:lnTo>
                  <a:lnTo>
                    <a:pt x="586" y="1004"/>
                  </a:lnTo>
                  <a:lnTo>
                    <a:pt x="586" y="987"/>
                  </a:lnTo>
                  <a:lnTo>
                    <a:pt x="574" y="975"/>
                  </a:lnTo>
                  <a:lnTo>
                    <a:pt x="532" y="987"/>
                  </a:lnTo>
                  <a:lnTo>
                    <a:pt x="520" y="975"/>
                  </a:lnTo>
                  <a:lnTo>
                    <a:pt x="510" y="987"/>
                  </a:lnTo>
                  <a:lnTo>
                    <a:pt x="510" y="947"/>
                  </a:lnTo>
                  <a:lnTo>
                    <a:pt x="548" y="947"/>
                  </a:lnTo>
                  <a:lnTo>
                    <a:pt x="557" y="930"/>
                  </a:lnTo>
                  <a:lnTo>
                    <a:pt x="579" y="918"/>
                  </a:lnTo>
                  <a:lnTo>
                    <a:pt x="633" y="876"/>
                  </a:lnTo>
                  <a:lnTo>
                    <a:pt x="633" y="864"/>
                  </a:lnTo>
                  <a:lnTo>
                    <a:pt x="666" y="848"/>
                  </a:lnTo>
                  <a:lnTo>
                    <a:pt x="687" y="859"/>
                  </a:lnTo>
                  <a:lnTo>
                    <a:pt x="742" y="848"/>
                  </a:lnTo>
                  <a:lnTo>
                    <a:pt x="763" y="843"/>
                  </a:lnTo>
                  <a:lnTo>
                    <a:pt x="796" y="843"/>
                  </a:lnTo>
                  <a:lnTo>
                    <a:pt x="813" y="836"/>
                  </a:lnTo>
                  <a:lnTo>
                    <a:pt x="817" y="843"/>
                  </a:lnTo>
                  <a:lnTo>
                    <a:pt x="813" y="848"/>
                  </a:lnTo>
                  <a:lnTo>
                    <a:pt x="829" y="859"/>
                  </a:lnTo>
                  <a:lnTo>
                    <a:pt x="817" y="848"/>
                  </a:lnTo>
                  <a:lnTo>
                    <a:pt x="829" y="848"/>
                  </a:lnTo>
                  <a:lnTo>
                    <a:pt x="834" y="859"/>
                  </a:lnTo>
                  <a:lnTo>
                    <a:pt x="850" y="859"/>
                  </a:lnTo>
                  <a:lnTo>
                    <a:pt x="872" y="836"/>
                  </a:lnTo>
                  <a:lnTo>
                    <a:pt x="872" y="843"/>
                  </a:lnTo>
                  <a:lnTo>
                    <a:pt x="872" y="836"/>
                  </a:lnTo>
                  <a:lnTo>
                    <a:pt x="867" y="819"/>
                  </a:lnTo>
                  <a:lnTo>
                    <a:pt x="921" y="753"/>
                  </a:lnTo>
                  <a:lnTo>
                    <a:pt x="921" y="737"/>
                  </a:lnTo>
                  <a:lnTo>
                    <a:pt x="921" y="715"/>
                  </a:lnTo>
                  <a:lnTo>
                    <a:pt x="926" y="699"/>
                  </a:lnTo>
                  <a:lnTo>
                    <a:pt x="964" y="692"/>
                  </a:lnTo>
                  <a:lnTo>
                    <a:pt x="964" y="699"/>
                  </a:lnTo>
                  <a:lnTo>
                    <a:pt x="943" y="715"/>
                  </a:lnTo>
                  <a:lnTo>
                    <a:pt x="938" y="715"/>
                  </a:lnTo>
                  <a:lnTo>
                    <a:pt x="926" y="725"/>
                  </a:lnTo>
                  <a:lnTo>
                    <a:pt x="943" y="732"/>
                  </a:lnTo>
                  <a:lnTo>
                    <a:pt x="943" y="748"/>
                  </a:lnTo>
                  <a:lnTo>
                    <a:pt x="959" y="753"/>
                  </a:lnTo>
                  <a:lnTo>
                    <a:pt x="976" y="737"/>
                  </a:lnTo>
                  <a:lnTo>
                    <a:pt x="1030" y="715"/>
                  </a:lnTo>
                  <a:lnTo>
                    <a:pt x="1051" y="699"/>
                  </a:lnTo>
                  <a:lnTo>
                    <a:pt x="1068" y="670"/>
                  </a:lnTo>
                  <a:lnTo>
                    <a:pt x="1115" y="637"/>
                  </a:lnTo>
                  <a:lnTo>
                    <a:pt x="1115" y="614"/>
                  </a:lnTo>
                  <a:lnTo>
                    <a:pt x="1136" y="581"/>
                  </a:lnTo>
                  <a:lnTo>
                    <a:pt x="1153" y="531"/>
                  </a:lnTo>
                  <a:lnTo>
                    <a:pt x="1153" y="503"/>
                  </a:lnTo>
                  <a:lnTo>
                    <a:pt x="1127" y="486"/>
                  </a:lnTo>
                  <a:lnTo>
                    <a:pt x="1127" y="486"/>
                  </a:lnTo>
                  <a:lnTo>
                    <a:pt x="1143" y="486"/>
                  </a:lnTo>
                  <a:lnTo>
                    <a:pt x="1153" y="460"/>
                  </a:lnTo>
                  <a:lnTo>
                    <a:pt x="1136" y="432"/>
                  </a:lnTo>
                  <a:lnTo>
                    <a:pt x="1153" y="415"/>
                  </a:lnTo>
                  <a:lnTo>
                    <a:pt x="1169" y="415"/>
                  </a:lnTo>
                  <a:lnTo>
                    <a:pt x="1174" y="375"/>
                  </a:lnTo>
                  <a:lnTo>
                    <a:pt x="1198" y="382"/>
                  </a:lnTo>
                  <a:lnTo>
                    <a:pt x="1198" y="415"/>
                  </a:lnTo>
                  <a:lnTo>
                    <a:pt x="1207" y="404"/>
                  </a:lnTo>
                  <a:lnTo>
                    <a:pt x="1212" y="399"/>
                  </a:lnTo>
                  <a:lnTo>
                    <a:pt x="1228" y="404"/>
                  </a:lnTo>
                  <a:lnTo>
                    <a:pt x="1235" y="404"/>
                  </a:lnTo>
                  <a:lnTo>
                    <a:pt x="1235" y="382"/>
                  </a:lnTo>
                  <a:lnTo>
                    <a:pt x="1235" y="375"/>
                  </a:lnTo>
                  <a:lnTo>
                    <a:pt x="1207" y="382"/>
                  </a:lnTo>
                  <a:lnTo>
                    <a:pt x="1212" y="349"/>
                  </a:lnTo>
                  <a:lnTo>
                    <a:pt x="1235" y="366"/>
                  </a:lnTo>
                  <a:lnTo>
                    <a:pt x="1250" y="366"/>
                  </a:lnTo>
                  <a:lnTo>
                    <a:pt x="1245" y="382"/>
                  </a:lnTo>
                  <a:lnTo>
                    <a:pt x="1250" y="432"/>
                  </a:lnTo>
                  <a:lnTo>
                    <a:pt x="1278" y="460"/>
                  </a:lnTo>
                  <a:lnTo>
                    <a:pt x="1299" y="515"/>
                  </a:lnTo>
                  <a:lnTo>
                    <a:pt x="1283" y="543"/>
                  </a:lnTo>
                  <a:lnTo>
                    <a:pt x="1283" y="564"/>
                  </a:lnTo>
                  <a:lnTo>
                    <a:pt x="1266" y="564"/>
                  </a:lnTo>
                  <a:lnTo>
                    <a:pt x="1266" y="571"/>
                  </a:lnTo>
                  <a:lnTo>
                    <a:pt x="1261" y="581"/>
                  </a:lnTo>
                  <a:lnTo>
                    <a:pt x="1261" y="626"/>
                  </a:lnTo>
                  <a:lnTo>
                    <a:pt x="1245" y="614"/>
                  </a:lnTo>
                  <a:lnTo>
                    <a:pt x="1228" y="621"/>
                  </a:lnTo>
                  <a:lnTo>
                    <a:pt x="1212" y="637"/>
                  </a:lnTo>
                  <a:lnTo>
                    <a:pt x="1212" y="654"/>
                  </a:lnTo>
                  <a:lnTo>
                    <a:pt x="1224" y="675"/>
                  </a:lnTo>
                  <a:lnTo>
                    <a:pt x="1224" y="699"/>
                  </a:lnTo>
                  <a:lnTo>
                    <a:pt x="1224" y="732"/>
                  </a:lnTo>
                  <a:lnTo>
                    <a:pt x="1207" y="748"/>
                  </a:lnTo>
                  <a:lnTo>
                    <a:pt x="1207" y="748"/>
                  </a:lnTo>
                  <a:lnTo>
                    <a:pt x="1207" y="748"/>
                  </a:lnTo>
                  <a:close/>
                  <a:moveTo>
                    <a:pt x="1044" y="626"/>
                  </a:moveTo>
                  <a:lnTo>
                    <a:pt x="1035" y="642"/>
                  </a:lnTo>
                  <a:lnTo>
                    <a:pt x="1051" y="642"/>
                  </a:lnTo>
                  <a:lnTo>
                    <a:pt x="1044" y="659"/>
                  </a:lnTo>
                  <a:lnTo>
                    <a:pt x="1030" y="670"/>
                  </a:lnTo>
                  <a:lnTo>
                    <a:pt x="1035" y="654"/>
                  </a:lnTo>
                  <a:lnTo>
                    <a:pt x="1030" y="654"/>
                  </a:lnTo>
                  <a:lnTo>
                    <a:pt x="1030" y="642"/>
                  </a:lnTo>
                  <a:lnTo>
                    <a:pt x="1044" y="626"/>
                  </a:lnTo>
                  <a:lnTo>
                    <a:pt x="1044" y="626"/>
                  </a:lnTo>
                  <a:lnTo>
                    <a:pt x="1044" y="626"/>
                  </a:lnTo>
                  <a:close/>
                  <a:moveTo>
                    <a:pt x="683" y="786"/>
                  </a:moveTo>
                  <a:lnTo>
                    <a:pt x="687" y="803"/>
                  </a:lnTo>
                  <a:lnTo>
                    <a:pt x="671" y="803"/>
                  </a:lnTo>
                  <a:lnTo>
                    <a:pt x="671" y="791"/>
                  </a:lnTo>
                  <a:lnTo>
                    <a:pt x="683" y="786"/>
                  </a:lnTo>
                  <a:lnTo>
                    <a:pt x="683" y="786"/>
                  </a:lnTo>
                  <a:lnTo>
                    <a:pt x="683" y="786"/>
                  </a:lnTo>
                  <a:close/>
                  <a:moveTo>
                    <a:pt x="1106" y="914"/>
                  </a:moveTo>
                  <a:lnTo>
                    <a:pt x="1115" y="918"/>
                  </a:lnTo>
                  <a:lnTo>
                    <a:pt x="1106" y="918"/>
                  </a:lnTo>
                  <a:lnTo>
                    <a:pt x="1106" y="914"/>
                  </a:lnTo>
                  <a:lnTo>
                    <a:pt x="1106" y="914"/>
                  </a:lnTo>
                  <a:lnTo>
                    <a:pt x="1106" y="914"/>
                  </a:lnTo>
                  <a:close/>
                  <a:moveTo>
                    <a:pt x="411" y="918"/>
                  </a:moveTo>
                  <a:lnTo>
                    <a:pt x="402" y="954"/>
                  </a:lnTo>
                  <a:lnTo>
                    <a:pt x="397" y="954"/>
                  </a:lnTo>
                  <a:lnTo>
                    <a:pt x="397" y="930"/>
                  </a:lnTo>
                  <a:lnTo>
                    <a:pt x="411" y="918"/>
                  </a:lnTo>
                  <a:lnTo>
                    <a:pt x="411" y="918"/>
                  </a:lnTo>
                  <a:lnTo>
                    <a:pt x="411" y="918"/>
                  </a:lnTo>
                  <a:close/>
                  <a:moveTo>
                    <a:pt x="780" y="959"/>
                  </a:moveTo>
                  <a:lnTo>
                    <a:pt x="775" y="954"/>
                  </a:lnTo>
                  <a:lnTo>
                    <a:pt x="796" y="930"/>
                  </a:lnTo>
                  <a:lnTo>
                    <a:pt x="791" y="947"/>
                  </a:lnTo>
                  <a:lnTo>
                    <a:pt x="796" y="959"/>
                  </a:lnTo>
                  <a:lnTo>
                    <a:pt x="780" y="959"/>
                  </a:lnTo>
                  <a:lnTo>
                    <a:pt x="780" y="959"/>
                  </a:lnTo>
                  <a:lnTo>
                    <a:pt x="780" y="959"/>
                  </a:lnTo>
                  <a:close/>
                  <a:moveTo>
                    <a:pt x="758" y="937"/>
                  </a:moveTo>
                  <a:lnTo>
                    <a:pt x="746" y="947"/>
                  </a:lnTo>
                  <a:lnTo>
                    <a:pt x="742" y="937"/>
                  </a:lnTo>
                  <a:lnTo>
                    <a:pt x="758" y="937"/>
                  </a:lnTo>
                  <a:lnTo>
                    <a:pt x="758" y="937"/>
                  </a:lnTo>
                  <a:lnTo>
                    <a:pt x="758" y="937"/>
                  </a:lnTo>
                  <a:close/>
                  <a:moveTo>
                    <a:pt x="746" y="1013"/>
                  </a:moveTo>
                  <a:lnTo>
                    <a:pt x="742" y="1041"/>
                  </a:lnTo>
                  <a:lnTo>
                    <a:pt x="725" y="1025"/>
                  </a:lnTo>
                  <a:lnTo>
                    <a:pt x="709" y="1013"/>
                  </a:lnTo>
                  <a:lnTo>
                    <a:pt x="683" y="1029"/>
                  </a:lnTo>
                  <a:lnTo>
                    <a:pt x="671" y="1041"/>
                  </a:lnTo>
                  <a:lnTo>
                    <a:pt x="657" y="1058"/>
                  </a:lnTo>
                  <a:lnTo>
                    <a:pt x="657" y="1081"/>
                  </a:lnTo>
                  <a:lnTo>
                    <a:pt x="633" y="1081"/>
                  </a:lnTo>
                  <a:lnTo>
                    <a:pt x="640" y="1065"/>
                  </a:lnTo>
                  <a:lnTo>
                    <a:pt x="619" y="1065"/>
                  </a:lnTo>
                  <a:lnTo>
                    <a:pt x="628" y="1041"/>
                  </a:lnTo>
                  <a:lnTo>
                    <a:pt x="612" y="1029"/>
                  </a:lnTo>
                  <a:lnTo>
                    <a:pt x="612" y="1025"/>
                  </a:lnTo>
                  <a:lnTo>
                    <a:pt x="586" y="1029"/>
                  </a:lnTo>
                  <a:lnTo>
                    <a:pt x="633" y="1008"/>
                  </a:lnTo>
                  <a:lnTo>
                    <a:pt x="650" y="970"/>
                  </a:lnTo>
                  <a:lnTo>
                    <a:pt x="666" y="987"/>
                  </a:lnTo>
                  <a:lnTo>
                    <a:pt x="694" y="987"/>
                  </a:lnTo>
                  <a:lnTo>
                    <a:pt x="704" y="959"/>
                  </a:lnTo>
                  <a:lnTo>
                    <a:pt x="720" y="954"/>
                  </a:lnTo>
                  <a:lnTo>
                    <a:pt x="737" y="947"/>
                  </a:lnTo>
                  <a:lnTo>
                    <a:pt x="758" y="959"/>
                  </a:lnTo>
                  <a:lnTo>
                    <a:pt x="763" y="959"/>
                  </a:lnTo>
                  <a:lnTo>
                    <a:pt x="775" y="975"/>
                  </a:lnTo>
                  <a:lnTo>
                    <a:pt x="780" y="992"/>
                  </a:lnTo>
                  <a:lnTo>
                    <a:pt x="746" y="1013"/>
                  </a:lnTo>
                  <a:lnTo>
                    <a:pt x="746" y="1013"/>
                  </a:lnTo>
                  <a:lnTo>
                    <a:pt x="746" y="1013"/>
                  </a:lnTo>
                  <a:close/>
                  <a:moveTo>
                    <a:pt x="402" y="959"/>
                  </a:moveTo>
                  <a:lnTo>
                    <a:pt x="385" y="970"/>
                  </a:lnTo>
                  <a:lnTo>
                    <a:pt x="397" y="954"/>
                  </a:lnTo>
                  <a:lnTo>
                    <a:pt x="402" y="959"/>
                  </a:lnTo>
                  <a:lnTo>
                    <a:pt x="402" y="959"/>
                  </a:lnTo>
                  <a:lnTo>
                    <a:pt x="402" y="959"/>
                  </a:lnTo>
                  <a:close/>
                  <a:moveTo>
                    <a:pt x="657" y="954"/>
                  </a:moveTo>
                  <a:lnTo>
                    <a:pt x="666" y="959"/>
                  </a:lnTo>
                  <a:lnTo>
                    <a:pt x="657" y="959"/>
                  </a:lnTo>
                  <a:lnTo>
                    <a:pt x="657" y="954"/>
                  </a:lnTo>
                  <a:lnTo>
                    <a:pt x="657" y="954"/>
                  </a:lnTo>
                  <a:lnTo>
                    <a:pt x="657" y="954"/>
                  </a:lnTo>
                  <a:close/>
                  <a:moveTo>
                    <a:pt x="628" y="959"/>
                  </a:moveTo>
                  <a:lnTo>
                    <a:pt x="619" y="970"/>
                  </a:lnTo>
                  <a:lnTo>
                    <a:pt x="619" y="959"/>
                  </a:lnTo>
                  <a:lnTo>
                    <a:pt x="628" y="959"/>
                  </a:lnTo>
                  <a:lnTo>
                    <a:pt x="628" y="959"/>
                  </a:lnTo>
                  <a:lnTo>
                    <a:pt x="628" y="959"/>
                  </a:lnTo>
                  <a:close/>
                  <a:moveTo>
                    <a:pt x="628" y="970"/>
                  </a:moveTo>
                  <a:lnTo>
                    <a:pt x="628" y="975"/>
                  </a:lnTo>
                  <a:lnTo>
                    <a:pt x="619" y="970"/>
                  </a:lnTo>
                  <a:lnTo>
                    <a:pt x="628" y="970"/>
                  </a:lnTo>
                  <a:lnTo>
                    <a:pt x="628" y="970"/>
                  </a:lnTo>
                  <a:lnTo>
                    <a:pt x="628" y="970"/>
                  </a:lnTo>
                  <a:close/>
                  <a:moveTo>
                    <a:pt x="532" y="1008"/>
                  </a:moveTo>
                  <a:lnTo>
                    <a:pt x="548" y="1013"/>
                  </a:lnTo>
                  <a:lnTo>
                    <a:pt x="557" y="1008"/>
                  </a:lnTo>
                  <a:lnTo>
                    <a:pt x="565" y="1008"/>
                  </a:lnTo>
                  <a:lnTo>
                    <a:pt x="574" y="1025"/>
                  </a:lnTo>
                  <a:lnTo>
                    <a:pt x="557" y="1029"/>
                  </a:lnTo>
                  <a:lnTo>
                    <a:pt x="557" y="1041"/>
                  </a:lnTo>
                  <a:lnTo>
                    <a:pt x="579" y="1041"/>
                  </a:lnTo>
                  <a:lnTo>
                    <a:pt x="574" y="1046"/>
                  </a:lnTo>
                  <a:lnTo>
                    <a:pt x="586" y="1070"/>
                  </a:lnTo>
                  <a:lnTo>
                    <a:pt x="565" y="1098"/>
                  </a:lnTo>
                  <a:lnTo>
                    <a:pt x="541" y="1190"/>
                  </a:lnTo>
                  <a:lnTo>
                    <a:pt x="527" y="1181"/>
                  </a:lnTo>
                  <a:lnTo>
                    <a:pt x="520" y="1190"/>
                  </a:lnTo>
                  <a:lnTo>
                    <a:pt x="527" y="1197"/>
                  </a:lnTo>
                  <a:lnTo>
                    <a:pt x="494" y="1226"/>
                  </a:lnTo>
                  <a:lnTo>
                    <a:pt x="503" y="1190"/>
                  </a:lnTo>
                  <a:lnTo>
                    <a:pt x="489" y="1174"/>
                  </a:lnTo>
                  <a:lnTo>
                    <a:pt x="503" y="1174"/>
                  </a:lnTo>
                  <a:lnTo>
                    <a:pt x="503" y="1169"/>
                  </a:lnTo>
                  <a:lnTo>
                    <a:pt x="494" y="1157"/>
                  </a:lnTo>
                  <a:lnTo>
                    <a:pt x="489" y="1174"/>
                  </a:lnTo>
                  <a:lnTo>
                    <a:pt x="494" y="1209"/>
                  </a:lnTo>
                  <a:lnTo>
                    <a:pt x="465" y="1197"/>
                  </a:lnTo>
                  <a:lnTo>
                    <a:pt x="472" y="1169"/>
                  </a:lnTo>
                  <a:lnTo>
                    <a:pt x="456" y="1157"/>
                  </a:lnTo>
                  <a:lnTo>
                    <a:pt x="456" y="1136"/>
                  </a:lnTo>
                  <a:lnTo>
                    <a:pt x="489" y="1103"/>
                  </a:lnTo>
                  <a:lnTo>
                    <a:pt x="489" y="1086"/>
                  </a:lnTo>
                  <a:lnTo>
                    <a:pt x="477" y="1086"/>
                  </a:lnTo>
                  <a:lnTo>
                    <a:pt x="489" y="1081"/>
                  </a:lnTo>
                  <a:lnTo>
                    <a:pt x="477" y="1065"/>
                  </a:lnTo>
                  <a:lnTo>
                    <a:pt x="477" y="1058"/>
                  </a:lnTo>
                  <a:lnTo>
                    <a:pt x="465" y="1046"/>
                  </a:lnTo>
                  <a:lnTo>
                    <a:pt x="456" y="1046"/>
                  </a:lnTo>
                  <a:lnTo>
                    <a:pt x="465" y="1065"/>
                  </a:lnTo>
                  <a:lnTo>
                    <a:pt x="456" y="1070"/>
                  </a:lnTo>
                  <a:lnTo>
                    <a:pt x="472" y="1070"/>
                  </a:lnTo>
                  <a:lnTo>
                    <a:pt x="472" y="1086"/>
                  </a:lnTo>
                  <a:lnTo>
                    <a:pt x="456" y="1098"/>
                  </a:lnTo>
                  <a:lnTo>
                    <a:pt x="456" y="1086"/>
                  </a:lnTo>
                  <a:lnTo>
                    <a:pt x="465" y="1081"/>
                  </a:lnTo>
                  <a:lnTo>
                    <a:pt x="456" y="1081"/>
                  </a:lnTo>
                  <a:lnTo>
                    <a:pt x="435" y="1098"/>
                  </a:lnTo>
                  <a:lnTo>
                    <a:pt x="439" y="1081"/>
                  </a:lnTo>
                  <a:lnTo>
                    <a:pt x="423" y="1070"/>
                  </a:lnTo>
                  <a:lnTo>
                    <a:pt x="423" y="1058"/>
                  </a:lnTo>
                  <a:lnTo>
                    <a:pt x="435" y="1065"/>
                  </a:lnTo>
                  <a:lnTo>
                    <a:pt x="435" y="1070"/>
                  </a:lnTo>
                  <a:lnTo>
                    <a:pt x="451" y="1070"/>
                  </a:lnTo>
                  <a:lnTo>
                    <a:pt x="439" y="1058"/>
                  </a:lnTo>
                  <a:lnTo>
                    <a:pt x="418" y="1041"/>
                  </a:lnTo>
                  <a:lnTo>
                    <a:pt x="418" y="1029"/>
                  </a:lnTo>
                  <a:lnTo>
                    <a:pt x="435" y="1029"/>
                  </a:lnTo>
                  <a:lnTo>
                    <a:pt x="439" y="1013"/>
                  </a:lnTo>
                  <a:lnTo>
                    <a:pt x="451" y="1025"/>
                  </a:lnTo>
                  <a:lnTo>
                    <a:pt x="465" y="1008"/>
                  </a:lnTo>
                  <a:lnTo>
                    <a:pt x="472" y="1008"/>
                  </a:lnTo>
                  <a:lnTo>
                    <a:pt x="477" y="992"/>
                  </a:lnTo>
                  <a:lnTo>
                    <a:pt x="494" y="987"/>
                  </a:lnTo>
                  <a:lnTo>
                    <a:pt x="520" y="987"/>
                  </a:lnTo>
                  <a:lnTo>
                    <a:pt x="527" y="1008"/>
                  </a:lnTo>
                  <a:lnTo>
                    <a:pt x="532" y="1008"/>
                  </a:lnTo>
                  <a:lnTo>
                    <a:pt x="532" y="1008"/>
                  </a:lnTo>
                  <a:lnTo>
                    <a:pt x="532" y="1008"/>
                  </a:lnTo>
                  <a:close/>
                  <a:moveTo>
                    <a:pt x="423" y="1004"/>
                  </a:moveTo>
                  <a:lnTo>
                    <a:pt x="423" y="1004"/>
                  </a:lnTo>
                  <a:lnTo>
                    <a:pt x="423" y="992"/>
                  </a:lnTo>
                  <a:lnTo>
                    <a:pt x="435" y="1004"/>
                  </a:lnTo>
                  <a:lnTo>
                    <a:pt x="423" y="1004"/>
                  </a:lnTo>
                  <a:lnTo>
                    <a:pt x="423" y="1004"/>
                  </a:lnTo>
                  <a:lnTo>
                    <a:pt x="423" y="1004"/>
                  </a:lnTo>
                  <a:close/>
                  <a:moveTo>
                    <a:pt x="418" y="1029"/>
                  </a:moveTo>
                  <a:lnTo>
                    <a:pt x="402" y="1046"/>
                  </a:lnTo>
                  <a:lnTo>
                    <a:pt x="418" y="1025"/>
                  </a:lnTo>
                  <a:lnTo>
                    <a:pt x="418" y="1029"/>
                  </a:lnTo>
                  <a:lnTo>
                    <a:pt x="418" y="1029"/>
                  </a:lnTo>
                  <a:lnTo>
                    <a:pt x="418" y="1029"/>
                  </a:lnTo>
                  <a:close/>
                  <a:moveTo>
                    <a:pt x="385" y="1058"/>
                  </a:moveTo>
                  <a:lnTo>
                    <a:pt x="385" y="1065"/>
                  </a:lnTo>
                  <a:lnTo>
                    <a:pt x="385" y="1065"/>
                  </a:lnTo>
                  <a:lnTo>
                    <a:pt x="380" y="1070"/>
                  </a:lnTo>
                  <a:lnTo>
                    <a:pt x="380" y="1065"/>
                  </a:lnTo>
                  <a:lnTo>
                    <a:pt x="385" y="1046"/>
                  </a:lnTo>
                  <a:lnTo>
                    <a:pt x="385" y="1058"/>
                  </a:lnTo>
                  <a:lnTo>
                    <a:pt x="385" y="1058"/>
                  </a:lnTo>
                  <a:lnTo>
                    <a:pt x="385" y="1058"/>
                  </a:lnTo>
                  <a:close/>
                  <a:moveTo>
                    <a:pt x="359" y="1081"/>
                  </a:moveTo>
                  <a:lnTo>
                    <a:pt x="359" y="1081"/>
                  </a:lnTo>
                  <a:lnTo>
                    <a:pt x="364" y="1081"/>
                  </a:lnTo>
                  <a:lnTo>
                    <a:pt x="369" y="1086"/>
                  </a:lnTo>
                  <a:lnTo>
                    <a:pt x="347" y="1086"/>
                  </a:lnTo>
                  <a:lnTo>
                    <a:pt x="359" y="1081"/>
                  </a:lnTo>
                  <a:lnTo>
                    <a:pt x="359" y="1081"/>
                  </a:lnTo>
                  <a:lnTo>
                    <a:pt x="359" y="1081"/>
                  </a:lnTo>
                  <a:close/>
                  <a:moveTo>
                    <a:pt x="451" y="1124"/>
                  </a:moveTo>
                  <a:lnTo>
                    <a:pt x="451" y="1103"/>
                  </a:lnTo>
                  <a:lnTo>
                    <a:pt x="456" y="1098"/>
                  </a:lnTo>
                  <a:lnTo>
                    <a:pt x="465" y="1115"/>
                  </a:lnTo>
                  <a:lnTo>
                    <a:pt x="451" y="1124"/>
                  </a:lnTo>
                  <a:lnTo>
                    <a:pt x="451" y="1124"/>
                  </a:lnTo>
                  <a:lnTo>
                    <a:pt x="451" y="1124"/>
                  </a:lnTo>
                  <a:close/>
                  <a:moveTo>
                    <a:pt x="465" y="1103"/>
                  </a:moveTo>
                  <a:lnTo>
                    <a:pt x="477" y="1098"/>
                  </a:lnTo>
                  <a:lnTo>
                    <a:pt x="472" y="1115"/>
                  </a:lnTo>
                  <a:lnTo>
                    <a:pt x="465" y="1103"/>
                  </a:lnTo>
                  <a:lnTo>
                    <a:pt x="465" y="1103"/>
                  </a:lnTo>
                  <a:lnTo>
                    <a:pt x="465" y="1103"/>
                  </a:lnTo>
                  <a:close/>
                  <a:moveTo>
                    <a:pt x="456" y="1124"/>
                  </a:moveTo>
                  <a:lnTo>
                    <a:pt x="465" y="1124"/>
                  </a:lnTo>
                  <a:lnTo>
                    <a:pt x="456" y="1124"/>
                  </a:lnTo>
                  <a:lnTo>
                    <a:pt x="456" y="1124"/>
                  </a:lnTo>
                  <a:lnTo>
                    <a:pt x="456" y="1124"/>
                  </a:lnTo>
                  <a:lnTo>
                    <a:pt x="456" y="1124"/>
                  </a:lnTo>
                  <a:close/>
                  <a:moveTo>
                    <a:pt x="423" y="1169"/>
                  </a:moveTo>
                  <a:lnTo>
                    <a:pt x="435" y="1157"/>
                  </a:lnTo>
                  <a:lnTo>
                    <a:pt x="423" y="1169"/>
                  </a:lnTo>
                  <a:lnTo>
                    <a:pt x="423" y="1169"/>
                  </a:lnTo>
                  <a:lnTo>
                    <a:pt x="423" y="1169"/>
                  </a:lnTo>
                  <a:lnTo>
                    <a:pt x="423" y="1169"/>
                  </a:lnTo>
                  <a:close/>
                  <a:moveTo>
                    <a:pt x="527" y="1230"/>
                  </a:moveTo>
                  <a:lnTo>
                    <a:pt x="520" y="1268"/>
                  </a:lnTo>
                  <a:lnTo>
                    <a:pt x="510" y="1268"/>
                  </a:lnTo>
                  <a:lnTo>
                    <a:pt x="510" y="1247"/>
                  </a:lnTo>
                  <a:lnTo>
                    <a:pt x="527" y="1230"/>
                  </a:lnTo>
                  <a:lnTo>
                    <a:pt x="527" y="1230"/>
                  </a:lnTo>
                  <a:lnTo>
                    <a:pt x="527" y="1230"/>
                  </a:lnTo>
                  <a:close/>
                  <a:moveTo>
                    <a:pt x="489" y="1263"/>
                  </a:moveTo>
                  <a:lnTo>
                    <a:pt x="494" y="1268"/>
                  </a:lnTo>
                  <a:lnTo>
                    <a:pt x="489" y="1280"/>
                  </a:lnTo>
                  <a:lnTo>
                    <a:pt x="477" y="1280"/>
                  </a:lnTo>
                  <a:lnTo>
                    <a:pt x="472" y="1268"/>
                  </a:lnTo>
                  <a:lnTo>
                    <a:pt x="489" y="1263"/>
                  </a:lnTo>
                  <a:lnTo>
                    <a:pt x="489" y="1263"/>
                  </a:lnTo>
                  <a:lnTo>
                    <a:pt x="489" y="1263"/>
                  </a:lnTo>
                  <a:close/>
                  <a:moveTo>
                    <a:pt x="423" y="1412"/>
                  </a:moveTo>
                  <a:lnTo>
                    <a:pt x="423" y="1419"/>
                  </a:lnTo>
                  <a:lnTo>
                    <a:pt x="402" y="1445"/>
                  </a:lnTo>
                  <a:lnTo>
                    <a:pt x="385" y="1436"/>
                  </a:lnTo>
                  <a:lnTo>
                    <a:pt x="423" y="1412"/>
                  </a:lnTo>
                  <a:lnTo>
                    <a:pt x="423" y="1412"/>
                  </a:lnTo>
                  <a:lnTo>
                    <a:pt x="423" y="1412"/>
                  </a:lnTo>
                  <a:close/>
                  <a:moveTo>
                    <a:pt x="397" y="1436"/>
                  </a:moveTo>
                  <a:lnTo>
                    <a:pt x="402" y="1445"/>
                  </a:lnTo>
                  <a:lnTo>
                    <a:pt x="397" y="1445"/>
                  </a:lnTo>
                  <a:lnTo>
                    <a:pt x="397" y="1436"/>
                  </a:lnTo>
                  <a:lnTo>
                    <a:pt x="397" y="1436"/>
                  </a:lnTo>
                  <a:lnTo>
                    <a:pt x="397" y="1436"/>
                  </a:lnTo>
                  <a:close/>
                  <a:moveTo>
                    <a:pt x="369" y="1457"/>
                  </a:moveTo>
                  <a:lnTo>
                    <a:pt x="380" y="1474"/>
                  </a:lnTo>
                  <a:lnTo>
                    <a:pt x="369" y="1485"/>
                  </a:lnTo>
                  <a:lnTo>
                    <a:pt x="369" y="1469"/>
                  </a:lnTo>
                  <a:lnTo>
                    <a:pt x="369" y="1457"/>
                  </a:lnTo>
                  <a:lnTo>
                    <a:pt x="369" y="1457"/>
                  </a:lnTo>
                  <a:lnTo>
                    <a:pt x="369" y="1457"/>
                  </a:lnTo>
                  <a:close/>
                  <a:moveTo>
                    <a:pt x="347" y="1502"/>
                  </a:moveTo>
                  <a:lnTo>
                    <a:pt x="359" y="1502"/>
                  </a:lnTo>
                  <a:lnTo>
                    <a:pt x="347" y="1507"/>
                  </a:lnTo>
                  <a:lnTo>
                    <a:pt x="347" y="1502"/>
                  </a:lnTo>
                  <a:lnTo>
                    <a:pt x="347" y="1502"/>
                  </a:lnTo>
                  <a:lnTo>
                    <a:pt x="347" y="1502"/>
                  </a:lnTo>
                  <a:close/>
                  <a:moveTo>
                    <a:pt x="326" y="1547"/>
                  </a:moveTo>
                  <a:lnTo>
                    <a:pt x="331" y="1547"/>
                  </a:lnTo>
                  <a:lnTo>
                    <a:pt x="326" y="1556"/>
                  </a:lnTo>
                  <a:lnTo>
                    <a:pt x="293" y="1580"/>
                  </a:lnTo>
                  <a:lnTo>
                    <a:pt x="293" y="1596"/>
                  </a:lnTo>
                  <a:lnTo>
                    <a:pt x="288" y="1601"/>
                  </a:lnTo>
                  <a:lnTo>
                    <a:pt x="288" y="1580"/>
                  </a:lnTo>
                  <a:lnTo>
                    <a:pt x="305" y="1568"/>
                  </a:lnTo>
                  <a:lnTo>
                    <a:pt x="305" y="1556"/>
                  </a:lnTo>
                  <a:lnTo>
                    <a:pt x="309" y="1563"/>
                  </a:lnTo>
                  <a:lnTo>
                    <a:pt x="326" y="1547"/>
                  </a:lnTo>
                  <a:lnTo>
                    <a:pt x="326" y="1547"/>
                  </a:lnTo>
                  <a:lnTo>
                    <a:pt x="326" y="1547"/>
                  </a:lnTo>
                  <a:close/>
                  <a:moveTo>
                    <a:pt x="217" y="1580"/>
                  </a:moveTo>
                  <a:lnTo>
                    <a:pt x="222" y="1585"/>
                  </a:lnTo>
                  <a:lnTo>
                    <a:pt x="217" y="1580"/>
                  </a:lnTo>
                  <a:lnTo>
                    <a:pt x="217" y="1580"/>
                  </a:lnTo>
                  <a:lnTo>
                    <a:pt x="217" y="1580"/>
                  </a:lnTo>
                  <a:lnTo>
                    <a:pt x="217" y="1580"/>
                  </a:lnTo>
                  <a:close/>
                  <a:moveTo>
                    <a:pt x="116" y="1696"/>
                  </a:moveTo>
                  <a:lnTo>
                    <a:pt x="125" y="1707"/>
                  </a:lnTo>
                  <a:lnTo>
                    <a:pt x="116" y="1707"/>
                  </a:lnTo>
                  <a:lnTo>
                    <a:pt x="116" y="1696"/>
                  </a:lnTo>
                  <a:lnTo>
                    <a:pt x="116" y="1696"/>
                  </a:lnTo>
                  <a:lnTo>
                    <a:pt x="116" y="1696"/>
                  </a:lnTo>
                  <a:close/>
                  <a:moveTo>
                    <a:pt x="33" y="1729"/>
                  </a:moveTo>
                  <a:lnTo>
                    <a:pt x="40" y="1729"/>
                  </a:lnTo>
                  <a:lnTo>
                    <a:pt x="45" y="1724"/>
                  </a:lnTo>
                  <a:lnTo>
                    <a:pt x="40" y="1736"/>
                  </a:lnTo>
                  <a:lnTo>
                    <a:pt x="33" y="1736"/>
                  </a:lnTo>
                  <a:lnTo>
                    <a:pt x="33" y="1729"/>
                  </a:lnTo>
                  <a:lnTo>
                    <a:pt x="33" y="1729"/>
                  </a:lnTo>
                  <a:lnTo>
                    <a:pt x="33" y="1729"/>
                  </a:lnTo>
                  <a:close/>
                  <a:moveTo>
                    <a:pt x="7" y="1729"/>
                  </a:moveTo>
                  <a:lnTo>
                    <a:pt x="24" y="1736"/>
                  </a:lnTo>
                  <a:lnTo>
                    <a:pt x="17" y="1745"/>
                  </a:lnTo>
                  <a:lnTo>
                    <a:pt x="0" y="1736"/>
                  </a:lnTo>
                  <a:lnTo>
                    <a:pt x="7" y="1729"/>
                  </a:lnTo>
                  <a:lnTo>
                    <a:pt x="7" y="1729"/>
                  </a:lnTo>
                  <a:lnTo>
                    <a:pt x="7" y="172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7" name="Freeform 477">
              <a:extLst>
                <a:ext uri="{FF2B5EF4-FFF2-40B4-BE49-F238E27FC236}">
                  <a16:creationId xmlns:a16="http://schemas.microsoft.com/office/drawing/2014/main" id="{3CD9A3AB-3572-4C95-8C0E-118DFC9E4A38}"/>
                </a:ext>
              </a:extLst>
            </p:cNvPr>
            <p:cNvSpPr>
              <a:spLocks/>
            </p:cNvSpPr>
            <p:nvPr/>
          </p:nvSpPr>
          <p:spPr bwMode="gray">
            <a:xfrm>
              <a:off x="13693435" y="2848750"/>
              <a:ext cx="5237" cy="3273"/>
            </a:xfrm>
            <a:custGeom>
              <a:avLst/>
              <a:gdLst>
                <a:gd name="T0" fmla="*/ 9 w 16"/>
                <a:gd name="T1" fmla="*/ 10 h 10"/>
                <a:gd name="T2" fmla="*/ 0 w 16"/>
                <a:gd name="T3" fmla="*/ 0 h 10"/>
                <a:gd name="T4" fmla="*/ 16 w 16"/>
                <a:gd name="T5" fmla="*/ 0 h 10"/>
                <a:gd name="T6" fmla="*/ 9 w 16"/>
                <a:gd name="T7" fmla="*/ 10 h 10"/>
                <a:gd name="T8" fmla="*/ 9 w 16"/>
                <a:gd name="T9" fmla="*/ 10 h 10"/>
                <a:gd name="T10" fmla="*/ 9 w 16"/>
                <a:gd name="T11" fmla="*/ 10 h 10"/>
              </a:gdLst>
              <a:ahLst/>
              <a:cxnLst>
                <a:cxn ang="0">
                  <a:pos x="T0" y="T1"/>
                </a:cxn>
                <a:cxn ang="0">
                  <a:pos x="T2" y="T3"/>
                </a:cxn>
                <a:cxn ang="0">
                  <a:pos x="T4" y="T5"/>
                </a:cxn>
                <a:cxn ang="0">
                  <a:pos x="T6" y="T7"/>
                </a:cxn>
                <a:cxn ang="0">
                  <a:pos x="T8" y="T9"/>
                </a:cxn>
                <a:cxn ang="0">
                  <a:pos x="T10" y="T11"/>
                </a:cxn>
              </a:cxnLst>
              <a:rect l="0" t="0" r="r" b="b"/>
              <a:pathLst>
                <a:path w="16" h="10">
                  <a:moveTo>
                    <a:pt x="9" y="10"/>
                  </a:moveTo>
                  <a:lnTo>
                    <a:pt x="0" y="0"/>
                  </a:lnTo>
                  <a:lnTo>
                    <a:pt x="16" y="0"/>
                  </a:lnTo>
                  <a:lnTo>
                    <a:pt x="9" y="10"/>
                  </a:lnTo>
                  <a:lnTo>
                    <a:pt x="9" y="10"/>
                  </a:lnTo>
                  <a:lnTo>
                    <a:pt x="9" y="1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8" name="Freeform 478">
              <a:extLst>
                <a:ext uri="{FF2B5EF4-FFF2-40B4-BE49-F238E27FC236}">
                  <a16:creationId xmlns:a16="http://schemas.microsoft.com/office/drawing/2014/main" id="{9A2D7071-77BD-4022-8A74-3528B6EF4866}"/>
                </a:ext>
              </a:extLst>
            </p:cNvPr>
            <p:cNvSpPr>
              <a:spLocks/>
            </p:cNvSpPr>
            <p:nvPr/>
          </p:nvSpPr>
          <p:spPr bwMode="gray">
            <a:xfrm>
              <a:off x="11945998" y="3672228"/>
              <a:ext cx="47458" cy="20947"/>
            </a:xfrm>
            <a:custGeom>
              <a:avLst/>
              <a:gdLst>
                <a:gd name="T0" fmla="*/ 119 w 145"/>
                <a:gd name="T1" fmla="*/ 47 h 64"/>
                <a:gd name="T2" fmla="*/ 102 w 145"/>
                <a:gd name="T3" fmla="*/ 38 h 64"/>
                <a:gd name="T4" fmla="*/ 93 w 145"/>
                <a:gd name="T5" fmla="*/ 54 h 64"/>
                <a:gd name="T6" fmla="*/ 85 w 145"/>
                <a:gd name="T7" fmla="*/ 47 h 64"/>
                <a:gd name="T8" fmla="*/ 81 w 145"/>
                <a:gd name="T9" fmla="*/ 64 h 64"/>
                <a:gd name="T10" fmla="*/ 64 w 145"/>
                <a:gd name="T11" fmla="*/ 54 h 64"/>
                <a:gd name="T12" fmla="*/ 38 w 145"/>
                <a:gd name="T13" fmla="*/ 54 h 64"/>
                <a:gd name="T14" fmla="*/ 17 w 145"/>
                <a:gd name="T15" fmla="*/ 21 h 64"/>
                <a:gd name="T16" fmla="*/ 0 w 145"/>
                <a:gd name="T17" fmla="*/ 21 h 64"/>
                <a:gd name="T18" fmla="*/ 10 w 145"/>
                <a:gd name="T19" fmla="*/ 10 h 64"/>
                <a:gd name="T20" fmla="*/ 31 w 145"/>
                <a:gd name="T21" fmla="*/ 0 h 64"/>
                <a:gd name="T22" fmla="*/ 81 w 145"/>
                <a:gd name="T23" fmla="*/ 10 h 64"/>
                <a:gd name="T24" fmla="*/ 140 w 145"/>
                <a:gd name="T25" fmla="*/ 33 h 64"/>
                <a:gd name="T26" fmla="*/ 145 w 145"/>
                <a:gd name="T27" fmla="*/ 47 h 64"/>
                <a:gd name="T28" fmla="*/ 123 w 145"/>
                <a:gd name="T29" fmla="*/ 54 h 64"/>
                <a:gd name="T30" fmla="*/ 119 w 145"/>
                <a:gd name="T31" fmla="*/ 47 h 64"/>
                <a:gd name="T32" fmla="*/ 119 w 145"/>
                <a:gd name="T33" fmla="*/ 47 h 64"/>
                <a:gd name="T34" fmla="*/ 119 w 145"/>
                <a:gd name="T35"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5" h="64">
                  <a:moveTo>
                    <a:pt x="119" y="47"/>
                  </a:moveTo>
                  <a:lnTo>
                    <a:pt x="102" y="38"/>
                  </a:lnTo>
                  <a:lnTo>
                    <a:pt x="93" y="54"/>
                  </a:lnTo>
                  <a:lnTo>
                    <a:pt x="85" y="47"/>
                  </a:lnTo>
                  <a:lnTo>
                    <a:pt x="81" y="64"/>
                  </a:lnTo>
                  <a:lnTo>
                    <a:pt x="64" y="54"/>
                  </a:lnTo>
                  <a:lnTo>
                    <a:pt x="38" y="54"/>
                  </a:lnTo>
                  <a:lnTo>
                    <a:pt x="17" y="21"/>
                  </a:lnTo>
                  <a:lnTo>
                    <a:pt x="0" y="21"/>
                  </a:lnTo>
                  <a:lnTo>
                    <a:pt x="10" y="10"/>
                  </a:lnTo>
                  <a:lnTo>
                    <a:pt x="31" y="0"/>
                  </a:lnTo>
                  <a:lnTo>
                    <a:pt x="81" y="10"/>
                  </a:lnTo>
                  <a:lnTo>
                    <a:pt x="140" y="33"/>
                  </a:lnTo>
                  <a:lnTo>
                    <a:pt x="145" y="47"/>
                  </a:lnTo>
                  <a:lnTo>
                    <a:pt x="123" y="54"/>
                  </a:lnTo>
                  <a:lnTo>
                    <a:pt x="119" y="47"/>
                  </a:lnTo>
                  <a:lnTo>
                    <a:pt x="119" y="47"/>
                  </a:lnTo>
                  <a:lnTo>
                    <a:pt x="119" y="4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9" name="Freeform 479">
              <a:extLst>
                <a:ext uri="{FF2B5EF4-FFF2-40B4-BE49-F238E27FC236}">
                  <a16:creationId xmlns:a16="http://schemas.microsoft.com/office/drawing/2014/main" id="{8965764F-1113-426F-9DED-7688209EDE18}"/>
                </a:ext>
              </a:extLst>
            </p:cNvPr>
            <p:cNvSpPr>
              <a:spLocks/>
            </p:cNvSpPr>
            <p:nvPr/>
          </p:nvSpPr>
          <p:spPr bwMode="gray">
            <a:xfrm>
              <a:off x="13534041" y="2064220"/>
              <a:ext cx="28802" cy="15383"/>
            </a:xfrm>
            <a:custGeom>
              <a:avLst/>
              <a:gdLst>
                <a:gd name="T0" fmla="*/ 12 w 88"/>
                <a:gd name="T1" fmla="*/ 47 h 47"/>
                <a:gd name="T2" fmla="*/ 0 w 88"/>
                <a:gd name="T3" fmla="*/ 35 h 47"/>
                <a:gd name="T4" fmla="*/ 50 w 88"/>
                <a:gd name="T5" fmla="*/ 14 h 47"/>
                <a:gd name="T6" fmla="*/ 55 w 88"/>
                <a:gd name="T7" fmla="*/ 0 h 47"/>
                <a:gd name="T8" fmla="*/ 88 w 88"/>
                <a:gd name="T9" fmla="*/ 0 h 47"/>
                <a:gd name="T10" fmla="*/ 76 w 88"/>
                <a:gd name="T11" fmla="*/ 14 h 47"/>
                <a:gd name="T12" fmla="*/ 38 w 88"/>
                <a:gd name="T13" fmla="*/ 21 h 47"/>
                <a:gd name="T14" fmla="*/ 12 w 88"/>
                <a:gd name="T15" fmla="*/ 47 h 47"/>
                <a:gd name="T16" fmla="*/ 12 w 88"/>
                <a:gd name="T17" fmla="*/ 47 h 47"/>
                <a:gd name="T18" fmla="*/ 12 w 88"/>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47">
                  <a:moveTo>
                    <a:pt x="12" y="47"/>
                  </a:moveTo>
                  <a:lnTo>
                    <a:pt x="0" y="35"/>
                  </a:lnTo>
                  <a:lnTo>
                    <a:pt x="50" y="14"/>
                  </a:lnTo>
                  <a:lnTo>
                    <a:pt x="55" y="0"/>
                  </a:lnTo>
                  <a:lnTo>
                    <a:pt x="88" y="0"/>
                  </a:lnTo>
                  <a:lnTo>
                    <a:pt x="76" y="14"/>
                  </a:lnTo>
                  <a:lnTo>
                    <a:pt x="38" y="21"/>
                  </a:lnTo>
                  <a:lnTo>
                    <a:pt x="12" y="47"/>
                  </a:lnTo>
                  <a:lnTo>
                    <a:pt x="12" y="47"/>
                  </a:lnTo>
                  <a:lnTo>
                    <a:pt x="12" y="4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0" name="Freeform 480">
              <a:extLst>
                <a:ext uri="{FF2B5EF4-FFF2-40B4-BE49-F238E27FC236}">
                  <a16:creationId xmlns:a16="http://schemas.microsoft.com/office/drawing/2014/main" id="{8B3214CD-1556-483C-81D9-DC743C555E41}"/>
                </a:ext>
              </a:extLst>
            </p:cNvPr>
            <p:cNvSpPr>
              <a:spLocks/>
            </p:cNvSpPr>
            <p:nvPr/>
          </p:nvSpPr>
          <p:spPr bwMode="gray">
            <a:xfrm>
              <a:off x="14547024" y="3297146"/>
              <a:ext cx="98189" cy="109972"/>
            </a:xfrm>
            <a:custGeom>
              <a:avLst/>
              <a:gdLst>
                <a:gd name="T0" fmla="*/ 38 w 300"/>
                <a:gd name="T1" fmla="*/ 152 h 336"/>
                <a:gd name="T2" fmla="*/ 38 w 300"/>
                <a:gd name="T3" fmla="*/ 90 h 336"/>
                <a:gd name="T4" fmla="*/ 38 w 300"/>
                <a:gd name="T5" fmla="*/ 83 h 336"/>
                <a:gd name="T6" fmla="*/ 38 w 300"/>
                <a:gd name="T7" fmla="*/ 55 h 336"/>
                <a:gd name="T8" fmla="*/ 49 w 300"/>
                <a:gd name="T9" fmla="*/ 55 h 336"/>
                <a:gd name="T10" fmla="*/ 71 w 300"/>
                <a:gd name="T11" fmla="*/ 50 h 336"/>
                <a:gd name="T12" fmla="*/ 75 w 300"/>
                <a:gd name="T13" fmla="*/ 67 h 336"/>
                <a:gd name="T14" fmla="*/ 101 w 300"/>
                <a:gd name="T15" fmla="*/ 83 h 336"/>
                <a:gd name="T16" fmla="*/ 130 w 300"/>
                <a:gd name="T17" fmla="*/ 83 h 336"/>
                <a:gd name="T18" fmla="*/ 269 w 300"/>
                <a:gd name="T19" fmla="*/ 0 h 336"/>
                <a:gd name="T20" fmla="*/ 283 w 300"/>
                <a:gd name="T21" fmla="*/ 67 h 336"/>
                <a:gd name="T22" fmla="*/ 279 w 300"/>
                <a:gd name="T23" fmla="*/ 74 h 336"/>
                <a:gd name="T24" fmla="*/ 283 w 300"/>
                <a:gd name="T25" fmla="*/ 83 h 336"/>
                <a:gd name="T26" fmla="*/ 300 w 300"/>
                <a:gd name="T27" fmla="*/ 83 h 336"/>
                <a:gd name="T28" fmla="*/ 300 w 300"/>
                <a:gd name="T29" fmla="*/ 90 h 336"/>
                <a:gd name="T30" fmla="*/ 290 w 300"/>
                <a:gd name="T31" fmla="*/ 95 h 336"/>
                <a:gd name="T32" fmla="*/ 283 w 300"/>
                <a:gd name="T33" fmla="*/ 107 h 336"/>
                <a:gd name="T34" fmla="*/ 139 w 300"/>
                <a:gd name="T35" fmla="*/ 145 h 336"/>
                <a:gd name="T36" fmla="*/ 210 w 300"/>
                <a:gd name="T37" fmla="*/ 234 h 336"/>
                <a:gd name="T38" fmla="*/ 182 w 300"/>
                <a:gd name="T39" fmla="*/ 239 h 336"/>
                <a:gd name="T40" fmla="*/ 177 w 300"/>
                <a:gd name="T41" fmla="*/ 274 h 336"/>
                <a:gd name="T42" fmla="*/ 123 w 300"/>
                <a:gd name="T43" fmla="*/ 279 h 336"/>
                <a:gd name="T44" fmla="*/ 108 w 300"/>
                <a:gd name="T45" fmla="*/ 312 h 336"/>
                <a:gd name="T46" fmla="*/ 75 w 300"/>
                <a:gd name="T47" fmla="*/ 336 h 336"/>
                <a:gd name="T48" fmla="*/ 0 w 300"/>
                <a:gd name="T49" fmla="*/ 317 h 336"/>
                <a:gd name="T50" fmla="*/ 0 w 300"/>
                <a:gd name="T51" fmla="*/ 308 h 336"/>
                <a:gd name="T52" fmla="*/ 16 w 300"/>
                <a:gd name="T53" fmla="*/ 256 h 336"/>
                <a:gd name="T54" fmla="*/ 16 w 300"/>
                <a:gd name="T55" fmla="*/ 234 h 336"/>
                <a:gd name="T56" fmla="*/ 33 w 300"/>
                <a:gd name="T57" fmla="*/ 178 h 336"/>
                <a:gd name="T58" fmla="*/ 33 w 300"/>
                <a:gd name="T59" fmla="*/ 168 h 336"/>
                <a:gd name="T60" fmla="*/ 38 w 300"/>
                <a:gd name="T61" fmla="*/ 152 h 336"/>
                <a:gd name="T62" fmla="*/ 38 w 300"/>
                <a:gd name="T63" fmla="*/ 152 h 336"/>
                <a:gd name="T64" fmla="*/ 38 w 300"/>
                <a:gd name="T65" fmla="*/ 15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336">
                  <a:moveTo>
                    <a:pt x="38" y="152"/>
                  </a:moveTo>
                  <a:lnTo>
                    <a:pt x="38" y="90"/>
                  </a:lnTo>
                  <a:lnTo>
                    <a:pt x="38" y="83"/>
                  </a:lnTo>
                  <a:lnTo>
                    <a:pt x="38" y="55"/>
                  </a:lnTo>
                  <a:lnTo>
                    <a:pt x="49" y="55"/>
                  </a:lnTo>
                  <a:lnTo>
                    <a:pt x="71" y="50"/>
                  </a:lnTo>
                  <a:lnTo>
                    <a:pt x="75" y="67"/>
                  </a:lnTo>
                  <a:lnTo>
                    <a:pt x="101" y="83"/>
                  </a:lnTo>
                  <a:lnTo>
                    <a:pt x="130" y="83"/>
                  </a:lnTo>
                  <a:lnTo>
                    <a:pt x="269" y="0"/>
                  </a:lnTo>
                  <a:lnTo>
                    <a:pt x="283" y="67"/>
                  </a:lnTo>
                  <a:lnTo>
                    <a:pt x="279" y="74"/>
                  </a:lnTo>
                  <a:lnTo>
                    <a:pt x="283" y="83"/>
                  </a:lnTo>
                  <a:lnTo>
                    <a:pt x="300" y="83"/>
                  </a:lnTo>
                  <a:lnTo>
                    <a:pt x="300" y="90"/>
                  </a:lnTo>
                  <a:lnTo>
                    <a:pt x="290" y="95"/>
                  </a:lnTo>
                  <a:lnTo>
                    <a:pt x="283" y="107"/>
                  </a:lnTo>
                  <a:lnTo>
                    <a:pt x="139" y="145"/>
                  </a:lnTo>
                  <a:lnTo>
                    <a:pt x="210" y="234"/>
                  </a:lnTo>
                  <a:lnTo>
                    <a:pt x="182" y="239"/>
                  </a:lnTo>
                  <a:lnTo>
                    <a:pt x="177" y="274"/>
                  </a:lnTo>
                  <a:lnTo>
                    <a:pt x="123" y="279"/>
                  </a:lnTo>
                  <a:lnTo>
                    <a:pt x="108" y="312"/>
                  </a:lnTo>
                  <a:lnTo>
                    <a:pt x="75" y="336"/>
                  </a:lnTo>
                  <a:lnTo>
                    <a:pt x="0" y="317"/>
                  </a:lnTo>
                  <a:lnTo>
                    <a:pt x="0" y="308"/>
                  </a:lnTo>
                  <a:lnTo>
                    <a:pt x="16" y="256"/>
                  </a:lnTo>
                  <a:lnTo>
                    <a:pt x="16" y="234"/>
                  </a:lnTo>
                  <a:lnTo>
                    <a:pt x="33" y="178"/>
                  </a:lnTo>
                  <a:lnTo>
                    <a:pt x="33" y="168"/>
                  </a:lnTo>
                  <a:lnTo>
                    <a:pt x="38" y="152"/>
                  </a:lnTo>
                  <a:lnTo>
                    <a:pt x="38" y="152"/>
                  </a:lnTo>
                  <a:lnTo>
                    <a:pt x="38" y="152"/>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1" name="Freeform 481">
              <a:extLst>
                <a:ext uri="{FF2B5EF4-FFF2-40B4-BE49-F238E27FC236}">
                  <a16:creationId xmlns:a16="http://schemas.microsoft.com/office/drawing/2014/main" id="{96EACF7D-6D07-485C-A9AA-186015F94B57}"/>
                </a:ext>
              </a:extLst>
            </p:cNvPr>
            <p:cNvSpPr>
              <a:spLocks noEditPoints="1"/>
            </p:cNvSpPr>
            <p:nvPr/>
          </p:nvSpPr>
          <p:spPr bwMode="gray">
            <a:xfrm>
              <a:off x="14521495" y="4004761"/>
              <a:ext cx="183941" cy="220925"/>
            </a:xfrm>
            <a:custGeom>
              <a:avLst/>
              <a:gdLst>
                <a:gd name="T0" fmla="*/ 0 w 562"/>
                <a:gd name="T1" fmla="*/ 408 h 675"/>
                <a:gd name="T2" fmla="*/ 7 w 562"/>
                <a:gd name="T3" fmla="*/ 347 h 675"/>
                <a:gd name="T4" fmla="*/ 0 w 562"/>
                <a:gd name="T5" fmla="*/ 331 h 675"/>
                <a:gd name="T6" fmla="*/ 23 w 562"/>
                <a:gd name="T7" fmla="*/ 290 h 675"/>
                <a:gd name="T8" fmla="*/ 38 w 562"/>
                <a:gd name="T9" fmla="*/ 274 h 675"/>
                <a:gd name="T10" fmla="*/ 45 w 562"/>
                <a:gd name="T11" fmla="*/ 253 h 675"/>
                <a:gd name="T12" fmla="*/ 71 w 562"/>
                <a:gd name="T13" fmla="*/ 241 h 675"/>
                <a:gd name="T14" fmla="*/ 61 w 562"/>
                <a:gd name="T15" fmla="*/ 234 h 675"/>
                <a:gd name="T16" fmla="*/ 75 w 562"/>
                <a:gd name="T17" fmla="*/ 212 h 675"/>
                <a:gd name="T18" fmla="*/ 75 w 562"/>
                <a:gd name="T19" fmla="*/ 196 h 675"/>
                <a:gd name="T20" fmla="*/ 71 w 562"/>
                <a:gd name="T21" fmla="*/ 156 h 675"/>
                <a:gd name="T22" fmla="*/ 61 w 562"/>
                <a:gd name="T23" fmla="*/ 130 h 675"/>
                <a:gd name="T24" fmla="*/ 45 w 562"/>
                <a:gd name="T25" fmla="*/ 123 h 675"/>
                <a:gd name="T26" fmla="*/ 38 w 562"/>
                <a:gd name="T27" fmla="*/ 90 h 675"/>
                <a:gd name="T28" fmla="*/ 38 w 562"/>
                <a:gd name="T29" fmla="*/ 68 h 675"/>
                <a:gd name="T30" fmla="*/ 23 w 562"/>
                <a:gd name="T31" fmla="*/ 57 h 675"/>
                <a:gd name="T32" fmla="*/ 7 w 562"/>
                <a:gd name="T33" fmla="*/ 28 h 675"/>
                <a:gd name="T34" fmla="*/ 38 w 562"/>
                <a:gd name="T35" fmla="*/ 0 h 675"/>
                <a:gd name="T36" fmla="*/ 146 w 562"/>
                <a:gd name="T37" fmla="*/ 0 h 675"/>
                <a:gd name="T38" fmla="*/ 153 w 562"/>
                <a:gd name="T39" fmla="*/ 12 h 675"/>
                <a:gd name="T40" fmla="*/ 222 w 562"/>
                <a:gd name="T41" fmla="*/ 19 h 675"/>
                <a:gd name="T42" fmla="*/ 305 w 562"/>
                <a:gd name="T43" fmla="*/ 73 h 675"/>
                <a:gd name="T44" fmla="*/ 326 w 562"/>
                <a:gd name="T45" fmla="*/ 73 h 675"/>
                <a:gd name="T46" fmla="*/ 394 w 562"/>
                <a:gd name="T47" fmla="*/ 90 h 675"/>
                <a:gd name="T48" fmla="*/ 418 w 562"/>
                <a:gd name="T49" fmla="*/ 52 h 675"/>
                <a:gd name="T50" fmla="*/ 486 w 562"/>
                <a:gd name="T51" fmla="*/ 28 h 675"/>
                <a:gd name="T52" fmla="*/ 510 w 562"/>
                <a:gd name="T53" fmla="*/ 52 h 675"/>
                <a:gd name="T54" fmla="*/ 562 w 562"/>
                <a:gd name="T55" fmla="*/ 45 h 675"/>
                <a:gd name="T56" fmla="*/ 524 w 562"/>
                <a:gd name="T57" fmla="*/ 106 h 675"/>
                <a:gd name="T58" fmla="*/ 503 w 562"/>
                <a:gd name="T59" fmla="*/ 130 h 675"/>
                <a:gd name="T60" fmla="*/ 503 w 562"/>
                <a:gd name="T61" fmla="*/ 401 h 675"/>
                <a:gd name="T62" fmla="*/ 541 w 562"/>
                <a:gd name="T63" fmla="*/ 458 h 675"/>
                <a:gd name="T64" fmla="*/ 524 w 562"/>
                <a:gd name="T65" fmla="*/ 475 h 675"/>
                <a:gd name="T66" fmla="*/ 494 w 562"/>
                <a:gd name="T67" fmla="*/ 479 h 675"/>
                <a:gd name="T68" fmla="*/ 494 w 562"/>
                <a:gd name="T69" fmla="*/ 508 h 675"/>
                <a:gd name="T70" fmla="*/ 486 w 562"/>
                <a:gd name="T71" fmla="*/ 496 h 675"/>
                <a:gd name="T72" fmla="*/ 486 w 562"/>
                <a:gd name="T73" fmla="*/ 508 h 675"/>
                <a:gd name="T74" fmla="*/ 472 w 562"/>
                <a:gd name="T75" fmla="*/ 520 h 675"/>
                <a:gd name="T76" fmla="*/ 465 w 562"/>
                <a:gd name="T77" fmla="*/ 520 h 675"/>
                <a:gd name="T78" fmla="*/ 449 w 562"/>
                <a:gd name="T79" fmla="*/ 529 h 675"/>
                <a:gd name="T80" fmla="*/ 439 w 562"/>
                <a:gd name="T81" fmla="*/ 569 h 675"/>
                <a:gd name="T82" fmla="*/ 423 w 562"/>
                <a:gd name="T83" fmla="*/ 574 h 675"/>
                <a:gd name="T84" fmla="*/ 385 w 562"/>
                <a:gd name="T85" fmla="*/ 675 h 675"/>
                <a:gd name="T86" fmla="*/ 368 w 562"/>
                <a:gd name="T87" fmla="*/ 675 h 675"/>
                <a:gd name="T88" fmla="*/ 260 w 562"/>
                <a:gd name="T89" fmla="*/ 586 h 675"/>
                <a:gd name="T90" fmla="*/ 271 w 562"/>
                <a:gd name="T91" fmla="*/ 574 h 675"/>
                <a:gd name="T92" fmla="*/ 260 w 562"/>
                <a:gd name="T93" fmla="*/ 553 h 675"/>
                <a:gd name="T94" fmla="*/ 0 w 562"/>
                <a:gd name="T95" fmla="*/ 408 h 675"/>
                <a:gd name="T96" fmla="*/ 0 w 562"/>
                <a:gd name="T97" fmla="*/ 408 h 675"/>
                <a:gd name="T98" fmla="*/ 0 w 562"/>
                <a:gd name="T99" fmla="*/ 408 h 675"/>
                <a:gd name="T100" fmla="*/ 503 w 562"/>
                <a:gd name="T101" fmla="*/ 496 h 675"/>
                <a:gd name="T102" fmla="*/ 503 w 562"/>
                <a:gd name="T103" fmla="*/ 491 h 675"/>
                <a:gd name="T104" fmla="*/ 510 w 562"/>
                <a:gd name="T105" fmla="*/ 491 h 675"/>
                <a:gd name="T106" fmla="*/ 503 w 562"/>
                <a:gd name="T107" fmla="*/ 496 h 675"/>
                <a:gd name="T108" fmla="*/ 503 w 562"/>
                <a:gd name="T109" fmla="*/ 496 h 675"/>
                <a:gd name="T110" fmla="*/ 503 w 562"/>
                <a:gd name="T111" fmla="*/ 496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2" h="675">
                  <a:moveTo>
                    <a:pt x="0" y="408"/>
                  </a:moveTo>
                  <a:lnTo>
                    <a:pt x="7" y="347"/>
                  </a:lnTo>
                  <a:lnTo>
                    <a:pt x="0" y="331"/>
                  </a:lnTo>
                  <a:lnTo>
                    <a:pt x="23" y="290"/>
                  </a:lnTo>
                  <a:lnTo>
                    <a:pt x="38" y="274"/>
                  </a:lnTo>
                  <a:lnTo>
                    <a:pt x="45" y="253"/>
                  </a:lnTo>
                  <a:lnTo>
                    <a:pt x="71" y="241"/>
                  </a:lnTo>
                  <a:lnTo>
                    <a:pt x="61" y="234"/>
                  </a:lnTo>
                  <a:lnTo>
                    <a:pt x="75" y="212"/>
                  </a:lnTo>
                  <a:lnTo>
                    <a:pt x="75" y="196"/>
                  </a:lnTo>
                  <a:lnTo>
                    <a:pt x="71" y="156"/>
                  </a:lnTo>
                  <a:lnTo>
                    <a:pt x="61" y="130"/>
                  </a:lnTo>
                  <a:lnTo>
                    <a:pt x="45" y="123"/>
                  </a:lnTo>
                  <a:lnTo>
                    <a:pt x="38" y="90"/>
                  </a:lnTo>
                  <a:lnTo>
                    <a:pt x="38" y="68"/>
                  </a:lnTo>
                  <a:lnTo>
                    <a:pt x="23" y="57"/>
                  </a:lnTo>
                  <a:lnTo>
                    <a:pt x="7" y="28"/>
                  </a:lnTo>
                  <a:lnTo>
                    <a:pt x="38" y="0"/>
                  </a:lnTo>
                  <a:lnTo>
                    <a:pt x="146" y="0"/>
                  </a:lnTo>
                  <a:lnTo>
                    <a:pt x="153" y="12"/>
                  </a:lnTo>
                  <a:lnTo>
                    <a:pt x="222" y="19"/>
                  </a:lnTo>
                  <a:lnTo>
                    <a:pt x="305" y="73"/>
                  </a:lnTo>
                  <a:lnTo>
                    <a:pt x="326" y="73"/>
                  </a:lnTo>
                  <a:lnTo>
                    <a:pt x="394" y="90"/>
                  </a:lnTo>
                  <a:lnTo>
                    <a:pt x="418" y="52"/>
                  </a:lnTo>
                  <a:lnTo>
                    <a:pt x="486" y="28"/>
                  </a:lnTo>
                  <a:lnTo>
                    <a:pt x="510" y="52"/>
                  </a:lnTo>
                  <a:lnTo>
                    <a:pt x="562" y="45"/>
                  </a:lnTo>
                  <a:lnTo>
                    <a:pt x="524" y="106"/>
                  </a:lnTo>
                  <a:lnTo>
                    <a:pt x="503" y="130"/>
                  </a:lnTo>
                  <a:lnTo>
                    <a:pt x="503" y="401"/>
                  </a:lnTo>
                  <a:lnTo>
                    <a:pt x="541" y="458"/>
                  </a:lnTo>
                  <a:lnTo>
                    <a:pt x="524" y="475"/>
                  </a:lnTo>
                  <a:lnTo>
                    <a:pt x="494" y="479"/>
                  </a:lnTo>
                  <a:lnTo>
                    <a:pt x="494" y="508"/>
                  </a:lnTo>
                  <a:lnTo>
                    <a:pt x="486" y="496"/>
                  </a:lnTo>
                  <a:lnTo>
                    <a:pt x="486" y="508"/>
                  </a:lnTo>
                  <a:lnTo>
                    <a:pt x="472" y="520"/>
                  </a:lnTo>
                  <a:lnTo>
                    <a:pt x="465" y="520"/>
                  </a:lnTo>
                  <a:lnTo>
                    <a:pt x="449" y="529"/>
                  </a:lnTo>
                  <a:lnTo>
                    <a:pt x="439" y="569"/>
                  </a:lnTo>
                  <a:lnTo>
                    <a:pt x="423" y="574"/>
                  </a:lnTo>
                  <a:lnTo>
                    <a:pt x="385" y="675"/>
                  </a:lnTo>
                  <a:lnTo>
                    <a:pt x="368" y="675"/>
                  </a:lnTo>
                  <a:lnTo>
                    <a:pt x="260" y="586"/>
                  </a:lnTo>
                  <a:lnTo>
                    <a:pt x="271" y="574"/>
                  </a:lnTo>
                  <a:lnTo>
                    <a:pt x="260" y="553"/>
                  </a:lnTo>
                  <a:lnTo>
                    <a:pt x="0" y="408"/>
                  </a:lnTo>
                  <a:lnTo>
                    <a:pt x="0" y="408"/>
                  </a:lnTo>
                  <a:lnTo>
                    <a:pt x="0" y="408"/>
                  </a:lnTo>
                  <a:close/>
                  <a:moveTo>
                    <a:pt x="503" y="496"/>
                  </a:moveTo>
                  <a:lnTo>
                    <a:pt x="503" y="491"/>
                  </a:lnTo>
                  <a:lnTo>
                    <a:pt x="510" y="491"/>
                  </a:lnTo>
                  <a:lnTo>
                    <a:pt x="503" y="496"/>
                  </a:lnTo>
                  <a:lnTo>
                    <a:pt x="503" y="496"/>
                  </a:lnTo>
                  <a:lnTo>
                    <a:pt x="503" y="496"/>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2" name="Freeform 482">
              <a:extLst>
                <a:ext uri="{FF2B5EF4-FFF2-40B4-BE49-F238E27FC236}">
                  <a16:creationId xmlns:a16="http://schemas.microsoft.com/office/drawing/2014/main" id="{8340FE2C-471C-4472-96FE-CC530387E2FA}"/>
                </a:ext>
              </a:extLst>
            </p:cNvPr>
            <p:cNvSpPr>
              <a:spLocks/>
            </p:cNvSpPr>
            <p:nvPr/>
          </p:nvSpPr>
          <p:spPr bwMode="gray">
            <a:xfrm>
              <a:off x="15334827" y="3025817"/>
              <a:ext cx="250382" cy="113899"/>
            </a:xfrm>
            <a:custGeom>
              <a:avLst/>
              <a:gdLst>
                <a:gd name="T0" fmla="*/ 397 w 765"/>
                <a:gd name="T1" fmla="*/ 255 h 348"/>
                <a:gd name="T2" fmla="*/ 359 w 765"/>
                <a:gd name="T3" fmla="*/ 272 h 348"/>
                <a:gd name="T4" fmla="*/ 321 w 765"/>
                <a:gd name="T5" fmla="*/ 305 h 348"/>
                <a:gd name="T6" fmla="*/ 321 w 765"/>
                <a:gd name="T7" fmla="*/ 326 h 348"/>
                <a:gd name="T8" fmla="*/ 271 w 765"/>
                <a:gd name="T9" fmla="*/ 331 h 348"/>
                <a:gd name="T10" fmla="*/ 212 w 765"/>
                <a:gd name="T11" fmla="*/ 348 h 348"/>
                <a:gd name="T12" fmla="*/ 168 w 765"/>
                <a:gd name="T13" fmla="*/ 343 h 348"/>
                <a:gd name="T14" fmla="*/ 158 w 765"/>
                <a:gd name="T15" fmla="*/ 326 h 348"/>
                <a:gd name="T16" fmla="*/ 125 w 765"/>
                <a:gd name="T17" fmla="*/ 326 h 348"/>
                <a:gd name="T18" fmla="*/ 104 w 765"/>
                <a:gd name="T19" fmla="*/ 331 h 348"/>
                <a:gd name="T20" fmla="*/ 87 w 765"/>
                <a:gd name="T21" fmla="*/ 315 h 348"/>
                <a:gd name="T22" fmla="*/ 0 w 765"/>
                <a:gd name="T23" fmla="*/ 293 h 348"/>
                <a:gd name="T24" fmla="*/ 7 w 765"/>
                <a:gd name="T25" fmla="*/ 289 h 348"/>
                <a:gd name="T26" fmla="*/ 16 w 765"/>
                <a:gd name="T27" fmla="*/ 272 h 348"/>
                <a:gd name="T28" fmla="*/ 87 w 765"/>
                <a:gd name="T29" fmla="*/ 277 h 348"/>
                <a:gd name="T30" fmla="*/ 92 w 765"/>
                <a:gd name="T31" fmla="*/ 289 h 348"/>
                <a:gd name="T32" fmla="*/ 113 w 765"/>
                <a:gd name="T33" fmla="*/ 272 h 348"/>
                <a:gd name="T34" fmla="*/ 146 w 765"/>
                <a:gd name="T35" fmla="*/ 255 h 348"/>
                <a:gd name="T36" fmla="*/ 196 w 765"/>
                <a:gd name="T37" fmla="*/ 260 h 348"/>
                <a:gd name="T38" fmla="*/ 201 w 765"/>
                <a:gd name="T39" fmla="*/ 248 h 348"/>
                <a:gd name="T40" fmla="*/ 217 w 765"/>
                <a:gd name="T41" fmla="*/ 232 h 348"/>
                <a:gd name="T42" fmla="*/ 250 w 765"/>
                <a:gd name="T43" fmla="*/ 222 h 348"/>
                <a:gd name="T44" fmla="*/ 234 w 765"/>
                <a:gd name="T45" fmla="*/ 206 h 348"/>
                <a:gd name="T46" fmla="*/ 201 w 765"/>
                <a:gd name="T47" fmla="*/ 199 h 348"/>
                <a:gd name="T48" fmla="*/ 184 w 765"/>
                <a:gd name="T49" fmla="*/ 182 h 348"/>
                <a:gd name="T50" fmla="*/ 168 w 765"/>
                <a:gd name="T51" fmla="*/ 149 h 348"/>
                <a:gd name="T52" fmla="*/ 146 w 765"/>
                <a:gd name="T53" fmla="*/ 166 h 348"/>
                <a:gd name="T54" fmla="*/ 108 w 765"/>
                <a:gd name="T55" fmla="*/ 178 h 348"/>
                <a:gd name="T56" fmla="*/ 87 w 765"/>
                <a:gd name="T57" fmla="*/ 161 h 348"/>
                <a:gd name="T58" fmla="*/ 104 w 765"/>
                <a:gd name="T59" fmla="*/ 123 h 348"/>
                <a:gd name="T60" fmla="*/ 108 w 765"/>
                <a:gd name="T61" fmla="*/ 107 h 348"/>
                <a:gd name="T62" fmla="*/ 125 w 765"/>
                <a:gd name="T63" fmla="*/ 78 h 348"/>
                <a:gd name="T64" fmla="*/ 108 w 765"/>
                <a:gd name="T65" fmla="*/ 78 h 348"/>
                <a:gd name="T66" fmla="*/ 168 w 765"/>
                <a:gd name="T67" fmla="*/ 41 h 348"/>
                <a:gd name="T68" fmla="*/ 293 w 765"/>
                <a:gd name="T69" fmla="*/ 74 h 348"/>
                <a:gd name="T70" fmla="*/ 305 w 765"/>
                <a:gd name="T71" fmla="*/ 17 h 348"/>
                <a:gd name="T72" fmla="*/ 385 w 765"/>
                <a:gd name="T73" fmla="*/ 24 h 348"/>
                <a:gd name="T74" fmla="*/ 456 w 765"/>
                <a:gd name="T75" fmla="*/ 24 h 348"/>
                <a:gd name="T76" fmla="*/ 543 w 765"/>
                <a:gd name="T77" fmla="*/ 24 h 348"/>
                <a:gd name="T78" fmla="*/ 699 w 765"/>
                <a:gd name="T79" fmla="*/ 41 h 348"/>
                <a:gd name="T80" fmla="*/ 711 w 765"/>
                <a:gd name="T81" fmla="*/ 74 h 348"/>
                <a:gd name="T82" fmla="*/ 765 w 765"/>
                <a:gd name="T83" fmla="*/ 95 h 348"/>
                <a:gd name="T84" fmla="*/ 742 w 765"/>
                <a:gd name="T85" fmla="*/ 111 h 348"/>
                <a:gd name="T86" fmla="*/ 704 w 765"/>
                <a:gd name="T87" fmla="*/ 128 h 348"/>
                <a:gd name="T88" fmla="*/ 635 w 765"/>
                <a:gd name="T89" fmla="*/ 178 h 348"/>
                <a:gd name="T90" fmla="*/ 536 w 765"/>
                <a:gd name="T91" fmla="*/ 199 h 348"/>
                <a:gd name="T92" fmla="*/ 520 w 765"/>
                <a:gd name="T93" fmla="*/ 232 h 348"/>
                <a:gd name="T94" fmla="*/ 482 w 765"/>
                <a:gd name="T95" fmla="*/ 248 h 348"/>
                <a:gd name="T96" fmla="*/ 439 w 765"/>
                <a:gd name="T97" fmla="*/ 232 h 348"/>
                <a:gd name="T98" fmla="*/ 385 w 765"/>
                <a:gd name="T99" fmla="*/ 239 h 348"/>
                <a:gd name="T100" fmla="*/ 385 w 765"/>
                <a:gd name="T101" fmla="*/ 23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5" h="348">
                  <a:moveTo>
                    <a:pt x="385" y="239"/>
                  </a:moveTo>
                  <a:lnTo>
                    <a:pt x="397" y="255"/>
                  </a:lnTo>
                  <a:lnTo>
                    <a:pt x="380" y="255"/>
                  </a:lnTo>
                  <a:lnTo>
                    <a:pt x="359" y="272"/>
                  </a:lnTo>
                  <a:lnTo>
                    <a:pt x="331" y="277"/>
                  </a:lnTo>
                  <a:lnTo>
                    <a:pt x="321" y="305"/>
                  </a:lnTo>
                  <a:lnTo>
                    <a:pt x="326" y="315"/>
                  </a:lnTo>
                  <a:lnTo>
                    <a:pt x="321" y="326"/>
                  </a:lnTo>
                  <a:lnTo>
                    <a:pt x="309" y="326"/>
                  </a:lnTo>
                  <a:lnTo>
                    <a:pt x="271" y="331"/>
                  </a:lnTo>
                  <a:lnTo>
                    <a:pt x="217" y="331"/>
                  </a:lnTo>
                  <a:lnTo>
                    <a:pt x="212" y="348"/>
                  </a:lnTo>
                  <a:lnTo>
                    <a:pt x="196" y="331"/>
                  </a:lnTo>
                  <a:lnTo>
                    <a:pt x="168" y="343"/>
                  </a:lnTo>
                  <a:lnTo>
                    <a:pt x="168" y="326"/>
                  </a:lnTo>
                  <a:lnTo>
                    <a:pt x="158" y="326"/>
                  </a:lnTo>
                  <a:lnTo>
                    <a:pt x="158" y="315"/>
                  </a:lnTo>
                  <a:lnTo>
                    <a:pt x="125" y="326"/>
                  </a:lnTo>
                  <a:lnTo>
                    <a:pt x="113" y="331"/>
                  </a:lnTo>
                  <a:lnTo>
                    <a:pt x="104" y="331"/>
                  </a:lnTo>
                  <a:lnTo>
                    <a:pt x="92" y="315"/>
                  </a:lnTo>
                  <a:lnTo>
                    <a:pt x="87" y="315"/>
                  </a:lnTo>
                  <a:lnTo>
                    <a:pt x="0" y="315"/>
                  </a:lnTo>
                  <a:lnTo>
                    <a:pt x="0" y="293"/>
                  </a:lnTo>
                  <a:lnTo>
                    <a:pt x="0" y="277"/>
                  </a:lnTo>
                  <a:lnTo>
                    <a:pt x="7" y="289"/>
                  </a:lnTo>
                  <a:lnTo>
                    <a:pt x="16" y="289"/>
                  </a:lnTo>
                  <a:lnTo>
                    <a:pt x="16" y="272"/>
                  </a:lnTo>
                  <a:lnTo>
                    <a:pt x="54" y="260"/>
                  </a:lnTo>
                  <a:lnTo>
                    <a:pt x="87" y="277"/>
                  </a:lnTo>
                  <a:lnTo>
                    <a:pt x="87" y="289"/>
                  </a:lnTo>
                  <a:lnTo>
                    <a:pt x="92" y="289"/>
                  </a:lnTo>
                  <a:lnTo>
                    <a:pt x="92" y="272"/>
                  </a:lnTo>
                  <a:lnTo>
                    <a:pt x="113" y="272"/>
                  </a:lnTo>
                  <a:lnTo>
                    <a:pt x="113" y="260"/>
                  </a:lnTo>
                  <a:lnTo>
                    <a:pt x="146" y="255"/>
                  </a:lnTo>
                  <a:lnTo>
                    <a:pt x="168" y="272"/>
                  </a:lnTo>
                  <a:lnTo>
                    <a:pt x="196" y="260"/>
                  </a:lnTo>
                  <a:lnTo>
                    <a:pt x="196" y="255"/>
                  </a:lnTo>
                  <a:lnTo>
                    <a:pt x="201" y="248"/>
                  </a:lnTo>
                  <a:lnTo>
                    <a:pt x="217" y="248"/>
                  </a:lnTo>
                  <a:lnTo>
                    <a:pt x="217" y="232"/>
                  </a:lnTo>
                  <a:lnTo>
                    <a:pt x="234" y="239"/>
                  </a:lnTo>
                  <a:lnTo>
                    <a:pt x="250" y="222"/>
                  </a:lnTo>
                  <a:lnTo>
                    <a:pt x="271" y="215"/>
                  </a:lnTo>
                  <a:lnTo>
                    <a:pt x="234" y="206"/>
                  </a:lnTo>
                  <a:lnTo>
                    <a:pt x="217" y="194"/>
                  </a:lnTo>
                  <a:lnTo>
                    <a:pt x="201" y="199"/>
                  </a:lnTo>
                  <a:lnTo>
                    <a:pt x="201" y="182"/>
                  </a:lnTo>
                  <a:lnTo>
                    <a:pt x="184" y="182"/>
                  </a:lnTo>
                  <a:lnTo>
                    <a:pt x="184" y="166"/>
                  </a:lnTo>
                  <a:lnTo>
                    <a:pt x="168" y="149"/>
                  </a:lnTo>
                  <a:lnTo>
                    <a:pt x="163" y="166"/>
                  </a:lnTo>
                  <a:lnTo>
                    <a:pt x="146" y="166"/>
                  </a:lnTo>
                  <a:lnTo>
                    <a:pt x="146" y="182"/>
                  </a:lnTo>
                  <a:lnTo>
                    <a:pt x="108" y="178"/>
                  </a:lnTo>
                  <a:lnTo>
                    <a:pt x="104" y="161"/>
                  </a:lnTo>
                  <a:lnTo>
                    <a:pt x="87" y="161"/>
                  </a:lnTo>
                  <a:lnTo>
                    <a:pt x="61" y="149"/>
                  </a:lnTo>
                  <a:lnTo>
                    <a:pt x="104" y="123"/>
                  </a:lnTo>
                  <a:lnTo>
                    <a:pt x="108" y="123"/>
                  </a:lnTo>
                  <a:lnTo>
                    <a:pt x="108" y="107"/>
                  </a:lnTo>
                  <a:lnTo>
                    <a:pt x="142" y="95"/>
                  </a:lnTo>
                  <a:lnTo>
                    <a:pt x="125" y="78"/>
                  </a:lnTo>
                  <a:lnTo>
                    <a:pt x="113" y="90"/>
                  </a:lnTo>
                  <a:lnTo>
                    <a:pt x="108" y="78"/>
                  </a:lnTo>
                  <a:lnTo>
                    <a:pt x="130" y="50"/>
                  </a:lnTo>
                  <a:lnTo>
                    <a:pt x="168" y="41"/>
                  </a:lnTo>
                  <a:lnTo>
                    <a:pt x="212" y="41"/>
                  </a:lnTo>
                  <a:lnTo>
                    <a:pt x="293" y="74"/>
                  </a:lnTo>
                  <a:lnTo>
                    <a:pt x="293" y="57"/>
                  </a:lnTo>
                  <a:lnTo>
                    <a:pt x="305" y="17"/>
                  </a:lnTo>
                  <a:lnTo>
                    <a:pt x="347" y="0"/>
                  </a:lnTo>
                  <a:lnTo>
                    <a:pt x="385" y="24"/>
                  </a:lnTo>
                  <a:lnTo>
                    <a:pt x="451" y="41"/>
                  </a:lnTo>
                  <a:lnTo>
                    <a:pt x="456" y="24"/>
                  </a:lnTo>
                  <a:lnTo>
                    <a:pt x="520" y="33"/>
                  </a:lnTo>
                  <a:lnTo>
                    <a:pt x="543" y="24"/>
                  </a:lnTo>
                  <a:lnTo>
                    <a:pt x="557" y="33"/>
                  </a:lnTo>
                  <a:lnTo>
                    <a:pt x="699" y="41"/>
                  </a:lnTo>
                  <a:lnTo>
                    <a:pt x="699" y="50"/>
                  </a:lnTo>
                  <a:lnTo>
                    <a:pt x="711" y="74"/>
                  </a:lnTo>
                  <a:lnTo>
                    <a:pt x="753" y="74"/>
                  </a:lnTo>
                  <a:lnTo>
                    <a:pt x="765" y="95"/>
                  </a:lnTo>
                  <a:lnTo>
                    <a:pt x="765" y="107"/>
                  </a:lnTo>
                  <a:lnTo>
                    <a:pt x="742" y="111"/>
                  </a:lnTo>
                  <a:lnTo>
                    <a:pt x="737" y="123"/>
                  </a:lnTo>
                  <a:lnTo>
                    <a:pt x="704" y="128"/>
                  </a:lnTo>
                  <a:lnTo>
                    <a:pt x="645" y="161"/>
                  </a:lnTo>
                  <a:lnTo>
                    <a:pt x="635" y="178"/>
                  </a:lnTo>
                  <a:lnTo>
                    <a:pt x="619" y="194"/>
                  </a:lnTo>
                  <a:lnTo>
                    <a:pt x="536" y="199"/>
                  </a:lnTo>
                  <a:lnTo>
                    <a:pt x="520" y="215"/>
                  </a:lnTo>
                  <a:lnTo>
                    <a:pt x="520" y="232"/>
                  </a:lnTo>
                  <a:lnTo>
                    <a:pt x="494" y="255"/>
                  </a:lnTo>
                  <a:lnTo>
                    <a:pt x="482" y="248"/>
                  </a:lnTo>
                  <a:lnTo>
                    <a:pt x="451" y="255"/>
                  </a:lnTo>
                  <a:lnTo>
                    <a:pt x="439" y="232"/>
                  </a:lnTo>
                  <a:lnTo>
                    <a:pt x="418" y="248"/>
                  </a:lnTo>
                  <a:lnTo>
                    <a:pt x="385" y="239"/>
                  </a:lnTo>
                  <a:lnTo>
                    <a:pt x="385" y="239"/>
                  </a:lnTo>
                  <a:lnTo>
                    <a:pt x="385" y="23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3" name="Freeform 483">
              <a:extLst>
                <a:ext uri="{FF2B5EF4-FFF2-40B4-BE49-F238E27FC236}">
                  <a16:creationId xmlns:a16="http://schemas.microsoft.com/office/drawing/2014/main" id="{D04EB60E-2FBF-447E-849B-BA6413046E7A}"/>
                </a:ext>
              </a:extLst>
            </p:cNvPr>
            <p:cNvSpPr>
              <a:spLocks/>
            </p:cNvSpPr>
            <p:nvPr/>
          </p:nvSpPr>
          <p:spPr bwMode="gray">
            <a:xfrm>
              <a:off x="16597210" y="3033018"/>
              <a:ext cx="146301" cy="149247"/>
            </a:xfrm>
            <a:custGeom>
              <a:avLst/>
              <a:gdLst>
                <a:gd name="T0" fmla="*/ 45 w 447"/>
                <a:gd name="T1" fmla="*/ 217 h 456"/>
                <a:gd name="T2" fmla="*/ 55 w 447"/>
                <a:gd name="T3" fmla="*/ 217 h 456"/>
                <a:gd name="T4" fmla="*/ 104 w 447"/>
                <a:gd name="T5" fmla="*/ 184 h 456"/>
                <a:gd name="T6" fmla="*/ 156 w 447"/>
                <a:gd name="T7" fmla="*/ 144 h 456"/>
                <a:gd name="T8" fmla="*/ 189 w 447"/>
                <a:gd name="T9" fmla="*/ 106 h 456"/>
                <a:gd name="T10" fmla="*/ 270 w 447"/>
                <a:gd name="T11" fmla="*/ 144 h 456"/>
                <a:gd name="T12" fmla="*/ 270 w 447"/>
                <a:gd name="T13" fmla="*/ 106 h 456"/>
                <a:gd name="T14" fmla="*/ 324 w 447"/>
                <a:gd name="T15" fmla="*/ 89 h 456"/>
                <a:gd name="T16" fmla="*/ 357 w 447"/>
                <a:gd name="T17" fmla="*/ 49 h 456"/>
                <a:gd name="T18" fmla="*/ 378 w 447"/>
                <a:gd name="T19" fmla="*/ 49 h 456"/>
                <a:gd name="T20" fmla="*/ 421 w 447"/>
                <a:gd name="T21" fmla="*/ 11 h 456"/>
                <a:gd name="T22" fmla="*/ 442 w 447"/>
                <a:gd name="T23" fmla="*/ 45 h 456"/>
                <a:gd name="T24" fmla="*/ 447 w 447"/>
                <a:gd name="T25" fmla="*/ 66 h 456"/>
                <a:gd name="T26" fmla="*/ 378 w 447"/>
                <a:gd name="T27" fmla="*/ 122 h 456"/>
                <a:gd name="T28" fmla="*/ 388 w 447"/>
                <a:gd name="T29" fmla="*/ 144 h 456"/>
                <a:gd name="T30" fmla="*/ 350 w 447"/>
                <a:gd name="T31" fmla="*/ 200 h 456"/>
                <a:gd name="T32" fmla="*/ 303 w 447"/>
                <a:gd name="T33" fmla="*/ 238 h 456"/>
                <a:gd name="T34" fmla="*/ 286 w 447"/>
                <a:gd name="T35" fmla="*/ 255 h 456"/>
                <a:gd name="T36" fmla="*/ 260 w 447"/>
                <a:gd name="T37" fmla="*/ 271 h 456"/>
                <a:gd name="T38" fmla="*/ 232 w 447"/>
                <a:gd name="T39" fmla="*/ 323 h 456"/>
                <a:gd name="T40" fmla="*/ 218 w 447"/>
                <a:gd name="T41" fmla="*/ 311 h 456"/>
                <a:gd name="T42" fmla="*/ 248 w 447"/>
                <a:gd name="T43" fmla="*/ 340 h 456"/>
                <a:gd name="T44" fmla="*/ 281 w 447"/>
                <a:gd name="T45" fmla="*/ 394 h 456"/>
                <a:gd name="T46" fmla="*/ 206 w 447"/>
                <a:gd name="T47" fmla="*/ 406 h 456"/>
                <a:gd name="T48" fmla="*/ 163 w 447"/>
                <a:gd name="T49" fmla="*/ 451 h 456"/>
                <a:gd name="T50" fmla="*/ 135 w 447"/>
                <a:gd name="T51" fmla="*/ 451 h 456"/>
                <a:gd name="T52" fmla="*/ 121 w 447"/>
                <a:gd name="T53" fmla="*/ 439 h 456"/>
                <a:gd name="T54" fmla="*/ 109 w 447"/>
                <a:gd name="T55" fmla="*/ 432 h 456"/>
                <a:gd name="T56" fmla="*/ 104 w 447"/>
                <a:gd name="T57" fmla="*/ 439 h 456"/>
                <a:gd name="T58" fmla="*/ 88 w 447"/>
                <a:gd name="T59" fmla="*/ 439 h 456"/>
                <a:gd name="T60" fmla="*/ 71 w 447"/>
                <a:gd name="T61" fmla="*/ 422 h 456"/>
                <a:gd name="T62" fmla="*/ 45 w 447"/>
                <a:gd name="T63" fmla="*/ 406 h 456"/>
                <a:gd name="T64" fmla="*/ 83 w 447"/>
                <a:gd name="T65" fmla="*/ 366 h 456"/>
                <a:gd name="T66" fmla="*/ 66 w 447"/>
                <a:gd name="T67" fmla="*/ 361 h 456"/>
                <a:gd name="T68" fmla="*/ 71 w 447"/>
                <a:gd name="T69" fmla="*/ 304 h 456"/>
                <a:gd name="T70" fmla="*/ 55 w 447"/>
                <a:gd name="T71" fmla="*/ 295 h 456"/>
                <a:gd name="T72" fmla="*/ 33 w 447"/>
                <a:gd name="T73" fmla="*/ 288 h 456"/>
                <a:gd name="T74" fmla="*/ 17 w 447"/>
                <a:gd name="T75" fmla="*/ 283 h 456"/>
                <a:gd name="T76" fmla="*/ 12 w 447"/>
                <a:gd name="T77" fmla="*/ 250 h 456"/>
                <a:gd name="T78" fmla="*/ 12 w 447"/>
                <a:gd name="T79" fmla="*/ 25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47" h="456">
                  <a:moveTo>
                    <a:pt x="12" y="250"/>
                  </a:moveTo>
                  <a:lnTo>
                    <a:pt x="45" y="217"/>
                  </a:lnTo>
                  <a:lnTo>
                    <a:pt x="55" y="229"/>
                  </a:lnTo>
                  <a:lnTo>
                    <a:pt x="55" y="217"/>
                  </a:lnTo>
                  <a:lnTo>
                    <a:pt x="83" y="200"/>
                  </a:lnTo>
                  <a:lnTo>
                    <a:pt x="104" y="184"/>
                  </a:lnTo>
                  <a:lnTo>
                    <a:pt x="125" y="184"/>
                  </a:lnTo>
                  <a:lnTo>
                    <a:pt x="156" y="144"/>
                  </a:lnTo>
                  <a:lnTo>
                    <a:pt x="163" y="122"/>
                  </a:lnTo>
                  <a:lnTo>
                    <a:pt x="189" y="106"/>
                  </a:lnTo>
                  <a:lnTo>
                    <a:pt x="210" y="139"/>
                  </a:lnTo>
                  <a:lnTo>
                    <a:pt x="270" y="144"/>
                  </a:lnTo>
                  <a:lnTo>
                    <a:pt x="281" y="122"/>
                  </a:lnTo>
                  <a:lnTo>
                    <a:pt x="270" y="106"/>
                  </a:lnTo>
                  <a:lnTo>
                    <a:pt x="265" y="89"/>
                  </a:lnTo>
                  <a:lnTo>
                    <a:pt x="324" y="89"/>
                  </a:lnTo>
                  <a:lnTo>
                    <a:pt x="350" y="66"/>
                  </a:lnTo>
                  <a:lnTo>
                    <a:pt x="357" y="49"/>
                  </a:lnTo>
                  <a:lnTo>
                    <a:pt x="366" y="56"/>
                  </a:lnTo>
                  <a:lnTo>
                    <a:pt x="378" y="49"/>
                  </a:lnTo>
                  <a:lnTo>
                    <a:pt x="395" y="0"/>
                  </a:lnTo>
                  <a:lnTo>
                    <a:pt x="421" y="11"/>
                  </a:lnTo>
                  <a:lnTo>
                    <a:pt x="421" y="28"/>
                  </a:lnTo>
                  <a:lnTo>
                    <a:pt x="442" y="45"/>
                  </a:lnTo>
                  <a:lnTo>
                    <a:pt x="442" y="49"/>
                  </a:lnTo>
                  <a:lnTo>
                    <a:pt x="447" y="66"/>
                  </a:lnTo>
                  <a:lnTo>
                    <a:pt x="433" y="56"/>
                  </a:lnTo>
                  <a:lnTo>
                    <a:pt x="378" y="122"/>
                  </a:lnTo>
                  <a:lnTo>
                    <a:pt x="378" y="139"/>
                  </a:lnTo>
                  <a:lnTo>
                    <a:pt x="388" y="144"/>
                  </a:lnTo>
                  <a:lnTo>
                    <a:pt x="378" y="193"/>
                  </a:lnTo>
                  <a:lnTo>
                    <a:pt x="350" y="200"/>
                  </a:lnTo>
                  <a:lnTo>
                    <a:pt x="340" y="217"/>
                  </a:lnTo>
                  <a:lnTo>
                    <a:pt x="303" y="238"/>
                  </a:lnTo>
                  <a:lnTo>
                    <a:pt x="303" y="250"/>
                  </a:lnTo>
                  <a:lnTo>
                    <a:pt x="286" y="255"/>
                  </a:lnTo>
                  <a:lnTo>
                    <a:pt x="265" y="255"/>
                  </a:lnTo>
                  <a:lnTo>
                    <a:pt x="260" y="271"/>
                  </a:lnTo>
                  <a:lnTo>
                    <a:pt x="227" y="283"/>
                  </a:lnTo>
                  <a:lnTo>
                    <a:pt x="232" y="323"/>
                  </a:lnTo>
                  <a:lnTo>
                    <a:pt x="227" y="311"/>
                  </a:lnTo>
                  <a:lnTo>
                    <a:pt x="218" y="311"/>
                  </a:lnTo>
                  <a:lnTo>
                    <a:pt x="218" y="328"/>
                  </a:lnTo>
                  <a:lnTo>
                    <a:pt x="248" y="340"/>
                  </a:lnTo>
                  <a:lnTo>
                    <a:pt x="286" y="378"/>
                  </a:lnTo>
                  <a:lnTo>
                    <a:pt x="281" y="394"/>
                  </a:lnTo>
                  <a:lnTo>
                    <a:pt x="265" y="399"/>
                  </a:lnTo>
                  <a:lnTo>
                    <a:pt x="206" y="406"/>
                  </a:lnTo>
                  <a:lnTo>
                    <a:pt x="173" y="439"/>
                  </a:lnTo>
                  <a:lnTo>
                    <a:pt x="163" y="451"/>
                  </a:lnTo>
                  <a:lnTo>
                    <a:pt x="151" y="439"/>
                  </a:lnTo>
                  <a:lnTo>
                    <a:pt x="135" y="451"/>
                  </a:lnTo>
                  <a:lnTo>
                    <a:pt x="135" y="456"/>
                  </a:lnTo>
                  <a:lnTo>
                    <a:pt x="121" y="439"/>
                  </a:lnTo>
                  <a:lnTo>
                    <a:pt x="121" y="451"/>
                  </a:lnTo>
                  <a:lnTo>
                    <a:pt x="109" y="432"/>
                  </a:lnTo>
                  <a:lnTo>
                    <a:pt x="97" y="422"/>
                  </a:lnTo>
                  <a:lnTo>
                    <a:pt x="104" y="439"/>
                  </a:lnTo>
                  <a:lnTo>
                    <a:pt x="71" y="456"/>
                  </a:lnTo>
                  <a:lnTo>
                    <a:pt x="88" y="439"/>
                  </a:lnTo>
                  <a:lnTo>
                    <a:pt x="50" y="432"/>
                  </a:lnTo>
                  <a:lnTo>
                    <a:pt x="71" y="422"/>
                  </a:lnTo>
                  <a:lnTo>
                    <a:pt x="29" y="415"/>
                  </a:lnTo>
                  <a:lnTo>
                    <a:pt x="45" y="406"/>
                  </a:lnTo>
                  <a:lnTo>
                    <a:pt x="50" y="382"/>
                  </a:lnTo>
                  <a:lnTo>
                    <a:pt x="83" y="366"/>
                  </a:lnTo>
                  <a:lnTo>
                    <a:pt x="97" y="378"/>
                  </a:lnTo>
                  <a:lnTo>
                    <a:pt x="66" y="361"/>
                  </a:lnTo>
                  <a:lnTo>
                    <a:pt x="83" y="323"/>
                  </a:lnTo>
                  <a:lnTo>
                    <a:pt x="71" y="304"/>
                  </a:lnTo>
                  <a:lnTo>
                    <a:pt x="83" y="295"/>
                  </a:lnTo>
                  <a:lnTo>
                    <a:pt x="55" y="295"/>
                  </a:lnTo>
                  <a:lnTo>
                    <a:pt x="33" y="283"/>
                  </a:lnTo>
                  <a:lnTo>
                    <a:pt x="33" y="288"/>
                  </a:lnTo>
                  <a:lnTo>
                    <a:pt x="29" y="295"/>
                  </a:lnTo>
                  <a:lnTo>
                    <a:pt x="17" y="283"/>
                  </a:lnTo>
                  <a:lnTo>
                    <a:pt x="0" y="267"/>
                  </a:lnTo>
                  <a:lnTo>
                    <a:pt x="12" y="250"/>
                  </a:lnTo>
                  <a:lnTo>
                    <a:pt x="12" y="250"/>
                  </a:lnTo>
                  <a:lnTo>
                    <a:pt x="12" y="25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4" name="Freeform 485">
              <a:extLst>
                <a:ext uri="{FF2B5EF4-FFF2-40B4-BE49-F238E27FC236}">
                  <a16:creationId xmlns:a16="http://schemas.microsoft.com/office/drawing/2014/main" id="{5A061037-6073-480A-B1CE-8F0F7B8ECA99}"/>
                </a:ext>
              </a:extLst>
            </p:cNvPr>
            <p:cNvSpPr>
              <a:spLocks noEditPoints="1"/>
            </p:cNvSpPr>
            <p:nvPr/>
          </p:nvSpPr>
          <p:spPr bwMode="gray">
            <a:xfrm>
              <a:off x="16605720" y="3156736"/>
              <a:ext cx="144011" cy="144338"/>
            </a:xfrm>
            <a:custGeom>
              <a:avLst/>
              <a:gdLst>
                <a:gd name="T0" fmla="*/ 239 w 440"/>
                <a:gd name="T1" fmla="*/ 23 h 441"/>
                <a:gd name="T2" fmla="*/ 277 w 440"/>
                <a:gd name="T3" fmla="*/ 40 h 441"/>
                <a:gd name="T4" fmla="*/ 340 w 440"/>
                <a:gd name="T5" fmla="*/ 155 h 441"/>
                <a:gd name="T6" fmla="*/ 347 w 440"/>
                <a:gd name="T7" fmla="*/ 210 h 441"/>
                <a:gd name="T8" fmla="*/ 314 w 440"/>
                <a:gd name="T9" fmla="*/ 292 h 441"/>
                <a:gd name="T10" fmla="*/ 260 w 440"/>
                <a:gd name="T11" fmla="*/ 297 h 441"/>
                <a:gd name="T12" fmla="*/ 260 w 440"/>
                <a:gd name="T13" fmla="*/ 297 h 441"/>
                <a:gd name="T14" fmla="*/ 206 w 440"/>
                <a:gd name="T15" fmla="*/ 304 h 441"/>
                <a:gd name="T16" fmla="*/ 206 w 440"/>
                <a:gd name="T17" fmla="*/ 333 h 441"/>
                <a:gd name="T18" fmla="*/ 201 w 440"/>
                <a:gd name="T19" fmla="*/ 333 h 441"/>
                <a:gd name="T20" fmla="*/ 189 w 440"/>
                <a:gd name="T21" fmla="*/ 333 h 441"/>
                <a:gd name="T22" fmla="*/ 163 w 440"/>
                <a:gd name="T23" fmla="*/ 349 h 441"/>
                <a:gd name="T24" fmla="*/ 114 w 440"/>
                <a:gd name="T25" fmla="*/ 321 h 441"/>
                <a:gd name="T26" fmla="*/ 130 w 440"/>
                <a:gd name="T27" fmla="*/ 333 h 441"/>
                <a:gd name="T28" fmla="*/ 137 w 440"/>
                <a:gd name="T29" fmla="*/ 314 h 441"/>
                <a:gd name="T30" fmla="*/ 125 w 440"/>
                <a:gd name="T31" fmla="*/ 314 h 441"/>
                <a:gd name="T32" fmla="*/ 114 w 440"/>
                <a:gd name="T33" fmla="*/ 292 h 441"/>
                <a:gd name="T34" fmla="*/ 125 w 440"/>
                <a:gd name="T35" fmla="*/ 281 h 441"/>
                <a:gd name="T36" fmla="*/ 147 w 440"/>
                <a:gd name="T37" fmla="*/ 248 h 441"/>
                <a:gd name="T38" fmla="*/ 137 w 440"/>
                <a:gd name="T39" fmla="*/ 226 h 441"/>
                <a:gd name="T40" fmla="*/ 147 w 440"/>
                <a:gd name="T41" fmla="*/ 222 h 441"/>
                <a:gd name="T42" fmla="*/ 125 w 440"/>
                <a:gd name="T43" fmla="*/ 155 h 441"/>
                <a:gd name="T44" fmla="*/ 109 w 440"/>
                <a:gd name="T45" fmla="*/ 155 h 441"/>
                <a:gd name="T46" fmla="*/ 125 w 440"/>
                <a:gd name="T47" fmla="*/ 148 h 441"/>
                <a:gd name="T48" fmla="*/ 130 w 440"/>
                <a:gd name="T49" fmla="*/ 148 h 441"/>
                <a:gd name="T50" fmla="*/ 151 w 440"/>
                <a:gd name="T51" fmla="*/ 155 h 441"/>
                <a:gd name="T52" fmla="*/ 151 w 440"/>
                <a:gd name="T53" fmla="*/ 115 h 441"/>
                <a:gd name="T54" fmla="*/ 151 w 440"/>
                <a:gd name="T55" fmla="*/ 111 h 441"/>
                <a:gd name="T56" fmla="*/ 130 w 440"/>
                <a:gd name="T57" fmla="*/ 73 h 441"/>
                <a:gd name="T58" fmla="*/ 147 w 440"/>
                <a:gd name="T59" fmla="*/ 61 h 441"/>
                <a:gd name="T60" fmla="*/ 7 w 440"/>
                <a:gd name="T61" fmla="*/ 61 h 441"/>
                <a:gd name="T62" fmla="*/ 7 w 440"/>
                <a:gd name="T63" fmla="*/ 56 h 441"/>
                <a:gd name="T64" fmla="*/ 130 w 440"/>
                <a:gd name="T65" fmla="*/ 82 h 441"/>
                <a:gd name="T66" fmla="*/ 130 w 440"/>
                <a:gd name="T67" fmla="*/ 73 h 441"/>
                <a:gd name="T68" fmla="*/ 440 w 440"/>
                <a:gd name="T69" fmla="*/ 94 h 441"/>
                <a:gd name="T70" fmla="*/ 440 w 440"/>
                <a:gd name="T71" fmla="*/ 94 h 441"/>
                <a:gd name="T72" fmla="*/ 125 w 440"/>
                <a:gd name="T73" fmla="*/ 181 h 441"/>
                <a:gd name="T74" fmla="*/ 125 w 440"/>
                <a:gd name="T75" fmla="*/ 181 h 441"/>
                <a:gd name="T76" fmla="*/ 288 w 440"/>
                <a:gd name="T77" fmla="*/ 304 h 441"/>
                <a:gd name="T78" fmla="*/ 277 w 440"/>
                <a:gd name="T79" fmla="*/ 314 h 441"/>
                <a:gd name="T80" fmla="*/ 288 w 440"/>
                <a:gd name="T81" fmla="*/ 304 h 441"/>
                <a:gd name="T82" fmla="*/ 234 w 440"/>
                <a:gd name="T83" fmla="*/ 314 h 441"/>
                <a:gd name="T84" fmla="*/ 222 w 440"/>
                <a:gd name="T85" fmla="*/ 321 h 441"/>
                <a:gd name="T86" fmla="*/ 234 w 440"/>
                <a:gd name="T87" fmla="*/ 304 h 441"/>
                <a:gd name="T88" fmla="*/ 222 w 440"/>
                <a:gd name="T89" fmla="*/ 333 h 441"/>
                <a:gd name="T90" fmla="*/ 222 w 440"/>
                <a:gd name="T91" fmla="*/ 333 h 441"/>
                <a:gd name="T92" fmla="*/ 114 w 440"/>
                <a:gd name="T93" fmla="*/ 349 h 441"/>
                <a:gd name="T94" fmla="*/ 125 w 440"/>
                <a:gd name="T95" fmla="*/ 337 h 441"/>
                <a:gd name="T96" fmla="*/ 222 w 440"/>
                <a:gd name="T97" fmla="*/ 337 h 441"/>
                <a:gd name="T98" fmla="*/ 222 w 440"/>
                <a:gd name="T99" fmla="*/ 337 h 441"/>
                <a:gd name="T100" fmla="*/ 184 w 440"/>
                <a:gd name="T101" fmla="*/ 337 h 441"/>
                <a:gd name="T102" fmla="*/ 184 w 440"/>
                <a:gd name="T103" fmla="*/ 337 h 441"/>
                <a:gd name="T104" fmla="*/ 147 w 440"/>
                <a:gd name="T105" fmla="*/ 349 h 441"/>
                <a:gd name="T106" fmla="*/ 147 w 440"/>
                <a:gd name="T107" fmla="*/ 349 h 441"/>
                <a:gd name="T108" fmla="*/ 151 w 440"/>
                <a:gd name="T109" fmla="*/ 415 h 441"/>
                <a:gd name="T110" fmla="*/ 114 w 440"/>
                <a:gd name="T111" fmla="*/ 441 h 441"/>
                <a:gd name="T112" fmla="*/ 151 w 440"/>
                <a:gd name="T113" fmla="*/ 415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0" h="441">
                  <a:moveTo>
                    <a:pt x="147" y="61"/>
                  </a:moveTo>
                  <a:lnTo>
                    <a:pt x="180" y="28"/>
                  </a:lnTo>
                  <a:lnTo>
                    <a:pt x="239" y="23"/>
                  </a:lnTo>
                  <a:lnTo>
                    <a:pt x="255" y="16"/>
                  </a:lnTo>
                  <a:lnTo>
                    <a:pt x="260" y="0"/>
                  </a:lnTo>
                  <a:lnTo>
                    <a:pt x="277" y="40"/>
                  </a:lnTo>
                  <a:lnTo>
                    <a:pt x="310" y="78"/>
                  </a:lnTo>
                  <a:lnTo>
                    <a:pt x="340" y="132"/>
                  </a:lnTo>
                  <a:lnTo>
                    <a:pt x="340" y="155"/>
                  </a:lnTo>
                  <a:lnTo>
                    <a:pt x="331" y="210"/>
                  </a:lnTo>
                  <a:lnTo>
                    <a:pt x="340" y="222"/>
                  </a:lnTo>
                  <a:lnTo>
                    <a:pt x="347" y="210"/>
                  </a:lnTo>
                  <a:lnTo>
                    <a:pt x="347" y="210"/>
                  </a:lnTo>
                  <a:lnTo>
                    <a:pt x="340" y="248"/>
                  </a:lnTo>
                  <a:lnTo>
                    <a:pt x="314" y="292"/>
                  </a:lnTo>
                  <a:lnTo>
                    <a:pt x="293" y="292"/>
                  </a:lnTo>
                  <a:lnTo>
                    <a:pt x="277" y="281"/>
                  </a:lnTo>
                  <a:lnTo>
                    <a:pt x="260" y="297"/>
                  </a:lnTo>
                  <a:lnTo>
                    <a:pt x="272" y="297"/>
                  </a:lnTo>
                  <a:lnTo>
                    <a:pt x="272" y="314"/>
                  </a:lnTo>
                  <a:lnTo>
                    <a:pt x="260" y="297"/>
                  </a:lnTo>
                  <a:lnTo>
                    <a:pt x="255" y="304"/>
                  </a:lnTo>
                  <a:lnTo>
                    <a:pt x="239" y="297"/>
                  </a:lnTo>
                  <a:lnTo>
                    <a:pt x="206" y="304"/>
                  </a:lnTo>
                  <a:lnTo>
                    <a:pt x="206" y="314"/>
                  </a:lnTo>
                  <a:lnTo>
                    <a:pt x="222" y="314"/>
                  </a:lnTo>
                  <a:lnTo>
                    <a:pt x="206" y="333"/>
                  </a:lnTo>
                  <a:lnTo>
                    <a:pt x="201" y="304"/>
                  </a:lnTo>
                  <a:lnTo>
                    <a:pt x="189" y="321"/>
                  </a:lnTo>
                  <a:lnTo>
                    <a:pt x="201" y="333"/>
                  </a:lnTo>
                  <a:lnTo>
                    <a:pt x="189" y="337"/>
                  </a:lnTo>
                  <a:lnTo>
                    <a:pt x="180" y="337"/>
                  </a:lnTo>
                  <a:lnTo>
                    <a:pt x="189" y="333"/>
                  </a:lnTo>
                  <a:lnTo>
                    <a:pt x="189" y="321"/>
                  </a:lnTo>
                  <a:lnTo>
                    <a:pt x="168" y="333"/>
                  </a:lnTo>
                  <a:lnTo>
                    <a:pt x="163" y="349"/>
                  </a:lnTo>
                  <a:lnTo>
                    <a:pt x="151" y="333"/>
                  </a:lnTo>
                  <a:lnTo>
                    <a:pt x="137" y="354"/>
                  </a:lnTo>
                  <a:lnTo>
                    <a:pt x="114" y="321"/>
                  </a:lnTo>
                  <a:lnTo>
                    <a:pt x="114" y="321"/>
                  </a:lnTo>
                  <a:lnTo>
                    <a:pt x="130" y="333"/>
                  </a:lnTo>
                  <a:lnTo>
                    <a:pt x="130" y="333"/>
                  </a:lnTo>
                  <a:lnTo>
                    <a:pt x="137" y="333"/>
                  </a:lnTo>
                  <a:lnTo>
                    <a:pt x="130" y="321"/>
                  </a:lnTo>
                  <a:lnTo>
                    <a:pt x="137" y="314"/>
                  </a:lnTo>
                  <a:lnTo>
                    <a:pt x="130" y="304"/>
                  </a:lnTo>
                  <a:lnTo>
                    <a:pt x="130" y="314"/>
                  </a:lnTo>
                  <a:lnTo>
                    <a:pt x="125" y="314"/>
                  </a:lnTo>
                  <a:lnTo>
                    <a:pt x="125" y="297"/>
                  </a:lnTo>
                  <a:lnTo>
                    <a:pt x="114" y="304"/>
                  </a:lnTo>
                  <a:lnTo>
                    <a:pt x="114" y="292"/>
                  </a:lnTo>
                  <a:lnTo>
                    <a:pt x="125" y="281"/>
                  </a:lnTo>
                  <a:lnTo>
                    <a:pt x="125" y="297"/>
                  </a:lnTo>
                  <a:lnTo>
                    <a:pt x="125" y="281"/>
                  </a:lnTo>
                  <a:lnTo>
                    <a:pt x="125" y="264"/>
                  </a:lnTo>
                  <a:lnTo>
                    <a:pt x="130" y="259"/>
                  </a:lnTo>
                  <a:lnTo>
                    <a:pt x="147" y="248"/>
                  </a:lnTo>
                  <a:lnTo>
                    <a:pt x="130" y="243"/>
                  </a:lnTo>
                  <a:lnTo>
                    <a:pt x="151" y="226"/>
                  </a:lnTo>
                  <a:lnTo>
                    <a:pt x="137" y="226"/>
                  </a:lnTo>
                  <a:lnTo>
                    <a:pt x="137" y="222"/>
                  </a:lnTo>
                  <a:lnTo>
                    <a:pt x="151" y="210"/>
                  </a:lnTo>
                  <a:lnTo>
                    <a:pt x="147" y="222"/>
                  </a:lnTo>
                  <a:lnTo>
                    <a:pt x="130" y="205"/>
                  </a:lnTo>
                  <a:lnTo>
                    <a:pt x="130" y="155"/>
                  </a:lnTo>
                  <a:lnTo>
                    <a:pt x="125" y="155"/>
                  </a:lnTo>
                  <a:lnTo>
                    <a:pt x="114" y="172"/>
                  </a:lnTo>
                  <a:lnTo>
                    <a:pt x="114" y="155"/>
                  </a:lnTo>
                  <a:lnTo>
                    <a:pt x="109" y="155"/>
                  </a:lnTo>
                  <a:lnTo>
                    <a:pt x="114" y="139"/>
                  </a:lnTo>
                  <a:lnTo>
                    <a:pt x="114" y="148"/>
                  </a:lnTo>
                  <a:lnTo>
                    <a:pt x="125" y="148"/>
                  </a:lnTo>
                  <a:lnTo>
                    <a:pt x="125" y="132"/>
                  </a:lnTo>
                  <a:lnTo>
                    <a:pt x="125" y="132"/>
                  </a:lnTo>
                  <a:lnTo>
                    <a:pt x="130" y="148"/>
                  </a:lnTo>
                  <a:lnTo>
                    <a:pt x="130" y="132"/>
                  </a:lnTo>
                  <a:lnTo>
                    <a:pt x="151" y="139"/>
                  </a:lnTo>
                  <a:lnTo>
                    <a:pt x="151" y="155"/>
                  </a:lnTo>
                  <a:lnTo>
                    <a:pt x="168" y="139"/>
                  </a:lnTo>
                  <a:lnTo>
                    <a:pt x="147" y="132"/>
                  </a:lnTo>
                  <a:lnTo>
                    <a:pt x="151" y="115"/>
                  </a:lnTo>
                  <a:lnTo>
                    <a:pt x="137" y="127"/>
                  </a:lnTo>
                  <a:lnTo>
                    <a:pt x="137" y="115"/>
                  </a:lnTo>
                  <a:lnTo>
                    <a:pt x="151" y="111"/>
                  </a:lnTo>
                  <a:lnTo>
                    <a:pt x="147" y="111"/>
                  </a:lnTo>
                  <a:lnTo>
                    <a:pt x="130" y="78"/>
                  </a:lnTo>
                  <a:lnTo>
                    <a:pt x="130" y="73"/>
                  </a:lnTo>
                  <a:lnTo>
                    <a:pt x="147" y="78"/>
                  </a:lnTo>
                  <a:lnTo>
                    <a:pt x="147" y="61"/>
                  </a:lnTo>
                  <a:lnTo>
                    <a:pt x="147" y="61"/>
                  </a:lnTo>
                  <a:lnTo>
                    <a:pt x="147" y="61"/>
                  </a:lnTo>
                  <a:close/>
                  <a:moveTo>
                    <a:pt x="7" y="56"/>
                  </a:moveTo>
                  <a:lnTo>
                    <a:pt x="7" y="61"/>
                  </a:lnTo>
                  <a:lnTo>
                    <a:pt x="0" y="56"/>
                  </a:lnTo>
                  <a:lnTo>
                    <a:pt x="7" y="56"/>
                  </a:lnTo>
                  <a:lnTo>
                    <a:pt x="7" y="56"/>
                  </a:lnTo>
                  <a:lnTo>
                    <a:pt x="7" y="56"/>
                  </a:lnTo>
                  <a:close/>
                  <a:moveTo>
                    <a:pt x="130" y="73"/>
                  </a:moveTo>
                  <a:lnTo>
                    <a:pt x="130" y="82"/>
                  </a:lnTo>
                  <a:lnTo>
                    <a:pt x="125" y="82"/>
                  </a:lnTo>
                  <a:lnTo>
                    <a:pt x="125" y="73"/>
                  </a:lnTo>
                  <a:lnTo>
                    <a:pt x="130" y="73"/>
                  </a:lnTo>
                  <a:lnTo>
                    <a:pt x="130" y="73"/>
                  </a:lnTo>
                  <a:lnTo>
                    <a:pt x="130" y="73"/>
                  </a:lnTo>
                  <a:close/>
                  <a:moveTo>
                    <a:pt x="440" y="94"/>
                  </a:moveTo>
                  <a:lnTo>
                    <a:pt x="440" y="99"/>
                  </a:lnTo>
                  <a:lnTo>
                    <a:pt x="433" y="94"/>
                  </a:lnTo>
                  <a:lnTo>
                    <a:pt x="440" y="94"/>
                  </a:lnTo>
                  <a:lnTo>
                    <a:pt x="440" y="94"/>
                  </a:lnTo>
                  <a:lnTo>
                    <a:pt x="440" y="94"/>
                  </a:lnTo>
                  <a:close/>
                  <a:moveTo>
                    <a:pt x="125" y="181"/>
                  </a:moveTo>
                  <a:lnTo>
                    <a:pt x="125" y="181"/>
                  </a:lnTo>
                  <a:lnTo>
                    <a:pt x="125" y="165"/>
                  </a:lnTo>
                  <a:lnTo>
                    <a:pt x="125" y="181"/>
                  </a:lnTo>
                  <a:lnTo>
                    <a:pt x="125" y="181"/>
                  </a:lnTo>
                  <a:lnTo>
                    <a:pt x="125" y="181"/>
                  </a:lnTo>
                  <a:close/>
                  <a:moveTo>
                    <a:pt x="288" y="304"/>
                  </a:moveTo>
                  <a:lnTo>
                    <a:pt x="288" y="314"/>
                  </a:lnTo>
                  <a:lnTo>
                    <a:pt x="277" y="321"/>
                  </a:lnTo>
                  <a:lnTo>
                    <a:pt x="277" y="314"/>
                  </a:lnTo>
                  <a:lnTo>
                    <a:pt x="272" y="304"/>
                  </a:lnTo>
                  <a:lnTo>
                    <a:pt x="288" y="304"/>
                  </a:lnTo>
                  <a:lnTo>
                    <a:pt x="288" y="304"/>
                  </a:lnTo>
                  <a:lnTo>
                    <a:pt x="288" y="304"/>
                  </a:lnTo>
                  <a:close/>
                  <a:moveTo>
                    <a:pt x="234" y="304"/>
                  </a:moveTo>
                  <a:lnTo>
                    <a:pt x="234" y="314"/>
                  </a:lnTo>
                  <a:lnTo>
                    <a:pt x="239" y="314"/>
                  </a:lnTo>
                  <a:lnTo>
                    <a:pt x="239" y="321"/>
                  </a:lnTo>
                  <a:lnTo>
                    <a:pt x="222" y="321"/>
                  </a:lnTo>
                  <a:lnTo>
                    <a:pt x="222" y="304"/>
                  </a:lnTo>
                  <a:lnTo>
                    <a:pt x="234" y="304"/>
                  </a:lnTo>
                  <a:lnTo>
                    <a:pt x="234" y="304"/>
                  </a:lnTo>
                  <a:lnTo>
                    <a:pt x="234" y="304"/>
                  </a:lnTo>
                  <a:close/>
                  <a:moveTo>
                    <a:pt x="222" y="333"/>
                  </a:moveTo>
                  <a:lnTo>
                    <a:pt x="222" y="333"/>
                  </a:lnTo>
                  <a:lnTo>
                    <a:pt x="218" y="333"/>
                  </a:lnTo>
                  <a:lnTo>
                    <a:pt x="222" y="333"/>
                  </a:lnTo>
                  <a:lnTo>
                    <a:pt x="222" y="333"/>
                  </a:lnTo>
                  <a:lnTo>
                    <a:pt x="222" y="333"/>
                  </a:lnTo>
                  <a:close/>
                  <a:moveTo>
                    <a:pt x="125" y="337"/>
                  </a:moveTo>
                  <a:lnTo>
                    <a:pt x="114" y="349"/>
                  </a:lnTo>
                  <a:lnTo>
                    <a:pt x="99" y="349"/>
                  </a:lnTo>
                  <a:lnTo>
                    <a:pt x="114" y="333"/>
                  </a:lnTo>
                  <a:lnTo>
                    <a:pt x="125" y="337"/>
                  </a:lnTo>
                  <a:lnTo>
                    <a:pt x="125" y="337"/>
                  </a:lnTo>
                  <a:lnTo>
                    <a:pt x="125" y="337"/>
                  </a:lnTo>
                  <a:close/>
                  <a:moveTo>
                    <a:pt x="222" y="337"/>
                  </a:moveTo>
                  <a:lnTo>
                    <a:pt x="222" y="337"/>
                  </a:lnTo>
                  <a:lnTo>
                    <a:pt x="218" y="337"/>
                  </a:lnTo>
                  <a:lnTo>
                    <a:pt x="222" y="337"/>
                  </a:lnTo>
                  <a:lnTo>
                    <a:pt x="222" y="337"/>
                  </a:lnTo>
                  <a:lnTo>
                    <a:pt x="222" y="337"/>
                  </a:lnTo>
                  <a:close/>
                  <a:moveTo>
                    <a:pt x="184" y="337"/>
                  </a:moveTo>
                  <a:lnTo>
                    <a:pt x="184" y="349"/>
                  </a:lnTo>
                  <a:lnTo>
                    <a:pt x="180" y="349"/>
                  </a:lnTo>
                  <a:lnTo>
                    <a:pt x="184" y="337"/>
                  </a:lnTo>
                  <a:lnTo>
                    <a:pt x="184" y="337"/>
                  </a:lnTo>
                  <a:lnTo>
                    <a:pt x="184" y="337"/>
                  </a:lnTo>
                  <a:close/>
                  <a:moveTo>
                    <a:pt x="147" y="349"/>
                  </a:moveTo>
                  <a:lnTo>
                    <a:pt x="147" y="354"/>
                  </a:lnTo>
                  <a:lnTo>
                    <a:pt x="137" y="354"/>
                  </a:lnTo>
                  <a:lnTo>
                    <a:pt x="147" y="349"/>
                  </a:lnTo>
                  <a:lnTo>
                    <a:pt x="147" y="349"/>
                  </a:lnTo>
                  <a:lnTo>
                    <a:pt x="147" y="349"/>
                  </a:lnTo>
                  <a:close/>
                  <a:moveTo>
                    <a:pt x="151" y="415"/>
                  </a:moveTo>
                  <a:lnTo>
                    <a:pt x="163" y="425"/>
                  </a:lnTo>
                  <a:lnTo>
                    <a:pt x="151" y="432"/>
                  </a:lnTo>
                  <a:lnTo>
                    <a:pt x="114" y="441"/>
                  </a:lnTo>
                  <a:lnTo>
                    <a:pt x="109" y="441"/>
                  </a:lnTo>
                  <a:lnTo>
                    <a:pt x="114" y="425"/>
                  </a:lnTo>
                  <a:lnTo>
                    <a:pt x="151" y="415"/>
                  </a:lnTo>
                  <a:lnTo>
                    <a:pt x="151" y="415"/>
                  </a:lnTo>
                  <a:lnTo>
                    <a:pt x="151" y="415"/>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5" name="Freeform 486">
              <a:extLst>
                <a:ext uri="{FF2B5EF4-FFF2-40B4-BE49-F238E27FC236}">
                  <a16:creationId xmlns:a16="http://schemas.microsoft.com/office/drawing/2014/main" id="{7D54BB71-9227-4063-B1A0-E7E05C94D231}"/>
                </a:ext>
              </a:extLst>
            </p:cNvPr>
            <p:cNvSpPr>
              <a:spLocks/>
            </p:cNvSpPr>
            <p:nvPr/>
          </p:nvSpPr>
          <p:spPr bwMode="gray">
            <a:xfrm>
              <a:off x="16168124" y="4358896"/>
              <a:ext cx="2291" cy="5237"/>
            </a:xfrm>
            <a:custGeom>
              <a:avLst/>
              <a:gdLst>
                <a:gd name="T0" fmla="*/ 7 w 7"/>
                <a:gd name="T1" fmla="*/ 16 h 16"/>
                <a:gd name="T2" fmla="*/ 0 w 7"/>
                <a:gd name="T3" fmla="*/ 7 h 16"/>
                <a:gd name="T4" fmla="*/ 7 w 7"/>
                <a:gd name="T5" fmla="*/ 0 h 16"/>
                <a:gd name="T6" fmla="*/ 7 w 7"/>
                <a:gd name="T7" fmla="*/ 16 h 16"/>
                <a:gd name="T8" fmla="*/ 7 w 7"/>
                <a:gd name="T9" fmla="*/ 16 h 16"/>
                <a:gd name="T10" fmla="*/ 7 w 7"/>
                <a:gd name="T11" fmla="*/ 16 h 16"/>
              </a:gdLst>
              <a:ahLst/>
              <a:cxnLst>
                <a:cxn ang="0">
                  <a:pos x="T0" y="T1"/>
                </a:cxn>
                <a:cxn ang="0">
                  <a:pos x="T2" y="T3"/>
                </a:cxn>
                <a:cxn ang="0">
                  <a:pos x="T4" y="T5"/>
                </a:cxn>
                <a:cxn ang="0">
                  <a:pos x="T6" y="T7"/>
                </a:cxn>
                <a:cxn ang="0">
                  <a:pos x="T8" y="T9"/>
                </a:cxn>
                <a:cxn ang="0">
                  <a:pos x="T10" y="T11"/>
                </a:cxn>
              </a:cxnLst>
              <a:rect l="0" t="0" r="r" b="b"/>
              <a:pathLst>
                <a:path w="7" h="16">
                  <a:moveTo>
                    <a:pt x="7" y="16"/>
                  </a:moveTo>
                  <a:lnTo>
                    <a:pt x="0" y="7"/>
                  </a:lnTo>
                  <a:lnTo>
                    <a:pt x="7" y="0"/>
                  </a:lnTo>
                  <a:lnTo>
                    <a:pt x="7" y="16"/>
                  </a:lnTo>
                  <a:lnTo>
                    <a:pt x="7" y="16"/>
                  </a:lnTo>
                  <a:lnTo>
                    <a:pt x="7" y="16"/>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6" name="Freeform 487">
              <a:extLst>
                <a:ext uri="{FF2B5EF4-FFF2-40B4-BE49-F238E27FC236}">
                  <a16:creationId xmlns:a16="http://schemas.microsoft.com/office/drawing/2014/main" id="{A2A34F1B-C5DB-4FA9-99F4-3087DE3D959B}"/>
                </a:ext>
              </a:extLst>
            </p:cNvPr>
            <p:cNvSpPr>
              <a:spLocks noEditPoints="1"/>
            </p:cNvSpPr>
            <p:nvPr/>
          </p:nvSpPr>
          <p:spPr bwMode="gray">
            <a:xfrm>
              <a:off x="14812134" y="3383225"/>
              <a:ext cx="42549" cy="40258"/>
            </a:xfrm>
            <a:custGeom>
              <a:avLst/>
              <a:gdLst>
                <a:gd name="T0" fmla="*/ 0 w 130"/>
                <a:gd name="T1" fmla="*/ 73 h 123"/>
                <a:gd name="T2" fmla="*/ 33 w 130"/>
                <a:gd name="T3" fmla="*/ 45 h 123"/>
                <a:gd name="T4" fmla="*/ 50 w 130"/>
                <a:gd name="T5" fmla="*/ 0 h 123"/>
                <a:gd name="T6" fmla="*/ 87 w 130"/>
                <a:gd name="T7" fmla="*/ 0 h 123"/>
                <a:gd name="T8" fmla="*/ 104 w 130"/>
                <a:gd name="T9" fmla="*/ 0 h 123"/>
                <a:gd name="T10" fmla="*/ 118 w 130"/>
                <a:gd name="T11" fmla="*/ 45 h 123"/>
                <a:gd name="T12" fmla="*/ 104 w 130"/>
                <a:gd name="T13" fmla="*/ 33 h 123"/>
                <a:gd name="T14" fmla="*/ 87 w 130"/>
                <a:gd name="T15" fmla="*/ 56 h 123"/>
                <a:gd name="T16" fmla="*/ 109 w 130"/>
                <a:gd name="T17" fmla="*/ 56 h 123"/>
                <a:gd name="T18" fmla="*/ 130 w 130"/>
                <a:gd name="T19" fmla="*/ 123 h 123"/>
                <a:gd name="T20" fmla="*/ 87 w 130"/>
                <a:gd name="T21" fmla="*/ 123 h 123"/>
                <a:gd name="T22" fmla="*/ 66 w 130"/>
                <a:gd name="T23" fmla="*/ 85 h 123"/>
                <a:gd name="T24" fmla="*/ 0 w 130"/>
                <a:gd name="T25" fmla="*/ 73 h 123"/>
                <a:gd name="T26" fmla="*/ 0 w 130"/>
                <a:gd name="T27" fmla="*/ 73 h 123"/>
                <a:gd name="T28" fmla="*/ 0 w 130"/>
                <a:gd name="T29" fmla="*/ 73 h 123"/>
                <a:gd name="T30" fmla="*/ 0 w 130"/>
                <a:gd name="T31" fmla="*/ 73 h 123"/>
                <a:gd name="T32" fmla="*/ 118 w 130"/>
                <a:gd name="T33" fmla="*/ 9 h 123"/>
                <a:gd name="T34" fmla="*/ 130 w 130"/>
                <a:gd name="T35" fmla="*/ 28 h 123"/>
                <a:gd name="T36" fmla="*/ 118 w 130"/>
                <a:gd name="T37" fmla="*/ 45 h 123"/>
                <a:gd name="T38" fmla="*/ 109 w 130"/>
                <a:gd name="T39" fmla="*/ 28 h 123"/>
                <a:gd name="T40" fmla="*/ 109 w 130"/>
                <a:gd name="T41" fmla="*/ 9 h 123"/>
                <a:gd name="T42" fmla="*/ 118 w 130"/>
                <a:gd name="T43" fmla="*/ 9 h 123"/>
                <a:gd name="T44" fmla="*/ 118 w 130"/>
                <a:gd name="T45" fmla="*/ 9 h 123"/>
                <a:gd name="T46" fmla="*/ 118 w 130"/>
                <a:gd name="T47" fmla="*/ 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123">
                  <a:moveTo>
                    <a:pt x="0" y="73"/>
                  </a:moveTo>
                  <a:lnTo>
                    <a:pt x="33" y="45"/>
                  </a:lnTo>
                  <a:lnTo>
                    <a:pt x="50" y="0"/>
                  </a:lnTo>
                  <a:lnTo>
                    <a:pt x="87" y="0"/>
                  </a:lnTo>
                  <a:lnTo>
                    <a:pt x="104" y="0"/>
                  </a:lnTo>
                  <a:lnTo>
                    <a:pt x="118" y="45"/>
                  </a:lnTo>
                  <a:lnTo>
                    <a:pt x="104" y="33"/>
                  </a:lnTo>
                  <a:lnTo>
                    <a:pt x="87" y="56"/>
                  </a:lnTo>
                  <a:lnTo>
                    <a:pt x="109" y="56"/>
                  </a:lnTo>
                  <a:lnTo>
                    <a:pt x="130" y="123"/>
                  </a:lnTo>
                  <a:lnTo>
                    <a:pt x="87" y="123"/>
                  </a:lnTo>
                  <a:lnTo>
                    <a:pt x="66" y="85"/>
                  </a:lnTo>
                  <a:lnTo>
                    <a:pt x="0" y="73"/>
                  </a:lnTo>
                  <a:lnTo>
                    <a:pt x="0" y="73"/>
                  </a:lnTo>
                  <a:lnTo>
                    <a:pt x="0" y="73"/>
                  </a:lnTo>
                  <a:lnTo>
                    <a:pt x="0" y="73"/>
                  </a:lnTo>
                  <a:close/>
                  <a:moveTo>
                    <a:pt x="118" y="9"/>
                  </a:moveTo>
                  <a:lnTo>
                    <a:pt x="130" y="28"/>
                  </a:lnTo>
                  <a:lnTo>
                    <a:pt x="118" y="45"/>
                  </a:lnTo>
                  <a:lnTo>
                    <a:pt x="109" y="28"/>
                  </a:lnTo>
                  <a:lnTo>
                    <a:pt x="109" y="9"/>
                  </a:lnTo>
                  <a:lnTo>
                    <a:pt x="118" y="9"/>
                  </a:lnTo>
                  <a:lnTo>
                    <a:pt x="118" y="9"/>
                  </a:lnTo>
                  <a:lnTo>
                    <a:pt x="118" y="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7" name="Freeform 488">
              <a:extLst>
                <a:ext uri="{FF2B5EF4-FFF2-40B4-BE49-F238E27FC236}">
                  <a16:creationId xmlns:a16="http://schemas.microsoft.com/office/drawing/2014/main" id="{77430B18-6EBD-4734-8D08-3162DAE7ABD8}"/>
                </a:ext>
              </a:extLst>
            </p:cNvPr>
            <p:cNvSpPr>
              <a:spLocks noEditPoints="1"/>
            </p:cNvSpPr>
            <p:nvPr/>
          </p:nvSpPr>
          <p:spPr bwMode="gray">
            <a:xfrm>
              <a:off x="14812134" y="2651063"/>
              <a:ext cx="937050" cy="450688"/>
            </a:xfrm>
            <a:custGeom>
              <a:avLst/>
              <a:gdLst>
                <a:gd name="T0" fmla="*/ 456 w 2863"/>
                <a:gd name="T1" fmla="*/ 1240 h 1377"/>
                <a:gd name="T2" fmla="*/ 364 w 2863"/>
                <a:gd name="T3" fmla="*/ 1155 h 1377"/>
                <a:gd name="T4" fmla="*/ 267 w 2863"/>
                <a:gd name="T5" fmla="*/ 1015 h 1377"/>
                <a:gd name="T6" fmla="*/ 309 w 2863"/>
                <a:gd name="T7" fmla="*/ 994 h 1377"/>
                <a:gd name="T8" fmla="*/ 465 w 2863"/>
                <a:gd name="T9" fmla="*/ 878 h 1377"/>
                <a:gd name="T10" fmla="*/ 394 w 2863"/>
                <a:gd name="T11" fmla="*/ 829 h 1377"/>
                <a:gd name="T12" fmla="*/ 196 w 2863"/>
                <a:gd name="T13" fmla="*/ 850 h 1377"/>
                <a:gd name="T14" fmla="*/ 158 w 2863"/>
                <a:gd name="T15" fmla="*/ 834 h 1377"/>
                <a:gd name="T16" fmla="*/ 0 w 2863"/>
                <a:gd name="T17" fmla="*/ 678 h 1377"/>
                <a:gd name="T18" fmla="*/ 71 w 2863"/>
                <a:gd name="T19" fmla="*/ 493 h 1377"/>
                <a:gd name="T20" fmla="*/ 158 w 2863"/>
                <a:gd name="T21" fmla="*/ 510 h 1377"/>
                <a:gd name="T22" fmla="*/ 272 w 2863"/>
                <a:gd name="T23" fmla="*/ 399 h 1377"/>
                <a:gd name="T24" fmla="*/ 335 w 2863"/>
                <a:gd name="T25" fmla="*/ 382 h 1377"/>
                <a:gd name="T26" fmla="*/ 411 w 2863"/>
                <a:gd name="T27" fmla="*/ 366 h 1377"/>
                <a:gd name="T28" fmla="*/ 562 w 2863"/>
                <a:gd name="T29" fmla="*/ 456 h 1377"/>
                <a:gd name="T30" fmla="*/ 574 w 2863"/>
                <a:gd name="T31" fmla="*/ 434 h 1377"/>
                <a:gd name="T32" fmla="*/ 713 w 2863"/>
                <a:gd name="T33" fmla="*/ 434 h 1377"/>
                <a:gd name="T34" fmla="*/ 827 w 2863"/>
                <a:gd name="T35" fmla="*/ 423 h 1377"/>
                <a:gd name="T36" fmla="*/ 914 w 2863"/>
                <a:gd name="T37" fmla="*/ 489 h 1377"/>
                <a:gd name="T38" fmla="*/ 1061 w 2863"/>
                <a:gd name="T39" fmla="*/ 418 h 1377"/>
                <a:gd name="T40" fmla="*/ 952 w 2863"/>
                <a:gd name="T41" fmla="*/ 349 h 1377"/>
                <a:gd name="T42" fmla="*/ 1006 w 2863"/>
                <a:gd name="T43" fmla="*/ 278 h 1377"/>
                <a:gd name="T44" fmla="*/ 1028 w 2863"/>
                <a:gd name="T45" fmla="*/ 217 h 1377"/>
                <a:gd name="T46" fmla="*/ 1037 w 2863"/>
                <a:gd name="T47" fmla="*/ 167 h 1377"/>
                <a:gd name="T48" fmla="*/ 1129 w 2863"/>
                <a:gd name="T49" fmla="*/ 160 h 1377"/>
                <a:gd name="T50" fmla="*/ 1226 w 2863"/>
                <a:gd name="T51" fmla="*/ 111 h 1377"/>
                <a:gd name="T52" fmla="*/ 1368 w 2863"/>
                <a:gd name="T53" fmla="*/ 89 h 1377"/>
                <a:gd name="T54" fmla="*/ 1561 w 2863"/>
                <a:gd name="T55" fmla="*/ 12 h 1377"/>
                <a:gd name="T56" fmla="*/ 1687 w 2863"/>
                <a:gd name="T57" fmla="*/ 16 h 1377"/>
                <a:gd name="T58" fmla="*/ 1729 w 2863"/>
                <a:gd name="T59" fmla="*/ 111 h 1377"/>
                <a:gd name="T60" fmla="*/ 1795 w 2863"/>
                <a:gd name="T61" fmla="*/ 106 h 1377"/>
                <a:gd name="T62" fmla="*/ 1838 w 2863"/>
                <a:gd name="T63" fmla="*/ 156 h 1377"/>
                <a:gd name="T64" fmla="*/ 1918 w 2863"/>
                <a:gd name="T65" fmla="*/ 139 h 1377"/>
                <a:gd name="T66" fmla="*/ 1946 w 2863"/>
                <a:gd name="T67" fmla="*/ 184 h 1377"/>
                <a:gd name="T68" fmla="*/ 2027 w 2863"/>
                <a:gd name="T69" fmla="*/ 139 h 1377"/>
                <a:gd name="T70" fmla="*/ 2119 w 2863"/>
                <a:gd name="T71" fmla="*/ 127 h 1377"/>
                <a:gd name="T72" fmla="*/ 2376 w 2863"/>
                <a:gd name="T73" fmla="*/ 423 h 1377"/>
                <a:gd name="T74" fmla="*/ 2523 w 2863"/>
                <a:gd name="T75" fmla="*/ 460 h 1377"/>
                <a:gd name="T76" fmla="*/ 2702 w 2863"/>
                <a:gd name="T77" fmla="*/ 534 h 1377"/>
                <a:gd name="T78" fmla="*/ 2825 w 2863"/>
                <a:gd name="T79" fmla="*/ 550 h 1377"/>
                <a:gd name="T80" fmla="*/ 2837 w 2863"/>
                <a:gd name="T81" fmla="*/ 612 h 1377"/>
                <a:gd name="T82" fmla="*/ 2750 w 2863"/>
                <a:gd name="T83" fmla="*/ 777 h 1377"/>
                <a:gd name="T84" fmla="*/ 2627 w 2863"/>
                <a:gd name="T85" fmla="*/ 810 h 1377"/>
                <a:gd name="T86" fmla="*/ 2485 w 2863"/>
                <a:gd name="T87" fmla="*/ 978 h 1377"/>
                <a:gd name="T88" fmla="*/ 2376 w 2863"/>
                <a:gd name="T89" fmla="*/ 1027 h 1377"/>
                <a:gd name="T90" fmla="*/ 2362 w 2863"/>
                <a:gd name="T91" fmla="*/ 1200 h 1377"/>
                <a:gd name="T92" fmla="*/ 2157 w 2863"/>
                <a:gd name="T93" fmla="*/ 1178 h 1377"/>
                <a:gd name="T94" fmla="*/ 1902 w 2863"/>
                <a:gd name="T95" fmla="*/ 1162 h 1377"/>
                <a:gd name="T96" fmla="*/ 1713 w 2863"/>
                <a:gd name="T97" fmla="*/ 1233 h 1377"/>
                <a:gd name="T98" fmla="*/ 1583 w 2863"/>
                <a:gd name="T99" fmla="*/ 1323 h 1377"/>
                <a:gd name="T100" fmla="*/ 1422 w 2863"/>
                <a:gd name="T101" fmla="*/ 1327 h 1377"/>
                <a:gd name="T102" fmla="*/ 1292 w 2863"/>
                <a:gd name="T103" fmla="*/ 1105 h 1377"/>
                <a:gd name="T104" fmla="*/ 666 w 2863"/>
                <a:gd name="T105" fmla="*/ 1311 h 1377"/>
                <a:gd name="T106" fmla="*/ 456 w 2863"/>
                <a:gd name="T107" fmla="*/ 883 h 1377"/>
                <a:gd name="T108" fmla="*/ 267 w 2863"/>
                <a:gd name="T109" fmla="*/ 994 h 1377"/>
                <a:gd name="T110" fmla="*/ 255 w 2863"/>
                <a:gd name="T111" fmla="*/ 999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3" h="1377">
                  <a:moveTo>
                    <a:pt x="666" y="1311"/>
                  </a:moveTo>
                  <a:lnTo>
                    <a:pt x="628" y="1323"/>
                  </a:lnTo>
                  <a:lnTo>
                    <a:pt x="595" y="1273"/>
                  </a:lnTo>
                  <a:lnTo>
                    <a:pt x="595" y="1266"/>
                  </a:lnTo>
                  <a:lnTo>
                    <a:pt x="541" y="1221"/>
                  </a:lnTo>
                  <a:lnTo>
                    <a:pt x="487" y="1233"/>
                  </a:lnTo>
                  <a:lnTo>
                    <a:pt x="456" y="1240"/>
                  </a:lnTo>
                  <a:lnTo>
                    <a:pt x="418" y="1282"/>
                  </a:lnTo>
                  <a:lnTo>
                    <a:pt x="418" y="1266"/>
                  </a:lnTo>
                  <a:lnTo>
                    <a:pt x="411" y="1249"/>
                  </a:lnTo>
                  <a:lnTo>
                    <a:pt x="432" y="1195"/>
                  </a:lnTo>
                  <a:lnTo>
                    <a:pt x="394" y="1178"/>
                  </a:lnTo>
                  <a:lnTo>
                    <a:pt x="380" y="1183"/>
                  </a:lnTo>
                  <a:lnTo>
                    <a:pt x="364" y="1155"/>
                  </a:lnTo>
                  <a:lnTo>
                    <a:pt x="335" y="1155"/>
                  </a:lnTo>
                  <a:lnTo>
                    <a:pt x="335" y="1129"/>
                  </a:lnTo>
                  <a:lnTo>
                    <a:pt x="319" y="1100"/>
                  </a:lnTo>
                  <a:lnTo>
                    <a:pt x="305" y="1067"/>
                  </a:lnTo>
                  <a:lnTo>
                    <a:pt x="267" y="1051"/>
                  </a:lnTo>
                  <a:lnTo>
                    <a:pt x="267" y="1027"/>
                  </a:lnTo>
                  <a:lnTo>
                    <a:pt x="267" y="1015"/>
                  </a:lnTo>
                  <a:lnTo>
                    <a:pt x="305" y="1027"/>
                  </a:lnTo>
                  <a:lnTo>
                    <a:pt x="326" y="1034"/>
                  </a:lnTo>
                  <a:lnTo>
                    <a:pt x="357" y="1034"/>
                  </a:lnTo>
                  <a:lnTo>
                    <a:pt x="335" y="1027"/>
                  </a:lnTo>
                  <a:lnTo>
                    <a:pt x="335" y="1015"/>
                  </a:lnTo>
                  <a:lnTo>
                    <a:pt x="309" y="999"/>
                  </a:lnTo>
                  <a:lnTo>
                    <a:pt x="309" y="994"/>
                  </a:lnTo>
                  <a:lnTo>
                    <a:pt x="335" y="978"/>
                  </a:lnTo>
                  <a:lnTo>
                    <a:pt x="343" y="956"/>
                  </a:lnTo>
                  <a:lnTo>
                    <a:pt x="418" y="956"/>
                  </a:lnTo>
                  <a:lnTo>
                    <a:pt x="470" y="961"/>
                  </a:lnTo>
                  <a:lnTo>
                    <a:pt x="432" y="940"/>
                  </a:lnTo>
                  <a:lnTo>
                    <a:pt x="465" y="900"/>
                  </a:lnTo>
                  <a:lnTo>
                    <a:pt x="465" y="878"/>
                  </a:lnTo>
                  <a:lnTo>
                    <a:pt x="456" y="862"/>
                  </a:lnTo>
                  <a:lnTo>
                    <a:pt x="470" y="845"/>
                  </a:lnTo>
                  <a:lnTo>
                    <a:pt x="470" y="834"/>
                  </a:lnTo>
                  <a:lnTo>
                    <a:pt x="456" y="822"/>
                  </a:lnTo>
                  <a:lnTo>
                    <a:pt x="449" y="810"/>
                  </a:lnTo>
                  <a:lnTo>
                    <a:pt x="418" y="810"/>
                  </a:lnTo>
                  <a:lnTo>
                    <a:pt x="394" y="829"/>
                  </a:lnTo>
                  <a:lnTo>
                    <a:pt x="373" y="822"/>
                  </a:lnTo>
                  <a:lnTo>
                    <a:pt x="357" y="805"/>
                  </a:lnTo>
                  <a:lnTo>
                    <a:pt x="326" y="805"/>
                  </a:lnTo>
                  <a:lnTo>
                    <a:pt x="305" y="822"/>
                  </a:lnTo>
                  <a:lnTo>
                    <a:pt x="272" y="822"/>
                  </a:lnTo>
                  <a:lnTo>
                    <a:pt x="234" y="850"/>
                  </a:lnTo>
                  <a:lnTo>
                    <a:pt x="196" y="850"/>
                  </a:lnTo>
                  <a:lnTo>
                    <a:pt x="201" y="867"/>
                  </a:lnTo>
                  <a:lnTo>
                    <a:pt x="196" y="862"/>
                  </a:lnTo>
                  <a:lnTo>
                    <a:pt x="184" y="867"/>
                  </a:lnTo>
                  <a:lnTo>
                    <a:pt x="142" y="850"/>
                  </a:lnTo>
                  <a:lnTo>
                    <a:pt x="142" y="834"/>
                  </a:lnTo>
                  <a:lnTo>
                    <a:pt x="158" y="834"/>
                  </a:lnTo>
                  <a:lnTo>
                    <a:pt x="158" y="834"/>
                  </a:lnTo>
                  <a:lnTo>
                    <a:pt x="180" y="829"/>
                  </a:lnTo>
                  <a:lnTo>
                    <a:pt x="120" y="751"/>
                  </a:lnTo>
                  <a:lnTo>
                    <a:pt x="66" y="734"/>
                  </a:lnTo>
                  <a:lnTo>
                    <a:pt x="66" y="751"/>
                  </a:lnTo>
                  <a:lnTo>
                    <a:pt x="50" y="734"/>
                  </a:lnTo>
                  <a:lnTo>
                    <a:pt x="38" y="694"/>
                  </a:lnTo>
                  <a:lnTo>
                    <a:pt x="0" y="678"/>
                  </a:lnTo>
                  <a:lnTo>
                    <a:pt x="17" y="628"/>
                  </a:lnTo>
                  <a:lnTo>
                    <a:pt x="38" y="612"/>
                  </a:lnTo>
                  <a:lnTo>
                    <a:pt x="17" y="600"/>
                  </a:lnTo>
                  <a:lnTo>
                    <a:pt x="33" y="550"/>
                  </a:lnTo>
                  <a:lnTo>
                    <a:pt x="54" y="529"/>
                  </a:lnTo>
                  <a:lnTo>
                    <a:pt x="54" y="501"/>
                  </a:lnTo>
                  <a:lnTo>
                    <a:pt x="71" y="493"/>
                  </a:lnTo>
                  <a:lnTo>
                    <a:pt x="76" y="489"/>
                  </a:lnTo>
                  <a:lnTo>
                    <a:pt x="104" y="510"/>
                  </a:lnTo>
                  <a:lnTo>
                    <a:pt x="125" y="545"/>
                  </a:lnTo>
                  <a:lnTo>
                    <a:pt x="130" y="550"/>
                  </a:lnTo>
                  <a:lnTo>
                    <a:pt x="163" y="545"/>
                  </a:lnTo>
                  <a:lnTo>
                    <a:pt x="175" y="529"/>
                  </a:lnTo>
                  <a:lnTo>
                    <a:pt x="158" y="510"/>
                  </a:lnTo>
                  <a:lnTo>
                    <a:pt x="158" y="477"/>
                  </a:lnTo>
                  <a:lnTo>
                    <a:pt x="201" y="456"/>
                  </a:lnTo>
                  <a:lnTo>
                    <a:pt x="201" y="439"/>
                  </a:lnTo>
                  <a:lnTo>
                    <a:pt x="213" y="423"/>
                  </a:lnTo>
                  <a:lnTo>
                    <a:pt x="234" y="434"/>
                  </a:lnTo>
                  <a:lnTo>
                    <a:pt x="272" y="406"/>
                  </a:lnTo>
                  <a:lnTo>
                    <a:pt x="272" y="399"/>
                  </a:lnTo>
                  <a:lnTo>
                    <a:pt x="288" y="389"/>
                  </a:lnTo>
                  <a:lnTo>
                    <a:pt x="288" y="378"/>
                  </a:lnTo>
                  <a:lnTo>
                    <a:pt x="305" y="382"/>
                  </a:lnTo>
                  <a:lnTo>
                    <a:pt x="305" y="366"/>
                  </a:lnTo>
                  <a:lnTo>
                    <a:pt x="343" y="378"/>
                  </a:lnTo>
                  <a:lnTo>
                    <a:pt x="343" y="382"/>
                  </a:lnTo>
                  <a:lnTo>
                    <a:pt x="335" y="382"/>
                  </a:lnTo>
                  <a:lnTo>
                    <a:pt x="335" y="389"/>
                  </a:lnTo>
                  <a:lnTo>
                    <a:pt x="364" y="389"/>
                  </a:lnTo>
                  <a:lnTo>
                    <a:pt x="373" y="389"/>
                  </a:lnTo>
                  <a:lnTo>
                    <a:pt x="373" y="382"/>
                  </a:lnTo>
                  <a:lnTo>
                    <a:pt x="380" y="378"/>
                  </a:lnTo>
                  <a:lnTo>
                    <a:pt x="394" y="378"/>
                  </a:lnTo>
                  <a:lnTo>
                    <a:pt x="411" y="366"/>
                  </a:lnTo>
                  <a:lnTo>
                    <a:pt x="428" y="389"/>
                  </a:lnTo>
                  <a:lnTo>
                    <a:pt x="487" y="389"/>
                  </a:lnTo>
                  <a:lnTo>
                    <a:pt x="503" y="399"/>
                  </a:lnTo>
                  <a:lnTo>
                    <a:pt x="503" y="418"/>
                  </a:lnTo>
                  <a:lnTo>
                    <a:pt x="524" y="423"/>
                  </a:lnTo>
                  <a:lnTo>
                    <a:pt x="553" y="444"/>
                  </a:lnTo>
                  <a:lnTo>
                    <a:pt x="562" y="456"/>
                  </a:lnTo>
                  <a:lnTo>
                    <a:pt x="557" y="472"/>
                  </a:lnTo>
                  <a:lnTo>
                    <a:pt x="562" y="489"/>
                  </a:lnTo>
                  <a:lnTo>
                    <a:pt x="574" y="477"/>
                  </a:lnTo>
                  <a:lnTo>
                    <a:pt x="574" y="444"/>
                  </a:lnTo>
                  <a:lnTo>
                    <a:pt x="562" y="444"/>
                  </a:lnTo>
                  <a:lnTo>
                    <a:pt x="562" y="439"/>
                  </a:lnTo>
                  <a:lnTo>
                    <a:pt x="574" y="434"/>
                  </a:lnTo>
                  <a:lnTo>
                    <a:pt x="645" y="489"/>
                  </a:lnTo>
                  <a:lnTo>
                    <a:pt x="671" y="460"/>
                  </a:lnTo>
                  <a:lnTo>
                    <a:pt x="683" y="444"/>
                  </a:lnTo>
                  <a:lnTo>
                    <a:pt x="687" y="444"/>
                  </a:lnTo>
                  <a:lnTo>
                    <a:pt x="704" y="434"/>
                  </a:lnTo>
                  <a:lnTo>
                    <a:pt x="720" y="439"/>
                  </a:lnTo>
                  <a:lnTo>
                    <a:pt x="713" y="434"/>
                  </a:lnTo>
                  <a:lnTo>
                    <a:pt x="720" y="434"/>
                  </a:lnTo>
                  <a:lnTo>
                    <a:pt x="742" y="434"/>
                  </a:lnTo>
                  <a:lnTo>
                    <a:pt x="772" y="456"/>
                  </a:lnTo>
                  <a:lnTo>
                    <a:pt x="789" y="444"/>
                  </a:lnTo>
                  <a:lnTo>
                    <a:pt x="789" y="434"/>
                  </a:lnTo>
                  <a:lnTo>
                    <a:pt x="822" y="434"/>
                  </a:lnTo>
                  <a:lnTo>
                    <a:pt x="827" y="423"/>
                  </a:lnTo>
                  <a:lnTo>
                    <a:pt x="848" y="434"/>
                  </a:lnTo>
                  <a:lnTo>
                    <a:pt x="843" y="444"/>
                  </a:lnTo>
                  <a:lnTo>
                    <a:pt x="848" y="456"/>
                  </a:lnTo>
                  <a:lnTo>
                    <a:pt x="876" y="472"/>
                  </a:lnTo>
                  <a:lnTo>
                    <a:pt x="914" y="472"/>
                  </a:lnTo>
                  <a:lnTo>
                    <a:pt x="919" y="477"/>
                  </a:lnTo>
                  <a:lnTo>
                    <a:pt x="914" y="489"/>
                  </a:lnTo>
                  <a:lnTo>
                    <a:pt x="914" y="489"/>
                  </a:lnTo>
                  <a:lnTo>
                    <a:pt x="935" y="477"/>
                  </a:lnTo>
                  <a:lnTo>
                    <a:pt x="952" y="456"/>
                  </a:lnTo>
                  <a:lnTo>
                    <a:pt x="968" y="472"/>
                  </a:lnTo>
                  <a:lnTo>
                    <a:pt x="994" y="472"/>
                  </a:lnTo>
                  <a:lnTo>
                    <a:pt x="1044" y="460"/>
                  </a:lnTo>
                  <a:lnTo>
                    <a:pt x="1061" y="418"/>
                  </a:lnTo>
                  <a:lnTo>
                    <a:pt x="1065" y="418"/>
                  </a:lnTo>
                  <a:lnTo>
                    <a:pt x="1049" y="399"/>
                  </a:lnTo>
                  <a:lnTo>
                    <a:pt x="1011" y="389"/>
                  </a:lnTo>
                  <a:lnTo>
                    <a:pt x="1011" y="382"/>
                  </a:lnTo>
                  <a:lnTo>
                    <a:pt x="973" y="378"/>
                  </a:lnTo>
                  <a:lnTo>
                    <a:pt x="985" y="361"/>
                  </a:lnTo>
                  <a:lnTo>
                    <a:pt x="952" y="349"/>
                  </a:lnTo>
                  <a:lnTo>
                    <a:pt x="940" y="345"/>
                  </a:lnTo>
                  <a:lnTo>
                    <a:pt x="985" y="328"/>
                  </a:lnTo>
                  <a:lnTo>
                    <a:pt x="994" y="328"/>
                  </a:lnTo>
                  <a:lnTo>
                    <a:pt x="1023" y="312"/>
                  </a:lnTo>
                  <a:lnTo>
                    <a:pt x="1011" y="295"/>
                  </a:lnTo>
                  <a:lnTo>
                    <a:pt x="1006" y="288"/>
                  </a:lnTo>
                  <a:lnTo>
                    <a:pt x="1006" y="278"/>
                  </a:lnTo>
                  <a:lnTo>
                    <a:pt x="994" y="278"/>
                  </a:lnTo>
                  <a:lnTo>
                    <a:pt x="1023" y="250"/>
                  </a:lnTo>
                  <a:lnTo>
                    <a:pt x="1049" y="238"/>
                  </a:lnTo>
                  <a:lnTo>
                    <a:pt x="1082" y="250"/>
                  </a:lnTo>
                  <a:lnTo>
                    <a:pt x="1098" y="250"/>
                  </a:lnTo>
                  <a:lnTo>
                    <a:pt x="1098" y="234"/>
                  </a:lnTo>
                  <a:lnTo>
                    <a:pt x="1028" y="217"/>
                  </a:lnTo>
                  <a:lnTo>
                    <a:pt x="1037" y="193"/>
                  </a:lnTo>
                  <a:lnTo>
                    <a:pt x="1044" y="201"/>
                  </a:lnTo>
                  <a:lnTo>
                    <a:pt x="1061" y="193"/>
                  </a:lnTo>
                  <a:lnTo>
                    <a:pt x="1049" y="184"/>
                  </a:lnTo>
                  <a:lnTo>
                    <a:pt x="1011" y="184"/>
                  </a:lnTo>
                  <a:lnTo>
                    <a:pt x="1023" y="184"/>
                  </a:lnTo>
                  <a:lnTo>
                    <a:pt x="1037" y="167"/>
                  </a:lnTo>
                  <a:lnTo>
                    <a:pt x="1023" y="160"/>
                  </a:lnTo>
                  <a:lnTo>
                    <a:pt x="1023" y="156"/>
                  </a:lnTo>
                  <a:lnTo>
                    <a:pt x="1044" y="139"/>
                  </a:lnTo>
                  <a:lnTo>
                    <a:pt x="1091" y="156"/>
                  </a:lnTo>
                  <a:lnTo>
                    <a:pt x="1091" y="144"/>
                  </a:lnTo>
                  <a:lnTo>
                    <a:pt x="1113" y="144"/>
                  </a:lnTo>
                  <a:lnTo>
                    <a:pt x="1129" y="160"/>
                  </a:lnTo>
                  <a:lnTo>
                    <a:pt x="1129" y="144"/>
                  </a:lnTo>
                  <a:lnTo>
                    <a:pt x="1167" y="139"/>
                  </a:lnTo>
                  <a:lnTo>
                    <a:pt x="1167" y="127"/>
                  </a:lnTo>
                  <a:lnTo>
                    <a:pt x="1205" y="123"/>
                  </a:lnTo>
                  <a:lnTo>
                    <a:pt x="1221" y="127"/>
                  </a:lnTo>
                  <a:lnTo>
                    <a:pt x="1226" y="123"/>
                  </a:lnTo>
                  <a:lnTo>
                    <a:pt x="1226" y="111"/>
                  </a:lnTo>
                  <a:lnTo>
                    <a:pt x="1292" y="106"/>
                  </a:lnTo>
                  <a:lnTo>
                    <a:pt x="1313" y="111"/>
                  </a:lnTo>
                  <a:lnTo>
                    <a:pt x="1313" y="99"/>
                  </a:lnTo>
                  <a:lnTo>
                    <a:pt x="1330" y="82"/>
                  </a:lnTo>
                  <a:lnTo>
                    <a:pt x="1351" y="89"/>
                  </a:lnTo>
                  <a:lnTo>
                    <a:pt x="1368" y="73"/>
                  </a:lnTo>
                  <a:lnTo>
                    <a:pt x="1368" y="89"/>
                  </a:lnTo>
                  <a:lnTo>
                    <a:pt x="1476" y="66"/>
                  </a:lnTo>
                  <a:lnTo>
                    <a:pt x="1507" y="49"/>
                  </a:lnTo>
                  <a:lnTo>
                    <a:pt x="1524" y="49"/>
                  </a:lnTo>
                  <a:lnTo>
                    <a:pt x="1528" y="45"/>
                  </a:lnTo>
                  <a:lnTo>
                    <a:pt x="1524" y="28"/>
                  </a:lnTo>
                  <a:lnTo>
                    <a:pt x="1552" y="28"/>
                  </a:lnTo>
                  <a:lnTo>
                    <a:pt x="1561" y="12"/>
                  </a:lnTo>
                  <a:lnTo>
                    <a:pt x="1578" y="16"/>
                  </a:lnTo>
                  <a:lnTo>
                    <a:pt x="1578" y="0"/>
                  </a:lnTo>
                  <a:lnTo>
                    <a:pt x="1594" y="16"/>
                  </a:lnTo>
                  <a:lnTo>
                    <a:pt x="1599" y="12"/>
                  </a:lnTo>
                  <a:lnTo>
                    <a:pt x="1620" y="12"/>
                  </a:lnTo>
                  <a:lnTo>
                    <a:pt x="1670" y="33"/>
                  </a:lnTo>
                  <a:lnTo>
                    <a:pt x="1687" y="16"/>
                  </a:lnTo>
                  <a:lnTo>
                    <a:pt x="1708" y="16"/>
                  </a:lnTo>
                  <a:lnTo>
                    <a:pt x="1708" y="16"/>
                  </a:lnTo>
                  <a:lnTo>
                    <a:pt x="1713" y="45"/>
                  </a:lnTo>
                  <a:lnTo>
                    <a:pt x="1724" y="66"/>
                  </a:lnTo>
                  <a:lnTo>
                    <a:pt x="1741" y="82"/>
                  </a:lnTo>
                  <a:lnTo>
                    <a:pt x="1729" y="89"/>
                  </a:lnTo>
                  <a:lnTo>
                    <a:pt x="1729" y="111"/>
                  </a:lnTo>
                  <a:lnTo>
                    <a:pt x="1713" y="111"/>
                  </a:lnTo>
                  <a:lnTo>
                    <a:pt x="1729" y="139"/>
                  </a:lnTo>
                  <a:lnTo>
                    <a:pt x="1746" y="127"/>
                  </a:lnTo>
                  <a:lnTo>
                    <a:pt x="1762" y="139"/>
                  </a:lnTo>
                  <a:lnTo>
                    <a:pt x="1767" y="123"/>
                  </a:lnTo>
                  <a:lnTo>
                    <a:pt x="1800" y="139"/>
                  </a:lnTo>
                  <a:lnTo>
                    <a:pt x="1795" y="106"/>
                  </a:lnTo>
                  <a:lnTo>
                    <a:pt x="1800" y="111"/>
                  </a:lnTo>
                  <a:lnTo>
                    <a:pt x="1817" y="123"/>
                  </a:lnTo>
                  <a:lnTo>
                    <a:pt x="1809" y="127"/>
                  </a:lnTo>
                  <a:lnTo>
                    <a:pt x="1821" y="127"/>
                  </a:lnTo>
                  <a:lnTo>
                    <a:pt x="1817" y="156"/>
                  </a:lnTo>
                  <a:lnTo>
                    <a:pt x="1821" y="156"/>
                  </a:lnTo>
                  <a:lnTo>
                    <a:pt x="1838" y="156"/>
                  </a:lnTo>
                  <a:lnTo>
                    <a:pt x="1838" y="139"/>
                  </a:lnTo>
                  <a:lnTo>
                    <a:pt x="1821" y="144"/>
                  </a:lnTo>
                  <a:lnTo>
                    <a:pt x="1833" y="127"/>
                  </a:lnTo>
                  <a:lnTo>
                    <a:pt x="1854" y="139"/>
                  </a:lnTo>
                  <a:lnTo>
                    <a:pt x="1864" y="144"/>
                  </a:lnTo>
                  <a:lnTo>
                    <a:pt x="1876" y="156"/>
                  </a:lnTo>
                  <a:lnTo>
                    <a:pt x="1918" y="139"/>
                  </a:lnTo>
                  <a:lnTo>
                    <a:pt x="1909" y="160"/>
                  </a:lnTo>
                  <a:lnTo>
                    <a:pt x="1892" y="160"/>
                  </a:lnTo>
                  <a:lnTo>
                    <a:pt x="1876" y="184"/>
                  </a:lnTo>
                  <a:lnTo>
                    <a:pt x="1892" y="201"/>
                  </a:lnTo>
                  <a:lnTo>
                    <a:pt x="1909" y="184"/>
                  </a:lnTo>
                  <a:lnTo>
                    <a:pt x="1923" y="184"/>
                  </a:lnTo>
                  <a:lnTo>
                    <a:pt x="1946" y="184"/>
                  </a:lnTo>
                  <a:lnTo>
                    <a:pt x="1961" y="201"/>
                  </a:lnTo>
                  <a:lnTo>
                    <a:pt x="1961" y="177"/>
                  </a:lnTo>
                  <a:lnTo>
                    <a:pt x="1977" y="177"/>
                  </a:lnTo>
                  <a:lnTo>
                    <a:pt x="1984" y="160"/>
                  </a:lnTo>
                  <a:lnTo>
                    <a:pt x="1998" y="167"/>
                  </a:lnTo>
                  <a:lnTo>
                    <a:pt x="2031" y="144"/>
                  </a:lnTo>
                  <a:lnTo>
                    <a:pt x="2027" y="139"/>
                  </a:lnTo>
                  <a:lnTo>
                    <a:pt x="2031" y="139"/>
                  </a:lnTo>
                  <a:lnTo>
                    <a:pt x="2086" y="123"/>
                  </a:lnTo>
                  <a:lnTo>
                    <a:pt x="2086" y="111"/>
                  </a:lnTo>
                  <a:lnTo>
                    <a:pt x="2102" y="111"/>
                  </a:lnTo>
                  <a:lnTo>
                    <a:pt x="2124" y="106"/>
                  </a:lnTo>
                  <a:lnTo>
                    <a:pt x="2135" y="123"/>
                  </a:lnTo>
                  <a:lnTo>
                    <a:pt x="2119" y="127"/>
                  </a:lnTo>
                  <a:lnTo>
                    <a:pt x="2102" y="127"/>
                  </a:lnTo>
                  <a:lnTo>
                    <a:pt x="2107" y="144"/>
                  </a:lnTo>
                  <a:lnTo>
                    <a:pt x="2199" y="217"/>
                  </a:lnTo>
                  <a:lnTo>
                    <a:pt x="2355" y="460"/>
                  </a:lnTo>
                  <a:lnTo>
                    <a:pt x="2355" y="456"/>
                  </a:lnTo>
                  <a:lnTo>
                    <a:pt x="2388" y="439"/>
                  </a:lnTo>
                  <a:lnTo>
                    <a:pt x="2376" y="423"/>
                  </a:lnTo>
                  <a:lnTo>
                    <a:pt x="2393" y="418"/>
                  </a:lnTo>
                  <a:lnTo>
                    <a:pt x="2405" y="406"/>
                  </a:lnTo>
                  <a:lnTo>
                    <a:pt x="2431" y="423"/>
                  </a:lnTo>
                  <a:lnTo>
                    <a:pt x="2426" y="444"/>
                  </a:lnTo>
                  <a:lnTo>
                    <a:pt x="2447" y="439"/>
                  </a:lnTo>
                  <a:lnTo>
                    <a:pt x="2459" y="460"/>
                  </a:lnTo>
                  <a:lnTo>
                    <a:pt x="2523" y="460"/>
                  </a:lnTo>
                  <a:lnTo>
                    <a:pt x="2539" y="456"/>
                  </a:lnTo>
                  <a:lnTo>
                    <a:pt x="2539" y="444"/>
                  </a:lnTo>
                  <a:lnTo>
                    <a:pt x="2594" y="439"/>
                  </a:lnTo>
                  <a:lnTo>
                    <a:pt x="2627" y="456"/>
                  </a:lnTo>
                  <a:lnTo>
                    <a:pt x="2657" y="510"/>
                  </a:lnTo>
                  <a:lnTo>
                    <a:pt x="2702" y="529"/>
                  </a:lnTo>
                  <a:lnTo>
                    <a:pt x="2702" y="534"/>
                  </a:lnTo>
                  <a:lnTo>
                    <a:pt x="2702" y="545"/>
                  </a:lnTo>
                  <a:lnTo>
                    <a:pt x="2712" y="545"/>
                  </a:lnTo>
                  <a:lnTo>
                    <a:pt x="2717" y="571"/>
                  </a:lnTo>
                  <a:lnTo>
                    <a:pt x="2750" y="571"/>
                  </a:lnTo>
                  <a:lnTo>
                    <a:pt x="2787" y="583"/>
                  </a:lnTo>
                  <a:lnTo>
                    <a:pt x="2809" y="550"/>
                  </a:lnTo>
                  <a:lnTo>
                    <a:pt x="2825" y="550"/>
                  </a:lnTo>
                  <a:lnTo>
                    <a:pt x="2825" y="555"/>
                  </a:lnTo>
                  <a:lnTo>
                    <a:pt x="2809" y="571"/>
                  </a:lnTo>
                  <a:lnTo>
                    <a:pt x="2837" y="583"/>
                  </a:lnTo>
                  <a:lnTo>
                    <a:pt x="2837" y="600"/>
                  </a:lnTo>
                  <a:lnTo>
                    <a:pt x="2863" y="604"/>
                  </a:lnTo>
                  <a:lnTo>
                    <a:pt x="2863" y="623"/>
                  </a:lnTo>
                  <a:lnTo>
                    <a:pt x="2837" y="612"/>
                  </a:lnTo>
                  <a:lnTo>
                    <a:pt x="2820" y="628"/>
                  </a:lnTo>
                  <a:lnTo>
                    <a:pt x="2825" y="656"/>
                  </a:lnTo>
                  <a:lnTo>
                    <a:pt x="2809" y="666"/>
                  </a:lnTo>
                  <a:lnTo>
                    <a:pt x="2754" y="682"/>
                  </a:lnTo>
                  <a:lnTo>
                    <a:pt x="2740" y="723"/>
                  </a:lnTo>
                  <a:lnTo>
                    <a:pt x="2740" y="767"/>
                  </a:lnTo>
                  <a:lnTo>
                    <a:pt x="2750" y="777"/>
                  </a:lnTo>
                  <a:lnTo>
                    <a:pt x="2750" y="789"/>
                  </a:lnTo>
                  <a:lnTo>
                    <a:pt x="2740" y="805"/>
                  </a:lnTo>
                  <a:lnTo>
                    <a:pt x="2717" y="805"/>
                  </a:lnTo>
                  <a:lnTo>
                    <a:pt x="2686" y="829"/>
                  </a:lnTo>
                  <a:lnTo>
                    <a:pt x="2686" y="822"/>
                  </a:lnTo>
                  <a:lnTo>
                    <a:pt x="2679" y="810"/>
                  </a:lnTo>
                  <a:lnTo>
                    <a:pt x="2627" y="810"/>
                  </a:lnTo>
                  <a:lnTo>
                    <a:pt x="2565" y="789"/>
                  </a:lnTo>
                  <a:lnTo>
                    <a:pt x="2565" y="810"/>
                  </a:lnTo>
                  <a:lnTo>
                    <a:pt x="2513" y="940"/>
                  </a:lnTo>
                  <a:lnTo>
                    <a:pt x="2535" y="956"/>
                  </a:lnTo>
                  <a:lnTo>
                    <a:pt x="2535" y="978"/>
                  </a:lnTo>
                  <a:lnTo>
                    <a:pt x="2513" y="973"/>
                  </a:lnTo>
                  <a:lnTo>
                    <a:pt x="2485" y="978"/>
                  </a:lnTo>
                  <a:lnTo>
                    <a:pt x="2468" y="961"/>
                  </a:lnTo>
                  <a:lnTo>
                    <a:pt x="2355" y="989"/>
                  </a:lnTo>
                  <a:lnTo>
                    <a:pt x="2339" y="999"/>
                  </a:lnTo>
                  <a:lnTo>
                    <a:pt x="2350" y="1011"/>
                  </a:lnTo>
                  <a:lnTo>
                    <a:pt x="2372" y="1011"/>
                  </a:lnTo>
                  <a:lnTo>
                    <a:pt x="2388" y="1015"/>
                  </a:lnTo>
                  <a:lnTo>
                    <a:pt x="2376" y="1027"/>
                  </a:lnTo>
                  <a:lnTo>
                    <a:pt x="2376" y="1067"/>
                  </a:lnTo>
                  <a:lnTo>
                    <a:pt x="2405" y="1129"/>
                  </a:lnTo>
                  <a:lnTo>
                    <a:pt x="2409" y="1155"/>
                  </a:lnTo>
                  <a:lnTo>
                    <a:pt x="2376" y="1167"/>
                  </a:lnTo>
                  <a:lnTo>
                    <a:pt x="2393" y="1178"/>
                  </a:lnTo>
                  <a:lnTo>
                    <a:pt x="2372" y="1183"/>
                  </a:lnTo>
                  <a:lnTo>
                    <a:pt x="2362" y="1200"/>
                  </a:lnTo>
                  <a:lnTo>
                    <a:pt x="2372" y="1233"/>
                  </a:lnTo>
                  <a:lnTo>
                    <a:pt x="2362" y="1240"/>
                  </a:lnTo>
                  <a:lnTo>
                    <a:pt x="2350" y="1216"/>
                  </a:lnTo>
                  <a:lnTo>
                    <a:pt x="2308" y="1216"/>
                  </a:lnTo>
                  <a:lnTo>
                    <a:pt x="2296" y="1195"/>
                  </a:lnTo>
                  <a:lnTo>
                    <a:pt x="2296" y="1183"/>
                  </a:lnTo>
                  <a:lnTo>
                    <a:pt x="2157" y="1178"/>
                  </a:lnTo>
                  <a:lnTo>
                    <a:pt x="2140" y="1167"/>
                  </a:lnTo>
                  <a:lnTo>
                    <a:pt x="2119" y="1178"/>
                  </a:lnTo>
                  <a:lnTo>
                    <a:pt x="2053" y="1167"/>
                  </a:lnTo>
                  <a:lnTo>
                    <a:pt x="2048" y="1183"/>
                  </a:lnTo>
                  <a:lnTo>
                    <a:pt x="1984" y="1167"/>
                  </a:lnTo>
                  <a:lnTo>
                    <a:pt x="1946" y="1145"/>
                  </a:lnTo>
                  <a:lnTo>
                    <a:pt x="1902" y="1162"/>
                  </a:lnTo>
                  <a:lnTo>
                    <a:pt x="1892" y="1200"/>
                  </a:lnTo>
                  <a:lnTo>
                    <a:pt x="1892" y="1216"/>
                  </a:lnTo>
                  <a:lnTo>
                    <a:pt x="1809" y="1183"/>
                  </a:lnTo>
                  <a:lnTo>
                    <a:pt x="1767" y="1183"/>
                  </a:lnTo>
                  <a:lnTo>
                    <a:pt x="1729" y="1195"/>
                  </a:lnTo>
                  <a:lnTo>
                    <a:pt x="1708" y="1221"/>
                  </a:lnTo>
                  <a:lnTo>
                    <a:pt x="1713" y="1233"/>
                  </a:lnTo>
                  <a:lnTo>
                    <a:pt x="1703" y="1240"/>
                  </a:lnTo>
                  <a:lnTo>
                    <a:pt x="1691" y="1256"/>
                  </a:lnTo>
                  <a:lnTo>
                    <a:pt x="1675" y="1249"/>
                  </a:lnTo>
                  <a:lnTo>
                    <a:pt x="1649" y="1282"/>
                  </a:lnTo>
                  <a:lnTo>
                    <a:pt x="1620" y="1282"/>
                  </a:lnTo>
                  <a:lnTo>
                    <a:pt x="1583" y="1311"/>
                  </a:lnTo>
                  <a:lnTo>
                    <a:pt x="1583" y="1323"/>
                  </a:lnTo>
                  <a:lnTo>
                    <a:pt x="1552" y="1351"/>
                  </a:lnTo>
                  <a:lnTo>
                    <a:pt x="1552" y="1377"/>
                  </a:lnTo>
                  <a:lnTo>
                    <a:pt x="1540" y="1377"/>
                  </a:lnTo>
                  <a:lnTo>
                    <a:pt x="1514" y="1360"/>
                  </a:lnTo>
                  <a:lnTo>
                    <a:pt x="1524" y="1339"/>
                  </a:lnTo>
                  <a:lnTo>
                    <a:pt x="1507" y="1327"/>
                  </a:lnTo>
                  <a:lnTo>
                    <a:pt x="1422" y="1327"/>
                  </a:lnTo>
                  <a:lnTo>
                    <a:pt x="1405" y="1256"/>
                  </a:lnTo>
                  <a:lnTo>
                    <a:pt x="1368" y="1256"/>
                  </a:lnTo>
                  <a:lnTo>
                    <a:pt x="1377" y="1167"/>
                  </a:lnTo>
                  <a:lnTo>
                    <a:pt x="1351" y="1178"/>
                  </a:lnTo>
                  <a:lnTo>
                    <a:pt x="1335" y="1138"/>
                  </a:lnTo>
                  <a:lnTo>
                    <a:pt x="1313" y="1129"/>
                  </a:lnTo>
                  <a:lnTo>
                    <a:pt x="1292" y="1105"/>
                  </a:lnTo>
                  <a:lnTo>
                    <a:pt x="1259" y="1122"/>
                  </a:lnTo>
                  <a:lnTo>
                    <a:pt x="1174" y="1110"/>
                  </a:lnTo>
                  <a:lnTo>
                    <a:pt x="1091" y="1122"/>
                  </a:lnTo>
                  <a:lnTo>
                    <a:pt x="1028" y="1056"/>
                  </a:lnTo>
                  <a:lnTo>
                    <a:pt x="843" y="940"/>
                  </a:lnTo>
                  <a:lnTo>
                    <a:pt x="666" y="994"/>
                  </a:lnTo>
                  <a:lnTo>
                    <a:pt x="666" y="1311"/>
                  </a:lnTo>
                  <a:lnTo>
                    <a:pt x="666" y="1311"/>
                  </a:lnTo>
                  <a:lnTo>
                    <a:pt x="666" y="1311"/>
                  </a:lnTo>
                  <a:close/>
                  <a:moveTo>
                    <a:pt x="456" y="883"/>
                  </a:moveTo>
                  <a:lnTo>
                    <a:pt x="449" y="878"/>
                  </a:lnTo>
                  <a:lnTo>
                    <a:pt x="456" y="867"/>
                  </a:lnTo>
                  <a:lnTo>
                    <a:pt x="465" y="878"/>
                  </a:lnTo>
                  <a:lnTo>
                    <a:pt x="456" y="883"/>
                  </a:lnTo>
                  <a:lnTo>
                    <a:pt x="456" y="883"/>
                  </a:lnTo>
                  <a:lnTo>
                    <a:pt x="456" y="883"/>
                  </a:lnTo>
                  <a:close/>
                  <a:moveTo>
                    <a:pt x="267" y="994"/>
                  </a:moveTo>
                  <a:lnTo>
                    <a:pt x="267" y="989"/>
                  </a:lnTo>
                  <a:lnTo>
                    <a:pt x="272" y="989"/>
                  </a:lnTo>
                  <a:lnTo>
                    <a:pt x="267" y="994"/>
                  </a:lnTo>
                  <a:lnTo>
                    <a:pt x="267" y="994"/>
                  </a:lnTo>
                  <a:lnTo>
                    <a:pt x="267" y="994"/>
                  </a:lnTo>
                  <a:close/>
                  <a:moveTo>
                    <a:pt x="255" y="1011"/>
                  </a:moveTo>
                  <a:lnTo>
                    <a:pt x="239" y="994"/>
                  </a:lnTo>
                  <a:lnTo>
                    <a:pt x="250" y="989"/>
                  </a:lnTo>
                  <a:lnTo>
                    <a:pt x="255" y="989"/>
                  </a:lnTo>
                  <a:lnTo>
                    <a:pt x="250" y="994"/>
                  </a:lnTo>
                  <a:lnTo>
                    <a:pt x="255" y="999"/>
                  </a:lnTo>
                  <a:lnTo>
                    <a:pt x="255" y="1011"/>
                  </a:lnTo>
                  <a:lnTo>
                    <a:pt x="255" y="1011"/>
                  </a:lnTo>
                  <a:lnTo>
                    <a:pt x="255" y="1011"/>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8" name="Freeform 489">
              <a:extLst>
                <a:ext uri="{FF2B5EF4-FFF2-40B4-BE49-F238E27FC236}">
                  <a16:creationId xmlns:a16="http://schemas.microsoft.com/office/drawing/2014/main" id="{21DEFEEB-EFD5-4523-8CA4-7E050692E890}"/>
                </a:ext>
              </a:extLst>
            </p:cNvPr>
            <p:cNvSpPr>
              <a:spLocks/>
            </p:cNvSpPr>
            <p:nvPr/>
          </p:nvSpPr>
          <p:spPr bwMode="gray">
            <a:xfrm>
              <a:off x="16041461" y="3575676"/>
              <a:ext cx="175431" cy="208815"/>
            </a:xfrm>
            <a:custGeom>
              <a:avLst/>
              <a:gdLst>
                <a:gd name="T0" fmla="*/ 5 w 536"/>
                <a:gd name="T1" fmla="*/ 127 h 638"/>
                <a:gd name="T2" fmla="*/ 33 w 536"/>
                <a:gd name="T3" fmla="*/ 120 h 638"/>
                <a:gd name="T4" fmla="*/ 49 w 536"/>
                <a:gd name="T5" fmla="*/ 87 h 638"/>
                <a:gd name="T6" fmla="*/ 75 w 536"/>
                <a:gd name="T7" fmla="*/ 66 h 638"/>
                <a:gd name="T8" fmla="*/ 104 w 536"/>
                <a:gd name="T9" fmla="*/ 94 h 638"/>
                <a:gd name="T10" fmla="*/ 125 w 536"/>
                <a:gd name="T11" fmla="*/ 94 h 638"/>
                <a:gd name="T12" fmla="*/ 113 w 536"/>
                <a:gd name="T13" fmla="*/ 49 h 638"/>
                <a:gd name="T14" fmla="*/ 104 w 536"/>
                <a:gd name="T15" fmla="*/ 16 h 638"/>
                <a:gd name="T16" fmla="*/ 146 w 536"/>
                <a:gd name="T17" fmla="*/ 9 h 638"/>
                <a:gd name="T18" fmla="*/ 179 w 536"/>
                <a:gd name="T19" fmla="*/ 66 h 638"/>
                <a:gd name="T20" fmla="*/ 196 w 536"/>
                <a:gd name="T21" fmla="*/ 87 h 638"/>
                <a:gd name="T22" fmla="*/ 255 w 536"/>
                <a:gd name="T23" fmla="*/ 137 h 638"/>
                <a:gd name="T24" fmla="*/ 276 w 536"/>
                <a:gd name="T25" fmla="*/ 111 h 638"/>
                <a:gd name="T26" fmla="*/ 305 w 536"/>
                <a:gd name="T27" fmla="*/ 149 h 638"/>
                <a:gd name="T28" fmla="*/ 342 w 536"/>
                <a:gd name="T29" fmla="*/ 177 h 638"/>
                <a:gd name="T30" fmla="*/ 331 w 536"/>
                <a:gd name="T31" fmla="*/ 194 h 638"/>
                <a:gd name="T32" fmla="*/ 319 w 536"/>
                <a:gd name="T33" fmla="*/ 215 h 638"/>
                <a:gd name="T34" fmla="*/ 276 w 536"/>
                <a:gd name="T35" fmla="*/ 222 h 638"/>
                <a:gd name="T36" fmla="*/ 288 w 536"/>
                <a:gd name="T37" fmla="*/ 248 h 638"/>
                <a:gd name="T38" fmla="*/ 357 w 536"/>
                <a:gd name="T39" fmla="*/ 288 h 638"/>
                <a:gd name="T40" fmla="*/ 357 w 536"/>
                <a:gd name="T41" fmla="*/ 309 h 638"/>
                <a:gd name="T42" fmla="*/ 380 w 536"/>
                <a:gd name="T43" fmla="*/ 326 h 638"/>
                <a:gd name="T44" fmla="*/ 439 w 536"/>
                <a:gd name="T45" fmla="*/ 399 h 638"/>
                <a:gd name="T46" fmla="*/ 456 w 536"/>
                <a:gd name="T47" fmla="*/ 416 h 638"/>
                <a:gd name="T48" fmla="*/ 465 w 536"/>
                <a:gd name="T49" fmla="*/ 456 h 638"/>
                <a:gd name="T50" fmla="*/ 482 w 536"/>
                <a:gd name="T51" fmla="*/ 444 h 638"/>
                <a:gd name="T52" fmla="*/ 494 w 536"/>
                <a:gd name="T53" fmla="*/ 460 h 638"/>
                <a:gd name="T54" fmla="*/ 520 w 536"/>
                <a:gd name="T55" fmla="*/ 477 h 638"/>
                <a:gd name="T56" fmla="*/ 494 w 536"/>
                <a:gd name="T57" fmla="*/ 498 h 638"/>
                <a:gd name="T58" fmla="*/ 527 w 536"/>
                <a:gd name="T59" fmla="*/ 555 h 638"/>
                <a:gd name="T60" fmla="*/ 527 w 536"/>
                <a:gd name="T61" fmla="*/ 583 h 638"/>
                <a:gd name="T62" fmla="*/ 456 w 536"/>
                <a:gd name="T63" fmla="*/ 588 h 638"/>
                <a:gd name="T64" fmla="*/ 435 w 536"/>
                <a:gd name="T65" fmla="*/ 593 h 638"/>
                <a:gd name="T66" fmla="*/ 418 w 536"/>
                <a:gd name="T67" fmla="*/ 605 h 638"/>
                <a:gd name="T68" fmla="*/ 418 w 536"/>
                <a:gd name="T69" fmla="*/ 638 h 638"/>
                <a:gd name="T70" fmla="*/ 385 w 536"/>
                <a:gd name="T71" fmla="*/ 621 h 638"/>
                <a:gd name="T72" fmla="*/ 357 w 536"/>
                <a:gd name="T73" fmla="*/ 605 h 638"/>
                <a:gd name="T74" fmla="*/ 385 w 536"/>
                <a:gd name="T75" fmla="*/ 555 h 638"/>
                <a:gd name="T76" fmla="*/ 385 w 536"/>
                <a:gd name="T77" fmla="*/ 510 h 638"/>
                <a:gd name="T78" fmla="*/ 373 w 536"/>
                <a:gd name="T79" fmla="*/ 494 h 638"/>
                <a:gd name="T80" fmla="*/ 347 w 536"/>
                <a:gd name="T81" fmla="*/ 477 h 638"/>
                <a:gd name="T82" fmla="*/ 331 w 536"/>
                <a:gd name="T83" fmla="*/ 387 h 638"/>
                <a:gd name="T84" fmla="*/ 293 w 536"/>
                <a:gd name="T85" fmla="*/ 349 h 638"/>
                <a:gd name="T86" fmla="*/ 234 w 536"/>
                <a:gd name="T87" fmla="*/ 305 h 638"/>
                <a:gd name="T88" fmla="*/ 222 w 536"/>
                <a:gd name="T89" fmla="*/ 316 h 638"/>
                <a:gd name="T90" fmla="*/ 212 w 536"/>
                <a:gd name="T91" fmla="*/ 333 h 638"/>
                <a:gd name="T92" fmla="*/ 179 w 536"/>
                <a:gd name="T93" fmla="*/ 349 h 638"/>
                <a:gd name="T94" fmla="*/ 163 w 536"/>
                <a:gd name="T95" fmla="*/ 333 h 638"/>
                <a:gd name="T96" fmla="*/ 125 w 536"/>
                <a:gd name="T97" fmla="*/ 333 h 638"/>
                <a:gd name="T98" fmla="*/ 104 w 536"/>
                <a:gd name="T99" fmla="*/ 349 h 638"/>
                <a:gd name="T100" fmla="*/ 59 w 536"/>
                <a:gd name="T101" fmla="*/ 366 h 638"/>
                <a:gd name="T102" fmla="*/ 75 w 536"/>
                <a:gd name="T103" fmla="*/ 309 h 638"/>
                <a:gd name="T104" fmla="*/ 87 w 536"/>
                <a:gd name="T105" fmla="*/ 288 h 638"/>
                <a:gd name="T106" fmla="*/ 87 w 536"/>
                <a:gd name="T107" fmla="*/ 255 h 638"/>
                <a:gd name="T108" fmla="*/ 87 w 536"/>
                <a:gd name="T109" fmla="*/ 222 h 638"/>
                <a:gd name="T110" fmla="*/ 49 w 536"/>
                <a:gd name="T111" fmla="*/ 222 h 638"/>
                <a:gd name="T112" fmla="*/ 21 w 536"/>
                <a:gd name="T113" fmla="*/ 205 h 638"/>
                <a:gd name="T114" fmla="*/ 21 w 536"/>
                <a:gd name="T115" fmla="*/ 177 h 638"/>
                <a:gd name="T116" fmla="*/ 5 w 536"/>
                <a:gd name="T117" fmla="*/ 165 h 638"/>
                <a:gd name="T118" fmla="*/ 0 w 536"/>
                <a:gd name="T119" fmla="*/ 16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 h="638">
                  <a:moveTo>
                    <a:pt x="0" y="160"/>
                  </a:moveTo>
                  <a:lnTo>
                    <a:pt x="5" y="127"/>
                  </a:lnTo>
                  <a:lnTo>
                    <a:pt x="38" y="120"/>
                  </a:lnTo>
                  <a:lnTo>
                    <a:pt x="33" y="120"/>
                  </a:lnTo>
                  <a:lnTo>
                    <a:pt x="33" y="111"/>
                  </a:lnTo>
                  <a:lnTo>
                    <a:pt x="49" y="87"/>
                  </a:lnTo>
                  <a:lnTo>
                    <a:pt x="59" y="83"/>
                  </a:lnTo>
                  <a:lnTo>
                    <a:pt x="75" y="66"/>
                  </a:lnTo>
                  <a:lnTo>
                    <a:pt x="87" y="94"/>
                  </a:lnTo>
                  <a:lnTo>
                    <a:pt x="104" y="94"/>
                  </a:lnTo>
                  <a:lnTo>
                    <a:pt x="113" y="104"/>
                  </a:lnTo>
                  <a:lnTo>
                    <a:pt x="125" y="94"/>
                  </a:lnTo>
                  <a:lnTo>
                    <a:pt x="113" y="87"/>
                  </a:lnTo>
                  <a:lnTo>
                    <a:pt x="113" y="49"/>
                  </a:lnTo>
                  <a:lnTo>
                    <a:pt x="109" y="38"/>
                  </a:lnTo>
                  <a:lnTo>
                    <a:pt x="104" y="16"/>
                  </a:lnTo>
                  <a:lnTo>
                    <a:pt x="113" y="0"/>
                  </a:lnTo>
                  <a:lnTo>
                    <a:pt x="146" y="9"/>
                  </a:lnTo>
                  <a:lnTo>
                    <a:pt x="179" y="38"/>
                  </a:lnTo>
                  <a:lnTo>
                    <a:pt x="179" y="66"/>
                  </a:lnTo>
                  <a:lnTo>
                    <a:pt x="201" y="54"/>
                  </a:lnTo>
                  <a:lnTo>
                    <a:pt x="196" y="87"/>
                  </a:lnTo>
                  <a:lnTo>
                    <a:pt x="217" y="120"/>
                  </a:lnTo>
                  <a:lnTo>
                    <a:pt x="255" y="137"/>
                  </a:lnTo>
                  <a:lnTo>
                    <a:pt x="264" y="120"/>
                  </a:lnTo>
                  <a:lnTo>
                    <a:pt x="276" y="111"/>
                  </a:lnTo>
                  <a:lnTo>
                    <a:pt x="319" y="137"/>
                  </a:lnTo>
                  <a:lnTo>
                    <a:pt x="305" y="149"/>
                  </a:lnTo>
                  <a:lnTo>
                    <a:pt x="319" y="149"/>
                  </a:lnTo>
                  <a:lnTo>
                    <a:pt x="342" y="177"/>
                  </a:lnTo>
                  <a:lnTo>
                    <a:pt x="342" y="182"/>
                  </a:lnTo>
                  <a:lnTo>
                    <a:pt x="331" y="194"/>
                  </a:lnTo>
                  <a:lnTo>
                    <a:pt x="331" y="198"/>
                  </a:lnTo>
                  <a:lnTo>
                    <a:pt x="319" y="215"/>
                  </a:lnTo>
                  <a:lnTo>
                    <a:pt x="276" y="205"/>
                  </a:lnTo>
                  <a:lnTo>
                    <a:pt x="276" y="222"/>
                  </a:lnTo>
                  <a:lnTo>
                    <a:pt x="264" y="238"/>
                  </a:lnTo>
                  <a:lnTo>
                    <a:pt x="288" y="248"/>
                  </a:lnTo>
                  <a:lnTo>
                    <a:pt x="326" y="276"/>
                  </a:lnTo>
                  <a:lnTo>
                    <a:pt x="357" y="288"/>
                  </a:lnTo>
                  <a:lnTo>
                    <a:pt x="357" y="305"/>
                  </a:lnTo>
                  <a:lnTo>
                    <a:pt x="357" y="309"/>
                  </a:lnTo>
                  <a:lnTo>
                    <a:pt x="373" y="326"/>
                  </a:lnTo>
                  <a:lnTo>
                    <a:pt x="380" y="326"/>
                  </a:lnTo>
                  <a:lnTo>
                    <a:pt x="397" y="361"/>
                  </a:lnTo>
                  <a:lnTo>
                    <a:pt x="439" y="399"/>
                  </a:lnTo>
                  <a:lnTo>
                    <a:pt x="449" y="416"/>
                  </a:lnTo>
                  <a:lnTo>
                    <a:pt x="456" y="416"/>
                  </a:lnTo>
                  <a:lnTo>
                    <a:pt x="456" y="437"/>
                  </a:lnTo>
                  <a:lnTo>
                    <a:pt x="465" y="456"/>
                  </a:lnTo>
                  <a:lnTo>
                    <a:pt x="472" y="456"/>
                  </a:lnTo>
                  <a:lnTo>
                    <a:pt x="482" y="444"/>
                  </a:lnTo>
                  <a:lnTo>
                    <a:pt x="489" y="460"/>
                  </a:lnTo>
                  <a:lnTo>
                    <a:pt x="494" y="460"/>
                  </a:lnTo>
                  <a:lnTo>
                    <a:pt x="510" y="477"/>
                  </a:lnTo>
                  <a:lnTo>
                    <a:pt x="520" y="477"/>
                  </a:lnTo>
                  <a:lnTo>
                    <a:pt x="510" y="494"/>
                  </a:lnTo>
                  <a:lnTo>
                    <a:pt x="494" y="498"/>
                  </a:lnTo>
                  <a:lnTo>
                    <a:pt x="536" y="538"/>
                  </a:lnTo>
                  <a:lnTo>
                    <a:pt x="527" y="555"/>
                  </a:lnTo>
                  <a:lnTo>
                    <a:pt x="520" y="555"/>
                  </a:lnTo>
                  <a:lnTo>
                    <a:pt x="527" y="583"/>
                  </a:lnTo>
                  <a:lnTo>
                    <a:pt x="472" y="609"/>
                  </a:lnTo>
                  <a:lnTo>
                    <a:pt x="456" y="588"/>
                  </a:lnTo>
                  <a:lnTo>
                    <a:pt x="439" y="593"/>
                  </a:lnTo>
                  <a:lnTo>
                    <a:pt x="435" y="593"/>
                  </a:lnTo>
                  <a:lnTo>
                    <a:pt x="435" y="605"/>
                  </a:lnTo>
                  <a:lnTo>
                    <a:pt x="418" y="605"/>
                  </a:lnTo>
                  <a:lnTo>
                    <a:pt x="427" y="628"/>
                  </a:lnTo>
                  <a:lnTo>
                    <a:pt x="418" y="638"/>
                  </a:lnTo>
                  <a:lnTo>
                    <a:pt x="411" y="638"/>
                  </a:lnTo>
                  <a:lnTo>
                    <a:pt x="385" y="621"/>
                  </a:lnTo>
                  <a:lnTo>
                    <a:pt x="373" y="628"/>
                  </a:lnTo>
                  <a:lnTo>
                    <a:pt x="357" y="605"/>
                  </a:lnTo>
                  <a:lnTo>
                    <a:pt x="380" y="588"/>
                  </a:lnTo>
                  <a:lnTo>
                    <a:pt x="385" y="555"/>
                  </a:lnTo>
                  <a:lnTo>
                    <a:pt x="380" y="550"/>
                  </a:lnTo>
                  <a:lnTo>
                    <a:pt x="385" y="510"/>
                  </a:lnTo>
                  <a:lnTo>
                    <a:pt x="373" y="498"/>
                  </a:lnTo>
                  <a:lnTo>
                    <a:pt x="373" y="494"/>
                  </a:lnTo>
                  <a:lnTo>
                    <a:pt x="373" y="482"/>
                  </a:lnTo>
                  <a:lnTo>
                    <a:pt x="347" y="477"/>
                  </a:lnTo>
                  <a:lnTo>
                    <a:pt x="326" y="444"/>
                  </a:lnTo>
                  <a:lnTo>
                    <a:pt x="331" y="387"/>
                  </a:lnTo>
                  <a:lnTo>
                    <a:pt x="326" y="371"/>
                  </a:lnTo>
                  <a:lnTo>
                    <a:pt x="293" y="349"/>
                  </a:lnTo>
                  <a:lnTo>
                    <a:pt x="272" y="309"/>
                  </a:lnTo>
                  <a:lnTo>
                    <a:pt x="234" y="305"/>
                  </a:lnTo>
                  <a:lnTo>
                    <a:pt x="222" y="309"/>
                  </a:lnTo>
                  <a:lnTo>
                    <a:pt x="222" y="316"/>
                  </a:lnTo>
                  <a:lnTo>
                    <a:pt x="212" y="326"/>
                  </a:lnTo>
                  <a:lnTo>
                    <a:pt x="212" y="333"/>
                  </a:lnTo>
                  <a:lnTo>
                    <a:pt x="196" y="333"/>
                  </a:lnTo>
                  <a:lnTo>
                    <a:pt x="179" y="349"/>
                  </a:lnTo>
                  <a:lnTo>
                    <a:pt x="179" y="342"/>
                  </a:lnTo>
                  <a:lnTo>
                    <a:pt x="163" y="333"/>
                  </a:lnTo>
                  <a:lnTo>
                    <a:pt x="142" y="316"/>
                  </a:lnTo>
                  <a:lnTo>
                    <a:pt x="125" y="333"/>
                  </a:lnTo>
                  <a:lnTo>
                    <a:pt x="113" y="333"/>
                  </a:lnTo>
                  <a:lnTo>
                    <a:pt x="104" y="349"/>
                  </a:lnTo>
                  <a:lnTo>
                    <a:pt x="75" y="371"/>
                  </a:lnTo>
                  <a:lnTo>
                    <a:pt x="59" y="366"/>
                  </a:lnTo>
                  <a:lnTo>
                    <a:pt x="75" y="326"/>
                  </a:lnTo>
                  <a:lnTo>
                    <a:pt x="75" y="309"/>
                  </a:lnTo>
                  <a:lnTo>
                    <a:pt x="71" y="305"/>
                  </a:lnTo>
                  <a:lnTo>
                    <a:pt x="87" y="288"/>
                  </a:lnTo>
                  <a:lnTo>
                    <a:pt x="75" y="272"/>
                  </a:lnTo>
                  <a:lnTo>
                    <a:pt x="87" y="255"/>
                  </a:lnTo>
                  <a:lnTo>
                    <a:pt x="75" y="231"/>
                  </a:lnTo>
                  <a:lnTo>
                    <a:pt x="87" y="222"/>
                  </a:lnTo>
                  <a:lnTo>
                    <a:pt x="54" y="215"/>
                  </a:lnTo>
                  <a:lnTo>
                    <a:pt x="49" y="222"/>
                  </a:lnTo>
                  <a:lnTo>
                    <a:pt x="33" y="222"/>
                  </a:lnTo>
                  <a:lnTo>
                    <a:pt x="21" y="205"/>
                  </a:lnTo>
                  <a:lnTo>
                    <a:pt x="33" y="177"/>
                  </a:lnTo>
                  <a:lnTo>
                    <a:pt x="21" y="177"/>
                  </a:lnTo>
                  <a:lnTo>
                    <a:pt x="16" y="160"/>
                  </a:lnTo>
                  <a:lnTo>
                    <a:pt x="5" y="165"/>
                  </a:lnTo>
                  <a:lnTo>
                    <a:pt x="0" y="160"/>
                  </a:lnTo>
                  <a:lnTo>
                    <a:pt x="0" y="160"/>
                  </a:lnTo>
                  <a:lnTo>
                    <a:pt x="0" y="16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9" name="Freeform 490">
              <a:extLst>
                <a:ext uri="{FF2B5EF4-FFF2-40B4-BE49-F238E27FC236}">
                  <a16:creationId xmlns:a16="http://schemas.microsoft.com/office/drawing/2014/main" id="{C6CAF45C-2118-499F-A0D4-8F0F3B30AA0F}"/>
                </a:ext>
              </a:extLst>
            </p:cNvPr>
            <p:cNvSpPr>
              <a:spLocks/>
            </p:cNvSpPr>
            <p:nvPr/>
          </p:nvSpPr>
          <p:spPr bwMode="gray">
            <a:xfrm>
              <a:off x="14549970" y="3264744"/>
              <a:ext cx="36330" cy="42549"/>
            </a:xfrm>
            <a:custGeom>
              <a:avLst/>
              <a:gdLst>
                <a:gd name="T0" fmla="*/ 38 w 111"/>
                <a:gd name="T1" fmla="*/ 111 h 130"/>
                <a:gd name="T2" fmla="*/ 21 w 111"/>
                <a:gd name="T3" fmla="*/ 130 h 130"/>
                <a:gd name="T4" fmla="*/ 0 w 111"/>
                <a:gd name="T5" fmla="*/ 118 h 130"/>
                <a:gd name="T6" fmla="*/ 21 w 111"/>
                <a:gd name="T7" fmla="*/ 57 h 130"/>
                <a:gd name="T8" fmla="*/ 38 w 111"/>
                <a:gd name="T9" fmla="*/ 45 h 130"/>
                <a:gd name="T10" fmla="*/ 38 w 111"/>
                <a:gd name="T11" fmla="*/ 24 h 130"/>
                <a:gd name="T12" fmla="*/ 62 w 111"/>
                <a:gd name="T13" fmla="*/ 5 h 130"/>
                <a:gd name="T14" fmla="*/ 62 w 111"/>
                <a:gd name="T15" fmla="*/ 0 h 130"/>
                <a:gd name="T16" fmla="*/ 95 w 111"/>
                <a:gd name="T17" fmla="*/ 0 h 130"/>
                <a:gd name="T18" fmla="*/ 83 w 111"/>
                <a:gd name="T19" fmla="*/ 5 h 130"/>
                <a:gd name="T20" fmla="*/ 99 w 111"/>
                <a:gd name="T21" fmla="*/ 17 h 130"/>
                <a:gd name="T22" fmla="*/ 111 w 111"/>
                <a:gd name="T23" fmla="*/ 29 h 130"/>
                <a:gd name="T24" fmla="*/ 83 w 111"/>
                <a:gd name="T25" fmla="*/ 57 h 130"/>
                <a:gd name="T26" fmla="*/ 95 w 111"/>
                <a:gd name="T27" fmla="*/ 62 h 130"/>
                <a:gd name="T28" fmla="*/ 66 w 111"/>
                <a:gd name="T29" fmla="*/ 62 h 130"/>
                <a:gd name="T30" fmla="*/ 62 w 111"/>
                <a:gd name="T31" fmla="*/ 78 h 130"/>
                <a:gd name="T32" fmla="*/ 66 w 111"/>
                <a:gd name="T33" fmla="*/ 78 h 130"/>
                <a:gd name="T34" fmla="*/ 38 w 111"/>
                <a:gd name="T35" fmla="*/ 111 h 130"/>
                <a:gd name="T36" fmla="*/ 38 w 111"/>
                <a:gd name="T37" fmla="*/ 111 h 130"/>
                <a:gd name="T38" fmla="*/ 38 w 111"/>
                <a:gd name="T39" fmla="*/ 11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30">
                  <a:moveTo>
                    <a:pt x="38" y="111"/>
                  </a:moveTo>
                  <a:lnTo>
                    <a:pt x="21" y="130"/>
                  </a:lnTo>
                  <a:lnTo>
                    <a:pt x="0" y="118"/>
                  </a:lnTo>
                  <a:lnTo>
                    <a:pt x="21" y="57"/>
                  </a:lnTo>
                  <a:lnTo>
                    <a:pt x="38" y="45"/>
                  </a:lnTo>
                  <a:lnTo>
                    <a:pt x="38" y="24"/>
                  </a:lnTo>
                  <a:lnTo>
                    <a:pt x="62" y="5"/>
                  </a:lnTo>
                  <a:lnTo>
                    <a:pt x="62" y="0"/>
                  </a:lnTo>
                  <a:lnTo>
                    <a:pt x="95" y="0"/>
                  </a:lnTo>
                  <a:lnTo>
                    <a:pt x="83" y="5"/>
                  </a:lnTo>
                  <a:lnTo>
                    <a:pt x="99" y="17"/>
                  </a:lnTo>
                  <a:lnTo>
                    <a:pt x="111" y="29"/>
                  </a:lnTo>
                  <a:lnTo>
                    <a:pt x="83" y="57"/>
                  </a:lnTo>
                  <a:lnTo>
                    <a:pt x="95" y="62"/>
                  </a:lnTo>
                  <a:lnTo>
                    <a:pt x="66" y="62"/>
                  </a:lnTo>
                  <a:lnTo>
                    <a:pt x="62" y="78"/>
                  </a:lnTo>
                  <a:lnTo>
                    <a:pt x="66" y="78"/>
                  </a:lnTo>
                  <a:lnTo>
                    <a:pt x="38" y="111"/>
                  </a:lnTo>
                  <a:lnTo>
                    <a:pt x="38" y="111"/>
                  </a:lnTo>
                  <a:lnTo>
                    <a:pt x="38" y="111"/>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0" name="Freeform 491">
              <a:extLst>
                <a:ext uri="{FF2B5EF4-FFF2-40B4-BE49-F238E27FC236}">
                  <a16:creationId xmlns:a16="http://schemas.microsoft.com/office/drawing/2014/main" id="{5F6CAC7B-C096-4FB7-8D37-B31F0892BF2C}"/>
                </a:ext>
              </a:extLst>
            </p:cNvPr>
            <p:cNvSpPr>
              <a:spLocks/>
            </p:cNvSpPr>
            <p:nvPr/>
          </p:nvSpPr>
          <p:spPr bwMode="gray">
            <a:xfrm>
              <a:off x="14226928" y="2564329"/>
              <a:ext cx="166921" cy="79533"/>
            </a:xfrm>
            <a:custGeom>
              <a:avLst/>
              <a:gdLst>
                <a:gd name="T0" fmla="*/ 234 w 510"/>
                <a:gd name="T1" fmla="*/ 21 h 243"/>
                <a:gd name="T2" fmla="*/ 288 w 510"/>
                <a:gd name="T3" fmla="*/ 0 h 243"/>
                <a:gd name="T4" fmla="*/ 297 w 510"/>
                <a:gd name="T5" fmla="*/ 5 h 243"/>
                <a:gd name="T6" fmla="*/ 297 w 510"/>
                <a:gd name="T7" fmla="*/ 0 h 243"/>
                <a:gd name="T8" fmla="*/ 352 w 510"/>
                <a:gd name="T9" fmla="*/ 21 h 243"/>
                <a:gd name="T10" fmla="*/ 385 w 510"/>
                <a:gd name="T11" fmla="*/ 55 h 243"/>
                <a:gd name="T12" fmla="*/ 418 w 510"/>
                <a:gd name="T13" fmla="*/ 43 h 243"/>
                <a:gd name="T14" fmla="*/ 451 w 510"/>
                <a:gd name="T15" fmla="*/ 55 h 243"/>
                <a:gd name="T16" fmla="*/ 456 w 510"/>
                <a:gd name="T17" fmla="*/ 55 h 243"/>
                <a:gd name="T18" fmla="*/ 456 w 510"/>
                <a:gd name="T19" fmla="*/ 59 h 243"/>
                <a:gd name="T20" fmla="*/ 477 w 510"/>
                <a:gd name="T21" fmla="*/ 76 h 243"/>
                <a:gd name="T22" fmla="*/ 472 w 510"/>
                <a:gd name="T23" fmla="*/ 116 h 243"/>
                <a:gd name="T24" fmla="*/ 489 w 510"/>
                <a:gd name="T25" fmla="*/ 128 h 243"/>
                <a:gd name="T26" fmla="*/ 510 w 510"/>
                <a:gd name="T27" fmla="*/ 182 h 243"/>
                <a:gd name="T28" fmla="*/ 505 w 510"/>
                <a:gd name="T29" fmla="*/ 199 h 243"/>
                <a:gd name="T30" fmla="*/ 489 w 510"/>
                <a:gd name="T31" fmla="*/ 199 h 243"/>
                <a:gd name="T32" fmla="*/ 460 w 510"/>
                <a:gd name="T33" fmla="*/ 222 h 243"/>
                <a:gd name="T34" fmla="*/ 460 w 510"/>
                <a:gd name="T35" fmla="*/ 239 h 243"/>
                <a:gd name="T36" fmla="*/ 418 w 510"/>
                <a:gd name="T37" fmla="*/ 227 h 243"/>
                <a:gd name="T38" fmla="*/ 406 w 510"/>
                <a:gd name="T39" fmla="*/ 243 h 243"/>
                <a:gd name="T40" fmla="*/ 397 w 510"/>
                <a:gd name="T41" fmla="*/ 243 h 243"/>
                <a:gd name="T42" fmla="*/ 368 w 510"/>
                <a:gd name="T43" fmla="*/ 239 h 243"/>
                <a:gd name="T44" fmla="*/ 331 w 510"/>
                <a:gd name="T45" fmla="*/ 199 h 243"/>
                <a:gd name="T46" fmla="*/ 288 w 510"/>
                <a:gd name="T47" fmla="*/ 189 h 243"/>
                <a:gd name="T48" fmla="*/ 271 w 510"/>
                <a:gd name="T49" fmla="*/ 166 h 243"/>
                <a:gd name="T50" fmla="*/ 243 w 510"/>
                <a:gd name="T51" fmla="*/ 182 h 243"/>
                <a:gd name="T52" fmla="*/ 222 w 510"/>
                <a:gd name="T53" fmla="*/ 189 h 243"/>
                <a:gd name="T54" fmla="*/ 163 w 510"/>
                <a:gd name="T55" fmla="*/ 170 h 243"/>
                <a:gd name="T56" fmla="*/ 146 w 510"/>
                <a:gd name="T57" fmla="*/ 182 h 243"/>
                <a:gd name="T58" fmla="*/ 134 w 510"/>
                <a:gd name="T59" fmla="*/ 170 h 243"/>
                <a:gd name="T60" fmla="*/ 113 w 510"/>
                <a:gd name="T61" fmla="*/ 170 h 243"/>
                <a:gd name="T62" fmla="*/ 75 w 510"/>
                <a:gd name="T63" fmla="*/ 170 h 243"/>
                <a:gd name="T64" fmla="*/ 21 w 510"/>
                <a:gd name="T65" fmla="*/ 189 h 243"/>
                <a:gd name="T66" fmla="*/ 16 w 510"/>
                <a:gd name="T67" fmla="*/ 206 h 243"/>
                <a:gd name="T68" fmla="*/ 0 w 510"/>
                <a:gd name="T69" fmla="*/ 206 h 243"/>
                <a:gd name="T70" fmla="*/ 0 w 510"/>
                <a:gd name="T71" fmla="*/ 170 h 243"/>
                <a:gd name="T72" fmla="*/ 0 w 510"/>
                <a:gd name="T73" fmla="*/ 154 h 243"/>
                <a:gd name="T74" fmla="*/ 5 w 510"/>
                <a:gd name="T75" fmla="*/ 166 h 243"/>
                <a:gd name="T76" fmla="*/ 0 w 510"/>
                <a:gd name="T77" fmla="*/ 128 h 243"/>
                <a:gd name="T78" fmla="*/ 21 w 510"/>
                <a:gd name="T79" fmla="*/ 111 h 243"/>
                <a:gd name="T80" fmla="*/ 26 w 510"/>
                <a:gd name="T81" fmla="*/ 76 h 243"/>
                <a:gd name="T82" fmla="*/ 54 w 510"/>
                <a:gd name="T83" fmla="*/ 55 h 243"/>
                <a:gd name="T84" fmla="*/ 113 w 510"/>
                <a:gd name="T85" fmla="*/ 33 h 243"/>
                <a:gd name="T86" fmla="*/ 113 w 510"/>
                <a:gd name="T87" fmla="*/ 43 h 243"/>
                <a:gd name="T88" fmla="*/ 146 w 510"/>
                <a:gd name="T89" fmla="*/ 71 h 243"/>
                <a:gd name="T90" fmla="*/ 151 w 510"/>
                <a:gd name="T91" fmla="*/ 99 h 243"/>
                <a:gd name="T92" fmla="*/ 189 w 510"/>
                <a:gd name="T93" fmla="*/ 111 h 243"/>
                <a:gd name="T94" fmla="*/ 238 w 510"/>
                <a:gd name="T95" fmla="*/ 88 h 243"/>
                <a:gd name="T96" fmla="*/ 234 w 510"/>
                <a:gd name="T97" fmla="*/ 21 h 243"/>
                <a:gd name="T98" fmla="*/ 234 w 510"/>
                <a:gd name="T99" fmla="*/ 21 h 243"/>
                <a:gd name="T100" fmla="*/ 234 w 510"/>
                <a:gd name="T101" fmla="*/ 21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0" h="243">
                  <a:moveTo>
                    <a:pt x="234" y="21"/>
                  </a:moveTo>
                  <a:lnTo>
                    <a:pt x="288" y="0"/>
                  </a:lnTo>
                  <a:lnTo>
                    <a:pt x="297" y="5"/>
                  </a:lnTo>
                  <a:lnTo>
                    <a:pt x="297" y="0"/>
                  </a:lnTo>
                  <a:lnTo>
                    <a:pt x="352" y="21"/>
                  </a:lnTo>
                  <a:lnTo>
                    <a:pt x="385" y="55"/>
                  </a:lnTo>
                  <a:lnTo>
                    <a:pt x="418" y="43"/>
                  </a:lnTo>
                  <a:lnTo>
                    <a:pt x="451" y="55"/>
                  </a:lnTo>
                  <a:lnTo>
                    <a:pt x="456" y="55"/>
                  </a:lnTo>
                  <a:lnTo>
                    <a:pt x="456" y="59"/>
                  </a:lnTo>
                  <a:lnTo>
                    <a:pt x="477" y="76"/>
                  </a:lnTo>
                  <a:lnTo>
                    <a:pt x="472" y="116"/>
                  </a:lnTo>
                  <a:lnTo>
                    <a:pt x="489" y="128"/>
                  </a:lnTo>
                  <a:lnTo>
                    <a:pt x="510" y="182"/>
                  </a:lnTo>
                  <a:lnTo>
                    <a:pt x="505" y="199"/>
                  </a:lnTo>
                  <a:lnTo>
                    <a:pt x="489" y="199"/>
                  </a:lnTo>
                  <a:lnTo>
                    <a:pt x="460" y="222"/>
                  </a:lnTo>
                  <a:lnTo>
                    <a:pt x="460" y="239"/>
                  </a:lnTo>
                  <a:lnTo>
                    <a:pt x="418" y="227"/>
                  </a:lnTo>
                  <a:lnTo>
                    <a:pt x="406" y="243"/>
                  </a:lnTo>
                  <a:lnTo>
                    <a:pt x="397" y="243"/>
                  </a:lnTo>
                  <a:lnTo>
                    <a:pt x="368" y="239"/>
                  </a:lnTo>
                  <a:lnTo>
                    <a:pt x="331" y="199"/>
                  </a:lnTo>
                  <a:lnTo>
                    <a:pt x="288" y="189"/>
                  </a:lnTo>
                  <a:lnTo>
                    <a:pt x="271" y="166"/>
                  </a:lnTo>
                  <a:lnTo>
                    <a:pt x="243" y="182"/>
                  </a:lnTo>
                  <a:lnTo>
                    <a:pt x="222" y="189"/>
                  </a:lnTo>
                  <a:lnTo>
                    <a:pt x="163" y="170"/>
                  </a:lnTo>
                  <a:lnTo>
                    <a:pt x="146" y="182"/>
                  </a:lnTo>
                  <a:lnTo>
                    <a:pt x="134" y="170"/>
                  </a:lnTo>
                  <a:lnTo>
                    <a:pt x="113" y="170"/>
                  </a:lnTo>
                  <a:lnTo>
                    <a:pt x="75" y="170"/>
                  </a:lnTo>
                  <a:lnTo>
                    <a:pt x="21" y="189"/>
                  </a:lnTo>
                  <a:lnTo>
                    <a:pt x="16" y="206"/>
                  </a:lnTo>
                  <a:lnTo>
                    <a:pt x="0" y="206"/>
                  </a:lnTo>
                  <a:lnTo>
                    <a:pt x="0" y="170"/>
                  </a:lnTo>
                  <a:lnTo>
                    <a:pt x="0" y="154"/>
                  </a:lnTo>
                  <a:lnTo>
                    <a:pt x="5" y="166"/>
                  </a:lnTo>
                  <a:lnTo>
                    <a:pt x="0" y="128"/>
                  </a:lnTo>
                  <a:lnTo>
                    <a:pt x="21" y="111"/>
                  </a:lnTo>
                  <a:lnTo>
                    <a:pt x="26" y="76"/>
                  </a:lnTo>
                  <a:lnTo>
                    <a:pt x="54" y="55"/>
                  </a:lnTo>
                  <a:lnTo>
                    <a:pt x="113" y="33"/>
                  </a:lnTo>
                  <a:lnTo>
                    <a:pt x="113" y="43"/>
                  </a:lnTo>
                  <a:lnTo>
                    <a:pt x="146" y="71"/>
                  </a:lnTo>
                  <a:lnTo>
                    <a:pt x="151" y="99"/>
                  </a:lnTo>
                  <a:lnTo>
                    <a:pt x="189" y="111"/>
                  </a:lnTo>
                  <a:lnTo>
                    <a:pt x="238" y="88"/>
                  </a:lnTo>
                  <a:lnTo>
                    <a:pt x="234" y="21"/>
                  </a:lnTo>
                  <a:lnTo>
                    <a:pt x="234" y="21"/>
                  </a:lnTo>
                  <a:lnTo>
                    <a:pt x="234" y="21"/>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1" name="Freeform 492">
              <a:extLst>
                <a:ext uri="{FF2B5EF4-FFF2-40B4-BE49-F238E27FC236}">
                  <a16:creationId xmlns:a16="http://schemas.microsoft.com/office/drawing/2014/main" id="{0542F521-6014-42CC-B81D-419E1DF8735E}"/>
                </a:ext>
              </a:extLst>
            </p:cNvPr>
            <p:cNvSpPr>
              <a:spLocks noEditPoints="1"/>
            </p:cNvSpPr>
            <p:nvPr/>
          </p:nvSpPr>
          <p:spPr bwMode="gray">
            <a:xfrm>
              <a:off x="14223655" y="2618660"/>
              <a:ext cx="136810" cy="85752"/>
            </a:xfrm>
            <a:custGeom>
              <a:avLst/>
              <a:gdLst>
                <a:gd name="T0" fmla="*/ 137 w 418"/>
                <a:gd name="T1" fmla="*/ 212 h 262"/>
                <a:gd name="T2" fmla="*/ 126 w 418"/>
                <a:gd name="T3" fmla="*/ 200 h 262"/>
                <a:gd name="T4" fmla="*/ 137 w 418"/>
                <a:gd name="T5" fmla="*/ 184 h 262"/>
                <a:gd name="T6" fmla="*/ 142 w 418"/>
                <a:gd name="T7" fmla="*/ 167 h 262"/>
                <a:gd name="T8" fmla="*/ 121 w 418"/>
                <a:gd name="T9" fmla="*/ 146 h 262"/>
                <a:gd name="T10" fmla="*/ 88 w 418"/>
                <a:gd name="T11" fmla="*/ 146 h 262"/>
                <a:gd name="T12" fmla="*/ 33 w 418"/>
                <a:gd name="T13" fmla="*/ 118 h 262"/>
                <a:gd name="T14" fmla="*/ 29 w 418"/>
                <a:gd name="T15" fmla="*/ 129 h 262"/>
                <a:gd name="T16" fmla="*/ 29 w 418"/>
                <a:gd name="T17" fmla="*/ 113 h 262"/>
                <a:gd name="T18" fmla="*/ 29 w 418"/>
                <a:gd name="T19" fmla="*/ 113 h 262"/>
                <a:gd name="T20" fmla="*/ 29 w 418"/>
                <a:gd name="T21" fmla="*/ 101 h 262"/>
                <a:gd name="T22" fmla="*/ 12 w 418"/>
                <a:gd name="T23" fmla="*/ 73 h 262"/>
                <a:gd name="T24" fmla="*/ 12 w 418"/>
                <a:gd name="T25" fmla="*/ 40 h 262"/>
                <a:gd name="T26" fmla="*/ 29 w 418"/>
                <a:gd name="T27" fmla="*/ 40 h 262"/>
                <a:gd name="T28" fmla="*/ 33 w 418"/>
                <a:gd name="T29" fmla="*/ 23 h 262"/>
                <a:gd name="T30" fmla="*/ 88 w 418"/>
                <a:gd name="T31" fmla="*/ 7 h 262"/>
                <a:gd name="T32" fmla="*/ 126 w 418"/>
                <a:gd name="T33" fmla="*/ 7 h 262"/>
                <a:gd name="T34" fmla="*/ 147 w 418"/>
                <a:gd name="T35" fmla="*/ 7 h 262"/>
                <a:gd name="T36" fmla="*/ 159 w 418"/>
                <a:gd name="T37" fmla="*/ 16 h 262"/>
                <a:gd name="T38" fmla="*/ 175 w 418"/>
                <a:gd name="T39" fmla="*/ 7 h 262"/>
                <a:gd name="T40" fmla="*/ 234 w 418"/>
                <a:gd name="T41" fmla="*/ 23 h 262"/>
                <a:gd name="T42" fmla="*/ 256 w 418"/>
                <a:gd name="T43" fmla="*/ 16 h 262"/>
                <a:gd name="T44" fmla="*/ 281 w 418"/>
                <a:gd name="T45" fmla="*/ 0 h 262"/>
                <a:gd name="T46" fmla="*/ 298 w 418"/>
                <a:gd name="T47" fmla="*/ 23 h 262"/>
                <a:gd name="T48" fmla="*/ 341 w 418"/>
                <a:gd name="T49" fmla="*/ 35 h 262"/>
                <a:gd name="T50" fmla="*/ 378 w 418"/>
                <a:gd name="T51" fmla="*/ 73 h 262"/>
                <a:gd name="T52" fmla="*/ 407 w 418"/>
                <a:gd name="T53" fmla="*/ 77 h 262"/>
                <a:gd name="T54" fmla="*/ 395 w 418"/>
                <a:gd name="T55" fmla="*/ 113 h 262"/>
                <a:gd name="T56" fmla="*/ 418 w 418"/>
                <a:gd name="T57" fmla="*/ 118 h 262"/>
                <a:gd name="T58" fmla="*/ 395 w 418"/>
                <a:gd name="T59" fmla="*/ 134 h 262"/>
                <a:gd name="T60" fmla="*/ 378 w 418"/>
                <a:gd name="T61" fmla="*/ 134 h 262"/>
                <a:gd name="T62" fmla="*/ 374 w 418"/>
                <a:gd name="T63" fmla="*/ 151 h 262"/>
                <a:gd name="T64" fmla="*/ 341 w 418"/>
                <a:gd name="T65" fmla="*/ 155 h 262"/>
                <a:gd name="T66" fmla="*/ 341 w 418"/>
                <a:gd name="T67" fmla="*/ 191 h 262"/>
                <a:gd name="T68" fmla="*/ 326 w 418"/>
                <a:gd name="T69" fmla="*/ 212 h 262"/>
                <a:gd name="T70" fmla="*/ 341 w 418"/>
                <a:gd name="T71" fmla="*/ 212 h 262"/>
                <a:gd name="T72" fmla="*/ 341 w 418"/>
                <a:gd name="T73" fmla="*/ 229 h 262"/>
                <a:gd name="T74" fmla="*/ 326 w 418"/>
                <a:gd name="T75" fmla="*/ 229 h 262"/>
                <a:gd name="T76" fmla="*/ 336 w 418"/>
                <a:gd name="T77" fmla="*/ 224 h 262"/>
                <a:gd name="T78" fmla="*/ 326 w 418"/>
                <a:gd name="T79" fmla="*/ 212 h 262"/>
                <a:gd name="T80" fmla="*/ 298 w 418"/>
                <a:gd name="T81" fmla="*/ 240 h 262"/>
                <a:gd name="T82" fmla="*/ 281 w 418"/>
                <a:gd name="T83" fmla="*/ 229 h 262"/>
                <a:gd name="T84" fmla="*/ 281 w 418"/>
                <a:gd name="T85" fmla="*/ 257 h 262"/>
                <a:gd name="T86" fmla="*/ 265 w 418"/>
                <a:gd name="T87" fmla="*/ 245 h 262"/>
                <a:gd name="T88" fmla="*/ 251 w 418"/>
                <a:gd name="T89" fmla="*/ 262 h 262"/>
                <a:gd name="T90" fmla="*/ 234 w 418"/>
                <a:gd name="T91" fmla="*/ 257 h 262"/>
                <a:gd name="T92" fmla="*/ 189 w 418"/>
                <a:gd name="T93" fmla="*/ 257 h 262"/>
                <a:gd name="T94" fmla="*/ 180 w 418"/>
                <a:gd name="T95" fmla="*/ 240 h 262"/>
                <a:gd name="T96" fmla="*/ 175 w 418"/>
                <a:gd name="T97" fmla="*/ 224 h 262"/>
                <a:gd name="T98" fmla="*/ 147 w 418"/>
                <a:gd name="T99" fmla="*/ 207 h 262"/>
                <a:gd name="T100" fmla="*/ 137 w 418"/>
                <a:gd name="T101" fmla="*/ 212 h 262"/>
                <a:gd name="T102" fmla="*/ 137 w 418"/>
                <a:gd name="T103" fmla="*/ 212 h 262"/>
                <a:gd name="T104" fmla="*/ 137 w 418"/>
                <a:gd name="T105" fmla="*/ 212 h 262"/>
                <a:gd name="T106" fmla="*/ 12 w 418"/>
                <a:gd name="T107" fmla="*/ 118 h 262"/>
                <a:gd name="T108" fmla="*/ 0 w 418"/>
                <a:gd name="T109" fmla="*/ 118 h 262"/>
                <a:gd name="T110" fmla="*/ 17 w 418"/>
                <a:gd name="T111" fmla="*/ 94 h 262"/>
                <a:gd name="T112" fmla="*/ 17 w 418"/>
                <a:gd name="T113" fmla="*/ 77 h 262"/>
                <a:gd name="T114" fmla="*/ 17 w 418"/>
                <a:gd name="T115" fmla="*/ 101 h 262"/>
                <a:gd name="T116" fmla="*/ 12 w 418"/>
                <a:gd name="T117" fmla="*/ 118 h 262"/>
                <a:gd name="T118" fmla="*/ 12 w 418"/>
                <a:gd name="T119" fmla="*/ 118 h 262"/>
                <a:gd name="T120" fmla="*/ 12 w 418"/>
                <a:gd name="T121" fmla="*/ 11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8" h="262">
                  <a:moveTo>
                    <a:pt x="137" y="212"/>
                  </a:moveTo>
                  <a:lnTo>
                    <a:pt x="126" y="200"/>
                  </a:lnTo>
                  <a:lnTo>
                    <a:pt x="137" y="184"/>
                  </a:lnTo>
                  <a:lnTo>
                    <a:pt x="142" y="167"/>
                  </a:lnTo>
                  <a:lnTo>
                    <a:pt x="121" y="146"/>
                  </a:lnTo>
                  <a:lnTo>
                    <a:pt x="88" y="146"/>
                  </a:lnTo>
                  <a:lnTo>
                    <a:pt x="33" y="118"/>
                  </a:lnTo>
                  <a:lnTo>
                    <a:pt x="29" y="129"/>
                  </a:lnTo>
                  <a:lnTo>
                    <a:pt x="29" y="113"/>
                  </a:lnTo>
                  <a:lnTo>
                    <a:pt x="29" y="113"/>
                  </a:lnTo>
                  <a:lnTo>
                    <a:pt x="29" y="101"/>
                  </a:lnTo>
                  <a:lnTo>
                    <a:pt x="12" y="73"/>
                  </a:lnTo>
                  <a:lnTo>
                    <a:pt x="12" y="40"/>
                  </a:lnTo>
                  <a:lnTo>
                    <a:pt x="29" y="40"/>
                  </a:lnTo>
                  <a:lnTo>
                    <a:pt x="33" y="23"/>
                  </a:lnTo>
                  <a:lnTo>
                    <a:pt x="88" y="7"/>
                  </a:lnTo>
                  <a:lnTo>
                    <a:pt x="126" y="7"/>
                  </a:lnTo>
                  <a:lnTo>
                    <a:pt x="147" y="7"/>
                  </a:lnTo>
                  <a:lnTo>
                    <a:pt x="159" y="16"/>
                  </a:lnTo>
                  <a:lnTo>
                    <a:pt x="175" y="7"/>
                  </a:lnTo>
                  <a:lnTo>
                    <a:pt x="234" y="23"/>
                  </a:lnTo>
                  <a:lnTo>
                    <a:pt x="256" y="16"/>
                  </a:lnTo>
                  <a:lnTo>
                    <a:pt x="281" y="0"/>
                  </a:lnTo>
                  <a:lnTo>
                    <a:pt x="298" y="23"/>
                  </a:lnTo>
                  <a:lnTo>
                    <a:pt x="341" y="35"/>
                  </a:lnTo>
                  <a:lnTo>
                    <a:pt x="378" y="73"/>
                  </a:lnTo>
                  <a:lnTo>
                    <a:pt x="407" y="77"/>
                  </a:lnTo>
                  <a:lnTo>
                    <a:pt x="395" y="113"/>
                  </a:lnTo>
                  <a:lnTo>
                    <a:pt x="418" y="118"/>
                  </a:lnTo>
                  <a:lnTo>
                    <a:pt x="395" y="134"/>
                  </a:lnTo>
                  <a:lnTo>
                    <a:pt x="378" y="134"/>
                  </a:lnTo>
                  <a:lnTo>
                    <a:pt x="374" y="151"/>
                  </a:lnTo>
                  <a:lnTo>
                    <a:pt x="341" y="155"/>
                  </a:lnTo>
                  <a:lnTo>
                    <a:pt x="341" y="191"/>
                  </a:lnTo>
                  <a:lnTo>
                    <a:pt x="326" y="212"/>
                  </a:lnTo>
                  <a:lnTo>
                    <a:pt x="341" y="212"/>
                  </a:lnTo>
                  <a:lnTo>
                    <a:pt x="341" y="229"/>
                  </a:lnTo>
                  <a:lnTo>
                    <a:pt x="326" y="229"/>
                  </a:lnTo>
                  <a:lnTo>
                    <a:pt x="336" y="224"/>
                  </a:lnTo>
                  <a:lnTo>
                    <a:pt x="326" y="212"/>
                  </a:lnTo>
                  <a:lnTo>
                    <a:pt x="298" y="240"/>
                  </a:lnTo>
                  <a:lnTo>
                    <a:pt x="281" y="229"/>
                  </a:lnTo>
                  <a:lnTo>
                    <a:pt x="281" y="257"/>
                  </a:lnTo>
                  <a:lnTo>
                    <a:pt x="265" y="245"/>
                  </a:lnTo>
                  <a:lnTo>
                    <a:pt x="251" y="262"/>
                  </a:lnTo>
                  <a:lnTo>
                    <a:pt x="234" y="257"/>
                  </a:lnTo>
                  <a:lnTo>
                    <a:pt x="189" y="257"/>
                  </a:lnTo>
                  <a:lnTo>
                    <a:pt x="180" y="240"/>
                  </a:lnTo>
                  <a:lnTo>
                    <a:pt x="175" y="224"/>
                  </a:lnTo>
                  <a:lnTo>
                    <a:pt x="147" y="207"/>
                  </a:lnTo>
                  <a:lnTo>
                    <a:pt x="137" y="212"/>
                  </a:lnTo>
                  <a:lnTo>
                    <a:pt x="137" y="212"/>
                  </a:lnTo>
                  <a:lnTo>
                    <a:pt x="137" y="212"/>
                  </a:lnTo>
                  <a:close/>
                  <a:moveTo>
                    <a:pt x="12" y="118"/>
                  </a:moveTo>
                  <a:lnTo>
                    <a:pt x="0" y="118"/>
                  </a:lnTo>
                  <a:lnTo>
                    <a:pt x="17" y="94"/>
                  </a:lnTo>
                  <a:lnTo>
                    <a:pt x="17" y="77"/>
                  </a:lnTo>
                  <a:lnTo>
                    <a:pt x="17" y="101"/>
                  </a:lnTo>
                  <a:lnTo>
                    <a:pt x="12" y="118"/>
                  </a:lnTo>
                  <a:lnTo>
                    <a:pt x="12" y="118"/>
                  </a:lnTo>
                  <a:lnTo>
                    <a:pt x="12" y="118"/>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2" name="Freeform 493">
              <a:extLst>
                <a:ext uri="{FF2B5EF4-FFF2-40B4-BE49-F238E27FC236}">
                  <a16:creationId xmlns:a16="http://schemas.microsoft.com/office/drawing/2014/main" id="{8712A18C-DEEE-416D-8F6B-4052733808D0}"/>
                </a:ext>
              </a:extLst>
            </p:cNvPr>
            <p:cNvSpPr>
              <a:spLocks/>
            </p:cNvSpPr>
            <p:nvPr/>
          </p:nvSpPr>
          <p:spPr bwMode="gray">
            <a:xfrm>
              <a:off x="13480692" y="3912791"/>
              <a:ext cx="94589" cy="98189"/>
            </a:xfrm>
            <a:custGeom>
              <a:avLst/>
              <a:gdLst>
                <a:gd name="T0" fmla="*/ 0 w 289"/>
                <a:gd name="T1" fmla="*/ 115 h 300"/>
                <a:gd name="T2" fmla="*/ 12 w 289"/>
                <a:gd name="T3" fmla="*/ 94 h 300"/>
                <a:gd name="T4" fmla="*/ 38 w 289"/>
                <a:gd name="T5" fmla="*/ 71 h 300"/>
                <a:gd name="T6" fmla="*/ 66 w 289"/>
                <a:gd name="T7" fmla="*/ 54 h 300"/>
                <a:gd name="T8" fmla="*/ 66 w 289"/>
                <a:gd name="T9" fmla="*/ 33 h 300"/>
                <a:gd name="T10" fmla="*/ 76 w 289"/>
                <a:gd name="T11" fmla="*/ 21 h 300"/>
                <a:gd name="T12" fmla="*/ 88 w 289"/>
                <a:gd name="T13" fmla="*/ 0 h 300"/>
                <a:gd name="T14" fmla="*/ 121 w 289"/>
                <a:gd name="T15" fmla="*/ 0 h 300"/>
                <a:gd name="T16" fmla="*/ 142 w 289"/>
                <a:gd name="T17" fmla="*/ 16 h 300"/>
                <a:gd name="T18" fmla="*/ 147 w 289"/>
                <a:gd name="T19" fmla="*/ 54 h 300"/>
                <a:gd name="T20" fmla="*/ 142 w 289"/>
                <a:gd name="T21" fmla="*/ 87 h 300"/>
                <a:gd name="T22" fmla="*/ 147 w 289"/>
                <a:gd name="T23" fmla="*/ 75 h 300"/>
                <a:gd name="T24" fmla="*/ 163 w 289"/>
                <a:gd name="T25" fmla="*/ 94 h 300"/>
                <a:gd name="T26" fmla="*/ 185 w 289"/>
                <a:gd name="T27" fmla="*/ 87 h 300"/>
                <a:gd name="T28" fmla="*/ 196 w 289"/>
                <a:gd name="T29" fmla="*/ 59 h 300"/>
                <a:gd name="T30" fmla="*/ 201 w 289"/>
                <a:gd name="T31" fmla="*/ 59 h 300"/>
                <a:gd name="T32" fmla="*/ 213 w 289"/>
                <a:gd name="T33" fmla="*/ 71 h 300"/>
                <a:gd name="T34" fmla="*/ 229 w 289"/>
                <a:gd name="T35" fmla="*/ 94 h 300"/>
                <a:gd name="T36" fmla="*/ 218 w 289"/>
                <a:gd name="T37" fmla="*/ 115 h 300"/>
                <a:gd name="T38" fmla="*/ 201 w 289"/>
                <a:gd name="T39" fmla="*/ 144 h 300"/>
                <a:gd name="T40" fmla="*/ 234 w 289"/>
                <a:gd name="T41" fmla="*/ 165 h 300"/>
                <a:gd name="T42" fmla="*/ 251 w 289"/>
                <a:gd name="T43" fmla="*/ 165 h 300"/>
                <a:gd name="T44" fmla="*/ 255 w 289"/>
                <a:gd name="T45" fmla="*/ 189 h 300"/>
                <a:gd name="T46" fmla="*/ 289 w 289"/>
                <a:gd name="T47" fmla="*/ 189 h 300"/>
                <a:gd name="T48" fmla="*/ 289 w 289"/>
                <a:gd name="T49" fmla="*/ 215 h 300"/>
                <a:gd name="T50" fmla="*/ 284 w 289"/>
                <a:gd name="T51" fmla="*/ 222 h 300"/>
                <a:gd name="T52" fmla="*/ 289 w 289"/>
                <a:gd name="T53" fmla="*/ 227 h 300"/>
                <a:gd name="T54" fmla="*/ 272 w 289"/>
                <a:gd name="T55" fmla="*/ 260 h 300"/>
                <a:gd name="T56" fmla="*/ 284 w 289"/>
                <a:gd name="T57" fmla="*/ 300 h 300"/>
                <a:gd name="T58" fmla="*/ 229 w 289"/>
                <a:gd name="T59" fmla="*/ 283 h 300"/>
                <a:gd name="T60" fmla="*/ 163 w 289"/>
                <a:gd name="T61" fmla="*/ 255 h 300"/>
                <a:gd name="T62" fmla="*/ 76 w 289"/>
                <a:gd name="T63" fmla="*/ 165 h 300"/>
                <a:gd name="T64" fmla="*/ 50 w 289"/>
                <a:gd name="T65" fmla="*/ 165 h 300"/>
                <a:gd name="T66" fmla="*/ 38 w 289"/>
                <a:gd name="T67" fmla="*/ 149 h 300"/>
                <a:gd name="T68" fmla="*/ 12 w 289"/>
                <a:gd name="T69" fmla="*/ 132 h 300"/>
                <a:gd name="T70" fmla="*/ 0 w 289"/>
                <a:gd name="T71" fmla="*/ 115 h 300"/>
                <a:gd name="T72" fmla="*/ 0 w 289"/>
                <a:gd name="T73" fmla="*/ 115 h 300"/>
                <a:gd name="T74" fmla="*/ 0 w 289"/>
                <a:gd name="T75" fmla="*/ 11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9" h="300">
                  <a:moveTo>
                    <a:pt x="0" y="115"/>
                  </a:moveTo>
                  <a:lnTo>
                    <a:pt x="12" y="94"/>
                  </a:lnTo>
                  <a:lnTo>
                    <a:pt x="38" y="71"/>
                  </a:lnTo>
                  <a:lnTo>
                    <a:pt x="66" y="54"/>
                  </a:lnTo>
                  <a:lnTo>
                    <a:pt x="66" y="33"/>
                  </a:lnTo>
                  <a:lnTo>
                    <a:pt x="76" y="21"/>
                  </a:lnTo>
                  <a:lnTo>
                    <a:pt x="88" y="0"/>
                  </a:lnTo>
                  <a:lnTo>
                    <a:pt x="121" y="0"/>
                  </a:lnTo>
                  <a:lnTo>
                    <a:pt x="142" y="16"/>
                  </a:lnTo>
                  <a:lnTo>
                    <a:pt x="147" y="54"/>
                  </a:lnTo>
                  <a:lnTo>
                    <a:pt x="142" y="87"/>
                  </a:lnTo>
                  <a:lnTo>
                    <a:pt x="147" y="75"/>
                  </a:lnTo>
                  <a:lnTo>
                    <a:pt x="163" y="94"/>
                  </a:lnTo>
                  <a:lnTo>
                    <a:pt x="185" y="87"/>
                  </a:lnTo>
                  <a:lnTo>
                    <a:pt x="196" y="59"/>
                  </a:lnTo>
                  <a:lnTo>
                    <a:pt x="201" y="59"/>
                  </a:lnTo>
                  <a:lnTo>
                    <a:pt x="213" y="71"/>
                  </a:lnTo>
                  <a:lnTo>
                    <a:pt x="229" y="94"/>
                  </a:lnTo>
                  <a:lnTo>
                    <a:pt x="218" y="115"/>
                  </a:lnTo>
                  <a:lnTo>
                    <a:pt x="201" y="144"/>
                  </a:lnTo>
                  <a:lnTo>
                    <a:pt x="234" y="165"/>
                  </a:lnTo>
                  <a:lnTo>
                    <a:pt x="251" y="165"/>
                  </a:lnTo>
                  <a:lnTo>
                    <a:pt x="255" y="189"/>
                  </a:lnTo>
                  <a:lnTo>
                    <a:pt x="289" y="189"/>
                  </a:lnTo>
                  <a:lnTo>
                    <a:pt x="289" y="215"/>
                  </a:lnTo>
                  <a:lnTo>
                    <a:pt x="284" y="222"/>
                  </a:lnTo>
                  <a:lnTo>
                    <a:pt x="289" y="227"/>
                  </a:lnTo>
                  <a:lnTo>
                    <a:pt x="272" y="260"/>
                  </a:lnTo>
                  <a:lnTo>
                    <a:pt x="284" y="300"/>
                  </a:lnTo>
                  <a:lnTo>
                    <a:pt x="229" y="283"/>
                  </a:lnTo>
                  <a:lnTo>
                    <a:pt x="163" y="255"/>
                  </a:lnTo>
                  <a:lnTo>
                    <a:pt x="76" y="165"/>
                  </a:lnTo>
                  <a:lnTo>
                    <a:pt x="50" y="165"/>
                  </a:lnTo>
                  <a:lnTo>
                    <a:pt x="38" y="149"/>
                  </a:lnTo>
                  <a:lnTo>
                    <a:pt x="12" y="132"/>
                  </a:lnTo>
                  <a:lnTo>
                    <a:pt x="0" y="115"/>
                  </a:lnTo>
                  <a:lnTo>
                    <a:pt x="0" y="115"/>
                  </a:lnTo>
                  <a:lnTo>
                    <a:pt x="0" y="115"/>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3" name="Freeform 494">
              <a:extLst>
                <a:ext uri="{FF2B5EF4-FFF2-40B4-BE49-F238E27FC236}">
                  <a16:creationId xmlns:a16="http://schemas.microsoft.com/office/drawing/2014/main" id="{A430896B-8E8D-493C-887C-B7117495585A}"/>
                </a:ext>
              </a:extLst>
            </p:cNvPr>
            <p:cNvSpPr>
              <a:spLocks/>
            </p:cNvSpPr>
            <p:nvPr/>
          </p:nvSpPr>
          <p:spPr bwMode="gray">
            <a:xfrm>
              <a:off x="14130375" y="2837949"/>
              <a:ext cx="131246" cy="54986"/>
            </a:xfrm>
            <a:custGeom>
              <a:avLst/>
              <a:gdLst>
                <a:gd name="T0" fmla="*/ 155 w 401"/>
                <a:gd name="T1" fmla="*/ 144 h 168"/>
                <a:gd name="T2" fmla="*/ 139 w 401"/>
                <a:gd name="T3" fmla="*/ 152 h 168"/>
                <a:gd name="T4" fmla="*/ 139 w 401"/>
                <a:gd name="T5" fmla="*/ 161 h 168"/>
                <a:gd name="T6" fmla="*/ 101 w 401"/>
                <a:gd name="T7" fmla="*/ 168 h 168"/>
                <a:gd name="T8" fmla="*/ 68 w 401"/>
                <a:gd name="T9" fmla="*/ 168 h 168"/>
                <a:gd name="T10" fmla="*/ 37 w 401"/>
                <a:gd name="T11" fmla="*/ 144 h 168"/>
                <a:gd name="T12" fmla="*/ 26 w 401"/>
                <a:gd name="T13" fmla="*/ 144 h 168"/>
                <a:gd name="T14" fmla="*/ 0 w 401"/>
                <a:gd name="T15" fmla="*/ 111 h 168"/>
                <a:gd name="T16" fmla="*/ 9 w 401"/>
                <a:gd name="T17" fmla="*/ 90 h 168"/>
                <a:gd name="T18" fmla="*/ 26 w 401"/>
                <a:gd name="T19" fmla="*/ 67 h 168"/>
                <a:gd name="T20" fmla="*/ 63 w 401"/>
                <a:gd name="T21" fmla="*/ 67 h 168"/>
                <a:gd name="T22" fmla="*/ 85 w 401"/>
                <a:gd name="T23" fmla="*/ 50 h 168"/>
                <a:gd name="T24" fmla="*/ 101 w 401"/>
                <a:gd name="T25" fmla="*/ 29 h 168"/>
                <a:gd name="T26" fmla="*/ 122 w 401"/>
                <a:gd name="T27" fmla="*/ 12 h 168"/>
                <a:gd name="T28" fmla="*/ 139 w 401"/>
                <a:gd name="T29" fmla="*/ 12 h 168"/>
                <a:gd name="T30" fmla="*/ 144 w 401"/>
                <a:gd name="T31" fmla="*/ 12 h 168"/>
                <a:gd name="T32" fmla="*/ 155 w 401"/>
                <a:gd name="T33" fmla="*/ 17 h 168"/>
                <a:gd name="T34" fmla="*/ 160 w 401"/>
                <a:gd name="T35" fmla="*/ 17 h 168"/>
                <a:gd name="T36" fmla="*/ 186 w 401"/>
                <a:gd name="T37" fmla="*/ 0 h 168"/>
                <a:gd name="T38" fmla="*/ 203 w 401"/>
                <a:gd name="T39" fmla="*/ 17 h 168"/>
                <a:gd name="T40" fmla="*/ 207 w 401"/>
                <a:gd name="T41" fmla="*/ 17 h 168"/>
                <a:gd name="T42" fmla="*/ 207 w 401"/>
                <a:gd name="T43" fmla="*/ 33 h 168"/>
                <a:gd name="T44" fmla="*/ 224 w 401"/>
                <a:gd name="T45" fmla="*/ 38 h 168"/>
                <a:gd name="T46" fmla="*/ 229 w 401"/>
                <a:gd name="T47" fmla="*/ 29 h 168"/>
                <a:gd name="T48" fmla="*/ 245 w 401"/>
                <a:gd name="T49" fmla="*/ 17 h 168"/>
                <a:gd name="T50" fmla="*/ 278 w 401"/>
                <a:gd name="T51" fmla="*/ 17 h 168"/>
                <a:gd name="T52" fmla="*/ 283 w 401"/>
                <a:gd name="T53" fmla="*/ 29 h 168"/>
                <a:gd name="T54" fmla="*/ 300 w 401"/>
                <a:gd name="T55" fmla="*/ 17 h 168"/>
                <a:gd name="T56" fmla="*/ 337 w 401"/>
                <a:gd name="T57" fmla="*/ 17 h 168"/>
                <a:gd name="T58" fmla="*/ 363 w 401"/>
                <a:gd name="T59" fmla="*/ 29 h 168"/>
                <a:gd name="T60" fmla="*/ 363 w 401"/>
                <a:gd name="T61" fmla="*/ 33 h 168"/>
                <a:gd name="T62" fmla="*/ 401 w 401"/>
                <a:gd name="T63" fmla="*/ 50 h 168"/>
                <a:gd name="T64" fmla="*/ 387 w 401"/>
                <a:gd name="T65" fmla="*/ 83 h 168"/>
                <a:gd name="T66" fmla="*/ 370 w 401"/>
                <a:gd name="T67" fmla="*/ 95 h 168"/>
                <a:gd name="T68" fmla="*/ 370 w 401"/>
                <a:gd name="T69" fmla="*/ 111 h 168"/>
                <a:gd name="T70" fmla="*/ 349 w 401"/>
                <a:gd name="T71" fmla="*/ 111 h 168"/>
                <a:gd name="T72" fmla="*/ 321 w 401"/>
                <a:gd name="T73" fmla="*/ 95 h 168"/>
                <a:gd name="T74" fmla="*/ 300 w 401"/>
                <a:gd name="T75" fmla="*/ 95 h 168"/>
                <a:gd name="T76" fmla="*/ 266 w 401"/>
                <a:gd name="T77" fmla="*/ 95 h 168"/>
                <a:gd name="T78" fmla="*/ 262 w 401"/>
                <a:gd name="T79" fmla="*/ 95 h 168"/>
                <a:gd name="T80" fmla="*/ 245 w 401"/>
                <a:gd name="T81" fmla="*/ 123 h 168"/>
                <a:gd name="T82" fmla="*/ 215 w 401"/>
                <a:gd name="T83" fmla="*/ 140 h 168"/>
                <a:gd name="T84" fmla="*/ 193 w 401"/>
                <a:gd name="T85" fmla="*/ 128 h 168"/>
                <a:gd name="T86" fmla="*/ 186 w 401"/>
                <a:gd name="T87" fmla="*/ 140 h 168"/>
                <a:gd name="T88" fmla="*/ 155 w 401"/>
                <a:gd name="T89" fmla="*/ 144 h 168"/>
                <a:gd name="T90" fmla="*/ 155 w 401"/>
                <a:gd name="T91" fmla="*/ 144 h 168"/>
                <a:gd name="T92" fmla="*/ 155 w 401"/>
                <a:gd name="T93" fmla="*/ 14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1" h="168">
                  <a:moveTo>
                    <a:pt x="155" y="144"/>
                  </a:moveTo>
                  <a:lnTo>
                    <a:pt x="139" y="152"/>
                  </a:lnTo>
                  <a:lnTo>
                    <a:pt x="139" y="161"/>
                  </a:lnTo>
                  <a:lnTo>
                    <a:pt x="101" y="168"/>
                  </a:lnTo>
                  <a:lnTo>
                    <a:pt x="68" y="168"/>
                  </a:lnTo>
                  <a:lnTo>
                    <a:pt x="37" y="144"/>
                  </a:lnTo>
                  <a:lnTo>
                    <a:pt x="26" y="144"/>
                  </a:lnTo>
                  <a:lnTo>
                    <a:pt x="0" y="111"/>
                  </a:lnTo>
                  <a:lnTo>
                    <a:pt x="9" y="90"/>
                  </a:lnTo>
                  <a:lnTo>
                    <a:pt x="26" y="67"/>
                  </a:lnTo>
                  <a:lnTo>
                    <a:pt x="63" y="67"/>
                  </a:lnTo>
                  <a:lnTo>
                    <a:pt x="85" y="50"/>
                  </a:lnTo>
                  <a:lnTo>
                    <a:pt x="101" y="29"/>
                  </a:lnTo>
                  <a:lnTo>
                    <a:pt x="122" y="12"/>
                  </a:lnTo>
                  <a:lnTo>
                    <a:pt x="139" y="12"/>
                  </a:lnTo>
                  <a:lnTo>
                    <a:pt x="144" y="12"/>
                  </a:lnTo>
                  <a:lnTo>
                    <a:pt x="155" y="17"/>
                  </a:lnTo>
                  <a:lnTo>
                    <a:pt x="160" y="17"/>
                  </a:lnTo>
                  <a:lnTo>
                    <a:pt x="186" y="0"/>
                  </a:lnTo>
                  <a:lnTo>
                    <a:pt x="203" y="17"/>
                  </a:lnTo>
                  <a:lnTo>
                    <a:pt x="207" y="17"/>
                  </a:lnTo>
                  <a:lnTo>
                    <a:pt x="207" y="33"/>
                  </a:lnTo>
                  <a:lnTo>
                    <a:pt x="224" y="38"/>
                  </a:lnTo>
                  <a:lnTo>
                    <a:pt x="229" y="29"/>
                  </a:lnTo>
                  <a:lnTo>
                    <a:pt x="245" y="17"/>
                  </a:lnTo>
                  <a:lnTo>
                    <a:pt x="278" y="17"/>
                  </a:lnTo>
                  <a:lnTo>
                    <a:pt x="283" y="29"/>
                  </a:lnTo>
                  <a:lnTo>
                    <a:pt x="300" y="17"/>
                  </a:lnTo>
                  <a:lnTo>
                    <a:pt x="337" y="17"/>
                  </a:lnTo>
                  <a:lnTo>
                    <a:pt x="363" y="29"/>
                  </a:lnTo>
                  <a:lnTo>
                    <a:pt x="363" y="33"/>
                  </a:lnTo>
                  <a:lnTo>
                    <a:pt x="401" y="50"/>
                  </a:lnTo>
                  <a:lnTo>
                    <a:pt x="387" y="83"/>
                  </a:lnTo>
                  <a:lnTo>
                    <a:pt x="370" y="95"/>
                  </a:lnTo>
                  <a:lnTo>
                    <a:pt x="370" y="111"/>
                  </a:lnTo>
                  <a:lnTo>
                    <a:pt x="349" y="111"/>
                  </a:lnTo>
                  <a:lnTo>
                    <a:pt x="321" y="95"/>
                  </a:lnTo>
                  <a:lnTo>
                    <a:pt x="300" y="95"/>
                  </a:lnTo>
                  <a:lnTo>
                    <a:pt x="266" y="95"/>
                  </a:lnTo>
                  <a:lnTo>
                    <a:pt x="262" y="95"/>
                  </a:lnTo>
                  <a:lnTo>
                    <a:pt x="245" y="123"/>
                  </a:lnTo>
                  <a:lnTo>
                    <a:pt x="215" y="140"/>
                  </a:lnTo>
                  <a:lnTo>
                    <a:pt x="193" y="128"/>
                  </a:lnTo>
                  <a:lnTo>
                    <a:pt x="186" y="140"/>
                  </a:lnTo>
                  <a:lnTo>
                    <a:pt x="155" y="144"/>
                  </a:lnTo>
                  <a:lnTo>
                    <a:pt x="155" y="144"/>
                  </a:lnTo>
                  <a:lnTo>
                    <a:pt x="155" y="144"/>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4" name="Freeform 495">
              <a:extLst>
                <a:ext uri="{FF2B5EF4-FFF2-40B4-BE49-F238E27FC236}">
                  <a16:creationId xmlns:a16="http://schemas.microsoft.com/office/drawing/2014/main" id="{679EFAE3-E8A6-4B22-8A9D-BBA9B9185003}"/>
                </a:ext>
              </a:extLst>
            </p:cNvPr>
            <p:cNvSpPr>
              <a:spLocks/>
            </p:cNvSpPr>
            <p:nvPr/>
          </p:nvSpPr>
          <p:spPr bwMode="gray">
            <a:xfrm>
              <a:off x="13961818" y="2909300"/>
              <a:ext cx="2291" cy="6219"/>
            </a:xfrm>
            <a:custGeom>
              <a:avLst/>
              <a:gdLst>
                <a:gd name="T0" fmla="*/ 7 w 7"/>
                <a:gd name="T1" fmla="*/ 0 h 19"/>
                <a:gd name="T2" fmla="*/ 7 w 7"/>
                <a:gd name="T3" fmla="*/ 19 h 19"/>
                <a:gd name="T4" fmla="*/ 0 w 7"/>
                <a:gd name="T5" fmla="*/ 19 h 19"/>
                <a:gd name="T6" fmla="*/ 7 w 7"/>
                <a:gd name="T7" fmla="*/ 0 h 19"/>
                <a:gd name="T8" fmla="*/ 7 w 7"/>
                <a:gd name="T9" fmla="*/ 0 h 19"/>
                <a:gd name="T10" fmla="*/ 7 w 7"/>
                <a:gd name="T11" fmla="*/ 0 h 19"/>
              </a:gdLst>
              <a:ahLst/>
              <a:cxnLst>
                <a:cxn ang="0">
                  <a:pos x="T0" y="T1"/>
                </a:cxn>
                <a:cxn ang="0">
                  <a:pos x="T2" y="T3"/>
                </a:cxn>
                <a:cxn ang="0">
                  <a:pos x="T4" y="T5"/>
                </a:cxn>
                <a:cxn ang="0">
                  <a:pos x="T6" y="T7"/>
                </a:cxn>
                <a:cxn ang="0">
                  <a:pos x="T8" y="T9"/>
                </a:cxn>
                <a:cxn ang="0">
                  <a:pos x="T10" y="T11"/>
                </a:cxn>
              </a:cxnLst>
              <a:rect l="0" t="0" r="r" b="b"/>
              <a:pathLst>
                <a:path w="7" h="19">
                  <a:moveTo>
                    <a:pt x="7" y="0"/>
                  </a:moveTo>
                  <a:lnTo>
                    <a:pt x="7" y="19"/>
                  </a:lnTo>
                  <a:lnTo>
                    <a:pt x="0" y="19"/>
                  </a:lnTo>
                  <a:lnTo>
                    <a:pt x="7" y="0"/>
                  </a:lnTo>
                  <a:lnTo>
                    <a:pt x="7" y="0"/>
                  </a:lnTo>
                  <a:lnTo>
                    <a:pt x="7" y="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5" name="Freeform 496">
              <a:extLst>
                <a:ext uri="{FF2B5EF4-FFF2-40B4-BE49-F238E27FC236}">
                  <a16:creationId xmlns:a16="http://schemas.microsoft.com/office/drawing/2014/main" id="{EE97993F-40C6-4BF6-ABFF-12D9CD055082}"/>
                </a:ext>
              </a:extLst>
            </p:cNvPr>
            <p:cNvSpPr>
              <a:spLocks/>
            </p:cNvSpPr>
            <p:nvPr/>
          </p:nvSpPr>
          <p:spPr bwMode="gray">
            <a:xfrm>
              <a:off x="14364393" y="4807293"/>
              <a:ext cx="57277" cy="53349"/>
            </a:xfrm>
            <a:custGeom>
              <a:avLst/>
              <a:gdLst>
                <a:gd name="T0" fmla="*/ 128 w 175"/>
                <a:gd name="T1" fmla="*/ 12 h 163"/>
                <a:gd name="T2" fmla="*/ 166 w 175"/>
                <a:gd name="T3" fmla="*/ 38 h 163"/>
                <a:gd name="T4" fmla="*/ 175 w 175"/>
                <a:gd name="T5" fmla="*/ 56 h 163"/>
                <a:gd name="T6" fmla="*/ 159 w 175"/>
                <a:gd name="T7" fmla="*/ 73 h 163"/>
                <a:gd name="T8" fmla="*/ 159 w 175"/>
                <a:gd name="T9" fmla="*/ 78 h 163"/>
                <a:gd name="T10" fmla="*/ 149 w 175"/>
                <a:gd name="T11" fmla="*/ 78 h 163"/>
                <a:gd name="T12" fmla="*/ 149 w 175"/>
                <a:gd name="T13" fmla="*/ 106 h 163"/>
                <a:gd name="T14" fmla="*/ 128 w 175"/>
                <a:gd name="T15" fmla="*/ 123 h 163"/>
                <a:gd name="T16" fmla="*/ 95 w 175"/>
                <a:gd name="T17" fmla="*/ 123 h 163"/>
                <a:gd name="T18" fmla="*/ 71 w 175"/>
                <a:gd name="T19" fmla="*/ 163 h 163"/>
                <a:gd name="T20" fmla="*/ 50 w 175"/>
                <a:gd name="T21" fmla="*/ 163 h 163"/>
                <a:gd name="T22" fmla="*/ 29 w 175"/>
                <a:gd name="T23" fmla="*/ 134 h 163"/>
                <a:gd name="T24" fmla="*/ 17 w 175"/>
                <a:gd name="T25" fmla="*/ 111 h 163"/>
                <a:gd name="T26" fmla="*/ 0 w 175"/>
                <a:gd name="T27" fmla="*/ 78 h 163"/>
                <a:gd name="T28" fmla="*/ 17 w 175"/>
                <a:gd name="T29" fmla="*/ 73 h 163"/>
                <a:gd name="T30" fmla="*/ 38 w 175"/>
                <a:gd name="T31" fmla="*/ 33 h 163"/>
                <a:gd name="T32" fmla="*/ 83 w 175"/>
                <a:gd name="T33" fmla="*/ 12 h 163"/>
                <a:gd name="T34" fmla="*/ 111 w 175"/>
                <a:gd name="T35" fmla="*/ 0 h 163"/>
                <a:gd name="T36" fmla="*/ 128 w 175"/>
                <a:gd name="T37" fmla="*/ 12 h 163"/>
                <a:gd name="T38" fmla="*/ 128 w 175"/>
                <a:gd name="T39" fmla="*/ 12 h 163"/>
                <a:gd name="T40" fmla="*/ 128 w 175"/>
                <a:gd name="T41" fmla="*/ 1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63">
                  <a:moveTo>
                    <a:pt x="128" y="12"/>
                  </a:moveTo>
                  <a:lnTo>
                    <a:pt x="166" y="38"/>
                  </a:lnTo>
                  <a:lnTo>
                    <a:pt x="175" y="56"/>
                  </a:lnTo>
                  <a:lnTo>
                    <a:pt x="159" y="73"/>
                  </a:lnTo>
                  <a:lnTo>
                    <a:pt x="159" y="78"/>
                  </a:lnTo>
                  <a:lnTo>
                    <a:pt x="149" y="78"/>
                  </a:lnTo>
                  <a:lnTo>
                    <a:pt x="149" y="106"/>
                  </a:lnTo>
                  <a:lnTo>
                    <a:pt x="128" y="123"/>
                  </a:lnTo>
                  <a:lnTo>
                    <a:pt x="95" y="123"/>
                  </a:lnTo>
                  <a:lnTo>
                    <a:pt x="71" y="163"/>
                  </a:lnTo>
                  <a:lnTo>
                    <a:pt x="50" y="163"/>
                  </a:lnTo>
                  <a:lnTo>
                    <a:pt x="29" y="134"/>
                  </a:lnTo>
                  <a:lnTo>
                    <a:pt x="17" y="111"/>
                  </a:lnTo>
                  <a:lnTo>
                    <a:pt x="0" y="78"/>
                  </a:lnTo>
                  <a:lnTo>
                    <a:pt x="17" y="73"/>
                  </a:lnTo>
                  <a:lnTo>
                    <a:pt x="38" y="33"/>
                  </a:lnTo>
                  <a:lnTo>
                    <a:pt x="83" y="12"/>
                  </a:lnTo>
                  <a:lnTo>
                    <a:pt x="111" y="0"/>
                  </a:lnTo>
                  <a:lnTo>
                    <a:pt x="128" y="12"/>
                  </a:lnTo>
                  <a:lnTo>
                    <a:pt x="128" y="12"/>
                  </a:lnTo>
                  <a:lnTo>
                    <a:pt x="128" y="12"/>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6" name="Freeform 497">
              <a:extLst>
                <a:ext uri="{FF2B5EF4-FFF2-40B4-BE49-F238E27FC236}">
                  <a16:creationId xmlns:a16="http://schemas.microsoft.com/office/drawing/2014/main" id="{67EA89B3-D14F-4C29-9DD5-27EA84EB13CA}"/>
                </a:ext>
              </a:extLst>
            </p:cNvPr>
            <p:cNvSpPr>
              <a:spLocks/>
            </p:cNvSpPr>
            <p:nvPr/>
          </p:nvSpPr>
          <p:spPr bwMode="gray">
            <a:xfrm>
              <a:off x="13875739" y="2820930"/>
              <a:ext cx="17019" cy="20947"/>
            </a:xfrm>
            <a:custGeom>
              <a:avLst/>
              <a:gdLst>
                <a:gd name="T0" fmla="*/ 45 w 52"/>
                <a:gd name="T1" fmla="*/ 64 h 64"/>
                <a:gd name="T2" fmla="*/ 45 w 52"/>
                <a:gd name="T3" fmla="*/ 64 h 64"/>
                <a:gd name="T4" fmla="*/ 15 w 52"/>
                <a:gd name="T5" fmla="*/ 64 h 64"/>
                <a:gd name="T6" fmla="*/ 5 w 52"/>
                <a:gd name="T7" fmla="*/ 55 h 64"/>
                <a:gd name="T8" fmla="*/ 15 w 52"/>
                <a:gd name="T9" fmla="*/ 48 h 64"/>
                <a:gd name="T10" fmla="*/ 0 w 52"/>
                <a:gd name="T11" fmla="*/ 33 h 64"/>
                <a:gd name="T12" fmla="*/ 0 w 52"/>
                <a:gd name="T13" fmla="*/ 17 h 64"/>
                <a:gd name="T14" fmla="*/ 15 w 52"/>
                <a:gd name="T15" fmla="*/ 0 h 64"/>
                <a:gd name="T16" fmla="*/ 31 w 52"/>
                <a:gd name="T17" fmla="*/ 0 h 64"/>
                <a:gd name="T18" fmla="*/ 36 w 52"/>
                <a:gd name="T19" fmla="*/ 26 h 64"/>
                <a:gd name="T20" fmla="*/ 52 w 52"/>
                <a:gd name="T21" fmla="*/ 33 h 64"/>
                <a:gd name="T22" fmla="*/ 45 w 52"/>
                <a:gd name="T23" fmla="*/ 64 h 64"/>
                <a:gd name="T24" fmla="*/ 45 w 52"/>
                <a:gd name="T25" fmla="*/ 64 h 64"/>
                <a:gd name="T26" fmla="*/ 45 w 52"/>
                <a:gd name="T2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64">
                  <a:moveTo>
                    <a:pt x="45" y="64"/>
                  </a:moveTo>
                  <a:lnTo>
                    <a:pt x="45" y="64"/>
                  </a:lnTo>
                  <a:lnTo>
                    <a:pt x="15" y="64"/>
                  </a:lnTo>
                  <a:lnTo>
                    <a:pt x="5" y="55"/>
                  </a:lnTo>
                  <a:lnTo>
                    <a:pt x="15" y="48"/>
                  </a:lnTo>
                  <a:lnTo>
                    <a:pt x="0" y="33"/>
                  </a:lnTo>
                  <a:lnTo>
                    <a:pt x="0" y="17"/>
                  </a:lnTo>
                  <a:lnTo>
                    <a:pt x="15" y="0"/>
                  </a:lnTo>
                  <a:lnTo>
                    <a:pt x="31" y="0"/>
                  </a:lnTo>
                  <a:lnTo>
                    <a:pt x="36" y="26"/>
                  </a:lnTo>
                  <a:lnTo>
                    <a:pt x="52" y="33"/>
                  </a:lnTo>
                  <a:lnTo>
                    <a:pt x="45" y="64"/>
                  </a:lnTo>
                  <a:lnTo>
                    <a:pt x="45" y="64"/>
                  </a:lnTo>
                  <a:lnTo>
                    <a:pt x="45" y="64"/>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7" name="Freeform 498">
              <a:extLst>
                <a:ext uri="{FF2B5EF4-FFF2-40B4-BE49-F238E27FC236}">
                  <a16:creationId xmlns:a16="http://schemas.microsoft.com/office/drawing/2014/main" id="{4F0043A0-A9A9-4BF7-BD94-1DFCB2A4F0F5}"/>
                </a:ext>
              </a:extLst>
            </p:cNvPr>
            <p:cNvSpPr>
              <a:spLocks/>
            </p:cNvSpPr>
            <p:nvPr/>
          </p:nvSpPr>
          <p:spPr bwMode="gray">
            <a:xfrm>
              <a:off x="13958545" y="3302710"/>
              <a:ext cx="363299" cy="345625"/>
            </a:xfrm>
            <a:custGeom>
              <a:avLst/>
              <a:gdLst>
                <a:gd name="T0" fmla="*/ 1096 w 1110"/>
                <a:gd name="T1" fmla="*/ 867 h 1056"/>
                <a:gd name="T2" fmla="*/ 1025 w 1110"/>
                <a:gd name="T3" fmla="*/ 1018 h 1056"/>
                <a:gd name="T4" fmla="*/ 740 w 1110"/>
                <a:gd name="T5" fmla="*/ 900 h 1056"/>
                <a:gd name="T6" fmla="*/ 395 w 1110"/>
                <a:gd name="T7" fmla="*/ 794 h 1056"/>
                <a:gd name="T8" fmla="*/ 291 w 1110"/>
                <a:gd name="T9" fmla="*/ 777 h 1056"/>
                <a:gd name="T10" fmla="*/ 156 w 1110"/>
                <a:gd name="T11" fmla="*/ 690 h 1056"/>
                <a:gd name="T12" fmla="*/ 76 w 1110"/>
                <a:gd name="T13" fmla="*/ 683 h 1056"/>
                <a:gd name="T14" fmla="*/ 64 w 1110"/>
                <a:gd name="T15" fmla="*/ 661 h 1056"/>
                <a:gd name="T16" fmla="*/ 50 w 1110"/>
                <a:gd name="T17" fmla="*/ 612 h 1056"/>
                <a:gd name="T18" fmla="*/ 12 w 1110"/>
                <a:gd name="T19" fmla="*/ 534 h 1056"/>
                <a:gd name="T20" fmla="*/ 38 w 1110"/>
                <a:gd name="T21" fmla="*/ 501 h 1056"/>
                <a:gd name="T22" fmla="*/ 21 w 1110"/>
                <a:gd name="T23" fmla="*/ 461 h 1056"/>
                <a:gd name="T24" fmla="*/ 33 w 1110"/>
                <a:gd name="T25" fmla="*/ 390 h 1056"/>
                <a:gd name="T26" fmla="*/ 21 w 1110"/>
                <a:gd name="T27" fmla="*/ 279 h 1056"/>
                <a:gd name="T28" fmla="*/ 17 w 1110"/>
                <a:gd name="T29" fmla="*/ 234 h 1056"/>
                <a:gd name="T30" fmla="*/ 64 w 1110"/>
                <a:gd name="T31" fmla="*/ 189 h 1056"/>
                <a:gd name="T32" fmla="*/ 54 w 1110"/>
                <a:gd name="T33" fmla="*/ 135 h 1056"/>
                <a:gd name="T34" fmla="*/ 76 w 1110"/>
                <a:gd name="T35" fmla="*/ 111 h 1056"/>
                <a:gd name="T36" fmla="*/ 156 w 1110"/>
                <a:gd name="T37" fmla="*/ 57 h 1056"/>
                <a:gd name="T38" fmla="*/ 156 w 1110"/>
                <a:gd name="T39" fmla="*/ 0 h 1056"/>
                <a:gd name="T40" fmla="*/ 248 w 1110"/>
                <a:gd name="T41" fmla="*/ 24 h 1056"/>
                <a:gd name="T42" fmla="*/ 340 w 1110"/>
                <a:gd name="T43" fmla="*/ 33 h 1056"/>
                <a:gd name="T44" fmla="*/ 411 w 1110"/>
                <a:gd name="T45" fmla="*/ 57 h 1056"/>
                <a:gd name="T46" fmla="*/ 432 w 1110"/>
                <a:gd name="T47" fmla="*/ 123 h 1056"/>
                <a:gd name="T48" fmla="*/ 480 w 1110"/>
                <a:gd name="T49" fmla="*/ 151 h 1056"/>
                <a:gd name="T50" fmla="*/ 560 w 1110"/>
                <a:gd name="T51" fmla="*/ 168 h 1056"/>
                <a:gd name="T52" fmla="*/ 680 w 1110"/>
                <a:gd name="T53" fmla="*/ 234 h 1056"/>
                <a:gd name="T54" fmla="*/ 718 w 1110"/>
                <a:gd name="T55" fmla="*/ 217 h 1056"/>
                <a:gd name="T56" fmla="*/ 756 w 1110"/>
                <a:gd name="T57" fmla="*/ 161 h 1056"/>
                <a:gd name="T58" fmla="*/ 756 w 1110"/>
                <a:gd name="T59" fmla="*/ 78 h 1056"/>
                <a:gd name="T60" fmla="*/ 820 w 1110"/>
                <a:gd name="T61" fmla="*/ 33 h 1056"/>
                <a:gd name="T62" fmla="*/ 862 w 1110"/>
                <a:gd name="T63" fmla="*/ 17 h 1056"/>
                <a:gd name="T64" fmla="*/ 966 w 1110"/>
                <a:gd name="T65" fmla="*/ 40 h 1056"/>
                <a:gd name="T66" fmla="*/ 971 w 1110"/>
                <a:gd name="T67" fmla="*/ 73 h 1056"/>
                <a:gd name="T68" fmla="*/ 1035 w 1110"/>
                <a:gd name="T69" fmla="*/ 95 h 1056"/>
                <a:gd name="T70" fmla="*/ 1110 w 1110"/>
                <a:gd name="T71" fmla="*/ 123 h 1056"/>
                <a:gd name="T72" fmla="*/ 1096 w 1110"/>
                <a:gd name="T73" fmla="*/ 189 h 1056"/>
                <a:gd name="T74" fmla="*/ 1096 w 1110"/>
                <a:gd name="T75" fmla="*/ 312 h 1056"/>
                <a:gd name="T76" fmla="*/ 1096 w 1110"/>
                <a:gd name="T77" fmla="*/ 43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10" h="1056">
                  <a:moveTo>
                    <a:pt x="1096" y="439"/>
                  </a:moveTo>
                  <a:lnTo>
                    <a:pt x="1096" y="867"/>
                  </a:lnTo>
                  <a:lnTo>
                    <a:pt x="1096" y="1018"/>
                  </a:lnTo>
                  <a:lnTo>
                    <a:pt x="1025" y="1018"/>
                  </a:lnTo>
                  <a:lnTo>
                    <a:pt x="1025" y="1056"/>
                  </a:lnTo>
                  <a:lnTo>
                    <a:pt x="740" y="900"/>
                  </a:lnTo>
                  <a:lnTo>
                    <a:pt x="463" y="761"/>
                  </a:lnTo>
                  <a:lnTo>
                    <a:pt x="395" y="794"/>
                  </a:lnTo>
                  <a:lnTo>
                    <a:pt x="340" y="829"/>
                  </a:lnTo>
                  <a:lnTo>
                    <a:pt x="291" y="777"/>
                  </a:lnTo>
                  <a:lnTo>
                    <a:pt x="184" y="756"/>
                  </a:lnTo>
                  <a:lnTo>
                    <a:pt x="156" y="690"/>
                  </a:lnTo>
                  <a:lnTo>
                    <a:pt x="92" y="678"/>
                  </a:lnTo>
                  <a:lnTo>
                    <a:pt x="76" y="683"/>
                  </a:lnTo>
                  <a:lnTo>
                    <a:pt x="64" y="666"/>
                  </a:lnTo>
                  <a:lnTo>
                    <a:pt x="64" y="661"/>
                  </a:lnTo>
                  <a:lnTo>
                    <a:pt x="50" y="650"/>
                  </a:lnTo>
                  <a:lnTo>
                    <a:pt x="50" y="612"/>
                  </a:lnTo>
                  <a:lnTo>
                    <a:pt x="0" y="550"/>
                  </a:lnTo>
                  <a:lnTo>
                    <a:pt x="12" y="534"/>
                  </a:lnTo>
                  <a:lnTo>
                    <a:pt x="38" y="522"/>
                  </a:lnTo>
                  <a:lnTo>
                    <a:pt x="38" y="501"/>
                  </a:lnTo>
                  <a:lnTo>
                    <a:pt x="38" y="494"/>
                  </a:lnTo>
                  <a:lnTo>
                    <a:pt x="21" y="461"/>
                  </a:lnTo>
                  <a:lnTo>
                    <a:pt x="50" y="423"/>
                  </a:lnTo>
                  <a:lnTo>
                    <a:pt x="33" y="390"/>
                  </a:lnTo>
                  <a:lnTo>
                    <a:pt x="33" y="317"/>
                  </a:lnTo>
                  <a:lnTo>
                    <a:pt x="21" y="279"/>
                  </a:lnTo>
                  <a:lnTo>
                    <a:pt x="0" y="239"/>
                  </a:lnTo>
                  <a:lnTo>
                    <a:pt x="17" y="234"/>
                  </a:lnTo>
                  <a:lnTo>
                    <a:pt x="38" y="222"/>
                  </a:lnTo>
                  <a:lnTo>
                    <a:pt x="64" y="189"/>
                  </a:lnTo>
                  <a:lnTo>
                    <a:pt x="71" y="177"/>
                  </a:lnTo>
                  <a:lnTo>
                    <a:pt x="54" y="135"/>
                  </a:lnTo>
                  <a:lnTo>
                    <a:pt x="71" y="123"/>
                  </a:lnTo>
                  <a:lnTo>
                    <a:pt x="76" y="111"/>
                  </a:lnTo>
                  <a:lnTo>
                    <a:pt x="109" y="78"/>
                  </a:lnTo>
                  <a:lnTo>
                    <a:pt x="156" y="57"/>
                  </a:lnTo>
                  <a:lnTo>
                    <a:pt x="147" y="40"/>
                  </a:lnTo>
                  <a:lnTo>
                    <a:pt x="156" y="0"/>
                  </a:lnTo>
                  <a:lnTo>
                    <a:pt x="210" y="24"/>
                  </a:lnTo>
                  <a:lnTo>
                    <a:pt x="248" y="24"/>
                  </a:lnTo>
                  <a:lnTo>
                    <a:pt x="281" y="17"/>
                  </a:lnTo>
                  <a:lnTo>
                    <a:pt x="340" y="33"/>
                  </a:lnTo>
                  <a:lnTo>
                    <a:pt x="362" y="50"/>
                  </a:lnTo>
                  <a:lnTo>
                    <a:pt x="411" y="57"/>
                  </a:lnTo>
                  <a:lnTo>
                    <a:pt x="425" y="78"/>
                  </a:lnTo>
                  <a:lnTo>
                    <a:pt x="432" y="123"/>
                  </a:lnTo>
                  <a:lnTo>
                    <a:pt x="449" y="144"/>
                  </a:lnTo>
                  <a:lnTo>
                    <a:pt x="480" y="151"/>
                  </a:lnTo>
                  <a:lnTo>
                    <a:pt x="517" y="151"/>
                  </a:lnTo>
                  <a:lnTo>
                    <a:pt x="560" y="168"/>
                  </a:lnTo>
                  <a:lnTo>
                    <a:pt x="614" y="189"/>
                  </a:lnTo>
                  <a:lnTo>
                    <a:pt x="680" y="234"/>
                  </a:lnTo>
                  <a:lnTo>
                    <a:pt x="702" y="234"/>
                  </a:lnTo>
                  <a:lnTo>
                    <a:pt x="718" y="217"/>
                  </a:lnTo>
                  <a:lnTo>
                    <a:pt x="749" y="184"/>
                  </a:lnTo>
                  <a:lnTo>
                    <a:pt x="756" y="161"/>
                  </a:lnTo>
                  <a:lnTo>
                    <a:pt x="740" y="111"/>
                  </a:lnTo>
                  <a:lnTo>
                    <a:pt x="756" y="78"/>
                  </a:lnTo>
                  <a:lnTo>
                    <a:pt x="787" y="50"/>
                  </a:lnTo>
                  <a:lnTo>
                    <a:pt x="820" y="33"/>
                  </a:lnTo>
                  <a:lnTo>
                    <a:pt x="848" y="24"/>
                  </a:lnTo>
                  <a:lnTo>
                    <a:pt x="862" y="17"/>
                  </a:lnTo>
                  <a:lnTo>
                    <a:pt x="912" y="24"/>
                  </a:lnTo>
                  <a:lnTo>
                    <a:pt x="966" y="40"/>
                  </a:lnTo>
                  <a:lnTo>
                    <a:pt x="966" y="66"/>
                  </a:lnTo>
                  <a:lnTo>
                    <a:pt x="971" y="73"/>
                  </a:lnTo>
                  <a:lnTo>
                    <a:pt x="1009" y="78"/>
                  </a:lnTo>
                  <a:lnTo>
                    <a:pt x="1035" y="95"/>
                  </a:lnTo>
                  <a:lnTo>
                    <a:pt x="1096" y="95"/>
                  </a:lnTo>
                  <a:lnTo>
                    <a:pt x="1110" y="123"/>
                  </a:lnTo>
                  <a:lnTo>
                    <a:pt x="1089" y="144"/>
                  </a:lnTo>
                  <a:lnTo>
                    <a:pt x="1096" y="189"/>
                  </a:lnTo>
                  <a:lnTo>
                    <a:pt x="1080" y="239"/>
                  </a:lnTo>
                  <a:lnTo>
                    <a:pt x="1096" y="312"/>
                  </a:lnTo>
                  <a:lnTo>
                    <a:pt x="1096" y="439"/>
                  </a:lnTo>
                  <a:lnTo>
                    <a:pt x="1096" y="439"/>
                  </a:lnTo>
                  <a:lnTo>
                    <a:pt x="1096" y="43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8" name="Freeform 499">
              <a:extLst>
                <a:ext uri="{FF2B5EF4-FFF2-40B4-BE49-F238E27FC236}">
                  <a16:creationId xmlns:a16="http://schemas.microsoft.com/office/drawing/2014/main" id="{5C59B3B0-355A-40F6-86A2-8E13C3E5D496}"/>
                </a:ext>
              </a:extLst>
            </p:cNvPr>
            <p:cNvSpPr>
              <a:spLocks noEditPoints="1"/>
            </p:cNvSpPr>
            <p:nvPr/>
          </p:nvSpPr>
          <p:spPr bwMode="gray">
            <a:xfrm>
              <a:off x="14736529" y="4396536"/>
              <a:ext cx="167576" cy="333515"/>
            </a:xfrm>
            <a:custGeom>
              <a:avLst/>
              <a:gdLst>
                <a:gd name="T0" fmla="*/ 349 w 512"/>
                <a:gd name="T1" fmla="*/ 723 h 1019"/>
                <a:gd name="T2" fmla="*/ 307 w 512"/>
                <a:gd name="T3" fmla="*/ 884 h 1019"/>
                <a:gd name="T4" fmla="*/ 243 w 512"/>
                <a:gd name="T5" fmla="*/ 995 h 1019"/>
                <a:gd name="T6" fmla="*/ 163 w 512"/>
                <a:gd name="T7" fmla="*/ 1019 h 1019"/>
                <a:gd name="T8" fmla="*/ 108 w 512"/>
                <a:gd name="T9" fmla="*/ 1002 h 1019"/>
                <a:gd name="T10" fmla="*/ 82 w 512"/>
                <a:gd name="T11" fmla="*/ 990 h 1019"/>
                <a:gd name="T12" fmla="*/ 54 w 512"/>
                <a:gd name="T13" fmla="*/ 978 h 1019"/>
                <a:gd name="T14" fmla="*/ 33 w 512"/>
                <a:gd name="T15" fmla="*/ 924 h 1019"/>
                <a:gd name="T16" fmla="*/ 37 w 512"/>
                <a:gd name="T17" fmla="*/ 863 h 1019"/>
                <a:gd name="T18" fmla="*/ 28 w 512"/>
                <a:gd name="T19" fmla="*/ 830 h 1019"/>
                <a:gd name="T20" fmla="*/ 0 w 512"/>
                <a:gd name="T21" fmla="*/ 756 h 1019"/>
                <a:gd name="T22" fmla="*/ 16 w 512"/>
                <a:gd name="T23" fmla="*/ 723 h 1019"/>
                <a:gd name="T24" fmla="*/ 37 w 512"/>
                <a:gd name="T25" fmla="*/ 685 h 1019"/>
                <a:gd name="T26" fmla="*/ 87 w 512"/>
                <a:gd name="T27" fmla="*/ 596 h 1019"/>
                <a:gd name="T28" fmla="*/ 87 w 512"/>
                <a:gd name="T29" fmla="*/ 558 h 1019"/>
                <a:gd name="T30" fmla="*/ 70 w 512"/>
                <a:gd name="T31" fmla="*/ 513 h 1019"/>
                <a:gd name="T32" fmla="*/ 54 w 512"/>
                <a:gd name="T33" fmla="*/ 428 h 1019"/>
                <a:gd name="T34" fmla="*/ 87 w 512"/>
                <a:gd name="T35" fmla="*/ 350 h 1019"/>
                <a:gd name="T36" fmla="*/ 118 w 512"/>
                <a:gd name="T37" fmla="*/ 312 h 1019"/>
                <a:gd name="T38" fmla="*/ 146 w 512"/>
                <a:gd name="T39" fmla="*/ 308 h 1019"/>
                <a:gd name="T40" fmla="*/ 155 w 512"/>
                <a:gd name="T41" fmla="*/ 296 h 1019"/>
                <a:gd name="T42" fmla="*/ 172 w 512"/>
                <a:gd name="T43" fmla="*/ 308 h 1019"/>
                <a:gd name="T44" fmla="*/ 188 w 512"/>
                <a:gd name="T45" fmla="*/ 279 h 1019"/>
                <a:gd name="T46" fmla="*/ 200 w 512"/>
                <a:gd name="T47" fmla="*/ 279 h 1019"/>
                <a:gd name="T48" fmla="*/ 210 w 512"/>
                <a:gd name="T49" fmla="*/ 279 h 1019"/>
                <a:gd name="T50" fmla="*/ 214 w 512"/>
                <a:gd name="T51" fmla="*/ 296 h 1019"/>
                <a:gd name="T52" fmla="*/ 214 w 512"/>
                <a:gd name="T53" fmla="*/ 279 h 1019"/>
                <a:gd name="T54" fmla="*/ 264 w 512"/>
                <a:gd name="T55" fmla="*/ 239 h 1019"/>
                <a:gd name="T56" fmla="*/ 264 w 512"/>
                <a:gd name="T57" fmla="*/ 263 h 1019"/>
                <a:gd name="T58" fmla="*/ 269 w 512"/>
                <a:gd name="T59" fmla="*/ 239 h 1019"/>
                <a:gd name="T60" fmla="*/ 302 w 512"/>
                <a:gd name="T61" fmla="*/ 206 h 1019"/>
                <a:gd name="T62" fmla="*/ 323 w 512"/>
                <a:gd name="T63" fmla="*/ 197 h 1019"/>
                <a:gd name="T64" fmla="*/ 333 w 512"/>
                <a:gd name="T65" fmla="*/ 206 h 1019"/>
                <a:gd name="T66" fmla="*/ 318 w 512"/>
                <a:gd name="T67" fmla="*/ 197 h 1019"/>
                <a:gd name="T68" fmla="*/ 318 w 512"/>
                <a:gd name="T69" fmla="*/ 168 h 1019"/>
                <a:gd name="T70" fmla="*/ 323 w 512"/>
                <a:gd name="T71" fmla="*/ 163 h 1019"/>
                <a:gd name="T72" fmla="*/ 333 w 512"/>
                <a:gd name="T73" fmla="*/ 180 h 1019"/>
                <a:gd name="T74" fmla="*/ 333 w 512"/>
                <a:gd name="T75" fmla="*/ 152 h 1019"/>
                <a:gd name="T76" fmla="*/ 323 w 512"/>
                <a:gd name="T77" fmla="*/ 140 h 1019"/>
                <a:gd name="T78" fmla="*/ 340 w 512"/>
                <a:gd name="T79" fmla="*/ 111 h 1019"/>
                <a:gd name="T80" fmla="*/ 356 w 512"/>
                <a:gd name="T81" fmla="*/ 123 h 1019"/>
                <a:gd name="T82" fmla="*/ 403 w 512"/>
                <a:gd name="T83" fmla="*/ 69 h 1019"/>
                <a:gd name="T84" fmla="*/ 387 w 512"/>
                <a:gd name="T85" fmla="*/ 34 h 1019"/>
                <a:gd name="T86" fmla="*/ 403 w 512"/>
                <a:gd name="T87" fmla="*/ 29 h 1019"/>
                <a:gd name="T88" fmla="*/ 415 w 512"/>
                <a:gd name="T89" fmla="*/ 12 h 1019"/>
                <a:gd name="T90" fmla="*/ 429 w 512"/>
                <a:gd name="T91" fmla="*/ 17 h 1019"/>
                <a:gd name="T92" fmla="*/ 425 w 512"/>
                <a:gd name="T93" fmla="*/ 17 h 1019"/>
                <a:gd name="T94" fmla="*/ 446 w 512"/>
                <a:gd name="T95" fmla="*/ 50 h 1019"/>
                <a:gd name="T96" fmla="*/ 484 w 512"/>
                <a:gd name="T97" fmla="*/ 140 h 1019"/>
                <a:gd name="T98" fmla="*/ 512 w 512"/>
                <a:gd name="T99" fmla="*/ 251 h 1019"/>
                <a:gd name="T100" fmla="*/ 479 w 512"/>
                <a:gd name="T101" fmla="*/ 291 h 1019"/>
                <a:gd name="T102" fmla="*/ 458 w 512"/>
                <a:gd name="T103" fmla="*/ 258 h 1019"/>
                <a:gd name="T104" fmla="*/ 458 w 512"/>
                <a:gd name="T105" fmla="*/ 291 h 1019"/>
                <a:gd name="T106" fmla="*/ 462 w 512"/>
                <a:gd name="T107" fmla="*/ 312 h 1019"/>
                <a:gd name="T108" fmla="*/ 458 w 512"/>
                <a:gd name="T109" fmla="*/ 350 h 1019"/>
                <a:gd name="T110" fmla="*/ 446 w 512"/>
                <a:gd name="T111" fmla="*/ 369 h 1019"/>
                <a:gd name="T112" fmla="*/ 441 w 512"/>
                <a:gd name="T113" fmla="*/ 423 h 1019"/>
                <a:gd name="T114" fmla="*/ 377 w 512"/>
                <a:gd name="T115" fmla="*/ 629 h 1019"/>
                <a:gd name="T116" fmla="*/ 377 w 512"/>
                <a:gd name="T117" fmla="*/ 629 h 1019"/>
                <a:gd name="T118" fmla="*/ 349 w 512"/>
                <a:gd name="T119" fmla="*/ 107 h 1019"/>
                <a:gd name="T120" fmla="*/ 356 w 512"/>
                <a:gd name="T121" fmla="*/ 107 h 1019"/>
                <a:gd name="T122" fmla="*/ 356 w 512"/>
                <a:gd name="T123" fmla="*/ 107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1019">
                  <a:moveTo>
                    <a:pt x="377" y="629"/>
                  </a:moveTo>
                  <a:lnTo>
                    <a:pt x="349" y="723"/>
                  </a:lnTo>
                  <a:lnTo>
                    <a:pt x="323" y="780"/>
                  </a:lnTo>
                  <a:lnTo>
                    <a:pt x="307" y="884"/>
                  </a:lnTo>
                  <a:lnTo>
                    <a:pt x="269" y="974"/>
                  </a:lnTo>
                  <a:lnTo>
                    <a:pt x="243" y="995"/>
                  </a:lnTo>
                  <a:lnTo>
                    <a:pt x="210" y="995"/>
                  </a:lnTo>
                  <a:lnTo>
                    <a:pt x="163" y="1019"/>
                  </a:lnTo>
                  <a:lnTo>
                    <a:pt x="141" y="1019"/>
                  </a:lnTo>
                  <a:lnTo>
                    <a:pt x="108" y="1002"/>
                  </a:lnTo>
                  <a:lnTo>
                    <a:pt x="82" y="995"/>
                  </a:lnTo>
                  <a:lnTo>
                    <a:pt x="82" y="990"/>
                  </a:lnTo>
                  <a:lnTo>
                    <a:pt x="87" y="995"/>
                  </a:lnTo>
                  <a:lnTo>
                    <a:pt x="54" y="978"/>
                  </a:lnTo>
                  <a:lnTo>
                    <a:pt x="49" y="945"/>
                  </a:lnTo>
                  <a:lnTo>
                    <a:pt x="33" y="924"/>
                  </a:lnTo>
                  <a:lnTo>
                    <a:pt x="33" y="879"/>
                  </a:lnTo>
                  <a:lnTo>
                    <a:pt x="37" y="863"/>
                  </a:lnTo>
                  <a:lnTo>
                    <a:pt x="33" y="851"/>
                  </a:lnTo>
                  <a:lnTo>
                    <a:pt x="28" y="830"/>
                  </a:lnTo>
                  <a:lnTo>
                    <a:pt x="11" y="813"/>
                  </a:lnTo>
                  <a:lnTo>
                    <a:pt x="0" y="756"/>
                  </a:lnTo>
                  <a:lnTo>
                    <a:pt x="11" y="735"/>
                  </a:lnTo>
                  <a:lnTo>
                    <a:pt x="16" y="723"/>
                  </a:lnTo>
                  <a:lnTo>
                    <a:pt x="16" y="702"/>
                  </a:lnTo>
                  <a:lnTo>
                    <a:pt x="37" y="685"/>
                  </a:lnTo>
                  <a:lnTo>
                    <a:pt x="49" y="662"/>
                  </a:lnTo>
                  <a:lnTo>
                    <a:pt x="87" y="596"/>
                  </a:lnTo>
                  <a:lnTo>
                    <a:pt x="82" y="584"/>
                  </a:lnTo>
                  <a:lnTo>
                    <a:pt x="87" y="558"/>
                  </a:lnTo>
                  <a:lnTo>
                    <a:pt x="70" y="530"/>
                  </a:lnTo>
                  <a:lnTo>
                    <a:pt x="70" y="513"/>
                  </a:lnTo>
                  <a:lnTo>
                    <a:pt x="54" y="480"/>
                  </a:lnTo>
                  <a:lnTo>
                    <a:pt x="54" y="428"/>
                  </a:lnTo>
                  <a:lnTo>
                    <a:pt x="49" y="419"/>
                  </a:lnTo>
                  <a:lnTo>
                    <a:pt x="87" y="350"/>
                  </a:lnTo>
                  <a:lnTo>
                    <a:pt x="87" y="312"/>
                  </a:lnTo>
                  <a:lnTo>
                    <a:pt x="118" y="312"/>
                  </a:lnTo>
                  <a:lnTo>
                    <a:pt x="146" y="296"/>
                  </a:lnTo>
                  <a:lnTo>
                    <a:pt x="146" y="308"/>
                  </a:lnTo>
                  <a:lnTo>
                    <a:pt x="155" y="308"/>
                  </a:lnTo>
                  <a:lnTo>
                    <a:pt x="155" y="296"/>
                  </a:lnTo>
                  <a:lnTo>
                    <a:pt x="163" y="296"/>
                  </a:lnTo>
                  <a:lnTo>
                    <a:pt x="172" y="308"/>
                  </a:lnTo>
                  <a:lnTo>
                    <a:pt x="177" y="279"/>
                  </a:lnTo>
                  <a:lnTo>
                    <a:pt x="188" y="279"/>
                  </a:lnTo>
                  <a:lnTo>
                    <a:pt x="200" y="291"/>
                  </a:lnTo>
                  <a:lnTo>
                    <a:pt x="200" y="279"/>
                  </a:lnTo>
                  <a:lnTo>
                    <a:pt x="193" y="279"/>
                  </a:lnTo>
                  <a:lnTo>
                    <a:pt x="210" y="279"/>
                  </a:lnTo>
                  <a:lnTo>
                    <a:pt x="210" y="279"/>
                  </a:lnTo>
                  <a:lnTo>
                    <a:pt x="214" y="296"/>
                  </a:lnTo>
                  <a:lnTo>
                    <a:pt x="231" y="296"/>
                  </a:lnTo>
                  <a:lnTo>
                    <a:pt x="214" y="279"/>
                  </a:lnTo>
                  <a:lnTo>
                    <a:pt x="214" y="274"/>
                  </a:lnTo>
                  <a:lnTo>
                    <a:pt x="264" y="239"/>
                  </a:lnTo>
                  <a:lnTo>
                    <a:pt x="269" y="251"/>
                  </a:lnTo>
                  <a:lnTo>
                    <a:pt x="264" y="263"/>
                  </a:lnTo>
                  <a:lnTo>
                    <a:pt x="281" y="258"/>
                  </a:lnTo>
                  <a:lnTo>
                    <a:pt x="269" y="239"/>
                  </a:lnTo>
                  <a:lnTo>
                    <a:pt x="297" y="201"/>
                  </a:lnTo>
                  <a:lnTo>
                    <a:pt x="302" y="206"/>
                  </a:lnTo>
                  <a:lnTo>
                    <a:pt x="297" y="234"/>
                  </a:lnTo>
                  <a:lnTo>
                    <a:pt x="323" y="197"/>
                  </a:lnTo>
                  <a:lnTo>
                    <a:pt x="333" y="201"/>
                  </a:lnTo>
                  <a:lnTo>
                    <a:pt x="333" y="206"/>
                  </a:lnTo>
                  <a:lnTo>
                    <a:pt x="333" y="197"/>
                  </a:lnTo>
                  <a:lnTo>
                    <a:pt x="318" y="197"/>
                  </a:lnTo>
                  <a:lnTo>
                    <a:pt x="318" y="185"/>
                  </a:lnTo>
                  <a:lnTo>
                    <a:pt x="318" y="168"/>
                  </a:lnTo>
                  <a:lnTo>
                    <a:pt x="333" y="168"/>
                  </a:lnTo>
                  <a:lnTo>
                    <a:pt x="323" y="163"/>
                  </a:lnTo>
                  <a:lnTo>
                    <a:pt x="340" y="163"/>
                  </a:lnTo>
                  <a:lnTo>
                    <a:pt x="333" y="180"/>
                  </a:lnTo>
                  <a:lnTo>
                    <a:pt x="340" y="163"/>
                  </a:lnTo>
                  <a:lnTo>
                    <a:pt x="333" y="152"/>
                  </a:lnTo>
                  <a:lnTo>
                    <a:pt x="340" y="145"/>
                  </a:lnTo>
                  <a:lnTo>
                    <a:pt x="323" y="140"/>
                  </a:lnTo>
                  <a:lnTo>
                    <a:pt x="333" y="123"/>
                  </a:lnTo>
                  <a:lnTo>
                    <a:pt x="340" y="111"/>
                  </a:lnTo>
                  <a:lnTo>
                    <a:pt x="356" y="140"/>
                  </a:lnTo>
                  <a:lnTo>
                    <a:pt x="356" y="123"/>
                  </a:lnTo>
                  <a:lnTo>
                    <a:pt x="394" y="107"/>
                  </a:lnTo>
                  <a:lnTo>
                    <a:pt x="403" y="69"/>
                  </a:lnTo>
                  <a:lnTo>
                    <a:pt x="394" y="50"/>
                  </a:lnTo>
                  <a:lnTo>
                    <a:pt x="387" y="34"/>
                  </a:lnTo>
                  <a:lnTo>
                    <a:pt x="403" y="41"/>
                  </a:lnTo>
                  <a:lnTo>
                    <a:pt x="403" y="29"/>
                  </a:lnTo>
                  <a:lnTo>
                    <a:pt x="415" y="17"/>
                  </a:lnTo>
                  <a:lnTo>
                    <a:pt x="415" y="12"/>
                  </a:lnTo>
                  <a:lnTo>
                    <a:pt x="425" y="0"/>
                  </a:lnTo>
                  <a:lnTo>
                    <a:pt x="429" y="17"/>
                  </a:lnTo>
                  <a:lnTo>
                    <a:pt x="425" y="17"/>
                  </a:lnTo>
                  <a:lnTo>
                    <a:pt x="425" y="17"/>
                  </a:lnTo>
                  <a:lnTo>
                    <a:pt x="441" y="29"/>
                  </a:lnTo>
                  <a:lnTo>
                    <a:pt x="446" y="50"/>
                  </a:lnTo>
                  <a:lnTo>
                    <a:pt x="467" y="85"/>
                  </a:lnTo>
                  <a:lnTo>
                    <a:pt x="484" y="140"/>
                  </a:lnTo>
                  <a:lnTo>
                    <a:pt x="484" y="197"/>
                  </a:lnTo>
                  <a:lnTo>
                    <a:pt x="512" y="251"/>
                  </a:lnTo>
                  <a:lnTo>
                    <a:pt x="496" y="296"/>
                  </a:lnTo>
                  <a:lnTo>
                    <a:pt x="479" y="291"/>
                  </a:lnTo>
                  <a:lnTo>
                    <a:pt x="462" y="258"/>
                  </a:lnTo>
                  <a:lnTo>
                    <a:pt x="458" y="258"/>
                  </a:lnTo>
                  <a:lnTo>
                    <a:pt x="446" y="263"/>
                  </a:lnTo>
                  <a:lnTo>
                    <a:pt x="458" y="291"/>
                  </a:lnTo>
                  <a:lnTo>
                    <a:pt x="458" y="308"/>
                  </a:lnTo>
                  <a:lnTo>
                    <a:pt x="462" y="312"/>
                  </a:lnTo>
                  <a:lnTo>
                    <a:pt x="462" y="334"/>
                  </a:lnTo>
                  <a:lnTo>
                    <a:pt x="458" y="350"/>
                  </a:lnTo>
                  <a:lnTo>
                    <a:pt x="462" y="362"/>
                  </a:lnTo>
                  <a:lnTo>
                    <a:pt x="446" y="369"/>
                  </a:lnTo>
                  <a:lnTo>
                    <a:pt x="429" y="402"/>
                  </a:lnTo>
                  <a:lnTo>
                    <a:pt x="441" y="423"/>
                  </a:lnTo>
                  <a:lnTo>
                    <a:pt x="429" y="473"/>
                  </a:lnTo>
                  <a:lnTo>
                    <a:pt x="377" y="629"/>
                  </a:lnTo>
                  <a:lnTo>
                    <a:pt x="377" y="629"/>
                  </a:lnTo>
                  <a:lnTo>
                    <a:pt x="377" y="629"/>
                  </a:lnTo>
                  <a:close/>
                  <a:moveTo>
                    <a:pt x="356" y="107"/>
                  </a:moveTo>
                  <a:lnTo>
                    <a:pt x="349" y="107"/>
                  </a:lnTo>
                  <a:lnTo>
                    <a:pt x="356" y="90"/>
                  </a:lnTo>
                  <a:lnTo>
                    <a:pt x="356" y="107"/>
                  </a:lnTo>
                  <a:lnTo>
                    <a:pt x="356" y="107"/>
                  </a:lnTo>
                  <a:lnTo>
                    <a:pt x="356" y="10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9" name="Freeform 500">
              <a:extLst>
                <a:ext uri="{FF2B5EF4-FFF2-40B4-BE49-F238E27FC236}">
                  <a16:creationId xmlns:a16="http://schemas.microsoft.com/office/drawing/2014/main" id="{900EBD83-407C-4E65-B6B4-AEB9EC052C9C}"/>
                </a:ext>
              </a:extLst>
            </p:cNvPr>
            <p:cNvSpPr>
              <a:spLocks/>
            </p:cNvSpPr>
            <p:nvPr/>
          </p:nvSpPr>
          <p:spPr bwMode="gray">
            <a:xfrm>
              <a:off x="12338099" y="3760271"/>
              <a:ext cx="10801" cy="13419"/>
            </a:xfrm>
            <a:custGeom>
              <a:avLst/>
              <a:gdLst>
                <a:gd name="T0" fmla="*/ 33 w 33"/>
                <a:gd name="T1" fmla="*/ 41 h 41"/>
                <a:gd name="T2" fmla="*/ 17 w 33"/>
                <a:gd name="T3" fmla="*/ 29 h 41"/>
                <a:gd name="T4" fmla="*/ 0 w 33"/>
                <a:gd name="T5" fmla="*/ 7 h 41"/>
                <a:gd name="T6" fmla="*/ 5 w 33"/>
                <a:gd name="T7" fmla="*/ 0 h 41"/>
                <a:gd name="T8" fmla="*/ 21 w 33"/>
                <a:gd name="T9" fmla="*/ 17 h 41"/>
                <a:gd name="T10" fmla="*/ 33 w 33"/>
                <a:gd name="T11" fmla="*/ 24 h 41"/>
                <a:gd name="T12" fmla="*/ 33 w 33"/>
                <a:gd name="T13" fmla="*/ 41 h 41"/>
                <a:gd name="T14" fmla="*/ 33 w 33"/>
                <a:gd name="T15" fmla="*/ 41 h 41"/>
                <a:gd name="T16" fmla="*/ 33 w 33"/>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1">
                  <a:moveTo>
                    <a:pt x="33" y="41"/>
                  </a:moveTo>
                  <a:lnTo>
                    <a:pt x="17" y="29"/>
                  </a:lnTo>
                  <a:lnTo>
                    <a:pt x="0" y="7"/>
                  </a:lnTo>
                  <a:lnTo>
                    <a:pt x="5" y="0"/>
                  </a:lnTo>
                  <a:lnTo>
                    <a:pt x="21" y="17"/>
                  </a:lnTo>
                  <a:lnTo>
                    <a:pt x="33" y="24"/>
                  </a:lnTo>
                  <a:lnTo>
                    <a:pt x="33" y="41"/>
                  </a:lnTo>
                  <a:lnTo>
                    <a:pt x="33" y="41"/>
                  </a:lnTo>
                  <a:lnTo>
                    <a:pt x="33" y="41"/>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0" name="Freeform 501">
              <a:extLst>
                <a:ext uri="{FF2B5EF4-FFF2-40B4-BE49-F238E27FC236}">
                  <a16:creationId xmlns:a16="http://schemas.microsoft.com/office/drawing/2014/main" id="{22796230-A86C-4F7B-99DB-2BD281236A00}"/>
                </a:ext>
              </a:extLst>
            </p:cNvPr>
            <p:cNvSpPr>
              <a:spLocks/>
            </p:cNvSpPr>
            <p:nvPr/>
          </p:nvSpPr>
          <p:spPr bwMode="gray">
            <a:xfrm>
              <a:off x="14355883" y="2872970"/>
              <a:ext cx="80515" cy="90988"/>
            </a:xfrm>
            <a:custGeom>
              <a:avLst/>
              <a:gdLst>
                <a:gd name="T0" fmla="*/ 0 w 246"/>
                <a:gd name="T1" fmla="*/ 16 h 278"/>
                <a:gd name="T2" fmla="*/ 5 w 246"/>
                <a:gd name="T3" fmla="*/ 7 h 278"/>
                <a:gd name="T4" fmla="*/ 76 w 246"/>
                <a:gd name="T5" fmla="*/ 0 h 278"/>
                <a:gd name="T6" fmla="*/ 97 w 246"/>
                <a:gd name="T7" fmla="*/ 16 h 278"/>
                <a:gd name="T8" fmla="*/ 97 w 246"/>
                <a:gd name="T9" fmla="*/ 23 h 278"/>
                <a:gd name="T10" fmla="*/ 152 w 246"/>
                <a:gd name="T11" fmla="*/ 33 h 278"/>
                <a:gd name="T12" fmla="*/ 168 w 246"/>
                <a:gd name="T13" fmla="*/ 45 h 278"/>
                <a:gd name="T14" fmla="*/ 175 w 246"/>
                <a:gd name="T15" fmla="*/ 45 h 278"/>
                <a:gd name="T16" fmla="*/ 185 w 246"/>
                <a:gd name="T17" fmla="*/ 61 h 278"/>
                <a:gd name="T18" fmla="*/ 175 w 246"/>
                <a:gd name="T19" fmla="*/ 89 h 278"/>
                <a:gd name="T20" fmla="*/ 175 w 246"/>
                <a:gd name="T21" fmla="*/ 94 h 278"/>
                <a:gd name="T22" fmla="*/ 192 w 246"/>
                <a:gd name="T23" fmla="*/ 111 h 278"/>
                <a:gd name="T24" fmla="*/ 208 w 246"/>
                <a:gd name="T25" fmla="*/ 101 h 278"/>
                <a:gd name="T26" fmla="*/ 208 w 246"/>
                <a:gd name="T27" fmla="*/ 146 h 278"/>
                <a:gd name="T28" fmla="*/ 229 w 246"/>
                <a:gd name="T29" fmla="*/ 151 h 278"/>
                <a:gd name="T30" fmla="*/ 229 w 246"/>
                <a:gd name="T31" fmla="*/ 172 h 278"/>
                <a:gd name="T32" fmla="*/ 229 w 246"/>
                <a:gd name="T33" fmla="*/ 172 h 278"/>
                <a:gd name="T34" fmla="*/ 246 w 246"/>
                <a:gd name="T35" fmla="*/ 189 h 278"/>
                <a:gd name="T36" fmla="*/ 229 w 246"/>
                <a:gd name="T37" fmla="*/ 189 h 278"/>
                <a:gd name="T38" fmla="*/ 218 w 246"/>
                <a:gd name="T39" fmla="*/ 184 h 278"/>
                <a:gd name="T40" fmla="*/ 208 w 246"/>
                <a:gd name="T41" fmla="*/ 189 h 278"/>
                <a:gd name="T42" fmla="*/ 201 w 246"/>
                <a:gd name="T43" fmla="*/ 184 h 278"/>
                <a:gd name="T44" fmla="*/ 185 w 246"/>
                <a:gd name="T45" fmla="*/ 189 h 278"/>
                <a:gd name="T46" fmla="*/ 175 w 246"/>
                <a:gd name="T47" fmla="*/ 172 h 278"/>
                <a:gd name="T48" fmla="*/ 168 w 246"/>
                <a:gd name="T49" fmla="*/ 184 h 278"/>
                <a:gd name="T50" fmla="*/ 163 w 246"/>
                <a:gd name="T51" fmla="*/ 200 h 278"/>
                <a:gd name="T52" fmla="*/ 168 w 246"/>
                <a:gd name="T53" fmla="*/ 208 h 278"/>
                <a:gd name="T54" fmla="*/ 163 w 246"/>
                <a:gd name="T55" fmla="*/ 224 h 278"/>
                <a:gd name="T56" fmla="*/ 147 w 246"/>
                <a:gd name="T57" fmla="*/ 229 h 278"/>
                <a:gd name="T58" fmla="*/ 147 w 246"/>
                <a:gd name="T59" fmla="*/ 241 h 278"/>
                <a:gd name="T60" fmla="*/ 130 w 246"/>
                <a:gd name="T61" fmla="*/ 257 h 278"/>
                <a:gd name="T62" fmla="*/ 130 w 246"/>
                <a:gd name="T63" fmla="*/ 269 h 278"/>
                <a:gd name="T64" fmla="*/ 114 w 246"/>
                <a:gd name="T65" fmla="*/ 269 h 278"/>
                <a:gd name="T66" fmla="*/ 109 w 246"/>
                <a:gd name="T67" fmla="*/ 278 h 278"/>
                <a:gd name="T68" fmla="*/ 97 w 246"/>
                <a:gd name="T69" fmla="*/ 262 h 278"/>
                <a:gd name="T70" fmla="*/ 109 w 246"/>
                <a:gd name="T71" fmla="*/ 257 h 278"/>
                <a:gd name="T72" fmla="*/ 97 w 246"/>
                <a:gd name="T73" fmla="*/ 212 h 278"/>
                <a:gd name="T74" fmla="*/ 114 w 246"/>
                <a:gd name="T75" fmla="*/ 184 h 278"/>
                <a:gd name="T76" fmla="*/ 97 w 246"/>
                <a:gd name="T77" fmla="*/ 134 h 278"/>
                <a:gd name="T78" fmla="*/ 83 w 246"/>
                <a:gd name="T79" fmla="*/ 118 h 278"/>
                <a:gd name="T80" fmla="*/ 43 w 246"/>
                <a:gd name="T81" fmla="*/ 73 h 278"/>
                <a:gd name="T82" fmla="*/ 22 w 246"/>
                <a:gd name="T83" fmla="*/ 33 h 278"/>
                <a:gd name="T84" fmla="*/ 0 w 246"/>
                <a:gd name="T85" fmla="*/ 16 h 278"/>
                <a:gd name="T86" fmla="*/ 0 w 246"/>
                <a:gd name="T87" fmla="*/ 16 h 278"/>
                <a:gd name="T88" fmla="*/ 0 w 246"/>
                <a:gd name="T89" fmla="*/ 1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6" h="278">
                  <a:moveTo>
                    <a:pt x="0" y="16"/>
                  </a:moveTo>
                  <a:lnTo>
                    <a:pt x="5" y="7"/>
                  </a:lnTo>
                  <a:lnTo>
                    <a:pt x="76" y="0"/>
                  </a:lnTo>
                  <a:lnTo>
                    <a:pt x="97" y="16"/>
                  </a:lnTo>
                  <a:lnTo>
                    <a:pt x="97" y="23"/>
                  </a:lnTo>
                  <a:lnTo>
                    <a:pt x="152" y="33"/>
                  </a:lnTo>
                  <a:lnTo>
                    <a:pt x="168" y="45"/>
                  </a:lnTo>
                  <a:lnTo>
                    <a:pt x="175" y="45"/>
                  </a:lnTo>
                  <a:lnTo>
                    <a:pt x="185" y="61"/>
                  </a:lnTo>
                  <a:lnTo>
                    <a:pt x="175" y="89"/>
                  </a:lnTo>
                  <a:lnTo>
                    <a:pt x="175" y="94"/>
                  </a:lnTo>
                  <a:lnTo>
                    <a:pt x="192" y="111"/>
                  </a:lnTo>
                  <a:lnTo>
                    <a:pt x="208" y="101"/>
                  </a:lnTo>
                  <a:lnTo>
                    <a:pt x="208" y="146"/>
                  </a:lnTo>
                  <a:lnTo>
                    <a:pt x="229" y="151"/>
                  </a:lnTo>
                  <a:lnTo>
                    <a:pt x="229" y="172"/>
                  </a:lnTo>
                  <a:lnTo>
                    <a:pt x="229" y="172"/>
                  </a:lnTo>
                  <a:lnTo>
                    <a:pt x="246" y="189"/>
                  </a:lnTo>
                  <a:lnTo>
                    <a:pt x="229" y="189"/>
                  </a:lnTo>
                  <a:lnTo>
                    <a:pt x="218" y="184"/>
                  </a:lnTo>
                  <a:lnTo>
                    <a:pt x="208" y="189"/>
                  </a:lnTo>
                  <a:lnTo>
                    <a:pt x="201" y="184"/>
                  </a:lnTo>
                  <a:lnTo>
                    <a:pt x="185" y="189"/>
                  </a:lnTo>
                  <a:lnTo>
                    <a:pt x="175" y="172"/>
                  </a:lnTo>
                  <a:lnTo>
                    <a:pt x="168" y="184"/>
                  </a:lnTo>
                  <a:lnTo>
                    <a:pt x="163" y="200"/>
                  </a:lnTo>
                  <a:lnTo>
                    <a:pt x="168" y="208"/>
                  </a:lnTo>
                  <a:lnTo>
                    <a:pt x="163" y="224"/>
                  </a:lnTo>
                  <a:lnTo>
                    <a:pt x="147" y="229"/>
                  </a:lnTo>
                  <a:lnTo>
                    <a:pt x="147" y="241"/>
                  </a:lnTo>
                  <a:lnTo>
                    <a:pt x="130" y="257"/>
                  </a:lnTo>
                  <a:lnTo>
                    <a:pt x="130" y="269"/>
                  </a:lnTo>
                  <a:lnTo>
                    <a:pt x="114" y="269"/>
                  </a:lnTo>
                  <a:lnTo>
                    <a:pt x="109" y="278"/>
                  </a:lnTo>
                  <a:lnTo>
                    <a:pt x="97" y="262"/>
                  </a:lnTo>
                  <a:lnTo>
                    <a:pt x="109" y="257"/>
                  </a:lnTo>
                  <a:lnTo>
                    <a:pt x="97" y="212"/>
                  </a:lnTo>
                  <a:lnTo>
                    <a:pt x="114" y="184"/>
                  </a:lnTo>
                  <a:lnTo>
                    <a:pt x="97" y="134"/>
                  </a:lnTo>
                  <a:lnTo>
                    <a:pt x="83" y="118"/>
                  </a:lnTo>
                  <a:lnTo>
                    <a:pt x="43" y="73"/>
                  </a:lnTo>
                  <a:lnTo>
                    <a:pt x="22" y="33"/>
                  </a:lnTo>
                  <a:lnTo>
                    <a:pt x="0" y="16"/>
                  </a:lnTo>
                  <a:lnTo>
                    <a:pt x="0" y="16"/>
                  </a:lnTo>
                  <a:lnTo>
                    <a:pt x="0" y="16"/>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1" name="Freeform 502">
              <a:extLst>
                <a:ext uri="{FF2B5EF4-FFF2-40B4-BE49-F238E27FC236}">
                  <a16:creationId xmlns:a16="http://schemas.microsoft.com/office/drawing/2014/main" id="{575B2104-F2A9-400E-93C9-DAD9BAEC378A}"/>
                </a:ext>
              </a:extLst>
            </p:cNvPr>
            <p:cNvSpPr>
              <a:spLocks/>
            </p:cNvSpPr>
            <p:nvPr/>
          </p:nvSpPr>
          <p:spPr bwMode="gray">
            <a:xfrm>
              <a:off x="14780387" y="4413555"/>
              <a:ext cx="1636" cy="7201"/>
            </a:xfrm>
            <a:custGeom>
              <a:avLst/>
              <a:gdLst>
                <a:gd name="T0" fmla="*/ 0 w 5"/>
                <a:gd name="T1" fmla="*/ 22 h 22"/>
                <a:gd name="T2" fmla="*/ 0 w 5"/>
                <a:gd name="T3" fmla="*/ 22 h 22"/>
                <a:gd name="T4" fmla="*/ 0 w 5"/>
                <a:gd name="T5" fmla="*/ 0 h 22"/>
                <a:gd name="T6" fmla="*/ 5 w 5"/>
                <a:gd name="T7" fmla="*/ 5 h 22"/>
                <a:gd name="T8" fmla="*/ 0 w 5"/>
                <a:gd name="T9" fmla="*/ 22 h 22"/>
                <a:gd name="T10" fmla="*/ 0 w 5"/>
                <a:gd name="T11" fmla="*/ 22 h 22"/>
                <a:gd name="T12" fmla="*/ 0 w 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5" h="22">
                  <a:moveTo>
                    <a:pt x="0" y="22"/>
                  </a:moveTo>
                  <a:lnTo>
                    <a:pt x="0" y="22"/>
                  </a:lnTo>
                  <a:lnTo>
                    <a:pt x="0" y="0"/>
                  </a:lnTo>
                  <a:lnTo>
                    <a:pt x="5" y="5"/>
                  </a:lnTo>
                  <a:lnTo>
                    <a:pt x="0" y="22"/>
                  </a:lnTo>
                  <a:lnTo>
                    <a:pt x="0" y="22"/>
                  </a:lnTo>
                  <a:lnTo>
                    <a:pt x="0" y="22"/>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2" name="Freeform 503">
              <a:extLst>
                <a:ext uri="{FF2B5EF4-FFF2-40B4-BE49-F238E27FC236}">
                  <a16:creationId xmlns:a16="http://schemas.microsoft.com/office/drawing/2014/main" id="{8BFC589A-D16D-4D3E-AB38-EBB435106269}"/>
                </a:ext>
              </a:extLst>
            </p:cNvPr>
            <p:cNvSpPr>
              <a:spLocks/>
            </p:cNvSpPr>
            <p:nvPr/>
          </p:nvSpPr>
          <p:spPr bwMode="gray">
            <a:xfrm>
              <a:off x="15759331" y="2759071"/>
              <a:ext cx="737399" cy="313223"/>
            </a:xfrm>
            <a:custGeom>
              <a:avLst/>
              <a:gdLst>
                <a:gd name="T0" fmla="*/ 1993 w 2253"/>
                <a:gd name="T1" fmla="*/ 603 h 957"/>
                <a:gd name="T2" fmla="*/ 1875 w 2253"/>
                <a:gd name="T3" fmla="*/ 643 h 957"/>
                <a:gd name="T4" fmla="*/ 1729 w 2253"/>
                <a:gd name="T5" fmla="*/ 659 h 957"/>
                <a:gd name="T6" fmla="*/ 1658 w 2253"/>
                <a:gd name="T7" fmla="*/ 719 h 957"/>
                <a:gd name="T8" fmla="*/ 1632 w 2253"/>
                <a:gd name="T9" fmla="*/ 808 h 957"/>
                <a:gd name="T10" fmla="*/ 1382 w 2253"/>
                <a:gd name="T11" fmla="*/ 886 h 957"/>
                <a:gd name="T12" fmla="*/ 1209 w 2253"/>
                <a:gd name="T13" fmla="*/ 957 h 957"/>
                <a:gd name="T14" fmla="*/ 1171 w 2253"/>
                <a:gd name="T15" fmla="*/ 936 h 957"/>
                <a:gd name="T16" fmla="*/ 1048 w 2253"/>
                <a:gd name="T17" fmla="*/ 907 h 957"/>
                <a:gd name="T18" fmla="*/ 919 w 2253"/>
                <a:gd name="T19" fmla="*/ 863 h 957"/>
                <a:gd name="T20" fmla="*/ 654 w 2253"/>
                <a:gd name="T21" fmla="*/ 853 h 957"/>
                <a:gd name="T22" fmla="*/ 571 w 2253"/>
                <a:gd name="T23" fmla="*/ 813 h 957"/>
                <a:gd name="T24" fmla="*/ 534 w 2253"/>
                <a:gd name="T25" fmla="*/ 726 h 957"/>
                <a:gd name="T26" fmla="*/ 411 w 2253"/>
                <a:gd name="T27" fmla="*/ 664 h 957"/>
                <a:gd name="T28" fmla="*/ 200 w 2253"/>
                <a:gd name="T29" fmla="*/ 615 h 957"/>
                <a:gd name="T30" fmla="*/ 222 w 2253"/>
                <a:gd name="T31" fmla="*/ 548 h 957"/>
                <a:gd name="T32" fmla="*/ 210 w 2253"/>
                <a:gd name="T33" fmla="*/ 475 h 957"/>
                <a:gd name="T34" fmla="*/ 163 w 2253"/>
                <a:gd name="T35" fmla="*/ 409 h 957"/>
                <a:gd name="T36" fmla="*/ 125 w 2253"/>
                <a:gd name="T37" fmla="*/ 388 h 957"/>
                <a:gd name="T38" fmla="*/ 54 w 2253"/>
                <a:gd name="T39" fmla="*/ 355 h 957"/>
                <a:gd name="T40" fmla="*/ 0 w 2253"/>
                <a:gd name="T41" fmla="*/ 310 h 957"/>
                <a:gd name="T42" fmla="*/ 21 w 2253"/>
                <a:gd name="T43" fmla="*/ 277 h 957"/>
                <a:gd name="T44" fmla="*/ 75 w 2253"/>
                <a:gd name="T45" fmla="*/ 260 h 957"/>
                <a:gd name="T46" fmla="*/ 101 w 2253"/>
                <a:gd name="T47" fmla="*/ 256 h 957"/>
                <a:gd name="T48" fmla="*/ 139 w 2253"/>
                <a:gd name="T49" fmla="*/ 227 h 957"/>
                <a:gd name="T50" fmla="*/ 163 w 2253"/>
                <a:gd name="T51" fmla="*/ 199 h 957"/>
                <a:gd name="T52" fmla="*/ 252 w 2253"/>
                <a:gd name="T53" fmla="*/ 161 h 957"/>
                <a:gd name="T54" fmla="*/ 319 w 2253"/>
                <a:gd name="T55" fmla="*/ 128 h 957"/>
                <a:gd name="T56" fmla="*/ 361 w 2253"/>
                <a:gd name="T57" fmla="*/ 128 h 957"/>
                <a:gd name="T58" fmla="*/ 453 w 2253"/>
                <a:gd name="T59" fmla="*/ 149 h 957"/>
                <a:gd name="T60" fmla="*/ 503 w 2253"/>
                <a:gd name="T61" fmla="*/ 199 h 957"/>
                <a:gd name="T62" fmla="*/ 562 w 2253"/>
                <a:gd name="T63" fmla="*/ 206 h 957"/>
                <a:gd name="T64" fmla="*/ 616 w 2253"/>
                <a:gd name="T65" fmla="*/ 222 h 957"/>
                <a:gd name="T66" fmla="*/ 697 w 2253"/>
                <a:gd name="T67" fmla="*/ 206 h 957"/>
                <a:gd name="T68" fmla="*/ 739 w 2253"/>
                <a:gd name="T69" fmla="*/ 161 h 957"/>
                <a:gd name="T70" fmla="*/ 718 w 2253"/>
                <a:gd name="T71" fmla="*/ 128 h 957"/>
                <a:gd name="T72" fmla="*/ 734 w 2253"/>
                <a:gd name="T73" fmla="*/ 62 h 957"/>
                <a:gd name="T74" fmla="*/ 777 w 2253"/>
                <a:gd name="T75" fmla="*/ 0 h 957"/>
                <a:gd name="T76" fmla="*/ 956 w 2253"/>
                <a:gd name="T77" fmla="*/ 71 h 957"/>
                <a:gd name="T78" fmla="*/ 1011 w 2253"/>
                <a:gd name="T79" fmla="*/ 95 h 957"/>
                <a:gd name="T80" fmla="*/ 1025 w 2253"/>
                <a:gd name="T81" fmla="*/ 133 h 957"/>
                <a:gd name="T82" fmla="*/ 1079 w 2253"/>
                <a:gd name="T83" fmla="*/ 173 h 957"/>
                <a:gd name="T84" fmla="*/ 1129 w 2253"/>
                <a:gd name="T85" fmla="*/ 189 h 957"/>
                <a:gd name="T86" fmla="*/ 1237 w 2253"/>
                <a:gd name="T87" fmla="*/ 161 h 957"/>
                <a:gd name="T88" fmla="*/ 1330 w 2253"/>
                <a:gd name="T89" fmla="*/ 173 h 957"/>
                <a:gd name="T90" fmla="*/ 1419 w 2253"/>
                <a:gd name="T91" fmla="*/ 215 h 957"/>
                <a:gd name="T92" fmla="*/ 1507 w 2253"/>
                <a:gd name="T93" fmla="*/ 260 h 957"/>
                <a:gd name="T94" fmla="*/ 1653 w 2253"/>
                <a:gd name="T95" fmla="*/ 272 h 957"/>
                <a:gd name="T96" fmla="*/ 1859 w 2253"/>
                <a:gd name="T97" fmla="*/ 173 h 957"/>
                <a:gd name="T98" fmla="*/ 1960 w 2253"/>
                <a:gd name="T99" fmla="*/ 215 h 957"/>
                <a:gd name="T100" fmla="*/ 2031 w 2253"/>
                <a:gd name="T101" fmla="*/ 222 h 957"/>
                <a:gd name="T102" fmla="*/ 1965 w 2253"/>
                <a:gd name="T103" fmla="*/ 367 h 957"/>
                <a:gd name="T104" fmla="*/ 1977 w 2253"/>
                <a:gd name="T105" fmla="*/ 421 h 957"/>
                <a:gd name="T106" fmla="*/ 2074 w 2253"/>
                <a:gd name="T107" fmla="*/ 421 h 957"/>
                <a:gd name="T108" fmla="*/ 2178 w 2253"/>
                <a:gd name="T109" fmla="*/ 409 h 957"/>
                <a:gd name="T110" fmla="*/ 2237 w 2253"/>
                <a:gd name="T111" fmla="*/ 466 h 957"/>
                <a:gd name="T112" fmla="*/ 2237 w 2253"/>
                <a:gd name="T113" fmla="*/ 520 h 957"/>
                <a:gd name="T114" fmla="*/ 2178 w 2253"/>
                <a:gd name="T115" fmla="*/ 515 h 957"/>
                <a:gd name="T116" fmla="*/ 2074 w 2253"/>
                <a:gd name="T117" fmla="*/ 520 h 957"/>
                <a:gd name="T118" fmla="*/ 2031 w 2253"/>
                <a:gd name="T119" fmla="*/ 548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3" h="957">
                  <a:moveTo>
                    <a:pt x="2031" y="548"/>
                  </a:moveTo>
                  <a:lnTo>
                    <a:pt x="2010" y="560"/>
                  </a:lnTo>
                  <a:lnTo>
                    <a:pt x="1993" y="603"/>
                  </a:lnTo>
                  <a:lnTo>
                    <a:pt x="1944" y="626"/>
                  </a:lnTo>
                  <a:lnTo>
                    <a:pt x="1875" y="626"/>
                  </a:lnTo>
                  <a:lnTo>
                    <a:pt x="1875" y="643"/>
                  </a:lnTo>
                  <a:lnTo>
                    <a:pt x="1814" y="681"/>
                  </a:lnTo>
                  <a:lnTo>
                    <a:pt x="1762" y="669"/>
                  </a:lnTo>
                  <a:lnTo>
                    <a:pt x="1729" y="659"/>
                  </a:lnTo>
                  <a:lnTo>
                    <a:pt x="1708" y="648"/>
                  </a:lnTo>
                  <a:lnTo>
                    <a:pt x="1686" y="664"/>
                  </a:lnTo>
                  <a:lnTo>
                    <a:pt x="1658" y="719"/>
                  </a:lnTo>
                  <a:lnTo>
                    <a:pt x="1691" y="754"/>
                  </a:lnTo>
                  <a:lnTo>
                    <a:pt x="1696" y="775"/>
                  </a:lnTo>
                  <a:lnTo>
                    <a:pt x="1632" y="808"/>
                  </a:lnTo>
                  <a:lnTo>
                    <a:pt x="1587" y="853"/>
                  </a:lnTo>
                  <a:lnTo>
                    <a:pt x="1511" y="886"/>
                  </a:lnTo>
                  <a:lnTo>
                    <a:pt x="1382" y="886"/>
                  </a:lnTo>
                  <a:lnTo>
                    <a:pt x="1263" y="924"/>
                  </a:lnTo>
                  <a:lnTo>
                    <a:pt x="1226" y="952"/>
                  </a:lnTo>
                  <a:lnTo>
                    <a:pt x="1209" y="957"/>
                  </a:lnTo>
                  <a:lnTo>
                    <a:pt x="1204" y="957"/>
                  </a:lnTo>
                  <a:lnTo>
                    <a:pt x="1171" y="952"/>
                  </a:lnTo>
                  <a:lnTo>
                    <a:pt x="1171" y="936"/>
                  </a:lnTo>
                  <a:lnTo>
                    <a:pt x="1129" y="941"/>
                  </a:lnTo>
                  <a:lnTo>
                    <a:pt x="1096" y="936"/>
                  </a:lnTo>
                  <a:lnTo>
                    <a:pt x="1048" y="907"/>
                  </a:lnTo>
                  <a:lnTo>
                    <a:pt x="1004" y="903"/>
                  </a:lnTo>
                  <a:lnTo>
                    <a:pt x="987" y="879"/>
                  </a:lnTo>
                  <a:lnTo>
                    <a:pt x="919" y="863"/>
                  </a:lnTo>
                  <a:lnTo>
                    <a:pt x="881" y="863"/>
                  </a:lnTo>
                  <a:lnTo>
                    <a:pt x="826" y="879"/>
                  </a:lnTo>
                  <a:lnTo>
                    <a:pt x="654" y="853"/>
                  </a:lnTo>
                  <a:lnTo>
                    <a:pt x="600" y="863"/>
                  </a:lnTo>
                  <a:lnTo>
                    <a:pt x="600" y="846"/>
                  </a:lnTo>
                  <a:lnTo>
                    <a:pt x="571" y="813"/>
                  </a:lnTo>
                  <a:lnTo>
                    <a:pt x="545" y="754"/>
                  </a:lnTo>
                  <a:lnTo>
                    <a:pt x="534" y="754"/>
                  </a:lnTo>
                  <a:lnTo>
                    <a:pt x="534" y="726"/>
                  </a:lnTo>
                  <a:lnTo>
                    <a:pt x="508" y="726"/>
                  </a:lnTo>
                  <a:lnTo>
                    <a:pt x="486" y="719"/>
                  </a:lnTo>
                  <a:lnTo>
                    <a:pt x="411" y="664"/>
                  </a:lnTo>
                  <a:lnTo>
                    <a:pt x="264" y="659"/>
                  </a:lnTo>
                  <a:lnTo>
                    <a:pt x="215" y="643"/>
                  </a:lnTo>
                  <a:lnTo>
                    <a:pt x="200" y="615"/>
                  </a:lnTo>
                  <a:lnTo>
                    <a:pt x="210" y="593"/>
                  </a:lnTo>
                  <a:lnTo>
                    <a:pt x="231" y="570"/>
                  </a:lnTo>
                  <a:lnTo>
                    <a:pt x="222" y="548"/>
                  </a:lnTo>
                  <a:lnTo>
                    <a:pt x="231" y="520"/>
                  </a:lnTo>
                  <a:lnTo>
                    <a:pt x="222" y="492"/>
                  </a:lnTo>
                  <a:lnTo>
                    <a:pt x="210" y="475"/>
                  </a:lnTo>
                  <a:lnTo>
                    <a:pt x="193" y="449"/>
                  </a:lnTo>
                  <a:lnTo>
                    <a:pt x="184" y="437"/>
                  </a:lnTo>
                  <a:lnTo>
                    <a:pt x="163" y="409"/>
                  </a:lnTo>
                  <a:lnTo>
                    <a:pt x="163" y="404"/>
                  </a:lnTo>
                  <a:lnTo>
                    <a:pt x="139" y="404"/>
                  </a:lnTo>
                  <a:lnTo>
                    <a:pt x="125" y="388"/>
                  </a:lnTo>
                  <a:lnTo>
                    <a:pt x="92" y="388"/>
                  </a:lnTo>
                  <a:lnTo>
                    <a:pt x="59" y="371"/>
                  </a:lnTo>
                  <a:lnTo>
                    <a:pt x="54" y="355"/>
                  </a:lnTo>
                  <a:lnTo>
                    <a:pt x="16" y="338"/>
                  </a:lnTo>
                  <a:lnTo>
                    <a:pt x="21" y="326"/>
                  </a:lnTo>
                  <a:lnTo>
                    <a:pt x="0" y="310"/>
                  </a:lnTo>
                  <a:lnTo>
                    <a:pt x="4" y="300"/>
                  </a:lnTo>
                  <a:lnTo>
                    <a:pt x="4" y="282"/>
                  </a:lnTo>
                  <a:lnTo>
                    <a:pt x="21" y="277"/>
                  </a:lnTo>
                  <a:lnTo>
                    <a:pt x="21" y="260"/>
                  </a:lnTo>
                  <a:lnTo>
                    <a:pt x="33" y="256"/>
                  </a:lnTo>
                  <a:lnTo>
                    <a:pt x="75" y="260"/>
                  </a:lnTo>
                  <a:lnTo>
                    <a:pt x="75" y="244"/>
                  </a:lnTo>
                  <a:lnTo>
                    <a:pt x="87" y="256"/>
                  </a:lnTo>
                  <a:lnTo>
                    <a:pt x="101" y="256"/>
                  </a:lnTo>
                  <a:lnTo>
                    <a:pt x="101" y="239"/>
                  </a:lnTo>
                  <a:lnTo>
                    <a:pt x="108" y="244"/>
                  </a:lnTo>
                  <a:lnTo>
                    <a:pt x="139" y="227"/>
                  </a:lnTo>
                  <a:lnTo>
                    <a:pt x="130" y="215"/>
                  </a:lnTo>
                  <a:lnTo>
                    <a:pt x="156" y="206"/>
                  </a:lnTo>
                  <a:lnTo>
                    <a:pt x="163" y="199"/>
                  </a:lnTo>
                  <a:lnTo>
                    <a:pt x="210" y="182"/>
                  </a:lnTo>
                  <a:lnTo>
                    <a:pt x="222" y="166"/>
                  </a:lnTo>
                  <a:lnTo>
                    <a:pt x="252" y="161"/>
                  </a:lnTo>
                  <a:lnTo>
                    <a:pt x="276" y="145"/>
                  </a:lnTo>
                  <a:lnTo>
                    <a:pt x="307" y="133"/>
                  </a:lnTo>
                  <a:lnTo>
                    <a:pt x="319" y="128"/>
                  </a:lnTo>
                  <a:lnTo>
                    <a:pt x="340" y="145"/>
                  </a:lnTo>
                  <a:lnTo>
                    <a:pt x="356" y="128"/>
                  </a:lnTo>
                  <a:lnTo>
                    <a:pt x="361" y="128"/>
                  </a:lnTo>
                  <a:lnTo>
                    <a:pt x="361" y="145"/>
                  </a:lnTo>
                  <a:lnTo>
                    <a:pt x="373" y="149"/>
                  </a:lnTo>
                  <a:lnTo>
                    <a:pt x="453" y="149"/>
                  </a:lnTo>
                  <a:lnTo>
                    <a:pt x="465" y="182"/>
                  </a:lnTo>
                  <a:lnTo>
                    <a:pt x="479" y="206"/>
                  </a:lnTo>
                  <a:lnTo>
                    <a:pt x="503" y="199"/>
                  </a:lnTo>
                  <a:lnTo>
                    <a:pt x="508" y="206"/>
                  </a:lnTo>
                  <a:lnTo>
                    <a:pt x="541" y="215"/>
                  </a:lnTo>
                  <a:lnTo>
                    <a:pt x="562" y="206"/>
                  </a:lnTo>
                  <a:lnTo>
                    <a:pt x="571" y="215"/>
                  </a:lnTo>
                  <a:lnTo>
                    <a:pt x="578" y="206"/>
                  </a:lnTo>
                  <a:lnTo>
                    <a:pt x="616" y="222"/>
                  </a:lnTo>
                  <a:lnTo>
                    <a:pt x="647" y="215"/>
                  </a:lnTo>
                  <a:lnTo>
                    <a:pt x="671" y="227"/>
                  </a:lnTo>
                  <a:lnTo>
                    <a:pt x="697" y="206"/>
                  </a:lnTo>
                  <a:lnTo>
                    <a:pt x="722" y="199"/>
                  </a:lnTo>
                  <a:lnTo>
                    <a:pt x="739" y="173"/>
                  </a:lnTo>
                  <a:lnTo>
                    <a:pt x="739" y="161"/>
                  </a:lnTo>
                  <a:lnTo>
                    <a:pt x="718" y="145"/>
                  </a:lnTo>
                  <a:lnTo>
                    <a:pt x="718" y="133"/>
                  </a:lnTo>
                  <a:lnTo>
                    <a:pt x="718" y="128"/>
                  </a:lnTo>
                  <a:lnTo>
                    <a:pt x="701" y="111"/>
                  </a:lnTo>
                  <a:lnTo>
                    <a:pt x="718" y="62"/>
                  </a:lnTo>
                  <a:lnTo>
                    <a:pt x="734" y="62"/>
                  </a:lnTo>
                  <a:lnTo>
                    <a:pt x="739" y="38"/>
                  </a:lnTo>
                  <a:lnTo>
                    <a:pt x="760" y="34"/>
                  </a:lnTo>
                  <a:lnTo>
                    <a:pt x="777" y="0"/>
                  </a:lnTo>
                  <a:lnTo>
                    <a:pt x="859" y="38"/>
                  </a:lnTo>
                  <a:lnTo>
                    <a:pt x="897" y="38"/>
                  </a:lnTo>
                  <a:lnTo>
                    <a:pt x="956" y="71"/>
                  </a:lnTo>
                  <a:lnTo>
                    <a:pt x="973" y="62"/>
                  </a:lnTo>
                  <a:lnTo>
                    <a:pt x="1011" y="78"/>
                  </a:lnTo>
                  <a:lnTo>
                    <a:pt x="1011" y="95"/>
                  </a:lnTo>
                  <a:lnTo>
                    <a:pt x="1020" y="111"/>
                  </a:lnTo>
                  <a:lnTo>
                    <a:pt x="1011" y="128"/>
                  </a:lnTo>
                  <a:lnTo>
                    <a:pt x="1025" y="133"/>
                  </a:lnTo>
                  <a:lnTo>
                    <a:pt x="1020" y="149"/>
                  </a:lnTo>
                  <a:lnTo>
                    <a:pt x="1063" y="173"/>
                  </a:lnTo>
                  <a:lnTo>
                    <a:pt x="1079" y="173"/>
                  </a:lnTo>
                  <a:lnTo>
                    <a:pt x="1086" y="189"/>
                  </a:lnTo>
                  <a:lnTo>
                    <a:pt x="1117" y="189"/>
                  </a:lnTo>
                  <a:lnTo>
                    <a:pt x="1129" y="189"/>
                  </a:lnTo>
                  <a:lnTo>
                    <a:pt x="1141" y="189"/>
                  </a:lnTo>
                  <a:lnTo>
                    <a:pt x="1167" y="173"/>
                  </a:lnTo>
                  <a:lnTo>
                    <a:pt x="1237" y="161"/>
                  </a:lnTo>
                  <a:lnTo>
                    <a:pt x="1280" y="166"/>
                  </a:lnTo>
                  <a:lnTo>
                    <a:pt x="1297" y="173"/>
                  </a:lnTo>
                  <a:lnTo>
                    <a:pt x="1330" y="173"/>
                  </a:lnTo>
                  <a:lnTo>
                    <a:pt x="1351" y="189"/>
                  </a:lnTo>
                  <a:lnTo>
                    <a:pt x="1356" y="206"/>
                  </a:lnTo>
                  <a:lnTo>
                    <a:pt x="1419" y="215"/>
                  </a:lnTo>
                  <a:lnTo>
                    <a:pt x="1415" y="239"/>
                  </a:lnTo>
                  <a:lnTo>
                    <a:pt x="1457" y="272"/>
                  </a:lnTo>
                  <a:lnTo>
                    <a:pt x="1507" y="260"/>
                  </a:lnTo>
                  <a:lnTo>
                    <a:pt x="1528" y="277"/>
                  </a:lnTo>
                  <a:lnTo>
                    <a:pt x="1615" y="282"/>
                  </a:lnTo>
                  <a:lnTo>
                    <a:pt x="1653" y="272"/>
                  </a:lnTo>
                  <a:lnTo>
                    <a:pt x="1776" y="244"/>
                  </a:lnTo>
                  <a:lnTo>
                    <a:pt x="1783" y="222"/>
                  </a:lnTo>
                  <a:lnTo>
                    <a:pt x="1859" y="173"/>
                  </a:lnTo>
                  <a:lnTo>
                    <a:pt x="1901" y="182"/>
                  </a:lnTo>
                  <a:lnTo>
                    <a:pt x="1939" y="215"/>
                  </a:lnTo>
                  <a:lnTo>
                    <a:pt x="1960" y="215"/>
                  </a:lnTo>
                  <a:lnTo>
                    <a:pt x="1998" y="206"/>
                  </a:lnTo>
                  <a:lnTo>
                    <a:pt x="2019" y="215"/>
                  </a:lnTo>
                  <a:lnTo>
                    <a:pt x="2031" y="222"/>
                  </a:lnTo>
                  <a:lnTo>
                    <a:pt x="1982" y="317"/>
                  </a:lnTo>
                  <a:lnTo>
                    <a:pt x="1965" y="338"/>
                  </a:lnTo>
                  <a:lnTo>
                    <a:pt x="1965" y="367"/>
                  </a:lnTo>
                  <a:lnTo>
                    <a:pt x="1944" y="383"/>
                  </a:lnTo>
                  <a:lnTo>
                    <a:pt x="1956" y="393"/>
                  </a:lnTo>
                  <a:lnTo>
                    <a:pt x="1977" y="421"/>
                  </a:lnTo>
                  <a:lnTo>
                    <a:pt x="1998" y="404"/>
                  </a:lnTo>
                  <a:lnTo>
                    <a:pt x="2048" y="404"/>
                  </a:lnTo>
                  <a:lnTo>
                    <a:pt x="2074" y="421"/>
                  </a:lnTo>
                  <a:lnTo>
                    <a:pt x="2107" y="388"/>
                  </a:lnTo>
                  <a:lnTo>
                    <a:pt x="2161" y="388"/>
                  </a:lnTo>
                  <a:lnTo>
                    <a:pt x="2178" y="409"/>
                  </a:lnTo>
                  <a:lnTo>
                    <a:pt x="2199" y="421"/>
                  </a:lnTo>
                  <a:lnTo>
                    <a:pt x="2199" y="437"/>
                  </a:lnTo>
                  <a:lnTo>
                    <a:pt x="2237" y="466"/>
                  </a:lnTo>
                  <a:lnTo>
                    <a:pt x="2253" y="492"/>
                  </a:lnTo>
                  <a:lnTo>
                    <a:pt x="2253" y="504"/>
                  </a:lnTo>
                  <a:lnTo>
                    <a:pt x="2237" y="520"/>
                  </a:lnTo>
                  <a:lnTo>
                    <a:pt x="2215" y="515"/>
                  </a:lnTo>
                  <a:lnTo>
                    <a:pt x="2182" y="504"/>
                  </a:lnTo>
                  <a:lnTo>
                    <a:pt x="2178" y="515"/>
                  </a:lnTo>
                  <a:lnTo>
                    <a:pt x="2145" y="504"/>
                  </a:lnTo>
                  <a:lnTo>
                    <a:pt x="2107" y="520"/>
                  </a:lnTo>
                  <a:lnTo>
                    <a:pt x="2074" y="520"/>
                  </a:lnTo>
                  <a:lnTo>
                    <a:pt x="2074" y="537"/>
                  </a:lnTo>
                  <a:lnTo>
                    <a:pt x="2036" y="537"/>
                  </a:lnTo>
                  <a:lnTo>
                    <a:pt x="2031" y="548"/>
                  </a:lnTo>
                  <a:lnTo>
                    <a:pt x="2031" y="548"/>
                  </a:lnTo>
                  <a:lnTo>
                    <a:pt x="2031" y="548"/>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3" name="Freeform 504">
              <a:extLst>
                <a:ext uri="{FF2B5EF4-FFF2-40B4-BE49-F238E27FC236}">
                  <a16:creationId xmlns:a16="http://schemas.microsoft.com/office/drawing/2014/main" id="{74201F59-FCC5-42D3-A862-8CDB46127582}"/>
                </a:ext>
              </a:extLst>
            </p:cNvPr>
            <p:cNvSpPr>
              <a:spLocks/>
            </p:cNvSpPr>
            <p:nvPr/>
          </p:nvSpPr>
          <p:spPr bwMode="gray">
            <a:xfrm>
              <a:off x="12314861" y="3713140"/>
              <a:ext cx="1636" cy="5564"/>
            </a:xfrm>
            <a:custGeom>
              <a:avLst/>
              <a:gdLst>
                <a:gd name="T0" fmla="*/ 5 w 5"/>
                <a:gd name="T1" fmla="*/ 17 h 17"/>
                <a:gd name="T2" fmla="*/ 0 w 5"/>
                <a:gd name="T3" fmla="*/ 5 h 17"/>
                <a:gd name="T4" fmla="*/ 5 w 5"/>
                <a:gd name="T5" fmla="*/ 0 h 17"/>
                <a:gd name="T6" fmla="*/ 5 w 5"/>
                <a:gd name="T7" fmla="*/ 17 h 17"/>
                <a:gd name="T8" fmla="*/ 5 w 5"/>
                <a:gd name="T9" fmla="*/ 17 h 17"/>
                <a:gd name="T10" fmla="*/ 5 w 5"/>
                <a:gd name="T11" fmla="*/ 17 h 17"/>
              </a:gdLst>
              <a:ahLst/>
              <a:cxnLst>
                <a:cxn ang="0">
                  <a:pos x="T0" y="T1"/>
                </a:cxn>
                <a:cxn ang="0">
                  <a:pos x="T2" y="T3"/>
                </a:cxn>
                <a:cxn ang="0">
                  <a:pos x="T4" y="T5"/>
                </a:cxn>
                <a:cxn ang="0">
                  <a:pos x="T6" y="T7"/>
                </a:cxn>
                <a:cxn ang="0">
                  <a:pos x="T8" y="T9"/>
                </a:cxn>
                <a:cxn ang="0">
                  <a:pos x="T10" y="T11"/>
                </a:cxn>
              </a:cxnLst>
              <a:rect l="0" t="0" r="r" b="b"/>
              <a:pathLst>
                <a:path w="5" h="17">
                  <a:moveTo>
                    <a:pt x="5" y="17"/>
                  </a:moveTo>
                  <a:lnTo>
                    <a:pt x="0" y="5"/>
                  </a:lnTo>
                  <a:lnTo>
                    <a:pt x="5" y="0"/>
                  </a:lnTo>
                  <a:lnTo>
                    <a:pt x="5" y="17"/>
                  </a:lnTo>
                  <a:lnTo>
                    <a:pt x="5" y="17"/>
                  </a:lnTo>
                  <a:lnTo>
                    <a:pt x="5" y="1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4" name="Freeform 505">
              <a:extLst>
                <a:ext uri="{FF2B5EF4-FFF2-40B4-BE49-F238E27FC236}">
                  <a16:creationId xmlns:a16="http://schemas.microsoft.com/office/drawing/2014/main" id="{951C1804-D30A-4D43-8018-A55604EB2A06}"/>
                </a:ext>
              </a:extLst>
            </p:cNvPr>
            <p:cNvSpPr>
              <a:spLocks/>
            </p:cNvSpPr>
            <p:nvPr/>
          </p:nvSpPr>
          <p:spPr bwMode="gray">
            <a:xfrm>
              <a:off x="14493675" y="4334676"/>
              <a:ext cx="75605" cy="188850"/>
            </a:xfrm>
            <a:custGeom>
              <a:avLst/>
              <a:gdLst>
                <a:gd name="T0" fmla="*/ 33 w 231"/>
                <a:gd name="T1" fmla="*/ 336 h 577"/>
                <a:gd name="T2" fmla="*/ 21 w 231"/>
                <a:gd name="T3" fmla="*/ 336 h 577"/>
                <a:gd name="T4" fmla="*/ 16 w 231"/>
                <a:gd name="T5" fmla="*/ 298 h 577"/>
                <a:gd name="T6" fmla="*/ 21 w 231"/>
                <a:gd name="T7" fmla="*/ 246 h 577"/>
                <a:gd name="T8" fmla="*/ 49 w 231"/>
                <a:gd name="T9" fmla="*/ 230 h 577"/>
                <a:gd name="T10" fmla="*/ 49 w 231"/>
                <a:gd name="T11" fmla="*/ 220 h 577"/>
                <a:gd name="T12" fmla="*/ 49 w 231"/>
                <a:gd name="T13" fmla="*/ 175 h 577"/>
                <a:gd name="T14" fmla="*/ 54 w 231"/>
                <a:gd name="T15" fmla="*/ 130 h 577"/>
                <a:gd name="T16" fmla="*/ 64 w 231"/>
                <a:gd name="T17" fmla="*/ 107 h 577"/>
                <a:gd name="T18" fmla="*/ 64 w 231"/>
                <a:gd name="T19" fmla="*/ 74 h 577"/>
                <a:gd name="T20" fmla="*/ 49 w 231"/>
                <a:gd name="T21" fmla="*/ 52 h 577"/>
                <a:gd name="T22" fmla="*/ 38 w 231"/>
                <a:gd name="T23" fmla="*/ 17 h 577"/>
                <a:gd name="T24" fmla="*/ 16 w 231"/>
                <a:gd name="T25" fmla="*/ 0 h 577"/>
                <a:gd name="T26" fmla="*/ 54 w 231"/>
                <a:gd name="T27" fmla="*/ 17 h 577"/>
                <a:gd name="T28" fmla="*/ 87 w 231"/>
                <a:gd name="T29" fmla="*/ 24 h 577"/>
                <a:gd name="T30" fmla="*/ 118 w 231"/>
                <a:gd name="T31" fmla="*/ 24 h 577"/>
                <a:gd name="T32" fmla="*/ 139 w 231"/>
                <a:gd name="T33" fmla="*/ 107 h 577"/>
                <a:gd name="T34" fmla="*/ 163 w 231"/>
                <a:gd name="T35" fmla="*/ 163 h 577"/>
                <a:gd name="T36" fmla="*/ 139 w 231"/>
                <a:gd name="T37" fmla="*/ 175 h 577"/>
                <a:gd name="T38" fmla="*/ 130 w 231"/>
                <a:gd name="T39" fmla="*/ 246 h 577"/>
                <a:gd name="T40" fmla="*/ 139 w 231"/>
                <a:gd name="T41" fmla="*/ 303 h 577"/>
                <a:gd name="T42" fmla="*/ 172 w 231"/>
                <a:gd name="T43" fmla="*/ 319 h 577"/>
                <a:gd name="T44" fmla="*/ 231 w 231"/>
                <a:gd name="T45" fmla="*/ 409 h 577"/>
                <a:gd name="T46" fmla="*/ 227 w 231"/>
                <a:gd name="T47" fmla="*/ 447 h 577"/>
                <a:gd name="T48" fmla="*/ 201 w 231"/>
                <a:gd name="T49" fmla="*/ 504 h 577"/>
                <a:gd name="T50" fmla="*/ 172 w 231"/>
                <a:gd name="T51" fmla="*/ 527 h 577"/>
                <a:gd name="T52" fmla="*/ 184 w 231"/>
                <a:gd name="T53" fmla="*/ 577 h 577"/>
                <a:gd name="T54" fmla="*/ 177 w 231"/>
                <a:gd name="T55" fmla="*/ 553 h 577"/>
                <a:gd name="T56" fmla="*/ 130 w 231"/>
                <a:gd name="T57" fmla="*/ 508 h 577"/>
                <a:gd name="T58" fmla="*/ 125 w 231"/>
                <a:gd name="T59" fmla="*/ 499 h 577"/>
                <a:gd name="T60" fmla="*/ 130 w 231"/>
                <a:gd name="T61" fmla="*/ 442 h 577"/>
                <a:gd name="T62" fmla="*/ 118 w 231"/>
                <a:gd name="T63" fmla="*/ 369 h 577"/>
                <a:gd name="T64" fmla="*/ 38 w 231"/>
                <a:gd name="T65" fmla="*/ 343 h 577"/>
                <a:gd name="T66" fmla="*/ 38 w 231"/>
                <a:gd name="T67" fmla="*/ 343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 h="577">
                  <a:moveTo>
                    <a:pt x="38" y="343"/>
                  </a:moveTo>
                  <a:lnTo>
                    <a:pt x="33" y="336"/>
                  </a:lnTo>
                  <a:lnTo>
                    <a:pt x="33" y="343"/>
                  </a:lnTo>
                  <a:lnTo>
                    <a:pt x="21" y="336"/>
                  </a:lnTo>
                  <a:lnTo>
                    <a:pt x="0" y="315"/>
                  </a:lnTo>
                  <a:lnTo>
                    <a:pt x="16" y="298"/>
                  </a:lnTo>
                  <a:lnTo>
                    <a:pt x="21" y="263"/>
                  </a:lnTo>
                  <a:lnTo>
                    <a:pt x="21" y="246"/>
                  </a:lnTo>
                  <a:lnTo>
                    <a:pt x="21" y="241"/>
                  </a:lnTo>
                  <a:lnTo>
                    <a:pt x="49" y="230"/>
                  </a:lnTo>
                  <a:lnTo>
                    <a:pt x="64" y="225"/>
                  </a:lnTo>
                  <a:lnTo>
                    <a:pt x="49" y="220"/>
                  </a:lnTo>
                  <a:lnTo>
                    <a:pt x="38" y="208"/>
                  </a:lnTo>
                  <a:lnTo>
                    <a:pt x="49" y="175"/>
                  </a:lnTo>
                  <a:lnTo>
                    <a:pt x="38" y="152"/>
                  </a:lnTo>
                  <a:lnTo>
                    <a:pt x="54" y="130"/>
                  </a:lnTo>
                  <a:lnTo>
                    <a:pt x="38" y="114"/>
                  </a:lnTo>
                  <a:lnTo>
                    <a:pt x="64" y="107"/>
                  </a:lnTo>
                  <a:lnTo>
                    <a:pt x="71" y="90"/>
                  </a:lnTo>
                  <a:lnTo>
                    <a:pt x="64" y="74"/>
                  </a:lnTo>
                  <a:lnTo>
                    <a:pt x="64" y="62"/>
                  </a:lnTo>
                  <a:lnTo>
                    <a:pt x="49" y="52"/>
                  </a:lnTo>
                  <a:lnTo>
                    <a:pt x="49" y="41"/>
                  </a:lnTo>
                  <a:lnTo>
                    <a:pt x="38" y="17"/>
                  </a:lnTo>
                  <a:lnTo>
                    <a:pt x="21" y="17"/>
                  </a:lnTo>
                  <a:lnTo>
                    <a:pt x="16" y="0"/>
                  </a:lnTo>
                  <a:lnTo>
                    <a:pt x="49" y="8"/>
                  </a:lnTo>
                  <a:lnTo>
                    <a:pt x="54" y="17"/>
                  </a:lnTo>
                  <a:lnTo>
                    <a:pt x="75" y="17"/>
                  </a:lnTo>
                  <a:lnTo>
                    <a:pt x="87" y="24"/>
                  </a:lnTo>
                  <a:lnTo>
                    <a:pt x="92" y="8"/>
                  </a:lnTo>
                  <a:lnTo>
                    <a:pt x="118" y="24"/>
                  </a:lnTo>
                  <a:lnTo>
                    <a:pt x="130" y="52"/>
                  </a:lnTo>
                  <a:lnTo>
                    <a:pt x="139" y="107"/>
                  </a:lnTo>
                  <a:lnTo>
                    <a:pt x="139" y="130"/>
                  </a:lnTo>
                  <a:lnTo>
                    <a:pt x="163" y="163"/>
                  </a:lnTo>
                  <a:lnTo>
                    <a:pt x="139" y="163"/>
                  </a:lnTo>
                  <a:lnTo>
                    <a:pt x="139" y="175"/>
                  </a:lnTo>
                  <a:lnTo>
                    <a:pt x="125" y="208"/>
                  </a:lnTo>
                  <a:lnTo>
                    <a:pt x="130" y="246"/>
                  </a:lnTo>
                  <a:lnTo>
                    <a:pt x="130" y="298"/>
                  </a:lnTo>
                  <a:lnTo>
                    <a:pt x="139" y="303"/>
                  </a:lnTo>
                  <a:lnTo>
                    <a:pt x="156" y="303"/>
                  </a:lnTo>
                  <a:lnTo>
                    <a:pt x="172" y="319"/>
                  </a:lnTo>
                  <a:lnTo>
                    <a:pt x="227" y="393"/>
                  </a:lnTo>
                  <a:lnTo>
                    <a:pt x="231" y="409"/>
                  </a:lnTo>
                  <a:lnTo>
                    <a:pt x="215" y="430"/>
                  </a:lnTo>
                  <a:lnTo>
                    <a:pt x="227" y="447"/>
                  </a:lnTo>
                  <a:lnTo>
                    <a:pt x="227" y="487"/>
                  </a:lnTo>
                  <a:lnTo>
                    <a:pt x="201" y="504"/>
                  </a:lnTo>
                  <a:lnTo>
                    <a:pt x="193" y="499"/>
                  </a:lnTo>
                  <a:lnTo>
                    <a:pt x="172" y="527"/>
                  </a:lnTo>
                  <a:lnTo>
                    <a:pt x="184" y="544"/>
                  </a:lnTo>
                  <a:lnTo>
                    <a:pt x="184" y="577"/>
                  </a:lnTo>
                  <a:lnTo>
                    <a:pt x="172" y="577"/>
                  </a:lnTo>
                  <a:lnTo>
                    <a:pt x="177" y="553"/>
                  </a:lnTo>
                  <a:lnTo>
                    <a:pt x="163" y="553"/>
                  </a:lnTo>
                  <a:lnTo>
                    <a:pt x="130" y="508"/>
                  </a:lnTo>
                  <a:lnTo>
                    <a:pt x="125" y="508"/>
                  </a:lnTo>
                  <a:lnTo>
                    <a:pt x="125" y="499"/>
                  </a:lnTo>
                  <a:lnTo>
                    <a:pt x="108" y="482"/>
                  </a:lnTo>
                  <a:lnTo>
                    <a:pt x="130" y="442"/>
                  </a:lnTo>
                  <a:lnTo>
                    <a:pt x="130" y="386"/>
                  </a:lnTo>
                  <a:lnTo>
                    <a:pt x="118" y="369"/>
                  </a:lnTo>
                  <a:lnTo>
                    <a:pt x="71" y="386"/>
                  </a:lnTo>
                  <a:lnTo>
                    <a:pt x="38" y="343"/>
                  </a:lnTo>
                  <a:lnTo>
                    <a:pt x="38" y="343"/>
                  </a:lnTo>
                  <a:lnTo>
                    <a:pt x="38" y="343"/>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5" name="Freeform 506">
              <a:extLst>
                <a:ext uri="{FF2B5EF4-FFF2-40B4-BE49-F238E27FC236}">
                  <a16:creationId xmlns:a16="http://schemas.microsoft.com/office/drawing/2014/main" id="{69248C3A-ABB1-47C9-B1DB-367ACDA6DF0E}"/>
                </a:ext>
              </a:extLst>
            </p:cNvPr>
            <p:cNvSpPr>
              <a:spLocks/>
            </p:cNvSpPr>
            <p:nvPr/>
          </p:nvSpPr>
          <p:spPr bwMode="gray">
            <a:xfrm>
              <a:off x="14214491" y="3051347"/>
              <a:ext cx="57277" cy="41239"/>
            </a:xfrm>
            <a:custGeom>
              <a:avLst/>
              <a:gdLst>
                <a:gd name="T0" fmla="*/ 21 w 175"/>
                <a:gd name="T1" fmla="*/ 126 h 126"/>
                <a:gd name="T2" fmla="*/ 9 w 175"/>
                <a:gd name="T3" fmla="*/ 126 h 126"/>
                <a:gd name="T4" fmla="*/ 0 w 175"/>
                <a:gd name="T5" fmla="*/ 88 h 126"/>
                <a:gd name="T6" fmla="*/ 5 w 175"/>
                <a:gd name="T7" fmla="*/ 81 h 126"/>
                <a:gd name="T8" fmla="*/ 0 w 175"/>
                <a:gd name="T9" fmla="*/ 71 h 126"/>
                <a:gd name="T10" fmla="*/ 5 w 175"/>
                <a:gd name="T11" fmla="*/ 43 h 126"/>
                <a:gd name="T12" fmla="*/ 9 w 175"/>
                <a:gd name="T13" fmla="*/ 43 h 126"/>
                <a:gd name="T14" fmla="*/ 21 w 175"/>
                <a:gd name="T15" fmla="*/ 26 h 126"/>
                <a:gd name="T16" fmla="*/ 43 w 175"/>
                <a:gd name="T17" fmla="*/ 17 h 126"/>
                <a:gd name="T18" fmla="*/ 59 w 175"/>
                <a:gd name="T19" fmla="*/ 17 h 126"/>
                <a:gd name="T20" fmla="*/ 66 w 175"/>
                <a:gd name="T21" fmla="*/ 10 h 126"/>
                <a:gd name="T22" fmla="*/ 80 w 175"/>
                <a:gd name="T23" fmla="*/ 10 h 126"/>
                <a:gd name="T24" fmla="*/ 97 w 175"/>
                <a:gd name="T25" fmla="*/ 0 h 126"/>
                <a:gd name="T26" fmla="*/ 130 w 175"/>
                <a:gd name="T27" fmla="*/ 0 h 126"/>
                <a:gd name="T28" fmla="*/ 147 w 175"/>
                <a:gd name="T29" fmla="*/ 17 h 126"/>
                <a:gd name="T30" fmla="*/ 170 w 175"/>
                <a:gd name="T31" fmla="*/ 33 h 126"/>
                <a:gd name="T32" fmla="*/ 175 w 175"/>
                <a:gd name="T33" fmla="*/ 50 h 126"/>
                <a:gd name="T34" fmla="*/ 175 w 175"/>
                <a:gd name="T35" fmla="*/ 88 h 126"/>
                <a:gd name="T36" fmla="*/ 163 w 175"/>
                <a:gd name="T37" fmla="*/ 88 h 126"/>
                <a:gd name="T38" fmla="*/ 163 w 175"/>
                <a:gd name="T39" fmla="*/ 102 h 126"/>
                <a:gd name="T40" fmla="*/ 109 w 175"/>
                <a:gd name="T41" fmla="*/ 102 h 126"/>
                <a:gd name="T42" fmla="*/ 92 w 175"/>
                <a:gd name="T43" fmla="*/ 118 h 126"/>
                <a:gd name="T44" fmla="*/ 76 w 175"/>
                <a:gd name="T45" fmla="*/ 126 h 126"/>
                <a:gd name="T46" fmla="*/ 38 w 175"/>
                <a:gd name="T47" fmla="*/ 126 h 126"/>
                <a:gd name="T48" fmla="*/ 21 w 175"/>
                <a:gd name="T49" fmla="*/ 126 h 126"/>
                <a:gd name="T50" fmla="*/ 21 w 175"/>
                <a:gd name="T51" fmla="*/ 126 h 126"/>
                <a:gd name="T52" fmla="*/ 21 w 175"/>
                <a:gd name="T53"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26">
                  <a:moveTo>
                    <a:pt x="21" y="126"/>
                  </a:moveTo>
                  <a:lnTo>
                    <a:pt x="9" y="126"/>
                  </a:lnTo>
                  <a:lnTo>
                    <a:pt x="0" y="88"/>
                  </a:lnTo>
                  <a:lnTo>
                    <a:pt x="5" y="81"/>
                  </a:lnTo>
                  <a:lnTo>
                    <a:pt x="0" y="71"/>
                  </a:lnTo>
                  <a:lnTo>
                    <a:pt x="5" y="43"/>
                  </a:lnTo>
                  <a:lnTo>
                    <a:pt x="9" y="43"/>
                  </a:lnTo>
                  <a:lnTo>
                    <a:pt x="21" y="26"/>
                  </a:lnTo>
                  <a:lnTo>
                    <a:pt x="43" y="17"/>
                  </a:lnTo>
                  <a:lnTo>
                    <a:pt x="59" y="17"/>
                  </a:lnTo>
                  <a:lnTo>
                    <a:pt x="66" y="10"/>
                  </a:lnTo>
                  <a:lnTo>
                    <a:pt x="80" y="10"/>
                  </a:lnTo>
                  <a:lnTo>
                    <a:pt x="97" y="0"/>
                  </a:lnTo>
                  <a:lnTo>
                    <a:pt x="130" y="0"/>
                  </a:lnTo>
                  <a:lnTo>
                    <a:pt x="147" y="17"/>
                  </a:lnTo>
                  <a:lnTo>
                    <a:pt x="170" y="33"/>
                  </a:lnTo>
                  <a:lnTo>
                    <a:pt x="175" y="50"/>
                  </a:lnTo>
                  <a:lnTo>
                    <a:pt x="175" y="88"/>
                  </a:lnTo>
                  <a:lnTo>
                    <a:pt x="163" y="88"/>
                  </a:lnTo>
                  <a:lnTo>
                    <a:pt x="163" y="102"/>
                  </a:lnTo>
                  <a:lnTo>
                    <a:pt x="109" y="102"/>
                  </a:lnTo>
                  <a:lnTo>
                    <a:pt x="92" y="118"/>
                  </a:lnTo>
                  <a:lnTo>
                    <a:pt x="76" y="126"/>
                  </a:lnTo>
                  <a:lnTo>
                    <a:pt x="38" y="126"/>
                  </a:lnTo>
                  <a:lnTo>
                    <a:pt x="21" y="126"/>
                  </a:lnTo>
                  <a:lnTo>
                    <a:pt x="21" y="126"/>
                  </a:lnTo>
                  <a:lnTo>
                    <a:pt x="21" y="126"/>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6" name="Freeform 507">
              <a:extLst>
                <a:ext uri="{FF2B5EF4-FFF2-40B4-BE49-F238E27FC236}">
                  <a16:creationId xmlns:a16="http://schemas.microsoft.com/office/drawing/2014/main" id="{3D2E8F61-469A-4D7D-B116-6C5EA4CB9418}"/>
                </a:ext>
              </a:extLst>
            </p:cNvPr>
            <p:cNvSpPr>
              <a:spLocks/>
            </p:cNvSpPr>
            <p:nvPr/>
          </p:nvSpPr>
          <p:spPr bwMode="gray">
            <a:xfrm>
              <a:off x="13463672" y="3513817"/>
              <a:ext cx="378028" cy="360354"/>
            </a:xfrm>
            <a:custGeom>
              <a:avLst/>
              <a:gdLst>
                <a:gd name="T0" fmla="*/ 130 w 1155"/>
                <a:gd name="T1" fmla="*/ 947 h 1101"/>
                <a:gd name="T2" fmla="*/ 88 w 1155"/>
                <a:gd name="T3" fmla="*/ 947 h 1101"/>
                <a:gd name="T4" fmla="*/ 55 w 1155"/>
                <a:gd name="T5" fmla="*/ 947 h 1101"/>
                <a:gd name="T6" fmla="*/ 67 w 1155"/>
                <a:gd name="T7" fmla="*/ 890 h 1101"/>
                <a:gd name="T8" fmla="*/ 33 w 1155"/>
                <a:gd name="T9" fmla="*/ 864 h 1101"/>
                <a:gd name="T10" fmla="*/ 12 w 1155"/>
                <a:gd name="T11" fmla="*/ 848 h 1101"/>
                <a:gd name="T12" fmla="*/ 17 w 1155"/>
                <a:gd name="T13" fmla="*/ 808 h 1101"/>
                <a:gd name="T14" fmla="*/ 0 w 1155"/>
                <a:gd name="T15" fmla="*/ 758 h 1101"/>
                <a:gd name="T16" fmla="*/ 24 w 1155"/>
                <a:gd name="T17" fmla="*/ 758 h 1101"/>
                <a:gd name="T18" fmla="*/ 55 w 1155"/>
                <a:gd name="T19" fmla="*/ 697 h 1101"/>
                <a:gd name="T20" fmla="*/ 109 w 1155"/>
                <a:gd name="T21" fmla="*/ 713 h 1101"/>
                <a:gd name="T22" fmla="*/ 196 w 1155"/>
                <a:gd name="T23" fmla="*/ 713 h 1101"/>
                <a:gd name="T24" fmla="*/ 201 w 1155"/>
                <a:gd name="T25" fmla="*/ 697 h 1101"/>
                <a:gd name="T26" fmla="*/ 470 w 1155"/>
                <a:gd name="T27" fmla="*/ 713 h 1101"/>
                <a:gd name="T28" fmla="*/ 466 w 1155"/>
                <a:gd name="T29" fmla="*/ 631 h 1101"/>
                <a:gd name="T30" fmla="*/ 395 w 1155"/>
                <a:gd name="T31" fmla="*/ 0 h 1101"/>
                <a:gd name="T32" fmla="*/ 941 w 1155"/>
                <a:gd name="T33" fmla="*/ 293 h 1101"/>
                <a:gd name="T34" fmla="*/ 974 w 1155"/>
                <a:gd name="T35" fmla="*/ 331 h 1101"/>
                <a:gd name="T36" fmla="*/ 1004 w 1155"/>
                <a:gd name="T37" fmla="*/ 354 h 1101"/>
                <a:gd name="T38" fmla="*/ 1026 w 1155"/>
                <a:gd name="T39" fmla="*/ 371 h 1101"/>
                <a:gd name="T40" fmla="*/ 1092 w 1155"/>
                <a:gd name="T41" fmla="*/ 420 h 1101"/>
                <a:gd name="T42" fmla="*/ 1092 w 1155"/>
                <a:gd name="T43" fmla="*/ 449 h 1101"/>
                <a:gd name="T44" fmla="*/ 1151 w 1155"/>
                <a:gd name="T45" fmla="*/ 642 h 1101"/>
                <a:gd name="T46" fmla="*/ 1129 w 1155"/>
                <a:gd name="T47" fmla="*/ 697 h 1101"/>
                <a:gd name="T48" fmla="*/ 1101 w 1155"/>
                <a:gd name="T49" fmla="*/ 720 h 1101"/>
                <a:gd name="T50" fmla="*/ 1063 w 1155"/>
                <a:gd name="T51" fmla="*/ 720 h 1101"/>
                <a:gd name="T52" fmla="*/ 929 w 1155"/>
                <a:gd name="T53" fmla="*/ 742 h 1101"/>
                <a:gd name="T54" fmla="*/ 874 w 1155"/>
                <a:gd name="T55" fmla="*/ 753 h 1101"/>
                <a:gd name="T56" fmla="*/ 832 w 1155"/>
                <a:gd name="T57" fmla="*/ 742 h 1101"/>
                <a:gd name="T58" fmla="*/ 806 w 1155"/>
                <a:gd name="T59" fmla="*/ 742 h 1101"/>
                <a:gd name="T60" fmla="*/ 768 w 1155"/>
                <a:gd name="T61" fmla="*/ 770 h 1101"/>
                <a:gd name="T62" fmla="*/ 718 w 1155"/>
                <a:gd name="T63" fmla="*/ 779 h 1101"/>
                <a:gd name="T64" fmla="*/ 714 w 1155"/>
                <a:gd name="T65" fmla="*/ 808 h 1101"/>
                <a:gd name="T66" fmla="*/ 659 w 1155"/>
                <a:gd name="T67" fmla="*/ 812 h 1101"/>
                <a:gd name="T68" fmla="*/ 626 w 1155"/>
                <a:gd name="T69" fmla="*/ 836 h 1101"/>
                <a:gd name="T70" fmla="*/ 617 w 1155"/>
                <a:gd name="T71" fmla="*/ 869 h 1101"/>
                <a:gd name="T72" fmla="*/ 579 w 1155"/>
                <a:gd name="T73" fmla="*/ 853 h 1101"/>
                <a:gd name="T74" fmla="*/ 563 w 1155"/>
                <a:gd name="T75" fmla="*/ 902 h 1101"/>
                <a:gd name="T76" fmla="*/ 541 w 1155"/>
                <a:gd name="T77" fmla="*/ 907 h 1101"/>
                <a:gd name="T78" fmla="*/ 551 w 1155"/>
                <a:gd name="T79" fmla="*/ 940 h 1101"/>
                <a:gd name="T80" fmla="*/ 499 w 1155"/>
                <a:gd name="T81" fmla="*/ 964 h 1101"/>
                <a:gd name="T82" fmla="*/ 499 w 1155"/>
                <a:gd name="T83" fmla="*/ 1001 h 1101"/>
                <a:gd name="T84" fmla="*/ 470 w 1155"/>
                <a:gd name="T85" fmla="*/ 1035 h 1101"/>
                <a:gd name="T86" fmla="*/ 470 w 1155"/>
                <a:gd name="T87" fmla="*/ 1075 h 1101"/>
                <a:gd name="T88" fmla="*/ 433 w 1155"/>
                <a:gd name="T89" fmla="*/ 1101 h 1101"/>
                <a:gd name="T90" fmla="*/ 428 w 1155"/>
                <a:gd name="T91" fmla="*/ 1091 h 1101"/>
                <a:gd name="T92" fmla="*/ 411 w 1155"/>
                <a:gd name="T93" fmla="*/ 1058 h 1101"/>
                <a:gd name="T94" fmla="*/ 395 w 1155"/>
                <a:gd name="T95" fmla="*/ 1058 h 1101"/>
                <a:gd name="T96" fmla="*/ 374 w 1155"/>
                <a:gd name="T97" fmla="*/ 1084 h 1101"/>
                <a:gd name="T98" fmla="*/ 324 w 1155"/>
                <a:gd name="T99" fmla="*/ 1075 h 1101"/>
                <a:gd name="T100" fmla="*/ 293 w 1155"/>
                <a:gd name="T101" fmla="*/ 1101 h 1101"/>
                <a:gd name="T102" fmla="*/ 281 w 1155"/>
                <a:gd name="T103" fmla="*/ 1075 h 1101"/>
                <a:gd name="T104" fmla="*/ 265 w 1155"/>
                <a:gd name="T105" fmla="*/ 1035 h 1101"/>
                <a:gd name="T106" fmla="*/ 272 w 1155"/>
                <a:gd name="T107" fmla="*/ 1013 h 1101"/>
                <a:gd name="T108" fmla="*/ 251 w 1155"/>
                <a:gd name="T109" fmla="*/ 992 h 1101"/>
                <a:gd name="T110" fmla="*/ 239 w 1155"/>
                <a:gd name="T111" fmla="*/ 975 h 1101"/>
                <a:gd name="T112" fmla="*/ 227 w 1155"/>
                <a:gd name="T113" fmla="*/ 935 h 1101"/>
                <a:gd name="T114" fmla="*/ 201 w 1155"/>
                <a:gd name="T115" fmla="*/ 947 h 1101"/>
                <a:gd name="T116" fmla="*/ 180 w 1155"/>
                <a:gd name="T117" fmla="*/ 964 h 1101"/>
                <a:gd name="T118" fmla="*/ 163 w 1155"/>
                <a:gd name="T119" fmla="*/ 964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5" h="1101">
                  <a:moveTo>
                    <a:pt x="163" y="964"/>
                  </a:moveTo>
                  <a:lnTo>
                    <a:pt x="130" y="947"/>
                  </a:lnTo>
                  <a:lnTo>
                    <a:pt x="109" y="975"/>
                  </a:lnTo>
                  <a:lnTo>
                    <a:pt x="88" y="947"/>
                  </a:lnTo>
                  <a:lnTo>
                    <a:pt x="71" y="964"/>
                  </a:lnTo>
                  <a:lnTo>
                    <a:pt x="55" y="947"/>
                  </a:lnTo>
                  <a:lnTo>
                    <a:pt x="67" y="935"/>
                  </a:lnTo>
                  <a:lnTo>
                    <a:pt x="67" y="890"/>
                  </a:lnTo>
                  <a:lnTo>
                    <a:pt x="38" y="864"/>
                  </a:lnTo>
                  <a:lnTo>
                    <a:pt x="33" y="864"/>
                  </a:lnTo>
                  <a:lnTo>
                    <a:pt x="33" y="869"/>
                  </a:lnTo>
                  <a:lnTo>
                    <a:pt x="12" y="848"/>
                  </a:lnTo>
                  <a:lnTo>
                    <a:pt x="17" y="831"/>
                  </a:lnTo>
                  <a:lnTo>
                    <a:pt x="17" y="808"/>
                  </a:lnTo>
                  <a:lnTo>
                    <a:pt x="0" y="791"/>
                  </a:lnTo>
                  <a:lnTo>
                    <a:pt x="0" y="758"/>
                  </a:lnTo>
                  <a:lnTo>
                    <a:pt x="12" y="770"/>
                  </a:lnTo>
                  <a:lnTo>
                    <a:pt x="24" y="758"/>
                  </a:lnTo>
                  <a:lnTo>
                    <a:pt x="38" y="704"/>
                  </a:lnTo>
                  <a:lnTo>
                    <a:pt x="55" y="697"/>
                  </a:lnTo>
                  <a:lnTo>
                    <a:pt x="93" y="737"/>
                  </a:lnTo>
                  <a:lnTo>
                    <a:pt x="109" y="713"/>
                  </a:lnTo>
                  <a:lnTo>
                    <a:pt x="159" y="720"/>
                  </a:lnTo>
                  <a:lnTo>
                    <a:pt x="196" y="713"/>
                  </a:lnTo>
                  <a:lnTo>
                    <a:pt x="196" y="704"/>
                  </a:lnTo>
                  <a:lnTo>
                    <a:pt x="201" y="697"/>
                  </a:lnTo>
                  <a:lnTo>
                    <a:pt x="201" y="713"/>
                  </a:lnTo>
                  <a:lnTo>
                    <a:pt x="470" y="713"/>
                  </a:lnTo>
                  <a:lnTo>
                    <a:pt x="487" y="647"/>
                  </a:lnTo>
                  <a:lnTo>
                    <a:pt x="466" y="631"/>
                  </a:lnTo>
                  <a:lnTo>
                    <a:pt x="411" y="149"/>
                  </a:lnTo>
                  <a:lnTo>
                    <a:pt x="395" y="0"/>
                  </a:lnTo>
                  <a:lnTo>
                    <a:pt x="520" y="0"/>
                  </a:lnTo>
                  <a:lnTo>
                    <a:pt x="941" y="293"/>
                  </a:lnTo>
                  <a:lnTo>
                    <a:pt x="941" y="314"/>
                  </a:lnTo>
                  <a:lnTo>
                    <a:pt x="974" y="331"/>
                  </a:lnTo>
                  <a:lnTo>
                    <a:pt x="983" y="347"/>
                  </a:lnTo>
                  <a:lnTo>
                    <a:pt x="1004" y="354"/>
                  </a:lnTo>
                  <a:lnTo>
                    <a:pt x="1011" y="354"/>
                  </a:lnTo>
                  <a:lnTo>
                    <a:pt x="1026" y="371"/>
                  </a:lnTo>
                  <a:lnTo>
                    <a:pt x="1080" y="387"/>
                  </a:lnTo>
                  <a:lnTo>
                    <a:pt x="1092" y="420"/>
                  </a:lnTo>
                  <a:lnTo>
                    <a:pt x="1075" y="437"/>
                  </a:lnTo>
                  <a:lnTo>
                    <a:pt x="1092" y="449"/>
                  </a:lnTo>
                  <a:lnTo>
                    <a:pt x="1155" y="437"/>
                  </a:lnTo>
                  <a:lnTo>
                    <a:pt x="1151" y="642"/>
                  </a:lnTo>
                  <a:lnTo>
                    <a:pt x="1146" y="647"/>
                  </a:lnTo>
                  <a:lnTo>
                    <a:pt x="1129" y="697"/>
                  </a:lnTo>
                  <a:lnTo>
                    <a:pt x="1101" y="704"/>
                  </a:lnTo>
                  <a:lnTo>
                    <a:pt x="1101" y="720"/>
                  </a:lnTo>
                  <a:lnTo>
                    <a:pt x="1075" y="713"/>
                  </a:lnTo>
                  <a:lnTo>
                    <a:pt x="1063" y="720"/>
                  </a:lnTo>
                  <a:lnTo>
                    <a:pt x="950" y="725"/>
                  </a:lnTo>
                  <a:lnTo>
                    <a:pt x="929" y="742"/>
                  </a:lnTo>
                  <a:lnTo>
                    <a:pt x="874" y="742"/>
                  </a:lnTo>
                  <a:lnTo>
                    <a:pt x="874" y="753"/>
                  </a:lnTo>
                  <a:lnTo>
                    <a:pt x="844" y="742"/>
                  </a:lnTo>
                  <a:lnTo>
                    <a:pt x="832" y="742"/>
                  </a:lnTo>
                  <a:lnTo>
                    <a:pt x="827" y="742"/>
                  </a:lnTo>
                  <a:lnTo>
                    <a:pt x="806" y="742"/>
                  </a:lnTo>
                  <a:lnTo>
                    <a:pt x="778" y="758"/>
                  </a:lnTo>
                  <a:lnTo>
                    <a:pt x="768" y="770"/>
                  </a:lnTo>
                  <a:lnTo>
                    <a:pt x="740" y="779"/>
                  </a:lnTo>
                  <a:lnTo>
                    <a:pt x="718" y="779"/>
                  </a:lnTo>
                  <a:lnTo>
                    <a:pt x="718" y="808"/>
                  </a:lnTo>
                  <a:lnTo>
                    <a:pt x="714" y="808"/>
                  </a:lnTo>
                  <a:lnTo>
                    <a:pt x="685" y="796"/>
                  </a:lnTo>
                  <a:lnTo>
                    <a:pt x="659" y="812"/>
                  </a:lnTo>
                  <a:lnTo>
                    <a:pt x="659" y="848"/>
                  </a:lnTo>
                  <a:lnTo>
                    <a:pt x="626" y="836"/>
                  </a:lnTo>
                  <a:lnTo>
                    <a:pt x="633" y="869"/>
                  </a:lnTo>
                  <a:lnTo>
                    <a:pt x="617" y="869"/>
                  </a:lnTo>
                  <a:lnTo>
                    <a:pt x="617" y="881"/>
                  </a:lnTo>
                  <a:lnTo>
                    <a:pt x="579" y="853"/>
                  </a:lnTo>
                  <a:lnTo>
                    <a:pt x="558" y="886"/>
                  </a:lnTo>
                  <a:lnTo>
                    <a:pt x="563" y="902"/>
                  </a:lnTo>
                  <a:lnTo>
                    <a:pt x="558" y="907"/>
                  </a:lnTo>
                  <a:lnTo>
                    <a:pt x="541" y="907"/>
                  </a:lnTo>
                  <a:lnTo>
                    <a:pt x="551" y="923"/>
                  </a:lnTo>
                  <a:lnTo>
                    <a:pt x="551" y="940"/>
                  </a:lnTo>
                  <a:lnTo>
                    <a:pt x="537" y="957"/>
                  </a:lnTo>
                  <a:lnTo>
                    <a:pt x="499" y="964"/>
                  </a:lnTo>
                  <a:lnTo>
                    <a:pt x="487" y="975"/>
                  </a:lnTo>
                  <a:lnTo>
                    <a:pt x="499" y="1001"/>
                  </a:lnTo>
                  <a:lnTo>
                    <a:pt x="487" y="1030"/>
                  </a:lnTo>
                  <a:lnTo>
                    <a:pt x="470" y="1035"/>
                  </a:lnTo>
                  <a:lnTo>
                    <a:pt x="482" y="1051"/>
                  </a:lnTo>
                  <a:lnTo>
                    <a:pt x="470" y="1075"/>
                  </a:lnTo>
                  <a:lnTo>
                    <a:pt x="449" y="1084"/>
                  </a:lnTo>
                  <a:lnTo>
                    <a:pt x="433" y="1101"/>
                  </a:lnTo>
                  <a:lnTo>
                    <a:pt x="428" y="1101"/>
                  </a:lnTo>
                  <a:lnTo>
                    <a:pt x="428" y="1091"/>
                  </a:lnTo>
                  <a:lnTo>
                    <a:pt x="416" y="1058"/>
                  </a:lnTo>
                  <a:lnTo>
                    <a:pt x="411" y="1058"/>
                  </a:lnTo>
                  <a:lnTo>
                    <a:pt x="411" y="1068"/>
                  </a:lnTo>
                  <a:lnTo>
                    <a:pt x="395" y="1058"/>
                  </a:lnTo>
                  <a:lnTo>
                    <a:pt x="395" y="1084"/>
                  </a:lnTo>
                  <a:lnTo>
                    <a:pt x="374" y="1084"/>
                  </a:lnTo>
                  <a:lnTo>
                    <a:pt x="362" y="1101"/>
                  </a:lnTo>
                  <a:lnTo>
                    <a:pt x="324" y="1075"/>
                  </a:lnTo>
                  <a:lnTo>
                    <a:pt x="310" y="1101"/>
                  </a:lnTo>
                  <a:lnTo>
                    <a:pt x="293" y="1101"/>
                  </a:lnTo>
                  <a:lnTo>
                    <a:pt x="293" y="1084"/>
                  </a:lnTo>
                  <a:lnTo>
                    <a:pt x="281" y="1075"/>
                  </a:lnTo>
                  <a:lnTo>
                    <a:pt x="281" y="1035"/>
                  </a:lnTo>
                  <a:lnTo>
                    <a:pt x="265" y="1035"/>
                  </a:lnTo>
                  <a:lnTo>
                    <a:pt x="251" y="1046"/>
                  </a:lnTo>
                  <a:lnTo>
                    <a:pt x="272" y="1013"/>
                  </a:lnTo>
                  <a:lnTo>
                    <a:pt x="251" y="1001"/>
                  </a:lnTo>
                  <a:lnTo>
                    <a:pt x="251" y="992"/>
                  </a:lnTo>
                  <a:lnTo>
                    <a:pt x="239" y="992"/>
                  </a:lnTo>
                  <a:lnTo>
                    <a:pt x="239" y="975"/>
                  </a:lnTo>
                  <a:lnTo>
                    <a:pt x="227" y="947"/>
                  </a:lnTo>
                  <a:lnTo>
                    <a:pt x="227" y="935"/>
                  </a:lnTo>
                  <a:lnTo>
                    <a:pt x="201" y="935"/>
                  </a:lnTo>
                  <a:lnTo>
                    <a:pt x="201" y="947"/>
                  </a:lnTo>
                  <a:lnTo>
                    <a:pt x="180" y="957"/>
                  </a:lnTo>
                  <a:lnTo>
                    <a:pt x="180" y="964"/>
                  </a:lnTo>
                  <a:lnTo>
                    <a:pt x="163" y="964"/>
                  </a:lnTo>
                  <a:lnTo>
                    <a:pt x="163" y="964"/>
                  </a:lnTo>
                  <a:lnTo>
                    <a:pt x="163" y="964"/>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7" name="Freeform 508">
              <a:extLst>
                <a:ext uri="{FF2B5EF4-FFF2-40B4-BE49-F238E27FC236}">
                  <a16:creationId xmlns:a16="http://schemas.microsoft.com/office/drawing/2014/main" id="{F58A502F-1971-4A7E-862E-0959743ED970}"/>
                </a:ext>
              </a:extLst>
            </p:cNvPr>
            <p:cNvSpPr>
              <a:spLocks/>
            </p:cNvSpPr>
            <p:nvPr/>
          </p:nvSpPr>
          <p:spPr bwMode="gray">
            <a:xfrm>
              <a:off x="13440762" y="3228414"/>
              <a:ext cx="280493" cy="217325"/>
            </a:xfrm>
            <a:custGeom>
              <a:avLst/>
              <a:gdLst>
                <a:gd name="T0" fmla="*/ 656 w 857"/>
                <a:gd name="T1" fmla="*/ 350 h 664"/>
                <a:gd name="T2" fmla="*/ 673 w 857"/>
                <a:gd name="T3" fmla="*/ 392 h 664"/>
                <a:gd name="T4" fmla="*/ 642 w 857"/>
                <a:gd name="T5" fmla="*/ 404 h 664"/>
                <a:gd name="T6" fmla="*/ 576 w 857"/>
                <a:gd name="T7" fmla="*/ 444 h 664"/>
                <a:gd name="T8" fmla="*/ 538 w 857"/>
                <a:gd name="T9" fmla="*/ 487 h 664"/>
                <a:gd name="T10" fmla="*/ 462 w 857"/>
                <a:gd name="T11" fmla="*/ 515 h 664"/>
                <a:gd name="T12" fmla="*/ 316 w 857"/>
                <a:gd name="T13" fmla="*/ 577 h 664"/>
                <a:gd name="T14" fmla="*/ 0 w 857"/>
                <a:gd name="T15" fmla="*/ 664 h 664"/>
                <a:gd name="T16" fmla="*/ 80 w 857"/>
                <a:gd name="T17" fmla="*/ 631 h 664"/>
                <a:gd name="T18" fmla="*/ 144 w 857"/>
                <a:gd name="T19" fmla="*/ 577 h 664"/>
                <a:gd name="T20" fmla="*/ 210 w 857"/>
                <a:gd name="T21" fmla="*/ 527 h 664"/>
                <a:gd name="T22" fmla="*/ 252 w 857"/>
                <a:gd name="T23" fmla="*/ 444 h 664"/>
                <a:gd name="T24" fmla="*/ 240 w 857"/>
                <a:gd name="T25" fmla="*/ 371 h 664"/>
                <a:gd name="T26" fmla="*/ 278 w 857"/>
                <a:gd name="T27" fmla="*/ 305 h 664"/>
                <a:gd name="T28" fmla="*/ 323 w 857"/>
                <a:gd name="T29" fmla="*/ 222 h 664"/>
                <a:gd name="T30" fmla="*/ 446 w 857"/>
                <a:gd name="T31" fmla="*/ 156 h 664"/>
                <a:gd name="T32" fmla="*/ 512 w 857"/>
                <a:gd name="T33" fmla="*/ 17 h 664"/>
                <a:gd name="T34" fmla="*/ 550 w 857"/>
                <a:gd name="T35" fmla="*/ 5 h 664"/>
                <a:gd name="T36" fmla="*/ 592 w 857"/>
                <a:gd name="T37" fmla="*/ 62 h 664"/>
                <a:gd name="T38" fmla="*/ 673 w 857"/>
                <a:gd name="T39" fmla="*/ 55 h 664"/>
                <a:gd name="T40" fmla="*/ 711 w 857"/>
                <a:gd name="T41" fmla="*/ 55 h 664"/>
                <a:gd name="T42" fmla="*/ 718 w 857"/>
                <a:gd name="T43" fmla="*/ 55 h 664"/>
                <a:gd name="T44" fmla="*/ 727 w 857"/>
                <a:gd name="T45" fmla="*/ 71 h 664"/>
                <a:gd name="T46" fmla="*/ 727 w 857"/>
                <a:gd name="T47" fmla="*/ 55 h 664"/>
                <a:gd name="T48" fmla="*/ 770 w 857"/>
                <a:gd name="T49" fmla="*/ 71 h 664"/>
                <a:gd name="T50" fmla="*/ 793 w 857"/>
                <a:gd name="T51" fmla="*/ 111 h 664"/>
                <a:gd name="T52" fmla="*/ 803 w 857"/>
                <a:gd name="T53" fmla="*/ 128 h 664"/>
                <a:gd name="T54" fmla="*/ 803 w 857"/>
                <a:gd name="T55" fmla="*/ 182 h 664"/>
                <a:gd name="T56" fmla="*/ 807 w 857"/>
                <a:gd name="T57" fmla="*/ 222 h 664"/>
                <a:gd name="T58" fmla="*/ 819 w 857"/>
                <a:gd name="T59" fmla="*/ 244 h 664"/>
                <a:gd name="T60" fmla="*/ 857 w 857"/>
                <a:gd name="T61" fmla="*/ 277 h 664"/>
                <a:gd name="T62" fmla="*/ 836 w 857"/>
                <a:gd name="T63" fmla="*/ 305 h 664"/>
                <a:gd name="T64" fmla="*/ 840 w 857"/>
                <a:gd name="T65" fmla="*/ 317 h 664"/>
                <a:gd name="T66" fmla="*/ 727 w 857"/>
                <a:gd name="T67" fmla="*/ 317 h 664"/>
                <a:gd name="T68" fmla="*/ 685 w 857"/>
                <a:gd name="T69" fmla="*/ 338 h 664"/>
                <a:gd name="T70" fmla="*/ 685 w 857"/>
                <a:gd name="T71" fmla="*/ 338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7" h="664">
                  <a:moveTo>
                    <a:pt x="685" y="338"/>
                  </a:moveTo>
                  <a:lnTo>
                    <a:pt x="656" y="350"/>
                  </a:lnTo>
                  <a:lnTo>
                    <a:pt x="656" y="388"/>
                  </a:lnTo>
                  <a:lnTo>
                    <a:pt x="673" y="392"/>
                  </a:lnTo>
                  <a:lnTo>
                    <a:pt x="673" y="404"/>
                  </a:lnTo>
                  <a:lnTo>
                    <a:pt x="642" y="404"/>
                  </a:lnTo>
                  <a:lnTo>
                    <a:pt x="618" y="428"/>
                  </a:lnTo>
                  <a:lnTo>
                    <a:pt x="576" y="444"/>
                  </a:lnTo>
                  <a:lnTo>
                    <a:pt x="555" y="470"/>
                  </a:lnTo>
                  <a:lnTo>
                    <a:pt x="538" y="487"/>
                  </a:lnTo>
                  <a:lnTo>
                    <a:pt x="479" y="499"/>
                  </a:lnTo>
                  <a:lnTo>
                    <a:pt x="462" y="515"/>
                  </a:lnTo>
                  <a:lnTo>
                    <a:pt x="425" y="503"/>
                  </a:lnTo>
                  <a:lnTo>
                    <a:pt x="316" y="577"/>
                  </a:lnTo>
                  <a:lnTo>
                    <a:pt x="316" y="664"/>
                  </a:lnTo>
                  <a:lnTo>
                    <a:pt x="0" y="664"/>
                  </a:lnTo>
                  <a:lnTo>
                    <a:pt x="25" y="638"/>
                  </a:lnTo>
                  <a:lnTo>
                    <a:pt x="80" y="631"/>
                  </a:lnTo>
                  <a:lnTo>
                    <a:pt x="118" y="610"/>
                  </a:lnTo>
                  <a:lnTo>
                    <a:pt x="144" y="577"/>
                  </a:lnTo>
                  <a:lnTo>
                    <a:pt x="188" y="560"/>
                  </a:lnTo>
                  <a:lnTo>
                    <a:pt x="210" y="527"/>
                  </a:lnTo>
                  <a:lnTo>
                    <a:pt x="248" y="466"/>
                  </a:lnTo>
                  <a:lnTo>
                    <a:pt x="252" y="444"/>
                  </a:lnTo>
                  <a:lnTo>
                    <a:pt x="240" y="428"/>
                  </a:lnTo>
                  <a:lnTo>
                    <a:pt x="240" y="371"/>
                  </a:lnTo>
                  <a:lnTo>
                    <a:pt x="248" y="338"/>
                  </a:lnTo>
                  <a:lnTo>
                    <a:pt x="278" y="305"/>
                  </a:lnTo>
                  <a:lnTo>
                    <a:pt x="278" y="277"/>
                  </a:lnTo>
                  <a:lnTo>
                    <a:pt x="323" y="222"/>
                  </a:lnTo>
                  <a:lnTo>
                    <a:pt x="403" y="189"/>
                  </a:lnTo>
                  <a:lnTo>
                    <a:pt x="446" y="156"/>
                  </a:lnTo>
                  <a:lnTo>
                    <a:pt x="484" y="95"/>
                  </a:lnTo>
                  <a:lnTo>
                    <a:pt x="512" y="17"/>
                  </a:lnTo>
                  <a:lnTo>
                    <a:pt x="550" y="0"/>
                  </a:lnTo>
                  <a:lnTo>
                    <a:pt x="550" y="5"/>
                  </a:lnTo>
                  <a:lnTo>
                    <a:pt x="555" y="29"/>
                  </a:lnTo>
                  <a:lnTo>
                    <a:pt x="592" y="62"/>
                  </a:lnTo>
                  <a:lnTo>
                    <a:pt x="618" y="62"/>
                  </a:lnTo>
                  <a:lnTo>
                    <a:pt x="673" y="55"/>
                  </a:lnTo>
                  <a:lnTo>
                    <a:pt x="694" y="62"/>
                  </a:lnTo>
                  <a:lnTo>
                    <a:pt x="711" y="55"/>
                  </a:lnTo>
                  <a:lnTo>
                    <a:pt x="718" y="45"/>
                  </a:lnTo>
                  <a:lnTo>
                    <a:pt x="718" y="55"/>
                  </a:lnTo>
                  <a:lnTo>
                    <a:pt x="718" y="55"/>
                  </a:lnTo>
                  <a:lnTo>
                    <a:pt x="727" y="71"/>
                  </a:lnTo>
                  <a:lnTo>
                    <a:pt x="732" y="71"/>
                  </a:lnTo>
                  <a:lnTo>
                    <a:pt x="727" y="55"/>
                  </a:lnTo>
                  <a:lnTo>
                    <a:pt x="739" y="71"/>
                  </a:lnTo>
                  <a:lnTo>
                    <a:pt x="770" y="71"/>
                  </a:lnTo>
                  <a:lnTo>
                    <a:pt x="803" y="99"/>
                  </a:lnTo>
                  <a:lnTo>
                    <a:pt x="793" y="111"/>
                  </a:lnTo>
                  <a:lnTo>
                    <a:pt x="807" y="116"/>
                  </a:lnTo>
                  <a:lnTo>
                    <a:pt x="803" y="128"/>
                  </a:lnTo>
                  <a:lnTo>
                    <a:pt x="807" y="149"/>
                  </a:lnTo>
                  <a:lnTo>
                    <a:pt x="803" y="182"/>
                  </a:lnTo>
                  <a:lnTo>
                    <a:pt x="807" y="189"/>
                  </a:lnTo>
                  <a:lnTo>
                    <a:pt x="807" y="222"/>
                  </a:lnTo>
                  <a:lnTo>
                    <a:pt x="824" y="239"/>
                  </a:lnTo>
                  <a:lnTo>
                    <a:pt x="819" y="244"/>
                  </a:lnTo>
                  <a:lnTo>
                    <a:pt x="824" y="260"/>
                  </a:lnTo>
                  <a:lnTo>
                    <a:pt x="857" y="277"/>
                  </a:lnTo>
                  <a:lnTo>
                    <a:pt x="840" y="293"/>
                  </a:lnTo>
                  <a:lnTo>
                    <a:pt x="836" y="305"/>
                  </a:lnTo>
                  <a:lnTo>
                    <a:pt x="840" y="305"/>
                  </a:lnTo>
                  <a:lnTo>
                    <a:pt x="840" y="317"/>
                  </a:lnTo>
                  <a:lnTo>
                    <a:pt x="765" y="305"/>
                  </a:lnTo>
                  <a:lnTo>
                    <a:pt x="727" y="317"/>
                  </a:lnTo>
                  <a:lnTo>
                    <a:pt x="718" y="333"/>
                  </a:lnTo>
                  <a:lnTo>
                    <a:pt x="685" y="338"/>
                  </a:lnTo>
                  <a:lnTo>
                    <a:pt x="685" y="338"/>
                  </a:lnTo>
                  <a:lnTo>
                    <a:pt x="685" y="338"/>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8" name="Freeform 509">
              <a:extLst>
                <a:ext uri="{FF2B5EF4-FFF2-40B4-BE49-F238E27FC236}">
                  <a16:creationId xmlns:a16="http://schemas.microsoft.com/office/drawing/2014/main" id="{F62CC9C7-8E7C-4BA3-9CAD-4E00B6F46A2B}"/>
                </a:ext>
              </a:extLst>
            </p:cNvPr>
            <p:cNvSpPr>
              <a:spLocks/>
            </p:cNvSpPr>
            <p:nvPr/>
          </p:nvSpPr>
          <p:spPr bwMode="gray">
            <a:xfrm>
              <a:off x="15059571" y="4592259"/>
              <a:ext cx="10146" cy="14074"/>
            </a:xfrm>
            <a:custGeom>
              <a:avLst/>
              <a:gdLst>
                <a:gd name="T0" fmla="*/ 16 w 31"/>
                <a:gd name="T1" fmla="*/ 43 h 43"/>
                <a:gd name="T2" fmla="*/ 0 w 31"/>
                <a:gd name="T3" fmla="*/ 31 h 43"/>
                <a:gd name="T4" fmla="*/ 9 w 31"/>
                <a:gd name="T5" fmla="*/ 17 h 43"/>
                <a:gd name="T6" fmla="*/ 21 w 31"/>
                <a:gd name="T7" fmla="*/ 0 h 43"/>
                <a:gd name="T8" fmla="*/ 31 w 31"/>
                <a:gd name="T9" fmla="*/ 26 h 43"/>
                <a:gd name="T10" fmla="*/ 21 w 31"/>
                <a:gd name="T11" fmla="*/ 31 h 43"/>
                <a:gd name="T12" fmla="*/ 16 w 31"/>
                <a:gd name="T13" fmla="*/ 43 h 43"/>
                <a:gd name="T14" fmla="*/ 16 w 31"/>
                <a:gd name="T15" fmla="*/ 43 h 43"/>
                <a:gd name="T16" fmla="*/ 16 w 31"/>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43">
                  <a:moveTo>
                    <a:pt x="16" y="43"/>
                  </a:moveTo>
                  <a:lnTo>
                    <a:pt x="0" y="31"/>
                  </a:lnTo>
                  <a:lnTo>
                    <a:pt x="9" y="17"/>
                  </a:lnTo>
                  <a:lnTo>
                    <a:pt x="21" y="0"/>
                  </a:lnTo>
                  <a:lnTo>
                    <a:pt x="31" y="26"/>
                  </a:lnTo>
                  <a:lnTo>
                    <a:pt x="21" y="31"/>
                  </a:lnTo>
                  <a:lnTo>
                    <a:pt x="16" y="43"/>
                  </a:lnTo>
                  <a:lnTo>
                    <a:pt x="16" y="43"/>
                  </a:lnTo>
                  <a:lnTo>
                    <a:pt x="16" y="43"/>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9" name="Freeform 510">
              <a:extLst>
                <a:ext uri="{FF2B5EF4-FFF2-40B4-BE49-F238E27FC236}">
                  <a16:creationId xmlns:a16="http://schemas.microsoft.com/office/drawing/2014/main" id="{C6EF40F7-685B-4663-B05D-3E0AF59A5BCF}"/>
                </a:ext>
              </a:extLst>
            </p:cNvPr>
            <p:cNvSpPr>
              <a:spLocks noEditPoints="1"/>
            </p:cNvSpPr>
            <p:nvPr/>
          </p:nvSpPr>
          <p:spPr bwMode="gray">
            <a:xfrm>
              <a:off x="13351737" y="3454249"/>
              <a:ext cx="280493" cy="312241"/>
            </a:xfrm>
            <a:custGeom>
              <a:avLst/>
              <a:gdLst>
                <a:gd name="T0" fmla="*/ 805 w 857"/>
                <a:gd name="T1" fmla="*/ 815 h 954"/>
                <a:gd name="T2" fmla="*/ 810 w 857"/>
                <a:gd name="T3" fmla="*/ 898 h 954"/>
                <a:gd name="T4" fmla="*/ 541 w 857"/>
                <a:gd name="T5" fmla="*/ 881 h 954"/>
                <a:gd name="T6" fmla="*/ 534 w 857"/>
                <a:gd name="T7" fmla="*/ 898 h 954"/>
                <a:gd name="T8" fmla="*/ 449 w 857"/>
                <a:gd name="T9" fmla="*/ 898 h 954"/>
                <a:gd name="T10" fmla="*/ 394 w 857"/>
                <a:gd name="T11" fmla="*/ 881 h 954"/>
                <a:gd name="T12" fmla="*/ 361 w 857"/>
                <a:gd name="T13" fmla="*/ 942 h 954"/>
                <a:gd name="T14" fmla="*/ 340 w 857"/>
                <a:gd name="T15" fmla="*/ 942 h 954"/>
                <a:gd name="T16" fmla="*/ 297 w 857"/>
                <a:gd name="T17" fmla="*/ 909 h 954"/>
                <a:gd name="T18" fmla="*/ 286 w 857"/>
                <a:gd name="T19" fmla="*/ 898 h 954"/>
                <a:gd name="T20" fmla="*/ 269 w 857"/>
                <a:gd name="T21" fmla="*/ 881 h 954"/>
                <a:gd name="T22" fmla="*/ 248 w 857"/>
                <a:gd name="T23" fmla="*/ 848 h 954"/>
                <a:gd name="T24" fmla="*/ 231 w 857"/>
                <a:gd name="T25" fmla="*/ 843 h 954"/>
                <a:gd name="T26" fmla="*/ 194 w 857"/>
                <a:gd name="T27" fmla="*/ 810 h 954"/>
                <a:gd name="T28" fmla="*/ 104 w 857"/>
                <a:gd name="T29" fmla="*/ 815 h 954"/>
                <a:gd name="T30" fmla="*/ 38 w 857"/>
                <a:gd name="T31" fmla="*/ 848 h 954"/>
                <a:gd name="T32" fmla="*/ 71 w 857"/>
                <a:gd name="T33" fmla="*/ 732 h 954"/>
                <a:gd name="T34" fmla="*/ 66 w 857"/>
                <a:gd name="T35" fmla="*/ 643 h 954"/>
                <a:gd name="T36" fmla="*/ 54 w 857"/>
                <a:gd name="T37" fmla="*/ 593 h 954"/>
                <a:gd name="T38" fmla="*/ 54 w 857"/>
                <a:gd name="T39" fmla="*/ 572 h 954"/>
                <a:gd name="T40" fmla="*/ 38 w 857"/>
                <a:gd name="T41" fmla="*/ 510 h 954"/>
                <a:gd name="T42" fmla="*/ 33 w 857"/>
                <a:gd name="T43" fmla="*/ 510 h 954"/>
                <a:gd name="T44" fmla="*/ 0 w 857"/>
                <a:gd name="T45" fmla="*/ 498 h 954"/>
                <a:gd name="T46" fmla="*/ 194 w 857"/>
                <a:gd name="T47" fmla="*/ 461 h 954"/>
                <a:gd name="T48" fmla="*/ 281 w 857"/>
                <a:gd name="T49" fmla="*/ 338 h 954"/>
                <a:gd name="T50" fmla="*/ 357 w 857"/>
                <a:gd name="T51" fmla="*/ 300 h 954"/>
                <a:gd name="T52" fmla="*/ 588 w 857"/>
                <a:gd name="T53" fmla="*/ 106 h 954"/>
                <a:gd name="T54" fmla="*/ 857 w 857"/>
                <a:gd name="T55" fmla="*/ 184 h 954"/>
                <a:gd name="T56" fmla="*/ 751 w 857"/>
                <a:gd name="T57" fmla="*/ 333 h 954"/>
                <a:gd name="T58" fmla="*/ 751 w 857"/>
                <a:gd name="T59" fmla="*/ 333 h 954"/>
                <a:gd name="T60" fmla="*/ 38 w 857"/>
                <a:gd name="T61" fmla="*/ 576 h 954"/>
                <a:gd name="T62" fmla="*/ 49 w 857"/>
                <a:gd name="T63" fmla="*/ 588 h 954"/>
                <a:gd name="T64" fmla="*/ 49 w 857"/>
                <a:gd name="T65" fmla="*/ 58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7" h="954">
                  <a:moveTo>
                    <a:pt x="751" y="333"/>
                  </a:moveTo>
                  <a:lnTo>
                    <a:pt x="805" y="815"/>
                  </a:lnTo>
                  <a:lnTo>
                    <a:pt x="827" y="831"/>
                  </a:lnTo>
                  <a:lnTo>
                    <a:pt x="810" y="898"/>
                  </a:lnTo>
                  <a:lnTo>
                    <a:pt x="541" y="898"/>
                  </a:lnTo>
                  <a:lnTo>
                    <a:pt x="541" y="881"/>
                  </a:lnTo>
                  <a:lnTo>
                    <a:pt x="534" y="886"/>
                  </a:lnTo>
                  <a:lnTo>
                    <a:pt x="534" y="898"/>
                  </a:lnTo>
                  <a:lnTo>
                    <a:pt x="496" y="902"/>
                  </a:lnTo>
                  <a:lnTo>
                    <a:pt x="449" y="898"/>
                  </a:lnTo>
                  <a:lnTo>
                    <a:pt x="432" y="921"/>
                  </a:lnTo>
                  <a:lnTo>
                    <a:pt x="394" y="881"/>
                  </a:lnTo>
                  <a:lnTo>
                    <a:pt x="378" y="886"/>
                  </a:lnTo>
                  <a:lnTo>
                    <a:pt x="361" y="942"/>
                  </a:lnTo>
                  <a:lnTo>
                    <a:pt x="352" y="954"/>
                  </a:lnTo>
                  <a:lnTo>
                    <a:pt x="340" y="942"/>
                  </a:lnTo>
                  <a:lnTo>
                    <a:pt x="319" y="926"/>
                  </a:lnTo>
                  <a:lnTo>
                    <a:pt x="297" y="909"/>
                  </a:lnTo>
                  <a:lnTo>
                    <a:pt x="297" y="902"/>
                  </a:lnTo>
                  <a:lnTo>
                    <a:pt x="286" y="898"/>
                  </a:lnTo>
                  <a:lnTo>
                    <a:pt x="281" y="898"/>
                  </a:lnTo>
                  <a:lnTo>
                    <a:pt x="269" y="881"/>
                  </a:lnTo>
                  <a:lnTo>
                    <a:pt x="255" y="848"/>
                  </a:lnTo>
                  <a:lnTo>
                    <a:pt x="248" y="848"/>
                  </a:lnTo>
                  <a:lnTo>
                    <a:pt x="243" y="848"/>
                  </a:lnTo>
                  <a:lnTo>
                    <a:pt x="231" y="843"/>
                  </a:lnTo>
                  <a:lnTo>
                    <a:pt x="227" y="848"/>
                  </a:lnTo>
                  <a:lnTo>
                    <a:pt x="194" y="810"/>
                  </a:lnTo>
                  <a:lnTo>
                    <a:pt x="146" y="798"/>
                  </a:lnTo>
                  <a:lnTo>
                    <a:pt x="104" y="815"/>
                  </a:lnTo>
                  <a:lnTo>
                    <a:pt x="54" y="815"/>
                  </a:lnTo>
                  <a:lnTo>
                    <a:pt x="38" y="848"/>
                  </a:lnTo>
                  <a:lnTo>
                    <a:pt x="38" y="810"/>
                  </a:lnTo>
                  <a:lnTo>
                    <a:pt x="71" y="732"/>
                  </a:lnTo>
                  <a:lnTo>
                    <a:pt x="71" y="676"/>
                  </a:lnTo>
                  <a:lnTo>
                    <a:pt x="66" y="643"/>
                  </a:lnTo>
                  <a:lnTo>
                    <a:pt x="38" y="605"/>
                  </a:lnTo>
                  <a:lnTo>
                    <a:pt x="54" y="593"/>
                  </a:lnTo>
                  <a:lnTo>
                    <a:pt x="38" y="605"/>
                  </a:lnTo>
                  <a:lnTo>
                    <a:pt x="54" y="572"/>
                  </a:lnTo>
                  <a:lnTo>
                    <a:pt x="66" y="539"/>
                  </a:lnTo>
                  <a:lnTo>
                    <a:pt x="38" y="510"/>
                  </a:lnTo>
                  <a:lnTo>
                    <a:pt x="38" y="515"/>
                  </a:lnTo>
                  <a:lnTo>
                    <a:pt x="33" y="510"/>
                  </a:lnTo>
                  <a:lnTo>
                    <a:pt x="12" y="465"/>
                  </a:lnTo>
                  <a:lnTo>
                    <a:pt x="0" y="498"/>
                  </a:lnTo>
                  <a:lnTo>
                    <a:pt x="12" y="461"/>
                  </a:lnTo>
                  <a:lnTo>
                    <a:pt x="194" y="461"/>
                  </a:lnTo>
                  <a:lnTo>
                    <a:pt x="286" y="461"/>
                  </a:lnTo>
                  <a:lnTo>
                    <a:pt x="281" y="338"/>
                  </a:lnTo>
                  <a:lnTo>
                    <a:pt x="319" y="312"/>
                  </a:lnTo>
                  <a:lnTo>
                    <a:pt x="357" y="300"/>
                  </a:lnTo>
                  <a:lnTo>
                    <a:pt x="357" y="106"/>
                  </a:lnTo>
                  <a:lnTo>
                    <a:pt x="588" y="106"/>
                  </a:lnTo>
                  <a:lnTo>
                    <a:pt x="588" y="0"/>
                  </a:lnTo>
                  <a:lnTo>
                    <a:pt x="857" y="184"/>
                  </a:lnTo>
                  <a:lnTo>
                    <a:pt x="734" y="184"/>
                  </a:lnTo>
                  <a:lnTo>
                    <a:pt x="751" y="333"/>
                  </a:lnTo>
                  <a:lnTo>
                    <a:pt x="751" y="333"/>
                  </a:lnTo>
                  <a:lnTo>
                    <a:pt x="751" y="333"/>
                  </a:lnTo>
                  <a:close/>
                  <a:moveTo>
                    <a:pt x="49" y="588"/>
                  </a:moveTo>
                  <a:lnTo>
                    <a:pt x="38" y="576"/>
                  </a:lnTo>
                  <a:lnTo>
                    <a:pt x="49" y="572"/>
                  </a:lnTo>
                  <a:lnTo>
                    <a:pt x="49" y="588"/>
                  </a:lnTo>
                  <a:lnTo>
                    <a:pt x="49" y="588"/>
                  </a:lnTo>
                  <a:lnTo>
                    <a:pt x="49" y="588"/>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0" name="Freeform 511">
              <a:extLst>
                <a:ext uri="{FF2B5EF4-FFF2-40B4-BE49-F238E27FC236}">
                  <a16:creationId xmlns:a16="http://schemas.microsoft.com/office/drawing/2014/main" id="{FE7CC3D5-EBEF-4168-A95C-702C769621A6}"/>
                </a:ext>
              </a:extLst>
            </p:cNvPr>
            <p:cNvSpPr>
              <a:spLocks noEditPoints="1"/>
            </p:cNvSpPr>
            <p:nvPr/>
          </p:nvSpPr>
          <p:spPr bwMode="gray">
            <a:xfrm>
              <a:off x="14069171" y="3225468"/>
              <a:ext cx="7855" cy="8510"/>
            </a:xfrm>
            <a:custGeom>
              <a:avLst/>
              <a:gdLst>
                <a:gd name="T0" fmla="*/ 7 w 24"/>
                <a:gd name="T1" fmla="*/ 12 h 26"/>
                <a:gd name="T2" fmla="*/ 0 w 24"/>
                <a:gd name="T3" fmla="*/ 0 h 26"/>
                <a:gd name="T4" fmla="*/ 7 w 24"/>
                <a:gd name="T5" fmla="*/ 0 h 26"/>
                <a:gd name="T6" fmla="*/ 7 w 24"/>
                <a:gd name="T7" fmla="*/ 12 h 26"/>
                <a:gd name="T8" fmla="*/ 7 w 24"/>
                <a:gd name="T9" fmla="*/ 12 h 26"/>
                <a:gd name="T10" fmla="*/ 7 w 24"/>
                <a:gd name="T11" fmla="*/ 12 h 26"/>
                <a:gd name="T12" fmla="*/ 24 w 24"/>
                <a:gd name="T13" fmla="*/ 26 h 26"/>
                <a:gd name="T14" fmla="*/ 7 w 24"/>
                <a:gd name="T15" fmla="*/ 16 h 26"/>
                <a:gd name="T16" fmla="*/ 7 w 24"/>
                <a:gd name="T17" fmla="*/ 12 h 26"/>
                <a:gd name="T18" fmla="*/ 24 w 24"/>
                <a:gd name="T19" fmla="*/ 16 h 26"/>
                <a:gd name="T20" fmla="*/ 24 w 24"/>
                <a:gd name="T21" fmla="*/ 26 h 26"/>
                <a:gd name="T22" fmla="*/ 24 w 24"/>
                <a:gd name="T23" fmla="*/ 26 h 26"/>
                <a:gd name="T24" fmla="*/ 24 w 24"/>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6">
                  <a:moveTo>
                    <a:pt x="7" y="12"/>
                  </a:moveTo>
                  <a:lnTo>
                    <a:pt x="0" y="0"/>
                  </a:lnTo>
                  <a:lnTo>
                    <a:pt x="7" y="0"/>
                  </a:lnTo>
                  <a:lnTo>
                    <a:pt x="7" y="12"/>
                  </a:lnTo>
                  <a:lnTo>
                    <a:pt x="7" y="12"/>
                  </a:lnTo>
                  <a:lnTo>
                    <a:pt x="7" y="12"/>
                  </a:lnTo>
                  <a:close/>
                  <a:moveTo>
                    <a:pt x="24" y="26"/>
                  </a:moveTo>
                  <a:lnTo>
                    <a:pt x="7" y="16"/>
                  </a:lnTo>
                  <a:lnTo>
                    <a:pt x="7" y="12"/>
                  </a:lnTo>
                  <a:lnTo>
                    <a:pt x="24" y="16"/>
                  </a:lnTo>
                  <a:lnTo>
                    <a:pt x="24" y="26"/>
                  </a:lnTo>
                  <a:lnTo>
                    <a:pt x="24" y="26"/>
                  </a:lnTo>
                  <a:lnTo>
                    <a:pt x="24" y="26"/>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1" name="Freeform 512">
              <a:extLst>
                <a:ext uri="{FF2B5EF4-FFF2-40B4-BE49-F238E27FC236}">
                  <a16:creationId xmlns:a16="http://schemas.microsoft.com/office/drawing/2014/main" id="{5C408360-0E4F-4384-904A-091C3279518A}"/>
                </a:ext>
              </a:extLst>
            </p:cNvPr>
            <p:cNvSpPr>
              <a:spLocks noEditPoints="1"/>
            </p:cNvSpPr>
            <p:nvPr/>
          </p:nvSpPr>
          <p:spPr bwMode="gray">
            <a:xfrm>
              <a:off x="14938798" y="3476832"/>
              <a:ext cx="178704" cy="241872"/>
            </a:xfrm>
            <a:custGeom>
              <a:avLst/>
              <a:gdLst>
                <a:gd name="T0" fmla="*/ 282 w 546"/>
                <a:gd name="T1" fmla="*/ 56 h 739"/>
                <a:gd name="T2" fmla="*/ 282 w 546"/>
                <a:gd name="T3" fmla="*/ 23 h 739"/>
                <a:gd name="T4" fmla="*/ 307 w 546"/>
                <a:gd name="T5" fmla="*/ 16 h 739"/>
                <a:gd name="T6" fmla="*/ 298 w 546"/>
                <a:gd name="T7" fmla="*/ 0 h 739"/>
                <a:gd name="T8" fmla="*/ 307 w 546"/>
                <a:gd name="T9" fmla="*/ 7 h 739"/>
                <a:gd name="T10" fmla="*/ 298 w 546"/>
                <a:gd name="T11" fmla="*/ 16 h 739"/>
                <a:gd name="T12" fmla="*/ 298 w 546"/>
                <a:gd name="T13" fmla="*/ 56 h 739"/>
                <a:gd name="T14" fmla="*/ 298 w 546"/>
                <a:gd name="T15" fmla="*/ 56 h 739"/>
                <a:gd name="T16" fmla="*/ 0 w 546"/>
                <a:gd name="T17" fmla="*/ 562 h 739"/>
                <a:gd name="T18" fmla="*/ 253 w 546"/>
                <a:gd name="T19" fmla="*/ 333 h 739"/>
                <a:gd name="T20" fmla="*/ 222 w 546"/>
                <a:gd name="T21" fmla="*/ 255 h 739"/>
                <a:gd name="T22" fmla="*/ 244 w 546"/>
                <a:gd name="T23" fmla="*/ 184 h 739"/>
                <a:gd name="T24" fmla="*/ 274 w 546"/>
                <a:gd name="T25" fmla="*/ 167 h 739"/>
                <a:gd name="T26" fmla="*/ 260 w 546"/>
                <a:gd name="T27" fmla="*/ 118 h 739"/>
                <a:gd name="T28" fmla="*/ 282 w 546"/>
                <a:gd name="T29" fmla="*/ 118 h 739"/>
                <a:gd name="T30" fmla="*/ 282 w 546"/>
                <a:gd name="T31" fmla="*/ 127 h 739"/>
                <a:gd name="T32" fmla="*/ 298 w 546"/>
                <a:gd name="T33" fmla="*/ 111 h 739"/>
                <a:gd name="T34" fmla="*/ 362 w 546"/>
                <a:gd name="T35" fmla="*/ 188 h 739"/>
                <a:gd name="T36" fmla="*/ 459 w 546"/>
                <a:gd name="T37" fmla="*/ 212 h 739"/>
                <a:gd name="T38" fmla="*/ 546 w 546"/>
                <a:gd name="T39" fmla="*/ 295 h 739"/>
                <a:gd name="T40" fmla="*/ 513 w 546"/>
                <a:gd name="T41" fmla="*/ 382 h 739"/>
                <a:gd name="T42" fmla="*/ 454 w 546"/>
                <a:gd name="T43" fmla="*/ 451 h 739"/>
                <a:gd name="T44" fmla="*/ 437 w 546"/>
                <a:gd name="T45" fmla="*/ 444 h 739"/>
                <a:gd name="T46" fmla="*/ 404 w 546"/>
                <a:gd name="T47" fmla="*/ 467 h 739"/>
                <a:gd name="T48" fmla="*/ 404 w 546"/>
                <a:gd name="T49" fmla="*/ 562 h 739"/>
                <a:gd name="T50" fmla="*/ 329 w 546"/>
                <a:gd name="T51" fmla="*/ 578 h 739"/>
                <a:gd name="T52" fmla="*/ 312 w 546"/>
                <a:gd name="T53" fmla="*/ 628 h 739"/>
                <a:gd name="T54" fmla="*/ 237 w 546"/>
                <a:gd name="T55" fmla="*/ 649 h 739"/>
                <a:gd name="T56" fmla="*/ 227 w 546"/>
                <a:gd name="T57" fmla="*/ 682 h 739"/>
                <a:gd name="T58" fmla="*/ 189 w 546"/>
                <a:gd name="T59" fmla="*/ 715 h 739"/>
                <a:gd name="T60" fmla="*/ 147 w 546"/>
                <a:gd name="T61" fmla="*/ 706 h 739"/>
                <a:gd name="T62" fmla="*/ 76 w 546"/>
                <a:gd name="T63" fmla="*/ 739 h 739"/>
                <a:gd name="T64" fmla="*/ 76 w 546"/>
                <a:gd name="T65" fmla="*/ 739 h 739"/>
                <a:gd name="T66" fmla="*/ 459 w 546"/>
                <a:gd name="T67" fmla="*/ 460 h 739"/>
                <a:gd name="T68" fmla="*/ 487 w 546"/>
                <a:gd name="T69" fmla="*/ 451 h 739"/>
                <a:gd name="T70" fmla="*/ 459 w 546"/>
                <a:gd name="T71" fmla="*/ 477 h 739"/>
                <a:gd name="T72" fmla="*/ 274 w 546"/>
                <a:gd name="T73" fmla="*/ 673 h 739"/>
                <a:gd name="T74" fmla="*/ 282 w 546"/>
                <a:gd name="T75" fmla="*/ 673 h 739"/>
                <a:gd name="T76" fmla="*/ 274 w 546"/>
                <a:gd name="T77" fmla="*/ 673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6" h="739">
                  <a:moveTo>
                    <a:pt x="298" y="56"/>
                  </a:moveTo>
                  <a:lnTo>
                    <a:pt x="282" y="56"/>
                  </a:lnTo>
                  <a:lnTo>
                    <a:pt x="291" y="33"/>
                  </a:lnTo>
                  <a:lnTo>
                    <a:pt x="282" y="23"/>
                  </a:lnTo>
                  <a:lnTo>
                    <a:pt x="291" y="7"/>
                  </a:lnTo>
                  <a:lnTo>
                    <a:pt x="307" y="16"/>
                  </a:lnTo>
                  <a:lnTo>
                    <a:pt x="298" y="16"/>
                  </a:lnTo>
                  <a:lnTo>
                    <a:pt x="298" y="0"/>
                  </a:lnTo>
                  <a:lnTo>
                    <a:pt x="312" y="0"/>
                  </a:lnTo>
                  <a:lnTo>
                    <a:pt x="307" y="7"/>
                  </a:lnTo>
                  <a:lnTo>
                    <a:pt x="307" y="16"/>
                  </a:lnTo>
                  <a:lnTo>
                    <a:pt x="298" y="16"/>
                  </a:lnTo>
                  <a:lnTo>
                    <a:pt x="307" y="23"/>
                  </a:lnTo>
                  <a:lnTo>
                    <a:pt x="298" y="56"/>
                  </a:lnTo>
                  <a:lnTo>
                    <a:pt x="298" y="56"/>
                  </a:lnTo>
                  <a:lnTo>
                    <a:pt x="298" y="56"/>
                  </a:lnTo>
                  <a:close/>
                  <a:moveTo>
                    <a:pt x="76" y="739"/>
                  </a:moveTo>
                  <a:lnTo>
                    <a:pt x="0" y="562"/>
                  </a:lnTo>
                  <a:lnTo>
                    <a:pt x="206" y="484"/>
                  </a:lnTo>
                  <a:lnTo>
                    <a:pt x="253" y="333"/>
                  </a:lnTo>
                  <a:lnTo>
                    <a:pt x="222" y="283"/>
                  </a:lnTo>
                  <a:lnTo>
                    <a:pt x="222" y="255"/>
                  </a:lnTo>
                  <a:lnTo>
                    <a:pt x="244" y="200"/>
                  </a:lnTo>
                  <a:lnTo>
                    <a:pt x="244" y="184"/>
                  </a:lnTo>
                  <a:lnTo>
                    <a:pt x="274" y="172"/>
                  </a:lnTo>
                  <a:lnTo>
                    <a:pt x="274" y="167"/>
                  </a:lnTo>
                  <a:lnTo>
                    <a:pt x="260" y="167"/>
                  </a:lnTo>
                  <a:lnTo>
                    <a:pt x="260" y="118"/>
                  </a:lnTo>
                  <a:lnTo>
                    <a:pt x="274" y="111"/>
                  </a:lnTo>
                  <a:lnTo>
                    <a:pt x="282" y="118"/>
                  </a:lnTo>
                  <a:lnTo>
                    <a:pt x="274" y="118"/>
                  </a:lnTo>
                  <a:lnTo>
                    <a:pt x="282" y="127"/>
                  </a:lnTo>
                  <a:lnTo>
                    <a:pt x="298" y="118"/>
                  </a:lnTo>
                  <a:lnTo>
                    <a:pt x="298" y="111"/>
                  </a:lnTo>
                  <a:lnTo>
                    <a:pt x="324" y="151"/>
                  </a:lnTo>
                  <a:lnTo>
                    <a:pt x="362" y="188"/>
                  </a:lnTo>
                  <a:lnTo>
                    <a:pt x="437" y="212"/>
                  </a:lnTo>
                  <a:lnTo>
                    <a:pt x="459" y="212"/>
                  </a:lnTo>
                  <a:lnTo>
                    <a:pt x="513" y="283"/>
                  </a:lnTo>
                  <a:lnTo>
                    <a:pt x="546" y="295"/>
                  </a:lnTo>
                  <a:lnTo>
                    <a:pt x="546" y="316"/>
                  </a:lnTo>
                  <a:lnTo>
                    <a:pt x="513" y="382"/>
                  </a:lnTo>
                  <a:lnTo>
                    <a:pt x="475" y="411"/>
                  </a:lnTo>
                  <a:lnTo>
                    <a:pt x="454" y="451"/>
                  </a:lnTo>
                  <a:lnTo>
                    <a:pt x="433" y="460"/>
                  </a:lnTo>
                  <a:lnTo>
                    <a:pt x="437" y="444"/>
                  </a:lnTo>
                  <a:lnTo>
                    <a:pt x="433" y="444"/>
                  </a:lnTo>
                  <a:lnTo>
                    <a:pt x="404" y="467"/>
                  </a:lnTo>
                  <a:lnTo>
                    <a:pt x="388" y="505"/>
                  </a:lnTo>
                  <a:lnTo>
                    <a:pt x="404" y="562"/>
                  </a:lnTo>
                  <a:lnTo>
                    <a:pt x="362" y="571"/>
                  </a:lnTo>
                  <a:lnTo>
                    <a:pt x="329" y="578"/>
                  </a:lnTo>
                  <a:lnTo>
                    <a:pt x="324" y="595"/>
                  </a:lnTo>
                  <a:lnTo>
                    <a:pt x="312" y="628"/>
                  </a:lnTo>
                  <a:lnTo>
                    <a:pt x="298" y="644"/>
                  </a:lnTo>
                  <a:lnTo>
                    <a:pt x="237" y="649"/>
                  </a:lnTo>
                  <a:lnTo>
                    <a:pt x="222" y="673"/>
                  </a:lnTo>
                  <a:lnTo>
                    <a:pt x="227" y="682"/>
                  </a:lnTo>
                  <a:lnTo>
                    <a:pt x="206" y="706"/>
                  </a:lnTo>
                  <a:lnTo>
                    <a:pt x="189" y="715"/>
                  </a:lnTo>
                  <a:lnTo>
                    <a:pt x="173" y="706"/>
                  </a:lnTo>
                  <a:lnTo>
                    <a:pt x="147" y="706"/>
                  </a:lnTo>
                  <a:lnTo>
                    <a:pt x="109" y="727"/>
                  </a:lnTo>
                  <a:lnTo>
                    <a:pt x="76" y="739"/>
                  </a:lnTo>
                  <a:lnTo>
                    <a:pt x="76" y="739"/>
                  </a:lnTo>
                  <a:lnTo>
                    <a:pt x="76" y="739"/>
                  </a:lnTo>
                  <a:close/>
                  <a:moveTo>
                    <a:pt x="459" y="477"/>
                  </a:moveTo>
                  <a:lnTo>
                    <a:pt x="459" y="460"/>
                  </a:lnTo>
                  <a:lnTo>
                    <a:pt x="487" y="439"/>
                  </a:lnTo>
                  <a:lnTo>
                    <a:pt x="487" y="451"/>
                  </a:lnTo>
                  <a:lnTo>
                    <a:pt x="459" y="477"/>
                  </a:lnTo>
                  <a:lnTo>
                    <a:pt x="459" y="477"/>
                  </a:lnTo>
                  <a:lnTo>
                    <a:pt x="459" y="477"/>
                  </a:lnTo>
                  <a:close/>
                  <a:moveTo>
                    <a:pt x="274" y="673"/>
                  </a:moveTo>
                  <a:lnTo>
                    <a:pt x="274" y="673"/>
                  </a:lnTo>
                  <a:lnTo>
                    <a:pt x="282" y="673"/>
                  </a:lnTo>
                  <a:lnTo>
                    <a:pt x="274" y="673"/>
                  </a:lnTo>
                  <a:lnTo>
                    <a:pt x="274" y="673"/>
                  </a:lnTo>
                  <a:lnTo>
                    <a:pt x="274" y="673"/>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2" name="Freeform 513">
              <a:extLst>
                <a:ext uri="{FF2B5EF4-FFF2-40B4-BE49-F238E27FC236}">
                  <a16:creationId xmlns:a16="http://schemas.microsoft.com/office/drawing/2014/main" id="{3FEA7E3D-4199-4A3E-9D67-A82FB93519C8}"/>
                </a:ext>
              </a:extLst>
            </p:cNvPr>
            <p:cNvSpPr>
              <a:spLocks/>
            </p:cNvSpPr>
            <p:nvPr/>
          </p:nvSpPr>
          <p:spPr bwMode="gray">
            <a:xfrm>
              <a:off x="14168996" y="3017308"/>
              <a:ext cx="42549" cy="48113"/>
            </a:xfrm>
            <a:custGeom>
              <a:avLst/>
              <a:gdLst>
                <a:gd name="T0" fmla="*/ 0 w 130"/>
                <a:gd name="T1" fmla="*/ 90 h 147"/>
                <a:gd name="T2" fmla="*/ 7 w 130"/>
                <a:gd name="T3" fmla="*/ 81 h 147"/>
                <a:gd name="T4" fmla="*/ 0 w 130"/>
                <a:gd name="T5" fmla="*/ 62 h 147"/>
                <a:gd name="T6" fmla="*/ 0 w 130"/>
                <a:gd name="T7" fmla="*/ 45 h 147"/>
                <a:gd name="T8" fmla="*/ 16 w 130"/>
                <a:gd name="T9" fmla="*/ 41 h 147"/>
                <a:gd name="T10" fmla="*/ 16 w 130"/>
                <a:gd name="T11" fmla="*/ 24 h 147"/>
                <a:gd name="T12" fmla="*/ 28 w 130"/>
                <a:gd name="T13" fmla="*/ 17 h 147"/>
                <a:gd name="T14" fmla="*/ 37 w 130"/>
                <a:gd name="T15" fmla="*/ 24 h 147"/>
                <a:gd name="T16" fmla="*/ 45 w 130"/>
                <a:gd name="T17" fmla="*/ 17 h 147"/>
                <a:gd name="T18" fmla="*/ 28 w 130"/>
                <a:gd name="T19" fmla="*/ 0 h 147"/>
                <a:gd name="T20" fmla="*/ 54 w 130"/>
                <a:gd name="T21" fmla="*/ 0 h 147"/>
                <a:gd name="T22" fmla="*/ 87 w 130"/>
                <a:gd name="T23" fmla="*/ 36 h 147"/>
                <a:gd name="T24" fmla="*/ 130 w 130"/>
                <a:gd name="T25" fmla="*/ 57 h 147"/>
                <a:gd name="T26" fmla="*/ 130 w 130"/>
                <a:gd name="T27" fmla="*/ 62 h 147"/>
                <a:gd name="T28" fmla="*/ 125 w 130"/>
                <a:gd name="T29" fmla="*/ 62 h 147"/>
                <a:gd name="T30" fmla="*/ 108 w 130"/>
                <a:gd name="T31" fmla="*/ 74 h 147"/>
                <a:gd name="T32" fmla="*/ 113 w 130"/>
                <a:gd name="T33" fmla="*/ 81 h 147"/>
                <a:gd name="T34" fmla="*/ 108 w 130"/>
                <a:gd name="T35" fmla="*/ 90 h 147"/>
                <a:gd name="T36" fmla="*/ 92 w 130"/>
                <a:gd name="T37" fmla="*/ 97 h 147"/>
                <a:gd name="T38" fmla="*/ 92 w 130"/>
                <a:gd name="T39" fmla="*/ 81 h 147"/>
                <a:gd name="T40" fmla="*/ 87 w 130"/>
                <a:gd name="T41" fmla="*/ 81 h 147"/>
                <a:gd name="T42" fmla="*/ 54 w 130"/>
                <a:gd name="T43" fmla="*/ 118 h 147"/>
                <a:gd name="T44" fmla="*/ 59 w 130"/>
                <a:gd name="T45" fmla="*/ 130 h 147"/>
                <a:gd name="T46" fmla="*/ 59 w 130"/>
                <a:gd name="T47" fmla="*/ 147 h 147"/>
                <a:gd name="T48" fmla="*/ 45 w 130"/>
                <a:gd name="T49" fmla="*/ 135 h 147"/>
                <a:gd name="T50" fmla="*/ 28 w 130"/>
                <a:gd name="T51" fmla="*/ 114 h 147"/>
                <a:gd name="T52" fmla="*/ 7 w 130"/>
                <a:gd name="T53" fmla="*/ 97 h 147"/>
                <a:gd name="T54" fmla="*/ 16 w 130"/>
                <a:gd name="T55" fmla="*/ 102 h 147"/>
                <a:gd name="T56" fmla="*/ 16 w 130"/>
                <a:gd name="T57" fmla="*/ 97 h 147"/>
                <a:gd name="T58" fmla="*/ 0 w 130"/>
                <a:gd name="T59" fmla="*/ 97 h 147"/>
                <a:gd name="T60" fmla="*/ 0 w 130"/>
                <a:gd name="T61" fmla="*/ 90 h 147"/>
                <a:gd name="T62" fmla="*/ 0 w 130"/>
                <a:gd name="T63" fmla="*/ 90 h 147"/>
                <a:gd name="T64" fmla="*/ 0 w 130"/>
                <a:gd name="T65" fmla="*/ 9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 h="147">
                  <a:moveTo>
                    <a:pt x="0" y="90"/>
                  </a:moveTo>
                  <a:lnTo>
                    <a:pt x="7" y="81"/>
                  </a:lnTo>
                  <a:lnTo>
                    <a:pt x="0" y="62"/>
                  </a:lnTo>
                  <a:lnTo>
                    <a:pt x="0" y="45"/>
                  </a:lnTo>
                  <a:lnTo>
                    <a:pt x="16" y="41"/>
                  </a:lnTo>
                  <a:lnTo>
                    <a:pt x="16" y="24"/>
                  </a:lnTo>
                  <a:lnTo>
                    <a:pt x="28" y="17"/>
                  </a:lnTo>
                  <a:lnTo>
                    <a:pt x="37" y="24"/>
                  </a:lnTo>
                  <a:lnTo>
                    <a:pt x="45" y="17"/>
                  </a:lnTo>
                  <a:lnTo>
                    <a:pt x="28" y="0"/>
                  </a:lnTo>
                  <a:lnTo>
                    <a:pt x="54" y="0"/>
                  </a:lnTo>
                  <a:lnTo>
                    <a:pt x="87" y="36"/>
                  </a:lnTo>
                  <a:lnTo>
                    <a:pt x="130" y="57"/>
                  </a:lnTo>
                  <a:lnTo>
                    <a:pt x="130" y="62"/>
                  </a:lnTo>
                  <a:lnTo>
                    <a:pt x="125" y="62"/>
                  </a:lnTo>
                  <a:lnTo>
                    <a:pt x="108" y="74"/>
                  </a:lnTo>
                  <a:lnTo>
                    <a:pt x="113" y="81"/>
                  </a:lnTo>
                  <a:lnTo>
                    <a:pt x="108" y="90"/>
                  </a:lnTo>
                  <a:lnTo>
                    <a:pt x="92" y="97"/>
                  </a:lnTo>
                  <a:lnTo>
                    <a:pt x="92" y="81"/>
                  </a:lnTo>
                  <a:lnTo>
                    <a:pt x="87" y="81"/>
                  </a:lnTo>
                  <a:lnTo>
                    <a:pt x="54" y="118"/>
                  </a:lnTo>
                  <a:lnTo>
                    <a:pt x="59" y="130"/>
                  </a:lnTo>
                  <a:lnTo>
                    <a:pt x="59" y="147"/>
                  </a:lnTo>
                  <a:lnTo>
                    <a:pt x="45" y="135"/>
                  </a:lnTo>
                  <a:lnTo>
                    <a:pt x="28" y="114"/>
                  </a:lnTo>
                  <a:lnTo>
                    <a:pt x="7" y="97"/>
                  </a:lnTo>
                  <a:lnTo>
                    <a:pt x="16" y="102"/>
                  </a:lnTo>
                  <a:lnTo>
                    <a:pt x="16" y="97"/>
                  </a:lnTo>
                  <a:lnTo>
                    <a:pt x="0" y="97"/>
                  </a:lnTo>
                  <a:lnTo>
                    <a:pt x="0" y="90"/>
                  </a:lnTo>
                  <a:lnTo>
                    <a:pt x="0" y="90"/>
                  </a:lnTo>
                  <a:lnTo>
                    <a:pt x="0" y="9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3" name="Freeform 514">
              <a:extLst>
                <a:ext uri="{FF2B5EF4-FFF2-40B4-BE49-F238E27FC236}">
                  <a16:creationId xmlns:a16="http://schemas.microsoft.com/office/drawing/2014/main" id="{827559AD-1692-4437-8052-51E6A9DE0198}"/>
                </a:ext>
              </a:extLst>
            </p:cNvPr>
            <p:cNvSpPr>
              <a:spLocks noEditPoints="1"/>
            </p:cNvSpPr>
            <p:nvPr/>
          </p:nvSpPr>
          <p:spPr bwMode="gray">
            <a:xfrm>
              <a:off x="11027603" y="3314166"/>
              <a:ext cx="722998" cy="453306"/>
            </a:xfrm>
            <a:custGeom>
              <a:avLst/>
              <a:gdLst>
                <a:gd name="T0" fmla="*/ 1918 w 2209"/>
                <a:gd name="T1" fmla="*/ 1146 h 1385"/>
                <a:gd name="T2" fmla="*/ 1864 w 2209"/>
                <a:gd name="T3" fmla="*/ 1274 h 1385"/>
                <a:gd name="T4" fmla="*/ 1708 w 2209"/>
                <a:gd name="T5" fmla="*/ 1274 h 1385"/>
                <a:gd name="T6" fmla="*/ 1649 w 2209"/>
                <a:gd name="T7" fmla="*/ 1269 h 1385"/>
                <a:gd name="T8" fmla="*/ 1481 w 2209"/>
                <a:gd name="T9" fmla="*/ 1293 h 1385"/>
                <a:gd name="T10" fmla="*/ 1217 w 2209"/>
                <a:gd name="T11" fmla="*/ 1186 h 1385"/>
                <a:gd name="T12" fmla="*/ 900 w 2209"/>
                <a:gd name="T13" fmla="*/ 993 h 1385"/>
                <a:gd name="T14" fmla="*/ 900 w 2209"/>
                <a:gd name="T15" fmla="*/ 865 h 1385"/>
                <a:gd name="T16" fmla="*/ 754 w 2209"/>
                <a:gd name="T17" fmla="*/ 648 h 1385"/>
                <a:gd name="T18" fmla="*/ 728 w 2209"/>
                <a:gd name="T19" fmla="*/ 610 h 1385"/>
                <a:gd name="T20" fmla="*/ 695 w 2209"/>
                <a:gd name="T21" fmla="*/ 586 h 1385"/>
                <a:gd name="T22" fmla="*/ 673 w 2209"/>
                <a:gd name="T23" fmla="*/ 544 h 1385"/>
                <a:gd name="T24" fmla="*/ 624 w 2209"/>
                <a:gd name="T25" fmla="*/ 475 h 1385"/>
                <a:gd name="T26" fmla="*/ 548 w 2209"/>
                <a:gd name="T27" fmla="*/ 388 h 1385"/>
                <a:gd name="T28" fmla="*/ 430 w 2209"/>
                <a:gd name="T29" fmla="*/ 298 h 1385"/>
                <a:gd name="T30" fmla="*/ 371 w 2209"/>
                <a:gd name="T31" fmla="*/ 116 h 1385"/>
                <a:gd name="T32" fmla="*/ 253 w 2209"/>
                <a:gd name="T33" fmla="*/ 88 h 1385"/>
                <a:gd name="T34" fmla="*/ 345 w 2209"/>
                <a:gd name="T35" fmla="*/ 298 h 1385"/>
                <a:gd name="T36" fmla="*/ 392 w 2209"/>
                <a:gd name="T37" fmla="*/ 388 h 1385"/>
                <a:gd name="T38" fmla="*/ 458 w 2209"/>
                <a:gd name="T39" fmla="*/ 459 h 1385"/>
                <a:gd name="T40" fmla="*/ 522 w 2209"/>
                <a:gd name="T41" fmla="*/ 593 h 1385"/>
                <a:gd name="T42" fmla="*/ 569 w 2209"/>
                <a:gd name="T43" fmla="*/ 664 h 1385"/>
                <a:gd name="T44" fmla="*/ 593 w 2209"/>
                <a:gd name="T45" fmla="*/ 766 h 1385"/>
                <a:gd name="T46" fmla="*/ 442 w 2209"/>
                <a:gd name="T47" fmla="*/ 626 h 1385"/>
                <a:gd name="T48" fmla="*/ 397 w 2209"/>
                <a:gd name="T49" fmla="*/ 504 h 1385"/>
                <a:gd name="T50" fmla="*/ 307 w 2209"/>
                <a:gd name="T51" fmla="*/ 449 h 1385"/>
                <a:gd name="T52" fmla="*/ 300 w 2209"/>
                <a:gd name="T53" fmla="*/ 393 h 1385"/>
                <a:gd name="T54" fmla="*/ 182 w 2209"/>
                <a:gd name="T55" fmla="*/ 239 h 1385"/>
                <a:gd name="T56" fmla="*/ 140 w 2209"/>
                <a:gd name="T57" fmla="*/ 116 h 1385"/>
                <a:gd name="T58" fmla="*/ 510 w 2209"/>
                <a:gd name="T59" fmla="*/ 111 h 1385"/>
                <a:gd name="T60" fmla="*/ 952 w 2209"/>
                <a:gd name="T61" fmla="*/ 222 h 1385"/>
                <a:gd name="T62" fmla="*/ 1125 w 2209"/>
                <a:gd name="T63" fmla="*/ 227 h 1385"/>
                <a:gd name="T64" fmla="*/ 1292 w 2209"/>
                <a:gd name="T65" fmla="*/ 393 h 1385"/>
                <a:gd name="T66" fmla="*/ 1448 w 2209"/>
                <a:gd name="T67" fmla="*/ 532 h 1385"/>
                <a:gd name="T68" fmla="*/ 1472 w 2209"/>
                <a:gd name="T69" fmla="*/ 870 h 1385"/>
                <a:gd name="T70" fmla="*/ 1536 w 2209"/>
                <a:gd name="T71" fmla="*/ 997 h 1385"/>
                <a:gd name="T72" fmla="*/ 1649 w 2209"/>
                <a:gd name="T73" fmla="*/ 1092 h 1385"/>
                <a:gd name="T74" fmla="*/ 1762 w 2209"/>
                <a:gd name="T75" fmla="*/ 1108 h 1385"/>
                <a:gd name="T76" fmla="*/ 1864 w 2209"/>
                <a:gd name="T77" fmla="*/ 1104 h 1385"/>
                <a:gd name="T78" fmla="*/ 1935 w 2209"/>
                <a:gd name="T79" fmla="*/ 1037 h 1385"/>
                <a:gd name="T80" fmla="*/ 2095 w 2209"/>
                <a:gd name="T81" fmla="*/ 870 h 1385"/>
                <a:gd name="T82" fmla="*/ 2209 w 2209"/>
                <a:gd name="T83" fmla="*/ 893 h 1385"/>
                <a:gd name="T84" fmla="*/ 2150 w 2209"/>
                <a:gd name="T85" fmla="*/ 1021 h 1385"/>
                <a:gd name="T86" fmla="*/ 2133 w 2209"/>
                <a:gd name="T87" fmla="*/ 1104 h 1385"/>
                <a:gd name="T88" fmla="*/ 359 w 2209"/>
                <a:gd name="T89" fmla="*/ 293 h 1385"/>
                <a:gd name="T90" fmla="*/ 359 w 2209"/>
                <a:gd name="T91" fmla="*/ 293 h 1385"/>
                <a:gd name="T92" fmla="*/ 425 w 2209"/>
                <a:gd name="T93" fmla="*/ 315 h 1385"/>
                <a:gd name="T94" fmla="*/ 0 w 2209"/>
                <a:gd name="T95" fmla="*/ 298 h 1385"/>
                <a:gd name="T96" fmla="*/ 225 w 2209"/>
                <a:gd name="T97" fmla="*/ 371 h 1385"/>
                <a:gd name="T98" fmla="*/ 501 w 2209"/>
                <a:gd name="T99" fmla="*/ 544 h 1385"/>
                <a:gd name="T100" fmla="*/ 442 w 2209"/>
                <a:gd name="T101" fmla="*/ 586 h 1385"/>
                <a:gd name="T102" fmla="*/ 539 w 2209"/>
                <a:gd name="T103" fmla="*/ 598 h 1385"/>
                <a:gd name="T104" fmla="*/ 463 w 2209"/>
                <a:gd name="T105" fmla="*/ 655 h 1385"/>
                <a:gd name="T106" fmla="*/ 825 w 2209"/>
                <a:gd name="T107" fmla="*/ 870 h 1385"/>
                <a:gd name="T108" fmla="*/ 855 w 2209"/>
                <a:gd name="T109" fmla="*/ 886 h 1385"/>
                <a:gd name="T110" fmla="*/ 2204 w 2209"/>
                <a:gd name="T111" fmla="*/ 943 h 1385"/>
                <a:gd name="T112" fmla="*/ 517 w 2209"/>
                <a:gd name="T113" fmla="*/ 1071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9" h="1385">
                  <a:moveTo>
                    <a:pt x="2103" y="1104"/>
                  </a:moveTo>
                  <a:lnTo>
                    <a:pt x="2095" y="1104"/>
                  </a:lnTo>
                  <a:lnTo>
                    <a:pt x="2065" y="1141"/>
                  </a:lnTo>
                  <a:lnTo>
                    <a:pt x="2058" y="1130"/>
                  </a:lnTo>
                  <a:lnTo>
                    <a:pt x="2048" y="1141"/>
                  </a:lnTo>
                  <a:lnTo>
                    <a:pt x="2048" y="1146"/>
                  </a:lnTo>
                  <a:lnTo>
                    <a:pt x="1918" y="1146"/>
                  </a:lnTo>
                  <a:lnTo>
                    <a:pt x="1918" y="1186"/>
                  </a:lnTo>
                  <a:lnTo>
                    <a:pt x="1885" y="1186"/>
                  </a:lnTo>
                  <a:lnTo>
                    <a:pt x="1935" y="1224"/>
                  </a:lnTo>
                  <a:lnTo>
                    <a:pt x="1940" y="1252"/>
                  </a:lnTo>
                  <a:lnTo>
                    <a:pt x="1956" y="1252"/>
                  </a:lnTo>
                  <a:lnTo>
                    <a:pt x="1956" y="1274"/>
                  </a:lnTo>
                  <a:lnTo>
                    <a:pt x="1864" y="1274"/>
                  </a:lnTo>
                  <a:lnTo>
                    <a:pt x="1831" y="1335"/>
                  </a:lnTo>
                  <a:lnTo>
                    <a:pt x="1843" y="1352"/>
                  </a:lnTo>
                  <a:lnTo>
                    <a:pt x="1826" y="1385"/>
                  </a:lnTo>
                  <a:lnTo>
                    <a:pt x="1793" y="1352"/>
                  </a:lnTo>
                  <a:lnTo>
                    <a:pt x="1793" y="1347"/>
                  </a:lnTo>
                  <a:lnTo>
                    <a:pt x="1779" y="1335"/>
                  </a:lnTo>
                  <a:lnTo>
                    <a:pt x="1708" y="1274"/>
                  </a:lnTo>
                  <a:lnTo>
                    <a:pt x="1682" y="1257"/>
                  </a:lnTo>
                  <a:lnTo>
                    <a:pt x="1682" y="1269"/>
                  </a:lnTo>
                  <a:lnTo>
                    <a:pt x="1703" y="1281"/>
                  </a:lnTo>
                  <a:lnTo>
                    <a:pt x="1654" y="1269"/>
                  </a:lnTo>
                  <a:lnTo>
                    <a:pt x="1666" y="1257"/>
                  </a:lnTo>
                  <a:lnTo>
                    <a:pt x="1654" y="1257"/>
                  </a:lnTo>
                  <a:lnTo>
                    <a:pt x="1649" y="1269"/>
                  </a:lnTo>
                  <a:lnTo>
                    <a:pt x="1649" y="1252"/>
                  </a:lnTo>
                  <a:lnTo>
                    <a:pt x="1632" y="1257"/>
                  </a:lnTo>
                  <a:lnTo>
                    <a:pt x="1649" y="1269"/>
                  </a:lnTo>
                  <a:lnTo>
                    <a:pt x="1616" y="1269"/>
                  </a:lnTo>
                  <a:lnTo>
                    <a:pt x="1611" y="1281"/>
                  </a:lnTo>
                  <a:lnTo>
                    <a:pt x="1536" y="1309"/>
                  </a:lnTo>
                  <a:lnTo>
                    <a:pt x="1481" y="1293"/>
                  </a:lnTo>
                  <a:lnTo>
                    <a:pt x="1439" y="1281"/>
                  </a:lnTo>
                  <a:lnTo>
                    <a:pt x="1417" y="1269"/>
                  </a:lnTo>
                  <a:lnTo>
                    <a:pt x="1384" y="1257"/>
                  </a:lnTo>
                  <a:lnTo>
                    <a:pt x="1373" y="1241"/>
                  </a:lnTo>
                  <a:lnTo>
                    <a:pt x="1309" y="1224"/>
                  </a:lnTo>
                  <a:lnTo>
                    <a:pt x="1292" y="1219"/>
                  </a:lnTo>
                  <a:lnTo>
                    <a:pt x="1217" y="1186"/>
                  </a:lnTo>
                  <a:lnTo>
                    <a:pt x="1169" y="1158"/>
                  </a:lnTo>
                  <a:lnTo>
                    <a:pt x="1148" y="1130"/>
                  </a:lnTo>
                  <a:lnTo>
                    <a:pt x="1132" y="1141"/>
                  </a:lnTo>
                  <a:lnTo>
                    <a:pt x="1051" y="1108"/>
                  </a:lnTo>
                  <a:lnTo>
                    <a:pt x="1006" y="1071"/>
                  </a:lnTo>
                  <a:lnTo>
                    <a:pt x="943" y="1037"/>
                  </a:lnTo>
                  <a:lnTo>
                    <a:pt x="900" y="993"/>
                  </a:lnTo>
                  <a:lnTo>
                    <a:pt x="888" y="959"/>
                  </a:lnTo>
                  <a:lnTo>
                    <a:pt x="914" y="943"/>
                  </a:lnTo>
                  <a:lnTo>
                    <a:pt x="910" y="926"/>
                  </a:lnTo>
                  <a:lnTo>
                    <a:pt x="893" y="926"/>
                  </a:lnTo>
                  <a:lnTo>
                    <a:pt x="914" y="903"/>
                  </a:lnTo>
                  <a:lnTo>
                    <a:pt x="926" y="882"/>
                  </a:lnTo>
                  <a:lnTo>
                    <a:pt x="900" y="865"/>
                  </a:lnTo>
                  <a:lnTo>
                    <a:pt x="893" y="837"/>
                  </a:lnTo>
                  <a:lnTo>
                    <a:pt x="893" y="808"/>
                  </a:lnTo>
                  <a:lnTo>
                    <a:pt x="879" y="782"/>
                  </a:lnTo>
                  <a:lnTo>
                    <a:pt x="841" y="742"/>
                  </a:lnTo>
                  <a:lnTo>
                    <a:pt x="791" y="688"/>
                  </a:lnTo>
                  <a:lnTo>
                    <a:pt x="749" y="648"/>
                  </a:lnTo>
                  <a:lnTo>
                    <a:pt x="754" y="648"/>
                  </a:lnTo>
                  <a:lnTo>
                    <a:pt x="754" y="643"/>
                  </a:lnTo>
                  <a:lnTo>
                    <a:pt x="749" y="648"/>
                  </a:lnTo>
                  <a:lnTo>
                    <a:pt x="732" y="631"/>
                  </a:lnTo>
                  <a:lnTo>
                    <a:pt x="737" y="643"/>
                  </a:lnTo>
                  <a:lnTo>
                    <a:pt x="728" y="631"/>
                  </a:lnTo>
                  <a:lnTo>
                    <a:pt x="728" y="610"/>
                  </a:lnTo>
                  <a:lnTo>
                    <a:pt x="728" y="610"/>
                  </a:lnTo>
                  <a:lnTo>
                    <a:pt x="728" y="615"/>
                  </a:lnTo>
                  <a:lnTo>
                    <a:pt x="716" y="615"/>
                  </a:lnTo>
                  <a:lnTo>
                    <a:pt x="711" y="598"/>
                  </a:lnTo>
                  <a:lnTo>
                    <a:pt x="728" y="610"/>
                  </a:lnTo>
                  <a:lnTo>
                    <a:pt x="728" y="598"/>
                  </a:lnTo>
                  <a:lnTo>
                    <a:pt x="699" y="593"/>
                  </a:lnTo>
                  <a:lnTo>
                    <a:pt x="695" y="586"/>
                  </a:lnTo>
                  <a:lnTo>
                    <a:pt x="678" y="577"/>
                  </a:lnTo>
                  <a:lnTo>
                    <a:pt x="673" y="560"/>
                  </a:lnTo>
                  <a:lnTo>
                    <a:pt x="662" y="560"/>
                  </a:lnTo>
                  <a:lnTo>
                    <a:pt x="662" y="570"/>
                  </a:lnTo>
                  <a:lnTo>
                    <a:pt x="645" y="560"/>
                  </a:lnTo>
                  <a:lnTo>
                    <a:pt x="657" y="560"/>
                  </a:lnTo>
                  <a:lnTo>
                    <a:pt x="673" y="544"/>
                  </a:lnTo>
                  <a:lnTo>
                    <a:pt x="645" y="560"/>
                  </a:lnTo>
                  <a:lnTo>
                    <a:pt x="631" y="544"/>
                  </a:lnTo>
                  <a:lnTo>
                    <a:pt x="624" y="532"/>
                  </a:lnTo>
                  <a:lnTo>
                    <a:pt x="640" y="504"/>
                  </a:lnTo>
                  <a:lnTo>
                    <a:pt x="645" y="515"/>
                  </a:lnTo>
                  <a:lnTo>
                    <a:pt x="645" y="504"/>
                  </a:lnTo>
                  <a:lnTo>
                    <a:pt x="624" y="475"/>
                  </a:lnTo>
                  <a:lnTo>
                    <a:pt x="619" y="466"/>
                  </a:lnTo>
                  <a:lnTo>
                    <a:pt x="603" y="475"/>
                  </a:lnTo>
                  <a:lnTo>
                    <a:pt x="586" y="442"/>
                  </a:lnTo>
                  <a:lnTo>
                    <a:pt x="565" y="442"/>
                  </a:lnTo>
                  <a:lnTo>
                    <a:pt x="548" y="426"/>
                  </a:lnTo>
                  <a:lnTo>
                    <a:pt x="539" y="404"/>
                  </a:lnTo>
                  <a:lnTo>
                    <a:pt x="548" y="388"/>
                  </a:lnTo>
                  <a:lnTo>
                    <a:pt x="532" y="376"/>
                  </a:lnTo>
                  <a:lnTo>
                    <a:pt x="522" y="388"/>
                  </a:lnTo>
                  <a:lnTo>
                    <a:pt x="510" y="376"/>
                  </a:lnTo>
                  <a:lnTo>
                    <a:pt x="484" y="350"/>
                  </a:lnTo>
                  <a:lnTo>
                    <a:pt x="468" y="338"/>
                  </a:lnTo>
                  <a:lnTo>
                    <a:pt x="458" y="310"/>
                  </a:lnTo>
                  <a:lnTo>
                    <a:pt x="430" y="298"/>
                  </a:lnTo>
                  <a:lnTo>
                    <a:pt x="430" y="265"/>
                  </a:lnTo>
                  <a:lnTo>
                    <a:pt x="414" y="260"/>
                  </a:lnTo>
                  <a:lnTo>
                    <a:pt x="414" y="260"/>
                  </a:lnTo>
                  <a:lnTo>
                    <a:pt x="392" y="222"/>
                  </a:lnTo>
                  <a:lnTo>
                    <a:pt x="392" y="199"/>
                  </a:lnTo>
                  <a:lnTo>
                    <a:pt x="371" y="166"/>
                  </a:lnTo>
                  <a:lnTo>
                    <a:pt x="371" y="116"/>
                  </a:lnTo>
                  <a:lnTo>
                    <a:pt x="333" y="111"/>
                  </a:lnTo>
                  <a:lnTo>
                    <a:pt x="333" y="95"/>
                  </a:lnTo>
                  <a:lnTo>
                    <a:pt x="307" y="88"/>
                  </a:lnTo>
                  <a:lnTo>
                    <a:pt x="300" y="100"/>
                  </a:lnTo>
                  <a:lnTo>
                    <a:pt x="291" y="95"/>
                  </a:lnTo>
                  <a:lnTo>
                    <a:pt x="232" y="60"/>
                  </a:lnTo>
                  <a:lnTo>
                    <a:pt x="253" y="88"/>
                  </a:lnTo>
                  <a:lnTo>
                    <a:pt x="248" y="128"/>
                  </a:lnTo>
                  <a:lnTo>
                    <a:pt x="253" y="145"/>
                  </a:lnTo>
                  <a:lnTo>
                    <a:pt x="262" y="204"/>
                  </a:lnTo>
                  <a:lnTo>
                    <a:pt x="269" y="222"/>
                  </a:lnTo>
                  <a:lnTo>
                    <a:pt x="333" y="277"/>
                  </a:lnTo>
                  <a:lnTo>
                    <a:pt x="338" y="310"/>
                  </a:lnTo>
                  <a:lnTo>
                    <a:pt x="345" y="298"/>
                  </a:lnTo>
                  <a:lnTo>
                    <a:pt x="354" y="310"/>
                  </a:lnTo>
                  <a:lnTo>
                    <a:pt x="359" y="310"/>
                  </a:lnTo>
                  <a:lnTo>
                    <a:pt x="371" y="338"/>
                  </a:lnTo>
                  <a:lnTo>
                    <a:pt x="388" y="338"/>
                  </a:lnTo>
                  <a:lnTo>
                    <a:pt x="388" y="355"/>
                  </a:lnTo>
                  <a:lnTo>
                    <a:pt x="392" y="371"/>
                  </a:lnTo>
                  <a:lnTo>
                    <a:pt x="392" y="388"/>
                  </a:lnTo>
                  <a:lnTo>
                    <a:pt x="409" y="404"/>
                  </a:lnTo>
                  <a:lnTo>
                    <a:pt x="425" y="409"/>
                  </a:lnTo>
                  <a:lnTo>
                    <a:pt x="458" y="475"/>
                  </a:lnTo>
                  <a:lnTo>
                    <a:pt x="463" y="487"/>
                  </a:lnTo>
                  <a:lnTo>
                    <a:pt x="468" y="482"/>
                  </a:lnTo>
                  <a:lnTo>
                    <a:pt x="458" y="466"/>
                  </a:lnTo>
                  <a:lnTo>
                    <a:pt x="458" y="459"/>
                  </a:lnTo>
                  <a:lnTo>
                    <a:pt x="480" y="475"/>
                  </a:lnTo>
                  <a:lnTo>
                    <a:pt x="480" y="482"/>
                  </a:lnTo>
                  <a:lnTo>
                    <a:pt x="484" y="504"/>
                  </a:lnTo>
                  <a:lnTo>
                    <a:pt x="496" y="544"/>
                  </a:lnTo>
                  <a:lnTo>
                    <a:pt x="501" y="560"/>
                  </a:lnTo>
                  <a:lnTo>
                    <a:pt x="517" y="570"/>
                  </a:lnTo>
                  <a:lnTo>
                    <a:pt x="522" y="593"/>
                  </a:lnTo>
                  <a:lnTo>
                    <a:pt x="539" y="615"/>
                  </a:lnTo>
                  <a:lnTo>
                    <a:pt x="532" y="643"/>
                  </a:lnTo>
                  <a:lnTo>
                    <a:pt x="539" y="655"/>
                  </a:lnTo>
                  <a:lnTo>
                    <a:pt x="565" y="664"/>
                  </a:lnTo>
                  <a:lnTo>
                    <a:pt x="555" y="664"/>
                  </a:lnTo>
                  <a:lnTo>
                    <a:pt x="565" y="671"/>
                  </a:lnTo>
                  <a:lnTo>
                    <a:pt x="569" y="664"/>
                  </a:lnTo>
                  <a:lnTo>
                    <a:pt x="565" y="655"/>
                  </a:lnTo>
                  <a:lnTo>
                    <a:pt x="569" y="655"/>
                  </a:lnTo>
                  <a:lnTo>
                    <a:pt x="603" y="681"/>
                  </a:lnTo>
                  <a:lnTo>
                    <a:pt x="607" y="704"/>
                  </a:lnTo>
                  <a:lnTo>
                    <a:pt x="624" y="721"/>
                  </a:lnTo>
                  <a:lnTo>
                    <a:pt x="619" y="754"/>
                  </a:lnTo>
                  <a:lnTo>
                    <a:pt x="593" y="766"/>
                  </a:lnTo>
                  <a:lnTo>
                    <a:pt x="586" y="766"/>
                  </a:lnTo>
                  <a:lnTo>
                    <a:pt x="565" y="709"/>
                  </a:lnTo>
                  <a:lnTo>
                    <a:pt x="484" y="655"/>
                  </a:lnTo>
                  <a:lnTo>
                    <a:pt x="468" y="643"/>
                  </a:lnTo>
                  <a:lnTo>
                    <a:pt x="463" y="643"/>
                  </a:lnTo>
                  <a:lnTo>
                    <a:pt x="447" y="626"/>
                  </a:lnTo>
                  <a:lnTo>
                    <a:pt x="442" y="626"/>
                  </a:lnTo>
                  <a:lnTo>
                    <a:pt x="442" y="598"/>
                  </a:lnTo>
                  <a:lnTo>
                    <a:pt x="430" y="615"/>
                  </a:lnTo>
                  <a:lnTo>
                    <a:pt x="442" y="560"/>
                  </a:lnTo>
                  <a:lnTo>
                    <a:pt x="442" y="570"/>
                  </a:lnTo>
                  <a:lnTo>
                    <a:pt x="442" y="544"/>
                  </a:lnTo>
                  <a:lnTo>
                    <a:pt x="414" y="504"/>
                  </a:lnTo>
                  <a:lnTo>
                    <a:pt x="397" y="504"/>
                  </a:lnTo>
                  <a:lnTo>
                    <a:pt x="359" y="475"/>
                  </a:lnTo>
                  <a:lnTo>
                    <a:pt x="371" y="459"/>
                  </a:lnTo>
                  <a:lnTo>
                    <a:pt x="354" y="466"/>
                  </a:lnTo>
                  <a:lnTo>
                    <a:pt x="345" y="466"/>
                  </a:lnTo>
                  <a:lnTo>
                    <a:pt x="333" y="475"/>
                  </a:lnTo>
                  <a:lnTo>
                    <a:pt x="317" y="449"/>
                  </a:lnTo>
                  <a:lnTo>
                    <a:pt x="307" y="449"/>
                  </a:lnTo>
                  <a:lnTo>
                    <a:pt x="291" y="442"/>
                  </a:lnTo>
                  <a:lnTo>
                    <a:pt x="269" y="433"/>
                  </a:lnTo>
                  <a:lnTo>
                    <a:pt x="269" y="421"/>
                  </a:lnTo>
                  <a:lnTo>
                    <a:pt x="236" y="393"/>
                  </a:lnTo>
                  <a:lnTo>
                    <a:pt x="232" y="388"/>
                  </a:lnTo>
                  <a:lnTo>
                    <a:pt x="307" y="393"/>
                  </a:lnTo>
                  <a:lnTo>
                    <a:pt x="300" y="393"/>
                  </a:lnTo>
                  <a:lnTo>
                    <a:pt x="291" y="393"/>
                  </a:lnTo>
                  <a:lnTo>
                    <a:pt x="286" y="388"/>
                  </a:lnTo>
                  <a:lnTo>
                    <a:pt x="291" y="371"/>
                  </a:lnTo>
                  <a:lnTo>
                    <a:pt x="300" y="331"/>
                  </a:lnTo>
                  <a:lnTo>
                    <a:pt x="236" y="265"/>
                  </a:lnTo>
                  <a:lnTo>
                    <a:pt x="225" y="260"/>
                  </a:lnTo>
                  <a:lnTo>
                    <a:pt x="182" y="239"/>
                  </a:lnTo>
                  <a:lnTo>
                    <a:pt x="177" y="187"/>
                  </a:lnTo>
                  <a:lnTo>
                    <a:pt x="173" y="182"/>
                  </a:lnTo>
                  <a:lnTo>
                    <a:pt x="173" y="187"/>
                  </a:lnTo>
                  <a:lnTo>
                    <a:pt x="161" y="182"/>
                  </a:lnTo>
                  <a:lnTo>
                    <a:pt x="161" y="154"/>
                  </a:lnTo>
                  <a:lnTo>
                    <a:pt x="144" y="145"/>
                  </a:lnTo>
                  <a:lnTo>
                    <a:pt x="140" y="116"/>
                  </a:lnTo>
                  <a:lnTo>
                    <a:pt x="118" y="95"/>
                  </a:lnTo>
                  <a:lnTo>
                    <a:pt x="123" y="71"/>
                  </a:lnTo>
                  <a:lnTo>
                    <a:pt x="106" y="60"/>
                  </a:lnTo>
                  <a:lnTo>
                    <a:pt x="85" y="17"/>
                  </a:lnTo>
                  <a:lnTo>
                    <a:pt x="253" y="0"/>
                  </a:lnTo>
                  <a:lnTo>
                    <a:pt x="248" y="17"/>
                  </a:lnTo>
                  <a:lnTo>
                    <a:pt x="510" y="111"/>
                  </a:lnTo>
                  <a:lnTo>
                    <a:pt x="711" y="111"/>
                  </a:lnTo>
                  <a:lnTo>
                    <a:pt x="711" y="76"/>
                  </a:lnTo>
                  <a:lnTo>
                    <a:pt x="841" y="76"/>
                  </a:lnTo>
                  <a:lnTo>
                    <a:pt x="846" y="100"/>
                  </a:lnTo>
                  <a:lnTo>
                    <a:pt x="943" y="171"/>
                  </a:lnTo>
                  <a:lnTo>
                    <a:pt x="952" y="204"/>
                  </a:lnTo>
                  <a:lnTo>
                    <a:pt x="952" y="222"/>
                  </a:lnTo>
                  <a:lnTo>
                    <a:pt x="969" y="244"/>
                  </a:lnTo>
                  <a:lnTo>
                    <a:pt x="1002" y="265"/>
                  </a:lnTo>
                  <a:lnTo>
                    <a:pt x="1051" y="293"/>
                  </a:lnTo>
                  <a:lnTo>
                    <a:pt x="1061" y="298"/>
                  </a:lnTo>
                  <a:lnTo>
                    <a:pt x="1089" y="277"/>
                  </a:lnTo>
                  <a:lnTo>
                    <a:pt x="1103" y="239"/>
                  </a:lnTo>
                  <a:lnTo>
                    <a:pt x="1125" y="227"/>
                  </a:lnTo>
                  <a:lnTo>
                    <a:pt x="1141" y="239"/>
                  </a:lnTo>
                  <a:lnTo>
                    <a:pt x="1186" y="239"/>
                  </a:lnTo>
                  <a:lnTo>
                    <a:pt x="1195" y="244"/>
                  </a:lnTo>
                  <a:lnTo>
                    <a:pt x="1238" y="282"/>
                  </a:lnTo>
                  <a:lnTo>
                    <a:pt x="1266" y="355"/>
                  </a:lnTo>
                  <a:lnTo>
                    <a:pt x="1276" y="367"/>
                  </a:lnTo>
                  <a:lnTo>
                    <a:pt x="1292" y="393"/>
                  </a:lnTo>
                  <a:lnTo>
                    <a:pt x="1321" y="409"/>
                  </a:lnTo>
                  <a:lnTo>
                    <a:pt x="1325" y="449"/>
                  </a:lnTo>
                  <a:lnTo>
                    <a:pt x="1342" y="466"/>
                  </a:lnTo>
                  <a:lnTo>
                    <a:pt x="1347" y="499"/>
                  </a:lnTo>
                  <a:lnTo>
                    <a:pt x="1396" y="515"/>
                  </a:lnTo>
                  <a:lnTo>
                    <a:pt x="1410" y="520"/>
                  </a:lnTo>
                  <a:lnTo>
                    <a:pt x="1448" y="532"/>
                  </a:lnTo>
                  <a:lnTo>
                    <a:pt x="1465" y="537"/>
                  </a:lnTo>
                  <a:lnTo>
                    <a:pt x="1486" y="532"/>
                  </a:lnTo>
                  <a:lnTo>
                    <a:pt x="1448" y="643"/>
                  </a:lnTo>
                  <a:lnTo>
                    <a:pt x="1439" y="766"/>
                  </a:lnTo>
                  <a:lnTo>
                    <a:pt x="1434" y="792"/>
                  </a:lnTo>
                  <a:lnTo>
                    <a:pt x="1448" y="837"/>
                  </a:lnTo>
                  <a:lnTo>
                    <a:pt x="1472" y="870"/>
                  </a:lnTo>
                  <a:lnTo>
                    <a:pt x="1465" y="886"/>
                  </a:lnTo>
                  <a:lnTo>
                    <a:pt x="1465" y="882"/>
                  </a:lnTo>
                  <a:lnTo>
                    <a:pt x="1472" y="870"/>
                  </a:lnTo>
                  <a:lnTo>
                    <a:pt x="1439" y="832"/>
                  </a:lnTo>
                  <a:lnTo>
                    <a:pt x="1448" y="865"/>
                  </a:lnTo>
                  <a:lnTo>
                    <a:pt x="1486" y="936"/>
                  </a:lnTo>
                  <a:lnTo>
                    <a:pt x="1536" y="997"/>
                  </a:lnTo>
                  <a:lnTo>
                    <a:pt x="1545" y="1037"/>
                  </a:lnTo>
                  <a:lnTo>
                    <a:pt x="1573" y="1059"/>
                  </a:lnTo>
                  <a:lnTo>
                    <a:pt x="1573" y="1071"/>
                  </a:lnTo>
                  <a:lnTo>
                    <a:pt x="1578" y="1075"/>
                  </a:lnTo>
                  <a:lnTo>
                    <a:pt x="1628" y="1087"/>
                  </a:lnTo>
                  <a:lnTo>
                    <a:pt x="1632" y="1092"/>
                  </a:lnTo>
                  <a:lnTo>
                    <a:pt x="1649" y="1092"/>
                  </a:lnTo>
                  <a:lnTo>
                    <a:pt x="1670" y="1125"/>
                  </a:lnTo>
                  <a:lnTo>
                    <a:pt x="1720" y="1113"/>
                  </a:lnTo>
                  <a:lnTo>
                    <a:pt x="1734" y="1104"/>
                  </a:lnTo>
                  <a:lnTo>
                    <a:pt x="1720" y="1108"/>
                  </a:lnTo>
                  <a:lnTo>
                    <a:pt x="1734" y="1104"/>
                  </a:lnTo>
                  <a:lnTo>
                    <a:pt x="1762" y="1104"/>
                  </a:lnTo>
                  <a:lnTo>
                    <a:pt x="1762" y="1108"/>
                  </a:lnTo>
                  <a:lnTo>
                    <a:pt x="1805" y="1087"/>
                  </a:lnTo>
                  <a:lnTo>
                    <a:pt x="1847" y="1075"/>
                  </a:lnTo>
                  <a:lnTo>
                    <a:pt x="1859" y="1087"/>
                  </a:lnTo>
                  <a:lnTo>
                    <a:pt x="1843" y="1092"/>
                  </a:lnTo>
                  <a:lnTo>
                    <a:pt x="1859" y="1092"/>
                  </a:lnTo>
                  <a:lnTo>
                    <a:pt x="1859" y="1108"/>
                  </a:lnTo>
                  <a:lnTo>
                    <a:pt x="1864" y="1104"/>
                  </a:lnTo>
                  <a:lnTo>
                    <a:pt x="1880" y="1104"/>
                  </a:lnTo>
                  <a:lnTo>
                    <a:pt x="1885" y="1092"/>
                  </a:lnTo>
                  <a:lnTo>
                    <a:pt x="1902" y="1087"/>
                  </a:lnTo>
                  <a:lnTo>
                    <a:pt x="1885" y="1075"/>
                  </a:lnTo>
                  <a:lnTo>
                    <a:pt x="1897" y="1071"/>
                  </a:lnTo>
                  <a:lnTo>
                    <a:pt x="1885" y="1071"/>
                  </a:lnTo>
                  <a:lnTo>
                    <a:pt x="1935" y="1037"/>
                  </a:lnTo>
                  <a:lnTo>
                    <a:pt x="1940" y="1002"/>
                  </a:lnTo>
                  <a:lnTo>
                    <a:pt x="1956" y="993"/>
                  </a:lnTo>
                  <a:lnTo>
                    <a:pt x="1951" y="943"/>
                  </a:lnTo>
                  <a:lnTo>
                    <a:pt x="1965" y="910"/>
                  </a:lnTo>
                  <a:lnTo>
                    <a:pt x="1994" y="886"/>
                  </a:lnTo>
                  <a:lnTo>
                    <a:pt x="2065" y="882"/>
                  </a:lnTo>
                  <a:lnTo>
                    <a:pt x="2095" y="870"/>
                  </a:lnTo>
                  <a:lnTo>
                    <a:pt x="2128" y="865"/>
                  </a:lnTo>
                  <a:lnTo>
                    <a:pt x="2183" y="882"/>
                  </a:lnTo>
                  <a:lnTo>
                    <a:pt x="2188" y="870"/>
                  </a:lnTo>
                  <a:lnTo>
                    <a:pt x="2166" y="870"/>
                  </a:lnTo>
                  <a:lnTo>
                    <a:pt x="2192" y="865"/>
                  </a:lnTo>
                  <a:lnTo>
                    <a:pt x="2209" y="882"/>
                  </a:lnTo>
                  <a:lnTo>
                    <a:pt x="2209" y="893"/>
                  </a:lnTo>
                  <a:lnTo>
                    <a:pt x="2204" y="926"/>
                  </a:lnTo>
                  <a:lnTo>
                    <a:pt x="2166" y="964"/>
                  </a:lnTo>
                  <a:lnTo>
                    <a:pt x="2166" y="997"/>
                  </a:lnTo>
                  <a:lnTo>
                    <a:pt x="2166" y="993"/>
                  </a:lnTo>
                  <a:lnTo>
                    <a:pt x="2154" y="997"/>
                  </a:lnTo>
                  <a:lnTo>
                    <a:pt x="2138" y="1002"/>
                  </a:lnTo>
                  <a:lnTo>
                    <a:pt x="2150" y="1021"/>
                  </a:lnTo>
                  <a:lnTo>
                    <a:pt x="2166" y="1014"/>
                  </a:lnTo>
                  <a:lnTo>
                    <a:pt x="2166" y="1030"/>
                  </a:lnTo>
                  <a:lnTo>
                    <a:pt x="2150" y="1037"/>
                  </a:lnTo>
                  <a:lnTo>
                    <a:pt x="2150" y="1047"/>
                  </a:lnTo>
                  <a:lnTo>
                    <a:pt x="2166" y="1037"/>
                  </a:lnTo>
                  <a:lnTo>
                    <a:pt x="2133" y="1113"/>
                  </a:lnTo>
                  <a:lnTo>
                    <a:pt x="2133" y="1104"/>
                  </a:lnTo>
                  <a:lnTo>
                    <a:pt x="2117" y="1092"/>
                  </a:lnTo>
                  <a:lnTo>
                    <a:pt x="2128" y="1087"/>
                  </a:lnTo>
                  <a:lnTo>
                    <a:pt x="2128" y="1071"/>
                  </a:lnTo>
                  <a:lnTo>
                    <a:pt x="2103" y="1104"/>
                  </a:lnTo>
                  <a:lnTo>
                    <a:pt x="2103" y="1104"/>
                  </a:lnTo>
                  <a:lnTo>
                    <a:pt x="2103" y="1104"/>
                  </a:lnTo>
                  <a:close/>
                  <a:moveTo>
                    <a:pt x="359" y="293"/>
                  </a:moveTo>
                  <a:lnTo>
                    <a:pt x="333" y="260"/>
                  </a:lnTo>
                  <a:lnTo>
                    <a:pt x="333" y="256"/>
                  </a:lnTo>
                  <a:lnTo>
                    <a:pt x="345" y="260"/>
                  </a:lnTo>
                  <a:lnTo>
                    <a:pt x="345" y="265"/>
                  </a:lnTo>
                  <a:lnTo>
                    <a:pt x="359" y="277"/>
                  </a:lnTo>
                  <a:lnTo>
                    <a:pt x="359" y="293"/>
                  </a:lnTo>
                  <a:lnTo>
                    <a:pt x="359" y="293"/>
                  </a:lnTo>
                  <a:lnTo>
                    <a:pt x="359" y="293"/>
                  </a:lnTo>
                  <a:close/>
                  <a:moveTo>
                    <a:pt x="425" y="315"/>
                  </a:moveTo>
                  <a:lnTo>
                    <a:pt x="409" y="310"/>
                  </a:lnTo>
                  <a:lnTo>
                    <a:pt x="414" y="282"/>
                  </a:lnTo>
                  <a:lnTo>
                    <a:pt x="425" y="277"/>
                  </a:lnTo>
                  <a:lnTo>
                    <a:pt x="430" y="298"/>
                  </a:lnTo>
                  <a:lnTo>
                    <a:pt x="425" y="315"/>
                  </a:lnTo>
                  <a:lnTo>
                    <a:pt x="425" y="315"/>
                  </a:lnTo>
                  <a:lnTo>
                    <a:pt x="425" y="315"/>
                  </a:lnTo>
                  <a:close/>
                  <a:moveTo>
                    <a:pt x="0" y="298"/>
                  </a:moveTo>
                  <a:lnTo>
                    <a:pt x="0" y="282"/>
                  </a:lnTo>
                  <a:lnTo>
                    <a:pt x="0" y="282"/>
                  </a:lnTo>
                  <a:lnTo>
                    <a:pt x="10" y="293"/>
                  </a:lnTo>
                  <a:lnTo>
                    <a:pt x="0" y="298"/>
                  </a:lnTo>
                  <a:lnTo>
                    <a:pt x="0" y="298"/>
                  </a:lnTo>
                  <a:lnTo>
                    <a:pt x="0" y="298"/>
                  </a:lnTo>
                  <a:close/>
                  <a:moveTo>
                    <a:pt x="225" y="371"/>
                  </a:moveTo>
                  <a:lnTo>
                    <a:pt x="215" y="367"/>
                  </a:lnTo>
                  <a:lnTo>
                    <a:pt x="215" y="350"/>
                  </a:lnTo>
                  <a:lnTo>
                    <a:pt x="225" y="367"/>
                  </a:lnTo>
                  <a:lnTo>
                    <a:pt x="225" y="371"/>
                  </a:lnTo>
                  <a:lnTo>
                    <a:pt x="225" y="371"/>
                  </a:lnTo>
                  <a:lnTo>
                    <a:pt x="225" y="371"/>
                  </a:lnTo>
                  <a:close/>
                  <a:moveTo>
                    <a:pt x="501" y="544"/>
                  </a:moveTo>
                  <a:lnTo>
                    <a:pt x="501" y="532"/>
                  </a:lnTo>
                  <a:lnTo>
                    <a:pt x="510" y="520"/>
                  </a:lnTo>
                  <a:lnTo>
                    <a:pt x="501" y="544"/>
                  </a:lnTo>
                  <a:lnTo>
                    <a:pt x="501" y="544"/>
                  </a:lnTo>
                  <a:lnTo>
                    <a:pt x="501" y="544"/>
                  </a:lnTo>
                  <a:close/>
                  <a:moveTo>
                    <a:pt x="442" y="586"/>
                  </a:moveTo>
                  <a:lnTo>
                    <a:pt x="430" y="615"/>
                  </a:lnTo>
                  <a:lnTo>
                    <a:pt x="442" y="643"/>
                  </a:lnTo>
                  <a:lnTo>
                    <a:pt x="430" y="615"/>
                  </a:lnTo>
                  <a:lnTo>
                    <a:pt x="442" y="586"/>
                  </a:lnTo>
                  <a:lnTo>
                    <a:pt x="442" y="586"/>
                  </a:lnTo>
                  <a:lnTo>
                    <a:pt x="442" y="586"/>
                  </a:lnTo>
                  <a:close/>
                  <a:moveTo>
                    <a:pt x="539" y="598"/>
                  </a:moveTo>
                  <a:lnTo>
                    <a:pt x="548" y="598"/>
                  </a:lnTo>
                  <a:lnTo>
                    <a:pt x="548" y="615"/>
                  </a:lnTo>
                  <a:lnTo>
                    <a:pt x="539" y="610"/>
                  </a:lnTo>
                  <a:lnTo>
                    <a:pt x="539" y="598"/>
                  </a:lnTo>
                  <a:lnTo>
                    <a:pt x="539" y="598"/>
                  </a:lnTo>
                  <a:lnTo>
                    <a:pt x="539" y="598"/>
                  </a:lnTo>
                  <a:close/>
                  <a:moveTo>
                    <a:pt x="463" y="655"/>
                  </a:moveTo>
                  <a:lnTo>
                    <a:pt x="447" y="643"/>
                  </a:lnTo>
                  <a:lnTo>
                    <a:pt x="458" y="643"/>
                  </a:lnTo>
                  <a:lnTo>
                    <a:pt x="463" y="655"/>
                  </a:lnTo>
                  <a:lnTo>
                    <a:pt x="463" y="655"/>
                  </a:lnTo>
                  <a:lnTo>
                    <a:pt x="463" y="655"/>
                  </a:lnTo>
                  <a:close/>
                  <a:moveTo>
                    <a:pt x="825" y="870"/>
                  </a:moveTo>
                  <a:lnTo>
                    <a:pt x="817" y="853"/>
                  </a:lnTo>
                  <a:lnTo>
                    <a:pt x="834" y="853"/>
                  </a:lnTo>
                  <a:lnTo>
                    <a:pt x="834" y="870"/>
                  </a:lnTo>
                  <a:lnTo>
                    <a:pt x="825" y="870"/>
                  </a:lnTo>
                  <a:lnTo>
                    <a:pt x="825" y="870"/>
                  </a:lnTo>
                  <a:lnTo>
                    <a:pt x="825" y="870"/>
                  </a:lnTo>
                  <a:close/>
                  <a:moveTo>
                    <a:pt x="841" y="882"/>
                  </a:moveTo>
                  <a:lnTo>
                    <a:pt x="834" y="882"/>
                  </a:lnTo>
                  <a:lnTo>
                    <a:pt x="841" y="870"/>
                  </a:lnTo>
                  <a:lnTo>
                    <a:pt x="841" y="882"/>
                  </a:lnTo>
                  <a:lnTo>
                    <a:pt x="841" y="882"/>
                  </a:lnTo>
                  <a:lnTo>
                    <a:pt x="841" y="882"/>
                  </a:lnTo>
                  <a:close/>
                  <a:moveTo>
                    <a:pt x="855" y="886"/>
                  </a:moveTo>
                  <a:lnTo>
                    <a:pt x="846" y="886"/>
                  </a:lnTo>
                  <a:lnTo>
                    <a:pt x="855" y="886"/>
                  </a:lnTo>
                  <a:lnTo>
                    <a:pt x="855" y="886"/>
                  </a:lnTo>
                  <a:lnTo>
                    <a:pt x="855" y="886"/>
                  </a:lnTo>
                  <a:lnTo>
                    <a:pt x="855" y="886"/>
                  </a:lnTo>
                  <a:close/>
                  <a:moveTo>
                    <a:pt x="2192" y="964"/>
                  </a:moveTo>
                  <a:lnTo>
                    <a:pt x="2204" y="943"/>
                  </a:lnTo>
                  <a:lnTo>
                    <a:pt x="2209" y="943"/>
                  </a:lnTo>
                  <a:lnTo>
                    <a:pt x="2192" y="964"/>
                  </a:lnTo>
                  <a:lnTo>
                    <a:pt x="2192" y="964"/>
                  </a:lnTo>
                  <a:lnTo>
                    <a:pt x="2192" y="964"/>
                  </a:lnTo>
                  <a:close/>
                  <a:moveTo>
                    <a:pt x="517" y="1075"/>
                  </a:moveTo>
                  <a:lnTo>
                    <a:pt x="510" y="1075"/>
                  </a:lnTo>
                  <a:lnTo>
                    <a:pt x="517" y="1071"/>
                  </a:lnTo>
                  <a:lnTo>
                    <a:pt x="522" y="1075"/>
                  </a:lnTo>
                  <a:lnTo>
                    <a:pt x="517" y="1075"/>
                  </a:lnTo>
                  <a:lnTo>
                    <a:pt x="517" y="1075"/>
                  </a:lnTo>
                  <a:lnTo>
                    <a:pt x="517" y="1075"/>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4" name="Freeform 515">
              <a:extLst>
                <a:ext uri="{FF2B5EF4-FFF2-40B4-BE49-F238E27FC236}">
                  <a16:creationId xmlns:a16="http://schemas.microsoft.com/office/drawing/2014/main" id="{209D978F-837F-4FAD-9AC9-87DA933C6D07}"/>
                </a:ext>
              </a:extLst>
            </p:cNvPr>
            <p:cNvSpPr>
              <a:spLocks noEditPoints="1"/>
            </p:cNvSpPr>
            <p:nvPr/>
          </p:nvSpPr>
          <p:spPr bwMode="gray">
            <a:xfrm>
              <a:off x="16031314" y="3942248"/>
              <a:ext cx="450687" cy="152848"/>
            </a:xfrm>
            <a:custGeom>
              <a:avLst/>
              <a:gdLst>
                <a:gd name="T0" fmla="*/ 1205 w 1377"/>
                <a:gd name="T1" fmla="*/ 4 h 467"/>
                <a:gd name="T2" fmla="*/ 1238 w 1377"/>
                <a:gd name="T3" fmla="*/ 0 h 467"/>
                <a:gd name="T4" fmla="*/ 1233 w 1377"/>
                <a:gd name="T5" fmla="*/ 0 h 467"/>
                <a:gd name="T6" fmla="*/ 1184 w 1377"/>
                <a:gd name="T7" fmla="*/ 222 h 467"/>
                <a:gd name="T8" fmla="*/ 1125 w 1377"/>
                <a:gd name="T9" fmla="*/ 226 h 467"/>
                <a:gd name="T10" fmla="*/ 1099 w 1377"/>
                <a:gd name="T11" fmla="*/ 304 h 467"/>
                <a:gd name="T12" fmla="*/ 1070 w 1377"/>
                <a:gd name="T13" fmla="*/ 361 h 467"/>
                <a:gd name="T14" fmla="*/ 1037 w 1377"/>
                <a:gd name="T15" fmla="*/ 415 h 467"/>
                <a:gd name="T16" fmla="*/ 936 w 1377"/>
                <a:gd name="T17" fmla="*/ 411 h 467"/>
                <a:gd name="T18" fmla="*/ 865 w 1377"/>
                <a:gd name="T19" fmla="*/ 444 h 467"/>
                <a:gd name="T20" fmla="*/ 704 w 1377"/>
                <a:gd name="T21" fmla="*/ 411 h 467"/>
                <a:gd name="T22" fmla="*/ 718 w 1377"/>
                <a:gd name="T23" fmla="*/ 406 h 467"/>
                <a:gd name="T24" fmla="*/ 784 w 1377"/>
                <a:gd name="T25" fmla="*/ 415 h 467"/>
                <a:gd name="T26" fmla="*/ 827 w 1377"/>
                <a:gd name="T27" fmla="*/ 427 h 467"/>
                <a:gd name="T28" fmla="*/ 822 w 1377"/>
                <a:gd name="T29" fmla="*/ 373 h 467"/>
                <a:gd name="T30" fmla="*/ 827 w 1377"/>
                <a:gd name="T31" fmla="*/ 333 h 467"/>
                <a:gd name="T32" fmla="*/ 1006 w 1377"/>
                <a:gd name="T33" fmla="*/ 193 h 467"/>
                <a:gd name="T34" fmla="*/ 1070 w 1377"/>
                <a:gd name="T35" fmla="*/ 226 h 467"/>
                <a:gd name="T36" fmla="*/ 1082 w 1377"/>
                <a:gd name="T37" fmla="*/ 181 h 467"/>
                <a:gd name="T38" fmla="*/ 1091 w 1377"/>
                <a:gd name="T39" fmla="*/ 172 h 467"/>
                <a:gd name="T40" fmla="*/ 1108 w 1377"/>
                <a:gd name="T41" fmla="*/ 139 h 467"/>
                <a:gd name="T42" fmla="*/ 1151 w 1377"/>
                <a:gd name="T43" fmla="*/ 99 h 467"/>
                <a:gd name="T44" fmla="*/ 1205 w 1377"/>
                <a:gd name="T45" fmla="*/ 25 h 467"/>
                <a:gd name="T46" fmla="*/ 1238 w 1377"/>
                <a:gd name="T47" fmla="*/ 44 h 467"/>
                <a:gd name="T48" fmla="*/ 1259 w 1377"/>
                <a:gd name="T49" fmla="*/ 77 h 467"/>
                <a:gd name="T50" fmla="*/ 1292 w 1377"/>
                <a:gd name="T51" fmla="*/ 82 h 467"/>
                <a:gd name="T52" fmla="*/ 1314 w 1377"/>
                <a:gd name="T53" fmla="*/ 111 h 467"/>
                <a:gd name="T54" fmla="*/ 1377 w 1377"/>
                <a:gd name="T55" fmla="*/ 155 h 467"/>
                <a:gd name="T56" fmla="*/ 1297 w 1377"/>
                <a:gd name="T57" fmla="*/ 172 h 467"/>
                <a:gd name="T58" fmla="*/ 1330 w 1377"/>
                <a:gd name="T59" fmla="*/ 205 h 467"/>
                <a:gd name="T60" fmla="*/ 1271 w 1377"/>
                <a:gd name="T61" fmla="*/ 210 h 467"/>
                <a:gd name="T62" fmla="*/ 1243 w 1377"/>
                <a:gd name="T63" fmla="*/ 44 h 467"/>
                <a:gd name="T64" fmla="*/ 1243 w 1377"/>
                <a:gd name="T65" fmla="*/ 44 h 467"/>
                <a:gd name="T66" fmla="*/ 38 w 1377"/>
                <a:gd name="T67" fmla="*/ 44 h 467"/>
                <a:gd name="T68" fmla="*/ 83 w 1377"/>
                <a:gd name="T69" fmla="*/ 54 h 467"/>
                <a:gd name="T70" fmla="*/ 92 w 1377"/>
                <a:gd name="T71" fmla="*/ 111 h 467"/>
                <a:gd name="T72" fmla="*/ 158 w 1377"/>
                <a:gd name="T73" fmla="*/ 111 h 467"/>
                <a:gd name="T74" fmla="*/ 243 w 1377"/>
                <a:gd name="T75" fmla="*/ 132 h 467"/>
                <a:gd name="T76" fmla="*/ 272 w 1377"/>
                <a:gd name="T77" fmla="*/ 278 h 467"/>
                <a:gd name="T78" fmla="*/ 326 w 1377"/>
                <a:gd name="T79" fmla="*/ 406 h 467"/>
                <a:gd name="T80" fmla="*/ 303 w 1377"/>
                <a:gd name="T81" fmla="*/ 427 h 467"/>
                <a:gd name="T82" fmla="*/ 217 w 1377"/>
                <a:gd name="T83" fmla="*/ 394 h 467"/>
                <a:gd name="T84" fmla="*/ 121 w 1377"/>
                <a:gd name="T85" fmla="*/ 321 h 467"/>
                <a:gd name="T86" fmla="*/ 83 w 1377"/>
                <a:gd name="T87" fmla="*/ 250 h 467"/>
                <a:gd name="T88" fmla="*/ 88 w 1377"/>
                <a:gd name="T89" fmla="*/ 238 h 467"/>
                <a:gd name="T90" fmla="*/ 54 w 1377"/>
                <a:gd name="T91" fmla="*/ 148 h 467"/>
                <a:gd name="T92" fmla="*/ 33 w 1377"/>
                <a:gd name="T93" fmla="*/ 61 h 467"/>
                <a:gd name="T94" fmla="*/ 0 w 1377"/>
                <a:gd name="T95" fmla="*/ 61 h 467"/>
                <a:gd name="T96" fmla="*/ 50 w 1377"/>
                <a:gd name="T97" fmla="*/ 132 h 467"/>
                <a:gd name="T98" fmla="*/ 50 w 1377"/>
                <a:gd name="T99" fmla="*/ 132 h 467"/>
                <a:gd name="T100" fmla="*/ 1099 w 1377"/>
                <a:gd name="T101" fmla="*/ 139 h 467"/>
                <a:gd name="T102" fmla="*/ 1091 w 1377"/>
                <a:gd name="T103" fmla="*/ 148 h 467"/>
                <a:gd name="T104" fmla="*/ 1288 w 1377"/>
                <a:gd name="T105" fmla="*/ 226 h 467"/>
                <a:gd name="T106" fmla="*/ 822 w 1377"/>
                <a:gd name="T107" fmla="*/ 321 h 467"/>
                <a:gd name="T108" fmla="*/ 822 w 1377"/>
                <a:gd name="T109" fmla="*/ 349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77" h="467">
                  <a:moveTo>
                    <a:pt x="1205" y="4"/>
                  </a:moveTo>
                  <a:lnTo>
                    <a:pt x="1221" y="0"/>
                  </a:lnTo>
                  <a:lnTo>
                    <a:pt x="1221" y="0"/>
                  </a:lnTo>
                  <a:lnTo>
                    <a:pt x="1205" y="4"/>
                  </a:lnTo>
                  <a:lnTo>
                    <a:pt x="1205" y="4"/>
                  </a:lnTo>
                  <a:lnTo>
                    <a:pt x="1205" y="4"/>
                  </a:lnTo>
                  <a:close/>
                  <a:moveTo>
                    <a:pt x="1233" y="0"/>
                  </a:moveTo>
                  <a:lnTo>
                    <a:pt x="1238" y="0"/>
                  </a:lnTo>
                  <a:lnTo>
                    <a:pt x="1238" y="4"/>
                  </a:lnTo>
                  <a:lnTo>
                    <a:pt x="1221" y="16"/>
                  </a:lnTo>
                  <a:lnTo>
                    <a:pt x="1233" y="0"/>
                  </a:lnTo>
                  <a:lnTo>
                    <a:pt x="1233" y="0"/>
                  </a:lnTo>
                  <a:lnTo>
                    <a:pt x="1233" y="0"/>
                  </a:lnTo>
                  <a:close/>
                  <a:moveTo>
                    <a:pt x="1259" y="226"/>
                  </a:moveTo>
                  <a:lnTo>
                    <a:pt x="1238" y="210"/>
                  </a:lnTo>
                  <a:lnTo>
                    <a:pt x="1184" y="222"/>
                  </a:lnTo>
                  <a:lnTo>
                    <a:pt x="1162" y="210"/>
                  </a:lnTo>
                  <a:lnTo>
                    <a:pt x="1151" y="222"/>
                  </a:lnTo>
                  <a:lnTo>
                    <a:pt x="1136" y="210"/>
                  </a:lnTo>
                  <a:lnTo>
                    <a:pt x="1125" y="226"/>
                  </a:lnTo>
                  <a:lnTo>
                    <a:pt x="1125" y="259"/>
                  </a:lnTo>
                  <a:lnTo>
                    <a:pt x="1125" y="278"/>
                  </a:lnTo>
                  <a:lnTo>
                    <a:pt x="1113" y="304"/>
                  </a:lnTo>
                  <a:lnTo>
                    <a:pt x="1099" y="304"/>
                  </a:lnTo>
                  <a:lnTo>
                    <a:pt x="1091" y="316"/>
                  </a:lnTo>
                  <a:lnTo>
                    <a:pt x="1082" y="337"/>
                  </a:lnTo>
                  <a:lnTo>
                    <a:pt x="1099" y="349"/>
                  </a:lnTo>
                  <a:lnTo>
                    <a:pt x="1070" y="361"/>
                  </a:lnTo>
                  <a:lnTo>
                    <a:pt x="1070" y="389"/>
                  </a:lnTo>
                  <a:lnTo>
                    <a:pt x="1061" y="406"/>
                  </a:lnTo>
                  <a:lnTo>
                    <a:pt x="1054" y="427"/>
                  </a:lnTo>
                  <a:lnTo>
                    <a:pt x="1037" y="415"/>
                  </a:lnTo>
                  <a:lnTo>
                    <a:pt x="1006" y="415"/>
                  </a:lnTo>
                  <a:lnTo>
                    <a:pt x="985" y="434"/>
                  </a:lnTo>
                  <a:lnTo>
                    <a:pt x="947" y="427"/>
                  </a:lnTo>
                  <a:lnTo>
                    <a:pt x="936" y="411"/>
                  </a:lnTo>
                  <a:lnTo>
                    <a:pt x="898" y="411"/>
                  </a:lnTo>
                  <a:lnTo>
                    <a:pt x="881" y="415"/>
                  </a:lnTo>
                  <a:lnTo>
                    <a:pt x="877" y="444"/>
                  </a:lnTo>
                  <a:lnTo>
                    <a:pt x="865" y="444"/>
                  </a:lnTo>
                  <a:lnTo>
                    <a:pt x="860" y="460"/>
                  </a:lnTo>
                  <a:lnTo>
                    <a:pt x="810" y="451"/>
                  </a:lnTo>
                  <a:lnTo>
                    <a:pt x="768" y="467"/>
                  </a:lnTo>
                  <a:lnTo>
                    <a:pt x="704" y="411"/>
                  </a:lnTo>
                  <a:lnTo>
                    <a:pt x="697" y="389"/>
                  </a:lnTo>
                  <a:lnTo>
                    <a:pt x="704" y="377"/>
                  </a:lnTo>
                  <a:lnTo>
                    <a:pt x="704" y="389"/>
                  </a:lnTo>
                  <a:lnTo>
                    <a:pt x="718" y="406"/>
                  </a:lnTo>
                  <a:lnTo>
                    <a:pt x="747" y="406"/>
                  </a:lnTo>
                  <a:lnTo>
                    <a:pt x="751" y="394"/>
                  </a:lnTo>
                  <a:lnTo>
                    <a:pt x="758" y="411"/>
                  </a:lnTo>
                  <a:lnTo>
                    <a:pt x="784" y="415"/>
                  </a:lnTo>
                  <a:lnTo>
                    <a:pt x="773" y="415"/>
                  </a:lnTo>
                  <a:lnTo>
                    <a:pt x="784" y="411"/>
                  </a:lnTo>
                  <a:lnTo>
                    <a:pt x="810" y="427"/>
                  </a:lnTo>
                  <a:lnTo>
                    <a:pt x="827" y="427"/>
                  </a:lnTo>
                  <a:lnTo>
                    <a:pt x="806" y="415"/>
                  </a:lnTo>
                  <a:lnTo>
                    <a:pt x="801" y="411"/>
                  </a:lnTo>
                  <a:lnTo>
                    <a:pt x="810" y="377"/>
                  </a:lnTo>
                  <a:lnTo>
                    <a:pt x="822" y="373"/>
                  </a:lnTo>
                  <a:lnTo>
                    <a:pt x="810" y="373"/>
                  </a:lnTo>
                  <a:lnTo>
                    <a:pt x="810" y="356"/>
                  </a:lnTo>
                  <a:lnTo>
                    <a:pt x="827" y="356"/>
                  </a:lnTo>
                  <a:lnTo>
                    <a:pt x="827" y="333"/>
                  </a:lnTo>
                  <a:lnTo>
                    <a:pt x="843" y="321"/>
                  </a:lnTo>
                  <a:lnTo>
                    <a:pt x="936" y="300"/>
                  </a:lnTo>
                  <a:lnTo>
                    <a:pt x="1006" y="222"/>
                  </a:lnTo>
                  <a:lnTo>
                    <a:pt x="1006" y="193"/>
                  </a:lnTo>
                  <a:lnTo>
                    <a:pt x="1016" y="193"/>
                  </a:lnTo>
                  <a:lnTo>
                    <a:pt x="1028" y="193"/>
                  </a:lnTo>
                  <a:lnTo>
                    <a:pt x="1054" y="238"/>
                  </a:lnTo>
                  <a:lnTo>
                    <a:pt x="1070" y="226"/>
                  </a:lnTo>
                  <a:lnTo>
                    <a:pt x="1070" y="210"/>
                  </a:lnTo>
                  <a:lnTo>
                    <a:pt x="1070" y="188"/>
                  </a:lnTo>
                  <a:lnTo>
                    <a:pt x="1082" y="172"/>
                  </a:lnTo>
                  <a:lnTo>
                    <a:pt x="1082" y="181"/>
                  </a:lnTo>
                  <a:lnTo>
                    <a:pt x="1082" y="210"/>
                  </a:lnTo>
                  <a:lnTo>
                    <a:pt x="1108" y="210"/>
                  </a:lnTo>
                  <a:lnTo>
                    <a:pt x="1091" y="172"/>
                  </a:lnTo>
                  <a:lnTo>
                    <a:pt x="1091" y="172"/>
                  </a:lnTo>
                  <a:lnTo>
                    <a:pt x="1108" y="172"/>
                  </a:lnTo>
                  <a:lnTo>
                    <a:pt x="1113" y="165"/>
                  </a:lnTo>
                  <a:lnTo>
                    <a:pt x="1125" y="148"/>
                  </a:lnTo>
                  <a:lnTo>
                    <a:pt x="1108" y="139"/>
                  </a:lnTo>
                  <a:lnTo>
                    <a:pt x="1108" y="132"/>
                  </a:lnTo>
                  <a:lnTo>
                    <a:pt x="1113" y="127"/>
                  </a:lnTo>
                  <a:lnTo>
                    <a:pt x="1136" y="127"/>
                  </a:lnTo>
                  <a:lnTo>
                    <a:pt x="1151" y="99"/>
                  </a:lnTo>
                  <a:lnTo>
                    <a:pt x="1162" y="82"/>
                  </a:lnTo>
                  <a:lnTo>
                    <a:pt x="1184" y="61"/>
                  </a:lnTo>
                  <a:lnTo>
                    <a:pt x="1200" y="21"/>
                  </a:lnTo>
                  <a:lnTo>
                    <a:pt x="1205" y="25"/>
                  </a:lnTo>
                  <a:lnTo>
                    <a:pt x="1205" y="54"/>
                  </a:lnTo>
                  <a:lnTo>
                    <a:pt x="1233" y="21"/>
                  </a:lnTo>
                  <a:lnTo>
                    <a:pt x="1238" y="21"/>
                  </a:lnTo>
                  <a:lnTo>
                    <a:pt x="1238" y="44"/>
                  </a:lnTo>
                  <a:lnTo>
                    <a:pt x="1271" y="54"/>
                  </a:lnTo>
                  <a:lnTo>
                    <a:pt x="1271" y="61"/>
                  </a:lnTo>
                  <a:lnTo>
                    <a:pt x="1271" y="77"/>
                  </a:lnTo>
                  <a:lnTo>
                    <a:pt x="1259" y="77"/>
                  </a:lnTo>
                  <a:lnTo>
                    <a:pt x="1271" y="94"/>
                  </a:lnTo>
                  <a:lnTo>
                    <a:pt x="1254" y="99"/>
                  </a:lnTo>
                  <a:lnTo>
                    <a:pt x="1276" y="99"/>
                  </a:lnTo>
                  <a:lnTo>
                    <a:pt x="1292" y="82"/>
                  </a:lnTo>
                  <a:lnTo>
                    <a:pt x="1297" y="99"/>
                  </a:lnTo>
                  <a:lnTo>
                    <a:pt x="1288" y="111"/>
                  </a:lnTo>
                  <a:lnTo>
                    <a:pt x="1288" y="115"/>
                  </a:lnTo>
                  <a:lnTo>
                    <a:pt x="1314" y="111"/>
                  </a:lnTo>
                  <a:lnTo>
                    <a:pt x="1351" y="132"/>
                  </a:lnTo>
                  <a:lnTo>
                    <a:pt x="1377" y="132"/>
                  </a:lnTo>
                  <a:lnTo>
                    <a:pt x="1377" y="139"/>
                  </a:lnTo>
                  <a:lnTo>
                    <a:pt x="1377" y="155"/>
                  </a:lnTo>
                  <a:lnTo>
                    <a:pt x="1363" y="155"/>
                  </a:lnTo>
                  <a:lnTo>
                    <a:pt x="1340" y="172"/>
                  </a:lnTo>
                  <a:lnTo>
                    <a:pt x="1314" y="165"/>
                  </a:lnTo>
                  <a:lnTo>
                    <a:pt x="1297" y="172"/>
                  </a:lnTo>
                  <a:lnTo>
                    <a:pt x="1309" y="188"/>
                  </a:lnTo>
                  <a:lnTo>
                    <a:pt x="1325" y="193"/>
                  </a:lnTo>
                  <a:lnTo>
                    <a:pt x="1325" y="205"/>
                  </a:lnTo>
                  <a:lnTo>
                    <a:pt x="1330" y="205"/>
                  </a:lnTo>
                  <a:lnTo>
                    <a:pt x="1340" y="205"/>
                  </a:lnTo>
                  <a:lnTo>
                    <a:pt x="1330" y="210"/>
                  </a:lnTo>
                  <a:lnTo>
                    <a:pt x="1292" y="222"/>
                  </a:lnTo>
                  <a:lnTo>
                    <a:pt x="1271" y="210"/>
                  </a:lnTo>
                  <a:lnTo>
                    <a:pt x="1259" y="226"/>
                  </a:lnTo>
                  <a:lnTo>
                    <a:pt x="1259" y="226"/>
                  </a:lnTo>
                  <a:lnTo>
                    <a:pt x="1259" y="226"/>
                  </a:lnTo>
                  <a:close/>
                  <a:moveTo>
                    <a:pt x="1243" y="44"/>
                  </a:moveTo>
                  <a:lnTo>
                    <a:pt x="1254" y="37"/>
                  </a:lnTo>
                  <a:lnTo>
                    <a:pt x="1254" y="44"/>
                  </a:lnTo>
                  <a:lnTo>
                    <a:pt x="1254" y="44"/>
                  </a:lnTo>
                  <a:lnTo>
                    <a:pt x="1243" y="44"/>
                  </a:lnTo>
                  <a:lnTo>
                    <a:pt x="1243" y="44"/>
                  </a:lnTo>
                  <a:lnTo>
                    <a:pt x="1243" y="44"/>
                  </a:lnTo>
                  <a:close/>
                  <a:moveTo>
                    <a:pt x="33" y="61"/>
                  </a:moveTo>
                  <a:lnTo>
                    <a:pt x="38" y="44"/>
                  </a:lnTo>
                  <a:lnTo>
                    <a:pt x="50" y="44"/>
                  </a:lnTo>
                  <a:lnTo>
                    <a:pt x="54" y="54"/>
                  </a:lnTo>
                  <a:lnTo>
                    <a:pt x="71" y="61"/>
                  </a:lnTo>
                  <a:lnTo>
                    <a:pt x="83" y="54"/>
                  </a:lnTo>
                  <a:lnTo>
                    <a:pt x="88" y="77"/>
                  </a:lnTo>
                  <a:lnTo>
                    <a:pt x="104" y="77"/>
                  </a:lnTo>
                  <a:lnTo>
                    <a:pt x="104" y="94"/>
                  </a:lnTo>
                  <a:lnTo>
                    <a:pt x="92" y="111"/>
                  </a:lnTo>
                  <a:lnTo>
                    <a:pt x="104" y="115"/>
                  </a:lnTo>
                  <a:lnTo>
                    <a:pt x="137" y="99"/>
                  </a:lnTo>
                  <a:lnTo>
                    <a:pt x="142" y="111"/>
                  </a:lnTo>
                  <a:lnTo>
                    <a:pt x="158" y="111"/>
                  </a:lnTo>
                  <a:lnTo>
                    <a:pt x="175" y="77"/>
                  </a:lnTo>
                  <a:lnTo>
                    <a:pt x="189" y="77"/>
                  </a:lnTo>
                  <a:lnTo>
                    <a:pt x="201" y="99"/>
                  </a:lnTo>
                  <a:lnTo>
                    <a:pt x="243" y="132"/>
                  </a:lnTo>
                  <a:lnTo>
                    <a:pt x="265" y="172"/>
                  </a:lnTo>
                  <a:lnTo>
                    <a:pt x="272" y="210"/>
                  </a:lnTo>
                  <a:lnTo>
                    <a:pt x="255" y="259"/>
                  </a:lnTo>
                  <a:lnTo>
                    <a:pt x="272" y="278"/>
                  </a:lnTo>
                  <a:lnTo>
                    <a:pt x="265" y="316"/>
                  </a:lnTo>
                  <a:lnTo>
                    <a:pt x="281" y="333"/>
                  </a:lnTo>
                  <a:lnTo>
                    <a:pt x="298" y="337"/>
                  </a:lnTo>
                  <a:lnTo>
                    <a:pt x="326" y="406"/>
                  </a:lnTo>
                  <a:lnTo>
                    <a:pt x="326" y="427"/>
                  </a:lnTo>
                  <a:lnTo>
                    <a:pt x="310" y="427"/>
                  </a:lnTo>
                  <a:lnTo>
                    <a:pt x="303" y="411"/>
                  </a:lnTo>
                  <a:lnTo>
                    <a:pt x="303" y="427"/>
                  </a:lnTo>
                  <a:lnTo>
                    <a:pt x="288" y="415"/>
                  </a:lnTo>
                  <a:lnTo>
                    <a:pt x="272" y="434"/>
                  </a:lnTo>
                  <a:lnTo>
                    <a:pt x="265" y="415"/>
                  </a:lnTo>
                  <a:lnTo>
                    <a:pt x="217" y="394"/>
                  </a:lnTo>
                  <a:lnTo>
                    <a:pt x="201" y="377"/>
                  </a:lnTo>
                  <a:lnTo>
                    <a:pt x="180" y="361"/>
                  </a:lnTo>
                  <a:lnTo>
                    <a:pt x="147" y="337"/>
                  </a:lnTo>
                  <a:lnTo>
                    <a:pt x="121" y="321"/>
                  </a:lnTo>
                  <a:lnTo>
                    <a:pt x="125" y="304"/>
                  </a:lnTo>
                  <a:lnTo>
                    <a:pt x="121" y="295"/>
                  </a:lnTo>
                  <a:lnTo>
                    <a:pt x="92" y="266"/>
                  </a:lnTo>
                  <a:lnTo>
                    <a:pt x="83" y="250"/>
                  </a:lnTo>
                  <a:lnTo>
                    <a:pt x="88" y="250"/>
                  </a:lnTo>
                  <a:lnTo>
                    <a:pt x="71" y="243"/>
                  </a:lnTo>
                  <a:lnTo>
                    <a:pt x="83" y="238"/>
                  </a:lnTo>
                  <a:lnTo>
                    <a:pt x="88" y="238"/>
                  </a:lnTo>
                  <a:lnTo>
                    <a:pt x="71" y="226"/>
                  </a:lnTo>
                  <a:lnTo>
                    <a:pt x="71" y="181"/>
                  </a:lnTo>
                  <a:lnTo>
                    <a:pt x="50" y="155"/>
                  </a:lnTo>
                  <a:lnTo>
                    <a:pt x="54" y="148"/>
                  </a:lnTo>
                  <a:lnTo>
                    <a:pt x="50" y="94"/>
                  </a:lnTo>
                  <a:lnTo>
                    <a:pt x="33" y="61"/>
                  </a:lnTo>
                  <a:lnTo>
                    <a:pt x="33" y="61"/>
                  </a:lnTo>
                  <a:lnTo>
                    <a:pt x="33" y="61"/>
                  </a:lnTo>
                  <a:close/>
                  <a:moveTo>
                    <a:pt x="17" y="61"/>
                  </a:moveTo>
                  <a:lnTo>
                    <a:pt x="17" y="70"/>
                  </a:lnTo>
                  <a:lnTo>
                    <a:pt x="12" y="77"/>
                  </a:lnTo>
                  <a:lnTo>
                    <a:pt x="0" y="61"/>
                  </a:lnTo>
                  <a:lnTo>
                    <a:pt x="17" y="61"/>
                  </a:lnTo>
                  <a:lnTo>
                    <a:pt x="17" y="61"/>
                  </a:lnTo>
                  <a:lnTo>
                    <a:pt x="17" y="61"/>
                  </a:lnTo>
                  <a:close/>
                  <a:moveTo>
                    <a:pt x="50" y="132"/>
                  </a:moveTo>
                  <a:lnTo>
                    <a:pt x="50" y="148"/>
                  </a:lnTo>
                  <a:lnTo>
                    <a:pt x="38" y="148"/>
                  </a:lnTo>
                  <a:lnTo>
                    <a:pt x="38" y="132"/>
                  </a:lnTo>
                  <a:lnTo>
                    <a:pt x="50" y="132"/>
                  </a:lnTo>
                  <a:lnTo>
                    <a:pt x="50" y="132"/>
                  </a:lnTo>
                  <a:lnTo>
                    <a:pt x="50" y="132"/>
                  </a:lnTo>
                  <a:close/>
                  <a:moveTo>
                    <a:pt x="1091" y="148"/>
                  </a:moveTo>
                  <a:lnTo>
                    <a:pt x="1099" y="139"/>
                  </a:lnTo>
                  <a:lnTo>
                    <a:pt x="1099" y="139"/>
                  </a:lnTo>
                  <a:lnTo>
                    <a:pt x="1091" y="148"/>
                  </a:lnTo>
                  <a:lnTo>
                    <a:pt x="1091" y="148"/>
                  </a:lnTo>
                  <a:lnTo>
                    <a:pt x="1091" y="148"/>
                  </a:lnTo>
                  <a:close/>
                  <a:moveTo>
                    <a:pt x="1288" y="226"/>
                  </a:moveTo>
                  <a:lnTo>
                    <a:pt x="1271" y="226"/>
                  </a:lnTo>
                  <a:lnTo>
                    <a:pt x="1271" y="222"/>
                  </a:lnTo>
                  <a:lnTo>
                    <a:pt x="1288" y="226"/>
                  </a:lnTo>
                  <a:lnTo>
                    <a:pt x="1288" y="226"/>
                  </a:lnTo>
                  <a:lnTo>
                    <a:pt x="1288" y="226"/>
                  </a:lnTo>
                  <a:close/>
                  <a:moveTo>
                    <a:pt x="822" y="349"/>
                  </a:moveTo>
                  <a:lnTo>
                    <a:pt x="822" y="321"/>
                  </a:lnTo>
                  <a:lnTo>
                    <a:pt x="827" y="356"/>
                  </a:lnTo>
                  <a:lnTo>
                    <a:pt x="822" y="349"/>
                  </a:lnTo>
                  <a:lnTo>
                    <a:pt x="822" y="349"/>
                  </a:lnTo>
                  <a:lnTo>
                    <a:pt x="822" y="34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5" name="Freeform 516">
              <a:extLst>
                <a:ext uri="{FF2B5EF4-FFF2-40B4-BE49-F238E27FC236}">
                  <a16:creationId xmlns:a16="http://schemas.microsoft.com/office/drawing/2014/main" id="{E5FE30A0-4B6F-43BE-B4AA-0A1E77BB53C1}"/>
                </a:ext>
              </a:extLst>
            </p:cNvPr>
            <p:cNvSpPr>
              <a:spLocks noEditPoints="1"/>
            </p:cNvSpPr>
            <p:nvPr/>
          </p:nvSpPr>
          <p:spPr bwMode="gray">
            <a:xfrm>
              <a:off x="14438689" y="4361842"/>
              <a:ext cx="243509" cy="401266"/>
            </a:xfrm>
            <a:custGeom>
              <a:avLst/>
              <a:gdLst>
                <a:gd name="T0" fmla="*/ 206 w 744"/>
                <a:gd name="T1" fmla="*/ 260 h 1226"/>
                <a:gd name="T2" fmla="*/ 298 w 744"/>
                <a:gd name="T3" fmla="*/ 305 h 1226"/>
                <a:gd name="T4" fmla="*/ 293 w 744"/>
                <a:gd name="T5" fmla="*/ 414 h 1226"/>
                <a:gd name="T6" fmla="*/ 331 w 744"/>
                <a:gd name="T7" fmla="*/ 470 h 1226"/>
                <a:gd name="T8" fmla="*/ 352 w 744"/>
                <a:gd name="T9" fmla="*/ 491 h 1226"/>
                <a:gd name="T10" fmla="*/ 364 w 744"/>
                <a:gd name="T11" fmla="*/ 414 h 1226"/>
                <a:gd name="T12" fmla="*/ 397 w 744"/>
                <a:gd name="T13" fmla="*/ 364 h 1226"/>
                <a:gd name="T14" fmla="*/ 397 w 744"/>
                <a:gd name="T15" fmla="*/ 310 h 1226"/>
                <a:gd name="T16" fmla="*/ 310 w 744"/>
                <a:gd name="T17" fmla="*/ 220 h 1226"/>
                <a:gd name="T18" fmla="*/ 293 w 744"/>
                <a:gd name="T19" fmla="*/ 128 h 1226"/>
                <a:gd name="T20" fmla="*/ 331 w 744"/>
                <a:gd name="T21" fmla="*/ 83 h 1226"/>
                <a:gd name="T22" fmla="*/ 418 w 744"/>
                <a:gd name="T23" fmla="*/ 83 h 1226"/>
                <a:gd name="T24" fmla="*/ 461 w 744"/>
                <a:gd name="T25" fmla="*/ 83 h 1226"/>
                <a:gd name="T26" fmla="*/ 543 w 744"/>
                <a:gd name="T27" fmla="*/ 66 h 1226"/>
                <a:gd name="T28" fmla="*/ 612 w 744"/>
                <a:gd name="T29" fmla="*/ 54 h 1226"/>
                <a:gd name="T30" fmla="*/ 721 w 744"/>
                <a:gd name="T31" fmla="*/ 0 h 1226"/>
                <a:gd name="T32" fmla="*/ 728 w 744"/>
                <a:gd name="T33" fmla="*/ 33 h 1226"/>
                <a:gd name="T34" fmla="*/ 728 w 744"/>
                <a:gd name="T35" fmla="*/ 38 h 1226"/>
                <a:gd name="T36" fmla="*/ 721 w 744"/>
                <a:gd name="T37" fmla="*/ 88 h 1226"/>
                <a:gd name="T38" fmla="*/ 732 w 744"/>
                <a:gd name="T39" fmla="*/ 166 h 1226"/>
                <a:gd name="T40" fmla="*/ 728 w 744"/>
                <a:gd name="T41" fmla="*/ 182 h 1226"/>
                <a:gd name="T42" fmla="*/ 721 w 744"/>
                <a:gd name="T43" fmla="*/ 272 h 1226"/>
                <a:gd name="T44" fmla="*/ 728 w 744"/>
                <a:gd name="T45" fmla="*/ 293 h 1226"/>
                <a:gd name="T46" fmla="*/ 732 w 744"/>
                <a:gd name="T47" fmla="*/ 343 h 1226"/>
                <a:gd name="T48" fmla="*/ 728 w 744"/>
                <a:gd name="T49" fmla="*/ 364 h 1226"/>
                <a:gd name="T50" fmla="*/ 673 w 744"/>
                <a:gd name="T51" fmla="*/ 425 h 1226"/>
                <a:gd name="T52" fmla="*/ 624 w 744"/>
                <a:gd name="T53" fmla="*/ 470 h 1226"/>
                <a:gd name="T54" fmla="*/ 489 w 744"/>
                <a:gd name="T55" fmla="*/ 536 h 1226"/>
                <a:gd name="T56" fmla="*/ 473 w 744"/>
                <a:gd name="T57" fmla="*/ 565 h 1226"/>
                <a:gd name="T58" fmla="*/ 406 w 744"/>
                <a:gd name="T59" fmla="*/ 619 h 1226"/>
                <a:gd name="T60" fmla="*/ 314 w 744"/>
                <a:gd name="T61" fmla="*/ 690 h 1226"/>
                <a:gd name="T62" fmla="*/ 343 w 744"/>
                <a:gd name="T63" fmla="*/ 775 h 1226"/>
                <a:gd name="T64" fmla="*/ 352 w 744"/>
                <a:gd name="T65" fmla="*/ 884 h 1226"/>
                <a:gd name="T66" fmla="*/ 369 w 744"/>
                <a:gd name="T67" fmla="*/ 874 h 1226"/>
                <a:gd name="T68" fmla="*/ 380 w 744"/>
                <a:gd name="T69" fmla="*/ 928 h 1226"/>
                <a:gd name="T70" fmla="*/ 352 w 744"/>
                <a:gd name="T71" fmla="*/ 1006 h 1226"/>
                <a:gd name="T72" fmla="*/ 331 w 744"/>
                <a:gd name="T73" fmla="*/ 1051 h 1226"/>
                <a:gd name="T74" fmla="*/ 163 w 744"/>
                <a:gd name="T75" fmla="*/ 1155 h 1226"/>
                <a:gd name="T76" fmla="*/ 184 w 744"/>
                <a:gd name="T77" fmla="*/ 1226 h 1226"/>
                <a:gd name="T78" fmla="*/ 125 w 744"/>
                <a:gd name="T79" fmla="*/ 1155 h 1226"/>
                <a:gd name="T80" fmla="*/ 92 w 744"/>
                <a:gd name="T81" fmla="*/ 966 h 1226"/>
                <a:gd name="T82" fmla="*/ 151 w 744"/>
                <a:gd name="T83" fmla="*/ 801 h 1226"/>
                <a:gd name="T84" fmla="*/ 163 w 744"/>
                <a:gd name="T85" fmla="*/ 768 h 1226"/>
                <a:gd name="T86" fmla="*/ 184 w 744"/>
                <a:gd name="T87" fmla="*/ 730 h 1226"/>
                <a:gd name="T88" fmla="*/ 184 w 744"/>
                <a:gd name="T89" fmla="*/ 636 h 1226"/>
                <a:gd name="T90" fmla="*/ 184 w 744"/>
                <a:gd name="T91" fmla="*/ 607 h 1226"/>
                <a:gd name="T92" fmla="*/ 191 w 744"/>
                <a:gd name="T93" fmla="*/ 569 h 1226"/>
                <a:gd name="T94" fmla="*/ 191 w 744"/>
                <a:gd name="T95" fmla="*/ 515 h 1226"/>
                <a:gd name="T96" fmla="*/ 191 w 744"/>
                <a:gd name="T97" fmla="*/ 458 h 1226"/>
                <a:gd name="T98" fmla="*/ 147 w 744"/>
                <a:gd name="T99" fmla="*/ 442 h 1226"/>
                <a:gd name="T100" fmla="*/ 83 w 744"/>
                <a:gd name="T101" fmla="*/ 421 h 1226"/>
                <a:gd name="T102" fmla="*/ 17 w 744"/>
                <a:gd name="T103" fmla="*/ 380 h 1226"/>
                <a:gd name="T104" fmla="*/ 678 w 744"/>
                <a:gd name="T105" fmla="*/ 437 h 1226"/>
                <a:gd name="T106" fmla="*/ 678 w 744"/>
                <a:gd name="T107" fmla="*/ 437 h 1226"/>
                <a:gd name="T108" fmla="*/ 191 w 744"/>
                <a:gd name="T109" fmla="*/ 1160 h 1226"/>
                <a:gd name="T110" fmla="*/ 191 w 744"/>
                <a:gd name="T111" fmla="*/ 116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44" h="1226">
                  <a:moveTo>
                    <a:pt x="17" y="380"/>
                  </a:moveTo>
                  <a:lnTo>
                    <a:pt x="0" y="331"/>
                  </a:lnTo>
                  <a:lnTo>
                    <a:pt x="206" y="260"/>
                  </a:lnTo>
                  <a:lnTo>
                    <a:pt x="239" y="305"/>
                  </a:lnTo>
                  <a:lnTo>
                    <a:pt x="288" y="288"/>
                  </a:lnTo>
                  <a:lnTo>
                    <a:pt x="298" y="305"/>
                  </a:lnTo>
                  <a:lnTo>
                    <a:pt x="298" y="359"/>
                  </a:lnTo>
                  <a:lnTo>
                    <a:pt x="276" y="397"/>
                  </a:lnTo>
                  <a:lnTo>
                    <a:pt x="293" y="414"/>
                  </a:lnTo>
                  <a:lnTo>
                    <a:pt x="293" y="425"/>
                  </a:lnTo>
                  <a:lnTo>
                    <a:pt x="298" y="425"/>
                  </a:lnTo>
                  <a:lnTo>
                    <a:pt x="331" y="470"/>
                  </a:lnTo>
                  <a:lnTo>
                    <a:pt x="347" y="470"/>
                  </a:lnTo>
                  <a:lnTo>
                    <a:pt x="343" y="491"/>
                  </a:lnTo>
                  <a:lnTo>
                    <a:pt x="352" y="491"/>
                  </a:lnTo>
                  <a:lnTo>
                    <a:pt x="352" y="458"/>
                  </a:lnTo>
                  <a:lnTo>
                    <a:pt x="343" y="442"/>
                  </a:lnTo>
                  <a:lnTo>
                    <a:pt x="364" y="414"/>
                  </a:lnTo>
                  <a:lnTo>
                    <a:pt x="369" y="421"/>
                  </a:lnTo>
                  <a:lnTo>
                    <a:pt x="397" y="404"/>
                  </a:lnTo>
                  <a:lnTo>
                    <a:pt x="397" y="364"/>
                  </a:lnTo>
                  <a:lnTo>
                    <a:pt x="385" y="347"/>
                  </a:lnTo>
                  <a:lnTo>
                    <a:pt x="402" y="326"/>
                  </a:lnTo>
                  <a:lnTo>
                    <a:pt x="397" y="310"/>
                  </a:lnTo>
                  <a:lnTo>
                    <a:pt x="343" y="236"/>
                  </a:lnTo>
                  <a:lnTo>
                    <a:pt x="326" y="220"/>
                  </a:lnTo>
                  <a:lnTo>
                    <a:pt x="310" y="220"/>
                  </a:lnTo>
                  <a:lnTo>
                    <a:pt x="298" y="215"/>
                  </a:lnTo>
                  <a:lnTo>
                    <a:pt x="298" y="166"/>
                  </a:lnTo>
                  <a:lnTo>
                    <a:pt x="293" y="128"/>
                  </a:lnTo>
                  <a:lnTo>
                    <a:pt x="310" y="95"/>
                  </a:lnTo>
                  <a:lnTo>
                    <a:pt x="310" y="83"/>
                  </a:lnTo>
                  <a:lnTo>
                    <a:pt x="331" y="83"/>
                  </a:lnTo>
                  <a:lnTo>
                    <a:pt x="369" y="88"/>
                  </a:lnTo>
                  <a:lnTo>
                    <a:pt x="397" y="71"/>
                  </a:lnTo>
                  <a:lnTo>
                    <a:pt x="418" y="83"/>
                  </a:lnTo>
                  <a:lnTo>
                    <a:pt x="418" y="95"/>
                  </a:lnTo>
                  <a:lnTo>
                    <a:pt x="439" y="95"/>
                  </a:lnTo>
                  <a:lnTo>
                    <a:pt x="461" y="83"/>
                  </a:lnTo>
                  <a:lnTo>
                    <a:pt x="510" y="95"/>
                  </a:lnTo>
                  <a:lnTo>
                    <a:pt x="532" y="83"/>
                  </a:lnTo>
                  <a:lnTo>
                    <a:pt x="543" y="66"/>
                  </a:lnTo>
                  <a:lnTo>
                    <a:pt x="548" y="54"/>
                  </a:lnTo>
                  <a:lnTo>
                    <a:pt x="581" y="71"/>
                  </a:lnTo>
                  <a:lnTo>
                    <a:pt x="612" y="54"/>
                  </a:lnTo>
                  <a:lnTo>
                    <a:pt x="636" y="54"/>
                  </a:lnTo>
                  <a:lnTo>
                    <a:pt x="721" y="0"/>
                  </a:lnTo>
                  <a:lnTo>
                    <a:pt x="721" y="0"/>
                  </a:lnTo>
                  <a:lnTo>
                    <a:pt x="728" y="17"/>
                  </a:lnTo>
                  <a:lnTo>
                    <a:pt x="721" y="29"/>
                  </a:lnTo>
                  <a:lnTo>
                    <a:pt x="728" y="33"/>
                  </a:lnTo>
                  <a:lnTo>
                    <a:pt x="721" y="33"/>
                  </a:lnTo>
                  <a:lnTo>
                    <a:pt x="721" y="38"/>
                  </a:lnTo>
                  <a:lnTo>
                    <a:pt x="728" y="38"/>
                  </a:lnTo>
                  <a:lnTo>
                    <a:pt x="711" y="66"/>
                  </a:lnTo>
                  <a:lnTo>
                    <a:pt x="721" y="71"/>
                  </a:lnTo>
                  <a:lnTo>
                    <a:pt x="721" y="88"/>
                  </a:lnTo>
                  <a:lnTo>
                    <a:pt x="721" y="111"/>
                  </a:lnTo>
                  <a:lnTo>
                    <a:pt x="721" y="149"/>
                  </a:lnTo>
                  <a:lnTo>
                    <a:pt x="732" y="166"/>
                  </a:lnTo>
                  <a:lnTo>
                    <a:pt x="711" y="182"/>
                  </a:lnTo>
                  <a:lnTo>
                    <a:pt x="721" y="194"/>
                  </a:lnTo>
                  <a:lnTo>
                    <a:pt x="728" y="182"/>
                  </a:lnTo>
                  <a:lnTo>
                    <a:pt x="721" y="220"/>
                  </a:lnTo>
                  <a:lnTo>
                    <a:pt x="732" y="260"/>
                  </a:lnTo>
                  <a:lnTo>
                    <a:pt x="721" y="272"/>
                  </a:lnTo>
                  <a:lnTo>
                    <a:pt x="728" y="277"/>
                  </a:lnTo>
                  <a:lnTo>
                    <a:pt x="732" y="277"/>
                  </a:lnTo>
                  <a:lnTo>
                    <a:pt x="728" y="293"/>
                  </a:lnTo>
                  <a:lnTo>
                    <a:pt x="744" y="288"/>
                  </a:lnTo>
                  <a:lnTo>
                    <a:pt x="744" y="310"/>
                  </a:lnTo>
                  <a:lnTo>
                    <a:pt x="732" y="343"/>
                  </a:lnTo>
                  <a:lnTo>
                    <a:pt x="721" y="343"/>
                  </a:lnTo>
                  <a:lnTo>
                    <a:pt x="732" y="347"/>
                  </a:lnTo>
                  <a:lnTo>
                    <a:pt x="728" y="364"/>
                  </a:lnTo>
                  <a:lnTo>
                    <a:pt x="695" y="404"/>
                  </a:lnTo>
                  <a:lnTo>
                    <a:pt x="690" y="421"/>
                  </a:lnTo>
                  <a:lnTo>
                    <a:pt x="673" y="425"/>
                  </a:lnTo>
                  <a:lnTo>
                    <a:pt x="673" y="437"/>
                  </a:lnTo>
                  <a:lnTo>
                    <a:pt x="666" y="442"/>
                  </a:lnTo>
                  <a:lnTo>
                    <a:pt x="624" y="470"/>
                  </a:lnTo>
                  <a:lnTo>
                    <a:pt x="619" y="475"/>
                  </a:lnTo>
                  <a:lnTo>
                    <a:pt x="532" y="508"/>
                  </a:lnTo>
                  <a:lnTo>
                    <a:pt x="489" y="536"/>
                  </a:lnTo>
                  <a:lnTo>
                    <a:pt x="473" y="553"/>
                  </a:lnTo>
                  <a:lnTo>
                    <a:pt x="461" y="548"/>
                  </a:lnTo>
                  <a:lnTo>
                    <a:pt x="473" y="565"/>
                  </a:lnTo>
                  <a:lnTo>
                    <a:pt x="423" y="619"/>
                  </a:lnTo>
                  <a:lnTo>
                    <a:pt x="406" y="619"/>
                  </a:lnTo>
                  <a:lnTo>
                    <a:pt x="406" y="619"/>
                  </a:lnTo>
                  <a:lnTo>
                    <a:pt x="326" y="697"/>
                  </a:lnTo>
                  <a:lnTo>
                    <a:pt x="310" y="673"/>
                  </a:lnTo>
                  <a:lnTo>
                    <a:pt x="314" y="690"/>
                  </a:lnTo>
                  <a:lnTo>
                    <a:pt x="314" y="718"/>
                  </a:lnTo>
                  <a:lnTo>
                    <a:pt x="310" y="735"/>
                  </a:lnTo>
                  <a:lnTo>
                    <a:pt x="343" y="775"/>
                  </a:lnTo>
                  <a:lnTo>
                    <a:pt x="343" y="801"/>
                  </a:lnTo>
                  <a:lnTo>
                    <a:pt x="352" y="825"/>
                  </a:lnTo>
                  <a:lnTo>
                    <a:pt x="352" y="884"/>
                  </a:lnTo>
                  <a:lnTo>
                    <a:pt x="364" y="884"/>
                  </a:lnTo>
                  <a:lnTo>
                    <a:pt x="369" y="862"/>
                  </a:lnTo>
                  <a:lnTo>
                    <a:pt x="369" y="874"/>
                  </a:lnTo>
                  <a:lnTo>
                    <a:pt x="369" y="917"/>
                  </a:lnTo>
                  <a:lnTo>
                    <a:pt x="369" y="928"/>
                  </a:lnTo>
                  <a:lnTo>
                    <a:pt x="380" y="928"/>
                  </a:lnTo>
                  <a:lnTo>
                    <a:pt x="369" y="940"/>
                  </a:lnTo>
                  <a:lnTo>
                    <a:pt x="352" y="995"/>
                  </a:lnTo>
                  <a:lnTo>
                    <a:pt x="352" y="1006"/>
                  </a:lnTo>
                  <a:lnTo>
                    <a:pt x="369" y="990"/>
                  </a:lnTo>
                  <a:lnTo>
                    <a:pt x="369" y="1011"/>
                  </a:lnTo>
                  <a:lnTo>
                    <a:pt x="331" y="1051"/>
                  </a:lnTo>
                  <a:lnTo>
                    <a:pt x="239" y="1094"/>
                  </a:lnTo>
                  <a:lnTo>
                    <a:pt x="180" y="1134"/>
                  </a:lnTo>
                  <a:lnTo>
                    <a:pt x="163" y="1155"/>
                  </a:lnTo>
                  <a:lnTo>
                    <a:pt x="184" y="1177"/>
                  </a:lnTo>
                  <a:lnTo>
                    <a:pt x="191" y="1160"/>
                  </a:lnTo>
                  <a:lnTo>
                    <a:pt x="184" y="1226"/>
                  </a:lnTo>
                  <a:lnTo>
                    <a:pt x="130" y="1226"/>
                  </a:lnTo>
                  <a:lnTo>
                    <a:pt x="130" y="1172"/>
                  </a:lnTo>
                  <a:lnTo>
                    <a:pt x="125" y="1155"/>
                  </a:lnTo>
                  <a:lnTo>
                    <a:pt x="125" y="1040"/>
                  </a:lnTo>
                  <a:lnTo>
                    <a:pt x="113" y="1006"/>
                  </a:lnTo>
                  <a:lnTo>
                    <a:pt x="92" y="966"/>
                  </a:lnTo>
                  <a:lnTo>
                    <a:pt x="92" y="940"/>
                  </a:lnTo>
                  <a:lnTo>
                    <a:pt x="76" y="884"/>
                  </a:lnTo>
                  <a:lnTo>
                    <a:pt x="151" y="801"/>
                  </a:lnTo>
                  <a:lnTo>
                    <a:pt x="151" y="808"/>
                  </a:lnTo>
                  <a:lnTo>
                    <a:pt x="147" y="791"/>
                  </a:lnTo>
                  <a:lnTo>
                    <a:pt x="163" y="768"/>
                  </a:lnTo>
                  <a:lnTo>
                    <a:pt x="151" y="751"/>
                  </a:lnTo>
                  <a:lnTo>
                    <a:pt x="168" y="747"/>
                  </a:lnTo>
                  <a:lnTo>
                    <a:pt x="184" y="730"/>
                  </a:lnTo>
                  <a:lnTo>
                    <a:pt x="201" y="690"/>
                  </a:lnTo>
                  <a:lnTo>
                    <a:pt x="180" y="664"/>
                  </a:lnTo>
                  <a:lnTo>
                    <a:pt x="184" y="636"/>
                  </a:lnTo>
                  <a:lnTo>
                    <a:pt x="168" y="624"/>
                  </a:lnTo>
                  <a:lnTo>
                    <a:pt x="168" y="619"/>
                  </a:lnTo>
                  <a:lnTo>
                    <a:pt x="184" y="607"/>
                  </a:lnTo>
                  <a:lnTo>
                    <a:pt x="184" y="591"/>
                  </a:lnTo>
                  <a:lnTo>
                    <a:pt x="201" y="581"/>
                  </a:lnTo>
                  <a:lnTo>
                    <a:pt x="191" y="569"/>
                  </a:lnTo>
                  <a:lnTo>
                    <a:pt x="184" y="553"/>
                  </a:lnTo>
                  <a:lnTo>
                    <a:pt x="191" y="525"/>
                  </a:lnTo>
                  <a:lnTo>
                    <a:pt x="191" y="515"/>
                  </a:lnTo>
                  <a:lnTo>
                    <a:pt x="191" y="508"/>
                  </a:lnTo>
                  <a:lnTo>
                    <a:pt x="184" y="475"/>
                  </a:lnTo>
                  <a:lnTo>
                    <a:pt x="191" y="458"/>
                  </a:lnTo>
                  <a:lnTo>
                    <a:pt x="180" y="458"/>
                  </a:lnTo>
                  <a:lnTo>
                    <a:pt x="168" y="454"/>
                  </a:lnTo>
                  <a:lnTo>
                    <a:pt x="147" y="442"/>
                  </a:lnTo>
                  <a:lnTo>
                    <a:pt x="113" y="437"/>
                  </a:lnTo>
                  <a:lnTo>
                    <a:pt x="99" y="421"/>
                  </a:lnTo>
                  <a:lnTo>
                    <a:pt x="83" y="421"/>
                  </a:lnTo>
                  <a:lnTo>
                    <a:pt x="71" y="404"/>
                  </a:lnTo>
                  <a:lnTo>
                    <a:pt x="17" y="404"/>
                  </a:lnTo>
                  <a:lnTo>
                    <a:pt x="17" y="380"/>
                  </a:lnTo>
                  <a:lnTo>
                    <a:pt x="17" y="380"/>
                  </a:lnTo>
                  <a:lnTo>
                    <a:pt x="17" y="380"/>
                  </a:lnTo>
                  <a:close/>
                  <a:moveTo>
                    <a:pt x="678" y="437"/>
                  </a:moveTo>
                  <a:lnTo>
                    <a:pt x="673" y="425"/>
                  </a:lnTo>
                  <a:lnTo>
                    <a:pt x="678" y="425"/>
                  </a:lnTo>
                  <a:lnTo>
                    <a:pt x="678" y="437"/>
                  </a:lnTo>
                  <a:lnTo>
                    <a:pt x="678" y="437"/>
                  </a:lnTo>
                  <a:lnTo>
                    <a:pt x="678" y="437"/>
                  </a:lnTo>
                  <a:close/>
                  <a:moveTo>
                    <a:pt x="191" y="1160"/>
                  </a:moveTo>
                  <a:lnTo>
                    <a:pt x="184" y="1155"/>
                  </a:lnTo>
                  <a:lnTo>
                    <a:pt x="191" y="1155"/>
                  </a:lnTo>
                  <a:lnTo>
                    <a:pt x="191" y="1160"/>
                  </a:lnTo>
                  <a:lnTo>
                    <a:pt x="191" y="1160"/>
                  </a:lnTo>
                  <a:lnTo>
                    <a:pt x="191" y="116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6" name="Freeform 517">
              <a:extLst>
                <a:ext uri="{FF2B5EF4-FFF2-40B4-BE49-F238E27FC236}">
                  <a16:creationId xmlns:a16="http://schemas.microsoft.com/office/drawing/2014/main" id="{3D8433E8-A6CC-4F80-90E9-A96B1DDC7B20}"/>
                </a:ext>
              </a:extLst>
            </p:cNvPr>
            <p:cNvSpPr>
              <a:spLocks noEditPoints="1"/>
            </p:cNvSpPr>
            <p:nvPr/>
          </p:nvSpPr>
          <p:spPr bwMode="gray">
            <a:xfrm>
              <a:off x="17508731" y="4594550"/>
              <a:ext cx="92952" cy="61859"/>
            </a:xfrm>
            <a:custGeom>
              <a:avLst/>
              <a:gdLst>
                <a:gd name="T0" fmla="*/ 199 w 284"/>
                <a:gd name="T1" fmla="*/ 173 h 189"/>
                <a:gd name="T2" fmla="*/ 199 w 284"/>
                <a:gd name="T3" fmla="*/ 168 h 189"/>
                <a:gd name="T4" fmla="*/ 194 w 284"/>
                <a:gd name="T5" fmla="*/ 168 h 189"/>
                <a:gd name="T6" fmla="*/ 177 w 284"/>
                <a:gd name="T7" fmla="*/ 163 h 189"/>
                <a:gd name="T8" fmla="*/ 173 w 284"/>
                <a:gd name="T9" fmla="*/ 168 h 189"/>
                <a:gd name="T10" fmla="*/ 173 w 284"/>
                <a:gd name="T11" fmla="*/ 163 h 189"/>
                <a:gd name="T12" fmla="*/ 147 w 284"/>
                <a:gd name="T13" fmla="*/ 151 h 189"/>
                <a:gd name="T14" fmla="*/ 147 w 284"/>
                <a:gd name="T15" fmla="*/ 135 h 189"/>
                <a:gd name="T16" fmla="*/ 88 w 284"/>
                <a:gd name="T17" fmla="*/ 111 h 189"/>
                <a:gd name="T18" fmla="*/ 29 w 284"/>
                <a:gd name="T19" fmla="*/ 52 h 189"/>
                <a:gd name="T20" fmla="*/ 0 w 284"/>
                <a:gd name="T21" fmla="*/ 0 h 189"/>
                <a:gd name="T22" fmla="*/ 29 w 284"/>
                <a:gd name="T23" fmla="*/ 17 h 189"/>
                <a:gd name="T24" fmla="*/ 29 w 284"/>
                <a:gd name="T25" fmla="*/ 7 h 189"/>
                <a:gd name="T26" fmla="*/ 38 w 284"/>
                <a:gd name="T27" fmla="*/ 17 h 189"/>
                <a:gd name="T28" fmla="*/ 66 w 284"/>
                <a:gd name="T29" fmla="*/ 40 h 189"/>
                <a:gd name="T30" fmla="*/ 88 w 284"/>
                <a:gd name="T31" fmla="*/ 52 h 189"/>
                <a:gd name="T32" fmla="*/ 118 w 284"/>
                <a:gd name="T33" fmla="*/ 90 h 189"/>
                <a:gd name="T34" fmla="*/ 140 w 284"/>
                <a:gd name="T35" fmla="*/ 95 h 189"/>
                <a:gd name="T36" fmla="*/ 210 w 284"/>
                <a:gd name="T37" fmla="*/ 151 h 189"/>
                <a:gd name="T38" fmla="*/ 210 w 284"/>
                <a:gd name="T39" fmla="*/ 168 h 189"/>
                <a:gd name="T40" fmla="*/ 199 w 284"/>
                <a:gd name="T41" fmla="*/ 173 h 189"/>
                <a:gd name="T42" fmla="*/ 199 w 284"/>
                <a:gd name="T43" fmla="*/ 173 h 189"/>
                <a:gd name="T44" fmla="*/ 199 w 284"/>
                <a:gd name="T45" fmla="*/ 173 h 189"/>
                <a:gd name="T46" fmla="*/ 177 w 284"/>
                <a:gd name="T47" fmla="*/ 52 h 189"/>
                <a:gd name="T48" fmla="*/ 189 w 284"/>
                <a:gd name="T49" fmla="*/ 24 h 189"/>
                <a:gd name="T50" fmla="*/ 189 w 284"/>
                <a:gd name="T51" fmla="*/ 40 h 189"/>
                <a:gd name="T52" fmla="*/ 177 w 284"/>
                <a:gd name="T53" fmla="*/ 52 h 189"/>
                <a:gd name="T54" fmla="*/ 177 w 284"/>
                <a:gd name="T55" fmla="*/ 52 h 189"/>
                <a:gd name="T56" fmla="*/ 177 w 284"/>
                <a:gd name="T57" fmla="*/ 52 h 189"/>
                <a:gd name="T58" fmla="*/ 241 w 284"/>
                <a:gd name="T59" fmla="*/ 78 h 189"/>
                <a:gd name="T60" fmla="*/ 215 w 284"/>
                <a:gd name="T61" fmla="*/ 62 h 189"/>
                <a:gd name="T62" fmla="*/ 225 w 284"/>
                <a:gd name="T63" fmla="*/ 57 h 189"/>
                <a:gd name="T64" fmla="*/ 215 w 284"/>
                <a:gd name="T65" fmla="*/ 52 h 189"/>
                <a:gd name="T66" fmla="*/ 232 w 284"/>
                <a:gd name="T67" fmla="*/ 52 h 189"/>
                <a:gd name="T68" fmla="*/ 232 w 284"/>
                <a:gd name="T69" fmla="*/ 57 h 189"/>
                <a:gd name="T70" fmla="*/ 241 w 284"/>
                <a:gd name="T71" fmla="*/ 73 h 189"/>
                <a:gd name="T72" fmla="*/ 241 w 284"/>
                <a:gd name="T73" fmla="*/ 78 h 189"/>
                <a:gd name="T74" fmla="*/ 241 w 284"/>
                <a:gd name="T75" fmla="*/ 78 h 189"/>
                <a:gd name="T76" fmla="*/ 241 w 284"/>
                <a:gd name="T77" fmla="*/ 78 h 189"/>
                <a:gd name="T78" fmla="*/ 279 w 284"/>
                <a:gd name="T79" fmla="*/ 118 h 189"/>
                <a:gd name="T80" fmla="*/ 270 w 284"/>
                <a:gd name="T81" fmla="*/ 95 h 189"/>
                <a:gd name="T82" fmla="*/ 284 w 284"/>
                <a:gd name="T83" fmla="*/ 106 h 189"/>
                <a:gd name="T84" fmla="*/ 284 w 284"/>
                <a:gd name="T85" fmla="*/ 111 h 189"/>
                <a:gd name="T86" fmla="*/ 279 w 284"/>
                <a:gd name="T87" fmla="*/ 118 h 189"/>
                <a:gd name="T88" fmla="*/ 279 w 284"/>
                <a:gd name="T89" fmla="*/ 118 h 189"/>
                <a:gd name="T90" fmla="*/ 279 w 284"/>
                <a:gd name="T91" fmla="*/ 118 h 189"/>
                <a:gd name="T92" fmla="*/ 248 w 284"/>
                <a:gd name="T93" fmla="*/ 189 h 189"/>
                <a:gd name="T94" fmla="*/ 241 w 284"/>
                <a:gd name="T95" fmla="*/ 189 h 189"/>
                <a:gd name="T96" fmla="*/ 241 w 284"/>
                <a:gd name="T97" fmla="*/ 184 h 189"/>
                <a:gd name="T98" fmla="*/ 248 w 284"/>
                <a:gd name="T99" fmla="*/ 189 h 189"/>
                <a:gd name="T100" fmla="*/ 248 w 284"/>
                <a:gd name="T101" fmla="*/ 189 h 189"/>
                <a:gd name="T102" fmla="*/ 248 w 284"/>
                <a:gd name="T103" fmla="*/ 189 h 189"/>
                <a:gd name="T104" fmla="*/ 248 w 284"/>
                <a:gd name="T105"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4" h="189">
                  <a:moveTo>
                    <a:pt x="199" y="173"/>
                  </a:moveTo>
                  <a:lnTo>
                    <a:pt x="199" y="168"/>
                  </a:lnTo>
                  <a:lnTo>
                    <a:pt x="194" y="168"/>
                  </a:lnTo>
                  <a:lnTo>
                    <a:pt x="177" y="163"/>
                  </a:lnTo>
                  <a:lnTo>
                    <a:pt x="173" y="168"/>
                  </a:lnTo>
                  <a:lnTo>
                    <a:pt x="173" y="163"/>
                  </a:lnTo>
                  <a:lnTo>
                    <a:pt x="147" y="151"/>
                  </a:lnTo>
                  <a:lnTo>
                    <a:pt x="147" y="135"/>
                  </a:lnTo>
                  <a:lnTo>
                    <a:pt x="88" y="111"/>
                  </a:lnTo>
                  <a:lnTo>
                    <a:pt x="29" y="52"/>
                  </a:lnTo>
                  <a:lnTo>
                    <a:pt x="0" y="0"/>
                  </a:lnTo>
                  <a:lnTo>
                    <a:pt x="29" y="17"/>
                  </a:lnTo>
                  <a:lnTo>
                    <a:pt x="29" y="7"/>
                  </a:lnTo>
                  <a:lnTo>
                    <a:pt x="38" y="17"/>
                  </a:lnTo>
                  <a:lnTo>
                    <a:pt x="66" y="40"/>
                  </a:lnTo>
                  <a:lnTo>
                    <a:pt x="88" y="52"/>
                  </a:lnTo>
                  <a:lnTo>
                    <a:pt x="118" y="90"/>
                  </a:lnTo>
                  <a:lnTo>
                    <a:pt x="140" y="95"/>
                  </a:lnTo>
                  <a:lnTo>
                    <a:pt x="210" y="151"/>
                  </a:lnTo>
                  <a:lnTo>
                    <a:pt x="210" y="168"/>
                  </a:lnTo>
                  <a:lnTo>
                    <a:pt x="199" y="173"/>
                  </a:lnTo>
                  <a:lnTo>
                    <a:pt x="199" y="173"/>
                  </a:lnTo>
                  <a:lnTo>
                    <a:pt x="199" y="173"/>
                  </a:lnTo>
                  <a:close/>
                  <a:moveTo>
                    <a:pt x="177" y="52"/>
                  </a:moveTo>
                  <a:lnTo>
                    <a:pt x="189" y="24"/>
                  </a:lnTo>
                  <a:lnTo>
                    <a:pt x="189" y="40"/>
                  </a:lnTo>
                  <a:lnTo>
                    <a:pt x="177" y="52"/>
                  </a:lnTo>
                  <a:lnTo>
                    <a:pt x="177" y="52"/>
                  </a:lnTo>
                  <a:lnTo>
                    <a:pt x="177" y="52"/>
                  </a:lnTo>
                  <a:close/>
                  <a:moveTo>
                    <a:pt x="241" y="78"/>
                  </a:moveTo>
                  <a:lnTo>
                    <a:pt x="215" y="62"/>
                  </a:lnTo>
                  <a:lnTo>
                    <a:pt x="225" y="57"/>
                  </a:lnTo>
                  <a:lnTo>
                    <a:pt x="215" y="52"/>
                  </a:lnTo>
                  <a:lnTo>
                    <a:pt x="232" y="52"/>
                  </a:lnTo>
                  <a:lnTo>
                    <a:pt x="232" y="57"/>
                  </a:lnTo>
                  <a:lnTo>
                    <a:pt x="241" y="73"/>
                  </a:lnTo>
                  <a:lnTo>
                    <a:pt x="241" y="78"/>
                  </a:lnTo>
                  <a:lnTo>
                    <a:pt x="241" y="78"/>
                  </a:lnTo>
                  <a:lnTo>
                    <a:pt x="241" y="78"/>
                  </a:lnTo>
                  <a:close/>
                  <a:moveTo>
                    <a:pt x="279" y="118"/>
                  </a:moveTo>
                  <a:lnTo>
                    <a:pt x="270" y="95"/>
                  </a:lnTo>
                  <a:lnTo>
                    <a:pt x="284" y="106"/>
                  </a:lnTo>
                  <a:lnTo>
                    <a:pt x="284" y="111"/>
                  </a:lnTo>
                  <a:lnTo>
                    <a:pt x="279" y="118"/>
                  </a:lnTo>
                  <a:lnTo>
                    <a:pt x="279" y="118"/>
                  </a:lnTo>
                  <a:lnTo>
                    <a:pt x="279" y="118"/>
                  </a:lnTo>
                  <a:close/>
                  <a:moveTo>
                    <a:pt x="248" y="189"/>
                  </a:moveTo>
                  <a:lnTo>
                    <a:pt x="241" y="189"/>
                  </a:lnTo>
                  <a:lnTo>
                    <a:pt x="241" y="184"/>
                  </a:lnTo>
                  <a:lnTo>
                    <a:pt x="248" y="189"/>
                  </a:lnTo>
                  <a:lnTo>
                    <a:pt x="248" y="189"/>
                  </a:lnTo>
                  <a:lnTo>
                    <a:pt x="248" y="189"/>
                  </a:lnTo>
                  <a:lnTo>
                    <a:pt x="248" y="18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7" name="Freeform 518">
              <a:extLst>
                <a:ext uri="{FF2B5EF4-FFF2-40B4-BE49-F238E27FC236}">
                  <a16:creationId xmlns:a16="http://schemas.microsoft.com/office/drawing/2014/main" id="{6D2BE53A-260B-40B7-AD49-73D20E2F7498}"/>
                </a:ext>
              </a:extLst>
            </p:cNvPr>
            <p:cNvSpPr>
              <a:spLocks/>
            </p:cNvSpPr>
            <p:nvPr/>
          </p:nvSpPr>
          <p:spPr bwMode="gray">
            <a:xfrm>
              <a:off x="9843117" y="4566730"/>
              <a:ext cx="1636" cy="4582"/>
            </a:xfrm>
            <a:custGeom>
              <a:avLst/>
              <a:gdLst>
                <a:gd name="T0" fmla="*/ 0 w 5"/>
                <a:gd name="T1" fmla="*/ 14 h 14"/>
                <a:gd name="T2" fmla="*/ 0 w 5"/>
                <a:gd name="T3" fmla="*/ 10 h 14"/>
                <a:gd name="T4" fmla="*/ 5 w 5"/>
                <a:gd name="T5" fmla="*/ 0 h 14"/>
                <a:gd name="T6" fmla="*/ 5 w 5"/>
                <a:gd name="T7" fmla="*/ 10 h 14"/>
                <a:gd name="T8" fmla="*/ 0 w 5"/>
                <a:gd name="T9" fmla="*/ 14 h 14"/>
                <a:gd name="T10" fmla="*/ 0 w 5"/>
                <a:gd name="T11" fmla="*/ 14 h 14"/>
                <a:gd name="T12" fmla="*/ 0 w 5"/>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5" h="14">
                  <a:moveTo>
                    <a:pt x="0" y="14"/>
                  </a:moveTo>
                  <a:lnTo>
                    <a:pt x="0" y="10"/>
                  </a:lnTo>
                  <a:lnTo>
                    <a:pt x="5" y="0"/>
                  </a:lnTo>
                  <a:lnTo>
                    <a:pt x="5" y="10"/>
                  </a:lnTo>
                  <a:lnTo>
                    <a:pt x="0" y="14"/>
                  </a:lnTo>
                  <a:lnTo>
                    <a:pt x="0" y="14"/>
                  </a:lnTo>
                  <a:lnTo>
                    <a:pt x="0" y="14"/>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8" name="Freeform 519">
              <a:extLst>
                <a:ext uri="{FF2B5EF4-FFF2-40B4-BE49-F238E27FC236}">
                  <a16:creationId xmlns:a16="http://schemas.microsoft.com/office/drawing/2014/main" id="{06CF9F2D-7595-450E-888A-4A43D48CCF49}"/>
                </a:ext>
              </a:extLst>
            </p:cNvPr>
            <p:cNvSpPr>
              <a:spLocks/>
            </p:cNvSpPr>
            <p:nvPr/>
          </p:nvSpPr>
          <p:spPr bwMode="gray">
            <a:xfrm>
              <a:off x="13746784" y="3550147"/>
              <a:ext cx="363299" cy="287694"/>
            </a:xfrm>
            <a:custGeom>
              <a:avLst/>
              <a:gdLst>
                <a:gd name="T0" fmla="*/ 194 w 1110"/>
                <a:gd name="T1" fmla="*/ 824 h 879"/>
                <a:gd name="T2" fmla="*/ 161 w 1110"/>
                <a:gd name="T3" fmla="*/ 862 h 879"/>
                <a:gd name="T4" fmla="*/ 144 w 1110"/>
                <a:gd name="T5" fmla="*/ 824 h 879"/>
                <a:gd name="T6" fmla="*/ 102 w 1110"/>
                <a:gd name="T7" fmla="*/ 808 h 879"/>
                <a:gd name="T8" fmla="*/ 64 w 1110"/>
                <a:gd name="T9" fmla="*/ 751 h 879"/>
                <a:gd name="T10" fmla="*/ 64 w 1110"/>
                <a:gd name="T11" fmla="*/ 742 h 879"/>
                <a:gd name="T12" fmla="*/ 31 w 1110"/>
                <a:gd name="T13" fmla="*/ 725 h 879"/>
                <a:gd name="T14" fmla="*/ 21 w 1110"/>
                <a:gd name="T15" fmla="*/ 685 h 879"/>
                <a:gd name="T16" fmla="*/ 9 w 1110"/>
                <a:gd name="T17" fmla="*/ 642 h 879"/>
                <a:gd name="T18" fmla="*/ 64 w 1110"/>
                <a:gd name="T19" fmla="*/ 631 h 879"/>
                <a:gd name="T20" fmla="*/ 198 w 1110"/>
                <a:gd name="T21" fmla="*/ 607 h 879"/>
                <a:gd name="T22" fmla="*/ 236 w 1110"/>
                <a:gd name="T23" fmla="*/ 607 h 879"/>
                <a:gd name="T24" fmla="*/ 264 w 1110"/>
                <a:gd name="T25" fmla="*/ 586 h 879"/>
                <a:gd name="T26" fmla="*/ 286 w 1110"/>
                <a:gd name="T27" fmla="*/ 531 h 879"/>
                <a:gd name="T28" fmla="*/ 399 w 1110"/>
                <a:gd name="T29" fmla="*/ 309 h 879"/>
                <a:gd name="T30" fmla="*/ 829 w 1110"/>
                <a:gd name="T31" fmla="*/ 0 h 879"/>
                <a:gd name="T32" fmla="*/ 987 w 1110"/>
                <a:gd name="T33" fmla="*/ 71 h 879"/>
                <a:gd name="T34" fmla="*/ 1056 w 1110"/>
                <a:gd name="T35" fmla="*/ 111 h 879"/>
                <a:gd name="T36" fmla="*/ 1089 w 1110"/>
                <a:gd name="T37" fmla="*/ 187 h 879"/>
                <a:gd name="T38" fmla="*/ 1110 w 1110"/>
                <a:gd name="T39" fmla="*/ 238 h 879"/>
                <a:gd name="T40" fmla="*/ 1077 w 1110"/>
                <a:gd name="T41" fmla="*/ 491 h 879"/>
                <a:gd name="T42" fmla="*/ 964 w 1110"/>
                <a:gd name="T43" fmla="*/ 631 h 879"/>
                <a:gd name="T44" fmla="*/ 933 w 1110"/>
                <a:gd name="T45" fmla="*/ 668 h 879"/>
                <a:gd name="T46" fmla="*/ 926 w 1110"/>
                <a:gd name="T47" fmla="*/ 725 h 879"/>
                <a:gd name="T48" fmla="*/ 895 w 1110"/>
                <a:gd name="T49" fmla="*/ 742 h 879"/>
                <a:gd name="T50" fmla="*/ 791 w 1110"/>
                <a:gd name="T51" fmla="*/ 751 h 879"/>
                <a:gd name="T52" fmla="*/ 701 w 1110"/>
                <a:gd name="T53" fmla="*/ 758 h 879"/>
                <a:gd name="T54" fmla="*/ 602 w 1110"/>
                <a:gd name="T55" fmla="*/ 779 h 879"/>
                <a:gd name="T56" fmla="*/ 539 w 1110"/>
                <a:gd name="T57" fmla="*/ 751 h 879"/>
                <a:gd name="T58" fmla="*/ 501 w 1110"/>
                <a:gd name="T59" fmla="*/ 775 h 879"/>
                <a:gd name="T60" fmla="*/ 479 w 1110"/>
                <a:gd name="T61" fmla="*/ 779 h 879"/>
                <a:gd name="T62" fmla="*/ 425 w 1110"/>
                <a:gd name="T63" fmla="*/ 735 h 879"/>
                <a:gd name="T64" fmla="*/ 361 w 1110"/>
                <a:gd name="T65" fmla="*/ 725 h 879"/>
                <a:gd name="T66" fmla="*/ 307 w 1110"/>
                <a:gd name="T67" fmla="*/ 725 h 879"/>
                <a:gd name="T68" fmla="*/ 279 w 1110"/>
                <a:gd name="T69" fmla="*/ 779 h 879"/>
                <a:gd name="T70" fmla="*/ 248 w 1110"/>
                <a:gd name="T71" fmla="*/ 812 h 879"/>
                <a:gd name="T72" fmla="*/ 253 w 1110"/>
                <a:gd name="T73" fmla="*/ 869 h 879"/>
                <a:gd name="T74" fmla="*/ 248 w 1110"/>
                <a:gd name="T75"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0" h="879">
                  <a:moveTo>
                    <a:pt x="248" y="879"/>
                  </a:moveTo>
                  <a:lnTo>
                    <a:pt x="194" y="824"/>
                  </a:lnTo>
                  <a:lnTo>
                    <a:pt x="161" y="836"/>
                  </a:lnTo>
                  <a:lnTo>
                    <a:pt x="161" y="862"/>
                  </a:lnTo>
                  <a:lnTo>
                    <a:pt x="139" y="829"/>
                  </a:lnTo>
                  <a:lnTo>
                    <a:pt x="144" y="824"/>
                  </a:lnTo>
                  <a:lnTo>
                    <a:pt x="139" y="808"/>
                  </a:lnTo>
                  <a:lnTo>
                    <a:pt x="102" y="808"/>
                  </a:lnTo>
                  <a:lnTo>
                    <a:pt x="64" y="775"/>
                  </a:lnTo>
                  <a:lnTo>
                    <a:pt x="64" y="751"/>
                  </a:lnTo>
                  <a:lnTo>
                    <a:pt x="85" y="758"/>
                  </a:lnTo>
                  <a:lnTo>
                    <a:pt x="64" y="742"/>
                  </a:lnTo>
                  <a:lnTo>
                    <a:pt x="64" y="742"/>
                  </a:lnTo>
                  <a:lnTo>
                    <a:pt x="31" y="725"/>
                  </a:lnTo>
                  <a:lnTo>
                    <a:pt x="14" y="697"/>
                  </a:lnTo>
                  <a:lnTo>
                    <a:pt x="21" y="685"/>
                  </a:lnTo>
                  <a:lnTo>
                    <a:pt x="0" y="668"/>
                  </a:lnTo>
                  <a:lnTo>
                    <a:pt x="9" y="642"/>
                  </a:lnTo>
                  <a:lnTo>
                    <a:pt x="9" y="631"/>
                  </a:lnTo>
                  <a:lnTo>
                    <a:pt x="64" y="631"/>
                  </a:lnTo>
                  <a:lnTo>
                    <a:pt x="85" y="614"/>
                  </a:lnTo>
                  <a:lnTo>
                    <a:pt x="198" y="607"/>
                  </a:lnTo>
                  <a:lnTo>
                    <a:pt x="210" y="602"/>
                  </a:lnTo>
                  <a:lnTo>
                    <a:pt x="236" y="607"/>
                  </a:lnTo>
                  <a:lnTo>
                    <a:pt x="236" y="590"/>
                  </a:lnTo>
                  <a:lnTo>
                    <a:pt x="264" y="586"/>
                  </a:lnTo>
                  <a:lnTo>
                    <a:pt x="279" y="536"/>
                  </a:lnTo>
                  <a:lnTo>
                    <a:pt x="286" y="531"/>
                  </a:lnTo>
                  <a:lnTo>
                    <a:pt x="290" y="326"/>
                  </a:lnTo>
                  <a:lnTo>
                    <a:pt x="399" y="309"/>
                  </a:lnTo>
                  <a:lnTo>
                    <a:pt x="517" y="198"/>
                  </a:lnTo>
                  <a:lnTo>
                    <a:pt x="829" y="0"/>
                  </a:lnTo>
                  <a:lnTo>
                    <a:pt x="938" y="21"/>
                  </a:lnTo>
                  <a:lnTo>
                    <a:pt x="987" y="71"/>
                  </a:lnTo>
                  <a:lnTo>
                    <a:pt x="1039" y="38"/>
                  </a:lnTo>
                  <a:lnTo>
                    <a:pt x="1056" y="111"/>
                  </a:lnTo>
                  <a:lnTo>
                    <a:pt x="1056" y="149"/>
                  </a:lnTo>
                  <a:lnTo>
                    <a:pt x="1089" y="187"/>
                  </a:lnTo>
                  <a:lnTo>
                    <a:pt x="1089" y="203"/>
                  </a:lnTo>
                  <a:lnTo>
                    <a:pt x="1110" y="238"/>
                  </a:lnTo>
                  <a:lnTo>
                    <a:pt x="1094" y="272"/>
                  </a:lnTo>
                  <a:lnTo>
                    <a:pt x="1077" y="491"/>
                  </a:lnTo>
                  <a:lnTo>
                    <a:pt x="1001" y="574"/>
                  </a:lnTo>
                  <a:lnTo>
                    <a:pt x="964" y="631"/>
                  </a:lnTo>
                  <a:lnTo>
                    <a:pt x="950" y="664"/>
                  </a:lnTo>
                  <a:lnTo>
                    <a:pt x="933" y="668"/>
                  </a:lnTo>
                  <a:lnTo>
                    <a:pt x="950" y="725"/>
                  </a:lnTo>
                  <a:lnTo>
                    <a:pt x="926" y="725"/>
                  </a:lnTo>
                  <a:lnTo>
                    <a:pt x="916" y="742"/>
                  </a:lnTo>
                  <a:lnTo>
                    <a:pt x="895" y="742"/>
                  </a:lnTo>
                  <a:lnTo>
                    <a:pt x="862" y="775"/>
                  </a:lnTo>
                  <a:lnTo>
                    <a:pt x="791" y="751"/>
                  </a:lnTo>
                  <a:lnTo>
                    <a:pt x="739" y="751"/>
                  </a:lnTo>
                  <a:lnTo>
                    <a:pt x="701" y="758"/>
                  </a:lnTo>
                  <a:lnTo>
                    <a:pt x="668" y="796"/>
                  </a:lnTo>
                  <a:lnTo>
                    <a:pt x="602" y="779"/>
                  </a:lnTo>
                  <a:lnTo>
                    <a:pt x="560" y="758"/>
                  </a:lnTo>
                  <a:lnTo>
                    <a:pt x="539" y="751"/>
                  </a:lnTo>
                  <a:lnTo>
                    <a:pt x="505" y="775"/>
                  </a:lnTo>
                  <a:lnTo>
                    <a:pt x="501" y="775"/>
                  </a:lnTo>
                  <a:lnTo>
                    <a:pt x="484" y="779"/>
                  </a:lnTo>
                  <a:lnTo>
                    <a:pt x="479" y="779"/>
                  </a:lnTo>
                  <a:lnTo>
                    <a:pt x="430" y="725"/>
                  </a:lnTo>
                  <a:lnTo>
                    <a:pt x="425" y="735"/>
                  </a:lnTo>
                  <a:lnTo>
                    <a:pt x="378" y="718"/>
                  </a:lnTo>
                  <a:lnTo>
                    <a:pt x="361" y="725"/>
                  </a:lnTo>
                  <a:lnTo>
                    <a:pt x="333" y="725"/>
                  </a:lnTo>
                  <a:lnTo>
                    <a:pt x="307" y="725"/>
                  </a:lnTo>
                  <a:lnTo>
                    <a:pt x="286" y="742"/>
                  </a:lnTo>
                  <a:lnTo>
                    <a:pt x="279" y="779"/>
                  </a:lnTo>
                  <a:lnTo>
                    <a:pt x="269" y="796"/>
                  </a:lnTo>
                  <a:lnTo>
                    <a:pt x="248" y="812"/>
                  </a:lnTo>
                  <a:lnTo>
                    <a:pt x="248" y="862"/>
                  </a:lnTo>
                  <a:lnTo>
                    <a:pt x="253" y="869"/>
                  </a:lnTo>
                  <a:lnTo>
                    <a:pt x="248" y="879"/>
                  </a:lnTo>
                  <a:lnTo>
                    <a:pt x="248" y="879"/>
                  </a:lnTo>
                  <a:lnTo>
                    <a:pt x="248" y="87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9" name="Freeform 520">
              <a:extLst>
                <a:ext uri="{FF2B5EF4-FFF2-40B4-BE49-F238E27FC236}">
                  <a16:creationId xmlns:a16="http://schemas.microsoft.com/office/drawing/2014/main" id="{9071D2C4-7B81-4CDA-8781-504082B20C58}"/>
                </a:ext>
              </a:extLst>
            </p:cNvPr>
            <p:cNvSpPr>
              <a:spLocks noEditPoints="1"/>
            </p:cNvSpPr>
            <p:nvPr/>
          </p:nvSpPr>
          <p:spPr bwMode="gray">
            <a:xfrm>
              <a:off x="17566663" y="4439084"/>
              <a:ext cx="78878" cy="158739"/>
            </a:xfrm>
            <a:custGeom>
              <a:avLst/>
              <a:gdLst>
                <a:gd name="T0" fmla="*/ 67 w 241"/>
                <a:gd name="T1" fmla="*/ 10 h 485"/>
                <a:gd name="T2" fmla="*/ 71 w 241"/>
                <a:gd name="T3" fmla="*/ 10 h 485"/>
                <a:gd name="T4" fmla="*/ 67 w 241"/>
                <a:gd name="T5" fmla="*/ 17 h 485"/>
                <a:gd name="T6" fmla="*/ 71 w 241"/>
                <a:gd name="T7" fmla="*/ 50 h 485"/>
                <a:gd name="T8" fmla="*/ 67 w 241"/>
                <a:gd name="T9" fmla="*/ 33 h 485"/>
                <a:gd name="T10" fmla="*/ 71 w 241"/>
                <a:gd name="T11" fmla="*/ 50 h 485"/>
                <a:gd name="T12" fmla="*/ 71 w 241"/>
                <a:gd name="T13" fmla="*/ 50 h 485"/>
                <a:gd name="T14" fmla="*/ 50 w 241"/>
                <a:gd name="T15" fmla="*/ 133 h 485"/>
                <a:gd name="T16" fmla="*/ 12 w 241"/>
                <a:gd name="T17" fmla="*/ 128 h 485"/>
                <a:gd name="T18" fmla="*/ 17 w 241"/>
                <a:gd name="T19" fmla="*/ 78 h 485"/>
                <a:gd name="T20" fmla="*/ 33 w 241"/>
                <a:gd name="T21" fmla="*/ 107 h 485"/>
                <a:gd name="T22" fmla="*/ 38 w 241"/>
                <a:gd name="T23" fmla="*/ 107 h 485"/>
                <a:gd name="T24" fmla="*/ 38 w 241"/>
                <a:gd name="T25" fmla="*/ 107 h 485"/>
                <a:gd name="T26" fmla="*/ 109 w 241"/>
                <a:gd name="T27" fmla="*/ 90 h 485"/>
                <a:gd name="T28" fmla="*/ 121 w 241"/>
                <a:gd name="T29" fmla="*/ 128 h 485"/>
                <a:gd name="T30" fmla="*/ 121 w 241"/>
                <a:gd name="T31" fmla="*/ 128 h 485"/>
                <a:gd name="T32" fmla="*/ 76 w 241"/>
                <a:gd name="T33" fmla="*/ 128 h 485"/>
                <a:gd name="T34" fmla="*/ 104 w 241"/>
                <a:gd name="T35" fmla="*/ 123 h 485"/>
                <a:gd name="T36" fmla="*/ 93 w 241"/>
                <a:gd name="T37" fmla="*/ 133 h 485"/>
                <a:gd name="T38" fmla="*/ 121 w 241"/>
                <a:gd name="T39" fmla="*/ 168 h 485"/>
                <a:gd name="T40" fmla="*/ 121 w 241"/>
                <a:gd name="T41" fmla="*/ 133 h 485"/>
                <a:gd name="T42" fmla="*/ 121 w 241"/>
                <a:gd name="T43" fmla="*/ 168 h 485"/>
                <a:gd name="T44" fmla="*/ 121 w 241"/>
                <a:gd name="T45" fmla="*/ 168 h 485"/>
                <a:gd name="T46" fmla="*/ 38 w 241"/>
                <a:gd name="T47" fmla="*/ 133 h 485"/>
                <a:gd name="T48" fmla="*/ 50 w 241"/>
                <a:gd name="T49" fmla="*/ 144 h 485"/>
                <a:gd name="T50" fmla="*/ 50 w 241"/>
                <a:gd name="T51" fmla="*/ 144 h 485"/>
                <a:gd name="T52" fmla="*/ 38 w 241"/>
                <a:gd name="T53" fmla="*/ 144 h 485"/>
                <a:gd name="T54" fmla="*/ 50 w 241"/>
                <a:gd name="T55" fmla="*/ 149 h 485"/>
                <a:gd name="T56" fmla="*/ 50 w 241"/>
                <a:gd name="T57" fmla="*/ 149 h 485"/>
                <a:gd name="T58" fmla="*/ 67 w 241"/>
                <a:gd name="T59" fmla="*/ 206 h 485"/>
                <a:gd name="T60" fmla="*/ 50 w 241"/>
                <a:gd name="T61" fmla="*/ 178 h 485"/>
                <a:gd name="T62" fmla="*/ 93 w 241"/>
                <a:gd name="T63" fmla="*/ 206 h 485"/>
                <a:gd name="T64" fmla="*/ 71 w 241"/>
                <a:gd name="T65" fmla="*/ 218 h 485"/>
                <a:gd name="T66" fmla="*/ 121 w 241"/>
                <a:gd name="T67" fmla="*/ 201 h 485"/>
                <a:gd name="T68" fmla="*/ 121 w 241"/>
                <a:gd name="T69" fmla="*/ 178 h 485"/>
                <a:gd name="T70" fmla="*/ 121 w 241"/>
                <a:gd name="T71" fmla="*/ 201 h 485"/>
                <a:gd name="T72" fmla="*/ 121 w 241"/>
                <a:gd name="T73" fmla="*/ 201 h 485"/>
                <a:gd name="T74" fmla="*/ 121 w 241"/>
                <a:gd name="T75" fmla="*/ 234 h 485"/>
                <a:gd name="T76" fmla="*/ 142 w 241"/>
                <a:gd name="T77" fmla="*/ 234 h 485"/>
                <a:gd name="T78" fmla="*/ 142 w 241"/>
                <a:gd name="T79" fmla="*/ 234 h 485"/>
                <a:gd name="T80" fmla="*/ 126 w 241"/>
                <a:gd name="T81" fmla="*/ 296 h 485"/>
                <a:gd name="T82" fmla="*/ 126 w 241"/>
                <a:gd name="T83" fmla="*/ 289 h 485"/>
                <a:gd name="T84" fmla="*/ 147 w 241"/>
                <a:gd name="T85" fmla="*/ 296 h 485"/>
                <a:gd name="T86" fmla="*/ 130 w 241"/>
                <a:gd name="T87" fmla="*/ 300 h 485"/>
                <a:gd name="T88" fmla="*/ 130 w 241"/>
                <a:gd name="T89" fmla="*/ 300 h 485"/>
                <a:gd name="T90" fmla="*/ 175 w 241"/>
                <a:gd name="T91" fmla="*/ 385 h 485"/>
                <a:gd name="T92" fmla="*/ 187 w 241"/>
                <a:gd name="T93" fmla="*/ 369 h 485"/>
                <a:gd name="T94" fmla="*/ 196 w 241"/>
                <a:gd name="T95" fmla="*/ 390 h 485"/>
                <a:gd name="T96" fmla="*/ 196 w 241"/>
                <a:gd name="T97" fmla="*/ 390 h 485"/>
                <a:gd name="T98" fmla="*/ 196 w 241"/>
                <a:gd name="T99" fmla="*/ 428 h 485"/>
                <a:gd name="T100" fmla="*/ 204 w 241"/>
                <a:gd name="T101" fmla="*/ 423 h 485"/>
                <a:gd name="T102" fmla="*/ 204 w 241"/>
                <a:gd name="T103" fmla="*/ 447 h 485"/>
                <a:gd name="T104" fmla="*/ 204 w 241"/>
                <a:gd name="T105" fmla="*/ 447 h 485"/>
                <a:gd name="T106" fmla="*/ 230 w 241"/>
                <a:gd name="T107" fmla="*/ 480 h 485"/>
                <a:gd name="T108" fmla="*/ 234 w 241"/>
                <a:gd name="T109" fmla="*/ 485 h 485"/>
                <a:gd name="T110" fmla="*/ 234 w 241"/>
                <a:gd name="T111" fmla="*/ 485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1" h="485">
                  <a:moveTo>
                    <a:pt x="67" y="17"/>
                  </a:moveTo>
                  <a:lnTo>
                    <a:pt x="67" y="10"/>
                  </a:lnTo>
                  <a:lnTo>
                    <a:pt x="71" y="0"/>
                  </a:lnTo>
                  <a:lnTo>
                    <a:pt x="71" y="10"/>
                  </a:lnTo>
                  <a:lnTo>
                    <a:pt x="67" y="17"/>
                  </a:lnTo>
                  <a:lnTo>
                    <a:pt x="67" y="17"/>
                  </a:lnTo>
                  <a:lnTo>
                    <a:pt x="67" y="17"/>
                  </a:lnTo>
                  <a:close/>
                  <a:moveTo>
                    <a:pt x="71" y="50"/>
                  </a:moveTo>
                  <a:lnTo>
                    <a:pt x="67" y="50"/>
                  </a:lnTo>
                  <a:lnTo>
                    <a:pt x="67" y="33"/>
                  </a:lnTo>
                  <a:lnTo>
                    <a:pt x="76" y="38"/>
                  </a:lnTo>
                  <a:lnTo>
                    <a:pt x="71" y="50"/>
                  </a:lnTo>
                  <a:lnTo>
                    <a:pt x="71" y="50"/>
                  </a:lnTo>
                  <a:lnTo>
                    <a:pt x="71" y="50"/>
                  </a:lnTo>
                  <a:close/>
                  <a:moveTo>
                    <a:pt x="38" y="107"/>
                  </a:moveTo>
                  <a:lnTo>
                    <a:pt x="50" y="133"/>
                  </a:lnTo>
                  <a:lnTo>
                    <a:pt x="17" y="144"/>
                  </a:lnTo>
                  <a:lnTo>
                    <a:pt x="12" y="128"/>
                  </a:lnTo>
                  <a:lnTo>
                    <a:pt x="0" y="71"/>
                  </a:lnTo>
                  <a:lnTo>
                    <a:pt x="17" y="78"/>
                  </a:lnTo>
                  <a:lnTo>
                    <a:pt x="17" y="107"/>
                  </a:lnTo>
                  <a:lnTo>
                    <a:pt x="33" y="107"/>
                  </a:lnTo>
                  <a:lnTo>
                    <a:pt x="33" y="90"/>
                  </a:lnTo>
                  <a:lnTo>
                    <a:pt x="38" y="107"/>
                  </a:lnTo>
                  <a:lnTo>
                    <a:pt x="38" y="107"/>
                  </a:lnTo>
                  <a:lnTo>
                    <a:pt x="38" y="107"/>
                  </a:lnTo>
                  <a:close/>
                  <a:moveTo>
                    <a:pt x="121" y="128"/>
                  </a:moveTo>
                  <a:lnTo>
                    <a:pt x="109" y="90"/>
                  </a:lnTo>
                  <a:lnTo>
                    <a:pt x="121" y="111"/>
                  </a:lnTo>
                  <a:lnTo>
                    <a:pt x="121" y="128"/>
                  </a:lnTo>
                  <a:lnTo>
                    <a:pt x="121" y="128"/>
                  </a:lnTo>
                  <a:lnTo>
                    <a:pt x="121" y="128"/>
                  </a:lnTo>
                  <a:close/>
                  <a:moveTo>
                    <a:pt x="93" y="133"/>
                  </a:moveTo>
                  <a:lnTo>
                    <a:pt x="76" y="128"/>
                  </a:lnTo>
                  <a:lnTo>
                    <a:pt x="93" y="123"/>
                  </a:lnTo>
                  <a:lnTo>
                    <a:pt x="104" y="123"/>
                  </a:lnTo>
                  <a:lnTo>
                    <a:pt x="93" y="133"/>
                  </a:lnTo>
                  <a:lnTo>
                    <a:pt x="93" y="133"/>
                  </a:lnTo>
                  <a:lnTo>
                    <a:pt x="93" y="133"/>
                  </a:lnTo>
                  <a:close/>
                  <a:moveTo>
                    <a:pt x="121" y="168"/>
                  </a:moveTo>
                  <a:lnTo>
                    <a:pt x="109" y="144"/>
                  </a:lnTo>
                  <a:lnTo>
                    <a:pt x="121" y="133"/>
                  </a:lnTo>
                  <a:lnTo>
                    <a:pt x="126" y="161"/>
                  </a:lnTo>
                  <a:lnTo>
                    <a:pt x="121" y="168"/>
                  </a:lnTo>
                  <a:lnTo>
                    <a:pt x="121" y="168"/>
                  </a:lnTo>
                  <a:lnTo>
                    <a:pt x="121" y="168"/>
                  </a:lnTo>
                  <a:close/>
                  <a:moveTo>
                    <a:pt x="50" y="144"/>
                  </a:moveTo>
                  <a:lnTo>
                    <a:pt x="38" y="133"/>
                  </a:lnTo>
                  <a:lnTo>
                    <a:pt x="50" y="133"/>
                  </a:lnTo>
                  <a:lnTo>
                    <a:pt x="50" y="144"/>
                  </a:lnTo>
                  <a:lnTo>
                    <a:pt x="50" y="144"/>
                  </a:lnTo>
                  <a:lnTo>
                    <a:pt x="50" y="144"/>
                  </a:lnTo>
                  <a:close/>
                  <a:moveTo>
                    <a:pt x="50" y="149"/>
                  </a:moveTo>
                  <a:lnTo>
                    <a:pt x="38" y="144"/>
                  </a:lnTo>
                  <a:lnTo>
                    <a:pt x="50" y="144"/>
                  </a:lnTo>
                  <a:lnTo>
                    <a:pt x="50" y="149"/>
                  </a:lnTo>
                  <a:lnTo>
                    <a:pt x="50" y="149"/>
                  </a:lnTo>
                  <a:lnTo>
                    <a:pt x="50" y="149"/>
                  </a:lnTo>
                  <a:close/>
                  <a:moveTo>
                    <a:pt x="71" y="218"/>
                  </a:moveTo>
                  <a:lnTo>
                    <a:pt x="67" y="206"/>
                  </a:lnTo>
                  <a:lnTo>
                    <a:pt x="67" y="185"/>
                  </a:lnTo>
                  <a:lnTo>
                    <a:pt x="50" y="178"/>
                  </a:lnTo>
                  <a:lnTo>
                    <a:pt x="50" y="161"/>
                  </a:lnTo>
                  <a:lnTo>
                    <a:pt x="93" y="206"/>
                  </a:lnTo>
                  <a:lnTo>
                    <a:pt x="71" y="218"/>
                  </a:lnTo>
                  <a:lnTo>
                    <a:pt x="71" y="218"/>
                  </a:lnTo>
                  <a:lnTo>
                    <a:pt x="71" y="218"/>
                  </a:lnTo>
                  <a:close/>
                  <a:moveTo>
                    <a:pt x="121" y="201"/>
                  </a:moveTo>
                  <a:lnTo>
                    <a:pt x="104" y="185"/>
                  </a:lnTo>
                  <a:lnTo>
                    <a:pt x="121" y="178"/>
                  </a:lnTo>
                  <a:lnTo>
                    <a:pt x="126" y="189"/>
                  </a:lnTo>
                  <a:lnTo>
                    <a:pt x="121" y="201"/>
                  </a:lnTo>
                  <a:lnTo>
                    <a:pt x="121" y="201"/>
                  </a:lnTo>
                  <a:lnTo>
                    <a:pt x="121" y="201"/>
                  </a:lnTo>
                  <a:close/>
                  <a:moveTo>
                    <a:pt x="142" y="234"/>
                  </a:moveTo>
                  <a:lnTo>
                    <a:pt x="121" y="234"/>
                  </a:lnTo>
                  <a:lnTo>
                    <a:pt x="121" y="218"/>
                  </a:lnTo>
                  <a:lnTo>
                    <a:pt x="142" y="234"/>
                  </a:lnTo>
                  <a:lnTo>
                    <a:pt x="142" y="234"/>
                  </a:lnTo>
                  <a:lnTo>
                    <a:pt x="142" y="234"/>
                  </a:lnTo>
                  <a:close/>
                  <a:moveTo>
                    <a:pt x="130" y="300"/>
                  </a:moveTo>
                  <a:lnTo>
                    <a:pt x="126" y="296"/>
                  </a:lnTo>
                  <a:lnTo>
                    <a:pt x="121" y="296"/>
                  </a:lnTo>
                  <a:lnTo>
                    <a:pt x="126" y="289"/>
                  </a:lnTo>
                  <a:lnTo>
                    <a:pt x="130" y="289"/>
                  </a:lnTo>
                  <a:lnTo>
                    <a:pt x="147" y="296"/>
                  </a:lnTo>
                  <a:lnTo>
                    <a:pt x="142" y="300"/>
                  </a:lnTo>
                  <a:lnTo>
                    <a:pt x="130" y="300"/>
                  </a:lnTo>
                  <a:lnTo>
                    <a:pt x="130" y="300"/>
                  </a:lnTo>
                  <a:lnTo>
                    <a:pt x="130" y="300"/>
                  </a:lnTo>
                  <a:close/>
                  <a:moveTo>
                    <a:pt x="196" y="390"/>
                  </a:moveTo>
                  <a:lnTo>
                    <a:pt x="175" y="385"/>
                  </a:lnTo>
                  <a:lnTo>
                    <a:pt x="180" y="369"/>
                  </a:lnTo>
                  <a:lnTo>
                    <a:pt x="187" y="369"/>
                  </a:lnTo>
                  <a:lnTo>
                    <a:pt x="196" y="385"/>
                  </a:lnTo>
                  <a:lnTo>
                    <a:pt x="196" y="390"/>
                  </a:lnTo>
                  <a:lnTo>
                    <a:pt x="196" y="390"/>
                  </a:lnTo>
                  <a:lnTo>
                    <a:pt x="196" y="390"/>
                  </a:lnTo>
                  <a:close/>
                  <a:moveTo>
                    <a:pt x="204" y="447"/>
                  </a:moveTo>
                  <a:lnTo>
                    <a:pt x="196" y="428"/>
                  </a:lnTo>
                  <a:lnTo>
                    <a:pt x="196" y="423"/>
                  </a:lnTo>
                  <a:lnTo>
                    <a:pt x="204" y="423"/>
                  </a:lnTo>
                  <a:lnTo>
                    <a:pt x="213" y="428"/>
                  </a:lnTo>
                  <a:lnTo>
                    <a:pt x="204" y="447"/>
                  </a:lnTo>
                  <a:lnTo>
                    <a:pt x="204" y="447"/>
                  </a:lnTo>
                  <a:lnTo>
                    <a:pt x="204" y="447"/>
                  </a:lnTo>
                  <a:close/>
                  <a:moveTo>
                    <a:pt x="234" y="485"/>
                  </a:moveTo>
                  <a:lnTo>
                    <a:pt x="230" y="480"/>
                  </a:lnTo>
                  <a:lnTo>
                    <a:pt x="241" y="485"/>
                  </a:lnTo>
                  <a:lnTo>
                    <a:pt x="234" y="485"/>
                  </a:lnTo>
                  <a:lnTo>
                    <a:pt x="234" y="485"/>
                  </a:lnTo>
                  <a:lnTo>
                    <a:pt x="234" y="485"/>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0" name="Freeform 521">
              <a:extLst>
                <a:ext uri="{FF2B5EF4-FFF2-40B4-BE49-F238E27FC236}">
                  <a16:creationId xmlns:a16="http://schemas.microsoft.com/office/drawing/2014/main" id="{D813C355-12D6-4C85-BC78-22040E5C36EB}"/>
                </a:ext>
              </a:extLst>
            </p:cNvPr>
            <p:cNvSpPr>
              <a:spLocks noEditPoints="1"/>
            </p:cNvSpPr>
            <p:nvPr/>
          </p:nvSpPr>
          <p:spPr bwMode="gray">
            <a:xfrm>
              <a:off x="13805370" y="3785800"/>
              <a:ext cx="275256" cy="229108"/>
            </a:xfrm>
            <a:custGeom>
              <a:avLst/>
              <a:gdLst>
                <a:gd name="T0" fmla="*/ 648 w 841"/>
                <a:gd name="T1" fmla="*/ 494 h 700"/>
                <a:gd name="T2" fmla="*/ 610 w 841"/>
                <a:gd name="T3" fmla="*/ 539 h 700"/>
                <a:gd name="T4" fmla="*/ 556 w 841"/>
                <a:gd name="T5" fmla="*/ 494 h 700"/>
                <a:gd name="T6" fmla="*/ 522 w 841"/>
                <a:gd name="T7" fmla="*/ 501 h 700"/>
                <a:gd name="T8" fmla="*/ 492 w 841"/>
                <a:gd name="T9" fmla="*/ 534 h 700"/>
                <a:gd name="T10" fmla="*/ 437 w 841"/>
                <a:gd name="T11" fmla="*/ 605 h 700"/>
                <a:gd name="T12" fmla="*/ 409 w 841"/>
                <a:gd name="T13" fmla="*/ 666 h 700"/>
                <a:gd name="T14" fmla="*/ 395 w 841"/>
                <a:gd name="T15" fmla="*/ 671 h 700"/>
                <a:gd name="T16" fmla="*/ 345 w 841"/>
                <a:gd name="T17" fmla="*/ 666 h 700"/>
                <a:gd name="T18" fmla="*/ 308 w 841"/>
                <a:gd name="T19" fmla="*/ 662 h 700"/>
                <a:gd name="T20" fmla="*/ 303 w 841"/>
                <a:gd name="T21" fmla="*/ 666 h 700"/>
                <a:gd name="T22" fmla="*/ 291 w 841"/>
                <a:gd name="T23" fmla="*/ 688 h 700"/>
                <a:gd name="T24" fmla="*/ 286 w 841"/>
                <a:gd name="T25" fmla="*/ 688 h 700"/>
                <a:gd name="T26" fmla="*/ 286 w 841"/>
                <a:gd name="T27" fmla="*/ 688 h 700"/>
                <a:gd name="T28" fmla="*/ 253 w 841"/>
                <a:gd name="T29" fmla="*/ 683 h 700"/>
                <a:gd name="T30" fmla="*/ 215 w 841"/>
                <a:gd name="T31" fmla="*/ 683 h 700"/>
                <a:gd name="T32" fmla="*/ 199 w 841"/>
                <a:gd name="T33" fmla="*/ 633 h 700"/>
                <a:gd name="T34" fmla="*/ 211 w 841"/>
                <a:gd name="T35" fmla="*/ 605 h 700"/>
                <a:gd name="T36" fmla="*/ 178 w 841"/>
                <a:gd name="T37" fmla="*/ 605 h 700"/>
                <a:gd name="T38" fmla="*/ 156 w 841"/>
                <a:gd name="T39" fmla="*/ 572 h 700"/>
                <a:gd name="T40" fmla="*/ 85 w 841"/>
                <a:gd name="T41" fmla="*/ 522 h 700"/>
                <a:gd name="T42" fmla="*/ 48 w 841"/>
                <a:gd name="T43" fmla="*/ 551 h 700"/>
                <a:gd name="T44" fmla="*/ 0 w 841"/>
                <a:gd name="T45" fmla="*/ 440 h 700"/>
                <a:gd name="T46" fmla="*/ 38 w 841"/>
                <a:gd name="T47" fmla="*/ 329 h 700"/>
                <a:gd name="T48" fmla="*/ 71 w 841"/>
                <a:gd name="T49" fmla="*/ 284 h 700"/>
                <a:gd name="T50" fmla="*/ 76 w 841"/>
                <a:gd name="T51" fmla="*/ 244 h 700"/>
                <a:gd name="T52" fmla="*/ 76 w 841"/>
                <a:gd name="T53" fmla="*/ 222 h 700"/>
                <a:gd name="T54" fmla="*/ 71 w 841"/>
                <a:gd name="T55" fmla="*/ 161 h 700"/>
                <a:gd name="T56" fmla="*/ 71 w 841"/>
                <a:gd name="T57" fmla="*/ 95 h 700"/>
                <a:gd name="T58" fmla="*/ 109 w 841"/>
                <a:gd name="T59" fmla="*/ 22 h 700"/>
                <a:gd name="T60" fmla="*/ 185 w 841"/>
                <a:gd name="T61" fmla="*/ 5 h 700"/>
                <a:gd name="T62" fmla="*/ 253 w 841"/>
                <a:gd name="T63" fmla="*/ 5 h 700"/>
                <a:gd name="T64" fmla="*/ 324 w 841"/>
                <a:gd name="T65" fmla="*/ 57 h 700"/>
                <a:gd name="T66" fmla="*/ 383 w 841"/>
                <a:gd name="T67" fmla="*/ 38 h 700"/>
                <a:gd name="T68" fmla="*/ 522 w 841"/>
                <a:gd name="T69" fmla="*/ 38 h 700"/>
                <a:gd name="T70" fmla="*/ 685 w 841"/>
                <a:gd name="T71" fmla="*/ 57 h 700"/>
                <a:gd name="T72" fmla="*/ 749 w 841"/>
                <a:gd name="T73" fmla="*/ 5 h 700"/>
                <a:gd name="T74" fmla="*/ 808 w 841"/>
                <a:gd name="T75" fmla="*/ 107 h 700"/>
                <a:gd name="T76" fmla="*/ 841 w 841"/>
                <a:gd name="T77" fmla="*/ 149 h 700"/>
                <a:gd name="T78" fmla="*/ 792 w 841"/>
                <a:gd name="T79" fmla="*/ 189 h 700"/>
                <a:gd name="T80" fmla="*/ 754 w 841"/>
                <a:gd name="T81" fmla="*/ 272 h 700"/>
                <a:gd name="T82" fmla="*/ 719 w 841"/>
                <a:gd name="T83" fmla="*/ 329 h 700"/>
                <a:gd name="T84" fmla="*/ 685 w 841"/>
                <a:gd name="T85" fmla="*/ 383 h 700"/>
                <a:gd name="T86" fmla="*/ 669 w 841"/>
                <a:gd name="T87" fmla="*/ 428 h 700"/>
                <a:gd name="T88" fmla="*/ 643 w 841"/>
                <a:gd name="T89" fmla="*/ 478 h 700"/>
                <a:gd name="T90" fmla="*/ 319 w 841"/>
                <a:gd name="T91" fmla="*/ 688 h 700"/>
                <a:gd name="T92" fmla="*/ 319 w 841"/>
                <a:gd name="T93" fmla="*/ 688 h 700"/>
                <a:gd name="T94" fmla="*/ 341 w 841"/>
                <a:gd name="T95" fmla="*/ 683 h 700"/>
                <a:gd name="T96" fmla="*/ 341 w 841"/>
                <a:gd name="T97" fmla="*/ 683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1" h="700">
                  <a:moveTo>
                    <a:pt x="643" y="478"/>
                  </a:moveTo>
                  <a:lnTo>
                    <a:pt x="643" y="478"/>
                  </a:lnTo>
                  <a:lnTo>
                    <a:pt x="648" y="494"/>
                  </a:lnTo>
                  <a:lnTo>
                    <a:pt x="626" y="506"/>
                  </a:lnTo>
                  <a:lnTo>
                    <a:pt x="626" y="522"/>
                  </a:lnTo>
                  <a:lnTo>
                    <a:pt x="610" y="539"/>
                  </a:lnTo>
                  <a:lnTo>
                    <a:pt x="593" y="539"/>
                  </a:lnTo>
                  <a:lnTo>
                    <a:pt x="593" y="518"/>
                  </a:lnTo>
                  <a:lnTo>
                    <a:pt x="556" y="494"/>
                  </a:lnTo>
                  <a:lnTo>
                    <a:pt x="556" y="506"/>
                  </a:lnTo>
                  <a:lnTo>
                    <a:pt x="534" y="506"/>
                  </a:lnTo>
                  <a:lnTo>
                    <a:pt x="522" y="501"/>
                  </a:lnTo>
                  <a:lnTo>
                    <a:pt x="506" y="518"/>
                  </a:lnTo>
                  <a:lnTo>
                    <a:pt x="501" y="518"/>
                  </a:lnTo>
                  <a:lnTo>
                    <a:pt x="492" y="534"/>
                  </a:lnTo>
                  <a:lnTo>
                    <a:pt x="471" y="551"/>
                  </a:lnTo>
                  <a:lnTo>
                    <a:pt x="437" y="577"/>
                  </a:lnTo>
                  <a:lnTo>
                    <a:pt x="437" y="605"/>
                  </a:lnTo>
                  <a:lnTo>
                    <a:pt x="433" y="629"/>
                  </a:lnTo>
                  <a:lnTo>
                    <a:pt x="416" y="662"/>
                  </a:lnTo>
                  <a:lnTo>
                    <a:pt x="409" y="666"/>
                  </a:lnTo>
                  <a:lnTo>
                    <a:pt x="395" y="650"/>
                  </a:lnTo>
                  <a:lnTo>
                    <a:pt x="400" y="666"/>
                  </a:lnTo>
                  <a:lnTo>
                    <a:pt x="395" y="671"/>
                  </a:lnTo>
                  <a:lnTo>
                    <a:pt x="357" y="683"/>
                  </a:lnTo>
                  <a:lnTo>
                    <a:pt x="345" y="671"/>
                  </a:lnTo>
                  <a:lnTo>
                    <a:pt x="345" y="666"/>
                  </a:lnTo>
                  <a:lnTo>
                    <a:pt x="341" y="671"/>
                  </a:lnTo>
                  <a:lnTo>
                    <a:pt x="324" y="671"/>
                  </a:lnTo>
                  <a:lnTo>
                    <a:pt x="308" y="662"/>
                  </a:lnTo>
                  <a:lnTo>
                    <a:pt x="319" y="683"/>
                  </a:lnTo>
                  <a:lnTo>
                    <a:pt x="308" y="683"/>
                  </a:lnTo>
                  <a:lnTo>
                    <a:pt x="303" y="666"/>
                  </a:lnTo>
                  <a:lnTo>
                    <a:pt x="303" y="666"/>
                  </a:lnTo>
                  <a:lnTo>
                    <a:pt x="308" y="688"/>
                  </a:lnTo>
                  <a:lnTo>
                    <a:pt x="291" y="688"/>
                  </a:lnTo>
                  <a:lnTo>
                    <a:pt x="291" y="662"/>
                  </a:lnTo>
                  <a:lnTo>
                    <a:pt x="291" y="688"/>
                  </a:lnTo>
                  <a:lnTo>
                    <a:pt x="286" y="688"/>
                  </a:lnTo>
                  <a:lnTo>
                    <a:pt x="286" y="671"/>
                  </a:lnTo>
                  <a:lnTo>
                    <a:pt x="286" y="683"/>
                  </a:lnTo>
                  <a:lnTo>
                    <a:pt x="286" y="688"/>
                  </a:lnTo>
                  <a:lnTo>
                    <a:pt x="253" y="700"/>
                  </a:lnTo>
                  <a:lnTo>
                    <a:pt x="265" y="683"/>
                  </a:lnTo>
                  <a:lnTo>
                    <a:pt x="253" y="683"/>
                  </a:lnTo>
                  <a:lnTo>
                    <a:pt x="248" y="688"/>
                  </a:lnTo>
                  <a:lnTo>
                    <a:pt x="237" y="700"/>
                  </a:lnTo>
                  <a:lnTo>
                    <a:pt x="215" y="683"/>
                  </a:lnTo>
                  <a:lnTo>
                    <a:pt x="199" y="650"/>
                  </a:lnTo>
                  <a:lnTo>
                    <a:pt x="194" y="633"/>
                  </a:lnTo>
                  <a:lnTo>
                    <a:pt x="199" y="633"/>
                  </a:lnTo>
                  <a:lnTo>
                    <a:pt x="194" y="633"/>
                  </a:lnTo>
                  <a:lnTo>
                    <a:pt x="194" y="617"/>
                  </a:lnTo>
                  <a:lnTo>
                    <a:pt x="211" y="605"/>
                  </a:lnTo>
                  <a:lnTo>
                    <a:pt x="199" y="612"/>
                  </a:lnTo>
                  <a:lnTo>
                    <a:pt x="185" y="612"/>
                  </a:lnTo>
                  <a:lnTo>
                    <a:pt x="178" y="605"/>
                  </a:lnTo>
                  <a:lnTo>
                    <a:pt x="199" y="593"/>
                  </a:lnTo>
                  <a:lnTo>
                    <a:pt x="178" y="605"/>
                  </a:lnTo>
                  <a:lnTo>
                    <a:pt x="156" y="572"/>
                  </a:lnTo>
                  <a:lnTo>
                    <a:pt x="130" y="551"/>
                  </a:lnTo>
                  <a:lnTo>
                    <a:pt x="55" y="539"/>
                  </a:lnTo>
                  <a:lnTo>
                    <a:pt x="85" y="522"/>
                  </a:lnTo>
                  <a:lnTo>
                    <a:pt x="60" y="534"/>
                  </a:lnTo>
                  <a:lnTo>
                    <a:pt x="60" y="534"/>
                  </a:lnTo>
                  <a:lnTo>
                    <a:pt x="48" y="551"/>
                  </a:lnTo>
                  <a:lnTo>
                    <a:pt x="5" y="551"/>
                  </a:lnTo>
                  <a:lnTo>
                    <a:pt x="5" y="494"/>
                  </a:lnTo>
                  <a:lnTo>
                    <a:pt x="0" y="440"/>
                  </a:lnTo>
                  <a:lnTo>
                    <a:pt x="5" y="350"/>
                  </a:lnTo>
                  <a:lnTo>
                    <a:pt x="34" y="350"/>
                  </a:lnTo>
                  <a:lnTo>
                    <a:pt x="38" y="329"/>
                  </a:lnTo>
                  <a:lnTo>
                    <a:pt x="55" y="300"/>
                  </a:lnTo>
                  <a:lnTo>
                    <a:pt x="48" y="296"/>
                  </a:lnTo>
                  <a:lnTo>
                    <a:pt x="71" y="284"/>
                  </a:lnTo>
                  <a:lnTo>
                    <a:pt x="76" y="272"/>
                  </a:lnTo>
                  <a:lnTo>
                    <a:pt x="71" y="260"/>
                  </a:lnTo>
                  <a:lnTo>
                    <a:pt x="76" y="244"/>
                  </a:lnTo>
                  <a:lnTo>
                    <a:pt x="85" y="255"/>
                  </a:lnTo>
                  <a:lnTo>
                    <a:pt x="85" y="239"/>
                  </a:lnTo>
                  <a:lnTo>
                    <a:pt x="76" y="222"/>
                  </a:lnTo>
                  <a:lnTo>
                    <a:pt x="76" y="201"/>
                  </a:lnTo>
                  <a:lnTo>
                    <a:pt x="60" y="173"/>
                  </a:lnTo>
                  <a:lnTo>
                    <a:pt x="71" y="161"/>
                  </a:lnTo>
                  <a:lnTo>
                    <a:pt x="76" y="149"/>
                  </a:lnTo>
                  <a:lnTo>
                    <a:pt x="71" y="144"/>
                  </a:lnTo>
                  <a:lnTo>
                    <a:pt x="71" y="95"/>
                  </a:lnTo>
                  <a:lnTo>
                    <a:pt x="93" y="78"/>
                  </a:lnTo>
                  <a:lnTo>
                    <a:pt x="102" y="62"/>
                  </a:lnTo>
                  <a:lnTo>
                    <a:pt x="109" y="22"/>
                  </a:lnTo>
                  <a:lnTo>
                    <a:pt x="130" y="5"/>
                  </a:lnTo>
                  <a:lnTo>
                    <a:pt x="156" y="5"/>
                  </a:lnTo>
                  <a:lnTo>
                    <a:pt x="185" y="5"/>
                  </a:lnTo>
                  <a:lnTo>
                    <a:pt x="199" y="0"/>
                  </a:lnTo>
                  <a:lnTo>
                    <a:pt x="248" y="17"/>
                  </a:lnTo>
                  <a:lnTo>
                    <a:pt x="253" y="5"/>
                  </a:lnTo>
                  <a:lnTo>
                    <a:pt x="303" y="62"/>
                  </a:lnTo>
                  <a:lnTo>
                    <a:pt x="308" y="62"/>
                  </a:lnTo>
                  <a:lnTo>
                    <a:pt x="324" y="57"/>
                  </a:lnTo>
                  <a:lnTo>
                    <a:pt x="329" y="57"/>
                  </a:lnTo>
                  <a:lnTo>
                    <a:pt x="362" y="33"/>
                  </a:lnTo>
                  <a:lnTo>
                    <a:pt x="383" y="38"/>
                  </a:lnTo>
                  <a:lnTo>
                    <a:pt x="426" y="62"/>
                  </a:lnTo>
                  <a:lnTo>
                    <a:pt x="492" y="78"/>
                  </a:lnTo>
                  <a:lnTo>
                    <a:pt x="522" y="38"/>
                  </a:lnTo>
                  <a:lnTo>
                    <a:pt x="560" y="33"/>
                  </a:lnTo>
                  <a:lnTo>
                    <a:pt x="615" y="33"/>
                  </a:lnTo>
                  <a:lnTo>
                    <a:pt x="685" y="57"/>
                  </a:lnTo>
                  <a:lnTo>
                    <a:pt x="719" y="22"/>
                  </a:lnTo>
                  <a:lnTo>
                    <a:pt x="740" y="22"/>
                  </a:lnTo>
                  <a:lnTo>
                    <a:pt x="749" y="5"/>
                  </a:lnTo>
                  <a:lnTo>
                    <a:pt x="771" y="5"/>
                  </a:lnTo>
                  <a:lnTo>
                    <a:pt x="804" y="57"/>
                  </a:lnTo>
                  <a:lnTo>
                    <a:pt x="808" y="107"/>
                  </a:lnTo>
                  <a:lnTo>
                    <a:pt x="830" y="111"/>
                  </a:lnTo>
                  <a:lnTo>
                    <a:pt x="841" y="116"/>
                  </a:lnTo>
                  <a:lnTo>
                    <a:pt x="841" y="149"/>
                  </a:lnTo>
                  <a:lnTo>
                    <a:pt x="841" y="168"/>
                  </a:lnTo>
                  <a:lnTo>
                    <a:pt x="808" y="189"/>
                  </a:lnTo>
                  <a:lnTo>
                    <a:pt x="792" y="189"/>
                  </a:lnTo>
                  <a:lnTo>
                    <a:pt x="778" y="206"/>
                  </a:lnTo>
                  <a:lnTo>
                    <a:pt x="761" y="239"/>
                  </a:lnTo>
                  <a:lnTo>
                    <a:pt x="754" y="272"/>
                  </a:lnTo>
                  <a:lnTo>
                    <a:pt x="749" y="279"/>
                  </a:lnTo>
                  <a:lnTo>
                    <a:pt x="740" y="312"/>
                  </a:lnTo>
                  <a:lnTo>
                    <a:pt x="719" y="329"/>
                  </a:lnTo>
                  <a:lnTo>
                    <a:pt x="707" y="371"/>
                  </a:lnTo>
                  <a:lnTo>
                    <a:pt x="702" y="383"/>
                  </a:lnTo>
                  <a:lnTo>
                    <a:pt x="685" y="383"/>
                  </a:lnTo>
                  <a:lnTo>
                    <a:pt x="685" y="390"/>
                  </a:lnTo>
                  <a:lnTo>
                    <a:pt x="669" y="395"/>
                  </a:lnTo>
                  <a:lnTo>
                    <a:pt x="669" y="428"/>
                  </a:lnTo>
                  <a:lnTo>
                    <a:pt x="652" y="444"/>
                  </a:lnTo>
                  <a:lnTo>
                    <a:pt x="652" y="461"/>
                  </a:lnTo>
                  <a:lnTo>
                    <a:pt x="643" y="478"/>
                  </a:lnTo>
                  <a:lnTo>
                    <a:pt x="643" y="478"/>
                  </a:lnTo>
                  <a:lnTo>
                    <a:pt x="643" y="478"/>
                  </a:lnTo>
                  <a:close/>
                  <a:moveTo>
                    <a:pt x="319" y="688"/>
                  </a:moveTo>
                  <a:lnTo>
                    <a:pt x="324" y="671"/>
                  </a:lnTo>
                  <a:lnTo>
                    <a:pt x="329" y="683"/>
                  </a:lnTo>
                  <a:lnTo>
                    <a:pt x="319" y="688"/>
                  </a:lnTo>
                  <a:lnTo>
                    <a:pt x="319" y="688"/>
                  </a:lnTo>
                  <a:lnTo>
                    <a:pt x="319" y="688"/>
                  </a:lnTo>
                  <a:close/>
                  <a:moveTo>
                    <a:pt x="341" y="683"/>
                  </a:moveTo>
                  <a:lnTo>
                    <a:pt x="329" y="683"/>
                  </a:lnTo>
                  <a:lnTo>
                    <a:pt x="341" y="683"/>
                  </a:lnTo>
                  <a:lnTo>
                    <a:pt x="341" y="683"/>
                  </a:lnTo>
                  <a:lnTo>
                    <a:pt x="341" y="683"/>
                  </a:lnTo>
                  <a:lnTo>
                    <a:pt x="341" y="683"/>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1" name="Freeform 522">
              <a:extLst>
                <a:ext uri="{FF2B5EF4-FFF2-40B4-BE49-F238E27FC236}">
                  <a16:creationId xmlns:a16="http://schemas.microsoft.com/office/drawing/2014/main" id="{CB4580D9-728D-4074-B52A-A97F0B0CF408}"/>
                </a:ext>
              </a:extLst>
            </p:cNvPr>
            <p:cNvSpPr>
              <a:spLocks noEditPoints="1"/>
            </p:cNvSpPr>
            <p:nvPr/>
          </p:nvSpPr>
          <p:spPr bwMode="gray">
            <a:xfrm>
              <a:off x="13822389" y="2717504"/>
              <a:ext cx="88370" cy="85097"/>
            </a:xfrm>
            <a:custGeom>
              <a:avLst/>
              <a:gdLst>
                <a:gd name="T0" fmla="*/ 156 w 270"/>
                <a:gd name="T1" fmla="*/ 0 h 260"/>
                <a:gd name="T2" fmla="*/ 161 w 270"/>
                <a:gd name="T3" fmla="*/ 0 h 260"/>
                <a:gd name="T4" fmla="*/ 161 w 270"/>
                <a:gd name="T5" fmla="*/ 0 h 260"/>
                <a:gd name="T6" fmla="*/ 270 w 270"/>
                <a:gd name="T7" fmla="*/ 49 h 260"/>
                <a:gd name="T8" fmla="*/ 237 w 270"/>
                <a:gd name="T9" fmla="*/ 78 h 260"/>
                <a:gd name="T10" fmla="*/ 253 w 270"/>
                <a:gd name="T11" fmla="*/ 104 h 260"/>
                <a:gd name="T12" fmla="*/ 232 w 270"/>
                <a:gd name="T13" fmla="*/ 132 h 260"/>
                <a:gd name="T14" fmla="*/ 178 w 270"/>
                <a:gd name="T15" fmla="*/ 161 h 260"/>
                <a:gd name="T16" fmla="*/ 199 w 270"/>
                <a:gd name="T17" fmla="*/ 205 h 260"/>
                <a:gd name="T18" fmla="*/ 185 w 270"/>
                <a:gd name="T19" fmla="*/ 222 h 260"/>
                <a:gd name="T20" fmla="*/ 185 w 270"/>
                <a:gd name="T21" fmla="*/ 243 h 260"/>
                <a:gd name="T22" fmla="*/ 161 w 270"/>
                <a:gd name="T23" fmla="*/ 260 h 260"/>
                <a:gd name="T24" fmla="*/ 168 w 270"/>
                <a:gd name="T25" fmla="*/ 222 h 260"/>
                <a:gd name="T26" fmla="*/ 130 w 270"/>
                <a:gd name="T27" fmla="*/ 217 h 260"/>
                <a:gd name="T28" fmla="*/ 109 w 270"/>
                <a:gd name="T29" fmla="*/ 198 h 260"/>
                <a:gd name="T30" fmla="*/ 85 w 270"/>
                <a:gd name="T31" fmla="*/ 198 h 260"/>
                <a:gd name="T32" fmla="*/ 69 w 270"/>
                <a:gd name="T33" fmla="*/ 198 h 260"/>
                <a:gd name="T34" fmla="*/ 59 w 270"/>
                <a:gd name="T35" fmla="*/ 198 h 260"/>
                <a:gd name="T36" fmla="*/ 0 w 270"/>
                <a:gd name="T37" fmla="*/ 189 h 260"/>
                <a:gd name="T38" fmla="*/ 31 w 270"/>
                <a:gd name="T39" fmla="*/ 182 h 260"/>
                <a:gd name="T40" fmla="*/ 55 w 270"/>
                <a:gd name="T41" fmla="*/ 198 h 260"/>
                <a:gd name="T42" fmla="*/ 38 w 270"/>
                <a:gd name="T43" fmla="*/ 182 h 260"/>
                <a:gd name="T44" fmla="*/ 22 w 270"/>
                <a:gd name="T45" fmla="*/ 165 h 260"/>
                <a:gd name="T46" fmla="*/ 31 w 270"/>
                <a:gd name="T47" fmla="*/ 161 h 260"/>
                <a:gd name="T48" fmla="*/ 38 w 270"/>
                <a:gd name="T49" fmla="*/ 144 h 260"/>
                <a:gd name="T50" fmla="*/ 85 w 270"/>
                <a:gd name="T51" fmla="*/ 94 h 260"/>
                <a:gd name="T52" fmla="*/ 168 w 270"/>
                <a:gd name="T53" fmla="*/ 94 h 260"/>
                <a:gd name="T54" fmla="*/ 156 w 270"/>
                <a:gd name="T55" fmla="*/ 78 h 260"/>
                <a:gd name="T56" fmla="*/ 161 w 270"/>
                <a:gd name="T57" fmla="*/ 66 h 260"/>
                <a:gd name="T58" fmla="*/ 140 w 270"/>
                <a:gd name="T59" fmla="*/ 38 h 260"/>
                <a:gd name="T60" fmla="*/ 123 w 270"/>
                <a:gd name="T61" fmla="*/ 66 h 260"/>
                <a:gd name="T62" fmla="*/ 114 w 270"/>
                <a:gd name="T63" fmla="*/ 78 h 260"/>
                <a:gd name="T64" fmla="*/ 114 w 270"/>
                <a:gd name="T65" fmla="*/ 104 h 260"/>
                <a:gd name="T66" fmla="*/ 93 w 270"/>
                <a:gd name="T67" fmla="*/ 49 h 260"/>
                <a:gd name="T68" fmla="*/ 114 w 270"/>
                <a:gd name="T69" fmla="*/ 49 h 260"/>
                <a:gd name="T70" fmla="*/ 178 w 270"/>
                <a:gd name="T71" fmla="*/ 9 h 260"/>
                <a:gd name="T72" fmla="*/ 270 w 270"/>
                <a:gd name="T73" fmla="*/ 21 h 260"/>
                <a:gd name="T74" fmla="*/ 270 w 270"/>
                <a:gd name="T75" fmla="*/ 21 h 260"/>
                <a:gd name="T76" fmla="*/ 93 w 270"/>
                <a:gd name="T77" fmla="*/ 38 h 260"/>
                <a:gd name="T78" fmla="*/ 109 w 270"/>
                <a:gd name="T79" fmla="*/ 38 h 260"/>
                <a:gd name="T80" fmla="*/ 93 w 270"/>
                <a:gd name="T81" fmla="*/ 49 h 260"/>
                <a:gd name="T82" fmla="*/ 114 w 270"/>
                <a:gd name="T83" fmla="*/ 104 h 260"/>
                <a:gd name="T84" fmla="*/ 130 w 270"/>
                <a:gd name="T85" fmla="*/ 71 h 260"/>
                <a:gd name="T86" fmla="*/ 123 w 270"/>
                <a:gd name="T87" fmla="*/ 104 h 260"/>
                <a:gd name="T88" fmla="*/ 114 w 270"/>
                <a:gd name="T89" fmla="*/ 104 h 260"/>
                <a:gd name="T90" fmla="*/ 114 w 270"/>
                <a:gd name="T91" fmla="*/ 104 h 260"/>
                <a:gd name="T92" fmla="*/ 140 w 270"/>
                <a:gd name="T93" fmla="*/ 120 h 260"/>
                <a:gd name="T94" fmla="*/ 156 w 270"/>
                <a:gd name="T95" fmla="*/ 87 h 260"/>
                <a:gd name="T96" fmla="*/ 168 w 270"/>
                <a:gd name="T97" fmla="*/ 104 h 260"/>
                <a:gd name="T98" fmla="*/ 156 w 270"/>
                <a:gd name="T99" fmla="*/ 104 h 260"/>
                <a:gd name="T100" fmla="*/ 59 w 270"/>
                <a:gd name="T101" fmla="*/ 205 h 260"/>
                <a:gd name="T102" fmla="*/ 17 w 270"/>
                <a:gd name="T103" fmla="*/ 205 h 260"/>
                <a:gd name="T104" fmla="*/ 0 w 270"/>
                <a:gd name="T105" fmla="*/ 198 h 260"/>
                <a:gd name="T106" fmla="*/ 59 w 270"/>
                <a:gd name="T107" fmla="*/ 20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0" h="260">
                  <a:moveTo>
                    <a:pt x="161" y="0"/>
                  </a:moveTo>
                  <a:lnTo>
                    <a:pt x="156" y="0"/>
                  </a:lnTo>
                  <a:lnTo>
                    <a:pt x="178" y="0"/>
                  </a:lnTo>
                  <a:lnTo>
                    <a:pt x="161" y="0"/>
                  </a:lnTo>
                  <a:lnTo>
                    <a:pt x="161" y="0"/>
                  </a:lnTo>
                  <a:lnTo>
                    <a:pt x="161" y="0"/>
                  </a:lnTo>
                  <a:close/>
                  <a:moveTo>
                    <a:pt x="270" y="21"/>
                  </a:moveTo>
                  <a:lnTo>
                    <a:pt x="270" y="49"/>
                  </a:lnTo>
                  <a:lnTo>
                    <a:pt x="253" y="78"/>
                  </a:lnTo>
                  <a:lnTo>
                    <a:pt x="237" y="78"/>
                  </a:lnTo>
                  <a:lnTo>
                    <a:pt x="232" y="87"/>
                  </a:lnTo>
                  <a:lnTo>
                    <a:pt x="253" y="104"/>
                  </a:lnTo>
                  <a:lnTo>
                    <a:pt x="253" y="120"/>
                  </a:lnTo>
                  <a:lnTo>
                    <a:pt x="232" y="132"/>
                  </a:lnTo>
                  <a:lnTo>
                    <a:pt x="237" y="144"/>
                  </a:lnTo>
                  <a:lnTo>
                    <a:pt x="178" y="161"/>
                  </a:lnTo>
                  <a:lnTo>
                    <a:pt x="199" y="189"/>
                  </a:lnTo>
                  <a:lnTo>
                    <a:pt x="199" y="205"/>
                  </a:lnTo>
                  <a:lnTo>
                    <a:pt x="185" y="217"/>
                  </a:lnTo>
                  <a:lnTo>
                    <a:pt x="185" y="222"/>
                  </a:lnTo>
                  <a:lnTo>
                    <a:pt x="168" y="234"/>
                  </a:lnTo>
                  <a:lnTo>
                    <a:pt x="185" y="243"/>
                  </a:lnTo>
                  <a:lnTo>
                    <a:pt x="185" y="260"/>
                  </a:lnTo>
                  <a:lnTo>
                    <a:pt x="161" y="260"/>
                  </a:lnTo>
                  <a:lnTo>
                    <a:pt x="156" y="255"/>
                  </a:lnTo>
                  <a:lnTo>
                    <a:pt x="168" y="222"/>
                  </a:lnTo>
                  <a:lnTo>
                    <a:pt x="147" y="205"/>
                  </a:lnTo>
                  <a:lnTo>
                    <a:pt x="130" y="217"/>
                  </a:lnTo>
                  <a:lnTo>
                    <a:pt x="114" y="189"/>
                  </a:lnTo>
                  <a:lnTo>
                    <a:pt x="109" y="198"/>
                  </a:lnTo>
                  <a:lnTo>
                    <a:pt x="102" y="189"/>
                  </a:lnTo>
                  <a:lnTo>
                    <a:pt x="85" y="198"/>
                  </a:lnTo>
                  <a:lnTo>
                    <a:pt x="76" y="189"/>
                  </a:lnTo>
                  <a:lnTo>
                    <a:pt x="69" y="198"/>
                  </a:lnTo>
                  <a:lnTo>
                    <a:pt x="69" y="205"/>
                  </a:lnTo>
                  <a:lnTo>
                    <a:pt x="59" y="198"/>
                  </a:lnTo>
                  <a:lnTo>
                    <a:pt x="31" y="198"/>
                  </a:lnTo>
                  <a:lnTo>
                    <a:pt x="0" y="189"/>
                  </a:lnTo>
                  <a:lnTo>
                    <a:pt x="31" y="182"/>
                  </a:lnTo>
                  <a:lnTo>
                    <a:pt x="31" y="182"/>
                  </a:lnTo>
                  <a:lnTo>
                    <a:pt x="31" y="182"/>
                  </a:lnTo>
                  <a:lnTo>
                    <a:pt x="55" y="198"/>
                  </a:lnTo>
                  <a:lnTo>
                    <a:pt x="59" y="198"/>
                  </a:lnTo>
                  <a:lnTo>
                    <a:pt x="38" y="182"/>
                  </a:lnTo>
                  <a:lnTo>
                    <a:pt x="55" y="182"/>
                  </a:lnTo>
                  <a:lnTo>
                    <a:pt x="22" y="165"/>
                  </a:lnTo>
                  <a:lnTo>
                    <a:pt x="55" y="177"/>
                  </a:lnTo>
                  <a:lnTo>
                    <a:pt x="31" y="161"/>
                  </a:lnTo>
                  <a:lnTo>
                    <a:pt x="48" y="161"/>
                  </a:lnTo>
                  <a:lnTo>
                    <a:pt x="38" y="144"/>
                  </a:lnTo>
                  <a:lnTo>
                    <a:pt x="69" y="127"/>
                  </a:lnTo>
                  <a:lnTo>
                    <a:pt x="85" y="94"/>
                  </a:lnTo>
                  <a:lnTo>
                    <a:pt x="140" y="120"/>
                  </a:lnTo>
                  <a:lnTo>
                    <a:pt x="168" y="94"/>
                  </a:lnTo>
                  <a:lnTo>
                    <a:pt x="168" y="78"/>
                  </a:lnTo>
                  <a:lnTo>
                    <a:pt x="156" y="78"/>
                  </a:lnTo>
                  <a:lnTo>
                    <a:pt x="156" y="71"/>
                  </a:lnTo>
                  <a:lnTo>
                    <a:pt x="161" y="66"/>
                  </a:lnTo>
                  <a:lnTo>
                    <a:pt x="140" y="54"/>
                  </a:lnTo>
                  <a:lnTo>
                    <a:pt x="140" y="38"/>
                  </a:lnTo>
                  <a:lnTo>
                    <a:pt x="114" y="49"/>
                  </a:lnTo>
                  <a:lnTo>
                    <a:pt x="123" y="66"/>
                  </a:lnTo>
                  <a:lnTo>
                    <a:pt x="130" y="71"/>
                  </a:lnTo>
                  <a:lnTo>
                    <a:pt x="114" y="78"/>
                  </a:lnTo>
                  <a:lnTo>
                    <a:pt x="114" y="94"/>
                  </a:lnTo>
                  <a:lnTo>
                    <a:pt x="114" y="104"/>
                  </a:lnTo>
                  <a:lnTo>
                    <a:pt x="85" y="94"/>
                  </a:lnTo>
                  <a:lnTo>
                    <a:pt x="93" y="49"/>
                  </a:lnTo>
                  <a:lnTo>
                    <a:pt x="102" y="54"/>
                  </a:lnTo>
                  <a:lnTo>
                    <a:pt x="114" y="49"/>
                  </a:lnTo>
                  <a:lnTo>
                    <a:pt x="156" y="16"/>
                  </a:lnTo>
                  <a:lnTo>
                    <a:pt x="178" y="9"/>
                  </a:lnTo>
                  <a:lnTo>
                    <a:pt x="232" y="0"/>
                  </a:lnTo>
                  <a:lnTo>
                    <a:pt x="270" y="21"/>
                  </a:lnTo>
                  <a:lnTo>
                    <a:pt x="270" y="21"/>
                  </a:lnTo>
                  <a:lnTo>
                    <a:pt x="270" y="21"/>
                  </a:lnTo>
                  <a:close/>
                  <a:moveTo>
                    <a:pt x="93" y="49"/>
                  </a:moveTo>
                  <a:lnTo>
                    <a:pt x="93" y="38"/>
                  </a:lnTo>
                  <a:lnTo>
                    <a:pt x="102" y="21"/>
                  </a:lnTo>
                  <a:lnTo>
                    <a:pt x="109" y="38"/>
                  </a:lnTo>
                  <a:lnTo>
                    <a:pt x="93" y="49"/>
                  </a:lnTo>
                  <a:lnTo>
                    <a:pt x="93" y="49"/>
                  </a:lnTo>
                  <a:lnTo>
                    <a:pt x="93" y="49"/>
                  </a:lnTo>
                  <a:close/>
                  <a:moveTo>
                    <a:pt x="114" y="104"/>
                  </a:moveTo>
                  <a:lnTo>
                    <a:pt x="114" y="78"/>
                  </a:lnTo>
                  <a:lnTo>
                    <a:pt x="130" y="71"/>
                  </a:lnTo>
                  <a:lnTo>
                    <a:pt x="147" y="87"/>
                  </a:lnTo>
                  <a:lnTo>
                    <a:pt x="123" y="104"/>
                  </a:lnTo>
                  <a:lnTo>
                    <a:pt x="114" y="104"/>
                  </a:lnTo>
                  <a:lnTo>
                    <a:pt x="114" y="104"/>
                  </a:lnTo>
                  <a:lnTo>
                    <a:pt x="114" y="104"/>
                  </a:lnTo>
                  <a:lnTo>
                    <a:pt x="114" y="104"/>
                  </a:lnTo>
                  <a:close/>
                  <a:moveTo>
                    <a:pt x="156" y="104"/>
                  </a:moveTo>
                  <a:lnTo>
                    <a:pt x="140" y="120"/>
                  </a:lnTo>
                  <a:lnTo>
                    <a:pt x="123" y="104"/>
                  </a:lnTo>
                  <a:lnTo>
                    <a:pt x="156" y="87"/>
                  </a:lnTo>
                  <a:lnTo>
                    <a:pt x="168" y="87"/>
                  </a:lnTo>
                  <a:lnTo>
                    <a:pt x="168" y="104"/>
                  </a:lnTo>
                  <a:lnTo>
                    <a:pt x="156" y="104"/>
                  </a:lnTo>
                  <a:lnTo>
                    <a:pt x="156" y="104"/>
                  </a:lnTo>
                  <a:lnTo>
                    <a:pt x="156" y="104"/>
                  </a:lnTo>
                  <a:close/>
                  <a:moveTo>
                    <a:pt x="59" y="205"/>
                  </a:moveTo>
                  <a:lnTo>
                    <a:pt x="31" y="217"/>
                  </a:lnTo>
                  <a:lnTo>
                    <a:pt x="17" y="205"/>
                  </a:lnTo>
                  <a:lnTo>
                    <a:pt x="0" y="217"/>
                  </a:lnTo>
                  <a:lnTo>
                    <a:pt x="0" y="198"/>
                  </a:lnTo>
                  <a:lnTo>
                    <a:pt x="59" y="205"/>
                  </a:lnTo>
                  <a:lnTo>
                    <a:pt x="59" y="205"/>
                  </a:lnTo>
                  <a:lnTo>
                    <a:pt x="59" y="205"/>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2" name="Freeform 523">
              <a:extLst>
                <a:ext uri="{FF2B5EF4-FFF2-40B4-BE49-F238E27FC236}">
                  <a16:creationId xmlns:a16="http://schemas.microsoft.com/office/drawing/2014/main" id="{07A41961-1DE5-4114-86E3-441FAA3637F8}"/>
                </a:ext>
              </a:extLst>
            </p:cNvPr>
            <p:cNvSpPr>
              <a:spLocks noEditPoints="1"/>
            </p:cNvSpPr>
            <p:nvPr/>
          </p:nvSpPr>
          <p:spPr bwMode="gray">
            <a:xfrm>
              <a:off x="13855774" y="2064220"/>
              <a:ext cx="602880" cy="502400"/>
            </a:xfrm>
            <a:custGeom>
              <a:avLst/>
              <a:gdLst>
                <a:gd name="T0" fmla="*/ 1713 w 1842"/>
                <a:gd name="T1" fmla="*/ 238 h 1535"/>
                <a:gd name="T2" fmla="*/ 1285 w 1842"/>
                <a:gd name="T3" fmla="*/ 326 h 1535"/>
                <a:gd name="T4" fmla="*/ 919 w 1842"/>
                <a:gd name="T5" fmla="*/ 411 h 1535"/>
                <a:gd name="T6" fmla="*/ 546 w 1842"/>
                <a:gd name="T7" fmla="*/ 886 h 1535"/>
                <a:gd name="T8" fmla="*/ 470 w 1842"/>
                <a:gd name="T9" fmla="*/ 1441 h 1535"/>
                <a:gd name="T10" fmla="*/ 399 w 1842"/>
                <a:gd name="T11" fmla="*/ 1403 h 1535"/>
                <a:gd name="T12" fmla="*/ 92 w 1842"/>
                <a:gd name="T13" fmla="*/ 1453 h 1535"/>
                <a:gd name="T14" fmla="*/ 54 w 1842"/>
                <a:gd name="T15" fmla="*/ 1386 h 1535"/>
                <a:gd name="T16" fmla="*/ 163 w 1842"/>
                <a:gd name="T17" fmla="*/ 1268 h 1535"/>
                <a:gd name="T18" fmla="*/ 54 w 1842"/>
                <a:gd name="T19" fmla="*/ 1242 h 1535"/>
                <a:gd name="T20" fmla="*/ 189 w 1842"/>
                <a:gd name="T21" fmla="*/ 1164 h 1535"/>
                <a:gd name="T22" fmla="*/ 21 w 1842"/>
                <a:gd name="T23" fmla="*/ 1148 h 1535"/>
                <a:gd name="T24" fmla="*/ 97 w 1842"/>
                <a:gd name="T25" fmla="*/ 1058 h 1535"/>
                <a:gd name="T26" fmla="*/ 206 w 1842"/>
                <a:gd name="T27" fmla="*/ 1049 h 1535"/>
                <a:gd name="T28" fmla="*/ 227 w 1842"/>
                <a:gd name="T29" fmla="*/ 980 h 1535"/>
                <a:gd name="T30" fmla="*/ 361 w 1842"/>
                <a:gd name="T31" fmla="*/ 947 h 1535"/>
                <a:gd name="T32" fmla="*/ 352 w 1842"/>
                <a:gd name="T33" fmla="*/ 938 h 1535"/>
                <a:gd name="T34" fmla="*/ 470 w 1842"/>
                <a:gd name="T35" fmla="*/ 815 h 1535"/>
                <a:gd name="T36" fmla="*/ 541 w 1842"/>
                <a:gd name="T37" fmla="*/ 720 h 1535"/>
                <a:gd name="T38" fmla="*/ 567 w 1842"/>
                <a:gd name="T39" fmla="*/ 626 h 1535"/>
                <a:gd name="T40" fmla="*/ 659 w 1842"/>
                <a:gd name="T41" fmla="*/ 503 h 1535"/>
                <a:gd name="T42" fmla="*/ 692 w 1842"/>
                <a:gd name="T43" fmla="*/ 465 h 1535"/>
                <a:gd name="T44" fmla="*/ 702 w 1842"/>
                <a:gd name="T45" fmla="*/ 420 h 1535"/>
                <a:gd name="T46" fmla="*/ 801 w 1842"/>
                <a:gd name="T47" fmla="*/ 387 h 1535"/>
                <a:gd name="T48" fmla="*/ 848 w 1842"/>
                <a:gd name="T49" fmla="*/ 338 h 1535"/>
                <a:gd name="T50" fmla="*/ 994 w 1842"/>
                <a:gd name="T51" fmla="*/ 243 h 1535"/>
                <a:gd name="T52" fmla="*/ 1049 w 1842"/>
                <a:gd name="T53" fmla="*/ 189 h 1535"/>
                <a:gd name="T54" fmla="*/ 1172 w 1842"/>
                <a:gd name="T55" fmla="*/ 111 h 1535"/>
                <a:gd name="T56" fmla="*/ 1318 w 1842"/>
                <a:gd name="T57" fmla="*/ 94 h 1535"/>
                <a:gd name="T58" fmla="*/ 1431 w 1842"/>
                <a:gd name="T59" fmla="*/ 104 h 1535"/>
                <a:gd name="T60" fmla="*/ 1557 w 1842"/>
                <a:gd name="T61" fmla="*/ 71 h 1535"/>
                <a:gd name="T62" fmla="*/ 1625 w 1842"/>
                <a:gd name="T63" fmla="*/ 94 h 1535"/>
                <a:gd name="T64" fmla="*/ 1826 w 1842"/>
                <a:gd name="T65" fmla="*/ 94 h 1535"/>
                <a:gd name="T66" fmla="*/ 1798 w 1842"/>
                <a:gd name="T67" fmla="*/ 189 h 1535"/>
                <a:gd name="T68" fmla="*/ 1205 w 1842"/>
                <a:gd name="T69" fmla="*/ 61 h 1535"/>
                <a:gd name="T70" fmla="*/ 1351 w 1842"/>
                <a:gd name="T71" fmla="*/ 71 h 1535"/>
                <a:gd name="T72" fmla="*/ 1188 w 1842"/>
                <a:gd name="T73" fmla="*/ 116 h 1535"/>
                <a:gd name="T74" fmla="*/ 999 w 1842"/>
                <a:gd name="T75" fmla="*/ 132 h 1535"/>
                <a:gd name="T76" fmla="*/ 1124 w 1842"/>
                <a:gd name="T77" fmla="*/ 132 h 1535"/>
                <a:gd name="T78" fmla="*/ 1124 w 1842"/>
                <a:gd name="T79" fmla="*/ 160 h 1535"/>
                <a:gd name="T80" fmla="*/ 1750 w 1842"/>
                <a:gd name="T81" fmla="*/ 182 h 1535"/>
                <a:gd name="T82" fmla="*/ 940 w 1842"/>
                <a:gd name="T83" fmla="*/ 198 h 1535"/>
                <a:gd name="T84" fmla="*/ 919 w 1842"/>
                <a:gd name="T85" fmla="*/ 238 h 1535"/>
                <a:gd name="T86" fmla="*/ 876 w 1842"/>
                <a:gd name="T87" fmla="*/ 276 h 1535"/>
                <a:gd name="T88" fmla="*/ 676 w 1842"/>
                <a:gd name="T89" fmla="*/ 326 h 1535"/>
                <a:gd name="T90" fmla="*/ 768 w 1842"/>
                <a:gd name="T91" fmla="*/ 349 h 1535"/>
                <a:gd name="T92" fmla="*/ 709 w 1842"/>
                <a:gd name="T93" fmla="*/ 293 h 1535"/>
                <a:gd name="T94" fmla="*/ 794 w 1842"/>
                <a:gd name="T95" fmla="*/ 354 h 1535"/>
                <a:gd name="T96" fmla="*/ 654 w 1842"/>
                <a:gd name="T97" fmla="*/ 371 h 1535"/>
                <a:gd name="T98" fmla="*/ 583 w 1842"/>
                <a:gd name="T99" fmla="*/ 404 h 1535"/>
                <a:gd name="T100" fmla="*/ 725 w 1842"/>
                <a:gd name="T101" fmla="*/ 411 h 1535"/>
                <a:gd name="T102" fmla="*/ 529 w 1842"/>
                <a:gd name="T103" fmla="*/ 666 h 1535"/>
                <a:gd name="T104" fmla="*/ 498 w 1842"/>
                <a:gd name="T105" fmla="*/ 753 h 1535"/>
                <a:gd name="T106" fmla="*/ 454 w 1842"/>
                <a:gd name="T107" fmla="*/ 810 h 1535"/>
                <a:gd name="T108" fmla="*/ 255 w 1842"/>
                <a:gd name="T109" fmla="*/ 942 h 1535"/>
                <a:gd name="T110" fmla="*/ 260 w 1842"/>
                <a:gd name="T111" fmla="*/ 959 h 1535"/>
                <a:gd name="T112" fmla="*/ 239 w 1842"/>
                <a:gd name="T113" fmla="*/ 975 h 1535"/>
                <a:gd name="T114" fmla="*/ 135 w 1842"/>
                <a:gd name="T115" fmla="*/ 1020 h 1535"/>
                <a:gd name="T116" fmla="*/ 66 w 1842"/>
                <a:gd name="T117" fmla="*/ 1075 h 1535"/>
                <a:gd name="T118" fmla="*/ 7 w 1842"/>
                <a:gd name="T119" fmla="*/ 1131 h 1535"/>
                <a:gd name="T120" fmla="*/ 21 w 1842"/>
                <a:gd name="T121" fmla="*/ 1280 h 1535"/>
                <a:gd name="T122" fmla="*/ 28 w 1842"/>
                <a:gd name="T123" fmla="*/ 1325 h 1535"/>
                <a:gd name="T124" fmla="*/ 38 w 1842"/>
                <a:gd name="T125" fmla="*/ 1353 h 1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2" h="1535">
                  <a:moveTo>
                    <a:pt x="1457" y="33"/>
                  </a:moveTo>
                  <a:lnTo>
                    <a:pt x="1443" y="21"/>
                  </a:lnTo>
                  <a:lnTo>
                    <a:pt x="1448" y="16"/>
                  </a:lnTo>
                  <a:lnTo>
                    <a:pt x="1431" y="16"/>
                  </a:lnTo>
                  <a:lnTo>
                    <a:pt x="1465" y="0"/>
                  </a:lnTo>
                  <a:lnTo>
                    <a:pt x="1486" y="5"/>
                  </a:lnTo>
                  <a:lnTo>
                    <a:pt x="1481" y="21"/>
                  </a:lnTo>
                  <a:lnTo>
                    <a:pt x="1495" y="16"/>
                  </a:lnTo>
                  <a:lnTo>
                    <a:pt x="1457" y="33"/>
                  </a:lnTo>
                  <a:lnTo>
                    <a:pt x="1457" y="33"/>
                  </a:lnTo>
                  <a:lnTo>
                    <a:pt x="1457" y="33"/>
                  </a:lnTo>
                  <a:close/>
                  <a:moveTo>
                    <a:pt x="1826" y="172"/>
                  </a:moveTo>
                  <a:lnTo>
                    <a:pt x="1826" y="189"/>
                  </a:lnTo>
                  <a:lnTo>
                    <a:pt x="1826" y="205"/>
                  </a:lnTo>
                  <a:lnTo>
                    <a:pt x="1805" y="205"/>
                  </a:lnTo>
                  <a:lnTo>
                    <a:pt x="1772" y="198"/>
                  </a:lnTo>
                  <a:lnTo>
                    <a:pt x="1772" y="205"/>
                  </a:lnTo>
                  <a:lnTo>
                    <a:pt x="1772" y="215"/>
                  </a:lnTo>
                  <a:lnTo>
                    <a:pt x="1713" y="238"/>
                  </a:lnTo>
                  <a:lnTo>
                    <a:pt x="1713" y="260"/>
                  </a:lnTo>
                  <a:lnTo>
                    <a:pt x="1691" y="272"/>
                  </a:lnTo>
                  <a:lnTo>
                    <a:pt x="1680" y="260"/>
                  </a:lnTo>
                  <a:lnTo>
                    <a:pt x="1680" y="243"/>
                  </a:lnTo>
                  <a:lnTo>
                    <a:pt x="1713" y="215"/>
                  </a:lnTo>
                  <a:lnTo>
                    <a:pt x="1701" y="189"/>
                  </a:lnTo>
                  <a:lnTo>
                    <a:pt x="1646" y="172"/>
                  </a:lnTo>
                  <a:lnTo>
                    <a:pt x="1620" y="144"/>
                  </a:lnTo>
                  <a:lnTo>
                    <a:pt x="1557" y="165"/>
                  </a:lnTo>
                  <a:lnTo>
                    <a:pt x="1519" y="160"/>
                  </a:lnTo>
                  <a:lnTo>
                    <a:pt x="1481" y="189"/>
                  </a:lnTo>
                  <a:lnTo>
                    <a:pt x="1465" y="243"/>
                  </a:lnTo>
                  <a:lnTo>
                    <a:pt x="1465" y="276"/>
                  </a:lnTo>
                  <a:lnTo>
                    <a:pt x="1457" y="293"/>
                  </a:lnTo>
                  <a:lnTo>
                    <a:pt x="1427" y="300"/>
                  </a:lnTo>
                  <a:lnTo>
                    <a:pt x="1420" y="326"/>
                  </a:lnTo>
                  <a:lnTo>
                    <a:pt x="1410" y="333"/>
                  </a:lnTo>
                  <a:lnTo>
                    <a:pt x="1339" y="300"/>
                  </a:lnTo>
                  <a:lnTo>
                    <a:pt x="1285" y="326"/>
                  </a:lnTo>
                  <a:lnTo>
                    <a:pt x="1231" y="316"/>
                  </a:lnTo>
                  <a:lnTo>
                    <a:pt x="1226" y="300"/>
                  </a:lnTo>
                  <a:lnTo>
                    <a:pt x="1179" y="243"/>
                  </a:lnTo>
                  <a:lnTo>
                    <a:pt x="1155" y="238"/>
                  </a:lnTo>
                  <a:lnTo>
                    <a:pt x="1134" y="255"/>
                  </a:lnTo>
                  <a:lnTo>
                    <a:pt x="1141" y="260"/>
                  </a:lnTo>
                  <a:lnTo>
                    <a:pt x="1134" y="276"/>
                  </a:lnTo>
                  <a:lnTo>
                    <a:pt x="1103" y="272"/>
                  </a:lnTo>
                  <a:lnTo>
                    <a:pt x="1070" y="272"/>
                  </a:lnTo>
                  <a:lnTo>
                    <a:pt x="1087" y="283"/>
                  </a:lnTo>
                  <a:lnTo>
                    <a:pt x="1087" y="300"/>
                  </a:lnTo>
                  <a:lnTo>
                    <a:pt x="1054" y="333"/>
                  </a:lnTo>
                  <a:lnTo>
                    <a:pt x="1080" y="338"/>
                  </a:lnTo>
                  <a:lnTo>
                    <a:pt x="1054" y="366"/>
                  </a:lnTo>
                  <a:lnTo>
                    <a:pt x="983" y="338"/>
                  </a:lnTo>
                  <a:lnTo>
                    <a:pt x="924" y="338"/>
                  </a:lnTo>
                  <a:lnTo>
                    <a:pt x="924" y="349"/>
                  </a:lnTo>
                  <a:lnTo>
                    <a:pt x="928" y="383"/>
                  </a:lnTo>
                  <a:lnTo>
                    <a:pt x="919" y="411"/>
                  </a:lnTo>
                  <a:lnTo>
                    <a:pt x="869" y="387"/>
                  </a:lnTo>
                  <a:lnTo>
                    <a:pt x="831" y="411"/>
                  </a:lnTo>
                  <a:lnTo>
                    <a:pt x="815" y="449"/>
                  </a:lnTo>
                  <a:lnTo>
                    <a:pt x="784" y="477"/>
                  </a:lnTo>
                  <a:lnTo>
                    <a:pt x="810" y="498"/>
                  </a:lnTo>
                  <a:lnTo>
                    <a:pt x="810" y="522"/>
                  </a:lnTo>
                  <a:lnTo>
                    <a:pt x="739" y="588"/>
                  </a:lnTo>
                  <a:lnTo>
                    <a:pt x="746" y="609"/>
                  </a:lnTo>
                  <a:lnTo>
                    <a:pt x="713" y="626"/>
                  </a:lnTo>
                  <a:lnTo>
                    <a:pt x="676" y="631"/>
                  </a:lnTo>
                  <a:lnTo>
                    <a:pt x="687" y="666"/>
                  </a:lnTo>
                  <a:lnTo>
                    <a:pt x="676" y="699"/>
                  </a:lnTo>
                  <a:lnTo>
                    <a:pt x="676" y="725"/>
                  </a:lnTo>
                  <a:lnTo>
                    <a:pt x="617" y="815"/>
                  </a:lnTo>
                  <a:lnTo>
                    <a:pt x="650" y="827"/>
                  </a:lnTo>
                  <a:lnTo>
                    <a:pt x="654" y="853"/>
                  </a:lnTo>
                  <a:lnTo>
                    <a:pt x="638" y="881"/>
                  </a:lnTo>
                  <a:lnTo>
                    <a:pt x="567" y="869"/>
                  </a:lnTo>
                  <a:lnTo>
                    <a:pt x="546" y="886"/>
                  </a:lnTo>
                  <a:lnTo>
                    <a:pt x="508" y="926"/>
                  </a:lnTo>
                  <a:lnTo>
                    <a:pt x="513" y="938"/>
                  </a:lnTo>
                  <a:lnTo>
                    <a:pt x="498" y="964"/>
                  </a:lnTo>
                  <a:lnTo>
                    <a:pt x="513" y="992"/>
                  </a:lnTo>
                  <a:lnTo>
                    <a:pt x="498" y="1004"/>
                  </a:lnTo>
                  <a:lnTo>
                    <a:pt x="508" y="1037"/>
                  </a:lnTo>
                  <a:lnTo>
                    <a:pt x="524" y="1075"/>
                  </a:lnTo>
                  <a:lnTo>
                    <a:pt x="508" y="1131"/>
                  </a:lnTo>
                  <a:lnTo>
                    <a:pt x="562" y="1181"/>
                  </a:lnTo>
                  <a:lnTo>
                    <a:pt x="546" y="1214"/>
                  </a:lnTo>
                  <a:lnTo>
                    <a:pt x="513" y="1214"/>
                  </a:lnTo>
                  <a:lnTo>
                    <a:pt x="546" y="1275"/>
                  </a:lnTo>
                  <a:lnTo>
                    <a:pt x="529" y="1313"/>
                  </a:lnTo>
                  <a:lnTo>
                    <a:pt x="508" y="1337"/>
                  </a:lnTo>
                  <a:lnTo>
                    <a:pt x="487" y="1337"/>
                  </a:lnTo>
                  <a:lnTo>
                    <a:pt x="491" y="1353"/>
                  </a:lnTo>
                  <a:lnTo>
                    <a:pt x="475" y="1370"/>
                  </a:lnTo>
                  <a:lnTo>
                    <a:pt x="487" y="1403"/>
                  </a:lnTo>
                  <a:lnTo>
                    <a:pt x="470" y="1441"/>
                  </a:lnTo>
                  <a:lnTo>
                    <a:pt x="461" y="1441"/>
                  </a:lnTo>
                  <a:lnTo>
                    <a:pt x="461" y="1436"/>
                  </a:lnTo>
                  <a:lnTo>
                    <a:pt x="454" y="1420"/>
                  </a:lnTo>
                  <a:lnTo>
                    <a:pt x="416" y="1408"/>
                  </a:lnTo>
                  <a:lnTo>
                    <a:pt x="399" y="1353"/>
                  </a:lnTo>
                  <a:lnTo>
                    <a:pt x="406" y="1337"/>
                  </a:lnTo>
                  <a:lnTo>
                    <a:pt x="416" y="1346"/>
                  </a:lnTo>
                  <a:lnTo>
                    <a:pt x="406" y="1330"/>
                  </a:lnTo>
                  <a:lnTo>
                    <a:pt x="390" y="1337"/>
                  </a:lnTo>
                  <a:lnTo>
                    <a:pt x="399" y="1370"/>
                  </a:lnTo>
                  <a:lnTo>
                    <a:pt x="399" y="1379"/>
                  </a:lnTo>
                  <a:lnTo>
                    <a:pt x="390" y="1379"/>
                  </a:lnTo>
                  <a:lnTo>
                    <a:pt x="385" y="1353"/>
                  </a:lnTo>
                  <a:lnTo>
                    <a:pt x="378" y="1353"/>
                  </a:lnTo>
                  <a:lnTo>
                    <a:pt x="390" y="1370"/>
                  </a:lnTo>
                  <a:lnTo>
                    <a:pt x="385" y="1379"/>
                  </a:lnTo>
                  <a:lnTo>
                    <a:pt x="378" y="1370"/>
                  </a:lnTo>
                  <a:lnTo>
                    <a:pt x="390" y="1386"/>
                  </a:lnTo>
                  <a:lnTo>
                    <a:pt x="399" y="1403"/>
                  </a:lnTo>
                  <a:lnTo>
                    <a:pt x="385" y="1403"/>
                  </a:lnTo>
                  <a:lnTo>
                    <a:pt x="378" y="1424"/>
                  </a:lnTo>
                  <a:lnTo>
                    <a:pt x="352" y="1436"/>
                  </a:lnTo>
                  <a:lnTo>
                    <a:pt x="331" y="1420"/>
                  </a:lnTo>
                  <a:lnTo>
                    <a:pt x="335" y="1436"/>
                  </a:lnTo>
                  <a:lnTo>
                    <a:pt x="255" y="1507"/>
                  </a:lnTo>
                  <a:lnTo>
                    <a:pt x="239" y="1514"/>
                  </a:lnTo>
                  <a:lnTo>
                    <a:pt x="239" y="1519"/>
                  </a:lnTo>
                  <a:lnTo>
                    <a:pt x="151" y="1535"/>
                  </a:lnTo>
                  <a:lnTo>
                    <a:pt x="135" y="1531"/>
                  </a:lnTo>
                  <a:lnTo>
                    <a:pt x="120" y="1531"/>
                  </a:lnTo>
                  <a:lnTo>
                    <a:pt x="130" y="1514"/>
                  </a:lnTo>
                  <a:lnTo>
                    <a:pt x="109" y="1507"/>
                  </a:lnTo>
                  <a:lnTo>
                    <a:pt x="83" y="1497"/>
                  </a:lnTo>
                  <a:lnTo>
                    <a:pt x="76" y="1490"/>
                  </a:lnTo>
                  <a:lnTo>
                    <a:pt x="59" y="1490"/>
                  </a:lnTo>
                  <a:lnTo>
                    <a:pt x="45" y="1457"/>
                  </a:lnTo>
                  <a:lnTo>
                    <a:pt x="45" y="1424"/>
                  </a:lnTo>
                  <a:lnTo>
                    <a:pt x="92" y="1453"/>
                  </a:lnTo>
                  <a:lnTo>
                    <a:pt x="97" y="1453"/>
                  </a:lnTo>
                  <a:lnTo>
                    <a:pt x="83" y="1441"/>
                  </a:lnTo>
                  <a:lnTo>
                    <a:pt x="92" y="1436"/>
                  </a:lnTo>
                  <a:lnTo>
                    <a:pt x="120" y="1424"/>
                  </a:lnTo>
                  <a:lnTo>
                    <a:pt x="92" y="1436"/>
                  </a:lnTo>
                  <a:lnTo>
                    <a:pt x="83" y="1441"/>
                  </a:lnTo>
                  <a:lnTo>
                    <a:pt x="66" y="1424"/>
                  </a:lnTo>
                  <a:lnTo>
                    <a:pt x="92" y="1403"/>
                  </a:lnTo>
                  <a:lnTo>
                    <a:pt x="113" y="1391"/>
                  </a:lnTo>
                  <a:lnTo>
                    <a:pt x="92" y="1403"/>
                  </a:lnTo>
                  <a:lnTo>
                    <a:pt x="76" y="1391"/>
                  </a:lnTo>
                  <a:lnTo>
                    <a:pt x="97" y="1379"/>
                  </a:lnTo>
                  <a:lnTo>
                    <a:pt x="113" y="1370"/>
                  </a:lnTo>
                  <a:lnTo>
                    <a:pt x="97" y="1370"/>
                  </a:lnTo>
                  <a:lnTo>
                    <a:pt x="76" y="1391"/>
                  </a:lnTo>
                  <a:lnTo>
                    <a:pt x="76" y="1386"/>
                  </a:lnTo>
                  <a:lnTo>
                    <a:pt x="92" y="1379"/>
                  </a:lnTo>
                  <a:lnTo>
                    <a:pt x="66" y="1379"/>
                  </a:lnTo>
                  <a:lnTo>
                    <a:pt x="54" y="1386"/>
                  </a:lnTo>
                  <a:lnTo>
                    <a:pt x="66" y="1386"/>
                  </a:lnTo>
                  <a:lnTo>
                    <a:pt x="66" y="1391"/>
                  </a:lnTo>
                  <a:lnTo>
                    <a:pt x="59" y="1403"/>
                  </a:lnTo>
                  <a:lnTo>
                    <a:pt x="54" y="1391"/>
                  </a:lnTo>
                  <a:lnTo>
                    <a:pt x="45" y="1403"/>
                  </a:lnTo>
                  <a:lnTo>
                    <a:pt x="28" y="1391"/>
                  </a:lnTo>
                  <a:lnTo>
                    <a:pt x="21" y="1379"/>
                  </a:lnTo>
                  <a:lnTo>
                    <a:pt x="45" y="1353"/>
                  </a:lnTo>
                  <a:lnTo>
                    <a:pt x="45" y="1379"/>
                  </a:lnTo>
                  <a:lnTo>
                    <a:pt x="54" y="1363"/>
                  </a:lnTo>
                  <a:lnTo>
                    <a:pt x="97" y="1337"/>
                  </a:lnTo>
                  <a:lnTo>
                    <a:pt x="76" y="1353"/>
                  </a:lnTo>
                  <a:lnTo>
                    <a:pt x="59" y="1337"/>
                  </a:lnTo>
                  <a:lnTo>
                    <a:pt x="76" y="1330"/>
                  </a:lnTo>
                  <a:lnTo>
                    <a:pt x="92" y="1292"/>
                  </a:lnTo>
                  <a:lnTo>
                    <a:pt x="120" y="1280"/>
                  </a:lnTo>
                  <a:lnTo>
                    <a:pt x="113" y="1313"/>
                  </a:lnTo>
                  <a:lnTo>
                    <a:pt x="120" y="1280"/>
                  </a:lnTo>
                  <a:lnTo>
                    <a:pt x="163" y="1268"/>
                  </a:lnTo>
                  <a:lnTo>
                    <a:pt x="146" y="1268"/>
                  </a:lnTo>
                  <a:lnTo>
                    <a:pt x="151" y="1259"/>
                  </a:lnTo>
                  <a:lnTo>
                    <a:pt x="130" y="1275"/>
                  </a:lnTo>
                  <a:lnTo>
                    <a:pt x="97" y="1280"/>
                  </a:lnTo>
                  <a:lnTo>
                    <a:pt x="92" y="1297"/>
                  </a:lnTo>
                  <a:lnTo>
                    <a:pt x="76" y="1297"/>
                  </a:lnTo>
                  <a:lnTo>
                    <a:pt x="66" y="1325"/>
                  </a:lnTo>
                  <a:lnTo>
                    <a:pt x="59" y="1325"/>
                  </a:lnTo>
                  <a:lnTo>
                    <a:pt x="54" y="1308"/>
                  </a:lnTo>
                  <a:lnTo>
                    <a:pt x="45" y="1308"/>
                  </a:lnTo>
                  <a:lnTo>
                    <a:pt x="59" y="1280"/>
                  </a:lnTo>
                  <a:lnTo>
                    <a:pt x="38" y="1308"/>
                  </a:lnTo>
                  <a:lnTo>
                    <a:pt x="21" y="1297"/>
                  </a:lnTo>
                  <a:lnTo>
                    <a:pt x="28" y="1297"/>
                  </a:lnTo>
                  <a:lnTo>
                    <a:pt x="21" y="1292"/>
                  </a:lnTo>
                  <a:lnTo>
                    <a:pt x="28" y="1268"/>
                  </a:lnTo>
                  <a:lnTo>
                    <a:pt x="54" y="1280"/>
                  </a:lnTo>
                  <a:lnTo>
                    <a:pt x="59" y="1252"/>
                  </a:lnTo>
                  <a:lnTo>
                    <a:pt x="54" y="1242"/>
                  </a:lnTo>
                  <a:lnTo>
                    <a:pt x="28" y="1268"/>
                  </a:lnTo>
                  <a:lnTo>
                    <a:pt x="12" y="1252"/>
                  </a:lnTo>
                  <a:lnTo>
                    <a:pt x="28" y="1259"/>
                  </a:lnTo>
                  <a:lnTo>
                    <a:pt x="21" y="1242"/>
                  </a:lnTo>
                  <a:lnTo>
                    <a:pt x="7" y="1235"/>
                  </a:lnTo>
                  <a:lnTo>
                    <a:pt x="38" y="1259"/>
                  </a:lnTo>
                  <a:lnTo>
                    <a:pt x="28" y="1242"/>
                  </a:lnTo>
                  <a:lnTo>
                    <a:pt x="45" y="1226"/>
                  </a:lnTo>
                  <a:lnTo>
                    <a:pt x="12" y="1235"/>
                  </a:lnTo>
                  <a:lnTo>
                    <a:pt x="12" y="1214"/>
                  </a:lnTo>
                  <a:lnTo>
                    <a:pt x="76" y="1202"/>
                  </a:lnTo>
                  <a:lnTo>
                    <a:pt x="109" y="1214"/>
                  </a:lnTo>
                  <a:lnTo>
                    <a:pt x="135" y="1202"/>
                  </a:lnTo>
                  <a:lnTo>
                    <a:pt x="163" y="1226"/>
                  </a:lnTo>
                  <a:lnTo>
                    <a:pt x="163" y="1219"/>
                  </a:lnTo>
                  <a:lnTo>
                    <a:pt x="151" y="1202"/>
                  </a:lnTo>
                  <a:lnTo>
                    <a:pt x="184" y="1197"/>
                  </a:lnTo>
                  <a:lnTo>
                    <a:pt x="168" y="1181"/>
                  </a:lnTo>
                  <a:lnTo>
                    <a:pt x="189" y="1164"/>
                  </a:lnTo>
                  <a:lnTo>
                    <a:pt x="168" y="1181"/>
                  </a:lnTo>
                  <a:lnTo>
                    <a:pt x="172" y="1197"/>
                  </a:lnTo>
                  <a:lnTo>
                    <a:pt x="146" y="1202"/>
                  </a:lnTo>
                  <a:lnTo>
                    <a:pt x="120" y="1186"/>
                  </a:lnTo>
                  <a:lnTo>
                    <a:pt x="130" y="1169"/>
                  </a:lnTo>
                  <a:lnTo>
                    <a:pt x="109" y="1202"/>
                  </a:lnTo>
                  <a:lnTo>
                    <a:pt x="59" y="1197"/>
                  </a:lnTo>
                  <a:lnTo>
                    <a:pt x="38" y="1214"/>
                  </a:lnTo>
                  <a:lnTo>
                    <a:pt x="12" y="1197"/>
                  </a:lnTo>
                  <a:lnTo>
                    <a:pt x="28" y="1197"/>
                  </a:lnTo>
                  <a:lnTo>
                    <a:pt x="7" y="1186"/>
                  </a:lnTo>
                  <a:lnTo>
                    <a:pt x="54" y="1181"/>
                  </a:lnTo>
                  <a:lnTo>
                    <a:pt x="12" y="1181"/>
                  </a:lnTo>
                  <a:lnTo>
                    <a:pt x="7" y="1169"/>
                  </a:lnTo>
                  <a:lnTo>
                    <a:pt x="66" y="1164"/>
                  </a:lnTo>
                  <a:lnTo>
                    <a:pt x="21" y="1164"/>
                  </a:lnTo>
                  <a:lnTo>
                    <a:pt x="21" y="1160"/>
                  </a:lnTo>
                  <a:lnTo>
                    <a:pt x="28" y="1160"/>
                  </a:lnTo>
                  <a:lnTo>
                    <a:pt x="21" y="1148"/>
                  </a:lnTo>
                  <a:lnTo>
                    <a:pt x="38" y="1148"/>
                  </a:lnTo>
                  <a:lnTo>
                    <a:pt x="7" y="1141"/>
                  </a:lnTo>
                  <a:lnTo>
                    <a:pt x="38" y="1115"/>
                  </a:lnTo>
                  <a:lnTo>
                    <a:pt x="113" y="1124"/>
                  </a:lnTo>
                  <a:lnTo>
                    <a:pt x="130" y="1115"/>
                  </a:lnTo>
                  <a:lnTo>
                    <a:pt x="21" y="1115"/>
                  </a:lnTo>
                  <a:lnTo>
                    <a:pt x="21" y="1108"/>
                  </a:lnTo>
                  <a:lnTo>
                    <a:pt x="38" y="1103"/>
                  </a:lnTo>
                  <a:lnTo>
                    <a:pt x="12" y="1086"/>
                  </a:lnTo>
                  <a:lnTo>
                    <a:pt x="21" y="1086"/>
                  </a:lnTo>
                  <a:lnTo>
                    <a:pt x="45" y="1108"/>
                  </a:lnTo>
                  <a:lnTo>
                    <a:pt x="45" y="1091"/>
                  </a:lnTo>
                  <a:lnTo>
                    <a:pt x="38" y="1091"/>
                  </a:lnTo>
                  <a:lnTo>
                    <a:pt x="38" y="1086"/>
                  </a:lnTo>
                  <a:lnTo>
                    <a:pt x="66" y="1086"/>
                  </a:lnTo>
                  <a:lnTo>
                    <a:pt x="76" y="1091"/>
                  </a:lnTo>
                  <a:lnTo>
                    <a:pt x="109" y="1103"/>
                  </a:lnTo>
                  <a:lnTo>
                    <a:pt x="76" y="1086"/>
                  </a:lnTo>
                  <a:lnTo>
                    <a:pt x="97" y="1058"/>
                  </a:lnTo>
                  <a:lnTo>
                    <a:pt x="113" y="1091"/>
                  </a:lnTo>
                  <a:lnTo>
                    <a:pt x="120" y="1091"/>
                  </a:lnTo>
                  <a:lnTo>
                    <a:pt x="109" y="1058"/>
                  </a:lnTo>
                  <a:lnTo>
                    <a:pt x="130" y="1053"/>
                  </a:lnTo>
                  <a:lnTo>
                    <a:pt x="146" y="1058"/>
                  </a:lnTo>
                  <a:lnTo>
                    <a:pt x="151" y="1075"/>
                  </a:lnTo>
                  <a:lnTo>
                    <a:pt x="146" y="1091"/>
                  </a:lnTo>
                  <a:lnTo>
                    <a:pt x="151" y="1091"/>
                  </a:lnTo>
                  <a:lnTo>
                    <a:pt x="146" y="1091"/>
                  </a:lnTo>
                  <a:lnTo>
                    <a:pt x="151" y="1075"/>
                  </a:lnTo>
                  <a:lnTo>
                    <a:pt x="172" y="1075"/>
                  </a:lnTo>
                  <a:lnTo>
                    <a:pt x="146" y="1070"/>
                  </a:lnTo>
                  <a:lnTo>
                    <a:pt x="135" y="1053"/>
                  </a:lnTo>
                  <a:lnTo>
                    <a:pt x="97" y="1053"/>
                  </a:lnTo>
                  <a:lnTo>
                    <a:pt x="120" y="1053"/>
                  </a:lnTo>
                  <a:lnTo>
                    <a:pt x="97" y="1037"/>
                  </a:lnTo>
                  <a:lnTo>
                    <a:pt x="151" y="1032"/>
                  </a:lnTo>
                  <a:lnTo>
                    <a:pt x="189" y="1053"/>
                  </a:lnTo>
                  <a:lnTo>
                    <a:pt x="206" y="1049"/>
                  </a:lnTo>
                  <a:lnTo>
                    <a:pt x="172" y="1037"/>
                  </a:lnTo>
                  <a:lnTo>
                    <a:pt x="206" y="1020"/>
                  </a:lnTo>
                  <a:lnTo>
                    <a:pt x="227" y="1032"/>
                  </a:lnTo>
                  <a:lnTo>
                    <a:pt x="222" y="1020"/>
                  </a:lnTo>
                  <a:lnTo>
                    <a:pt x="172" y="1020"/>
                  </a:lnTo>
                  <a:lnTo>
                    <a:pt x="201" y="1013"/>
                  </a:lnTo>
                  <a:lnTo>
                    <a:pt x="189" y="1013"/>
                  </a:lnTo>
                  <a:lnTo>
                    <a:pt x="146" y="1020"/>
                  </a:lnTo>
                  <a:lnTo>
                    <a:pt x="146" y="997"/>
                  </a:lnTo>
                  <a:lnTo>
                    <a:pt x="168" y="992"/>
                  </a:lnTo>
                  <a:lnTo>
                    <a:pt x="184" y="1004"/>
                  </a:lnTo>
                  <a:lnTo>
                    <a:pt x="222" y="997"/>
                  </a:lnTo>
                  <a:lnTo>
                    <a:pt x="227" y="1013"/>
                  </a:lnTo>
                  <a:lnTo>
                    <a:pt x="260" y="1032"/>
                  </a:lnTo>
                  <a:lnTo>
                    <a:pt x="260" y="1020"/>
                  </a:lnTo>
                  <a:lnTo>
                    <a:pt x="227" y="1013"/>
                  </a:lnTo>
                  <a:lnTo>
                    <a:pt x="227" y="997"/>
                  </a:lnTo>
                  <a:lnTo>
                    <a:pt x="217" y="992"/>
                  </a:lnTo>
                  <a:lnTo>
                    <a:pt x="227" y="980"/>
                  </a:lnTo>
                  <a:lnTo>
                    <a:pt x="243" y="1004"/>
                  </a:lnTo>
                  <a:lnTo>
                    <a:pt x="260" y="1013"/>
                  </a:lnTo>
                  <a:lnTo>
                    <a:pt x="255" y="997"/>
                  </a:lnTo>
                  <a:lnTo>
                    <a:pt x="272" y="997"/>
                  </a:lnTo>
                  <a:lnTo>
                    <a:pt x="243" y="997"/>
                  </a:lnTo>
                  <a:lnTo>
                    <a:pt x="227" y="980"/>
                  </a:lnTo>
                  <a:lnTo>
                    <a:pt x="281" y="975"/>
                  </a:lnTo>
                  <a:lnTo>
                    <a:pt x="260" y="975"/>
                  </a:lnTo>
                  <a:lnTo>
                    <a:pt x="255" y="959"/>
                  </a:lnTo>
                  <a:lnTo>
                    <a:pt x="276" y="959"/>
                  </a:lnTo>
                  <a:lnTo>
                    <a:pt x="272" y="947"/>
                  </a:lnTo>
                  <a:lnTo>
                    <a:pt x="293" y="942"/>
                  </a:lnTo>
                  <a:lnTo>
                    <a:pt x="309" y="947"/>
                  </a:lnTo>
                  <a:lnTo>
                    <a:pt x="324" y="947"/>
                  </a:lnTo>
                  <a:lnTo>
                    <a:pt x="309" y="947"/>
                  </a:lnTo>
                  <a:lnTo>
                    <a:pt x="298" y="942"/>
                  </a:lnTo>
                  <a:lnTo>
                    <a:pt x="331" y="926"/>
                  </a:lnTo>
                  <a:lnTo>
                    <a:pt x="335" y="921"/>
                  </a:lnTo>
                  <a:lnTo>
                    <a:pt x="361" y="947"/>
                  </a:lnTo>
                  <a:lnTo>
                    <a:pt x="378" y="964"/>
                  </a:lnTo>
                  <a:lnTo>
                    <a:pt x="378" y="959"/>
                  </a:lnTo>
                  <a:lnTo>
                    <a:pt x="361" y="947"/>
                  </a:lnTo>
                  <a:lnTo>
                    <a:pt x="423" y="942"/>
                  </a:lnTo>
                  <a:lnTo>
                    <a:pt x="416" y="938"/>
                  </a:lnTo>
                  <a:lnTo>
                    <a:pt x="423" y="926"/>
                  </a:lnTo>
                  <a:lnTo>
                    <a:pt x="406" y="938"/>
                  </a:lnTo>
                  <a:lnTo>
                    <a:pt x="432" y="909"/>
                  </a:lnTo>
                  <a:lnTo>
                    <a:pt x="461" y="905"/>
                  </a:lnTo>
                  <a:lnTo>
                    <a:pt x="437" y="893"/>
                  </a:lnTo>
                  <a:lnTo>
                    <a:pt x="461" y="881"/>
                  </a:lnTo>
                  <a:lnTo>
                    <a:pt x="454" y="881"/>
                  </a:lnTo>
                  <a:lnTo>
                    <a:pt x="454" y="864"/>
                  </a:lnTo>
                  <a:lnTo>
                    <a:pt x="399" y="905"/>
                  </a:lnTo>
                  <a:lnTo>
                    <a:pt x="423" y="893"/>
                  </a:lnTo>
                  <a:lnTo>
                    <a:pt x="437" y="893"/>
                  </a:lnTo>
                  <a:lnTo>
                    <a:pt x="423" y="909"/>
                  </a:lnTo>
                  <a:lnTo>
                    <a:pt x="361" y="938"/>
                  </a:lnTo>
                  <a:lnTo>
                    <a:pt x="352" y="938"/>
                  </a:lnTo>
                  <a:lnTo>
                    <a:pt x="347" y="921"/>
                  </a:lnTo>
                  <a:lnTo>
                    <a:pt x="368" y="909"/>
                  </a:lnTo>
                  <a:lnTo>
                    <a:pt x="331" y="921"/>
                  </a:lnTo>
                  <a:lnTo>
                    <a:pt x="331" y="909"/>
                  </a:lnTo>
                  <a:lnTo>
                    <a:pt x="378" y="886"/>
                  </a:lnTo>
                  <a:lnTo>
                    <a:pt x="361" y="881"/>
                  </a:lnTo>
                  <a:lnTo>
                    <a:pt x="368" y="853"/>
                  </a:lnTo>
                  <a:lnTo>
                    <a:pt x="390" y="836"/>
                  </a:lnTo>
                  <a:lnTo>
                    <a:pt x="406" y="836"/>
                  </a:lnTo>
                  <a:lnTo>
                    <a:pt x="390" y="831"/>
                  </a:lnTo>
                  <a:lnTo>
                    <a:pt x="423" y="836"/>
                  </a:lnTo>
                  <a:lnTo>
                    <a:pt x="406" y="831"/>
                  </a:lnTo>
                  <a:lnTo>
                    <a:pt x="423" y="827"/>
                  </a:lnTo>
                  <a:lnTo>
                    <a:pt x="432" y="810"/>
                  </a:lnTo>
                  <a:lnTo>
                    <a:pt x="444" y="827"/>
                  </a:lnTo>
                  <a:lnTo>
                    <a:pt x="444" y="836"/>
                  </a:lnTo>
                  <a:lnTo>
                    <a:pt x="470" y="815"/>
                  </a:lnTo>
                  <a:lnTo>
                    <a:pt x="487" y="815"/>
                  </a:lnTo>
                  <a:lnTo>
                    <a:pt x="470" y="815"/>
                  </a:lnTo>
                  <a:lnTo>
                    <a:pt x="461" y="798"/>
                  </a:lnTo>
                  <a:lnTo>
                    <a:pt x="491" y="782"/>
                  </a:lnTo>
                  <a:lnTo>
                    <a:pt x="475" y="782"/>
                  </a:lnTo>
                  <a:lnTo>
                    <a:pt x="487" y="777"/>
                  </a:lnTo>
                  <a:lnTo>
                    <a:pt x="513" y="770"/>
                  </a:lnTo>
                  <a:lnTo>
                    <a:pt x="498" y="770"/>
                  </a:lnTo>
                  <a:lnTo>
                    <a:pt x="444" y="794"/>
                  </a:lnTo>
                  <a:lnTo>
                    <a:pt x="454" y="782"/>
                  </a:lnTo>
                  <a:lnTo>
                    <a:pt x="444" y="782"/>
                  </a:lnTo>
                  <a:lnTo>
                    <a:pt x="475" y="777"/>
                  </a:lnTo>
                  <a:lnTo>
                    <a:pt x="444" y="782"/>
                  </a:lnTo>
                  <a:lnTo>
                    <a:pt x="454" y="777"/>
                  </a:lnTo>
                  <a:lnTo>
                    <a:pt x="546" y="742"/>
                  </a:lnTo>
                  <a:lnTo>
                    <a:pt x="567" y="725"/>
                  </a:lnTo>
                  <a:lnTo>
                    <a:pt x="529" y="742"/>
                  </a:lnTo>
                  <a:lnTo>
                    <a:pt x="524" y="742"/>
                  </a:lnTo>
                  <a:lnTo>
                    <a:pt x="546" y="737"/>
                  </a:lnTo>
                  <a:lnTo>
                    <a:pt x="513" y="737"/>
                  </a:lnTo>
                  <a:lnTo>
                    <a:pt x="541" y="720"/>
                  </a:lnTo>
                  <a:lnTo>
                    <a:pt x="529" y="716"/>
                  </a:lnTo>
                  <a:lnTo>
                    <a:pt x="546" y="716"/>
                  </a:lnTo>
                  <a:lnTo>
                    <a:pt x="529" y="699"/>
                  </a:lnTo>
                  <a:lnTo>
                    <a:pt x="524" y="687"/>
                  </a:lnTo>
                  <a:lnTo>
                    <a:pt x="541" y="683"/>
                  </a:lnTo>
                  <a:lnTo>
                    <a:pt x="550" y="687"/>
                  </a:lnTo>
                  <a:lnTo>
                    <a:pt x="541" y="671"/>
                  </a:lnTo>
                  <a:lnTo>
                    <a:pt x="546" y="659"/>
                  </a:lnTo>
                  <a:lnTo>
                    <a:pt x="562" y="649"/>
                  </a:lnTo>
                  <a:lnTo>
                    <a:pt x="583" y="666"/>
                  </a:lnTo>
                  <a:lnTo>
                    <a:pt x="579" y="649"/>
                  </a:lnTo>
                  <a:lnTo>
                    <a:pt x="567" y="649"/>
                  </a:lnTo>
                  <a:lnTo>
                    <a:pt x="567" y="642"/>
                  </a:lnTo>
                  <a:lnTo>
                    <a:pt x="546" y="642"/>
                  </a:lnTo>
                  <a:lnTo>
                    <a:pt x="605" y="614"/>
                  </a:lnTo>
                  <a:lnTo>
                    <a:pt x="605" y="631"/>
                  </a:lnTo>
                  <a:lnTo>
                    <a:pt x="617" y="614"/>
                  </a:lnTo>
                  <a:lnTo>
                    <a:pt x="654" y="609"/>
                  </a:lnTo>
                  <a:lnTo>
                    <a:pt x="567" y="626"/>
                  </a:lnTo>
                  <a:lnTo>
                    <a:pt x="605" y="609"/>
                  </a:lnTo>
                  <a:lnTo>
                    <a:pt x="567" y="609"/>
                  </a:lnTo>
                  <a:lnTo>
                    <a:pt x="583" y="593"/>
                  </a:lnTo>
                  <a:lnTo>
                    <a:pt x="567" y="588"/>
                  </a:lnTo>
                  <a:lnTo>
                    <a:pt x="621" y="572"/>
                  </a:lnTo>
                  <a:lnTo>
                    <a:pt x="583" y="576"/>
                  </a:lnTo>
                  <a:lnTo>
                    <a:pt x="583" y="572"/>
                  </a:lnTo>
                  <a:lnTo>
                    <a:pt x="605" y="572"/>
                  </a:lnTo>
                  <a:lnTo>
                    <a:pt x="583" y="560"/>
                  </a:lnTo>
                  <a:lnTo>
                    <a:pt x="621" y="560"/>
                  </a:lnTo>
                  <a:lnTo>
                    <a:pt x="633" y="560"/>
                  </a:lnTo>
                  <a:lnTo>
                    <a:pt x="605" y="560"/>
                  </a:lnTo>
                  <a:lnTo>
                    <a:pt x="621" y="555"/>
                  </a:lnTo>
                  <a:lnTo>
                    <a:pt x="605" y="555"/>
                  </a:lnTo>
                  <a:lnTo>
                    <a:pt x="638" y="555"/>
                  </a:lnTo>
                  <a:lnTo>
                    <a:pt x="605" y="531"/>
                  </a:lnTo>
                  <a:lnTo>
                    <a:pt x="687" y="522"/>
                  </a:lnTo>
                  <a:lnTo>
                    <a:pt x="659" y="515"/>
                  </a:lnTo>
                  <a:lnTo>
                    <a:pt x="659" y="503"/>
                  </a:lnTo>
                  <a:lnTo>
                    <a:pt x="692" y="503"/>
                  </a:lnTo>
                  <a:lnTo>
                    <a:pt x="676" y="503"/>
                  </a:lnTo>
                  <a:lnTo>
                    <a:pt x="676" y="498"/>
                  </a:lnTo>
                  <a:lnTo>
                    <a:pt x="709" y="498"/>
                  </a:lnTo>
                  <a:lnTo>
                    <a:pt x="702" y="503"/>
                  </a:lnTo>
                  <a:lnTo>
                    <a:pt x="709" y="515"/>
                  </a:lnTo>
                  <a:lnTo>
                    <a:pt x="709" y="503"/>
                  </a:lnTo>
                  <a:lnTo>
                    <a:pt x="709" y="498"/>
                  </a:lnTo>
                  <a:lnTo>
                    <a:pt x="730" y="503"/>
                  </a:lnTo>
                  <a:lnTo>
                    <a:pt x="746" y="515"/>
                  </a:lnTo>
                  <a:lnTo>
                    <a:pt x="739" y="498"/>
                  </a:lnTo>
                  <a:lnTo>
                    <a:pt x="763" y="503"/>
                  </a:lnTo>
                  <a:lnTo>
                    <a:pt x="713" y="498"/>
                  </a:lnTo>
                  <a:lnTo>
                    <a:pt x="725" y="494"/>
                  </a:lnTo>
                  <a:lnTo>
                    <a:pt x="687" y="498"/>
                  </a:lnTo>
                  <a:lnTo>
                    <a:pt x="671" y="498"/>
                  </a:lnTo>
                  <a:lnTo>
                    <a:pt x="687" y="477"/>
                  </a:lnTo>
                  <a:lnTo>
                    <a:pt x="709" y="477"/>
                  </a:lnTo>
                  <a:lnTo>
                    <a:pt x="692" y="465"/>
                  </a:lnTo>
                  <a:lnTo>
                    <a:pt x="713" y="460"/>
                  </a:lnTo>
                  <a:lnTo>
                    <a:pt x="725" y="460"/>
                  </a:lnTo>
                  <a:lnTo>
                    <a:pt x="709" y="465"/>
                  </a:lnTo>
                  <a:lnTo>
                    <a:pt x="739" y="465"/>
                  </a:lnTo>
                  <a:lnTo>
                    <a:pt x="756" y="494"/>
                  </a:lnTo>
                  <a:lnTo>
                    <a:pt x="763" y="494"/>
                  </a:lnTo>
                  <a:lnTo>
                    <a:pt x="746" y="465"/>
                  </a:lnTo>
                  <a:lnTo>
                    <a:pt x="777" y="460"/>
                  </a:lnTo>
                  <a:lnTo>
                    <a:pt x="730" y="460"/>
                  </a:lnTo>
                  <a:lnTo>
                    <a:pt x="725" y="449"/>
                  </a:lnTo>
                  <a:lnTo>
                    <a:pt x="730" y="437"/>
                  </a:lnTo>
                  <a:lnTo>
                    <a:pt x="768" y="444"/>
                  </a:lnTo>
                  <a:lnTo>
                    <a:pt x="739" y="427"/>
                  </a:lnTo>
                  <a:lnTo>
                    <a:pt x="692" y="444"/>
                  </a:lnTo>
                  <a:lnTo>
                    <a:pt x="692" y="437"/>
                  </a:lnTo>
                  <a:lnTo>
                    <a:pt x="713" y="437"/>
                  </a:lnTo>
                  <a:lnTo>
                    <a:pt x="692" y="427"/>
                  </a:lnTo>
                  <a:lnTo>
                    <a:pt x="713" y="420"/>
                  </a:lnTo>
                  <a:lnTo>
                    <a:pt x="702" y="420"/>
                  </a:lnTo>
                  <a:lnTo>
                    <a:pt x="709" y="420"/>
                  </a:lnTo>
                  <a:lnTo>
                    <a:pt x="768" y="411"/>
                  </a:lnTo>
                  <a:lnTo>
                    <a:pt x="777" y="404"/>
                  </a:lnTo>
                  <a:lnTo>
                    <a:pt x="730" y="394"/>
                  </a:lnTo>
                  <a:lnTo>
                    <a:pt x="746" y="387"/>
                  </a:lnTo>
                  <a:lnTo>
                    <a:pt x="763" y="387"/>
                  </a:lnTo>
                  <a:lnTo>
                    <a:pt x="756" y="394"/>
                  </a:lnTo>
                  <a:lnTo>
                    <a:pt x="768" y="387"/>
                  </a:lnTo>
                  <a:lnTo>
                    <a:pt x="777" y="371"/>
                  </a:lnTo>
                  <a:lnTo>
                    <a:pt x="784" y="383"/>
                  </a:lnTo>
                  <a:lnTo>
                    <a:pt x="794" y="420"/>
                  </a:lnTo>
                  <a:lnTo>
                    <a:pt x="815" y="427"/>
                  </a:lnTo>
                  <a:lnTo>
                    <a:pt x="801" y="420"/>
                  </a:lnTo>
                  <a:lnTo>
                    <a:pt x="794" y="404"/>
                  </a:lnTo>
                  <a:lnTo>
                    <a:pt x="815" y="411"/>
                  </a:lnTo>
                  <a:lnTo>
                    <a:pt x="810" y="394"/>
                  </a:lnTo>
                  <a:lnTo>
                    <a:pt x="831" y="394"/>
                  </a:lnTo>
                  <a:lnTo>
                    <a:pt x="810" y="394"/>
                  </a:lnTo>
                  <a:lnTo>
                    <a:pt x="801" y="387"/>
                  </a:lnTo>
                  <a:lnTo>
                    <a:pt x="815" y="383"/>
                  </a:lnTo>
                  <a:lnTo>
                    <a:pt x="794" y="383"/>
                  </a:lnTo>
                  <a:lnTo>
                    <a:pt x="801" y="371"/>
                  </a:lnTo>
                  <a:lnTo>
                    <a:pt x="784" y="371"/>
                  </a:lnTo>
                  <a:lnTo>
                    <a:pt x="815" y="371"/>
                  </a:lnTo>
                  <a:lnTo>
                    <a:pt x="839" y="387"/>
                  </a:lnTo>
                  <a:lnTo>
                    <a:pt x="794" y="366"/>
                  </a:lnTo>
                  <a:lnTo>
                    <a:pt x="801" y="354"/>
                  </a:lnTo>
                  <a:lnTo>
                    <a:pt x="865" y="354"/>
                  </a:lnTo>
                  <a:lnTo>
                    <a:pt x="876" y="383"/>
                  </a:lnTo>
                  <a:lnTo>
                    <a:pt x="876" y="371"/>
                  </a:lnTo>
                  <a:lnTo>
                    <a:pt x="865" y="354"/>
                  </a:lnTo>
                  <a:lnTo>
                    <a:pt x="891" y="354"/>
                  </a:lnTo>
                  <a:lnTo>
                    <a:pt x="876" y="349"/>
                  </a:lnTo>
                  <a:lnTo>
                    <a:pt x="891" y="349"/>
                  </a:lnTo>
                  <a:lnTo>
                    <a:pt x="891" y="338"/>
                  </a:lnTo>
                  <a:lnTo>
                    <a:pt x="853" y="349"/>
                  </a:lnTo>
                  <a:lnTo>
                    <a:pt x="853" y="338"/>
                  </a:lnTo>
                  <a:lnTo>
                    <a:pt x="848" y="338"/>
                  </a:lnTo>
                  <a:lnTo>
                    <a:pt x="815" y="349"/>
                  </a:lnTo>
                  <a:lnTo>
                    <a:pt x="815" y="338"/>
                  </a:lnTo>
                  <a:lnTo>
                    <a:pt x="822" y="333"/>
                  </a:lnTo>
                  <a:lnTo>
                    <a:pt x="822" y="326"/>
                  </a:lnTo>
                  <a:lnTo>
                    <a:pt x="848" y="316"/>
                  </a:lnTo>
                  <a:lnTo>
                    <a:pt x="902" y="326"/>
                  </a:lnTo>
                  <a:lnTo>
                    <a:pt x="869" y="309"/>
                  </a:lnTo>
                  <a:lnTo>
                    <a:pt x="886" y="300"/>
                  </a:lnTo>
                  <a:lnTo>
                    <a:pt x="907" y="309"/>
                  </a:lnTo>
                  <a:lnTo>
                    <a:pt x="886" y="300"/>
                  </a:lnTo>
                  <a:lnTo>
                    <a:pt x="907" y="293"/>
                  </a:lnTo>
                  <a:lnTo>
                    <a:pt x="876" y="293"/>
                  </a:lnTo>
                  <a:lnTo>
                    <a:pt x="891" y="260"/>
                  </a:lnTo>
                  <a:lnTo>
                    <a:pt x="928" y="260"/>
                  </a:lnTo>
                  <a:lnTo>
                    <a:pt x="924" y="243"/>
                  </a:lnTo>
                  <a:lnTo>
                    <a:pt x="940" y="215"/>
                  </a:lnTo>
                  <a:lnTo>
                    <a:pt x="973" y="243"/>
                  </a:lnTo>
                  <a:lnTo>
                    <a:pt x="978" y="238"/>
                  </a:lnTo>
                  <a:lnTo>
                    <a:pt x="994" y="243"/>
                  </a:lnTo>
                  <a:lnTo>
                    <a:pt x="957" y="222"/>
                  </a:lnTo>
                  <a:lnTo>
                    <a:pt x="957" y="215"/>
                  </a:lnTo>
                  <a:lnTo>
                    <a:pt x="978" y="205"/>
                  </a:lnTo>
                  <a:lnTo>
                    <a:pt x="994" y="227"/>
                  </a:lnTo>
                  <a:lnTo>
                    <a:pt x="1016" y="238"/>
                  </a:lnTo>
                  <a:lnTo>
                    <a:pt x="999" y="243"/>
                  </a:lnTo>
                  <a:lnTo>
                    <a:pt x="1028" y="243"/>
                  </a:lnTo>
                  <a:lnTo>
                    <a:pt x="1028" y="238"/>
                  </a:lnTo>
                  <a:lnTo>
                    <a:pt x="994" y="222"/>
                  </a:lnTo>
                  <a:lnTo>
                    <a:pt x="1011" y="215"/>
                  </a:lnTo>
                  <a:lnTo>
                    <a:pt x="1011" y="205"/>
                  </a:lnTo>
                  <a:lnTo>
                    <a:pt x="994" y="215"/>
                  </a:lnTo>
                  <a:lnTo>
                    <a:pt x="983" y="198"/>
                  </a:lnTo>
                  <a:lnTo>
                    <a:pt x="1011" y="182"/>
                  </a:lnTo>
                  <a:lnTo>
                    <a:pt x="1049" y="172"/>
                  </a:lnTo>
                  <a:lnTo>
                    <a:pt x="1042" y="198"/>
                  </a:lnTo>
                  <a:lnTo>
                    <a:pt x="1032" y="227"/>
                  </a:lnTo>
                  <a:lnTo>
                    <a:pt x="1042" y="222"/>
                  </a:lnTo>
                  <a:lnTo>
                    <a:pt x="1049" y="189"/>
                  </a:lnTo>
                  <a:lnTo>
                    <a:pt x="1087" y="160"/>
                  </a:lnTo>
                  <a:lnTo>
                    <a:pt x="1096" y="165"/>
                  </a:lnTo>
                  <a:lnTo>
                    <a:pt x="1080" y="222"/>
                  </a:lnTo>
                  <a:lnTo>
                    <a:pt x="1054" y="243"/>
                  </a:lnTo>
                  <a:lnTo>
                    <a:pt x="1096" y="205"/>
                  </a:lnTo>
                  <a:lnTo>
                    <a:pt x="1124" y="215"/>
                  </a:lnTo>
                  <a:lnTo>
                    <a:pt x="1096" y="198"/>
                  </a:lnTo>
                  <a:lnTo>
                    <a:pt x="1103" y="182"/>
                  </a:lnTo>
                  <a:lnTo>
                    <a:pt x="1141" y="160"/>
                  </a:lnTo>
                  <a:lnTo>
                    <a:pt x="1124" y="165"/>
                  </a:lnTo>
                  <a:lnTo>
                    <a:pt x="1134" y="172"/>
                  </a:lnTo>
                  <a:lnTo>
                    <a:pt x="1155" y="149"/>
                  </a:lnTo>
                  <a:lnTo>
                    <a:pt x="1209" y="182"/>
                  </a:lnTo>
                  <a:lnTo>
                    <a:pt x="1188" y="144"/>
                  </a:lnTo>
                  <a:lnTo>
                    <a:pt x="1209" y="132"/>
                  </a:lnTo>
                  <a:lnTo>
                    <a:pt x="1162" y="132"/>
                  </a:lnTo>
                  <a:lnTo>
                    <a:pt x="1150" y="127"/>
                  </a:lnTo>
                  <a:lnTo>
                    <a:pt x="1155" y="116"/>
                  </a:lnTo>
                  <a:lnTo>
                    <a:pt x="1172" y="111"/>
                  </a:lnTo>
                  <a:lnTo>
                    <a:pt x="1188" y="116"/>
                  </a:lnTo>
                  <a:lnTo>
                    <a:pt x="1205" y="111"/>
                  </a:lnTo>
                  <a:lnTo>
                    <a:pt x="1226" y="111"/>
                  </a:lnTo>
                  <a:lnTo>
                    <a:pt x="1226" y="127"/>
                  </a:lnTo>
                  <a:lnTo>
                    <a:pt x="1243" y="132"/>
                  </a:lnTo>
                  <a:lnTo>
                    <a:pt x="1226" y="127"/>
                  </a:lnTo>
                  <a:lnTo>
                    <a:pt x="1231" y="116"/>
                  </a:lnTo>
                  <a:lnTo>
                    <a:pt x="1268" y="127"/>
                  </a:lnTo>
                  <a:lnTo>
                    <a:pt x="1259" y="132"/>
                  </a:lnTo>
                  <a:lnTo>
                    <a:pt x="1226" y="144"/>
                  </a:lnTo>
                  <a:lnTo>
                    <a:pt x="1264" y="132"/>
                  </a:lnTo>
                  <a:lnTo>
                    <a:pt x="1297" y="160"/>
                  </a:lnTo>
                  <a:lnTo>
                    <a:pt x="1313" y="149"/>
                  </a:lnTo>
                  <a:lnTo>
                    <a:pt x="1285" y="144"/>
                  </a:lnTo>
                  <a:lnTo>
                    <a:pt x="1297" y="132"/>
                  </a:lnTo>
                  <a:lnTo>
                    <a:pt x="1297" y="116"/>
                  </a:lnTo>
                  <a:lnTo>
                    <a:pt x="1313" y="116"/>
                  </a:lnTo>
                  <a:lnTo>
                    <a:pt x="1302" y="116"/>
                  </a:lnTo>
                  <a:lnTo>
                    <a:pt x="1318" y="94"/>
                  </a:lnTo>
                  <a:lnTo>
                    <a:pt x="1339" y="87"/>
                  </a:lnTo>
                  <a:lnTo>
                    <a:pt x="1368" y="94"/>
                  </a:lnTo>
                  <a:lnTo>
                    <a:pt x="1356" y="78"/>
                  </a:lnTo>
                  <a:lnTo>
                    <a:pt x="1368" y="61"/>
                  </a:lnTo>
                  <a:lnTo>
                    <a:pt x="1394" y="71"/>
                  </a:lnTo>
                  <a:lnTo>
                    <a:pt x="1377" y="54"/>
                  </a:lnTo>
                  <a:lnTo>
                    <a:pt x="1356" y="49"/>
                  </a:lnTo>
                  <a:lnTo>
                    <a:pt x="1372" y="38"/>
                  </a:lnTo>
                  <a:lnTo>
                    <a:pt x="1389" y="49"/>
                  </a:lnTo>
                  <a:lnTo>
                    <a:pt x="1389" y="21"/>
                  </a:lnTo>
                  <a:lnTo>
                    <a:pt x="1405" y="33"/>
                  </a:lnTo>
                  <a:lnTo>
                    <a:pt x="1410" y="21"/>
                  </a:lnTo>
                  <a:lnTo>
                    <a:pt x="1431" y="49"/>
                  </a:lnTo>
                  <a:lnTo>
                    <a:pt x="1443" y="38"/>
                  </a:lnTo>
                  <a:lnTo>
                    <a:pt x="1443" y="21"/>
                  </a:lnTo>
                  <a:lnTo>
                    <a:pt x="1481" y="33"/>
                  </a:lnTo>
                  <a:lnTo>
                    <a:pt x="1420" y="87"/>
                  </a:lnTo>
                  <a:lnTo>
                    <a:pt x="1431" y="87"/>
                  </a:lnTo>
                  <a:lnTo>
                    <a:pt x="1431" y="104"/>
                  </a:lnTo>
                  <a:lnTo>
                    <a:pt x="1420" y="104"/>
                  </a:lnTo>
                  <a:lnTo>
                    <a:pt x="1420" y="116"/>
                  </a:lnTo>
                  <a:lnTo>
                    <a:pt x="1410" y="116"/>
                  </a:lnTo>
                  <a:lnTo>
                    <a:pt x="1410" y="144"/>
                  </a:lnTo>
                  <a:lnTo>
                    <a:pt x="1420" y="144"/>
                  </a:lnTo>
                  <a:lnTo>
                    <a:pt x="1420" y="132"/>
                  </a:lnTo>
                  <a:lnTo>
                    <a:pt x="1420" y="144"/>
                  </a:lnTo>
                  <a:lnTo>
                    <a:pt x="1427" y="144"/>
                  </a:lnTo>
                  <a:lnTo>
                    <a:pt x="1448" y="116"/>
                  </a:lnTo>
                  <a:lnTo>
                    <a:pt x="1443" y="104"/>
                  </a:lnTo>
                  <a:lnTo>
                    <a:pt x="1528" y="33"/>
                  </a:lnTo>
                  <a:lnTo>
                    <a:pt x="1533" y="33"/>
                  </a:lnTo>
                  <a:lnTo>
                    <a:pt x="1533" y="54"/>
                  </a:lnTo>
                  <a:lnTo>
                    <a:pt x="1502" y="71"/>
                  </a:lnTo>
                  <a:lnTo>
                    <a:pt x="1528" y="71"/>
                  </a:lnTo>
                  <a:lnTo>
                    <a:pt x="1519" y="104"/>
                  </a:lnTo>
                  <a:lnTo>
                    <a:pt x="1557" y="87"/>
                  </a:lnTo>
                  <a:lnTo>
                    <a:pt x="1550" y="78"/>
                  </a:lnTo>
                  <a:lnTo>
                    <a:pt x="1557" y="71"/>
                  </a:lnTo>
                  <a:lnTo>
                    <a:pt x="1571" y="78"/>
                  </a:lnTo>
                  <a:lnTo>
                    <a:pt x="1566" y="71"/>
                  </a:lnTo>
                  <a:lnTo>
                    <a:pt x="1566" y="54"/>
                  </a:lnTo>
                  <a:lnTo>
                    <a:pt x="1571" y="38"/>
                  </a:lnTo>
                  <a:lnTo>
                    <a:pt x="1594" y="49"/>
                  </a:lnTo>
                  <a:lnTo>
                    <a:pt x="1566" y="21"/>
                  </a:lnTo>
                  <a:lnTo>
                    <a:pt x="1594" y="5"/>
                  </a:lnTo>
                  <a:lnTo>
                    <a:pt x="1609" y="16"/>
                  </a:lnTo>
                  <a:lnTo>
                    <a:pt x="1637" y="5"/>
                  </a:lnTo>
                  <a:lnTo>
                    <a:pt x="1663" y="21"/>
                  </a:lnTo>
                  <a:lnTo>
                    <a:pt x="1642" y="49"/>
                  </a:lnTo>
                  <a:lnTo>
                    <a:pt x="1604" y="49"/>
                  </a:lnTo>
                  <a:lnTo>
                    <a:pt x="1637" y="54"/>
                  </a:lnTo>
                  <a:lnTo>
                    <a:pt x="1594" y="71"/>
                  </a:lnTo>
                  <a:lnTo>
                    <a:pt x="1642" y="54"/>
                  </a:lnTo>
                  <a:lnTo>
                    <a:pt x="1642" y="71"/>
                  </a:lnTo>
                  <a:lnTo>
                    <a:pt x="1609" y="87"/>
                  </a:lnTo>
                  <a:lnTo>
                    <a:pt x="1637" y="87"/>
                  </a:lnTo>
                  <a:lnTo>
                    <a:pt x="1625" y="94"/>
                  </a:lnTo>
                  <a:lnTo>
                    <a:pt x="1637" y="94"/>
                  </a:lnTo>
                  <a:lnTo>
                    <a:pt x="1646" y="87"/>
                  </a:lnTo>
                  <a:lnTo>
                    <a:pt x="1637" y="104"/>
                  </a:lnTo>
                  <a:lnTo>
                    <a:pt x="1637" y="127"/>
                  </a:lnTo>
                  <a:lnTo>
                    <a:pt x="1625" y="144"/>
                  </a:lnTo>
                  <a:lnTo>
                    <a:pt x="1642" y="127"/>
                  </a:lnTo>
                  <a:lnTo>
                    <a:pt x="1642" y="104"/>
                  </a:lnTo>
                  <a:lnTo>
                    <a:pt x="1658" y="54"/>
                  </a:lnTo>
                  <a:lnTo>
                    <a:pt x="1675" y="38"/>
                  </a:lnTo>
                  <a:lnTo>
                    <a:pt x="1696" y="38"/>
                  </a:lnTo>
                  <a:lnTo>
                    <a:pt x="1713" y="38"/>
                  </a:lnTo>
                  <a:lnTo>
                    <a:pt x="1717" y="61"/>
                  </a:lnTo>
                  <a:lnTo>
                    <a:pt x="1750" y="54"/>
                  </a:lnTo>
                  <a:lnTo>
                    <a:pt x="1746" y="71"/>
                  </a:lnTo>
                  <a:lnTo>
                    <a:pt x="1772" y="54"/>
                  </a:lnTo>
                  <a:lnTo>
                    <a:pt x="1788" y="71"/>
                  </a:lnTo>
                  <a:lnTo>
                    <a:pt x="1767" y="78"/>
                  </a:lnTo>
                  <a:lnTo>
                    <a:pt x="1805" y="78"/>
                  </a:lnTo>
                  <a:lnTo>
                    <a:pt x="1826" y="94"/>
                  </a:lnTo>
                  <a:lnTo>
                    <a:pt x="1842" y="111"/>
                  </a:lnTo>
                  <a:lnTo>
                    <a:pt x="1798" y="116"/>
                  </a:lnTo>
                  <a:lnTo>
                    <a:pt x="1772" y="144"/>
                  </a:lnTo>
                  <a:lnTo>
                    <a:pt x="1675" y="127"/>
                  </a:lnTo>
                  <a:lnTo>
                    <a:pt x="1663" y="127"/>
                  </a:lnTo>
                  <a:lnTo>
                    <a:pt x="1675" y="127"/>
                  </a:lnTo>
                  <a:lnTo>
                    <a:pt x="1663" y="132"/>
                  </a:lnTo>
                  <a:lnTo>
                    <a:pt x="1746" y="160"/>
                  </a:lnTo>
                  <a:lnTo>
                    <a:pt x="1717" y="165"/>
                  </a:lnTo>
                  <a:lnTo>
                    <a:pt x="1746" y="165"/>
                  </a:lnTo>
                  <a:lnTo>
                    <a:pt x="1750" y="172"/>
                  </a:lnTo>
                  <a:lnTo>
                    <a:pt x="1729" y="198"/>
                  </a:lnTo>
                  <a:lnTo>
                    <a:pt x="1755" y="182"/>
                  </a:lnTo>
                  <a:lnTo>
                    <a:pt x="1772" y="189"/>
                  </a:lnTo>
                  <a:lnTo>
                    <a:pt x="1772" y="182"/>
                  </a:lnTo>
                  <a:lnTo>
                    <a:pt x="1772" y="165"/>
                  </a:lnTo>
                  <a:lnTo>
                    <a:pt x="1788" y="172"/>
                  </a:lnTo>
                  <a:lnTo>
                    <a:pt x="1788" y="189"/>
                  </a:lnTo>
                  <a:lnTo>
                    <a:pt x="1798" y="189"/>
                  </a:lnTo>
                  <a:lnTo>
                    <a:pt x="1798" y="172"/>
                  </a:lnTo>
                  <a:lnTo>
                    <a:pt x="1826" y="172"/>
                  </a:lnTo>
                  <a:lnTo>
                    <a:pt x="1826" y="172"/>
                  </a:lnTo>
                  <a:lnTo>
                    <a:pt x="1826" y="172"/>
                  </a:lnTo>
                  <a:close/>
                  <a:moveTo>
                    <a:pt x="1394" y="16"/>
                  </a:moveTo>
                  <a:lnTo>
                    <a:pt x="1389" y="5"/>
                  </a:lnTo>
                  <a:lnTo>
                    <a:pt x="1405" y="5"/>
                  </a:lnTo>
                  <a:lnTo>
                    <a:pt x="1394" y="16"/>
                  </a:lnTo>
                  <a:lnTo>
                    <a:pt x="1394" y="16"/>
                  </a:lnTo>
                  <a:lnTo>
                    <a:pt x="1394" y="16"/>
                  </a:lnTo>
                  <a:close/>
                  <a:moveTo>
                    <a:pt x="1351" y="33"/>
                  </a:moveTo>
                  <a:lnTo>
                    <a:pt x="1335" y="21"/>
                  </a:lnTo>
                  <a:lnTo>
                    <a:pt x="1356" y="21"/>
                  </a:lnTo>
                  <a:lnTo>
                    <a:pt x="1351" y="33"/>
                  </a:lnTo>
                  <a:lnTo>
                    <a:pt x="1351" y="33"/>
                  </a:lnTo>
                  <a:lnTo>
                    <a:pt x="1351" y="33"/>
                  </a:lnTo>
                  <a:close/>
                  <a:moveTo>
                    <a:pt x="1217" y="87"/>
                  </a:moveTo>
                  <a:lnTo>
                    <a:pt x="1217" y="71"/>
                  </a:lnTo>
                  <a:lnTo>
                    <a:pt x="1205" y="61"/>
                  </a:lnTo>
                  <a:lnTo>
                    <a:pt x="1243" y="54"/>
                  </a:lnTo>
                  <a:lnTo>
                    <a:pt x="1247" y="61"/>
                  </a:lnTo>
                  <a:lnTo>
                    <a:pt x="1247" y="71"/>
                  </a:lnTo>
                  <a:lnTo>
                    <a:pt x="1259" y="71"/>
                  </a:lnTo>
                  <a:lnTo>
                    <a:pt x="1259" y="54"/>
                  </a:lnTo>
                  <a:lnTo>
                    <a:pt x="1268" y="61"/>
                  </a:lnTo>
                  <a:lnTo>
                    <a:pt x="1285" y="49"/>
                  </a:lnTo>
                  <a:lnTo>
                    <a:pt x="1297" y="49"/>
                  </a:lnTo>
                  <a:lnTo>
                    <a:pt x="1297" y="38"/>
                  </a:lnTo>
                  <a:lnTo>
                    <a:pt x="1302" y="49"/>
                  </a:lnTo>
                  <a:lnTo>
                    <a:pt x="1280" y="78"/>
                  </a:lnTo>
                  <a:lnTo>
                    <a:pt x="1217" y="87"/>
                  </a:lnTo>
                  <a:lnTo>
                    <a:pt x="1217" y="87"/>
                  </a:lnTo>
                  <a:lnTo>
                    <a:pt x="1217" y="87"/>
                  </a:lnTo>
                  <a:close/>
                  <a:moveTo>
                    <a:pt x="1335" y="87"/>
                  </a:moveTo>
                  <a:lnTo>
                    <a:pt x="1323" y="78"/>
                  </a:lnTo>
                  <a:lnTo>
                    <a:pt x="1318" y="61"/>
                  </a:lnTo>
                  <a:lnTo>
                    <a:pt x="1335" y="54"/>
                  </a:lnTo>
                  <a:lnTo>
                    <a:pt x="1351" y="71"/>
                  </a:lnTo>
                  <a:lnTo>
                    <a:pt x="1335" y="87"/>
                  </a:lnTo>
                  <a:lnTo>
                    <a:pt x="1335" y="87"/>
                  </a:lnTo>
                  <a:lnTo>
                    <a:pt x="1335" y="87"/>
                  </a:lnTo>
                  <a:close/>
                  <a:moveTo>
                    <a:pt x="1280" y="116"/>
                  </a:moveTo>
                  <a:lnTo>
                    <a:pt x="1264" y="94"/>
                  </a:lnTo>
                  <a:lnTo>
                    <a:pt x="1302" y="78"/>
                  </a:lnTo>
                  <a:lnTo>
                    <a:pt x="1302" y="71"/>
                  </a:lnTo>
                  <a:lnTo>
                    <a:pt x="1318" y="87"/>
                  </a:lnTo>
                  <a:lnTo>
                    <a:pt x="1313" y="104"/>
                  </a:lnTo>
                  <a:lnTo>
                    <a:pt x="1280" y="116"/>
                  </a:lnTo>
                  <a:lnTo>
                    <a:pt x="1280" y="116"/>
                  </a:lnTo>
                  <a:lnTo>
                    <a:pt x="1280" y="116"/>
                  </a:lnTo>
                  <a:close/>
                  <a:moveTo>
                    <a:pt x="1268" y="116"/>
                  </a:moveTo>
                  <a:lnTo>
                    <a:pt x="1226" y="111"/>
                  </a:lnTo>
                  <a:lnTo>
                    <a:pt x="1247" y="104"/>
                  </a:lnTo>
                  <a:lnTo>
                    <a:pt x="1268" y="116"/>
                  </a:lnTo>
                  <a:lnTo>
                    <a:pt x="1268" y="116"/>
                  </a:lnTo>
                  <a:lnTo>
                    <a:pt x="1268" y="116"/>
                  </a:lnTo>
                  <a:close/>
                  <a:moveTo>
                    <a:pt x="1188" y="116"/>
                  </a:moveTo>
                  <a:lnTo>
                    <a:pt x="1179" y="104"/>
                  </a:lnTo>
                  <a:lnTo>
                    <a:pt x="1193" y="104"/>
                  </a:lnTo>
                  <a:lnTo>
                    <a:pt x="1188" y="116"/>
                  </a:lnTo>
                  <a:lnTo>
                    <a:pt x="1188" y="116"/>
                  </a:lnTo>
                  <a:lnTo>
                    <a:pt x="1188" y="116"/>
                  </a:lnTo>
                  <a:close/>
                  <a:moveTo>
                    <a:pt x="1054" y="144"/>
                  </a:moveTo>
                  <a:lnTo>
                    <a:pt x="1049" y="144"/>
                  </a:lnTo>
                  <a:lnTo>
                    <a:pt x="1032" y="116"/>
                  </a:lnTo>
                  <a:lnTo>
                    <a:pt x="1042" y="111"/>
                  </a:lnTo>
                  <a:lnTo>
                    <a:pt x="1070" y="132"/>
                  </a:lnTo>
                  <a:lnTo>
                    <a:pt x="1054" y="144"/>
                  </a:lnTo>
                  <a:lnTo>
                    <a:pt x="1054" y="144"/>
                  </a:lnTo>
                  <a:lnTo>
                    <a:pt x="1054" y="144"/>
                  </a:lnTo>
                  <a:close/>
                  <a:moveTo>
                    <a:pt x="999" y="132"/>
                  </a:moveTo>
                  <a:lnTo>
                    <a:pt x="994" y="127"/>
                  </a:lnTo>
                  <a:lnTo>
                    <a:pt x="1011" y="116"/>
                  </a:lnTo>
                  <a:lnTo>
                    <a:pt x="1011" y="132"/>
                  </a:lnTo>
                  <a:lnTo>
                    <a:pt x="999" y="132"/>
                  </a:lnTo>
                  <a:lnTo>
                    <a:pt x="999" y="132"/>
                  </a:lnTo>
                  <a:lnTo>
                    <a:pt x="999" y="132"/>
                  </a:lnTo>
                  <a:close/>
                  <a:moveTo>
                    <a:pt x="1103" y="144"/>
                  </a:moveTo>
                  <a:lnTo>
                    <a:pt x="1087" y="144"/>
                  </a:lnTo>
                  <a:lnTo>
                    <a:pt x="1096" y="127"/>
                  </a:lnTo>
                  <a:lnTo>
                    <a:pt x="1103" y="116"/>
                  </a:lnTo>
                  <a:lnTo>
                    <a:pt x="1117" y="127"/>
                  </a:lnTo>
                  <a:lnTo>
                    <a:pt x="1117" y="144"/>
                  </a:lnTo>
                  <a:lnTo>
                    <a:pt x="1103" y="144"/>
                  </a:lnTo>
                  <a:lnTo>
                    <a:pt x="1103" y="144"/>
                  </a:lnTo>
                  <a:lnTo>
                    <a:pt x="1103" y="144"/>
                  </a:lnTo>
                  <a:close/>
                  <a:moveTo>
                    <a:pt x="1032" y="132"/>
                  </a:moveTo>
                  <a:lnTo>
                    <a:pt x="1016" y="132"/>
                  </a:lnTo>
                  <a:lnTo>
                    <a:pt x="1028" y="127"/>
                  </a:lnTo>
                  <a:lnTo>
                    <a:pt x="1032" y="132"/>
                  </a:lnTo>
                  <a:lnTo>
                    <a:pt x="1032" y="132"/>
                  </a:lnTo>
                  <a:lnTo>
                    <a:pt x="1032" y="132"/>
                  </a:lnTo>
                  <a:close/>
                  <a:moveTo>
                    <a:pt x="1124" y="144"/>
                  </a:moveTo>
                  <a:lnTo>
                    <a:pt x="1117" y="132"/>
                  </a:lnTo>
                  <a:lnTo>
                    <a:pt x="1124" y="132"/>
                  </a:lnTo>
                  <a:lnTo>
                    <a:pt x="1124" y="144"/>
                  </a:lnTo>
                  <a:lnTo>
                    <a:pt x="1124" y="144"/>
                  </a:lnTo>
                  <a:lnTo>
                    <a:pt x="1124" y="144"/>
                  </a:lnTo>
                  <a:close/>
                  <a:moveTo>
                    <a:pt x="973" y="149"/>
                  </a:moveTo>
                  <a:lnTo>
                    <a:pt x="973" y="132"/>
                  </a:lnTo>
                  <a:lnTo>
                    <a:pt x="994" y="144"/>
                  </a:lnTo>
                  <a:lnTo>
                    <a:pt x="973" y="149"/>
                  </a:lnTo>
                  <a:lnTo>
                    <a:pt x="973" y="149"/>
                  </a:lnTo>
                  <a:lnTo>
                    <a:pt x="973" y="149"/>
                  </a:lnTo>
                  <a:close/>
                  <a:moveTo>
                    <a:pt x="999" y="172"/>
                  </a:moveTo>
                  <a:lnTo>
                    <a:pt x="973" y="160"/>
                  </a:lnTo>
                  <a:lnTo>
                    <a:pt x="1011" y="132"/>
                  </a:lnTo>
                  <a:lnTo>
                    <a:pt x="1016" y="149"/>
                  </a:lnTo>
                  <a:lnTo>
                    <a:pt x="1032" y="144"/>
                  </a:lnTo>
                  <a:lnTo>
                    <a:pt x="1042" y="149"/>
                  </a:lnTo>
                  <a:lnTo>
                    <a:pt x="999" y="172"/>
                  </a:lnTo>
                  <a:lnTo>
                    <a:pt x="999" y="172"/>
                  </a:lnTo>
                  <a:lnTo>
                    <a:pt x="999" y="172"/>
                  </a:lnTo>
                  <a:close/>
                  <a:moveTo>
                    <a:pt x="1124" y="160"/>
                  </a:moveTo>
                  <a:lnTo>
                    <a:pt x="1117" y="149"/>
                  </a:lnTo>
                  <a:lnTo>
                    <a:pt x="1141" y="149"/>
                  </a:lnTo>
                  <a:lnTo>
                    <a:pt x="1124" y="160"/>
                  </a:lnTo>
                  <a:lnTo>
                    <a:pt x="1124" y="160"/>
                  </a:lnTo>
                  <a:lnTo>
                    <a:pt x="1124" y="160"/>
                  </a:lnTo>
                  <a:close/>
                  <a:moveTo>
                    <a:pt x="1028" y="172"/>
                  </a:moveTo>
                  <a:lnTo>
                    <a:pt x="1049" y="149"/>
                  </a:lnTo>
                  <a:lnTo>
                    <a:pt x="1054" y="160"/>
                  </a:lnTo>
                  <a:lnTo>
                    <a:pt x="1049" y="165"/>
                  </a:lnTo>
                  <a:lnTo>
                    <a:pt x="1028" y="172"/>
                  </a:lnTo>
                  <a:lnTo>
                    <a:pt x="1028" y="172"/>
                  </a:lnTo>
                  <a:lnTo>
                    <a:pt x="1028" y="172"/>
                  </a:lnTo>
                  <a:close/>
                  <a:moveTo>
                    <a:pt x="1750" y="182"/>
                  </a:moveTo>
                  <a:lnTo>
                    <a:pt x="1746" y="182"/>
                  </a:lnTo>
                  <a:lnTo>
                    <a:pt x="1750" y="165"/>
                  </a:lnTo>
                  <a:lnTo>
                    <a:pt x="1767" y="172"/>
                  </a:lnTo>
                  <a:lnTo>
                    <a:pt x="1750" y="182"/>
                  </a:lnTo>
                  <a:lnTo>
                    <a:pt x="1750" y="182"/>
                  </a:lnTo>
                  <a:lnTo>
                    <a:pt x="1750" y="182"/>
                  </a:lnTo>
                  <a:close/>
                  <a:moveTo>
                    <a:pt x="1103" y="172"/>
                  </a:moveTo>
                  <a:lnTo>
                    <a:pt x="1103" y="165"/>
                  </a:lnTo>
                  <a:lnTo>
                    <a:pt x="1117" y="165"/>
                  </a:lnTo>
                  <a:lnTo>
                    <a:pt x="1117" y="172"/>
                  </a:lnTo>
                  <a:lnTo>
                    <a:pt x="1103" y="172"/>
                  </a:lnTo>
                  <a:lnTo>
                    <a:pt x="1103" y="172"/>
                  </a:lnTo>
                  <a:lnTo>
                    <a:pt x="1103" y="172"/>
                  </a:lnTo>
                  <a:close/>
                  <a:moveTo>
                    <a:pt x="945" y="189"/>
                  </a:moveTo>
                  <a:lnTo>
                    <a:pt x="961" y="189"/>
                  </a:lnTo>
                  <a:lnTo>
                    <a:pt x="945" y="189"/>
                  </a:lnTo>
                  <a:lnTo>
                    <a:pt x="945" y="172"/>
                  </a:lnTo>
                  <a:lnTo>
                    <a:pt x="978" y="189"/>
                  </a:lnTo>
                  <a:lnTo>
                    <a:pt x="973" y="165"/>
                  </a:lnTo>
                  <a:lnTo>
                    <a:pt x="994" y="182"/>
                  </a:lnTo>
                  <a:lnTo>
                    <a:pt x="978" y="189"/>
                  </a:lnTo>
                  <a:lnTo>
                    <a:pt x="978" y="205"/>
                  </a:lnTo>
                  <a:lnTo>
                    <a:pt x="973" y="205"/>
                  </a:lnTo>
                  <a:lnTo>
                    <a:pt x="924" y="205"/>
                  </a:lnTo>
                  <a:lnTo>
                    <a:pt x="940" y="198"/>
                  </a:lnTo>
                  <a:lnTo>
                    <a:pt x="928" y="189"/>
                  </a:lnTo>
                  <a:lnTo>
                    <a:pt x="945" y="189"/>
                  </a:lnTo>
                  <a:lnTo>
                    <a:pt x="945" y="189"/>
                  </a:lnTo>
                  <a:lnTo>
                    <a:pt x="945" y="189"/>
                  </a:lnTo>
                  <a:close/>
                  <a:moveTo>
                    <a:pt x="839" y="255"/>
                  </a:moveTo>
                  <a:lnTo>
                    <a:pt x="865" y="243"/>
                  </a:lnTo>
                  <a:lnTo>
                    <a:pt x="848" y="238"/>
                  </a:lnTo>
                  <a:lnTo>
                    <a:pt x="853" y="238"/>
                  </a:lnTo>
                  <a:lnTo>
                    <a:pt x="839" y="227"/>
                  </a:lnTo>
                  <a:lnTo>
                    <a:pt x="848" y="227"/>
                  </a:lnTo>
                  <a:lnTo>
                    <a:pt x="886" y="222"/>
                  </a:lnTo>
                  <a:lnTo>
                    <a:pt x="865" y="215"/>
                  </a:lnTo>
                  <a:lnTo>
                    <a:pt x="891" y="222"/>
                  </a:lnTo>
                  <a:lnTo>
                    <a:pt x="886" y="205"/>
                  </a:lnTo>
                  <a:lnTo>
                    <a:pt x="902" y="215"/>
                  </a:lnTo>
                  <a:lnTo>
                    <a:pt x="891" y="205"/>
                  </a:lnTo>
                  <a:lnTo>
                    <a:pt x="907" y="205"/>
                  </a:lnTo>
                  <a:lnTo>
                    <a:pt x="928" y="227"/>
                  </a:lnTo>
                  <a:lnTo>
                    <a:pt x="919" y="238"/>
                  </a:lnTo>
                  <a:lnTo>
                    <a:pt x="919" y="243"/>
                  </a:lnTo>
                  <a:lnTo>
                    <a:pt x="924" y="255"/>
                  </a:lnTo>
                  <a:lnTo>
                    <a:pt x="886" y="255"/>
                  </a:lnTo>
                  <a:lnTo>
                    <a:pt x="853" y="276"/>
                  </a:lnTo>
                  <a:lnTo>
                    <a:pt x="865" y="272"/>
                  </a:lnTo>
                  <a:lnTo>
                    <a:pt x="831" y="272"/>
                  </a:lnTo>
                  <a:lnTo>
                    <a:pt x="865" y="255"/>
                  </a:lnTo>
                  <a:lnTo>
                    <a:pt x="839" y="255"/>
                  </a:lnTo>
                  <a:lnTo>
                    <a:pt x="839" y="255"/>
                  </a:lnTo>
                  <a:lnTo>
                    <a:pt x="839" y="255"/>
                  </a:lnTo>
                  <a:close/>
                  <a:moveTo>
                    <a:pt x="746" y="293"/>
                  </a:moveTo>
                  <a:lnTo>
                    <a:pt x="739" y="276"/>
                  </a:lnTo>
                  <a:lnTo>
                    <a:pt x="746" y="272"/>
                  </a:lnTo>
                  <a:lnTo>
                    <a:pt x="794" y="243"/>
                  </a:lnTo>
                  <a:lnTo>
                    <a:pt x="784" y="260"/>
                  </a:lnTo>
                  <a:lnTo>
                    <a:pt x="746" y="293"/>
                  </a:lnTo>
                  <a:lnTo>
                    <a:pt x="746" y="293"/>
                  </a:lnTo>
                  <a:lnTo>
                    <a:pt x="746" y="293"/>
                  </a:lnTo>
                  <a:close/>
                  <a:moveTo>
                    <a:pt x="876" y="276"/>
                  </a:moveTo>
                  <a:lnTo>
                    <a:pt x="876" y="272"/>
                  </a:lnTo>
                  <a:lnTo>
                    <a:pt x="891" y="272"/>
                  </a:lnTo>
                  <a:lnTo>
                    <a:pt x="876" y="276"/>
                  </a:lnTo>
                  <a:lnTo>
                    <a:pt x="876" y="276"/>
                  </a:lnTo>
                  <a:lnTo>
                    <a:pt x="876" y="276"/>
                  </a:lnTo>
                  <a:close/>
                  <a:moveTo>
                    <a:pt x="676" y="326"/>
                  </a:moveTo>
                  <a:lnTo>
                    <a:pt x="671" y="316"/>
                  </a:lnTo>
                  <a:lnTo>
                    <a:pt x="676" y="300"/>
                  </a:lnTo>
                  <a:lnTo>
                    <a:pt x="702" y="309"/>
                  </a:lnTo>
                  <a:lnTo>
                    <a:pt x="709" y="293"/>
                  </a:lnTo>
                  <a:lnTo>
                    <a:pt x="725" y="300"/>
                  </a:lnTo>
                  <a:lnTo>
                    <a:pt x="709" y="283"/>
                  </a:lnTo>
                  <a:lnTo>
                    <a:pt x="713" y="276"/>
                  </a:lnTo>
                  <a:lnTo>
                    <a:pt x="739" y="300"/>
                  </a:lnTo>
                  <a:lnTo>
                    <a:pt x="739" y="316"/>
                  </a:lnTo>
                  <a:lnTo>
                    <a:pt x="713" y="333"/>
                  </a:lnTo>
                  <a:lnTo>
                    <a:pt x="702" y="326"/>
                  </a:lnTo>
                  <a:lnTo>
                    <a:pt x="725" y="309"/>
                  </a:lnTo>
                  <a:lnTo>
                    <a:pt x="676" y="326"/>
                  </a:lnTo>
                  <a:lnTo>
                    <a:pt x="676" y="326"/>
                  </a:lnTo>
                  <a:lnTo>
                    <a:pt x="676" y="326"/>
                  </a:lnTo>
                  <a:close/>
                  <a:moveTo>
                    <a:pt x="815" y="293"/>
                  </a:moveTo>
                  <a:lnTo>
                    <a:pt x="801" y="283"/>
                  </a:lnTo>
                  <a:lnTo>
                    <a:pt x="822" y="283"/>
                  </a:lnTo>
                  <a:lnTo>
                    <a:pt x="815" y="293"/>
                  </a:lnTo>
                  <a:lnTo>
                    <a:pt x="815" y="293"/>
                  </a:lnTo>
                  <a:lnTo>
                    <a:pt x="815" y="293"/>
                  </a:lnTo>
                  <a:close/>
                  <a:moveTo>
                    <a:pt x="777" y="283"/>
                  </a:moveTo>
                  <a:lnTo>
                    <a:pt x="768" y="300"/>
                  </a:lnTo>
                  <a:lnTo>
                    <a:pt x="777" y="309"/>
                  </a:lnTo>
                  <a:lnTo>
                    <a:pt x="763" y="338"/>
                  </a:lnTo>
                  <a:lnTo>
                    <a:pt x="794" y="293"/>
                  </a:lnTo>
                  <a:lnTo>
                    <a:pt x="815" y="300"/>
                  </a:lnTo>
                  <a:lnTo>
                    <a:pt x="822" y="326"/>
                  </a:lnTo>
                  <a:lnTo>
                    <a:pt x="815" y="333"/>
                  </a:lnTo>
                  <a:lnTo>
                    <a:pt x="794" y="333"/>
                  </a:lnTo>
                  <a:lnTo>
                    <a:pt x="777" y="354"/>
                  </a:lnTo>
                  <a:lnTo>
                    <a:pt x="768" y="349"/>
                  </a:lnTo>
                  <a:lnTo>
                    <a:pt x="756" y="366"/>
                  </a:lnTo>
                  <a:lnTo>
                    <a:pt x="730" y="366"/>
                  </a:lnTo>
                  <a:lnTo>
                    <a:pt x="756" y="338"/>
                  </a:lnTo>
                  <a:lnTo>
                    <a:pt x="746" y="338"/>
                  </a:lnTo>
                  <a:lnTo>
                    <a:pt x="709" y="371"/>
                  </a:lnTo>
                  <a:lnTo>
                    <a:pt x="730" y="338"/>
                  </a:lnTo>
                  <a:lnTo>
                    <a:pt x="725" y="338"/>
                  </a:lnTo>
                  <a:lnTo>
                    <a:pt x="746" y="326"/>
                  </a:lnTo>
                  <a:lnTo>
                    <a:pt x="739" y="309"/>
                  </a:lnTo>
                  <a:lnTo>
                    <a:pt x="763" y="316"/>
                  </a:lnTo>
                  <a:lnTo>
                    <a:pt x="739" y="309"/>
                  </a:lnTo>
                  <a:lnTo>
                    <a:pt x="756" y="283"/>
                  </a:lnTo>
                  <a:lnTo>
                    <a:pt x="777" y="283"/>
                  </a:lnTo>
                  <a:lnTo>
                    <a:pt x="777" y="283"/>
                  </a:lnTo>
                  <a:lnTo>
                    <a:pt x="777" y="283"/>
                  </a:lnTo>
                  <a:close/>
                  <a:moveTo>
                    <a:pt x="709" y="293"/>
                  </a:moveTo>
                  <a:lnTo>
                    <a:pt x="702" y="283"/>
                  </a:lnTo>
                  <a:lnTo>
                    <a:pt x="709" y="283"/>
                  </a:lnTo>
                  <a:lnTo>
                    <a:pt x="709" y="293"/>
                  </a:lnTo>
                  <a:lnTo>
                    <a:pt x="709" y="293"/>
                  </a:lnTo>
                  <a:lnTo>
                    <a:pt x="709" y="293"/>
                  </a:lnTo>
                  <a:close/>
                  <a:moveTo>
                    <a:pt x="869" y="300"/>
                  </a:moveTo>
                  <a:lnTo>
                    <a:pt x="853" y="293"/>
                  </a:lnTo>
                  <a:lnTo>
                    <a:pt x="886" y="293"/>
                  </a:lnTo>
                  <a:lnTo>
                    <a:pt x="869" y="300"/>
                  </a:lnTo>
                  <a:lnTo>
                    <a:pt x="869" y="300"/>
                  </a:lnTo>
                  <a:lnTo>
                    <a:pt x="869" y="300"/>
                  </a:lnTo>
                  <a:close/>
                  <a:moveTo>
                    <a:pt x="839" y="316"/>
                  </a:moveTo>
                  <a:lnTo>
                    <a:pt x="848" y="293"/>
                  </a:lnTo>
                  <a:lnTo>
                    <a:pt x="865" y="309"/>
                  </a:lnTo>
                  <a:lnTo>
                    <a:pt x="839" y="316"/>
                  </a:lnTo>
                  <a:lnTo>
                    <a:pt x="839" y="316"/>
                  </a:lnTo>
                  <a:lnTo>
                    <a:pt x="839" y="316"/>
                  </a:lnTo>
                  <a:close/>
                  <a:moveTo>
                    <a:pt x="794" y="354"/>
                  </a:moveTo>
                  <a:lnTo>
                    <a:pt x="801" y="338"/>
                  </a:lnTo>
                  <a:lnTo>
                    <a:pt x="815" y="349"/>
                  </a:lnTo>
                  <a:lnTo>
                    <a:pt x="794" y="354"/>
                  </a:lnTo>
                  <a:lnTo>
                    <a:pt x="794" y="354"/>
                  </a:lnTo>
                  <a:lnTo>
                    <a:pt x="794" y="354"/>
                  </a:lnTo>
                  <a:close/>
                  <a:moveTo>
                    <a:pt x="654" y="387"/>
                  </a:moveTo>
                  <a:lnTo>
                    <a:pt x="659" y="366"/>
                  </a:lnTo>
                  <a:lnTo>
                    <a:pt x="676" y="366"/>
                  </a:lnTo>
                  <a:lnTo>
                    <a:pt x="671" y="354"/>
                  </a:lnTo>
                  <a:lnTo>
                    <a:pt x="676" y="354"/>
                  </a:lnTo>
                  <a:lnTo>
                    <a:pt x="702" y="349"/>
                  </a:lnTo>
                  <a:lnTo>
                    <a:pt x="692" y="366"/>
                  </a:lnTo>
                  <a:lnTo>
                    <a:pt x="725" y="349"/>
                  </a:lnTo>
                  <a:lnTo>
                    <a:pt x="702" y="371"/>
                  </a:lnTo>
                  <a:lnTo>
                    <a:pt x="654" y="387"/>
                  </a:lnTo>
                  <a:lnTo>
                    <a:pt x="654" y="387"/>
                  </a:lnTo>
                  <a:lnTo>
                    <a:pt x="654" y="387"/>
                  </a:lnTo>
                  <a:close/>
                  <a:moveTo>
                    <a:pt x="654" y="371"/>
                  </a:moveTo>
                  <a:lnTo>
                    <a:pt x="650" y="366"/>
                  </a:lnTo>
                  <a:lnTo>
                    <a:pt x="654" y="366"/>
                  </a:lnTo>
                  <a:lnTo>
                    <a:pt x="654" y="371"/>
                  </a:lnTo>
                  <a:lnTo>
                    <a:pt x="654" y="371"/>
                  </a:lnTo>
                  <a:lnTo>
                    <a:pt x="654" y="371"/>
                  </a:lnTo>
                  <a:close/>
                  <a:moveTo>
                    <a:pt x="638" y="371"/>
                  </a:moveTo>
                  <a:lnTo>
                    <a:pt x="633" y="366"/>
                  </a:lnTo>
                  <a:lnTo>
                    <a:pt x="638" y="366"/>
                  </a:lnTo>
                  <a:lnTo>
                    <a:pt x="638" y="371"/>
                  </a:lnTo>
                  <a:lnTo>
                    <a:pt x="638" y="371"/>
                  </a:lnTo>
                  <a:lnTo>
                    <a:pt x="638" y="371"/>
                  </a:lnTo>
                  <a:close/>
                  <a:moveTo>
                    <a:pt x="605" y="394"/>
                  </a:moveTo>
                  <a:lnTo>
                    <a:pt x="600" y="394"/>
                  </a:lnTo>
                  <a:lnTo>
                    <a:pt x="605" y="371"/>
                  </a:lnTo>
                  <a:lnTo>
                    <a:pt x="650" y="371"/>
                  </a:lnTo>
                  <a:lnTo>
                    <a:pt x="605" y="394"/>
                  </a:lnTo>
                  <a:lnTo>
                    <a:pt x="605" y="394"/>
                  </a:lnTo>
                  <a:lnTo>
                    <a:pt x="605" y="394"/>
                  </a:lnTo>
                  <a:close/>
                  <a:moveTo>
                    <a:pt x="583" y="404"/>
                  </a:moveTo>
                  <a:lnTo>
                    <a:pt x="583" y="394"/>
                  </a:lnTo>
                  <a:lnTo>
                    <a:pt x="595" y="387"/>
                  </a:lnTo>
                  <a:lnTo>
                    <a:pt x="600" y="387"/>
                  </a:lnTo>
                  <a:lnTo>
                    <a:pt x="583" y="404"/>
                  </a:lnTo>
                  <a:lnTo>
                    <a:pt x="583" y="404"/>
                  </a:lnTo>
                  <a:lnTo>
                    <a:pt x="583" y="404"/>
                  </a:lnTo>
                  <a:close/>
                  <a:moveTo>
                    <a:pt x="550" y="427"/>
                  </a:moveTo>
                  <a:lnTo>
                    <a:pt x="579" y="387"/>
                  </a:lnTo>
                  <a:lnTo>
                    <a:pt x="583" y="394"/>
                  </a:lnTo>
                  <a:lnTo>
                    <a:pt x="579" y="411"/>
                  </a:lnTo>
                  <a:lnTo>
                    <a:pt x="550" y="427"/>
                  </a:lnTo>
                  <a:lnTo>
                    <a:pt x="550" y="427"/>
                  </a:lnTo>
                  <a:lnTo>
                    <a:pt x="550" y="427"/>
                  </a:lnTo>
                  <a:close/>
                  <a:moveTo>
                    <a:pt x="756" y="404"/>
                  </a:moveTo>
                  <a:lnTo>
                    <a:pt x="746" y="404"/>
                  </a:lnTo>
                  <a:lnTo>
                    <a:pt x="777" y="404"/>
                  </a:lnTo>
                  <a:lnTo>
                    <a:pt x="756" y="404"/>
                  </a:lnTo>
                  <a:lnTo>
                    <a:pt x="756" y="404"/>
                  </a:lnTo>
                  <a:lnTo>
                    <a:pt x="756" y="404"/>
                  </a:lnTo>
                  <a:close/>
                  <a:moveTo>
                    <a:pt x="725" y="411"/>
                  </a:moveTo>
                  <a:lnTo>
                    <a:pt x="709" y="411"/>
                  </a:lnTo>
                  <a:lnTo>
                    <a:pt x="730" y="411"/>
                  </a:lnTo>
                  <a:lnTo>
                    <a:pt x="725" y="411"/>
                  </a:lnTo>
                  <a:lnTo>
                    <a:pt x="725" y="411"/>
                  </a:lnTo>
                  <a:lnTo>
                    <a:pt x="725" y="411"/>
                  </a:lnTo>
                  <a:close/>
                  <a:moveTo>
                    <a:pt x="654" y="522"/>
                  </a:moveTo>
                  <a:lnTo>
                    <a:pt x="638" y="515"/>
                  </a:lnTo>
                  <a:lnTo>
                    <a:pt x="659" y="503"/>
                  </a:lnTo>
                  <a:lnTo>
                    <a:pt x="654" y="522"/>
                  </a:lnTo>
                  <a:lnTo>
                    <a:pt x="654" y="522"/>
                  </a:lnTo>
                  <a:lnTo>
                    <a:pt x="654" y="522"/>
                  </a:lnTo>
                  <a:close/>
                  <a:moveTo>
                    <a:pt x="550" y="614"/>
                  </a:moveTo>
                  <a:lnTo>
                    <a:pt x="562" y="609"/>
                  </a:lnTo>
                  <a:lnTo>
                    <a:pt x="550" y="614"/>
                  </a:lnTo>
                  <a:lnTo>
                    <a:pt x="550" y="614"/>
                  </a:lnTo>
                  <a:lnTo>
                    <a:pt x="550" y="614"/>
                  </a:lnTo>
                  <a:close/>
                  <a:moveTo>
                    <a:pt x="524" y="642"/>
                  </a:moveTo>
                  <a:lnTo>
                    <a:pt x="541" y="614"/>
                  </a:lnTo>
                  <a:lnTo>
                    <a:pt x="546" y="631"/>
                  </a:lnTo>
                  <a:lnTo>
                    <a:pt x="524" y="642"/>
                  </a:lnTo>
                  <a:lnTo>
                    <a:pt x="524" y="642"/>
                  </a:lnTo>
                  <a:lnTo>
                    <a:pt x="524" y="642"/>
                  </a:lnTo>
                  <a:close/>
                  <a:moveTo>
                    <a:pt x="529" y="666"/>
                  </a:moveTo>
                  <a:lnTo>
                    <a:pt x="541" y="649"/>
                  </a:lnTo>
                  <a:lnTo>
                    <a:pt x="562" y="642"/>
                  </a:lnTo>
                  <a:lnTo>
                    <a:pt x="529" y="666"/>
                  </a:lnTo>
                  <a:lnTo>
                    <a:pt x="529" y="666"/>
                  </a:lnTo>
                  <a:lnTo>
                    <a:pt x="529" y="666"/>
                  </a:lnTo>
                  <a:close/>
                  <a:moveTo>
                    <a:pt x="491" y="699"/>
                  </a:moveTo>
                  <a:lnTo>
                    <a:pt x="487" y="687"/>
                  </a:lnTo>
                  <a:lnTo>
                    <a:pt x="498" y="683"/>
                  </a:lnTo>
                  <a:lnTo>
                    <a:pt x="491" y="699"/>
                  </a:lnTo>
                  <a:lnTo>
                    <a:pt x="491" y="699"/>
                  </a:lnTo>
                  <a:lnTo>
                    <a:pt x="491" y="699"/>
                  </a:lnTo>
                  <a:close/>
                  <a:moveTo>
                    <a:pt x="508" y="737"/>
                  </a:moveTo>
                  <a:lnTo>
                    <a:pt x="513" y="699"/>
                  </a:lnTo>
                  <a:lnTo>
                    <a:pt x="541" y="720"/>
                  </a:lnTo>
                  <a:lnTo>
                    <a:pt x="508" y="737"/>
                  </a:lnTo>
                  <a:lnTo>
                    <a:pt x="508" y="737"/>
                  </a:lnTo>
                  <a:lnTo>
                    <a:pt x="508" y="737"/>
                  </a:lnTo>
                  <a:close/>
                  <a:moveTo>
                    <a:pt x="508" y="758"/>
                  </a:moveTo>
                  <a:lnTo>
                    <a:pt x="498" y="753"/>
                  </a:lnTo>
                  <a:lnTo>
                    <a:pt x="513" y="737"/>
                  </a:lnTo>
                  <a:lnTo>
                    <a:pt x="524" y="753"/>
                  </a:lnTo>
                  <a:lnTo>
                    <a:pt x="508" y="758"/>
                  </a:lnTo>
                  <a:lnTo>
                    <a:pt x="508" y="758"/>
                  </a:lnTo>
                  <a:lnTo>
                    <a:pt x="508" y="758"/>
                  </a:lnTo>
                  <a:close/>
                  <a:moveTo>
                    <a:pt x="470" y="758"/>
                  </a:moveTo>
                  <a:lnTo>
                    <a:pt x="470" y="753"/>
                  </a:lnTo>
                  <a:lnTo>
                    <a:pt x="487" y="753"/>
                  </a:lnTo>
                  <a:lnTo>
                    <a:pt x="470" y="758"/>
                  </a:lnTo>
                  <a:lnTo>
                    <a:pt x="470" y="758"/>
                  </a:lnTo>
                  <a:lnTo>
                    <a:pt x="470" y="758"/>
                  </a:lnTo>
                  <a:close/>
                  <a:moveTo>
                    <a:pt x="437" y="782"/>
                  </a:moveTo>
                  <a:lnTo>
                    <a:pt x="416" y="782"/>
                  </a:lnTo>
                  <a:lnTo>
                    <a:pt x="437" y="770"/>
                  </a:lnTo>
                  <a:lnTo>
                    <a:pt x="444" y="777"/>
                  </a:lnTo>
                  <a:lnTo>
                    <a:pt x="437" y="782"/>
                  </a:lnTo>
                  <a:lnTo>
                    <a:pt x="437" y="782"/>
                  </a:lnTo>
                  <a:lnTo>
                    <a:pt x="437" y="782"/>
                  </a:lnTo>
                  <a:close/>
                  <a:moveTo>
                    <a:pt x="454" y="810"/>
                  </a:moveTo>
                  <a:lnTo>
                    <a:pt x="444" y="810"/>
                  </a:lnTo>
                  <a:lnTo>
                    <a:pt x="454" y="798"/>
                  </a:lnTo>
                  <a:lnTo>
                    <a:pt x="454" y="810"/>
                  </a:lnTo>
                  <a:lnTo>
                    <a:pt x="454" y="810"/>
                  </a:lnTo>
                  <a:lnTo>
                    <a:pt x="454" y="810"/>
                  </a:lnTo>
                  <a:close/>
                  <a:moveTo>
                    <a:pt x="461" y="827"/>
                  </a:moveTo>
                  <a:lnTo>
                    <a:pt x="444" y="827"/>
                  </a:lnTo>
                  <a:lnTo>
                    <a:pt x="432" y="810"/>
                  </a:lnTo>
                  <a:lnTo>
                    <a:pt x="461" y="815"/>
                  </a:lnTo>
                  <a:lnTo>
                    <a:pt x="461" y="827"/>
                  </a:lnTo>
                  <a:lnTo>
                    <a:pt x="461" y="827"/>
                  </a:lnTo>
                  <a:lnTo>
                    <a:pt x="461" y="827"/>
                  </a:lnTo>
                  <a:close/>
                  <a:moveTo>
                    <a:pt x="243" y="921"/>
                  </a:moveTo>
                  <a:lnTo>
                    <a:pt x="276" y="905"/>
                  </a:lnTo>
                  <a:lnTo>
                    <a:pt x="276" y="909"/>
                  </a:lnTo>
                  <a:lnTo>
                    <a:pt x="243" y="921"/>
                  </a:lnTo>
                  <a:lnTo>
                    <a:pt x="243" y="921"/>
                  </a:lnTo>
                  <a:lnTo>
                    <a:pt x="243" y="921"/>
                  </a:lnTo>
                  <a:close/>
                  <a:moveTo>
                    <a:pt x="255" y="942"/>
                  </a:moveTo>
                  <a:lnTo>
                    <a:pt x="239" y="942"/>
                  </a:lnTo>
                  <a:lnTo>
                    <a:pt x="281" y="921"/>
                  </a:lnTo>
                  <a:lnTo>
                    <a:pt x="298" y="926"/>
                  </a:lnTo>
                  <a:lnTo>
                    <a:pt x="255" y="942"/>
                  </a:lnTo>
                  <a:lnTo>
                    <a:pt x="255" y="942"/>
                  </a:lnTo>
                  <a:lnTo>
                    <a:pt x="255" y="942"/>
                  </a:lnTo>
                  <a:close/>
                  <a:moveTo>
                    <a:pt x="222" y="959"/>
                  </a:moveTo>
                  <a:lnTo>
                    <a:pt x="206" y="947"/>
                  </a:lnTo>
                  <a:lnTo>
                    <a:pt x="222" y="942"/>
                  </a:lnTo>
                  <a:lnTo>
                    <a:pt x="227" y="947"/>
                  </a:lnTo>
                  <a:lnTo>
                    <a:pt x="222" y="959"/>
                  </a:lnTo>
                  <a:lnTo>
                    <a:pt x="222" y="959"/>
                  </a:lnTo>
                  <a:lnTo>
                    <a:pt x="222" y="959"/>
                  </a:lnTo>
                  <a:close/>
                  <a:moveTo>
                    <a:pt x="260" y="959"/>
                  </a:moveTo>
                  <a:lnTo>
                    <a:pt x="255" y="959"/>
                  </a:lnTo>
                  <a:lnTo>
                    <a:pt x="272" y="959"/>
                  </a:lnTo>
                  <a:lnTo>
                    <a:pt x="260" y="959"/>
                  </a:lnTo>
                  <a:lnTo>
                    <a:pt x="260" y="959"/>
                  </a:lnTo>
                  <a:lnTo>
                    <a:pt x="260" y="959"/>
                  </a:lnTo>
                  <a:close/>
                  <a:moveTo>
                    <a:pt x="243" y="975"/>
                  </a:moveTo>
                  <a:lnTo>
                    <a:pt x="239" y="964"/>
                  </a:lnTo>
                  <a:lnTo>
                    <a:pt x="255" y="959"/>
                  </a:lnTo>
                  <a:lnTo>
                    <a:pt x="260" y="975"/>
                  </a:lnTo>
                  <a:lnTo>
                    <a:pt x="243" y="975"/>
                  </a:lnTo>
                  <a:lnTo>
                    <a:pt x="243" y="975"/>
                  </a:lnTo>
                  <a:lnTo>
                    <a:pt x="243" y="975"/>
                  </a:lnTo>
                  <a:close/>
                  <a:moveTo>
                    <a:pt x="222" y="975"/>
                  </a:moveTo>
                  <a:lnTo>
                    <a:pt x="217" y="975"/>
                  </a:lnTo>
                  <a:lnTo>
                    <a:pt x="222" y="964"/>
                  </a:lnTo>
                  <a:lnTo>
                    <a:pt x="227" y="975"/>
                  </a:lnTo>
                  <a:lnTo>
                    <a:pt x="222" y="975"/>
                  </a:lnTo>
                  <a:lnTo>
                    <a:pt x="222" y="975"/>
                  </a:lnTo>
                  <a:lnTo>
                    <a:pt x="222" y="975"/>
                  </a:lnTo>
                  <a:close/>
                  <a:moveTo>
                    <a:pt x="239" y="975"/>
                  </a:moveTo>
                  <a:lnTo>
                    <a:pt x="227" y="964"/>
                  </a:lnTo>
                  <a:lnTo>
                    <a:pt x="243" y="975"/>
                  </a:lnTo>
                  <a:lnTo>
                    <a:pt x="239" y="975"/>
                  </a:lnTo>
                  <a:lnTo>
                    <a:pt x="239" y="975"/>
                  </a:lnTo>
                  <a:lnTo>
                    <a:pt x="239" y="975"/>
                  </a:lnTo>
                  <a:close/>
                  <a:moveTo>
                    <a:pt x="206" y="992"/>
                  </a:moveTo>
                  <a:lnTo>
                    <a:pt x="201" y="992"/>
                  </a:lnTo>
                  <a:lnTo>
                    <a:pt x="217" y="980"/>
                  </a:lnTo>
                  <a:lnTo>
                    <a:pt x="206" y="992"/>
                  </a:lnTo>
                  <a:lnTo>
                    <a:pt x="206" y="992"/>
                  </a:lnTo>
                  <a:lnTo>
                    <a:pt x="206" y="992"/>
                  </a:lnTo>
                  <a:close/>
                  <a:moveTo>
                    <a:pt x="184" y="997"/>
                  </a:moveTo>
                  <a:lnTo>
                    <a:pt x="172" y="997"/>
                  </a:lnTo>
                  <a:lnTo>
                    <a:pt x="172" y="992"/>
                  </a:lnTo>
                  <a:lnTo>
                    <a:pt x="189" y="980"/>
                  </a:lnTo>
                  <a:lnTo>
                    <a:pt x="201" y="992"/>
                  </a:lnTo>
                  <a:lnTo>
                    <a:pt x="184" y="997"/>
                  </a:lnTo>
                  <a:lnTo>
                    <a:pt x="184" y="997"/>
                  </a:lnTo>
                  <a:lnTo>
                    <a:pt x="184" y="997"/>
                  </a:lnTo>
                  <a:close/>
                  <a:moveTo>
                    <a:pt x="135" y="1020"/>
                  </a:moveTo>
                  <a:lnTo>
                    <a:pt x="135" y="1013"/>
                  </a:lnTo>
                  <a:lnTo>
                    <a:pt x="146" y="1013"/>
                  </a:lnTo>
                  <a:lnTo>
                    <a:pt x="135" y="1020"/>
                  </a:lnTo>
                  <a:lnTo>
                    <a:pt x="135" y="1020"/>
                  </a:lnTo>
                  <a:lnTo>
                    <a:pt x="135" y="1020"/>
                  </a:lnTo>
                  <a:close/>
                  <a:moveTo>
                    <a:pt x="130" y="1032"/>
                  </a:moveTo>
                  <a:lnTo>
                    <a:pt x="130" y="1020"/>
                  </a:lnTo>
                  <a:lnTo>
                    <a:pt x="146" y="1032"/>
                  </a:lnTo>
                  <a:lnTo>
                    <a:pt x="130" y="1032"/>
                  </a:lnTo>
                  <a:lnTo>
                    <a:pt x="130" y="1032"/>
                  </a:lnTo>
                  <a:lnTo>
                    <a:pt x="130" y="1032"/>
                  </a:lnTo>
                  <a:close/>
                  <a:moveTo>
                    <a:pt x="97" y="1058"/>
                  </a:moveTo>
                  <a:lnTo>
                    <a:pt x="83" y="1053"/>
                  </a:lnTo>
                  <a:lnTo>
                    <a:pt x="109" y="1058"/>
                  </a:lnTo>
                  <a:lnTo>
                    <a:pt x="97" y="1058"/>
                  </a:lnTo>
                  <a:lnTo>
                    <a:pt x="97" y="1058"/>
                  </a:lnTo>
                  <a:lnTo>
                    <a:pt x="97" y="1058"/>
                  </a:lnTo>
                  <a:close/>
                  <a:moveTo>
                    <a:pt x="66" y="1075"/>
                  </a:moveTo>
                  <a:lnTo>
                    <a:pt x="66" y="1058"/>
                  </a:lnTo>
                  <a:lnTo>
                    <a:pt x="83" y="1070"/>
                  </a:lnTo>
                  <a:lnTo>
                    <a:pt x="66" y="1075"/>
                  </a:lnTo>
                  <a:lnTo>
                    <a:pt x="66" y="1075"/>
                  </a:lnTo>
                  <a:lnTo>
                    <a:pt x="66" y="1075"/>
                  </a:lnTo>
                  <a:close/>
                  <a:moveTo>
                    <a:pt x="54" y="1086"/>
                  </a:moveTo>
                  <a:lnTo>
                    <a:pt x="45" y="1086"/>
                  </a:lnTo>
                  <a:lnTo>
                    <a:pt x="45" y="1075"/>
                  </a:lnTo>
                  <a:lnTo>
                    <a:pt x="66" y="1075"/>
                  </a:lnTo>
                  <a:lnTo>
                    <a:pt x="54" y="1086"/>
                  </a:lnTo>
                  <a:lnTo>
                    <a:pt x="54" y="1086"/>
                  </a:lnTo>
                  <a:lnTo>
                    <a:pt x="54" y="1086"/>
                  </a:lnTo>
                  <a:close/>
                  <a:moveTo>
                    <a:pt x="12" y="1115"/>
                  </a:moveTo>
                  <a:lnTo>
                    <a:pt x="12" y="1103"/>
                  </a:lnTo>
                  <a:lnTo>
                    <a:pt x="12" y="1115"/>
                  </a:lnTo>
                  <a:lnTo>
                    <a:pt x="12" y="1115"/>
                  </a:lnTo>
                  <a:lnTo>
                    <a:pt x="12" y="1115"/>
                  </a:lnTo>
                  <a:close/>
                  <a:moveTo>
                    <a:pt x="7" y="1131"/>
                  </a:moveTo>
                  <a:lnTo>
                    <a:pt x="0" y="1124"/>
                  </a:lnTo>
                  <a:lnTo>
                    <a:pt x="7" y="1115"/>
                  </a:lnTo>
                  <a:lnTo>
                    <a:pt x="21" y="1124"/>
                  </a:lnTo>
                  <a:lnTo>
                    <a:pt x="7" y="1131"/>
                  </a:lnTo>
                  <a:lnTo>
                    <a:pt x="7" y="1131"/>
                  </a:lnTo>
                  <a:lnTo>
                    <a:pt x="7" y="1131"/>
                  </a:lnTo>
                  <a:close/>
                  <a:moveTo>
                    <a:pt x="0" y="1214"/>
                  </a:moveTo>
                  <a:lnTo>
                    <a:pt x="0" y="1197"/>
                  </a:lnTo>
                  <a:lnTo>
                    <a:pt x="7" y="1197"/>
                  </a:lnTo>
                  <a:lnTo>
                    <a:pt x="7" y="1202"/>
                  </a:lnTo>
                  <a:lnTo>
                    <a:pt x="0" y="1214"/>
                  </a:lnTo>
                  <a:lnTo>
                    <a:pt x="0" y="1214"/>
                  </a:lnTo>
                  <a:lnTo>
                    <a:pt x="0" y="1214"/>
                  </a:lnTo>
                  <a:close/>
                  <a:moveTo>
                    <a:pt x="45" y="1275"/>
                  </a:moveTo>
                  <a:lnTo>
                    <a:pt x="38" y="1268"/>
                  </a:lnTo>
                  <a:lnTo>
                    <a:pt x="59" y="1252"/>
                  </a:lnTo>
                  <a:lnTo>
                    <a:pt x="59" y="1275"/>
                  </a:lnTo>
                  <a:lnTo>
                    <a:pt x="45" y="1275"/>
                  </a:lnTo>
                  <a:lnTo>
                    <a:pt x="45" y="1275"/>
                  </a:lnTo>
                  <a:lnTo>
                    <a:pt x="45" y="1275"/>
                  </a:lnTo>
                  <a:close/>
                  <a:moveTo>
                    <a:pt x="21" y="1280"/>
                  </a:moveTo>
                  <a:lnTo>
                    <a:pt x="7" y="1268"/>
                  </a:lnTo>
                  <a:lnTo>
                    <a:pt x="21" y="1275"/>
                  </a:lnTo>
                  <a:lnTo>
                    <a:pt x="21" y="1280"/>
                  </a:lnTo>
                  <a:lnTo>
                    <a:pt x="21" y="1280"/>
                  </a:lnTo>
                  <a:lnTo>
                    <a:pt x="21" y="1280"/>
                  </a:lnTo>
                  <a:close/>
                  <a:moveTo>
                    <a:pt x="12" y="1308"/>
                  </a:moveTo>
                  <a:lnTo>
                    <a:pt x="7" y="1297"/>
                  </a:lnTo>
                  <a:lnTo>
                    <a:pt x="7" y="1275"/>
                  </a:lnTo>
                  <a:lnTo>
                    <a:pt x="12" y="1292"/>
                  </a:lnTo>
                  <a:lnTo>
                    <a:pt x="12" y="1308"/>
                  </a:lnTo>
                  <a:lnTo>
                    <a:pt x="12" y="1308"/>
                  </a:lnTo>
                  <a:lnTo>
                    <a:pt x="12" y="1308"/>
                  </a:lnTo>
                  <a:close/>
                  <a:moveTo>
                    <a:pt x="76" y="1313"/>
                  </a:moveTo>
                  <a:lnTo>
                    <a:pt x="76" y="1308"/>
                  </a:lnTo>
                  <a:lnTo>
                    <a:pt x="83" y="1308"/>
                  </a:lnTo>
                  <a:lnTo>
                    <a:pt x="76" y="1313"/>
                  </a:lnTo>
                  <a:lnTo>
                    <a:pt x="76" y="1313"/>
                  </a:lnTo>
                  <a:lnTo>
                    <a:pt x="76" y="1313"/>
                  </a:lnTo>
                  <a:close/>
                  <a:moveTo>
                    <a:pt x="28" y="1325"/>
                  </a:moveTo>
                  <a:lnTo>
                    <a:pt x="21" y="1325"/>
                  </a:lnTo>
                  <a:lnTo>
                    <a:pt x="21" y="1313"/>
                  </a:lnTo>
                  <a:lnTo>
                    <a:pt x="28" y="1325"/>
                  </a:lnTo>
                  <a:lnTo>
                    <a:pt x="28" y="1325"/>
                  </a:lnTo>
                  <a:lnTo>
                    <a:pt x="28" y="1325"/>
                  </a:lnTo>
                  <a:close/>
                  <a:moveTo>
                    <a:pt x="45" y="1337"/>
                  </a:moveTo>
                  <a:lnTo>
                    <a:pt x="38" y="1325"/>
                  </a:lnTo>
                  <a:lnTo>
                    <a:pt x="54" y="1313"/>
                  </a:lnTo>
                  <a:lnTo>
                    <a:pt x="45" y="1337"/>
                  </a:lnTo>
                  <a:lnTo>
                    <a:pt x="45" y="1337"/>
                  </a:lnTo>
                  <a:lnTo>
                    <a:pt x="45" y="1337"/>
                  </a:lnTo>
                  <a:close/>
                  <a:moveTo>
                    <a:pt x="38" y="1353"/>
                  </a:moveTo>
                  <a:lnTo>
                    <a:pt x="28" y="1346"/>
                  </a:lnTo>
                  <a:lnTo>
                    <a:pt x="28" y="1330"/>
                  </a:lnTo>
                  <a:lnTo>
                    <a:pt x="45" y="1337"/>
                  </a:lnTo>
                  <a:lnTo>
                    <a:pt x="38" y="1353"/>
                  </a:lnTo>
                  <a:lnTo>
                    <a:pt x="38" y="1353"/>
                  </a:lnTo>
                  <a:lnTo>
                    <a:pt x="38" y="1353"/>
                  </a:lnTo>
                  <a:close/>
                  <a:moveTo>
                    <a:pt x="21" y="1370"/>
                  </a:moveTo>
                  <a:lnTo>
                    <a:pt x="12" y="1346"/>
                  </a:lnTo>
                  <a:lnTo>
                    <a:pt x="21" y="1337"/>
                  </a:lnTo>
                  <a:lnTo>
                    <a:pt x="38" y="1353"/>
                  </a:lnTo>
                  <a:lnTo>
                    <a:pt x="21" y="1353"/>
                  </a:lnTo>
                  <a:lnTo>
                    <a:pt x="21" y="1370"/>
                  </a:lnTo>
                  <a:lnTo>
                    <a:pt x="21" y="1370"/>
                  </a:lnTo>
                  <a:lnTo>
                    <a:pt x="21" y="1370"/>
                  </a:lnTo>
                  <a:close/>
                  <a:moveTo>
                    <a:pt x="21" y="1420"/>
                  </a:moveTo>
                  <a:lnTo>
                    <a:pt x="21" y="1386"/>
                  </a:lnTo>
                  <a:lnTo>
                    <a:pt x="28" y="1408"/>
                  </a:lnTo>
                  <a:lnTo>
                    <a:pt x="21" y="1420"/>
                  </a:lnTo>
                  <a:lnTo>
                    <a:pt x="21" y="1420"/>
                  </a:lnTo>
                  <a:lnTo>
                    <a:pt x="21" y="142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3" name="Freeform 524">
              <a:extLst>
                <a:ext uri="{FF2B5EF4-FFF2-40B4-BE49-F238E27FC236}">
                  <a16:creationId xmlns:a16="http://schemas.microsoft.com/office/drawing/2014/main" id="{3D605068-BB3A-4EC2-BB26-699B1BF10015}"/>
                </a:ext>
              </a:extLst>
            </p:cNvPr>
            <p:cNvSpPr>
              <a:spLocks/>
            </p:cNvSpPr>
            <p:nvPr/>
          </p:nvSpPr>
          <p:spPr bwMode="gray">
            <a:xfrm>
              <a:off x="15582263" y="3376025"/>
              <a:ext cx="187868" cy="100807"/>
            </a:xfrm>
            <a:custGeom>
              <a:avLst/>
              <a:gdLst>
                <a:gd name="T0" fmla="*/ 163 w 574"/>
                <a:gd name="T1" fmla="*/ 215 h 308"/>
                <a:gd name="T2" fmla="*/ 125 w 574"/>
                <a:gd name="T3" fmla="*/ 199 h 308"/>
                <a:gd name="T4" fmla="*/ 75 w 574"/>
                <a:gd name="T5" fmla="*/ 159 h 308"/>
                <a:gd name="T6" fmla="*/ 33 w 574"/>
                <a:gd name="T7" fmla="*/ 142 h 308"/>
                <a:gd name="T8" fmla="*/ 16 w 574"/>
                <a:gd name="T9" fmla="*/ 88 h 308"/>
                <a:gd name="T10" fmla="*/ 21 w 574"/>
                <a:gd name="T11" fmla="*/ 67 h 308"/>
                <a:gd name="T12" fmla="*/ 71 w 574"/>
                <a:gd name="T13" fmla="*/ 17 h 308"/>
                <a:gd name="T14" fmla="*/ 75 w 574"/>
                <a:gd name="T15" fmla="*/ 22 h 308"/>
                <a:gd name="T16" fmla="*/ 92 w 574"/>
                <a:gd name="T17" fmla="*/ 0 h 308"/>
                <a:gd name="T18" fmla="*/ 146 w 574"/>
                <a:gd name="T19" fmla="*/ 22 h 308"/>
                <a:gd name="T20" fmla="*/ 196 w 574"/>
                <a:gd name="T21" fmla="*/ 55 h 308"/>
                <a:gd name="T22" fmla="*/ 250 w 574"/>
                <a:gd name="T23" fmla="*/ 93 h 308"/>
                <a:gd name="T24" fmla="*/ 271 w 574"/>
                <a:gd name="T25" fmla="*/ 88 h 308"/>
                <a:gd name="T26" fmla="*/ 293 w 574"/>
                <a:gd name="T27" fmla="*/ 109 h 308"/>
                <a:gd name="T28" fmla="*/ 330 w 574"/>
                <a:gd name="T29" fmla="*/ 142 h 308"/>
                <a:gd name="T30" fmla="*/ 359 w 574"/>
                <a:gd name="T31" fmla="*/ 133 h 308"/>
                <a:gd name="T32" fmla="*/ 397 w 574"/>
                <a:gd name="T33" fmla="*/ 166 h 308"/>
                <a:gd name="T34" fmla="*/ 418 w 574"/>
                <a:gd name="T35" fmla="*/ 187 h 308"/>
                <a:gd name="T36" fmla="*/ 427 w 574"/>
                <a:gd name="T37" fmla="*/ 175 h 308"/>
                <a:gd name="T38" fmla="*/ 434 w 574"/>
                <a:gd name="T39" fmla="*/ 182 h 308"/>
                <a:gd name="T40" fmla="*/ 456 w 574"/>
                <a:gd name="T41" fmla="*/ 175 h 308"/>
                <a:gd name="T42" fmla="*/ 505 w 574"/>
                <a:gd name="T43" fmla="*/ 199 h 308"/>
                <a:gd name="T44" fmla="*/ 548 w 574"/>
                <a:gd name="T45" fmla="*/ 187 h 308"/>
                <a:gd name="T46" fmla="*/ 574 w 574"/>
                <a:gd name="T47" fmla="*/ 199 h 308"/>
                <a:gd name="T48" fmla="*/ 560 w 574"/>
                <a:gd name="T49" fmla="*/ 253 h 308"/>
                <a:gd name="T50" fmla="*/ 560 w 574"/>
                <a:gd name="T51" fmla="*/ 308 h 308"/>
                <a:gd name="T52" fmla="*/ 505 w 574"/>
                <a:gd name="T53" fmla="*/ 308 h 308"/>
                <a:gd name="T54" fmla="*/ 472 w 574"/>
                <a:gd name="T55" fmla="*/ 308 h 308"/>
                <a:gd name="T56" fmla="*/ 413 w 574"/>
                <a:gd name="T57" fmla="*/ 291 h 308"/>
                <a:gd name="T58" fmla="*/ 373 w 574"/>
                <a:gd name="T59" fmla="*/ 286 h 308"/>
                <a:gd name="T60" fmla="*/ 321 w 574"/>
                <a:gd name="T61" fmla="*/ 237 h 308"/>
                <a:gd name="T62" fmla="*/ 288 w 574"/>
                <a:gd name="T63" fmla="*/ 220 h 308"/>
                <a:gd name="T64" fmla="*/ 267 w 574"/>
                <a:gd name="T65" fmla="*/ 237 h 308"/>
                <a:gd name="T66" fmla="*/ 222 w 574"/>
                <a:gd name="T67" fmla="*/ 237 h 308"/>
                <a:gd name="T68" fmla="*/ 184 w 574"/>
                <a:gd name="T69" fmla="*/ 220 h 308"/>
                <a:gd name="T70" fmla="*/ 184 w 574"/>
                <a:gd name="T71" fmla="*/ 2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4" h="308">
                  <a:moveTo>
                    <a:pt x="184" y="204"/>
                  </a:moveTo>
                  <a:lnTo>
                    <a:pt x="163" y="215"/>
                  </a:lnTo>
                  <a:lnTo>
                    <a:pt x="141" y="187"/>
                  </a:lnTo>
                  <a:lnTo>
                    <a:pt x="125" y="199"/>
                  </a:lnTo>
                  <a:lnTo>
                    <a:pt x="87" y="175"/>
                  </a:lnTo>
                  <a:lnTo>
                    <a:pt x="75" y="159"/>
                  </a:lnTo>
                  <a:lnTo>
                    <a:pt x="33" y="133"/>
                  </a:lnTo>
                  <a:lnTo>
                    <a:pt x="33" y="142"/>
                  </a:lnTo>
                  <a:lnTo>
                    <a:pt x="0" y="121"/>
                  </a:lnTo>
                  <a:lnTo>
                    <a:pt x="16" y="88"/>
                  </a:lnTo>
                  <a:lnTo>
                    <a:pt x="4" y="71"/>
                  </a:lnTo>
                  <a:lnTo>
                    <a:pt x="21" y="67"/>
                  </a:lnTo>
                  <a:lnTo>
                    <a:pt x="21" y="50"/>
                  </a:lnTo>
                  <a:lnTo>
                    <a:pt x="71" y="17"/>
                  </a:lnTo>
                  <a:lnTo>
                    <a:pt x="71" y="22"/>
                  </a:lnTo>
                  <a:lnTo>
                    <a:pt x="75" y="22"/>
                  </a:lnTo>
                  <a:lnTo>
                    <a:pt x="92" y="17"/>
                  </a:lnTo>
                  <a:lnTo>
                    <a:pt x="92" y="0"/>
                  </a:lnTo>
                  <a:lnTo>
                    <a:pt x="141" y="0"/>
                  </a:lnTo>
                  <a:lnTo>
                    <a:pt x="146" y="22"/>
                  </a:lnTo>
                  <a:lnTo>
                    <a:pt x="163" y="22"/>
                  </a:lnTo>
                  <a:lnTo>
                    <a:pt x="196" y="55"/>
                  </a:lnTo>
                  <a:lnTo>
                    <a:pt x="217" y="55"/>
                  </a:lnTo>
                  <a:lnTo>
                    <a:pt x="250" y="93"/>
                  </a:lnTo>
                  <a:lnTo>
                    <a:pt x="255" y="93"/>
                  </a:lnTo>
                  <a:lnTo>
                    <a:pt x="271" y="88"/>
                  </a:lnTo>
                  <a:lnTo>
                    <a:pt x="288" y="88"/>
                  </a:lnTo>
                  <a:lnTo>
                    <a:pt x="293" y="109"/>
                  </a:lnTo>
                  <a:lnTo>
                    <a:pt x="309" y="126"/>
                  </a:lnTo>
                  <a:lnTo>
                    <a:pt x="330" y="142"/>
                  </a:lnTo>
                  <a:lnTo>
                    <a:pt x="347" y="133"/>
                  </a:lnTo>
                  <a:lnTo>
                    <a:pt x="359" y="133"/>
                  </a:lnTo>
                  <a:lnTo>
                    <a:pt x="359" y="159"/>
                  </a:lnTo>
                  <a:lnTo>
                    <a:pt x="397" y="166"/>
                  </a:lnTo>
                  <a:lnTo>
                    <a:pt x="413" y="175"/>
                  </a:lnTo>
                  <a:lnTo>
                    <a:pt x="418" y="187"/>
                  </a:lnTo>
                  <a:lnTo>
                    <a:pt x="427" y="187"/>
                  </a:lnTo>
                  <a:lnTo>
                    <a:pt x="427" y="175"/>
                  </a:lnTo>
                  <a:lnTo>
                    <a:pt x="434" y="175"/>
                  </a:lnTo>
                  <a:lnTo>
                    <a:pt x="434" y="182"/>
                  </a:lnTo>
                  <a:lnTo>
                    <a:pt x="451" y="187"/>
                  </a:lnTo>
                  <a:lnTo>
                    <a:pt x="456" y="175"/>
                  </a:lnTo>
                  <a:lnTo>
                    <a:pt x="467" y="175"/>
                  </a:lnTo>
                  <a:lnTo>
                    <a:pt x="505" y="199"/>
                  </a:lnTo>
                  <a:lnTo>
                    <a:pt x="536" y="199"/>
                  </a:lnTo>
                  <a:lnTo>
                    <a:pt x="548" y="187"/>
                  </a:lnTo>
                  <a:lnTo>
                    <a:pt x="564" y="199"/>
                  </a:lnTo>
                  <a:lnTo>
                    <a:pt x="574" y="199"/>
                  </a:lnTo>
                  <a:lnTo>
                    <a:pt x="564" y="220"/>
                  </a:lnTo>
                  <a:lnTo>
                    <a:pt x="560" y="253"/>
                  </a:lnTo>
                  <a:lnTo>
                    <a:pt x="574" y="286"/>
                  </a:lnTo>
                  <a:lnTo>
                    <a:pt x="560" y="308"/>
                  </a:lnTo>
                  <a:lnTo>
                    <a:pt x="548" y="298"/>
                  </a:lnTo>
                  <a:lnTo>
                    <a:pt x="505" y="308"/>
                  </a:lnTo>
                  <a:lnTo>
                    <a:pt x="489" y="298"/>
                  </a:lnTo>
                  <a:lnTo>
                    <a:pt x="472" y="308"/>
                  </a:lnTo>
                  <a:lnTo>
                    <a:pt x="418" y="286"/>
                  </a:lnTo>
                  <a:lnTo>
                    <a:pt x="413" y="291"/>
                  </a:lnTo>
                  <a:lnTo>
                    <a:pt x="385" y="270"/>
                  </a:lnTo>
                  <a:lnTo>
                    <a:pt x="373" y="286"/>
                  </a:lnTo>
                  <a:lnTo>
                    <a:pt x="326" y="258"/>
                  </a:lnTo>
                  <a:lnTo>
                    <a:pt x="321" y="237"/>
                  </a:lnTo>
                  <a:lnTo>
                    <a:pt x="293" y="232"/>
                  </a:lnTo>
                  <a:lnTo>
                    <a:pt x="288" y="220"/>
                  </a:lnTo>
                  <a:lnTo>
                    <a:pt x="267" y="232"/>
                  </a:lnTo>
                  <a:lnTo>
                    <a:pt x="267" y="237"/>
                  </a:lnTo>
                  <a:lnTo>
                    <a:pt x="234" y="232"/>
                  </a:lnTo>
                  <a:lnTo>
                    <a:pt x="222" y="237"/>
                  </a:lnTo>
                  <a:lnTo>
                    <a:pt x="217" y="232"/>
                  </a:lnTo>
                  <a:lnTo>
                    <a:pt x="184" y="220"/>
                  </a:lnTo>
                  <a:lnTo>
                    <a:pt x="184" y="204"/>
                  </a:lnTo>
                  <a:lnTo>
                    <a:pt x="184" y="204"/>
                  </a:lnTo>
                  <a:lnTo>
                    <a:pt x="184" y="204"/>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4" name="Freeform 525">
              <a:extLst>
                <a:ext uri="{FF2B5EF4-FFF2-40B4-BE49-F238E27FC236}">
                  <a16:creationId xmlns:a16="http://schemas.microsoft.com/office/drawing/2014/main" id="{8A765309-F0E4-4321-A5D7-C450467F3176}"/>
                </a:ext>
              </a:extLst>
            </p:cNvPr>
            <p:cNvSpPr>
              <a:spLocks/>
            </p:cNvSpPr>
            <p:nvPr/>
          </p:nvSpPr>
          <p:spPr bwMode="gray">
            <a:xfrm>
              <a:off x="12410759" y="3973014"/>
              <a:ext cx="92952" cy="98189"/>
            </a:xfrm>
            <a:custGeom>
              <a:avLst/>
              <a:gdLst>
                <a:gd name="T0" fmla="*/ 279 w 284"/>
                <a:gd name="T1" fmla="*/ 198 h 300"/>
                <a:gd name="T2" fmla="*/ 267 w 284"/>
                <a:gd name="T3" fmla="*/ 206 h 300"/>
                <a:gd name="T4" fmla="*/ 267 w 284"/>
                <a:gd name="T5" fmla="*/ 227 h 300"/>
                <a:gd name="T6" fmla="*/ 262 w 284"/>
                <a:gd name="T7" fmla="*/ 255 h 300"/>
                <a:gd name="T8" fmla="*/ 246 w 284"/>
                <a:gd name="T9" fmla="*/ 260 h 300"/>
                <a:gd name="T10" fmla="*/ 241 w 284"/>
                <a:gd name="T11" fmla="*/ 260 h 300"/>
                <a:gd name="T12" fmla="*/ 241 w 284"/>
                <a:gd name="T13" fmla="*/ 255 h 300"/>
                <a:gd name="T14" fmla="*/ 225 w 284"/>
                <a:gd name="T15" fmla="*/ 255 h 300"/>
                <a:gd name="T16" fmla="*/ 213 w 284"/>
                <a:gd name="T17" fmla="*/ 243 h 300"/>
                <a:gd name="T18" fmla="*/ 170 w 284"/>
                <a:gd name="T19" fmla="*/ 260 h 300"/>
                <a:gd name="T20" fmla="*/ 144 w 284"/>
                <a:gd name="T21" fmla="*/ 255 h 300"/>
                <a:gd name="T22" fmla="*/ 139 w 284"/>
                <a:gd name="T23" fmla="*/ 267 h 300"/>
                <a:gd name="T24" fmla="*/ 156 w 284"/>
                <a:gd name="T25" fmla="*/ 283 h 300"/>
                <a:gd name="T26" fmla="*/ 156 w 284"/>
                <a:gd name="T27" fmla="*/ 293 h 300"/>
                <a:gd name="T28" fmla="*/ 144 w 284"/>
                <a:gd name="T29" fmla="*/ 300 h 300"/>
                <a:gd name="T30" fmla="*/ 118 w 284"/>
                <a:gd name="T31" fmla="*/ 293 h 300"/>
                <a:gd name="T32" fmla="*/ 102 w 284"/>
                <a:gd name="T33" fmla="*/ 283 h 300"/>
                <a:gd name="T34" fmla="*/ 64 w 284"/>
                <a:gd name="T35" fmla="*/ 227 h 300"/>
                <a:gd name="T36" fmla="*/ 54 w 284"/>
                <a:gd name="T37" fmla="*/ 189 h 300"/>
                <a:gd name="T38" fmla="*/ 33 w 284"/>
                <a:gd name="T39" fmla="*/ 189 h 300"/>
                <a:gd name="T40" fmla="*/ 33 w 284"/>
                <a:gd name="T41" fmla="*/ 182 h 300"/>
                <a:gd name="T42" fmla="*/ 0 w 284"/>
                <a:gd name="T43" fmla="*/ 144 h 300"/>
                <a:gd name="T44" fmla="*/ 0 w 284"/>
                <a:gd name="T45" fmla="*/ 132 h 300"/>
                <a:gd name="T46" fmla="*/ 17 w 284"/>
                <a:gd name="T47" fmla="*/ 94 h 300"/>
                <a:gd name="T48" fmla="*/ 12 w 284"/>
                <a:gd name="T49" fmla="*/ 87 h 300"/>
                <a:gd name="T50" fmla="*/ 33 w 284"/>
                <a:gd name="T51" fmla="*/ 71 h 300"/>
                <a:gd name="T52" fmla="*/ 54 w 284"/>
                <a:gd name="T53" fmla="*/ 71 h 300"/>
                <a:gd name="T54" fmla="*/ 54 w 284"/>
                <a:gd name="T55" fmla="*/ 61 h 300"/>
                <a:gd name="T56" fmla="*/ 64 w 284"/>
                <a:gd name="T57" fmla="*/ 61 h 300"/>
                <a:gd name="T58" fmla="*/ 54 w 284"/>
                <a:gd name="T59" fmla="*/ 43 h 300"/>
                <a:gd name="T60" fmla="*/ 64 w 284"/>
                <a:gd name="T61" fmla="*/ 38 h 300"/>
                <a:gd name="T62" fmla="*/ 64 w 284"/>
                <a:gd name="T63" fmla="*/ 33 h 300"/>
                <a:gd name="T64" fmla="*/ 69 w 284"/>
                <a:gd name="T65" fmla="*/ 5 h 300"/>
                <a:gd name="T66" fmla="*/ 80 w 284"/>
                <a:gd name="T67" fmla="*/ 0 h 300"/>
                <a:gd name="T68" fmla="*/ 144 w 284"/>
                <a:gd name="T69" fmla="*/ 17 h 300"/>
                <a:gd name="T70" fmla="*/ 156 w 284"/>
                <a:gd name="T71" fmla="*/ 17 h 300"/>
                <a:gd name="T72" fmla="*/ 156 w 284"/>
                <a:gd name="T73" fmla="*/ 21 h 300"/>
                <a:gd name="T74" fmla="*/ 156 w 284"/>
                <a:gd name="T75" fmla="*/ 5 h 300"/>
                <a:gd name="T76" fmla="*/ 156 w 284"/>
                <a:gd name="T77" fmla="*/ 0 h 300"/>
                <a:gd name="T78" fmla="*/ 191 w 284"/>
                <a:gd name="T79" fmla="*/ 0 h 300"/>
                <a:gd name="T80" fmla="*/ 208 w 284"/>
                <a:gd name="T81" fmla="*/ 5 h 300"/>
                <a:gd name="T82" fmla="*/ 208 w 284"/>
                <a:gd name="T83" fmla="*/ 17 h 300"/>
                <a:gd name="T84" fmla="*/ 225 w 284"/>
                <a:gd name="T85" fmla="*/ 5 h 300"/>
                <a:gd name="T86" fmla="*/ 208 w 284"/>
                <a:gd name="T87" fmla="*/ 0 h 300"/>
                <a:gd name="T88" fmla="*/ 213 w 284"/>
                <a:gd name="T89" fmla="*/ 0 h 300"/>
                <a:gd name="T90" fmla="*/ 284 w 284"/>
                <a:gd name="T91" fmla="*/ 17 h 300"/>
                <a:gd name="T92" fmla="*/ 284 w 284"/>
                <a:gd name="T93" fmla="*/ 33 h 300"/>
                <a:gd name="T94" fmla="*/ 279 w 284"/>
                <a:gd name="T95" fmla="*/ 43 h 300"/>
                <a:gd name="T96" fmla="*/ 250 w 284"/>
                <a:gd name="T97" fmla="*/ 71 h 300"/>
                <a:gd name="T98" fmla="*/ 250 w 284"/>
                <a:gd name="T99" fmla="*/ 87 h 300"/>
                <a:gd name="T100" fmla="*/ 262 w 284"/>
                <a:gd name="T101" fmla="*/ 144 h 300"/>
                <a:gd name="T102" fmla="*/ 284 w 284"/>
                <a:gd name="T103" fmla="*/ 172 h 300"/>
                <a:gd name="T104" fmla="*/ 279 w 284"/>
                <a:gd name="T105" fmla="*/ 198 h 300"/>
                <a:gd name="T106" fmla="*/ 279 w 284"/>
                <a:gd name="T107" fmla="*/ 198 h 300"/>
                <a:gd name="T108" fmla="*/ 279 w 284"/>
                <a:gd name="T109" fmla="*/ 19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4" h="300">
                  <a:moveTo>
                    <a:pt x="279" y="198"/>
                  </a:moveTo>
                  <a:lnTo>
                    <a:pt x="267" y="206"/>
                  </a:lnTo>
                  <a:lnTo>
                    <a:pt x="267" y="227"/>
                  </a:lnTo>
                  <a:lnTo>
                    <a:pt x="262" y="255"/>
                  </a:lnTo>
                  <a:lnTo>
                    <a:pt x="246" y="260"/>
                  </a:lnTo>
                  <a:lnTo>
                    <a:pt x="241" y="260"/>
                  </a:lnTo>
                  <a:lnTo>
                    <a:pt x="241" y="255"/>
                  </a:lnTo>
                  <a:lnTo>
                    <a:pt x="225" y="255"/>
                  </a:lnTo>
                  <a:lnTo>
                    <a:pt x="213" y="243"/>
                  </a:lnTo>
                  <a:lnTo>
                    <a:pt x="170" y="260"/>
                  </a:lnTo>
                  <a:lnTo>
                    <a:pt x="144" y="255"/>
                  </a:lnTo>
                  <a:lnTo>
                    <a:pt x="139" y="267"/>
                  </a:lnTo>
                  <a:lnTo>
                    <a:pt x="156" y="283"/>
                  </a:lnTo>
                  <a:lnTo>
                    <a:pt x="156" y="293"/>
                  </a:lnTo>
                  <a:lnTo>
                    <a:pt x="144" y="300"/>
                  </a:lnTo>
                  <a:lnTo>
                    <a:pt x="118" y="293"/>
                  </a:lnTo>
                  <a:lnTo>
                    <a:pt x="102" y="283"/>
                  </a:lnTo>
                  <a:lnTo>
                    <a:pt x="64" y="227"/>
                  </a:lnTo>
                  <a:lnTo>
                    <a:pt x="54" y="189"/>
                  </a:lnTo>
                  <a:lnTo>
                    <a:pt x="33" y="189"/>
                  </a:lnTo>
                  <a:lnTo>
                    <a:pt x="33" y="182"/>
                  </a:lnTo>
                  <a:lnTo>
                    <a:pt x="0" y="144"/>
                  </a:lnTo>
                  <a:lnTo>
                    <a:pt x="0" y="132"/>
                  </a:lnTo>
                  <a:lnTo>
                    <a:pt x="17" y="94"/>
                  </a:lnTo>
                  <a:lnTo>
                    <a:pt x="12" y="87"/>
                  </a:lnTo>
                  <a:lnTo>
                    <a:pt x="33" y="71"/>
                  </a:lnTo>
                  <a:lnTo>
                    <a:pt x="54" y="71"/>
                  </a:lnTo>
                  <a:lnTo>
                    <a:pt x="54" y="61"/>
                  </a:lnTo>
                  <a:lnTo>
                    <a:pt x="64" y="61"/>
                  </a:lnTo>
                  <a:lnTo>
                    <a:pt x="54" y="43"/>
                  </a:lnTo>
                  <a:lnTo>
                    <a:pt x="64" y="38"/>
                  </a:lnTo>
                  <a:lnTo>
                    <a:pt x="64" y="33"/>
                  </a:lnTo>
                  <a:lnTo>
                    <a:pt x="69" y="5"/>
                  </a:lnTo>
                  <a:lnTo>
                    <a:pt x="80" y="0"/>
                  </a:lnTo>
                  <a:lnTo>
                    <a:pt x="144" y="17"/>
                  </a:lnTo>
                  <a:lnTo>
                    <a:pt x="156" y="17"/>
                  </a:lnTo>
                  <a:lnTo>
                    <a:pt x="156" y="21"/>
                  </a:lnTo>
                  <a:lnTo>
                    <a:pt x="156" y="5"/>
                  </a:lnTo>
                  <a:lnTo>
                    <a:pt x="156" y="0"/>
                  </a:lnTo>
                  <a:lnTo>
                    <a:pt x="191" y="0"/>
                  </a:lnTo>
                  <a:lnTo>
                    <a:pt x="208" y="5"/>
                  </a:lnTo>
                  <a:lnTo>
                    <a:pt x="208" y="17"/>
                  </a:lnTo>
                  <a:lnTo>
                    <a:pt x="225" y="5"/>
                  </a:lnTo>
                  <a:lnTo>
                    <a:pt x="208" y="0"/>
                  </a:lnTo>
                  <a:lnTo>
                    <a:pt x="213" y="0"/>
                  </a:lnTo>
                  <a:lnTo>
                    <a:pt x="284" y="17"/>
                  </a:lnTo>
                  <a:lnTo>
                    <a:pt x="284" y="33"/>
                  </a:lnTo>
                  <a:lnTo>
                    <a:pt x="279" y="43"/>
                  </a:lnTo>
                  <a:lnTo>
                    <a:pt x="250" y="71"/>
                  </a:lnTo>
                  <a:lnTo>
                    <a:pt x="250" y="87"/>
                  </a:lnTo>
                  <a:lnTo>
                    <a:pt x="262" y="144"/>
                  </a:lnTo>
                  <a:lnTo>
                    <a:pt x="284" y="172"/>
                  </a:lnTo>
                  <a:lnTo>
                    <a:pt x="279" y="198"/>
                  </a:lnTo>
                  <a:lnTo>
                    <a:pt x="279" y="198"/>
                  </a:lnTo>
                  <a:lnTo>
                    <a:pt x="279" y="198"/>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5" name="Freeform 526">
              <a:extLst>
                <a:ext uri="{FF2B5EF4-FFF2-40B4-BE49-F238E27FC236}">
                  <a16:creationId xmlns:a16="http://schemas.microsoft.com/office/drawing/2014/main" id="{45EEF3F4-E658-43A2-8C36-EE9EC44BB93C}"/>
                </a:ext>
              </a:extLst>
            </p:cNvPr>
            <p:cNvSpPr>
              <a:spLocks noEditPoints="1"/>
            </p:cNvSpPr>
            <p:nvPr/>
          </p:nvSpPr>
          <p:spPr bwMode="gray">
            <a:xfrm>
              <a:off x="12156449" y="3822130"/>
              <a:ext cx="22256" cy="7201"/>
            </a:xfrm>
            <a:custGeom>
              <a:avLst/>
              <a:gdLst>
                <a:gd name="T0" fmla="*/ 33 w 68"/>
                <a:gd name="T1" fmla="*/ 22 h 22"/>
                <a:gd name="T2" fmla="*/ 5 w 68"/>
                <a:gd name="T3" fmla="*/ 7 h 22"/>
                <a:gd name="T4" fmla="*/ 0 w 68"/>
                <a:gd name="T5" fmla="*/ 0 h 22"/>
                <a:gd name="T6" fmla="*/ 33 w 68"/>
                <a:gd name="T7" fmla="*/ 22 h 22"/>
                <a:gd name="T8" fmla="*/ 33 w 68"/>
                <a:gd name="T9" fmla="*/ 22 h 22"/>
                <a:gd name="T10" fmla="*/ 33 w 68"/>
                <a:gd name="T11" fmla="*/ 22 h 22"/>
                <a:gd name="T12" fmla="*/ 68 w 68"/>
                <a:gd name="T13" fmla="*/ 22 h 22"/>
                <a:gd name="T14" fmla="*/ 54 w 68"/>
                <a:gd name="T15" fmla="*/ 0 h 22"/>
                <a:gd name="T16" fmla="*/ 68 w 68"/>
                <a:gd name="T17" fmla="*/ 7 h 22"/>
                <a:gd name="T18" fmla="*/ 68 w 68"/>
                <a:gd name="T19" fmla="*/ 22 h 22"/>
                <a:gd name="T20" fmla="*/ 68 w 68"/>
                <a:gd name="T21" fmla="*/ 22 h 22"/>
                <a:gd name="T22" fmla="*/ 68 w 68"/>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22">
                  <a:moveTo>
                    <a:pt x="33" y="22"/>
                  </a:moveTo>
                  <a:lnTo>
                    <a:pt x="5" y="7"/>
                  </a:lnTo>
                  <a:lnTo>
                    <a:pt x="0" y="0"/>
                  </a:lnTo>
                  <a:lnTo>
                    <a:pt x="33" y="22"/>
                  </a:lnTo>
                  <a:lnTo>
                    <a:pt x="33" y="22"/>
                  </a:lnTo>
                  <a:lnTo>
                    <a:pt x="33" y="22"/>
                  </a:lnTo>
                  <a:close/>
                  <a:moveTo>
                    <a:pt x="68" y="22"/>
                  </a:moveTo>
                  <a:lnTo>
                    <a:pt x="54" y="0"/>
                  </a:lnTo>
                  <a:lnTo>
                    <a:pt x="68" y="7"/>
                  </a:lnTo>
                  <a:lnTo>
                    <a:pt x="68" y="22"/>
                  </a:lnTo>
                  <a:lnTo>
                    <a:pt x="68" y="22"/>
                  </a:lnTo>
                  <a:lnTo>
                    <a:pt x="68" y="22"/>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6" name="Freeform 527">
              <a:extLst>
                <a:ext uri="{FF2B5EF4-FFF2-40B4-BE49-F238E27FC236}">
                  <a16:creationId xmlns:a16="http://schemas.microsoft.com/office/drawing/2014/main" id="{5D4A7EB9-7EF4-47F0-B55A-CD285EC138A9}"/>
                </a:ext>
              </a:extLst>
            </p:cNvPr>
            <p:cNvSpPr>
              <a:spLocks/>
            </p:cNvSpPr>
            <p:nvPr/>
          </p:nvSpPr>
          <p:spPr bwMode="gray">
            <a:xfrm>
              <a:off x="11732600" y="3756671"/>
              <a:ext cx="102117" cy="103426"/>
            </a:xfrm>
            <a:custGeom>
              <a:avLst/>
              <a:gdLst>
                <a:gd name="T0" fmla="*/ 22 w 312"/>
                <a:gd name="T1" fmla="*/ 151 h 316"/>
                <a:gd name="T2" fmla="*/ 43 w 312"/>
                <a:gd name="T3" fmla="*/ 151 h 316"/>
                <a:gd name="T4" fmla="*/ 52 w 312"/>
                <a:gd name="T5" fmla="*/ 139 h 316"/>
                <a:gd name="T6" fmla="*/ 69 w 312"/>
                <a:gd name="T7" fmla="*/ 127 h 316"/>
                <a:gd name="T8" fmla="*/ 60 w 312"/>
                <a:gd name="T9" fmla="*/ 94 h 316"/>
                <a:gd name="T10" fmla="*/ 90 w 312"/>
                <a:gd name="T11" fmla="*/ 94 h 316"/>
                <a:gd name="T12" fmla="*/ 114 w 312"/>
                <a:gd name="T13" fmla="*/ 73 h 316"/>
                <a:gd name="T14" fmla="*/ 140 w 312"/>
                <a:gd name="T15" fmla="*/ 89 h 316"/>
                <a:gd name="T16" fmla="*/ 140 w 312"/>
                <a:gd name="T17" fmla="*/ 82 h 316"/>
                <a:gd name="T18" fmla="*/ 178 w 312"/>
                <a:gd name="T19" fmla="*/ 49 h 316"/>
                <a:gd name="T20" fmla="*/ 178 w 312"/>
                <a:gd name="T21" fmla="*/ 49 h 316"/>
                <a:gd name="T22" fmla="*/ 194 w 312"/>
                <a:gd name="T23" fmla="*/ 16 h 316"/>
                <a:gd name="T24" fmla="*/ 220 w 312"/>
                <a:gd name="T25" fmla="*/ 33 h 316"/>
                <a:gd name="T26" fmla="*/ 270 w 312"/>
                <a:gd name="T27" fmla="*/ 16 h 316"/>
                <a:gd name="T28" fmla="*/ 291 w 312"/>
                <a:gd name="T29" fmla="*/ 0 h 316"/>
                <a:gd name="T30" fmla="*/ 312 w 312"/>
                <a:gd name="T31" fmla="*/ 0 h 316"/>
                <a:gd name="T32" fmla="*/ 303 w 312"/>
                <a:gd name="T33" fmla="*/ 16 h 316"/>
                <a:gd name="T34" fmla="*/ 308 w 312"/>
                <a:gd name="T35" fmla="*/ 28 h 316"/>
                <a:gd name="T36" fmla="*/ 312 w 312"/>
                <a:gd name="T37" fmla="*/ 54 h 316"/>
                <a:gd name="T38" fmla="*/ 303 w 312"/>
                <a:gd name="T39" fmla="*/ 82 h 316"/>
                <a:gd name="T40" fmla="*/ 286 w 312"/>
                <a:gd name="T41" fmla="*/ 122 h 316"/>
                <a:gd name="T42" fmla="*/ 291 w 312"/>
                <a:gd name="T43" fmla="*/ 193 h 316"/>
                <a:gd name="T44" fmla="*/ 286 w 312"/>
                <a:gd name="T45" fmla="*/ 193 h 316"/>
                <a:gd name="T46" fmla="*/ 291 w 312"/>
                <a:gd name="T47" fmla="*/ 167 h 316"/>
                <a:gd name="T48" fmla="*/ 286 w 312"/>
                <a:gd name="T49" fmla="*/ 160 h 316"/>
                <a:gd name="T50" fmla="*/ 286 w 312"/>
                <a:gd name="T51" fmla="*/ 177 h 316"/>
                <a:gd name="T52" fmla="*/ 274 w 312"/>
                <a:gd name="T53" fmla="*/ 193 h 316"/>
                <a:gd name="T54" fmla="*/ 274 w 312"/>
                <a:gd name="T55" fmla="*/ 222 h 316"/>
                <a:gd name="T56" fmla="*/ 270 w 312"/>
                <a:gd name="T57" fmla="*/ 233 h 316"/>
                <a:gd name="T58" fmla="*/ 270 w 312"/>
                <a:gd name="T59" fmla="*/ 238 h 316"/>
                <a:gd name="T60" fmla="*/ 274 w 312"/>
                <a:gd name="T61" fmla="*/ 233 h 316"/>
                <a:gd name="T62" fmla="*/ 286 w 312"/>
                <a:gd name="T63" fmla="*/ 255 h 316"/>
                <a:gd name="T64" fmla="*/ 270 w 312"/>
                <a:gd name="T65" fmla="*/ 271 h 316"/>
                <a:gd name="T66" fmla="*/ 270 w 312"/>
                <a:gd name="T67" fmla="*/ 290 h 316"/>
                <a:gd name="T68" fmla="*/ 286 w 312"/>
                <a:gd name="T69" fmla="*/ 307 h 316"/>
                <a:gd name="T70" fmla="*/ 274 w 312"/>
                <a:gd name="T71" fmla="*/ 311 h 316"/>
                <a:gd name="T72" fmla="*/ 258 w 312"/>
                <a:gd name="T73" fmla="*/ 316 h 316"/>
                <a:gd name="T74" fmla="*/ 204 w 312"/>
                <a:gd name="T75" fmla="*/ 295 h 316"/>
                <a:gd name="T76" fmla="*/ 194 w 312"/>
                <a:gd name="T77" fmla="*/ 307 h 316"/>
                <a:gd name="T78" fmla="*/ 145 w 312"/>
                <a:gd name="T79" fmla="*/ 278 h 316"/>
                <a:gd name="T80" fmla="*/ 140 w 312"/>
                <a:gd name="T81" fmla="*/ 295 h 316"/>
                <a:gd name="T82" fmla="*/ 86 w 312"/>
                <a:gd name="T83" fmla="*/ 238 h 316"/>
                <a:gd name="T84" fmla="*/ 60 w 312"/>
                <a:gd name="T85" fmla="*/ 205 h 316"/>
                <a:gd name="T86" fmla="*/ 0 w 312"/>
                <a:gd name="T87" fmla="*/ 160 h 316"/>
                <a:gd name="T88" fmla="*/ 5 w 312"/>
                <a:gd name="T89" fmla="*/ 144 h 316"/>
                <a:gd name="T90" fmla="*/ 22 w 312"/>
                <a:gd name="T91" fmla="*/ 160 h 316"/>
                <a:gd name="T92" fmla="*/ 22 w 312"/>
                <a:gd name="T93" fmla="*/ 160 h 316"/>
                <a:gd name="T94" fmla="*/ 22 w 312"/>
                <a:gd name="T95" fmla="*/ 151 h 316"/>
                <a:gd name="T96" fmla="*/ 22 w 312"/>
                <a:gd name="T97" fmla="*/ 151 h 316"/>
                <a:gd name="T98" fmla="*/ 22 w 312"/>
                <a:gd name="T99" fmla="*/ 15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2" h="316">
                  <a:moveTo>
                    <a:pt x="22" y="151"/>
                  </a:moveTo>
                  <a:lnTo>
                    <a:pt x="43" y="151"/>
                  </a:lnTo>
                  <a:lnTo>
                    <a:pt x="52" y="139"/>
                  </a:lnTo>
                  <a:lnTo>
                    <a:pt x="69" y="127"/>
                  </a:lnTo>
                  <a:lnTo>
                    <a:pt x="60" y="94"/>
                  </a:lnTo>
                  <a:lnTo>
                    <a:pt x="90" y="94"/>
                  </a:lnTo>
                  <a:lnTo>
                    <a:pt x="114" y="73"/>
                  </a:lnTo>
                  <a:lnTo>
                    <a:pt x="140" y="89"/>
                  </a:lnTo>
                  <a:lnTo>
                    <a:pt x="140" y="82"/>
                  </a:lnTo>
                  <a:lnTo>
                    <a:pt x="178" y="49"/>
                  </a:lnTo>
                  <a:lnTo>
                    <a:pt x="178" y="49"/>
                  </a:lnTo>
                  <a:lnTo>
                    <a:pt x="194" y="16"/>
                  </a:lnTo>
                  <a:lnTo>
                    <a:pt x="220" y="33"/>
                  </a:lnTo>
                  <a:lnTo>
                    <a:pt x="270" y="16"/>
                  </a:lnTo>
                  <a:lnTo>
                    <a:pt x="291" y="0"/>
                  </a:lnTo>
                  <a:lnTo>
                    <a:pt x="312" y="0"/>
                  </a:lnTo>
                  <a:lnTo>
                    <a:pt x="303" y="16"/>
                  </a:lnTo>
                  <a:lnTo>
                    <a:pt x="308" y="28"/>
                  </a:lnTo>
                  <a:lnTo>
                    <a:pt x="312" y="54"/>
                  </a:lnTo>
                  <a:lnTo>
                    <a:pt x="303" y="82"/>
                  </a:lnTo>
                  <a:lnTo>
                    <a:pt x="286" y="122"/>
                  </a:lnTo>
                  <a:lnTo>
                    <a:pt x="291" y="193"/>
                  </a:lnTo>
                  <a:lnTo>
                    <a:pt x="286" y="193"/>
                  </a:lnTo>
                  <a:lnTo>
                    <a:pt x="291" y="167"/>
                  </a:lnTo>
                  <a:lnTo>
                    <a:pt x="286" y="160"/>
                  </a:lnTo>
                  <a:lnTo>
                    <a:pt x="286" y="177"/>
                  </a:lnTo>
                  <a:lnTo>
                    <a:pt x="274" y="193"/>
                  </a:lnTo>
                  <a:lnTo>
                    <a:pt x="274" y="222"/>
                  </a:lnTo>
                  <a:lnTo>
                    <a:pt x="270" y="233"/>
                  </a:lnTo>
                  <a:lnTo>
                    <a:pt x="270" y="238"/>
                  </a:lnTo>
                  <a:lnTo>
                    <a:pt x="274" y="233"/>
                  </a:lnTo>
                  <a:lnTo>
                    <a:pt x="286" y="255"/>
                  </a:lnTo>
                  <a:lnTo>
                    <a:pt x="270" y="271"/>
                  </a:lnTo>
                  <a:lnTo>
                    <a:pt x="270" y="290"/>
                  </a:lnTo>
                  <a:lnTo>
                    <a:pt x="286" y="307"/>
                  </a:lnTo>
                  <a:lnTo>
                    <a:pt x="274" y="311"/>
                  </a:lnTo>
                  <a:lnTo>
                    <a:pt x="258" y="316"/>
                  </a:lnTo>
                  <a:lnTo>
                    <a:pt x="204" y="295"/>
                  </a:lnTo>
                  <a:lnTo>
                    <a:pt x="194" y="307"/>
                  </a:lnTo>
                  <a:lnTo>
                    <a:pt x="145" y="278"/>
                  </a:lnTo>
                  <a:lnTo>
                    <a:pt x="140" y="295"/>
                  </a:lnTo>
                  <a:lnTo>
                    <a:pt x="86" y="238"/>
                  </a:lnTo>
                  <a:lnTo>
                    <a:pt x="60" y="205"/>
                  </a:lnTo>
                  <a:lnTo>
                    <a:pt x="0" y="160"/>
                  </a:lnTo>
                  <a:lnTo>
                    <a:pt x="5" y="144"/>
                  </a:lnTo>
                  <a:lnTo>
                    <a:pt x="22" y="160"/>
                  </a:lnTo>
                  <a:lnTo>
                    <a:pt x="22" y="160"/>
                  </a:lnTo>
                  <a:lnTo>
                    <a:pt x="22" y="151"/>
                  </a:lnTo>
                  <a:lnTo>
                    <a:pt x="22" y="151"/>
                  </a:lnTo>
                  <a:lnTo>
                    <a:pt x="22" y="151"/>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7" name="Freeform 528">
              <a:extLst>
                <a:ext uri="{FF2B5EF4-FFF2-40B4-BE49-F238E27FC236}">
                  <a16:creationId xmlns:a16="http://schemas.microsoft.com/office/drawing/2014/main" id="{DE606A56-DBE0-432C-A322-A26C897BA70A}"/>
                </a:ext>
              </a:extLst>
            </p:cNvPr>
            <p:cNvSpPr>
              <a:spLocks noEditPoints="1"/>
            </p:cNvSpPr>
            <p:nvPr/>
          </p:nvSpPr>
          <p:spPr bwMode="gray">
            <a:xfrm>
              <a:off x="9659176" y="4824312"/>
              <a:ext cx="8191253" cy="658521"/>
            </a:xfrm>
            <a:custGeom>
              <a:avLst/>
              <a:gdLst>
                <a:gd name="T0" fmla="*/ 5 w 25027"/>
                <a:gd name="T1" fmla="*/ 4 h 2012"/>
                <a:gd name="T2" fmla="*/ 24914 w 25027"/>
                <a:gd name="T3" fmla="*/ 708 h 2012"/>
                <a:gd name="T4" fmla="*/ 24990 w 25027"/>
                <a:gd name="T5" fmla="*/ 708 h 2012"/>
                <a:gd name="T6" fmla="*/ 24956 w 25027"/>
                <a:gd name="T7" fmla="*/ 815 h 2012"/>
                <a:gd name="T8" fmla="*/ 24897 w 25027"/>
                <a:gd name="T9" fmla="*/ 848 h 2012"/>
                <a:gd name="T10" fmla="*/ 24772 w 25027"/>
                <a:gd name="T11" fmla="*/ 997 h 2012"/>
                <a:gd name="T12" fmla="*/ 24772 w 25027"/>
                <a:gd name="T13" fmla="*/ 902 h 2012"/>
                <a:gd name="T14" fmla="*/ 24671 w 25027"/>
                <a:gd name="T15" fmla="*/ 815 h 2012"/>
                <a:gd name="T16" fmla="*/ 24751 w 25027"/>
                <a:gd name="T17" fmla="*/ 704 h 2012"/>
                <a:gd name="T18" fmla="*/ 24742 w 25027"/>
                <a:gd name="T19" fmla="*/ 647 h 2012"/>
                <a:gd name="T20" fmla="*/ 24742 w 25027"/>
                <a:gd name="T21" fmla="*/ 614 h 2012"/>
                <a:gd name="T22" fmla="*/ 24704 w 25027"/>
                <a:gd name="T23" fmla="*/ 569 h 2012"/>
                <a:gd name="T24" fmla="*/ 24704 w 25027"/>
                <a:gd name="T25" fmla="*/ 552 h 2012"/>
                <a:gd name="T26" fmla="*/ 24704 w 25027"/>
                <a:gd name="T27" fmla="*/ 569 h 2012"/>
                <a:gd name="T28" fmla="*/ 24659 w 25027"/>
                <a:gd name="T29" fmla="*/ 486 h 2012"/>
                <a:gd name="T30" fmla="*/ 24595 w 25027"/>
                <a:gd name="T31" fmla="*/ 408 h 2012"/>
                <a:gd name="T32" fmla="*/ 24633 w 25027"/>
                <a:gd name="T33" fmla="*/ 458 h 2012"/>
                <a:gd name="T34" fmla="*/ 24697 w 25027"/>
                <a:gd name="T35" fmla="*/ 470 h 2012"/>
                <a:gd name="T36" fmla="*/ 24725 w 25027"/>
                <a:gd name="T37" fmla="*/ 526 h 2012"/>
                <a:gd name="T38" fmla="*/ 24734 w 25027"/>
                <a:gd name="T39" fmla="*/ 581 h 2012"/>
                <a:gd name="T40" fmla="*/ 24789 w 25027"/>
                <a:gd name="T41" fmla="*/ 614 h 2012"/>
                <a:gd name="T42" fmla="*/ 24805 w 25027"/>
                <a:gd name="T43" fmla="*/ 609 h 2012"/>
                <a:gd name="T44" fmla="*/ 24779 w 25027"/>
                <a:gd name="T45" fmla="*/ 560 h 2012"/>
                <a:gd name="T46" fmla="*/ 24768 w 25027"/>
                <a:gd name="T47" fmla="*/ 609 h 2012"/>
                <a:gd name="T48" fmla="*/ 24486 w 25027"/>
                <a:gd name="T49" fmla="*/ 1306 h 2012"/>
                <a:gd name="T50" fmla="*/ 24432 w 25027"/>
                <a:gd name="T51" fmla="*/ 1400 h 2012"/>
                <a:gd name="T52" fmla="*/ 24326 w 25027"/>
                <a:gd name="T53" fmla="*/ 1462 h 2012"/>
                <a:gd name="T54" fmla="*/ 24293 w 25027"/>
                <a:gd name="T55" fmla="*/ 1457 h 2012"/>
                <a:gd name="T56" fmla="*/ 24250 w 25027"/>
                <a:gd name="T57" fmla="*/ 1417 h 2012"/>
                <a:gd name="T58" fmla="*/ 24175 w 25027"/>
                <a:gd name="T59" fmla="*/ 1408 h 2012"/>
                <a:gd name="T60" fmla="*/ 24201 w 25027"/>
                <a:gd name="T61" fmla="*/ 1351 h 2012"/>
                <a:gd name="T62" fmla="*/ 24217 w 25027"/>
                <a:gd name="T63" fmla="*/ 1334 h 2012"/>
                <a:gd name="T64" fmla="*/ 24281 w 25027"/>
                <a:gd name="T65" fmla="*/ 1252 h 2012"/>
                <a:gd name="T66" fmla="*/ 24465 w 25027"/>
                <a:gd name="T67" fmla="*/ 1124 h 2012"/>
                <a:gd name="T68" fmla="*/ 24590 w 25027"/>
                <a:gd name="T69" fmla="*/ 926 h 2012"/>
                <a:gd name="T70" fmla="*/ 24616 w 25027"/>
                <a:gd name="T71" fmla="*/ 942 h 2012"/>
                <a:gd name="T72" fmla="*/ 24682 w 25027"/>
                <a:gd name="T73" fmla="*/ 963 h 2012"/>
                <a:gd name="T74" fmla="*/ 24704 w 25027"/>
                <a:gd name="T75" fmla="*/ 980 h 2012"/>
                <a:gd name="T76" fmla="*/ 24659 w 25027"/>
                <a:gd name="T77" fmla="*/ 1091 h 2012"/>
                <a:gd name="T78" fmla="*/ 24616 w 25027"/>
                <a:gd name="T79" fmla="*/ 1207 h 2012"/>
                <a:gd name="T80" fmla="*/ 24508 w 25027"/>
                <a:gd name="T81" fmla="*/ 1235 h 2012"/>
                <a:gd name="T82" fmla="*/ 24671 w 25027"/>
                <a:gd name="T83" fmla="*/ 942 h 2012"/>
                <a:gd name="T84" fmla="*/ 24704 w 25027"/>
                <a:gd name="T85" fmla="*/ 980 h 2012"/>
                <a:gd name="T86" fmla="*/ 92 w 25027"/>
                <a:gd name="T87" fmla="*/ 1223 h 2012"/>
                <a:gd name="T88" fmla="*/ 97 w 25027"/>
                <a:gd name="T89" fmla="*/ 1202 h 2012"/>
                <a:gd name="T90" fmla="*/ 125 w 25027"/>
                <a:gd name="T91" fmla="*/ 1252 h 2012"/>
                <a:gd name="T92" fmla="*/ 24196 w 25027"/>
                <a:gd name="T93" fmla="*/ 1318 h 2012"/>
                <a:gd name="T94" fmla="*/ 24179 w 25027"/>
                <a:gd name="T95" fmla="*/ 1367 h 2012"/>
                <a:gd name="T96" fmla="*/ 24179 w 25027"/>
                <a:gd name="T97" fmla="*/ 1367 h 2012"/>
                <a:gd name="T98" fmla="*/ 24255 w 25027"/>
                <a:gd name="T99" fmla="*/ 1511 h 2012"/>
                <a:gd name="T100" fmla="*/ 24250 w 25027"/>
                <a:gd name="T101" fmla="*/ 1462 h 2012"/>
                <a:gd name="T102" fmla="*/ 25027 w 25027"/>
                <a:gd name="T103" fmla="*/ 1734 h 2012"/>
                <a:gd name="T104" fmla="*/ 24142 w 25027"/>
                <a:gd name="T105" fmla="*/ 1849 h 2012"/>
                <a:gd name="T106" fmla="*/ 24146 w 25027"/>
                <a:gd name="T107" fmla="*/ 1816 h 2012"/>
                <a:gd name="T108" fmla="*/ 24142 w 25027"/>
                <a:gd name="T109" fmla="*/ 1849 h 2012"/>
                <a:gd name="T110" fmla="*/ 24347 w 25027"/>
                <a:gd name="T111" fmla="*/ 2000 h 2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027" h="2012">
                  <a:moveTo>
                    <a:pt x="5" y="4"/>
                  </a:moveTo>
                  <a:lnTo>
                    <a:pt x="0" y="0"/>
                  </a:lnTo>
                  <a:lnTo>
                    <a:pt x="5" y="4"/>
                  </a:lnTo>
                  <a:lnTo>
                    <a:pt x="5" y="4"/>
                  </a:lnTo>
                  <a:lnTo>
                    <a:pt x="5" y="4"/>
                  </a:lnTo>
                  <a:lnTo>
                    <a:pt x="5" y="4"/>
                  </a:lnTo>
                  <a:close/>
                  <a:moveTo>
                    <a:pt x="24822" y="647"/>
                  </a:moveTo>
                  <a:lnTo>
                    <a:pt x="24827" y="663"/>
                  </a:lnTo>
                  <a:lnTo>
                    <a:pt x="24843" y="680"/>
                  </a:lnTo>
                  <a:lnTo>
                    <a:pt x="24827" y="671"/>
                  </a:lnTo>
                  <a:lnTo>
                    <a:pt x="24827" y="680"/>
                  </a:lnTo>
                  <a:lnTo>
                    <a:pt x="24914" y="708"/>
                  </a:lnTo>
                  <a:lnTo>
                    <a:pt x="24930" y="704"/>
                  </a:lnTo>
                  <a:lnTo>
                    <a:pt x="24952" y="680"/>
                  </a:lnTo>
                  <a:lnTo>
                    <a:pt x="24968" y="671"/>
                  </a:lnTo>
                  <a:lnTo>
                    <a:pt x="24990" y="671"/>
                  </a:lnTo>
                  <a:lnTo>
                    <a:pt x="25006" y="680"/>
                  </a:lnTo>
                  <a:lnTo>
                    <a:pt x="24990" y="708"/>
                  </a:lnTo>
                  <a:lnTo>
                    <a:pt x="24990" y="746"/>
                  </a:lnTo>
                  <a:lnTo>
                    <a:pt x="24973" y="763"/>
                  </a:lnTo>
                  <a:lnTo>
                    <a:pt x="24968" y="763"/>
                  </a:lnTo>
                  <a:lnTo>
                    <a:pt x="24956" y="798"/>
                  </a:lnTo>
                  <a:lnTo>
                    <a:pt x="24968" y="798"/>
                  </a:lnTo>
                  <a:lnTo>
                    <a:pt x="24956" y="815"/>
                  </a:lnTo>
                  <a:lnTo>
                    <a:pt x="24956" y="815"/>
                  </a:lnTo>
                  <a:lnTo>
                    <a:pt x="24956" y="798"/>
                  </a:lnTo>
                  <a:lnTo>
                    <a:pt x="24940" y="798"/>
                  </a:lnTo>
                  <a:lnTo>
                    <a:pt x="24902" y="803"/>
                  </a:lnTo>
                  <a:lnTo>
                    <a:pt x="24886" y="831"/>
                  </a:lnTo>
                  <a:lnTo>
                    <a:pt x="24897" y="848"/>
                  </a:lnTo>
                  <a:lnTo>
                    <a:pt x="24902" y="848"/>
                  </a:lnTo>
                  <a:lnTo>
                    <a:pt x="24881" y="890"/>
                  </a:lnTo>
                  <a:lnTo>
                    <a:pt x="24848" y="930"/>
                  </a:lnTo>
                  <a:lnTo>
                    <a:pt x="24827" y="980"/>
                  </a:lnTo>
                  <a:lnTo>
                    <a:pt x="24772" y="1013"/>
                  </a:lnTo>
                  <a:lnTo>
                    <a:pt x="24772" y="997"/>
                  </a:lnTo>
                  <a:lnTo>
                    <a:pt x="24751" y="997"/>
                  </a:lnTo>
                  <a:lnTo>
                    <a:pt x="24751" y="980"/>
                  </a:lnTo>
                  <a:lnTo>
                    <a:pt x="24742" y="985"/>
                  </a:lnTo>
                  <a:lnTo>
                    <a:pt x="24725" y="985"/>
                  </a:lnTo>
                  <a:lnTo>
                    <a:pt x="24768" y="930"/>
                  </a:lnTo>
                  <a:lnTo>
                    <a:pt x="24772" y="902"/>
                  </a:lnTo>
                  <a:lnTo>
                    <a:pt x="24768" y="886"/>
                  </a:lnTo>
                  <a:lnTo>
                    <a:pt x="24751" y="869"/>
                  </a:lnTo>
                  <a:lnTo>
                    <a:pt x="24725" y="857"/>
                  </a:lnTo>
                  <a:lnTo>
                    <a:pt x="24713" y="848"/>
                  </a:lnTo>
                  <a:lnTo>
                    <a:pt x="24687" y="836"/>
                  </a:lnTo>
                  <a:lnTo>
                    <a:pt x="24671" y="815"/>
                  </a:lnTo>
                  <a:lnTo>
                    <a:pt x="24671" y="803"/>
                  </a:lnTo>
                  <a:lnTo>
                    <a:pt x="24713" y="791"/>
                  </a:lnTo>
                  <a:lnTo>
                    <a:pt x="24725" y="775"/>
                  </a:lnTo>
                  <a:lnTo>
                    <a:pt x="24734" y="720"/>
                  </a:lnTo>
                  <a:lnTo>
                    <a:pt x="24751" y="720"/>
                  </a:lnTo>
                  <a:lnTo>
                    <a:pt x="24751" y="704"/>
                  </a:lnTo>
                  <a:lnTo>
                    <a:pt x="24742" y="704"/>
                  </a:lnTo>
                  <a:lnTo>
                    <a:pt x="24742" y="692"/>
                  </a:lnTo>
                  <a:lnTo>
                    <a:pt x="24758" y="687"/>
                  </a:lnTo>
                  <a:lnTo>
                    <a:pt x="24751" y="687"/>
                  </a:lnTo>
                  <a:lnTo>
                    <a:pt x="24734" y="654"/>
                  </a:lnTo>
                  <a:lnTo>
                    <a:pt x="24742" y="647"/>
                  </a:lnTo>
                  <a:lnTo>
                    <a:pt x="24734" y="654"/>
                  </a:lnTo>
                  <a:lnTo>
                    <a:pt x="24725" y="630"/>
                  </a:lnTo>
                  <a:lnTo>
                    <a:pt x="24734" y="630"/>
                  </a:lnTo>
                  <a:lnTo>
                    <a:pt x="24734" y="635"/>
                  </a:lnTo>
                  <a:lnTo>
                    <a:pt x="24751" y="630"/>
                  </a:lnTo>
                  <a:lnTo>
                    <a:pt x="24742" y="614"/>
                  </a:lnTo>
                  <a:lnTo>
                    <a:pt x="24720" y="626"/>
                  </a:lnTo>
                  <a:lnTo>
                    <a:pt x="24697" y="576"/>
                  </a:lnTo>
                  <a:lnTo>
                    <a:pt x="24704" y="576"/>
                  </a:lnTo>
                  <a:lnTo>
                    <a:pt x="24720" y="597"/>
                  </a:lnTo>
                  <a:lnTo>
                    <a:pt x="24720" y="569"/>
                  </a:lnTo>
                  <a:lnTo>
                    <a:pt x="24704" y="569"/>
                  </a:lnTo>
                  <a:lnTo>
                    <a:pt x="24725" y="560"/>
                  </a:lnTo>
                  <a:lnTo>
                    <a:pt x="24713" y="569"/>
                  </a:lnTo>
                  <a:lnTo>
                    <a:pt x="24720" y="552"/>
                  </a:lnTo>
                  <a:lnTo>
                    <a:pt x="24713" y="560"/>
                  </a:lnTo>
                  <a:lnTo>
                    <a:pt x="24704" y="552"/>
                  </a:lnTo>
                  <a:lnTo>
                    <a:pt x="24704" y="552"/>
                  </a:lnTo>
                  <a:lnTo>
                    <a:pt x="24713" y="560"/>
                  </a:lnTo>
                  <a:lnTo>
                    <a:pt x="24704" y="560"/>
                  </a:lnTo>
                  <a:lnTo>
                    <a:pt x="24687" y="552"/>
                  </a:lnTo>
                  <a:lnTo>
                    <a:pt x="24682" y="526"/>
                  </a:lnTo>
                  <a:lnTo>
                    <a:pt x="24687" y="552"/>
                  </a:lnTo>
                  <a:lnTo>
                    <a:pt x="24704" y="569"/>
                  </a:lnTo>
                  <a:lnTo>
                    <a:pt x="24687" y="576"/>
                  </a:lnTo>
                  <a:lnTo>
                    <a:pt x="24645" y="503"/>
                  </a:lnTo>
                  <a:lnTo>
                    <a:pt x="24649" y="498"/>
                  </a:lnTo>
                  <a:lnTo>
                    <a:pt x="24666" y="486"/>
                  </a:lnTo>
                  <a:lnTo>
                    <a:pt x="24659" y="482"/>
                  </a:lnTo>
                  <a:lnTo>
                    <a:pt x="24659" y="486"/>
                  </a:lnTo>
                  <a:lnTo>
                    <a:pt x="24649" y="486"/>
                  </a:lnTo>
                  <a:lnTo>
                    <a:pt x="24645" y="503"/>
                  </a:lnTo>
                  <a:lnTo>
                    <a:pt x="24628" y="470"/>
                  </a:lnTo>
                  <a:lnTo>
                    <a:pt x="24633" y="470"/>
                  </a:lnTo>
                  <a:lnTo>
                    <a:pt x="24628" y="458"/>
                  </a:lnTo>
                  <a:lnTo>
                    <a:pt x="24595" y="408"/>
                  </a:lnTo>
                  <a:lnTo>
                    <a:pt x="24616" y="408"/>
                  </a:lnTo>
                  <a:lnTo>
                    <a:pt x="24616" y="415"/>
                  </a:lnTo>
                  <a:lnTo>
                    <a:pt x="24612" y="415"/>
                  </a:lnTo>
                  <a:lnTo>
                    <a:pt x="24612" y="425"/>
                  </a:lnTo>
                  <a:lnTo>
                    <a:pt x="24633" y="449"/>
                  </a:lnTo>
                  <a:lnTo>
                    <a:pt x="24633" y="458"/>
                  </a:lnTo>
                  <a:lnTo>
                    <a:pt x="24649" y="441"/>
                  </a:lnTo>
                  <a:lnTo>
                    <a:pt x="24649" y="449"/>
                  </a:lnTo>
                  <a:lnTo>
                    <a:pt x="24645" y="449"/>
                  </a:lnTo>
                  <a:lnTo>
                    <a:pt x="24649" y="458"/>
                  </a:lnTo>
                  <a:lnTo>
                    <a:pt x="24659" y="458"/>
                  </a:lnTo>
                  <a:lnTo>
                    <a:pt x="24697" y="470"/>
                  </a:lnTo>
                  <a:lnTo>
                    <a:pt x="24687" y="482"/>
                  </a:lnTo>
                  <a:lnTo>
                    <a:pt x="24697" y="486"/>
                  </a:lnTo>
                  <a:lnTo>
                    <a:pt x="24713" y="482"/>
                  </a:lnTo>
                  <a:lnTo>
                    <a:pt x="24725" y="503"/>
                  </a:lnTo>
                  <a:lnTo>
                    <a:pt x="24720" y="515"/>
                  </a:lnTo>
                  <a:lnTo>
                    <a:pt x="24725" y="526"/>
                  </a:lnTo>
                  <a:lnTo>
                    <a:pt x="24713" y="519"/>
                  </a:lnTo>
                  <a:lnTo>
                    <a:pt x="24713" y="526"/>
                  </a:lnTo>
                  <a:lnTo>
                    <a:pt x="24725" y="526"/>
                  </a:lnTo>
                  <a:lnTo>
                    <a:pt x="24720" y="543"/>
                  </a:lnTo>
                  <a:lnTo>
                    <a:pt x="24742" y="560"/>
                  </a:lnTo>
                  <a:lnTo>
                    <a:pt x="24734" y="581"/>
                  </a:lnTo>
                  <a:lnTo>
                    <a:pt x="24742" y="609"/>
                  </a:lnTo>
                  <a:lnTo>
                    <a:pt x="24772" y="626"/>
                  </a:lnTo>
                  <a:lnTo>
                    <a:pt x="24779" y="635"/>
                  </a:lnTo>
                  <a:lnTo>
                    <a:pt x="24796" y="647"/>
                  </a:lnTo>
                  <a:lnTo>
                    <a:pt x="24796" y="626"/>
                  </a:lnTo>
                  <a:lnTo>
                    <a:pt x="24789" y="614"/>
                  </a:lnTo>
                  <a:lnTo>
                    <a:pt x="24789" y="597"/>
                  </a:lnTo>
                  <a:lnTo>
                    <a:pt x="24779" y="581"/>
                  </a:lnTo>
                  <a:lnTo>
                    <a:pt x="24796" y="581"/>
                  </a:lnTo>
                  <a:lnTo>
                    <a:pt x="24805" y="597"/>
                  </a:lnTo>
                  <a:lnTo>
                    <a:pt x="24822" y="597"/>
                  </a:lnTo>
                  <a:lnTo>
                    <a:pt x="24805" y="609"/>
                  </a:lnTo>
                  <a:lnTo>
                    <a:pt x="24822" y="609"/>
                  </a:lnTo>
                  <a:lnTo>
                    <a:pt x="24822" y="647"/>
                  </a:lnTo>
                  <a:lnTo>
                    <a:pt x="24822" y="647"/>
                  </a:lnTo>
                  <a:lnTo>
                    <a:pt x="24822" y="647"/>
                  </a:lnTo>
                  <a:close/>
                  <a:moveTo>
                    <a:pt x="24796" y="569"/>
                  </a:moveTo>
                  <a:lnTo>
                    <a:pt x="24779" y="560"/>
                  </a:lnTo>
                  <a:lnTo>
                    <a:pt x="24779" y="543"/>
                  </a:lnTo>
                  <a:lnTo>
                    <a:pt x="24796" y="552"/>
                  </a:lnTo>
                  <a:lnTo>
                    <a:pt x="24796" y="569"/>
                  </a:lnTo>
                  <a:lnTo>
                    <a:pt x="24796" y="569"/>
                  </a:lnTo>
                  <a:lnTo>
                    <a:pt x="24796" y="569"/>
                  </a:lnTo>
                  <a:close/>
                  <a:moveTo>
                    <a:pt x="24768" y="609"/>
                  </a:moveTo>
                  <a:lnTo>
                    <a:pt x="24758" y="609"/>
                  </a:lnTo>
                  <a:lnTo>
                    <a:pt x="24772" y="597"/>
                  </a:lnTo>
                  <a:lnTo>
                    <a:pt x="24768" y="609"/>
                  </a:lnTo>
                  <a:lnTo>
                    <a:pt x="24768" y="609"/>
                  </a:lnTo>
                  <a:lnTo>
                    <a:pt x="24768" y="609"/>
                  </a:lnTo>
                  <a:close/>
                  <a:moveTo>
                    <a:pt x="24486" y="1306"/>
                  </a:moveTo>
                  <a:lnTo>
                    <a:pt x="24470" y="1330"/>
                  </a:lnTo>
                  <a:lnTo>
                    <a:pt x="24465" y="1351"/>
                  </a:lnTo>
                  <a:lnTo>
                    <a:pt x="24449" y="1391"/>
                  </a:lnTo>
                  <a:lnTo>
                    <a:pt x="24456" y="1374"/>
                  </a:lnTo>
                  <a:lnTo>
                    <a:pt x="24465" y="1391"/>
                  </a:lnTo>
                  <a:lnTo>
                    <a:pt x="24432" y="1400"/>
                  </a:lnTo>
                  <a:lnTo>
                    <a:pt x="24427" y="1417"/>
                  </a:lnTo>
                  <a:lnTo>
                    <a:pt x="24394" y="1429"/>
                  </a:lnTo>
                  <a:lnTo>
                    <a:pt x="24394" y="1441"/>
                  </a:lnTo>
                  <a:lnTo>
                    <a:pt x="24373" y="1457"/>
                  </a:lnTo>
                  <a:lnTo>
                    <a:pt x="24335" y="1462"/>
                  </a:lnTo>
                  <a:lnTo>
                    <a:pt x="24326" y="1462"/>
                  </a:lnTo>
                  <a:lnTo>
                    <a:pt x="24326" y="1445"/>
                  </a:lnTo>
                  <a:lnTo>
                    <a:pt x="24305" y="1457"/>
                  </a:lnTo>
                  <a:lnTo>
                    <a:pt x="24293" y="1457"/>
                  </a:lnTo>
                  <a:lnTo>
                    <a:pt x="24305" y="1457"/>
                  </a:lnTo>
                  <a:lnTo>
                    <a:pt x="24293" y="1445"/>
                  </a:lnTo>
                  <a:lnTo>
                    <a:pt x="24293" y="1457"/>
                  </a:lnTo>
                  <a:lnTo>
                    <a:pt x="24288" y="1445"/>
                  </a:lnTo>
                  <a:lnTo>
                    <a:pt x="24293" y="1445"/>
                  </a:lnTo>
                  <a:lnTo>
                    <a:pt x="24293" y="1441"/>
                  </a:lnTo>
                  <a:lnTo>
                    <a:pt x="24281" y="1429"/>
                  </a:lnTo>
                  <a:lnTo>
                    <a:pt x="24255" y="1441"/>
                  </a:lnTo>
                  <a:lnTo>
                    <a:pt x="24250" y="1417"/>
                  </a:lnTo>
                  <a:lnTo>
                    <a:pt x="24234" y="1417"/>
                  </a:lnTo>
                  <a:lnTo>
                    <a:pt x="24217" y="1424"/>
                  </a:lnTo>
                  <a:lnTo>
                    <a:pt x="24179" y="1417"/>
                  </a:lnTo>
                  <a:lnTo>
                    <a:pt x="24175" y="1417"/>
                  </a:lnTo>
                  <a:lnTo>
                    <a:pt x="24196" y="1391"/>
                  </a:lnTo>
                  <a:lnTo>
                    <a:pt x="24175" y="1408"/>
                  </a:lnTo>
                  <a:lnTo>
                    <a:pt x="24175" y="1400"/>
                  </a:lnTo>
                  <a:lnTo>
                    <a:pt x="24158" y="1400"/>
                  </a:lnTo>
                  <a:lnTo>
                    <a:pt x="24158" y="1384"/>
                  </a:lnTo>
                  <a:lnTo>
                    <a:pt x="24196" y="1374"/>
                  </a:lnTo>
                  <a:lnTo>
                    <a:pt x="24179" y="1367"/>
                  </a:lnTo>
                  <a:lnTo>
                    <a:pt x="24201" y="1351"/>
                  </a:lnTo>
                  <a:lnTo>
                    <a:pt x="24179" y="1363"/>
                  </a:lnTo>
                  <a:lnTo>
                    <a:pt x="24184" y="1334"/>
                  </a:lnTo>
                  <a:lnTo>
                    <a:pt x="24184" y="1334"/>
                  </a:lnTo>
                  <a:lnTo>
                    <a:pt x="24212" y="1351"/>
                  </a:lnTo>
                  <a:lnTo>
                    <a:pt x="24201" y="1334"/>
                  </a:lnTo>
                  <a:lnTo>
                    <a:pt x="24217" y="1334"/>
                  </a:lnTo>
                  <a:lnTo>
                    <a:pt x="24201" y="1334"/>
                  </a:lnTo>
                  <a:lnTo>
                    <a:pt x="24196" y="1318"/>
                  </a:lnTo>
                  <a:lnTo>
                    <a:pt x="24217" y="1297"/>
                  </a:lnTo>
                  <a:lnTo>
                    <a:pt x="24234" y="1313"/>
                  </a:lnTo>
                  <a:lnTo>
                    <a:pt x="24229" y="1289"/>
                  </a:lnTo>
                  <a:lnTo>
                    <a:pt x="24281" y="1252"/>
                  </a:lnTo>
                  <a:lnTo>
                    <a:pt x="24293" y="1223"/>
                  </a:lnTo>
                  <a:lnTo>
                    <a:pt x="24326" y="1219"/>
                  </a:lnTo>
                  <a:lnTo>
                    <a:pt x="24347" y="1202"/>
                  </a:lnTo>
                  <a:lnTo>
                    <a:pt x="24390" y="1186"/>
                  </a:lnTo>
                  <a:lnTo>
                    <a:pt x="24427" y="1145"/>
                  </a:lnTo>
                  <a:lnTo>
                    <a:pt x="24465" y="1124"/>
                  </a:lnTo>
                  <a:lnTo>
                    <a:pt x="24486" y="1096"/>
                  </a:lnTo>
                  <a:lnTo>
                    <a:pt x="24508" y="1030"/>
                  </a:lnTo>
                  <a:lnTo>
                    <a:pt x="24536" y="1018"/>
                  </a:lnTo>
                  <a:lnTo>
                    <a:pt x="24553" y="997"/>
                  </a:lnTo>
                  <a:lnTo>
                    <a:pt x="24557" y="947"/>
                  </a:lnTo>
                  <a:lnTo>
                    <a:pt x="24590" y="926"/>
                  </a:lnTo>
                  <a:lnTo>
                    <a:pt x="24590" y="919"/>
                  </a:lnTo>
                  <a:lnTo>
                    <a:pt x="24616" y="919"/>
                  </a:lnTo>
                  <a:lnTo>
                    <a:pt x="24595" y="919"/>
                  </a:lnTo>
                  <a:lnTo>
                    <a:pt x="24595" y="930"/>
                  </a:lnTo>
                  <a:lnTo>
                    <a:pt x="24607" y="947"/>
                  </a:lnTo>
                  <a:lnTo>
                    <a:pt x="24616" y="942"/>
                  </a:lnTo>
                  <a:lnTo>
                    <a:pt x="24628" y="985"/>
                  </a:lnTo>
                  <a:lnTo>
                    <a:pt x="24687" y="947"/>
                  </a:lnTo>
                  <a:lnTo>
                    <a:pt x="24687" y="959"/>
                  </a:lnTo>
                  <a:lnTo>
                    <a:pt x="24671" y="963"/>
                  </a:lnTo>
                  <a:lnTo>
                    <a:pt x="24671" y="975"/>
                  </a:lnTo>
                  <a:lnTo>
                    <a:pt x="24682" y="963"/>
                  </a:lnTo>
                  <a:lnTo>
                    <a:pt x="24671" y="985"/>
                  </a:lnTo>
                  <a:lnTo>
                    <a:pt x="24697" y="980"/>
                  </a:lnTo>
                  <a:lnTo>
                    <a:pt x="24682" y="980"/>
                  </a:lnTo>
                  <a:lnTo>
                    <a:pt x="24687" y="963"/>
                  </a:lnTo>
                  <a:lnTo>
                    <a:pt x="24713" y="963"/>
                  </a:lnTo>
                  <a:lnTo>
                    <a:pt x="24704" y="980"/>
                  </a:lnTo>
                  <a:lnTo>
                    <a:pt x="24687" y="980"/>
                  </a:lnTo>
                  <a:lnTo>
                    <a:pt x="24713" y="980"/>
                  </a:lnTo>
                  <a:lnTo>
                    <a:pt x="24687" y="997"/>
                  </a:lnTo>
                  <a:lnTo>
                    <a:pt x="24713" y="1030"/>
                  </a:lnTo>
                  <a:lnTo>
                    <a:pt x="24704" y="1034"/>
                  </a:lnTo>
                  <a:lnTo>
                    <a:pt x="24659" y="1091"/>
                  </a:lnTo>
                  <a:lnTo>
                    <a:pt x="24633" y="1129"/>
                  </a:lnTo>
                  <a:lnTo>
                    <a:pt x="24607" y="1152"/>
                  </a:lnTo>
                  <a:lnTo>
                    <a:pt x="24607" y="1186"/>
                  </a:lnTo>
                  <a:lnTo>
                    <a:pt x="24616" y="1197"/>
                  </a:lnTo>
                  <a:lnTo>
                    <a:pt x="24628" y="1207"/>
                  </a:lnTo>
                  <a:lnTo>
                    <a:pt x="24616" y="1207"/>
                  </a:lnTo>
                  <a:lnTo>
                    <a:pt x="24612" y="1202"/>
                  </a:lnTo>
                  <a:lnTo>
                    <a:pt x="24612" y="1207"/>
                  </a:lnTo>
                  <a:lnTo>
                    <a:pt x="24612" y="1207"/>
                  </a:lnTo>
                  <a:lnTo>
                    <a:pt x="24579" y="1197"/>
                  </a:lnTo>
                  <a:lnTo>
                    <a:pt x="24574" y="1207"/>
                  </a:lnTo>
                  <a:lnTo>
                    <a:pt x="24508" y="1235"/>
                  </a:lnTo>
                  <a:lnTo>
                    <a:pt x="24498" y="1256"/>
                  </a:lnTo>
                  <a:lnTo>
                    <a:pt x="24486" y="1306"/>
                  </a:lnTo>
                  <a:lnTo>
                    <a:pt x="24486" y="1306"/>
                  </a:lnTo>
                  <a:lnTo>
                    <a:pt x="24486" y="1306"/>
                  </a:lnTo>
                  <a:close/>
                  <a:moveTo>
                    <a:pt x="24671" y="959"/>
                  </a:moveTo>
                  <a:lnTo>
                    <a:pt x="24671" y="942"/>
                  </a:lnTo>
                  <a:lnTo>
                    <a:pt x="24687" y="930"/>
                  </a:lnTo>
                  <a:lnTo>
                    <a:pt x="24682" y="947"/>
                  </a:lnTo>
                  <a:lnTo>
                    <a:pt x="24671" y="959"/>
                  </a:lnTo>
                  <a:lnTo>
                    <a:pt x="24671" y="959"/>
                  </a:lnTo>
                  <a:lnTo>
                    <a:pt x="24671" y="959"/>
                  </a:lnTo>
                  <a:close/>
                  <a:moveTo>
                    <a:pt x="24704" y="980"/>
                  </a:moveTo>
                  <a:lnTo>
                    <a:pt x="24713" y="975"/>
                  </a:lnTo>
                  <a:lnTo>
                    <a:pt x="24713" y="980"/>
                  </a:lnTo>
                  <a:lnTo>
                    <a:pt x="24704" y="980"/>
                  </a:lnTo>
                  <a:lnTo>
                    <a:pt x="24704" y="980"/>
                  </a:lnTo>
                  <a:lnTo>
                    <a:pt x="24704" y="980"/>
                  </a:lnTo>
                  <a:close/>
                  <a:moveTo>
                    <a:pt x="92" y="1223"/>
                  </a:moveTo>
                  <a:lnTo>
                    <a:pt x="97" y="1219"/>
                  </a:lnTo>
                  <a:lnTo>
                    <a:pt x="97" y="1207"/>
                  </a:lnTo>
                  <a:lnTo>
                    <a:pt x="76" y="1202"/>
                  </a:lnTo>
                  <a:lnTo>
                    <a:pt x="97" y="1197"/>
                  </a:lnTo>
                  <a:lnTo>
                    <a:pt x="125" y="1202"/>
                  </a:lnTo>
                  <a:lnTo>
                    <a:pt x="97" y="1202"/>
                  </a:lnTo>
                  <a:lnTo>
                    <a:pt x="114" y="1223"/>
                  </a:lnTo>
                  <a:lnTo>
                    <a:pt x="97" y="1235"/>
                  </a:lnTo>
                  <a:lnTo>
                    <a:pt x="92" y="1223"/>
                  </a:lnTo>
                  <a:lnTo>
                    <a:pt x="92" y="1223"/>
                  </a:lnTo>
                  <a:lnTo>
                    <a:pt x="92" y="1223"/>
                  </a:lnTo>
                  <a:close/>
                  <a:moveTo>
                    <a:pt x="125" y="1252"/>
                  </a:moveTo>
                  <a:lnTo>
                    <a:pt x="125" y="1240"/>
                  </a:lnTo>
                  <a:lnTo>
                    <a:pt x="130" y="1240"/>
                  </a:lnTo>
                  <a:lnTo>
                    <a:pt x="125" y="1252"/>
                  </a:lnTo>
                  <a:lnTo>
                    <a:pt x="125" y="1252"/>
                  </a:lnTo>
                  <a:lnTo>
                    <a:pt x="125" y="1252"/>
                  </a:lnTo>
                  <a:close/>
                  <a:moveTo>
                    <a:pt x="24196" y="1318"/>
                  </a:moveTo>
                  <a:lnTo>
                    <a:pt x="24196" y="1334"/>
                  </a:lnTo>
                  <a:lnTo>
                    <a:pt x="24184" y="1330"/>
                  </a:lnTo>
                  <a:lnTo>
                    <a:pt x="24196" y="1318"/>
                  </a:lnTo>
                  <a:lnTo>
                    <a:pt x="24196" y="1318"/>
                  </a:lnTo>
                  <a:lnTo>
                    <a:pt x="24196" y="1318"/>
                  </a:lnTo>
                  <a:close/>
                  <a:moveTo>
                    <a:pt x="24179" y="1367"/>
                  </a:moveTo>
                  <a:lnTo>
                    <a:pt x="24179" y="1374"/>
                  </a:lnTo>
                  <a:lnTo>
                    <a:pt x="24163" y="1374"/>
                  </a:lnTo>
                  <a:lnTo>
                    <a:pt x="24163" y="1367"/>
                  </a:lnTo>
                  <a:lnTo>
                    <a:pt x="24179" y="1367"/>
                  </a:lnTo>
                  <a:lnTo>
                    <a:pt x="24179" y="1367"/>
                  </a:lnTo>
                  <a:lnTo>
                    <a:pt x="24179" y="1367"/>
                  </a:lnTo>
                  <a:close/>
                  <a:moveTo>
                    <a:pt x="24267" y="1462"/>
                  </a:moveTo>
                  <a:lnTo>
                    <a:pt x="24281" y="1478"/>
                  </a:lnTo>
                  <a:lnTo>
                    <a:pt x="24271" y="1486"/>
                  </a:lnTo>
                  <a:lnTo>
                    <a:pt x="24281" y="1486"/>
                  </a:lnTo>
                  <a:lnTo>
                    <a:pt x="24281" y="1495"/>
                  </a:lnTo>
                  <a:lnTo>
                    <a:pt x="24255" y="1511"/>
                  </a:lnTo>
                  <a:lnTo>
                    <a:pt x="24250" y="1502"/>
                  </a:lnTo>
                  <a:lnTo>
                    <a:pt x="24238" y="1511"/>
                  </a:lnTo>
                  <a:lnTo>
                    <a:pt x="24250" y="1511"/>
                  </a:lnTo>
                  <a:lnTo>
                    <a:pt x="24234" y="1519"/>
                  </a:lnTo>
                  <a:lnTo>
                    <a:pt x="24255" y="1478"/>
                  </a:lnTo>
                  <a:lnTo>
                    <a:pt x="24250" y="1462"/>
                  </a:lnTo>
                  <a:lnTo>
                    <a:pt x="24267" y="1462"/>
                  </a:lnTo>
                  <a:lnTo>
                    <a:pt x="24267" y="1462"/>
                  </a:lnTo>
                  <a:lnTo>
                    <a:pt x="24267" y="1462"/>
                  </a:lnTo>
                  <a:close/>
                  <a:moveTo>
                    <a:pt x="25027" y="1734"/>
                  </a:moveTo>
                  <a:lnTo>
                    <a:pt x="25023" y="1741"/>
                  </a:lnTo>
                  <a:lnTo>
                    <a:pt x="25027" y="1734"/>
                  </a:lnTo>
                  <a:lnTo>
                    <a:pt x="25027" y="1734"/>
                  </a:lnTo>
                  <a:lnTo>
                    <a:pt x="25027" y="1734"/>
                  </a:lnTo>
                  <a:lnTo>
                    <a:pt x="25027" y="1734"/>
                  </a:lnTo>
                  <a:close/>
                  <a:moveTo>
                    <a:pt x="24146" y="1816"/>
                  </a:moveTo>
                  <a:lnTo>
                    <a:pt x="24130" y="1833"/>
                  </a:lnTo>
                  <a:lnTo>
                    <a:pt x="24142" y="1849"/>
                  </a:lnTo>
                  <a:lnTo>
                    <a:pt x="24120" y="1845"/>
                  </a:lnTo>
                  <a:lnTo>
                    <a:pt x="24130" y="1828"/>
                  </a:lnTo>
                  <a:lnTo>
                    <a:pt x="24130" y="1816"/>
                  </a:lnTo>
                  <a:lnTo>
                    <a:pt x="24146" y="1816"/>
                  </a:lnTo>
                  <a:lnTo>
                    <a:pt x="24146" y="1816"/>
                  </a:lnTo>
                  <a:lnTo>
                    <a:pt x="24146" y="1816"/>
                  </a:lnTo>
                  <a:close/>
                  <a:moveTo>
                    <a:pt x="24142" y="1849"/>
                  </a:moveTo>
                  <a:lnTo>
                    <a:pt x="24120" y="1849"/>
                  </a:lnTo>
                  <a:lnTo>
                    <a:pt x="24142" y="1849"/>
                  </a:lnTo>
                  <a:lnTo>
                    <a:pt x="24142" y="1849"/>
                  </a:lnTo>
                  <a:lnTo>
                    <a:pt x="24142" y="1849"/>
                  </a:lnTo>
                  <a:lnTo>
                    <a:pt x="24142" y="1849"/>
                  </a:lnTo>
                  <a:close/>
                  <a:moveTo>
                    <a:pt x="24347" y="2000"/>
                  </a:moveTo>
                  <a:lnTo>
                    <a:pt x="24347" y="2012"/>
                  </a:lnTo>
                  <a:lnTo>
                    <a:pt x="24335" y="2012"/>
                  </a:lnTo>
                  <a:lnTo>
                    <a:pt x="24347" y="2000"/>
                  </a:lnTo>
                  <a:lnTo>
                    <a:pt x="24347" y="2000"/>
                  </a:lnTo>
                  <a:lnTo>
                    <a:pt x="24347" y="200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8" name="Freeform 529">
              <a:extLst>
                <a:ext uri="{FF2B5EF4-FFF2-40B4-BE49-F238E27FC236}">
                  <a16:creationId xmlns:a16="http://schemas.microsoft.com/office/drawing/2014/main" id="{80A63C03-A127-41E2-97FA-B7BC6416132D}"/>
                </a:ext>
              </a:extLst>
            </p:cNvPr>
            <p:cNvSpPr>
              <a:spLocks/>
            </p:cNvSpPr>
            <p:nvPr/>
          </p:nvSpPr>
          <p:spPr bwMode="gray">
            <a:xfrm>
              <a:off x="12304060" y="4573603"/>
              <a:ext cx="194741" cy="208161"/>
            </a:xfrm>
            <a:custGeom>
              <a:avLst/>
              <a:gdLst>
                <a:gd name="T0" fmla="*/ 343 w 595"/>
                <a:gd name="T1" fmla="*/ 449 h 636"/>
                <a:gd name="T2" fmla="*/ 189 w 595"/>
                <a:gd name="T3" fmla="*/ 359 h 636"/>
                <a:gd name="T4" fmla="*/ 118 w 595"/>
                <a:gd name="T5" fmla="*/ 343 h 636"/>
                <a:gd name="T6" fmla="*/ 50 w 595"/>
                <a:gd name="T7" fmla="*/ 289 h 636"/>
                <a:gd name="T8" fmla="*/ 0 w 595"/>
                <a:gd name="T9" fmla="*/ 227 h 636"/>
                <a:gd name="T10" fmla="*/ 33 w 595"/>
                <a:gd name="T11" fmla="*/ 100 h 636"/>
                <a:gd name="T12" fmla="*/ 71 w 595"/>
                <a:gd name="T13" fmla="*/ 29 h 636"/>
                <a:gd name="T14" fmla="*/ 255 w 595"/>
                <a:gd name="T15" fmla="*/ 12 h 636"/>
                <a:gd name="T16" fmla="*/ 319 w 595"/>
                <a:gd name="T17" fmla="*/ 67 h 636"/>
                <a:gd name="T18" fmla="*/ 343 w 595"/>
                <a:gd name="T19" fmla="*/ 161 h 636"/>
                <a:gd name="T20" fmla="*/ 336 w 595"/>
                <a:gd name="T21" fmla="*/ 215 h 636"/>
                <a:gd name="T22" fmla="*/ 428 w 595"/>
                <a:gd name="T23" fmla="*/ 227 h 636"/>
                <a:gd name="T24" fmla="*/ 461 w 595"/>
                <a:gd name="T25" fmla="*/ 227 h 636"/>
                <a:gd name="T26" fmla="*/ 499 w 595"/>
                <a:gd name="T27" fmla="*/ 255 h 636"/>
                <a:gd name="T28" fmla="*/ 515 w 595"/>
                <a:gd name="T29" fmla="*/ 359 h 636"/>
                <a:gd name="T30" fmla="*/ 569 w 595"/>
                <a:gd name="T31" fmla="*/ 343 h 636"/>
                <a:gd name="T32" fmla="*/ 591 w 595"/>
                <a:gd name="T33" fmla="*/ 364 h 636"/>
                <a:gd name="T34" fmla="*/ 581 w 595"/>
                <a:gd name="T35" fmla="*/ 437 h 636"/>
                <a:gd name="T36" fmla="*/ 569 w 595"/>
                <a:gd name="T37" fmla="*/ 470 h 636"/>
                <a:gd name="T38" fmla="*/ 569 w 595"/>
                <a:gd name="T39" fmla="*/ 548 h 636"/>
                <a:gd name="T40" fmla="*/ 515 w 595"/>
                <a:gd name="T41" fmla="*/ 586 h 636"/>
                <a:gd name="T42" fmla="*/ 503 w 595"/>
                <a:gd name="T43" fmla="*/ 615 h 636"/>
                <a:gd name="T44" fmla="*/ 482 w 595"/>
                <a:gd name="T45" fmla="*/ 615 h 636"/>
                <a:gd name="T46" fmla="*/ 444 w 595"/>
                <a:gd name="T47" fmla="*/ 636 h 636"/>
                <a:gd name="T48" fmla="*/ 418 w 595"/>
                <a:gd name="T49" fmla="*/ 624 h 636"/>
                <a:gd name="T50" fmla="*/ 397 w 595"/>
                <a:gd name="T51" fmla="*/ 624 h 636"/>
                <a:gd name="T52" fmla="*/ 288 w 595"/>
                <a:gd name="T53" fmla="*/ 615 h 636"/>
                <a:gd name="T54" fmla="*/ 319 w 595"/>
                <a:gd name="T55" fmla="*/ 565 h 636"/>
                <a:gd name="T56" fmla="*/ 343 w 595"/>
                <a:gd name="T57" fmla="*/ 508 h 636"/>
                <a:gd name="T58" fmla="*/ 343 w 595"/>
                <a:gd name="T59" fmla="*/ 492 h 636"/>
                <a:gd name="T60" fmla="*/ 364 w 595"/>
                <a:gd name="T61" fmla="*/ 470 h 636"/>
                <a:gd name="T62" fmla="*/ 357 w 595"/>
                <a:gd name="T63" fmla="*/ 45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5" h="636">
                  <a:moveTo>
                    <a:pt x="357" y="459"/>
                  </a:moveTo>
                  <a:lnTo>
                    <a:pt x="343" y="449"/>
                  </a:lnTo>
                  <a:lnTo>
                    <a:pt x="272" y="421"/>
                  </a:lnTo>
                  <a:lnTo>
                    <a:pt x="189" y="359"/>
                  </a:lnTo>
                  <a:lnTo>
                    <a:pt x="173" y="359"/>
                  </a:lnTo>
                  <a:lnTo>
                    <a:pt x="118" y="343"/>
                  </a:lnTo>
                  <a:lnTo>
                    <a:pt x="109" y="326"/>
                  </a:lnTo>
                  <a:lnTo>
                    <a:pt x="50" y="289"/>
                  </a:lnTo>
                  <a:lnTo>
                    <a:pt x="33" y="248"/>
                  </a:lnTo>
                  <a:lnTo>
                    <a:pt x="0" y="227"/>
                  </a:lnTo>
                  <a:lnTo>
                    <a:pt x="33" y="140"/>
                  </a:lnTo>
                  <a:lnTo>
                    <a:pt x="33" y="100"/>
                  </a:lnTo>
                  <a:lnTo>
                    <a:pt x="54" y="67"/>
                  </a:lnTo>
                  <a:lnTo>
                    <a:pt x="71" y="29"/>
                  </a:lnTo>
                  <a:lnTo>
                    <a:pt x="189" y="0"/>
                  </a:lnTo>
                  <a:lnTo>
                    <a:pt x="255" y="12"/>
                  </a:lnTo>
                  <a:lnTo>
                    <a:pt x="319" y="45"/>
                  </a:lnTo>
                  <a:lnTo>
                    <a:pt x="319" y="67"/>
                  </a:lnTo>
                  <a:lnTo>
                    <a:pt x="343" y="128"/>
                  </a:lnTo>
                  <a:lnTo>
                    <a:pt x="343" y="161"/>
                  </a:lnTo>
                  <a:lnTo>
                    <a:pt x="336" y="173"/>
                  </a:lnTo>
                  <a:lnTo>
                    <a:pt x="336" y="215"/>
                  </a:lnTo>
                  <a:lnTo>
                    <a:pt x="411" y="227"/>
                  </a:lnTo>
                  <a:lnTo>
                    <a:pt x="428" y="227"/>
                  </a:lnTo>
                  <a:lnTo>
                    <a:pt x="444" y="211"/>
                  </a:lnTo>
                  <a:lnTo>
                    <a:pt x="461" y="227"/>
                  </a:lnTo>
                  <a:lnTo>
                    <a:pt x="482" y="232"/>
                  </a:lnTo>
                  <a:lnTo>
                    <a:pt x="499" y="255"/>
                  </a:lnTo>
                  <a:lnTo>
                    <a:pt x="499" y="272"/>
                  </a:lnTo>
                  <a:lnTo>
                    <a:pt x="515" y="359"/>
                  </a:lnTo>
                  <a:lnTo>
                    <a:pt x="541" y="359"/>
                  </a:lnTo>
                  <a:lnTo>
                    <a:pt x="569" y="343"/>
                  </a:lnTo>
                  <a:lnTo>
                    <a:pt x="595" y="364"/>
                  </a:lnTo>
                  <a:lnTo>
                    <a:pt x="591" y="364"/>
                  </a:lnTo>
                  <a:lnTo>
                    <a:pt x="595" y="381"/>
                  </a:lnTo>
                  <a:lnTo>
                    <a:pt x="581" y="437"/>
                  </a:lnTo>
                  <a:lnTo>
                    <a:pt x="581" y="449"/>
                  </a:lnTo>
                  <a:lnTo>
                    <a:pt x="569" y="470"/>
                  </a:lnTo>
                  <a:lnTo>
                    <a:pt x="574" y="475"/>
                  </a:lnTo>
                  <a:lnTo>
                    <a:pt x="569" y="548"/>
                  </a:lnTo>
                  <a:lnTo>
                    <a:pt x="541" y="570"/>
                  </a:lnTo>
                  <a:lnTo>
                    <a:pt x="515" y="586"/>
                  </a:lnTo>
                  <a:lnTo>
                    <a:pt x="503" y="598"/>
                  </a:lnTo>
                  <a:lnTo>
                    <a:pt x="503" y="615"/>
                  </a:lnTo>
                  <a:lnTo>
                    <a:pt x="489" y="619"/>
                  </a:lnTo>
                  <a:lnTo>
                    <a:pt x="482" y="615"/>
                  </a:lnTo>
                  <a:lnTo>
                    <a:pt x="465" y="615"/>
                  </a:lnTo>
                  <a:lnTo>
                    <a:pt x="444" y="636"/>
                  </a:lnTo>
                  <a:lnTo>
                    <a:pt x="435" y="624"/>
                  </a:lnTo>
                  <a:lnTo>
                    <a:pt x="418" y="624"/>
                  </a:lnTo>
                  <a:lnTo>
                    <a:pt x="411" y="619"/>
                  </a:lnTo>
                  <a:lnTo>
                    <a:pt x="397" y="624"/>
                  </a:lnTo>
                  <a:lnTo>
                    <a:pt x="352" y="615"/>
                  </a:lnTo>
                  <a:lnTo>
                    <a:pt x="288" y="615"/>
                  </a:lnTo>
                  <a:lnTo>
                    <a:pt x="288" y="603"/>
                  </a:lnTo>
                  <a:lnTo>
                    <a:pt x="319" y="565"/>
                  </a:lnTo>
                  <a:lnTo>
                    <a:pt x="319" y="525"/>
                  </a:lnTo>
                  <a:lnTo>
                    <a:pt x="343" y="508"/>
                  </a:lnTo>
                  <a:lnTo>
                    <a:pt x="343" y="508"/>
                  </a:lnTo>
                  <a:lnTo>
                    <a:pt x="343" y="492"/>
                  </a:lnTo>
                  <a:lnTo>
                    <a:pt x="364" y="475"/>
                  </a:lnTo>
                  <a:lnTo>
                    <a:pt x="364" y="470"/>
                  </a:lnTo>
                  <a:lnTo>
                    <a:pt x="357" y="459"/>
                  </a:lnTo>
                  <a:lnTo>
                    <a:pt x="357" y="459"/>
                  </a:lnTo>
                  <a:lnTo>
                    <a:pt x="357" y="45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9" name="Freeform 530">
              <a:extLst>
                <a:ext uri="{FF2B5EF4-FFF2-40B4-BE49-F238E27FC236}">
                  <a16:creationId xmlns:a16="http://schemas.microsoft.com/office/drawing/2014/main" id="{9CA5617E-E28A-46DC-9489-988309DD368E}"/>
                </a:ext>
              </a:extLst>
            </p:cNvPr>
            <p:cNvSpPr>
              <a:spLocks/>
            </p:cNvSpPr>
            <p:nvPr/>
          </p:nvSpPr>
          <p:spPr bwMode="gray">
            <a:xfrm>
              <a:off x="11875629" y="4116042"/>
              <a:ext cx="292276" cy="435305"/>
            </a:xfrm>
            <a:custGeom>
              <a:avLst/>
              <a:gdLst>
                <a:gd name="T0" fmla="*/ 872 w 893"/>
                <a:gd name="T1" fmla="*/ 926 h 1330"/>
                <a:gd name="T2" fmla="*/ 877 w 893"/>
                <a:gd name="T3" fmla="*/ 1025 h 1330"/>
                <a:gd name="T4" fmla="*/ 839 w 893"/>
                <a:gd name="T5" fmla="*/ 1063 h 1330"/>
                <a:gd name="T6" fmla="*/ 844 w 893"/>
                <a:gd name="T7" fmla="*/ 1108 h 1330"/>
                <a:gd name="T8" fmla="*/ 872 w 893"/>
                <a:gd name="T9" fmla="*/ 1169 h 1330"/>
                <a:gd name="T10" fmla="*/ 872 w 893"/>
                <a:gd name="T11" fmla="*/ 1202 h 1330"/>
                <a:gd name="T12" fmla="*/ 834 w 893"/>
                <a:gd name="T13" fmla="*/ 1259 h 1330"/>
                <a:gd name="T14" fmla="*/ 806 w 893"/>
                <a:gd name="T15" fmla="*/ 1280 h 1330"/>
                <a:gd name="T16" fmla="*/ 768 w 893"/>
                <a:gd name="T17" fmla="*/ 1330 h 1330"/>
                <a:gd name="T18" fmla="*/ 671 w 893"/>
                <a:gd name="T19" fmla="*/ 1242 h 1330"/>
                <a:gd name="T20" fmla="*/ 515 w 893"/>
                <a:gd name="T21" fmla="*/ 1153 h 1330"/>
                <a:gd name="T22" fmla="*/ 388 w 893"/>
                <a:gd name="T23" fmla="*/ 1058 h 1330"/>
                <a:gd name="T24" fmla="*/ 350 w 893"/>
                <a:gd name="T25" fmla="*/ 1004 h 1330"/>
                <a:gd name="T26" fmla="*/ 360 w 893"/>
                <a:gd name="T27" fmla="*/ 964 h 1330"/>
                <a:gd name="T28" fmla="*/ 300 w 893"/>
                <a:gd name="T29" fmla="*/ 869 h 1330"/>
                <a:gd name="T30" fmla="*/ 263 w 893"/>
                <a:gd name="T31" fmla="*/ 782 h 1330"/>
                <a:gd name="T32" fmla="*/ 194 w 893"/>
                <a:gd name="T33" fmla="*/ 647 h 1330"/>
                <a:gd name="T34" fmla="*/ 145 w 893"/>
                <a:gd name="T35" fmla="*/ 565 h 1330"/>
                <a:gd name="T36" fmla="*/ 17 w 893"/>
                <a:gd name="T37" fmla="*/ 432 h 1330"/>
                <a:gd name="T38" fmla="*/ 38 w 893"/>
                <a:gd name="T39" fmla="*/ 399 h 1330"/>
                <a:gd name="T40" fmla="*/ 26 w 893"/>
                <a:gd name="T41" fmla="*/ 354 h 1330"/>
                <a:gd name="T42" fmla="*/ 38 w 893"/>
                <a:gd name="T43" fmla="*/ 267 h 1330"/>
                <a:gd name="T44" fmla="*/ 86 w 893"/>
                <a:gd name="T45" fmla="*/ 276 h 1330"/>
                <a:gd name="T46" fmla="*/ 64 w 893"/>
                <a:gd name="T47" fmla="*/ 300 h 1330"/>
                <a:gd name="T48" fmla="*/ 69 w 893"/>
                <a:gd name="T49" fmla="*/ 317 h 1330"/>
                <a:gd name="T50" fmla="*/ 123 w 893"/>
                <a:gd name="T51" fmla="*/ 317 h 1330"/>
                <a:gd name="T52" fmla="*/ 178 w 893"/>
                <a:gd name="T53" fmla="*/ 333 h 1330"/>
                <a:gd name="T54" fmla="*/ 211 w 893"/>
                <a:gd name="T55" fmla="*/ 267 h 1330"/>
                <a:gd name="T56" fmla="*/ 225 w 893"/>
                <a:gd name="T57" fmla="*/ 234 h 1330"/>
                <a:gd name="T58" fmla="*/ 371 w 893"/>
                <a:gd name="T59" fmla="*/ 149 h 1330"/>
                <a:gd name="T60" fmla="*/ 430 w 893"/>
                <a:gd name="T61" fmla="*/ 61 h 1330"/>
                <a:gd name="T62" fmla="*/ 404 w 893"/>
                <a:gd name="T63" fmla="*/ 5 h 1330"/>
                <a:gd name="T64" fmla="*/ 456 w 893"/>
                <a:gd name="T65" fmla="*/ 12 h 1330"/>
                <a:gd name="T66" fmla="*/ 494 w 893"/>
                <a:gd name="T67" fmla="*/ 38 h 1330"/>
                <a:gd name="T68" fmla="*/ 553 w 893"/>
                <a:gd name="T69" fmla="*/ 111 h 1330"/>
                <a:gd name="T70" fmla="*/ 574 w 893"/>
                <a:gd name="T71" fmla="*/ 123 h 1330"/>
                <a:gd name="T72" fmla="*/ 574 w 893"/>
                <a:gd name="T73" fmla="*/ 165 h 1330"/>
                <a:gd name="T74" fmla="*/ 619 w 893"/>
                <a:gd name="T75" fmla="*/ 165 h 1330"/>
                <a:gd name="T76" fmla="*/ 678 w 893"/>
                <a:gd name="T77" fmla="*/ 149 h 1330"/>
                <a:gd name="T78" fmla="*/ 737 w 893"/>
                <a:gd name="T79" fmla="*/ 156 h 1330"/>
                <a:gd name="T80" fmla="*/ 789 w 893"/>
                <a:gd name="T81" fmla="*/ 194 h 1330"/>
                <a:gd name="T82" fmla="*/ 780 w 893"/>
                <a:gd name="T83" fmla="*/ 267 h 1330"/>
                <a:gd name="T84" fmla="*/ 785 w 893"/>
                <a:gd name="T85" fmla="*/ 305 h 1330"/>
                <a:gd name="T86" fmla="*/ 730 w 893"/>
                <a:gd name="T87" fmla="*/ 305 h 1330"/>
                <a:gd name="T88" fmla="*/ 603 w 893"/>
                <a:gd name="T89" fmla="*/ 359 h 1330"/>
                <a:gd name="T90" fmla="*/ 574 w 893"/>
                <a:gd name="T91" fmla="*/ 454 h 1330"/>
                <a:gd name="T92" fmla="*/ 537 w 893"/>
                <a:gd name="T93" fmla="*/ 522 h 1330"/>
                <a:gd name="T94" fmla="*/ 537 w 893"/>
                <a:gd name="T95" fmla="*/ 555 h 1330"/>
                <a:gd name="T96" fmla="*/ 553 w 893"/>
                <a:gd name="T97" fmla="*/ 598 h 1330"/>
                <a:gd name="T98" fmla="*/ 570 w 893"/>
                <a:gd name="T99" fmla="*/ 671 h 1330"/>
                <a:gd name="T100" fmla="*/ 709 w 893"/>
                <a:gd name="T101" fmla="*/ 720 h 1330"/>
                <a:gd name="T102" fmla="*/ 754 w 893"/>
                <a:gd name="T103" fmla="*/ 787 h 1330"/>
                <a:gd name="T104" fmla="*/ 801 w 893"/>
                <a:gd name="T105" fmla="*/ 782 h 1330"/>
                <a:gd name="T106" fmla="*/ 834 w 893"/>
                <a:gd name="T107" fmla="*/ 787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3" h="1330">
                  <a:moveTo>
                    <a:pt x="834" y="787"/>
                  </a:moveTo>
                  <a:lnTo>
                    <a:pt x="893" y="898"/>
                  </a:lnTo>
                  <a:lnTo>
                    <a:pt x="872" y="926"/>
                  </a:lnTo>
                  <a:lnTo>
                    <a:pt x="872" y="971"/>
                  </a:lnTo>
                  <a:lnTo>
                    <a:pt x="860" y="987"/>
                  </a:lnTo>
                  <a:lnTo>
                    <a:pt x="877" y="1025"/>
                  </a:lnTo>
                  <a:lnTo>
                    <a:pt x="872" y="1025"/>
                  </a:lnTo>
                  <a:lnTo>
                    <a:pt x="872" y="1037"/>
                  </a:lnTo>
                  <a:lnTo>
                    <a:pt x="839" y="1063"/>
                  </a:lnTo>
                  <a:lnTo>
                    <a:pt x="839" y="1082"/>
                  </a:lnTo>
                  <a:lnTo>
                    <a:pt x="856" y="1098"/>
                  </a:lnTo>
                  <a:lnTo>
                    <a:pt x="844" y="1108"/>
                  </a:lnTo>
                  <a:lnTo>
                    <a:pt x="839" y="1131"/>
                  </a:lnTo>
                  <a:lnTo>
                    <a:pt x="856" y="1169"/>
                  </a:lnTo>
                  <a:lnTo>
                    <a:pt x="872" y="1169"/>
                  </a:lnTo>
                  <a:lnTo>
                    <a:pt x="877" y="1174"/>
                  </a:lnTo>
                  <a:lnTo>
                    <a:pt x="860" y="1191"/>
                  </a:lnTo>
                  <a:lnTo>
                    <a:pt x="872" y="1202"/>
                  </a:lnTo>
                  <a:lnTo>
                    <a:pt x="823" y="1247"/>
                  </a:lnTo>
                  <a:lnTo>
                    <a:pt x="823" y="1247"/>
                  </a:lnTo>
                  <a:lnTo>
                    <a:pt x="834" y="1259"/>
                  </a:lnTo>
                  <a:lnTo>
                    <a:pt x="834" y="1264"/>
                  </a:lnTo>
                  <a:lnTo>
                    <a:pt x="823" y="1280"/>
                  </a:lnTo>
                  <a:lnTo>
                    <a:pt x="806" y="1280"/>
                  </a:lnTo>
                  <a:lnTo>
                    <a:pt x="818" y="1302"/>
                  </a:lnTo>
                  <a:lnTo>
                    <a:pt x="801" y="1318"/>
                  </a:lnTo>
                  <a:lnTo>
                    <a:pt x="768" y="1330"/>
                  </a:lnTo>
                  <a:lnTo>
                    <a:pt x="709" y="1280"/>
                  </a:lnTo>
                  <a:lnTo>
                    <a:pt x="693" y="1247"/>
                  </a:lnTo>
                  <a:lnTo>
                    <a:pt x="671" y="1242"/>
                  </a:lnTo>
                  <a:lnTo>
                    <a:pt x="624" y="1207"/>
                  </a:lnTo>
                  <a:lnTo>
                    <a:pt x="532" y="1169"/>
                  </a:lnTo>
                  <a:lnTo>
                    <a:pt x="515" y="1153"/>
                  </a:lnTo>
                  <a:lnTo>
                    <a:pt x="447" y="1115"/>
                  </a:lnTo>
                  <a:lnTo>
                    <a:pt x="409" y="1075"/>
                  </a:lnTo>
                  <a:lnTo>
                    <a:pt x="388" y="1058"/>
                  </a:lnTo>
                  <a:lnTo>
                    <a:pt x="360" y="1020"/>
                  </a:lnTo>
                  <a:lnTo>
                    <a:pt x="355" y="1004"/>
                  </a:lnTo>
                  <a:lnTo>
                    <a:pt x="350" y="1004"/>
                  </a:lnTo>
                  <a:lnTo>
                    <a:pt x="355" y="997"/>
                  </a:lnTo>
                  <a:lnTo>
                    <a:pt x="360" y="997"/>
                  </a:lnTo>
                  <a:lnTo>
                    <a:pt x="360" y="964"/>
                  </a:lnTo>
                  <a:lnTo>
                    <a:pt x="350" y="942"/>
                  </a:lnTo>
                  <a:lnTo>
                    <a:pt x="322" y="893"/>
                  </a:lnTo>
                  <a:lnTo>
                    <a:pt x="300" y="869"/>
                  </a:lnTo>
                  <a:lnTo>
                    <a:pt x="296" y="836"/>
                  </a:lnTo>
                  <a:lnTo>
                    <a:pt x="263" y="815"/>
                  </a:lnTo>
                  <a:lnTo>
                    <a:pt x="263" y="782"/>
                  </a:lnTo>
                  <a:lnTo>
                    <a:pt x="232" y="742"/>
                  </a:lnTo>
                  <a:lnTo>
                    <a:pt x="199" y="654"/>
                  </a:lnTo>
                  <a:lnTo>
                    <a:pt x="194" y="647"/>
                  </a:lnTo>
                  <a:lnTo>
                    <a:pt x="189" y="614"/>
                  </a:lnTo>
                  <a:lnTo>
                    <a:pt x="173" y="593"/>
                  </a:lnTo>
                  <a:lnTo>
                    <a:pt x="145" y="565"/>
                  </a:lnTo>
                  <a:lnTo>
                    <a:pt x="119" y="503"/>
                  </a:lnTo>
                  <a:lnTo>
                    <a:pt x="102" y="482"/>
                  </a:lnTo>
                  <a:lnTo>
                    <a:pt x="17" y="432"/>
                  </a:lnTo>
                  <a:lnTo>
                    <a:pt x="17" y="416"/>
                  </a:lnTo>
                  <a:lnTo>
                    <a:pt x="31" y="416"/>
                  </a:lnTo>
                  <a:lnTo>
                    <a:pt x="38" y="399"/>
                  </a:lnTo>
                  <a:lnTo>
                    <a:pt x="31" y="387"/>
                  </a:lnTo>
                  <a:lnTo>
                    <a:pt x="17" y="371"/>
                  </a:lnTo>
                  <a:lnTo>
                    <a:pt x="26" y="354"/>
                  </a:lnTo>
                  <a:lnTo>
                    <a:pt x="0" y="333"/>
                  </a:lnTo>
                  <a:lnTo>
                    <a:pt x="10" y="305"/>
                  </a:lnTo>
                  <a:lnTo>
                    <a:pt x="38" y="267"/>
                  </a:lnTo>
                  <a:lnTo>
                    <a:pt x="81" y="234"/>
                  </a:lnTo>
                  <a:lnTo>
                    <a:pt x="81" y="243"/>
                  </a:lnTo>
                  <a:lnTo>
                    <a:pt x="86" y="276"/>
                  </a:lnTo>
                  <a:lnTo>
                    <a:pt x="81" y="283"/>
                  </a:lnTo>
                  <a:lnTo>
                    <a:pt x="64" y="283"/>
                  </a:lnTo>
                  <a:lnTo>
                    <a:pt x="64" y="300"/>
                  </a:lnTo>
                  <a:lnTo>
                    <a:pt x="81" y="300"/>
                  </a:lnTo>
                  <a:lnTo>
                    <a:pt x="64" y="317"/>
                  </a:lnTo>
                  <a:lnTo>
                    <a:pt x="69" y="317"/>
                  </a:lnTo>
                  <a:lnTo>
                    <a:pt x="86" y="305"/>
                  </a:lnTo>
                  <a:lnTo>
                    <a:pt x="107" y="317"/>
                  </a:lnTo>
                  <a:lnTo>
                    <a:pt x="123" y="317"/>
                  </a:lnTo>
                  <a:lnTo>
                    <a:pt x="145" y="354"/>
                  </a:lnTo>
                  <a:lnTo>
                    <a:pt x="161" y="354"/>
                  </a:lnTo>
                  <a:lnTo>
                    <a:pt x="178" y="333"/>
                  </a:lnTo>
                  <a:lnTo>
                    <a:pt x="194" y="321"/>
                  </a:lnTo>
                  <a:lnTo>
                    <a:pt x="194" y="305"/>
                  </a:lnTo>
                  <a:lnTo>
                    <a:pt x="211" y="267"/>
                  </a:lnTo>
                  <a:lnTo>
                    <a:pt x="215" y="243"/>
                  </a:lnTo>
                  <a:lnTo>
                    <a:pt x="225" y="250"/>
                  </a:lnTo>
                  <a:lnTo>
                    <a:pt x="225" y="234"/>
                  </a:lnTo>
                  <a:lnTo>
                    <a:pt x="249" y="210"/>
                  </a:lnTo>
                  <a:lnTo>
                    <a:pt x="334" y="177"/>
                  </a:lnTo>
                  <a:lnTo>
                    <a:pt x="371" y="149"/>
                  </a:lnTo>
                  <a:lnTo>
                    <a:pt x="409" y="111"/>
                  </a:lnTo>
                  <a:lnTo>
                    <a:pt x="426" y="61"/>
                  </a:lnTo>
                  <a:lnTo>
                    <a:pt x="430" y="61"/>
                  </a:lnTo>
                  <a:lnTo>
                    <a:pt x="430" y="45"/>
                  </a:lnTo>
                  <a:lnTo>
                    <a:pt x="430" y="38"/>
                  </a:lnTo>
                  <a:lnTo>
                    <a:pt x="404" y="5"/>
                  </a:lnTo>
                  <a:lnTo>
                    <a:pt x="430" y="5"/>
                  </a:lnTo>
                  <a:lnTo>
                    <a:pt x="430" y="0"/>
                  </a:lnTo>
                  <a:lnTo>
                    <a:pt x="456" y="12"/>
                  </a:lnTo>
                  <a:lnTo>
                    <a:pt x="463" y="5"/>
                  </a:lnTo>
                  <a:lnTo>
                    <a:pt x="468" y="21"/>
                  </a:lnTo>
                  <a:lnTo>
                    <a:pt x="494" y="38"/>
                  </a:lnTo>
                  <a:lnTo>
                    <a:pt x="501" y="66"/>
                  </a:lnTo>
                  <a:lnTo>
                    <a:pt x="548" y="94"/>
                  </a:lnTo>
                  <a:lnTo>
                    <a:pt x="553" y="111"/>
                  </a:lnTo>
                  <a:lnTo>
                    <a:pt x="553" y="116"/>
                  </a:lnTo>
                  <a:lnTo>
                    <a:pt x="570" y="132"/>
                  </a:lnTo>
                  <a:lnTo>
                    <a:pt x="574" y="123"/>
                  </a:lnTo>
                  <a:lnTo>
                    <a:pt x="574" y="123"/>
                  </a:lnTo>
                  <a:lnTo>
                    <a:pt x="586" y="149"/>
                  </a:lnTo>
                  <a:lnTo>
                    <a:pt x="574" y="165"/>
                  </a:lnTo>
                  <a:lnTo>
                    <a:pt x="591" y="165"/>
                  </a:lnTo>
                  <a:lnTo>
                    <a:pt x="591" y="172"/>
                  </a:lnTo>
                  <a:lnTo>
                    <a:pt x="619" y="165"/>
                  </a:lnTo>
                  <a:lnTo>
                    <a:pt x="641" y="172"/>
                  </a:lnTo>
                  <a:lnTo>
                    <a:pt x="662" y="165"/>
                  </a:lnTo>
                  <a:lnTo>
                    <a:pt x="678" y="149"/>
                  </a:lnTo>
                  <a:lnTo>
                    <a:pt x="678" y="156"/>
                  </a:lnTo>
                  <a:lnTo>
                    <a:pt x="700" y="165"/>
                  </a:lnTo>
                  <a:lnTo>
                    <a:pt x="737" y="156"/>
                  </a:lnTo>
                  <a:lnTo>
                    <a:pt x="754" y="172"/>
                  </a:lnTo>
                  <a:lnTo>
                    <a:pt x="780" y="172"/>
                  </a:lnTo>
                  <a:lnTo>
                    <a:pt x="789" y="194"/>
                  </a:lnTo>
                  <a:lnTo>
                    <a:pt x="747" y="267"/>
                  </a:lnTo>
                  <a:lnTo>
                    <a:pt x="763" y="276"/>
                  </a:lnTo>
                  <a:lnTo>
                    <a:pt x="780" y="267"/>
                  </a:lnTo>
                  <a:lnTo>
                    <a:pt x="801" y="300"/>
                  </a:lnTo>
                  <a:lnTo>
                    <a:pt x="789" y="305"/>
                  </a:lnTo>
                  <a:lnTo>
                    <a:pt x="785" y="305"/>
                  </a:lnTo>
                  <a:lnTo>
                    <a:pt x="780" y="288"/>
                  </a:lnTo>
                  <a:lnTo>
                    <a:pt x="747" y="288"/>
                  </a:lnTo>
                  <a:lnTo>
                    <a:pt x="730" y="305"/>
                  </a:lnTo>
                  <a:lnTo>
                    <a:pt x="716" y="305"/>
                  </a:lnTo>
                  <a:lnTo>
                    <a:pt x="662" y="321"/>
                  </a:lnTo>
                  <a:lnTo>
                    <a:pt x="603" y="359"/>
                  </a:lnTo>
                  <a:lnTo>
                    <a:pt x="591" y="399"/>
                  </a:lnTo>
                  <a:lnTo>
                    <a:pt x="570" y="432"/>
                  </a:lnTo>
                  <a:lnTo>
                    <a:pt x="574" y="454"/>
                  </a:lnTo>
                  <a:lnTo>
                    <a:pt x="537" y="487"/>
                  </a:lnTo>
                  <a:lnTo>
                    <a:pt x="532" y="503"/>
                  </a:lnTo>
                  <a:lnTo>
                    <a:pt x="537" y="522"/>
                  </a:lnTo>
                  <a:lnTo>
                    <a:pt x="523" y="527"/>
                  </a:lnTo>
                  <a:lnTo>
                    <a:pt x="515" y="539"/>
                  </a:lnTo>
                  <a:lnTo>
                    <a:pt x="537" y="555"/>
                  </a:lnTo>
                  <a:lnTo>
                    <a:pt x="532" y="565"/>
                  </a:lnTo>
                  <a:lnTo>
                    <a:pt x="548" y="576"/>
                  </a:lnTo>
                  <a:lnTo>
                    <a:pt x="553" y="598"/>
                  </a:lnTo>
                  <a:lnTo>
                    <a:pt x="591" y="638"/>
                  </a:lnTo>
                  <a:lnTo>
                    <a:pt x="591" y="654"/>
                  </a:lnTo>
                  <a:lnTo>
                    <a:pt x="570" y="671"/>
                  </a:lnTo>
                  <a:lnTo>
                    <a:pt x="629" y="676"/>
                  </a:lnTo>
                  <a:lnTo>
                    <a:pt x="645" y="720"/>
                  </a:lnTo>
                  <a:lnTo>
                    <a:pt x="709" y="720"/>
                  </a:lnTo>
                  <a:lnTo>
                    <a:pt x="763" y="676"/>
                  </a:lnTo>
                  <a:lnTo>
                    <a:pt x="754" y="704"/>
                  </a:lnTo>
                  <a:lnTo>
                    <a:pt x="754" y="787"/>
                  </a:lnTo>
                  <a:lnTo>
                    <a:pt x="763" y="782"/>
                  </a:lnTo>
                  <a:lnTo>
                    <a:pt x="780" y="798"/>
                  </a:lnTo>
                  <a:lnTo>
                    <a:pt x="801" y="782"/>
                  </a:lnTo>
                  <a:lnTo>
                    <a:pt x="834" y="787"/>
                  </a:lnTo>
                  <a:lnTo>
                    <a:pt x="834" y="787"/>
                  </a:lnTo>
                  <a:lnTo>
                    <a:pt x="834" y="78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0" name="Freeform 531">
              <a:extLst>
                <a:ext uri="{FF2B5EF4-FFF2-40B4-BE49-F238E27FC236}">
                  <a16:creationId xmlns:a16="http://schemas.microsoft.com/office/drawing/2014/main" id="{A99E94AD-DCAA-483D-96B3-E9604E1A962D}"/>
                </a:ext>
              </a:extLst>
            </p:cNvPr>
            <p:cNvSpPr>
              <a:spLocks noEditPoints="1"/>
            </p:cNvSpPr>
            <p:nvPr/>
          </p:nvSpPr>
          <p:spPr bwMode="gray">
            <a:xfrm>
              <a:off x="15141395" y="3199939"/>
              <a:ext cx="390465" cy="344643"/>
            </a:xfrm>
            <a:custGeom>
              <a:avLst/>
              <a:gdLst>
                <a:gd name="T0" fmla="*/ 248 w 1193"/>
                <a:gd name="T1" fmla="*/ 605 h 1053"/>
                <a:gd name="T2" fmla="*/ 378 w 1193"/>
                <a:gd name="T3" fmla="*/ 560 h 1053"/>
                <a:gd name="T4" fmla="*/ 399 w 1193"/>
                <a:gd name="T5" fmla="*/ 494 h 1053"/>
                <a:gd name="T6" fmla="*/ 485 w 1193"/>
                <a:gd name="T7" fmla="*/ 460 h 1053"/>
                <a:gd name="T8" fmla="*/ 539 w 1193"/>
                <a:gd name="T9" fmla="*/ 427 h 1053"/>
                <a:gd name="T10" fmla="*/ 577 w 1193"/>
                <a:gd name="T11" fmla="*/ 439 h 1053"/>
                <a:gd name="T12" fmla="*/ 598 w 1193"/>
                <a:gd name="T13" fmla="*/ 349 h 1053"/>
                <a:gd name="T14" fmla="*/ 664 w 1193"/>
                <a:gd name="T15" fmla="*/ 300 h 1053"/>
                <a:gd name="T16" fmla="*/ 643 w 1193"/>
                <a:gd name="T17" fmla="*/ 262 h 1053"/>
                <a:gd name="T18" fmla="*/ 723 w 1193"/>
                <a:gd name="T19" fmla="*/ 222 h 1053"/>
                <a:gd name="T20" fmla="*/ 749 w 1193"/>
                <a:gd name="T21" fmla="*/ 168 h 1053"/>
                <a:gd name="T22" fmla="*/ 749 w 1193"/>
                <a:gd name="T23" fmla="*/ 94 h 1053"/>
                <a:gd name="T24" fmla="*/ 756 w 1193"/>
                <a:gd name="T25" fmla="*/ 52 h 1053"/>
                <a:gd name="T26" fmla="*/ 900 w 1193"/>
                <a:gd name="T27" fmla="*/ 7 h 1053"/>
                <a:gd name="T28" fmla="*/ 966 w 1193"/>
                <a:gd name="T29" fmla="*/ 0 h 1053"/>
                <a:gd name="T30" fmla="*/ 1042 w 1193"/>
                <a:gd name="T31" fmla="*/ 23 h 1053"/>
                <a:gd name="T32" fmla="*/ 1073 w 1193"/>
                <a:gd name="T33" fmla="*/ 90 h 1053"/>
                <a:gd name="T34" fmla="*/ 1127 w 1193"/>
                <a:gd name="T35" fmla="*/ 118 h 1053"/>
                <a:gd name="T36" fmla="*/ 1127 w 1193"/>
                <a:gd name="T37" fmla="*/ 189 h 1053"/>
                <a:gd name="T38" fmla="*/ 1042 w 1193"/>
                <a:gd name="T39" fmla="*/ 205 h 1053"/>
                <a:gd name="T40" fmla="*/ 922 w 1193"/>
                <a:gd name="T41" fmla="*/ 229 h 1053"/>
                <a:gd name="T42" fmla="*/ 933 w 1193"/>
                <a:gd name="T43" fmla="*/ 283 h 1053"/>
                <a:gd name="T44" fmla="*/ 971 w 1193"/>
                <a:gd name="T45" fmla="*/ 349 h 1053"/>
                <a:gd name="T46" fmla="*/ 1018 w 1193"/>
                <a:gd name="T47" fmla="*/ 387 h 1053"/>
                <a:gd name="T48" fmla="*/ 955 w 1193"/>
                <a:gd name="T49" fmla="*/ 427 h 1053"/>
                <a:gd name="T50" fmla="*/ 966 w 1193"/>
                <a:gd name="T51" fmla="*/ 477 h 1053"/>
                <a:gd name="T52" fmla="*/ 917 w 1193"/>
                <a:gd name="T53" fmla="*/ 555 h 1053"/>
                <a:gd name="T54" fmla="*/ 794 w 1193"/>
                <a:gd name="T55" fmla="*/ 687 h 1053"/>
                <a:gd name="T56" fmla="*/ 695 w 1193"/>
                <a:gd name="T57" fmla="*/ 742 h 1053"/>
                <a:gd name="T58" fmla="*/ 610 w 1193"/>
                <a:gd name="T59" fmla="*/ 827 h 1053"/>
                <a:gd name="T60" fmla="*/ 664 w 1193"/>
                <a:gd name="T61" fmla="*/ 902 h 1053"/>
                <a:gd name="T62" fmla="*/ 718 w 1193"/>
                <a:gd name="T63" fmla="*/ 980 h 1053"/>
                <a:gd name="T64" fmla="*/ 695 w 1193"/>
                <a:gd name="T65" fmla="*/ 1013 h 1053"/>
                <a:gd name="T66" fmla="*/ 643 w 1193"/>
                <a:gd name="T67" fmla="*/ 1020 h 1053"/>
                <a:gd name="T68" fmla="*/ 555 w 1193"/>
                <a:gd name="T69" fmla="*/ 1001 h 1053"/>
                <a:gd name="T70" fmla="*/ 518 w 1193"/>
                <a:gd name="T71" fmla="*/ 1037 h 1053"/>
                <a:gd name="T72" fmla="*/ 501 w 1193"/>
                <a:gd name="T73" fmla="*/ 1046 h 1053"/>
                <a:gd name="T74" fmla="*/ 468 w 1193"/>
                <a:gd name="T75" fmla="*/ 1037 h 1053"/>
                <a:gd name="T76" fmla="*/ 437 w 1193"/>
                <a:gd name="T77" fmla="*/ 980 h 1053"/>
                <a:gd name="T78" fmla="*/ 399 w 1193"/>
                <a:gd name="T79" fmla="*/ 926 h 1053"/>
                <a:gd name="T80" fmla="*/ 383 w 1193"/>
                <a:gd name="T81" fmla="*/ 909 h 1053"/>
                <a:gd name="T82" fmla="*/ 265 w 1193"/>
                <a:gd name="T83" fmla="*/ 935 h 1053"/>
                <a:gd name="T84" fmla="*/ 220 w 1193"/>
                <a:gd name="T85" fmla="*/ 926 h 1053"/>
                <a:gd name="T86" fmla="*/ 69 w 1193"/>
                <a:gd name="T87" fmla="*/ 947 h 1053"/>
                <a:gd name="T88" fmla="*/ 59 w 1193"/>
                <a:gd name="T89" fmla="*/ 893 h 1053"/>
                <a:gd name="T90" fmla="*/ 97 w 1193"/>
                <a:gd name="T91" fmla="*/ 848 h 1053"/>
                <a:gd name="T92" fmla="*/ 161 w 1193"/>
                <a:gd name="T93" fmla="*/ 831 h 1053"/>
                <a:gd name="T94" fmla="*/ 140 w 1193"/>
                <a:gd name="T95" fmla="*/ 782 h 1053"/>
                <a:gd name="T96" fmla="*/ 107 w 1193"/>
                <a:gd name="T97" fmla="*/ 687 h 1053"/>
                <a:gd name="T98" fmla="*/ 0 w 1193"/>
                <a:gd name="T99" fmla="*/ 576 h 1053"/>
                <a:gd name="T100" fmla="*/ 166 w 1193"/>
                <a:gd name="T101" fmla="*/ 609 h 1053"/>
                <a:gd name="T102" fmla="*/ 463 w 1193"/>
                <a:gd name="T103" fmla="*/ 1030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93" h="1053">
                  <a:moveTo>
                    <a:pt x="166" y="609"/>
                  </a:moveTo>
                  <a:lnTo>
                    <a:pt x="194" y="605"/>
                  </a:lnTo>
                  <a:lnTo>
                    <a:pt x="220" y="609"/>
                  </a:lnTo>
                  <a:lnTo>
                    <a:pt x="248" y="605"/>
                  </a:lnTo>
                  <a:lnTo>
                    <a:pt x="291" y="605"/>
                  </a:lnTo>
                  <a:lnTo>
                    <a:pt x="378" y="576"/>
                  </a:lnTo>
                  <a:lnTo>
                    <a:pt x="383" y="571"/>
                  </a:lnTo>
                  <a:lnTo>
                    <a:pt x="378" y="560"/>
                  </a:lnTo>
                  <a:lnTo>
                    <a:pt x="383" y="548"/>
                  </a:lnTo>
                  <a:lnTo>
                    <a:pt x="383" y="522"/>
                  </a:lnTo>
                  <a:lnTo>
                    <a:pt x="392" y="494"/>
                  </a:lnTo>
                  <a:lnTo>
                    <a:pt x="399" y="494"/>
                  </a:lnTo>
                  <a:lnTo>
                    <a:pt x="416" y="465"/>
                  </a:lnTo>
                  <a:lnTo>
                    <a:pt x="430" y="460"/>
                  </a:lnTo>
                  <a:lnTo>
                    <a:pt x="454" y="465"/>
                  </a:lnTo>
                  <a:lnTo>
                    <a:pt x="485" y="460"/>
                  </a:lnTo>
                  <a:lnTo>
                    <a:pt x="468" y="444"/>
                  </a:lnTo>
                  <a:lnTo>
                    <a:pt x="501" y="439"/>
                  </a:lnTo>
                  <a:lnTo>
                    <a:pt x="518" y="423"/>
                  </a:lnTo>
                  <a:lnTo>
                    <a:pt x="539" y="427"/>
                  </a:lnTo>
                  <a:lnTo>
                    <a:pt x="534" y="427"/>
                  </a:lnTo>
                  <a:lnTo>
                    <a:pt x="539" y="423"/>
                  </a:lnTo>
                  <a:lnTo>
                    <a:pt x="560" y="444"/>
                  </a:lnTo>
                  <a:lnTo>
                    <a:pt x="577" y="439"/>
                  </a:lnTo>
                  <a:lnTo>
                    <a:pt x="593" y="411"/>
                  </a:lnTo>
                  <a:lnTo>
                    <a:pt x="593" y="371"/>
                  </a:lnTo>
                  <a:lnTo>
                    <a:pt x="598" y="354"/>
                  </a:lnTo>
                  <a:lnTo>
                    <a:pt x="598" y="349"/>
                  </a:lnTo>
                  <a:lnTo>
                    <a:pt x="610" y="338"/>
                  </a:lnTo>
                  <a:lnTo>
                    <a:pt x="610" y="328"/>
                  </a:lnTo>
                  <a:lnTo>
                    <a:pt x="648" y="316"/>
                  </a:lnTo>
                  <a:lnTo>
                    <a:pt x="664" y="300"/>
                  </a:lnTo>
                  <a:lnTo>
                    <a:pt x="652" y="283"/>
                  </a:lnTo>
                  <a:lnTo>
                    <a:pt x="652" y="272"/>
                  </a:lnTo>
                  <a:lnTo>
                    <a:pt x="643" y="272"/>
                  </a:lnTo>
                  <a:lnTo>
                    <a:pt x="643" y="262"/>
                  </a:lnTo>
                  <a:lnTo>
                    <a:pt x="631" y="246"/>
                  </a:lnTo>
                  <a:lnTo>
                    <a:pt x="681" y="255"/>
                  </a:lnTo>
                  <a:lnTo>
                    <a:pt x="718" y="246"/>
                  </a:lnTo>
                  <a:lnTo>
                    <a:pt x="723" y="222"/>
                  </a:lnTo>
                  <a:lnTo>
                    <a:pt x="707" y="205"/>
                  </a:lnTo>
                  <a:lnTo>
                    <a:pt x="718" y="201"/>
                  </a:lnTo>
                  <a:lnTo>
                    <a:pt x="718" y="189"/>
                  </a:lnTo>
                  <a:lnTo>
                    <a:pt x="749" y="168"/>
                  </a:lnTo>
                  <a:lnTo>
                    <a:pt x="756" y="151"/>
                  </a:lnTo>
                  <a:lnTo>
                    <a:pt x="749" y="144"/>
                  </a:lnTo>
                  <a:lnTo>
                    <a:pt x="756" y="134"/>
                  </a:lnTo>
                  <a:lnTo>
                    <a:pt x="749" y="94"/>
                  </a:lnTo>
                  <a:lnTo>
                    <a:pt x="723" y="78"/>
                  </a:lnTo>
                  <a:lnTo>
                    <a:pt x="733" y="73"/>
                  </a:lnTo>
                  <a:lnTo>
                    <a:pt x="756" y="57"/>
                  </a:lnTo>
                  <a:lnTo>
                    <a:pt x="756" y="52"/>
                  </a:lnTo>
                  <a:lnTo>
                    <a:pt x="761" y="52"/>
                  </a:lnTo>
                  <a:lnTo>
                    <a:pt x="794" y="23"/>
                  </a:lnTo>
                  <a:lnTo>
                    <a:pt x="825" y="19"/>
                  </a:lnTo>
                  <a:lnTo>
                    <a:pt x="900" y="7"/>
                  </a:lnTo>
                  <a:lnTo>
                    <a:pt x="922" y="19"/>
                  </a:lnTo>
                  <a:lnTo>
                    <a:pt x="955" y="0"/>
                  </a:lnTo>
                  <a:lnTo>
                    <a:pt x="966" y="7"/>
                  </a:lnTo>
                  <a:lnTo>
                    <a:pt x="966" y="0"/>
                  </a:lnTo>
                  <a:lnTo>
                    <a:pt x="1004" y="0"/>
                  </a:lnTo>
                  <a:lnTo>
                    <a:pt x="1018" y="7"/>
                  </a:lnTo>
                  <a:lnTo>
                    <a:pt x="1025" y="23"/>
                  </a:lnTo>
                  <a:lnTo>
                    <a:pt x="1042" y="23"/>
                  </a:lnTo>
                  <a:lnTo>
                    <a:pt x="1056" y="35"/>
                  </a:lnTo>
                  <a:lnTo>
                    <a:pt x="1063" y="61"/>
                  </a:lnTo>
                  <a:lnTo>
                    <a:pt x="1056" y="78"/>
                  </a:lnTo>
                  <a:lnTo>
                    <a:pt x="1073" y="90"/>
                  </a:lnTo>
                  <a:lnTo>
                    <a:pt x="1080" y="106"/>
                  </a:lnTo>
                  <a:lnTo>
                    <a:pt x="1101" y="94"/>
                  </a:lnTo>
                  <a:lnTo>
                    <a:pt x="1101" y="106"/>
                  </a:lnTo>
                  <a:lnTo>
                    <a:pt x="1127" y="118"/>
                  </a:lnTo>
                  <a:lnTo>
                    <a:pt x="1165" y="127"/>
                  </a:lnTo>
                  <a:lnTo>
                    <a:pt x="1193" y="127"/>
                  </a:lnTo>
                  <a:lnTo>
                    <a:pt x="1132" y="160"/>
                  </a:lnTo>
                  <a:lnTo>
                    <a:pt x="1127" y="189"/>
                  </a:lnTo>
                  <a:lnTo>
                    <a:pt x="1094" y="184"/>
                  </a:lnTo>
                  <a:lnTo>
                    <a:pt x="1073" y="201"/>
                  </a:lnTo>
                  <a:lnTo>
                    <a:pt x="1063" y="201"/>
                  </a:lnTo>
                  <a:lnTo>
                    <a:pt x="1042" y="205"/>
                  </a:lnTo>
                  <a:lnTo>
                    <a:pt x="950" y="184"/>
                  </a:lnTo>
                  <a:lnTo>
                    <a:pt x="917" y="201"/>
                  </a:lnTo>
                  <a:lnTo>
                    <a:pt x="912" y="217"/>
                  </a:lnTo>
                  <a:lnTo>
                    <a:pt x="922" y="229"/>
                  </a:lnTo>
                  <a:lnTo>
                    <a:pt x="917" y="238"/>
                  </a:lnTo>
                  <a:lnTo>
                    <a:pt x="938" y="246"/>
                  </a:lnTo>
                  <a:lnTo>
                    <a:pt x="922" y="272"/>
                  </a:lnTo>
                  <a:lnTo>
                    <a:pt x="933" y="283"/>
                  </a:lnTo>
                  <a:lnTo>
                    <a:pt x="922" y="316"/>
                  </a:lnTo>
                  <a:lnTo>
                    <a:pt x="950" y="328"/>
                  </a:lnTo>
                  <a:lnTo>
                    <a:pt x="950" y="349"/>
                  </a:lnTo>
                  <a:lnTo>
                    <a:pt x="971" y="349"/>
                  </a:lnTo>
                  <a:lnTo>
                    <a:pt x="971" y="371"/>
                  </a:lnTo>
                  <a:lnTo>
                    <a:pt x="992" y="371"/>
                  </a:lnTo>
                  <a:lnTo>
                    <a:pt x="1018" y="383"/>
                  </a:lnTo>
                  <a:lnTo>
                    <a:pt x="1018" y="387"/>
                  </a:lnTo>
                  <a:lnTo>
                    <a:pt x="1009" y="404"/>
                  </a:lnTo>
                  <a:lnTo>
                    <a:pt x="988" y="404"/>
                  </a:lnTo>
                  <a:lnTo>
                    <a:pt x="966" y="423"/>
                  </a:lnTo>
                  <a:lnTo>
                    <a:pt x="955" y="427"/>
                  </a:lnTo>
                  <a:lnTo>
                    <a:pt x="966" y="449"/>
                  </a:lnTo>
                  <a:lnTo>
                    <a:pt x="955" y="477"/>
                  </a:lnTo>
                  <a:lnTo>
                    <a:pt x="966" y="482"/>
                  </a:lnTo>
                  <a:lnTo>
                    <a:pt x="966" y="477"/>
                  </a:lnTo>
                  <a:lnTo>
                    <a:pt x="971" y="482"/>
                  </a:lnTo>
                  <a:lnTo>
                    <a:pt x="950" y="498"/>
                  </a:lnTo>
                  <a:lnTo>
                    <a:pt x="917" y="538"/>
                  </a:lnTo>
                  <a:lnTo>
                    <a:pt x="917" y="555"/>
                  </a:lnTo>
                  <a:lnTo>
                    <a:pt x="879" y="571"/>
                  </a:lnTo>
                  <a:lnTo>
                    <a:pt x="846" y="642"/>
                  </a:lnTo>
                  <a:lnTo>
                    <a:pt x="808" y="666"/>
                  </a:lnTo>
                  <a:lnTo>
                    <a:pt x="794" y="687"/>
                  </a:lnTo>
                  <a:lnTo>
                    <a:pt x="777" y="716"/>
                  </a:lnTo>
                  <a:lnTo>
                    <a:pt x="777" y="725"/>
                  </a:lnTo>
                  <a:lnTo>
                    <a:pt x="702" y="742"/>
                  </a:lnTo>
                  <a:lnTo>
                    <a:pt x="695" y="742"/>
                  </a:lnTo>
                  <a:lnTo>
                    <a:pt x="685" y="720"/>
                  </a:lnTo>
                  <a:lnTo>
                    <a:pt x="669" y="720"/>
                  </a:lnTo>
                  <a:lnTo>
                    <a:pt x="614" y="782"/>
                  </a:lnTo>
                  <a:lnTo>
                    <a:pt x="610" y="827"/>
                  </a:lnTo>
                  <a:lnTo>
                    <a:pt x="631" y="831"/>
                  </a:lnTo>
                  <a:lnTo>
                    <a:pt x="652" y="836"/>
                  </a:lnTo>
                  <a:lnTo>
                    <a:pt x="648" y="881"/>
                  </a:lnTo>
                  <a:lnTo>
                    <a:pt x="664" y="902"/>
                  </a:lnTo>
                  <a:lnTo>
                    <a:pt x="685" y="902"/>
                  </a:lnTo>
                  <a:lnTo>
                    <a:pt x="695" y="926"/>
                  </a:lnTo>
                  <a:lnTo>
                    <a:pt x="702" y="942"/>
                  </a:lnTo>
                  <a:lnTo>
                    <a:pt x="718" y="980"/>
                  </a:lnTo>
                  <a:lnTo>
                    <a:pt x="707" y="980"/>
                  </a:lnTo>
                  <a:lnTo>
                    <a:pt x="707" y="997"/>
                  </a:lnTo>
                  <a:lnTo>
                    <a:pt x="718" y="997"/>
                  </a:lnTo>
                  <a:lnTo>
                    <a:pt x="695" y="1013"/>
                  </a:lnTo>
                  <a:lnTo>
                    <a:pt x="685" y="1013"/>
                  </a:lnTo>
                  <a:lnTo>
                    <a:pt x="681" y="997"/>
                  </a:lnTo>
                  <a:lnTo>
                    <a:pt x="648" y="1001"/>
                  </a:lnTo>
                  <a:lnTo>
                    <a:pt x="643" y="1020"/>
                  </a:lnTo>
                  <a:lnTo>
                    <a:pt x="626" y="1020"/>
                  </a:lnTo>
                  <a:lnTo>
                    <a:pt x="614" y="1013"/>
                  </a:lnTo>
                  <a:lnTo>
                    <a:pt x="572" y="1013"/>
                  </a:lnTo>
                  <a:lnTo>
                    <a:pt x="555" y="1001"/>
                  </a:lnTo>
                  <a:lnTo>
                    <a:pt x="555" y="1037"/>
                  </a:lnTo>
                  <a:lnTo>
                    <a:pt x="522" y="1037"/>
                  </a:lnTo>
                  <a:lnTo>
                    <a:pt x="518" y="1046"/>
                  </a:lnTo>
                  <a:lnTo>
                    <a:pt x="518" y="1037"/>
                  </a:lnTo>
                  <a:lnTo>
                    <a:pt x="518" y="1053"/>
                  </a:lnTo>
                  <a:lnTo>
                    <a:pt x="506" y="1053"/>
                  </a:lnTo>
                  <a:lnTo>
                    <a:pt x="501" y="1037"/>
                  </a:lnTo>
                  <a:lnTo>
                    <a:pt x="501" y="1046"/>
                  </a:lnTo>
                  <a:lnTo>
                    <a:pt x="492" y="1037"/>
                  </a:lnTo>
                  <a:lnTo>
                    <a:pt x="492" y="1046"/>
                  </a:lnTo>
                  <a:lnTo>
                    <a:pt x="485" y="1046"/>
                  </a:lnTo>
                  <a:lnTo>
                    <a:pt x="468" y="1037"/>
                  </a:lnTo>
                  <a:lnTo>
                    <a:pt x="468" y="1037"/>
                  </a:lnTo>
                  <a:lnTo>
                    <a:pt x="463" y="1030"/>
                  </a:lnTo>
                  <a:lnTo>
                    <a:pt x="454" y="1020"/>
                  </a:lnTo>
                  <a:lnTo>
                    <a:pt x="437" y="980"/>
                  </a:lnTo>
                  <a:lnTo>
                    <a:pt x="447" y="975"/>
                  </a:lnTo>
                  <a:lnTo>
                    <a:pt x="409" y="964"/>
                  </a:lnTo>
                  <a:lnTo>
                    <a:pt x="416" y="942"/>
                  </a:lnTo>
                  <a:lnTo>
                    <a:pt x="399" y="926"/>
                  </a:lnTo>
                  <a:lnTo>
                    <a:pt x="399" y="919"/>
                  </a:lnTo>
                  <a:lnTo>
                    <a:pt x="383" y="909"/>
                  </a:lnTo>
                  <a:lnTo>
                    <a:pt x="371" y="919"/>
                  </a:lnTo>
                  <a:lnTo>
                    <a:pt x="383" y="909"/>
                  </a:lnTo>
                  <a:lnTo>
                    <a:pt x="399" y="926"/>
                  </a:lnTo>
                  <a:lnTo>
                    <a:pt x="274" y="926"/>
                  </a:lnTo>
                  <a:lnTo>
                    <a:pt x="270" y="942"/>
                  </a:lnTo>
                  <a:lnTo>
                    <a:pt x="265" y="935"/>
                  </a:lnTo>
                  <a:lnTo>
                    <a:pt x="232" y="926"/>
                  </a:lnTo>
                  <a:lnTo>
                    <a:pt x="232" y="919"/>
                  </a:lnTo>
                  <a:lnTo>
                    <a:pt x="220" y="926"/>
                  </a:lnTo>
                  <a:lnTo>
                    <a:pt x="220" y="926"/>
                  </a:lnTo>
                  <a:lnTo>
                    <a:pt x="199" y="926"/>
                  </a:lnTo>
                  <a:lnTo>
                    <a:pt x="182" y="935"/>
                  </a:lnTo>
                  <a:lnTo>
                    <a:pt x="90" y="942"/>
                  </a:lnTo>
                  <a:lnTo>
                    <a:pt x="69" y="947"/>
                  </a:lnTo>
                  <a:lnTo>
                    <a:pt x="59" y="947"/>
                  </a:lnTo>
                  <a:lnTo>
                    <a:pt x="69" y="942"/>
                  </a:lnTo>
                  <a:lnTo>
                    <a:pt x="52" y="942"/>
                  </a:lnTo>
                  <a:lnTo>
                    <a:pt x="59" y="893"/>
                  </a:lnTo>
                  <a:lnTo>
                    <a:pt x="69" y="893"/>
                  </a:lnTo>
                  <a:lnTo>
                    <a:pt x="69" y="864"/>
                  </a:lnTo>
                  <a:lnTo>
                    <a:pt x="90" y="848"/>
                  </a:lnTo>
                  <a:lnTo>
                    <a:pt x="97" y="848"/>
                  </a:lnTo>
                  <a:lnTo>
                    <a:pt x="97" y="836"/>
                  </a:lnTo>
                  <a:lnTo>
                    <a:pt x="114" y="831"/>
                  </a:lnTo>
                  <a:lnTo>
                    <a:pt x="140" y="831"/>
                  </a:lnTo>
                  <a:lnTo>
                    <a:pt x="161" y="831"/>
                  </a:lnTo>
                  <a:lnTo>
                    <a:pt x="166" y="791"/>
                  </a:lnTo>
                  <a:lnTo>
                    <a:pt x="177" y="791"/>
                  </a:lnTo>
                  <a:lnTo>
                    <a:pt x="166" y="775"/>
                  </a:lnTo>
                  <a:lnTo>
                    <a:pt x="140" y="782"/>
                  </a:lnTo>
                  <a:lnTo>
                    <a:pt x="140" y="770"/>
                  </a:lnTo>
                  <a:lnTo>
                    <a:pt x="140" y="704"/>
                  </a:lnTo>
                  <a:lnTo>
                    <a:pt x="123" y="704"/>
                  </a:lnTo>
                  <a:lnTo>
                    <a:pt x="107" y="687"/>
                  </a:lnTo>
                  <a:lnTo>
                    <a:pt x="76" y="683"/>
                  </a:lnTo>
                  <a:lnTo>
                    <a:pt x="52" y="666"/>
                  </a:lnTo>
                  <a:lnTo>
                    <a:pt x="31" y="616"/>
                  </a:lnTo>
                  <a:lnTo>
                    <a:pt x="0" y="576"/>
                  </a:lnTo>
                  <a:lnTo>
                    <a:pt x="114" y="609"/>
                  </a:lnTo>
                  <a:lnTo>
                    <a:pt x="166" y="609"/>
                  </a:lnTo>
                  <a:lnTo>
                    <a:pt x="166" y="609"/>
                  </a:lnTo>
                  <a:lnTo>
                    <a:pt x="166" y="609"/>
                  </a:lnTo>
                  <a:close/>
                  <a:moveTo>
                    <a:pt x="463" y="1030"/>
                  </a:moveTo>
                  <a:lnTo>
                    <a:pt x="463" y="1030"/>
                  </a:lnTo>
                  <a:lnTo>
                    <a:pt x="463" y="1030"/>
                  </a:lnTo>
                  <a:lnTo>
                    <a:pt x="463" y="1030"/>
                  </a:lnTo>
                  <a:lnTo>
                    <a:pt x="463" y="1030"/>
                  </a:lnTo>
                  <a:lnTo>
                    <a:pt x="463" y="103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1" name="Freeform 532">
              <a:extLst>
                <a:ext uri="{FF2B5EF4-FFF2-40B4-BE49-F238E27FC236}">
                  <a16:creationId xmlns:a16="http://schemas.microsoft.com/office/drawing/2014/main" id="{DB3D112D-9AD9-4FEA-896C-E5BF4F32E30F}"/>
                </a:ext>
              </a:extLst>
            </p:cNvPr>
            <p:cNvSpPr>
              <a:spLocks/>
            </p:cNvSpPr>
            <p:nvPr/>
          </p:nvSpPr>
          <p:spPr bwMode="gray">
            <a:xfrm>
              <a:off x="14069171" y="2673319"/>
              <a:ext cx="229762" cy="182632"/>
            </a:xfrm>
            <a:custGeom>
              <a:avLst/>
              <a:gdLst>
                <a:gd name="T0" fmla="*/ 87 w 702"/>
                <a:gd name="T1" fmla="*/ 392 h 558"/>
                <a:gd name="T2" fmla="*/ 54 w 702"/>
                <a:gd name="T3" fmla="*/ 371 h 558"/>
                <a:gd name="T4" fmla="*/ 50 w 702"/>
                <a:gd name="T5" fmla="*/ 388 h 558"/>
                <a:gd name="T6" fmla="*/ 54 w 702"/>
                <a:gd name="T7" fmla="*/ 321 h 558"/>
                <a:gd name="T8" fmla="*/ 40 w 702"/>
                <a:gd name="T9" fmla="*/ 310 h 558"/>
                <a:gd name="T10" fmla="*/ 40 w 702"/>
                <a:gd name="T11" fmla="*/ 265 h 558"/>
                <a:gd name="T12" fmla="*/ 24 w 702"/>
                <a:gd name="T13" fmla="*/ 239 h 558"/>
                <a:gd name="T14" fmla="*/ 0 w 702"/>
                <a:gd name="T15" fmla="*/ 189 h 558"/>
                <a:gd name="T16" fmla="*/ 16 w 702"/>
                <a:gd name="T17" fmla="*/ 166 h 558"/>
                <a:gd name="T18" fmla="*/ 7 w 702"/>
                <a:gd name="T19" fmla="*/ 111 h 558"/>
                <a:gd name="T20" fmla="*/ 33 w 702"/>
                <a:gd name="T21" fmla="*/ 99 h 558"/>
                <a:gd name="T22" fmla="*/ 0 w 702"/>
                <a:gd name="T23" fmla="*/ 90 h 558"/>
                <a:gd name="T24" fmla="*/ 163 w 702"/>
                <a:gd name="T25" fmla="*/ 24 h 558"/>
                <a:gd name="T26" fmla="*/ 293 w 702"/>
                <a:gd name="T27" fmla="*/ 0 h 558"/>
                <a:gd name="T28" fmla="*/ 326 w 702"/>
                <a:gd name="T29" fmla="*/ 24 h 558"/>
                <a:gd name="T30" fmla="*/ 309 w 702"/>
                <a:gd name="T31" fmla="*/ 40 h 558"/>
                <a:gd name="T32" fmla="*/ 380 w 702"/>
                <a:gd name="T33" fmla="*/ 33 h 558"/>
                <a:gd name="T34" fmla="*/ 359 w 702"/>
                <a:gd name="T35" fmla="*/ 45 h 558"/>
                <a:gd name="T36" fmla="*/ 397 w 702"/>
                <a:gd name="T37" fmla="*/ 40 h 558"/>
                <a:gd name="T38" fmla="*/ 609 w 702"/>
                <a:gd name="T39" fmla="*/ 45 h 558"/>
                <a:gd name="T40" fmla="*/ 647 w 702"/>
                <a:gd name="T41" fmla="*/ 57 h 558"/>
                <a:gd name="T42" fmla="*/ 664 w 702"/>
                <a:gd name="T43" fmla="*/ 90 h 558"/>
                <a:gd name="T44" fmla="*/ 690 w 702"/>
                <a:gd name="T45" fmla="*/ 206 h 558"/>
                <a:gd name="T46" fmla="*/ 635 w 702"/>
                <a:gd name="T47" fmla="*/ 244 h 558"/>
                <a:gd name="T48" fmla="*/ 664 w 702"/>
                <a:gd name="T49" fmla="*/ 310 h 558"/>
                <a:gd name="T50" fmla="*/ 673 w 702"/>
                <a:gd name="T51" fmla="*/ 350 h 558"/>
                <a:gd name="T52" fmla="*/ 690 w 702"/>
                <a:gd name="T53" fmla="*/ 388 h 558"/>
                <a:gd name="T54" fmla="*/ 690 w 702"/>
                <a:gd name="T55" fmla="*/ 425 h 558"/>
                <a:gd name="T56" fmla="*/ 647 w 702"/>
                <a:gd name="T57" fmla="*/ 458 h 558"/>
                <a:gd name="T58" fmla="*/ 609 w 702"/>
                <a:gd name="T59" fmla="*/ 532 h 558"/>
                <a:gd name="T60" fmla="*/ 614 w 702"/>
                <a:gd name="T61" fmla="*/ 553 h 558"/>
                <a:gd name="T62" fmla="*/ 593 w 702"/>
                <a:gd name="T63" fmla="*/ 553 h 558"/>
                <a:gd name="T64" fmla="*/ 555 w 702"/>
                <a:gd name="T65" fmla="*/ 532 h 558"/>
                <a:gd name="T66" fmla="*/ 489 w 702"/>
                <a:gd name="T67" fmla="*/ 520 h 558"/>
                <a:gd name="T68" fmla="*/ 468 w 702"/>
                <a:gd name="T69" fmla="*/ 520 h 558"/>
                <a:gd name="T70" fmla="*/ 418 w 702"/>
                <a:gd name="T71" fmla="*/ 532 h 558"/>
                <a:gd name="T72" fmla="*/ 397 w 702"/>
                <a:gd name="T73" fmla="*/ 536 h 558"/>
                <a:gd name="T74" fmla="*/ 392 w 702"/>
                <a:gd name="T75" fmla="*/ 520 h 558"/>
                <a:gd name="T76" fmla="*/ 347 w 702"/>
                <a:gd name="T77" fmla="*/ 520 h 558"/>
                <a:gd name="T78" fmla="*/ 331 w 702"/>
                <a:gd name="T79" fmla="*/ 515 h 558"/>
                <a:gd name="T80" fmla="*/ 326 w 702"/>
                <a:gd name="T81" fmla="*/ 499 h 558"/>
                <a:gd name="T82" fmla="*/ 309 w 702"/>
                <a:gd name="T83" fmla="*/ 475 h 558"/>
                <a:gd name="T84" fmla="*/ 267 w 702"/>
                <a:gd name="T85" fmla="*/ 466 h 558"/>
                <a:gd name="T86" fmla="*/ 239 w 702"/>
                <a:gd name="T87" fmla="*/ 449 h 558"/>
                <a:gd name="T88" fmla="*/ 250 w 702"/>
                <a:gd name="T89" fmla="*/ 433 h 558"/>
                <a:gd name="T90" fmla="*/ 196 w 702"/>
                <a:gd name="T91" fmla="*/ 425 h 558"/>
                <a:gd name="T92" fmla="*/ 170 w 702"/>
                <a:gd name="T93" fmla="*/ 458 h 558"/>
                <a:gd name="T94" fmla="*/ 158 w 702"/>
                <a:gd name="T95" fmla="*/ 409 h 558"/>
                <a:gd name="T96" fmla="*/ 142 w 702"/>
                <a:gd name="T97" fmla="*/ 40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2" h="558">
                  <a:moveTo>
                    <a:pt x="142" y="404"/>
                  </a:moveTo>
                  <a:lnTo>
                    <a:pt x="87" y="392"/>
                  </a:lnTo>
                  <a:lnTo>
                    <a:pt x="71" y="371"/>
                  </a:lnTo>
                  <a:lnTo>
                    <a:pt x="54" y="371"/>
                  </a:lnTo>
                  <a:lnTo>
                    <a:pt x="54" y="388"/>
                  </a:lnTo>
                  <a:lnTo>
                    <a:pt x="50" y="388"/>
                  </a:lnTo>
                  <a:lnTo>
                    <a:pt x="61" y="350"/>
                  </a:lnTo>
                  <a:lnTo>
                    <a:pt x="54" y="321"/>
                  </a:lnTo>
                  <a:lnTo>
                    <a:pt x="40" y="321"/>
                  </a:lnTo>
                  <a:lnTo>
                    <a:pt x="40" y="310"/>
                  </a:lnTo>
                  <a:lnTo>
                    <a:pt x="33" y="293"/>
                  </a:lnTo>
                  <a:lnTo>
                    <a:pt x="40" y="265"/>
                  </a:lnTo>
                  <a:lnTo>
                    <a:pt x="40" y="255"/>
                  </a:lnTo>
                  <a:lnTo>
                    <a:pt x="24" y="239"/>
                  </a:lnTo>
                  <a:lnTo>
                    <a:pt x="33" y="222"/>
                  </a:lnTo>
                  <a:lnTo>
                    <a:pt x="0" y="189"/>
                  </a:lnTo>
                  <a:lnTo>
                    <a:pt x="0" y="182"/>
                  </a:lnTo>
                  <a:lnTo>
                    <a:pt x="16" y="166"/>
                  </a:lnTo>
                  <a:lnTo>
                    <a:pt x="16" y="144"/>
                  </a:lnTo>
                  <a:lnTo>
                    <a:pt x="7" y="111"/>
                  </a:lnTo>
                  <a:lnTo>
                    <a:pt x="24" y="111"/>
                  </a:lnTo>
                  <a:lnTo>
                    <a:pt x="33" y="99"/>
                  </a:lnTo>
                  <a:lnTo>
                    <a:pt x="0" y="95"/>
                  </a:lnTo>
                  <a:lnTo>
                    <a:pt x="0" y="90"/>
                  </a:lnTo>
                  <a:lnTo>
                    <a:pt x="142" y="57"/>
                  </a:lnTo>
                  <a:lnTo>
                    <a:pt x="163" y="24"/>
                  </a:lnTo>
                  <a:lnTo>
                    <a:pt x="267" y="0"/>
                  </a:lnTo>
                  <a:lnTo>
                    <a:pt x="293" y="0"/>
                  </a:lnTo>
                  <a:lnTo>
                    <a:pt x="321" y="17"/>
                  </a:lnTo>
                  <a:lnTo>
                    <a:pt x="326" y="24"/>
                  </a:lnTo>
                  <a:lnTo>
                    <a:pt x="293" y="7"/>
                  </a:lnTo>
                  <a:lnTo>
                    <a:pt x="309" y="40"/>
                  </a:lnTo>
                  <a:lnTo>
                    <a:pt x="326" y="45"/>
                  </a:lnTo>
                  <a:lnTo>
                    <a:pt x="380" y="33"/>
                  </a:lnTo>
                  <a:lnTo>
                    <a:pt x="392" y="40"/>
                  </a:lnTo>
                  <a:lnTo>
                    <a:pt x="359" y="45"/>
                  </a:lnTo>
                  <a:lnTo>
                    <a:pt x="364" y="57"/>
                  </a:lnTo>
                  <a:lnTo>
                    <a:pt x="397" y="40"/>
                  </a:lnTo>
                  <a:lnTo>
                    <a:pt x="510" y="45"/>
                  </a:lnTo>
                  <a:lnTo>
                    <a:pt x="609" y="45"/>
                  </a:lnTo>
                  <a:lnTo>
                    <a:pt x="619" y="40"/>
                  </a:lnTo>
                  <a:lnTo>
                    <a:pt x="647" y="57"/>
                  </a:lnTo>
                  <a:lnTo>
                    <a:pt x="652" y="73"/>
                  </a:lnTo>
                  <a:lnTo>
                    <a:pt x="664" y="90"/>
                  </a:lnTo>
                  <a:lnTo>
                    <a:pt x="690" y="173"/>
                  </a:lnTo>
                  <a:lnTo>
                    <a:pt x="690" y="206"/>
                  </a:lnTo>
                  <a:lnTo>
                    <a:pt x="652" y="227"/>
                  </a:lnTo>
                  <a:lnTo>
                    <a:pt x="635" y="244"/>
                  </a:lnTo>
                  <a:lnTo>
                    <a:pt x="668" y="265"/>
                  </a:lnTo>
                  <a:lnTo>
                    <a:pt x="664" y="310"/>
                  </a:lnTo>
                  <a:lnTo>
                    <a:pt x="668" y="321"/>
                  </a:lnTo>
                  <a:lnTo>
                    <a:pt x="673" y="350"/>
                  </a:lnTo>
                  <a:lnTo>
                    <a:pt x="702" y="388"/>
                  </a:lnTo>
                  <a:lnTo>
                    <a:pt x="690" y="388"/>
                  </a:lnTo>
                  <a:lnTo>
                    <a:pt x="702" y="409"/>
                  </a:lnTo>
                  <a:lnTo>
                    <a:pt x="690" y="425"/>
                  </a:lnTo>
                  <a:lnTo>
                    <a:pt x="673" y="425"/>
                  </a:lnTo>
                  <a:lnTo>
                    <a:pt x="647" y="458"/>
                  </a:lnTo>
                  <a:lnTo>
                    <a:pt x="598" y="503"/>
                  </a:lnTo>
                  <a:lnTo>
                    <a:pt x="609" y="532"/>
                  </a:lnTo>
                  <a:lnTo>
                    <a:pt x="598" y="541"/>
                  </a:lnTo>
                  <a:lnTo>
                    <a:pt x="614" y="553"/>
                  </a:lnTo>
                  <a:lnTo>
                    <a:pt x="614" y="558"/>
                  </a:lnTo>
                  <a:lnTo>
                    <a:pt x="593" y="553"/>
                  </a:lnTo>
                  <a:lnTo>
                    <a:pt x="555" y="536"/>
                  </a:lnTo>
                  <a:lnTo>
                    <a:pt x="555" y="532"/>
                  </a:lnTo>
                  <a:lnTo>
                    <a:pt x="527" y="520"/>
                  </a:lnTo>
                  <a:lnTo>
                    <a:pt x="489" y="520"/>
                  </a:lnTo>
                  <a:lnTo>
                    <a:pt x="472" y="532"/>
                  </a:lnTo>
                  <a:lnTo>
                    <a:pt x="468" y="520"/>
                  </a:lnTo>
                  <a:lnTo>
                    <a:pt x="435" y="520"/>
                  </a:lnTo>
                  <a:lnTo>
                    <a:pt x="418" y="532"/>
                  </a:lnTo>
                  <a:lnTo>
                    <a:pt x="413" y="541"/>
                  </a:lnTo>
                  <a:lnTo>
                    <a:pt x="397" y="536"/>
                  </a:lnTo>
                  <a:lnTo>
                    <a:pt x="397" y="520"/>
                  </a:lnTo>
                  <a:lnTo>
                    <a:pt x="392" y="520"/>
                  </a:lnTo>
                  <a:lnTo>
                    <a:pt x="376" y="503"/>
                  </a:lnTo>
                  <a:lnTo>
                    <a:pt x="347" y="520"/>
                  </a:lnTo>
                  <a:lnTo>
                    <a:pt x="342" y="520"/>
                  </a:lnTo>
                  <a:lnTo>
                    <a:pt x="331" y="515"/>
                  </a:lnTo>
                  <a:lnTo>
                    <a:pt x="326" y="515"/>
                  </a:lnTo>
                  <a:lnTo>
                    <a:pt x="326" y="499"/>
                  </a:lnTo>
                  <a:lnTo>
                    <a:pt x="309" y="487"/>
                  </a:lnTo>
                  <a:lnTo>
                    <a:pt x="309" y="475"/>
                  </a:lnTo>
                  <a:lnTo>
                    <a:pt x="272" y="458"/>
                  </a:lnTo>
                  <a:lnTo>
                    <a:pt x="267" y="466"/>
                  </a:lnTo>
                  <a:lnTo>
                    <a:pt x="250" y="458"/>
                  </a:lnTo>
                  <a:lnTo>
                    <a:pt x="239" y="449"/>
                  </a:lnTo>
                  <a:lnTo>
                    <a:pt x="250" y="442"/>
                  </a:lnTo>
                  <a:lnTo>
                    <a:pt x="250" y="433"/>
                  </a:lnTo>
                  <a:lnTo>
                    <a:pt x="224" y="442"/>
                  </a:lnTo>
                  <a:lnTo>
                    <a:pt x="196" y="425"/>
                  </a:lnTo>
                  <a:lnTo>
                    <a:pt x="201" y="442"/>
                  </a:lnTo>
                  <a:lnTo>
                    <a:pt x="170" y="458"/>
                  </a:lnTo>
                  <a:lnTo>
                    <a:pt x="142" y="425"/>
                  </a:lnTo>
                  <a:lnTo>
                    <a:pt x="158" y="409"/>
                  </a:lnTo>
                  <a:lnTo>
                    <a:pt x="142" y="404"/>
                  </a:lnTo>
                  <a:lnTo>
                    <a:pt x="142" y="404"/>
                  </a:lnTo>
                  <a:lnTo>
                    <a:pt x="142" y="404"/>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2" name="Freeform 533">
              <a:extLst>
                <a:ext uri="{FF2B5EF4-FFF2-40B4-BE49-F238E27FC236}">
                  <a16:creationId xmlns:a16="http://schemas.microsoft.com/office/drawing/2014/main" id="{E66736F1-4AA5-4F53-A157-BF489312DE55}"/>
                </a:ext>
              </a:extLst>
            </p:cNvPr>
            <p:cNvSpPr>
              <a:spLocks noEditPoints="1"/>
            </p:cNvSpPr>
            <p:nvPr/>
          </p:nvSpPr>
          <p:spPr bwMode="gray">
            <a:xfrm>
              <a:off x="11837990" y="3887262"/>
              <a:ext cx="134519" cy="55640"/>
            </a:xfrm>
            <a:custGeom>
              <a:avLst/>
              <a:gdLst>
                <a:gd name="T0" fmla="*/ 4 w 411"/>
                <a:gd name="T1" fmla="*/ 94 h 170"/>
                <a:gd name="T2" fmla="*/ 16 w 411"/>
                <a:gd name="T3" fmla="*/ 78 h 170"/>
                <a:gd name="T4" fmla="*/ 21 w 411"/>
                <a:gd name="T5" fmla="*/ 45 h 170"/>
                <a:gd name="T6" fmla="*/ 4 w 411"/>
                <a:gd name="T7" fmla="*/ 5 h 170"/>
                <a:gd name="T8" fmla="*/ 33 w 411"/>
                <a:gd name="T9" fmla="*/ 5 h 170"/>
                <a:gd name="T10" fmla="*/ 42 w 411"/>
                <a:gd name="T11" fmla="*/ 16 h 170"/>
                <a:gd name="T12" fmla="*/ 87 w 411"/>
                <a:gd name="T13" fmla="*/ 45 h 170"/>
                <a:gd name="T14" fmla="*/ 108 w 411"/>
                <a:gd name="T15" fmla="*/ 54 h 170"/>
                <a:gd name="T16" fmla="*/ 205 w 411"/>
                <a:gd name="T17" fmla="*/ 28 h 170"/>
                <a:gd name="T18" fmla="*/ 286 w 411"/>
                <a:gd name="T19" fmla="*/ 5 h 170"/>
                <a:gd name="T20" fmla="*/ 314 w 411"/>
                <a:gd name="T21" fmla="*/ 16 h 170"/>
                <a:gd name="T22" fmla="*/ 385 w 411"/>
                <a:gd name="T23" fmla="*/ 61 h 170"/>
                <a:gd name="T24" fmla="*/ 394 w 411"/>
                <a:gd name="T25" fmla="*/ 78 h 170"/>
                <a:gd name="T26" fmla="*/ 411 w 411"/>
                <a:gd name="T27" fmla="*/ 116 h 170"/>
                <a:gd name="T28" fmla="*/ 401 w 411"/>
                <a:gd name="T29" fmla="*/ 137 h 170"/>
                <a:gd name="T30" fmla="*/ 368 w 411"/>
                <a:gd name="T31" fmla="*/ 132 h 170"/>
                <a:gd name="T32" fmla="*/ 368 w 411"/>
                <a:gd name="T33" fmla="*/ 153 h 170"/>
                <a:gd name="T34" fmla="*/ 340 w 411"/>
                <a:gd name="T35" fmla="*/ 149 h 170"/>
                <a:gd name="T36" fmla="*/ 340 w 411"/>
                <a:gd name="T37" fmla="*/ 111 h 170"/>
                <a:gd name="T38" fmla="*/ 347 w 411"/>
                <a:gd name="T39" fmla="*/ 82 h 170"/>
                <a:gd name="T40" fmla="*/ 368 w 411"/>
                <a:gd name="T41" fmla="*/ 99 h 170"/>
                <a:gd name="T42" fmla="*/ 347 w 411"/>
                <a:gd name="T43" fmla="*/ 82 h 170"/>
                <a:gd name="T44" fmla="*/ 314 w 411"/>
                <a:gd name="T45" fmla="*/ 71 h 170"/>
                <a:gd name="T46" fmla="*/ 286 w 411"/>
                <a:gd name="T47" fmla="*/ 28 h 170"/>
                <a:gd name="T48" fmla="*/ 248 w 411"/>
                <a:gd name="T49" fmla="*/ 45 h 170"/>
                <a:gd name="T50" fmla="*/ 231 w 411"/>
                <a:gd name="T51" fmla="*/ 54 h 170"/>
                <a:gd name="T52" fmla="*/ 217 w 411"/>
                <a:gd name="T53" fmla="*/ 82 h 170"/>
                <a:gd name="T54" fmla="*/ 184 w 411"/>
                <a:gd name="T55" fmla="*/ 111 h 170"/>
                <a:gd name="T56" fmla="*/ 193 w 411"/>
                <a:gd name="T57" fmla="*/ 153 h 170"/>
                <a:gd name="T58" fmla="*/ 146 w 411"/>
                <a:gd name="T59" fmla="*/ 170 h 170"/>
                <a:gd name="T60" fmla="*/ 139 w 411"/>
                <a:gd name="T61" fmla="*/ 127 h 170"/>
                <a:gd name="T62" fmla="*/ 130 w 411"/>
                <a:gd name="T63" fmla="*/ 137 h 170"/>
                <a:gd name="T64" fmla="*/ 92 w 411"/>
                <a:gd name="T65" fmla="*/ 99 h 170"/>
                <a:gd name="T66" fmla="*/ 54 w 411"/>
                <a:gd name="T67" fmla="*/ 94 h 170"/>
                <a:gd name="T68" fmla="*/ 16 w 411"/>
                <a:gd name="T69" fmla="*/ 94 h 170"/>
                <a:gd name="T70" fmla="*/ 4 w 411"/>
                <a:gd name="T71" fmla="*/ 111 h 170"/>
                <a:gd name="T72" fmla="*/ 54 w 411"/>
                <a:gd name="T73" fmla="*/ 16 h 170"/>
                <a:gd name="T74" fmla="*/ 54 w 411"/>
                <a:gd name="T75" fmla="*/ 16 h 170"/>
                <a:gd name="T76" fmla="*/ 54 w 411"/>
                <a:gd name="T77" fmla="*/ 16 h 170"/>
                <a:gd name="T78" fmla="*/ 293 w 411"/>
                <a:gd name="T79" fmla="*/ 82 h 170"/>
                <a:gd name="T80" fmla="*/ 293 w 411"/>
                <a:gd name="T81" fmla="*/ 94 h 170"/>
                <a:gd name="T82" fmla="*/ 293 w 411"/>
                <a:gd name="T83" fmla="*/ 82 h 170"/>
                <a:gd name="T84" fmla="*/ 293 w 411"/>
                <a:gd name="T85" fmla="*/ 82 h 170"/>
                <a:gd name="T86" fmla="*/ 92 w 411"/>
                <a:gd name="T87" fmla="*/ 153 h 170"/>
                <a:gd name="T88" fmla="*/ 87 w 411"/>
                <a:gd name="T89" fmla="*/ 153 h 170"/>
                <a:gd name="T90" fmla="*/ 92 w 411"/>
                <a:gd name="T91" fmla="*/ 137 h 170"/>
                <a:gd name="T92" fmla="*/ 92 w 411"/>
                <a:gd name="T9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1" h="170">
                  <a:moveTo>
                    <a:pt x="4" y="111"/>
                  </a:moveTo>
                  <a:lnTo>
                    <a:pt x="4" y="94"/>
                  </a:lnTo>
                  <a:lnTo>
                    <a:pt x="0" y="94"/>
                  </a:lnTo>
                  <a:lnTo>
                    <a:pt x="16" y="78"/>
                  </a:lnTo>
                  <a:lnTo>
                    <a:pt x="4" y="61"/>
                  </a:lnTo>
                  <a:lnTo>
                    <a:pt x="21" y="45"/>
                  </a:lnTo>
                  <a:lnTo>
                    <a:pt x="4" y="38"/>
                  </a:lnTo>
                  <a:lnTo>
                    <a:pt x="4" y="5"/>
                  </a:lnTo>
                  <a:lnTo>
                    <a:pt x="16" y="0"/>
                  </a:lnTo>
                  <a:lnTo>
                    <a:pt x="33" y="5"/>
                  </a:lnTo>
                  <a:lnTo>
                    <a:pt x="33" y="0"/>
                  </a:lnTo>
                  <a:lnTo>
                    <a:pt x="42" y="16"/>
                  </a:lnTo>
                  <a:lnTo>
                    <a:pt x="54" y="45"/>
                  </a:lnTo>
                  <a:lnTo>
                    <a:pt x="87" y="45"/>
                  </a:lnTo>
                  <a:lnTo>
                    <a:pt x="87" y="28"/>
                  </a:lnTo>
                  <a:lnTo>
                    <a:pt x="108" y="54"/>
                  </a:lnTo>
                  <a:lnTo>
                    <a:pt x="130" y="61"/>
                  </a:lnTo>
                  <a:lnTo>
                    <a:pt x="205" y="28"/>
                  </a:lnTo>
                  <a:lnTo>
                    <a:pt x="238" y="0"/>
                  </a:lnTo>
                  <a:lnTo>
                    <a:pt x="286" y="5"/>
                  </a:lnTo>
                  <a:lnTo>
                    <a:pt x="276" y="16"/>
                  </a:lnTo>
                  <a:lnTo>
                    <a:pt x="314" y="16"/>
                  </a:lnTo>
                  <a:lnTo>
                    <a:pt x="356" y="21"/>
                  </a:lnTo>
                  <a:lnTo>
                    <a:pt x="385" y="61"/>
                  </a:lnTo>
                  <a:lnTo>
                    <a:pt x="401" y="71"/>
                  </a:lnTo>
                  <a:lnTo>
                    <a:pt x="394" y="78"/>
                  </a:lnTo>
                  <a:lnTo>
                    <a:pt x="411" y="111"/>
                  </a:lnTo>
                  <a:lnTo>
                    <a:pt x="411" y="116"/>
                  </a:lnTo>
                  <a:lnTo>
                    <a:pt x="401" y="132"/>
                  </a:lnTo>
                  <a:lnTo>
                    <a:pt x="401" y="137"/>
                  </a:lnTo>
                  <a:lnTo>
                    <a:pt x="385" y="149"/>
                  </a:lnTo>
                  <a:lnTo>
                    <a:pt x="368" y="132"/>
                  </a:lnTo>
                  <a:lnTo>
                    <a:pt x="368" y="149"/>
                  </a:lnTo>
                  <a:lnTo>
                    <a:pt x="368" y="153"/>
                  </a:lnTo>
                  <a:lnTo>
                    <a:pt x="364" y="170"/>
                  </a:lnTo>
                  <a:lnTo>
                    <a:pt x="340" y="149"/>
                  </a:lnTo>
                  <a:lnTo>
                    <a:pt x="323" y="111"/>
                  </a:lnTo>
                  <a:lnTo>
                    <a:pt x="340" y="111"/>
                  </a:lnTo>
                  <a:lnTo>
                    <a:pt x="330" y="94"/>
                  </a:lnTo>
                  <a:lnTo>
                    <a:pt x="347" y="82"/>
                  </a:lnTo>
                  <a:lnTo>
                    <a:pt x="356" y="94"/>
                  </a:lnTo>
                  <a:lnTo>
                    <a:pt x="368" y="99"/>
                  </a:lnTo>
                  <a:lnTo>
                    <a:pt x="356" y="94"/>
                  </a:lnTo>
                  <a:lnTo>
                    <a:pt x="347" y="82"/>
                  </a:lnTo>
                  <a:lnTo>
                    <a:pt x="323" y="94"/>
                  </a:lnTo>
                  <a:lnTo>
                    <a:pt x="314" y="71"/>
                  </a:lnTo>
                  <a:lnTo>
                    <a:pt x="276" y="45"/>
                  </a:lnTo>
                  <a:lnTo>
                    <a:pt x="286" y="28"/>
                  </a:lnTo>
                  <a:lnTo>
                    <a:pt x="276" y="38"/>
                  </a:lnTo>
                  <a:lnTo>
                    <a:pt x="248" y="45"/>
                  </a:lnTo>
                  <a:lnTo>
                    <a:pt x="248" y="45"/>
                  </a:lnTo>
                  <a:lnTo>
                    <a:pt x="231" y="54"/>
                  </a:lnTo>
                  <a:lnTo>
                    <a:pt x="231" y="71"/>
                  </a:lnTo>
                  <a:lnTo>
                    <a:pt x="217" y="82"/>
                  </a:lnTo>
                  <a:lnTo>
                    <a:pt x="179" y="99"/>
                  </a:lnTo>
                  <a:lnTo>
                    <a:pt x="184" y="111"/>
                  </a:lnTo>
                  <a:lnTo>
                    <a:pt x="217" y="149"/>
                  </a:lnTo>
                  <a:lnTo>
                    <a:pt x="193" y="153"/>
                  </a:lnTo>
                  <a:lnTo>
                    <a:pt x="184" y="170"/>
                  </a:lnTo>
                  <a:lnTo>
                    <a:pt x="146" y="170"/>
                  </a:lnTo>
                  <a:lnTo>
                    <a:pt x="151" y="165"/>
                  </a:lnTo>
                  <a:lnTo>
                    <a:pt x="139" y="127"/>
                  </a:lnTo>
                  <a:lnTo>
                    <a:pt x="130" y="127"/>
                  </a:lnTo>
                  <a:lnTo>
                    <a:pt x="130" y="137"/>
                  </a:lnTo>
                  <a:lnTo>
                    <a:pt x="108" y="137"/>
                  </a:lnTo>
                  <a:lnTo>
                    <a:pt x="92" y="99"/>
                  </a:lnTo>
                  <a:lnTo>
                    <a:pt x="59" y="99"/>
                  </a:lnTo>
                  <a:lnTo>
                    <a:pt x="54" y="94"/>
                  </a:lnTo>
                  <a:lnTo>
                    <a:pt x="21" y="94"/>
                  </a:lnTo>
                  <a:lnTo>
                    <a:pt x="16" y="94"/>
                  </a:lnTo>
                  <a:lnTo>
                    <a:pt x="4" y="111"/>
                  </a:lnTo>
                  <a:lnTo>
                    <a:pt x="4" y="111"/>
                  </a:lnTo>
                  <a:lnTo>
                    <a:pt x="4" y="111"/>
                  </a:lnTo>
                  <a:close/>
                  <a:moveTo>
                    <a:pt x="54" y="16"/>
                  </a:moveTo>
                  <a:lnTo>
                    <a:pt x="54" y="21"/>
                  </a:lnTo>
                  <a:lnTo>
                    <a:pt x="54" y="16"/>
                  </a:lnTo>
                  <a:lnTo>
                    <a:pt x="54" y="16"/>
                  </a:lnTo>
                  <a:lnTo>
                    <a:pt x="54" y="16"/>
                  </a:lnTo>
                  <a:lnTo>
                    <a:pt x="54" y="16"/>
                  </a:lnTo>
                  <a:close/>
                  <a:moveTo>
                    <a:pt x="293" y="82"/>
                  </a:moveTo>
                  <a:lnTo>
                    <a:pt x="293" y="94"/>
                  </a:lnTo>
                  <a:lnTo>
                    <a:pt x="293" y="94"/>
                  </a:lnTo>
                  <a:lnTo>
                    <a:pt x="286" y="82"/>
                  </a:lnTo>
                  <a:lnTo>
                    <a:pt x="293" y="82"/>
                  </a:lnTo>
                  <a:lnTo>
                    <a:pt x="293" y="82"/>
                  </a:lnTo>
                  <a:lnTo>
                    <a:pt x="293" y="82"/>
                  </a:lnTo>
                  <a:close/>
                  <a:moveTo>
                    <a:pt x="92" y="137"/>
                  </a:moveTo>
                  <a:lnTo>
                    <a:pt x="92" y="153"/>
                  </a:lnTo>
                  <a:lnTo>
                    <a:pt x="97" y="165"/>
                  </a:lnTo>
                  <a:lnTo>
                    <a:pt x="87" y="153"/>
                  </a:lnTo>
                  <a:lnTo>
                    <a:pt x="87" y="149"/>
                  </a:lnTo>
                  <a:lnTo>
                    <a:pt x="92" y="137"/>
                  </a:lnTo>
                  <a:lnTo>
                    <a:pt x="92" y="137"/>
                  </a:lnTo>
                  <a:lnTo>
                    <a:pt x="92" y="13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3" name="Freeform 534">
              <a:extLst>
                <a:ext uri="{FF2B5EF4-FFF2-40B4-BE49-F238E27FC236}">
                  <a16:creationId xmlns:a16="http://schemas.microsoft.com/office/drawing/2014/main" id="{00CF3EF1-1BE8-4319-9431-37E8128B1BAF}"/>
                </a:ext>
              </a:extLst>
            </p:cNvPr>
            <p:cNvSpPr>
              <a:spLocks noEditPoints="1"/>
            </p:cNvSpPr>
            <p:nvPr/>
          </p:nvSpPr>
          <p:spPr bwMode="gray">
            <a:xfrm>
              <a:off x="13027713" y="3056910"/>
              <a:ext cx="575387" cy="258237"/>
            </a:xfrm>
            <a:custGeom>
              <a:avLst/>
              <a:gdLst>
                <a:gd name="T0" fmla="*/ 1613 w 1758"/>
                <a:gd name="T1" fmla="*/ 0 h 789"/>
                <a:gd name="T2" fmla="*/ 1613 w 1758"/>
                <a:gd name="T3" fmla="*/ 28 h 789"/>
                <a:gd name="T4" fmla="*/ 1651 w 1758"/>
                <a:gd name="T5" fmla="*/ 28 h 789"/>
                <a:gd name="T6" fmla="*/ 1689 w 1758"/>
                <a:gd name="T7" fmla="*/ 28 h 789"/>
                <a:gd name="T8" fmla="*/ 1727 w 1758"/>
                <a:gd name="T9" fmla="*/ 16 h 789"/>
                <a:gd name="T10" fmla="*/ 1758 w 1758"/>
                <a:gd name="T11" fmla="*/ 49 h 789"/>
                <a:gd name="T12" fmla="*/ 1703 w 1758"/>
                <a:gd name="T13" fmla="*/ 99 h 789"/>
                <a:gd name="T14" fmla="*/ 1710 w 1758"/>
                <a:gd name="T15" fmla="*/ 144 h 789"/>
                <a:gd name="T16" fmla="*/ 1703 w 1758"/>
                <a:gd name="T17" fmla="*/ 165 h 789"/>
                <a:gd name="T18" fmla="*/ 1710 w 1758"/>
                <a:gd name="T19" fmla="*/ 182 h 789"/>
                <a:gd name="T20" fmla="*/ 1665 w 1758"/>
                <a:gd name="T21" fmla="*/ 215 h 789"/>
                <a:gd name="T22" fmla="*/ 1703 w 1758"/>
                <a:gd name="T23" fmla="*/ 272 h 789"/>
                <a:gd name="T24" fmla="*/ 1673 w 1758"/>
                <a:gd name="T25" fmla="*/ 321 h 789"/>
                <a:gd name="T26" fmla="*/ 1703 w 1758"/>
                <a:gd name="T27" fmla="*/ 342 h 789"/>
                <a:gd name="T28" fmla="*/ 1677 w 1758"/>
                <a:gd name="T29" fmla="*/ 359 h 789"/>
                <a:gd name="T30" fmla="*/ 1665 w 1758"/>
                <a:gd name="T31" fmla="*/ 387 h 789"/>
                <a:gd name="T32" fmla="*/ 1673 w 1758"/>
                <a:gd name="T33" fmla="*/ 420 h 789"/>
                <a:gd name="T34" fmla="*/ 1580 w 1758"/>
                <a:gd name="T35" fmla="*/ 432 h 789"/>
                <a:gd name="T36" fmla="*/ 1569 w 1758"/>
                <a:gd name="T37" fmla="*/ 404 h 789"/>
                <a:gd name="T38" fmla="*/ 1580 w 1758"/>
                <a:gd name="T39" fmla="*/ 321 h 789"/>
                <a:gd name="T40" fmla="*/ 1547 w 1758"/>
                <a:gd name="T41" fmla="*/ 321 h 789"/>
                <a:gd name="T42" fmla="*/ 1547 w 1758"/>
                <a:gd name="T43" fmla="*/ 305 h 789"/>
                <a:gd name="T44" fmla="*/ 1559 w 1758"/>
                <a:gd name="T45" fmla="*/ 276 h 789"/>
                <a:gd name="T46" fmla="*/ 1526 w 1758"/>
                <a:gd name="T47" fmla="*/ 293 h 789"/>
                <a:gd name="T48" fmla="*/ 1547 w 1758"/>
                <a:gd name="T49" fmla="*/ 222 h 789"/>
                <a:gd name="T50" fmla="*/ 1580 w 1758"/>
                <a:gd name="T51" fmla="*/ 127 h 789"/>
                <a:gd name="T52" fmla="*/ 1580 w 1758"/>
                <a:gd name="T53" fmla="*/ 127 h 789"/>
                <a:gd name="T54" fmla="*/ 1564 w 1758"/>
                <a:gd name="T55" fmla="*/ 33 h 789"/>
                <a:gd name="T56" fmla="*/ 1569 w 1758"/>
                <a:gd name="T57" fmla="*/ 16 h 789"/>
                <a:gd name="T58" fmla="*/ 0 w 1758"/>
                <a:gd name="T59" fmla="*/ 238 h 789"/>
                <a:gd name="T60" fmla="*/ 0 w 1758"/>
                <a:gd name="T61" fmla="*/ 231 h 789"/>
                <a:gd name="T62" fmla="*/ 0 w 1758"/>
                <a:gd name="T63" fmla="*/ 238 h 789"/>
                <a:gd name="T64" fmla="*/ 0 w 1758"/>
                <a:gd name="T65" fmla="*/ 238 h 789"/>
                <a:gd name="T66" fmla="*/ 269 w 1758"/>
                <a:gd name="T67" fmla="*/ 305 h 789"/>
                <a:gd name="T68" fmla="*/ 291 w 1758"/>
                <a:gd name="T69" fmla="*/ 293 h 789"/>
                <a:gd name="T70" fmla="*/ 286 w 1758"/>
                <a:gd name="T71" fmla="*/ 305 h 789"/>
                <a:gd name="T72" fmla="*/ 286 w 1758"/>
                <a:gd name="T73" fmla="*/ 305 h 789"/>
                <a:gd name="T74" fmla="*/ 194 w 1758"/>
                <a:gd name="T75" fmla="*/ 321 h 789"/>
                <a:gd name="T76" fmla="*/ 199 w 1758"/>
                <a:gd name="T77" fmla="*/ 309 h 789"/>
                <a:gd name="T78" fmla="*/ 203 w 1758"/>
                <a:gd name="T79" fmla="*/ 326 h 789"/>
                <a:gd name="T80" fmla="*/ 203 w 1758"/>
                <a:gd name="T81" fmla="*/ 326 h 789"/>
                <a:gd name="T82" fmla="*/ 383 w 1758"/>
                <a:gd name="T83" fmla="*/ 375 h 789"/>
                <a:gd name="T84" fmla="*/ 421 w 1758"/>
                <a:gd name="T85" fmla="*/ 364 h 789"/>
                <a:gd name="T86" fmla="*/ 409 w 1758"/>
                <a:gd name="T87" fmla="*/ 380 h 789"/>
                <a:gd name="T88" fmla="*/ 409 w 1758"/>
                <a:gd name="T89" fmla="*/ 380 h 789"/>
                <a:gd name="T90" fmla="*/ 421 w 1758"/>
                <a:gd name="T91" fmla="*/ 437 h 789"/>
                <a:gd name="T92" fmla="*/ 437 w 1758"/>
                <a:gd name="T93" fmla="*/ 442 h 789"/>
                <a:gd name="T94" fmla="*/ 437 w 1758"/>
                <a:gd name="T95" fmla="*/ 442 h 789"/>
                <a:gd name="T96" fmla="*/ 976 w 1758"/>
                <a:gd name="T97" fmla="*/ 772 h 789"/>
                <a:gd name="T98" fmla="*/ 1018 w 1758"/>
                <a:gd name="T99" fmla="*/ 784 h 789"/>
                <a:gd name="T100" fmla="*/ 1002 w 1758"/>
                <a:gd name="T101" fmla="*/ 789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58" h="789">
                  <a:moveTo>
                    <a:pt x="1569" y="16"/>
                  </a:moveTo>
                  <a:lnTo>
                    <a:pt x="1613" y="0"/>
                  </a:lnTo>
                  <a:lnTo>
                    <a:pt x="1623" y="12"/>
                  </a:lnTo>
                  <a:lnTo>
                    <a:pt x="1613" y="28"/>
                  </a:lnTo>
                  <a:lnTo>
                    <a:pt x="1618" y="33"/>
                  </a:lnTo>
                  <a:lnTo>
                    <a:pt x="1651" y="28"/>
                  </a:lnTo>
                  <a:lnTo>
                    <a:pt x="1673" y="33"/>
                  </a:lnTo>
                  <a:lnTo>
                    <a:pt x="1689" y="28"/>
                  </a:lnTo>
                  <a:lnTo>
                    <a:pt x="1689" y="16"/>
                  </a:lnTo>
                  <a:lnTo>
                    <a:pt x="1727" y="16"/>
                  </a:lnTo>
                  <a:lnTo>
                    <a:pt x="1732" y="45"/>
                  </a:lnTo>
                  <a:lnTo>
                    <a:pt x="1758" y="49"/>
                  </a:lnTo>
                  <a:lnTo>
                    <a:pt x="1741" y="73"/>
                  </a:lnTo>
                  <a:lnTo>
                    <a:pt x="1703" y="99"/>
                  </a:lnTo>
                  <a:lnTo>
                    <a:pt x="1710" y="111"/>
                  </a:lnTo>
                  <a:lnTo>
                    <a:pt x="1710" y="144"/>
                  </a:lnTo>
                  <a:lnTo>
                    <a:pt x="1710" y="160"/>
                  </a:lnTo>
                  <a:lnTo>
                    <a:pt x="1703" y="165"/>
                  </a:lnTo>
                  <a:lnTo>
                    <a:pt x="1694" y="177"/>
                  </a:lnTo>
                  <a:lnTo>
                    <a:pt x="1710" y="182"/>
                  </a:lnTo>
                  <a:lnTo>
                    <a:pt x="1694" y="215"/>
                  </a:lnTo>
                  <a:lnTo>
                    <a:pt x="1665" y="215"/>
                  </a:lnTo>
                  <a:lnTo>
                    <a:pt x="1677" y="255"/>
                  </a:lnTo>
                  <a:lnTo>
                    <a:pt x="1703" y="272"/>
                  </a:lnTo>
                  <a:lnTo>
                    <a:pt x="1677" y="293"/>
                  </a:lnTo>
                  <a:lnTo>
                    <a:pt x="1673" y="321"/>
                  </a:lnTo>
                  <a:lnTo>
                    <a:pt x="1694" y="342"/>
                  </a:lnTo>
                  <a:lnTo>
                    <a:pt x="1703" y="342"/>
                  </a:lnTo>
                  <a:lnTo>
                    <a:pt x="1694" y="347"/>
                  </a:lnTo>
                  <a:lnTo>
                    <a:pt x="1677" y="359"/>
                  </a:lnTo>
                  <a:lnTo>
                    <a:pt x="1665" y="380"/>
                  </a:lnTo>
                  <a:lnTo>
                    <a:pt x="1665" y="387"/>
                  </a:lnTo>
                  <a:lnTo>
                    <a:pt x="1665" y="420"/>
                  </a:lnTo>
                  <a:lnTo>
                    <a:pt x="1673" y="420"/>
                  </a:lnTo>
                  <a:lnTo>
                    <a:pt x="1635" y="437"/>
                  </a:lnTo>
                  <a:lnTo>
                    <a:pt x="1580" y="432"/>
                  </a:lnTo>
                  <a:lnTo>
                    <a:pt x="1559" y="437"/>
                  </a:lnTo>
                  <a:lnTo>
                    <a:pt x="1569" y="404"/>
                  </a:lnTo>
                  <a:lnTo>
                    <a:pt x="1569" y="326"/>
                  </a:lnTo>
                  <a:lnTo>
                    <a:pt x="1580" y="321"/>
                  </a:lnTo>
                  <a:lnTo>
                    <a:pt x="1569" y="309"/>
                  </a:lnTo>
                  <a:lnTo>
                    <a:pt x="1547" y="321"/>
                  </a:lnTo>
                  <a:lnTo>
                    <a:pt x="1543" y="305"/>
                  </a:lnTo>
                  <a:lnTo>
                    <a:pt x="1547" y="305"/>
                  </a:lnTo>
                  <a:lnTo>
                    <a:pt x="1564" y="293"/>
                  </a:lnTo>
                  <a:lnTo>
                    <a:pt x="1559" y="276"/>
                  </a:lnTo>
                  <a:lnTo>
                    <a:pt x="1547" y="293"/>
                  </a:lnTo>
                  <a:lnTo>
                    <a:pt x="1526" y="293"/>
                  </a:lnTo>
                  <a:lnTo>
                    <a:pt x="1531" y="238"/>
                  </a:lnTo>
                  <a:lnTo>
                    <a:pt x="1547" y="222"/>
                  </a:lnTo>
                  <a:lnTo>
                    <a:pt x="1569" y="139"/>
                  </a:lnTo>
                  <a:lnTo>
                    <a:pt x="1580" y="127"/>
                  </a:lnTo>
                  <a:lnTo>
                    <a:pt x="1580" y="123"/>
                  </a:lnTo>
                  <a:lnTo>
                    <a:pt x="1580" y="127"/>
                  </a:lnTo>
                  <a:lnTo>
                    <a:pt x="1580" y="99"/>
                  </a:lnTo>
                  <a:lnTo>
                    <a:pt x="1564" y="33"/>
                  </a:lnTo>
                  <a:lnTo>
                    <a:pt x="1569" y="16"/>
                  </a:lnTo>
                  <a:lnTo>
                    <a:pt x="1569" y="16"/>
                  </a:lnTo>
                  <a:lnTo>
                    <a:pt x="1569" y="16"/>
                  </a:lnTo>
                  <a:close/>
                  <a:moveTo>
                    <a:pt x="0" y="238"/>
                  </a:moveTo>
                  <a:lnTo>
                    <a:pt x="0" y="238"/>
                  </a:lnTo>
                  <a:lnTo>
                    <a:pt x="0" y="231"/>
                  </a:lnTo>
                  <a:lnTo>
                    <a:pt x="5" y="231"/>
                  </a:lnTo>
                  <a:lnTo>
                    <a:pt x="0" y="238"/>
                  </a:lnTo>
                  <a:lnTo>
                    <a:pt x="0" y="238"/>
                  </a:lnTo>
                  <a:lnTo>
                    <a:pt x="0" y="238"/>
                  </a:lnTo>
                  <a:close/>
                  <a:moveTo>
                    <a:pt x="286" y="305"/>
                  </a:moveTo>
                  <a:lnTo>
                    <a:pt x="269" y="305"/>
                  </a:lnTo>
                  <a:lnTo>
                    <a:pt x="269" y="293"/>
                  </a:lnTo>
                  <a:lnTo>
                    <a:pt x="291" y="293"/>
                  </a:lnTo>
                  <a:lnTo>
                    <a:pt x="291" y="293"/>
                  </a:lnTo>
                  <a:lnTo>
                    <a:pt x="286" y="305"/>
                  </a:lnTo>
                  <a:lnTo>
                    <a:pt x="286" y="305"/>
                  </a:lnTo>
                  <a:lnTo>
                    <a:pt x="286" y="305"/>
                  </a:lnTo>
                  <a:close/>
                  <a:moveTo>
                    <a:pt x="203" y="326"/>
                  </a:moveTo>
                  <a:lnTo>
                    <a:pt x="194" y="321"/>
                  </a:lnTo>
                  <a:lnTo>
                    <a:pt x="182" y="309"/>
                  </a:lnTo>
                  <a:lnTo>
                    <a:pt x="199" y="309"/>
                  </a:lnTo>
                  <a:lnTo>
                    <a:pt x="220" y="321"/>
                  </a:lnTo>
                  <a:lnTo>
                    <a:pt x="203" y="326"/>
                  </a:lnTo>
                  <a:lnTo>
                    <a:pt x="203" y="326"/>
                  </a:lnTo>
                  <a:lnTo>
                    <a:pt x="203" y="326"/>
                  </a:lnTo>
                  <a:close/>
                  <a:moveTo>
                    <a:pt x="409" y="380"/>
                  </a:moveTo>
                  <a:lnTo>
                    <a:pt x="383" y="375"/>
                  </a:lnTo>
                  <a:lnTo>
                    <a:pt x="376" y="364"/>
                  </a:lnTo>
                  <a:lnTo>
                    <a:pt x="421" y="364"/>
                  </a:lnTo>
                  <a:lnTo>
                    <a:pt x="421" y="375"/>
                  </a:lnTo>
                  <a:lnTo>
                    <a:pt x="409" y="380"/>
                  </a:lnTo>
                  <a:lnTo>
                    <a:pt x="409" y="380"/>
                  </a:lnTo>
                  <a:lnTo>
                    <a:pt x="409" y="380"/>
                  </a:lnTo>
                  <a:close/>
                  <a:moveTo>
                    <a:pt x="437" y="442"/>
                  </a:moveTo>
                  <a:lnTo>
                    <a:pt x="421" y="437"/>
                  </a:lnTo>
                  <a:lnTo>
                    <a:pt x="430" y="437"/>
                  </a:lnTo>
                  <a:lnTo>
                    <a:pt x="437" y="442"/>
                  </a:lnTo>
                  <a:lnTo>
                    <a:pt x="437" y="442"/>
                  </a:lnTo>
                  <a:lnTo>
                    <a:pt x="437" y="442"/>
                  </a:lnTo>
                  <a:close/>
                  <a:moveTo>
                    <a:pt x="1002" y="789"/>
                  </a:moveTo>
                  <a:lnTo>
                    <a:pt x="976" y="772"/>
                  </a:lnTo>
                  <a:lnTo>
                    <a:pt x="987" y="772"/>
                  </a:lnTo>
                  <a:lnTo>
                    <a:pt x="1018" y="784"/>
                  </a:lnTo>
                  <a:lnTo>
                    <a:pt x="1002" y="789"/>
                  </a:lnTo>
                  <a:lnTo>
                    <a:pt x="1002" y="789"/>
                  </a:lnTo>
                  <a:lnTo>
                    <a:pt x="1002" y="78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4" name="Freeform 535">
              <a:extLst>
                <a:ext uri="{FF2B5EF4-FFF2-40B4-BE49-F238E27FC236}">
                  <a16:creationId xmlns:a16="http://schemas.microsoft.com/office/drawing/2014/main" id="{5E712EEC-0743-4686-A1C9-BA0E66F9EF3B}"/>
                </a:ext>
              </a:extLst>
            </p:cNvPr>
            <p:cNvSpPr>
              <a:spLocks noEditPoints="1"/>
            </p:cNvSpPr>
            <p:nvPr/>
          </p:nvSpPr>
          <p:spPr bwMode="gray">
            <a:xfrm>
              <a:off x="16978511" y="4146808"/>
              <a:ext cx="345625" cy="242854"/>
            </a:xfrm>
            <a:custGeom>
              <a:avLst/>
              <a:gdLst>
                <a:gd name="T0" fmla="*/ 616 w 1056"/>
                <a:gd name="T1" fmla="*/ 17 h 742"/>
                <a:gd name="T2" fmla="*/ 394 w 1056"/>
                <a:gd name="T3" fmla="*/ 62 h 742"/>
                <a:gd name="T4" fmla="*/ 482 w 1056"/>
                <a:gd name="T5" fmla="*/ 71 h 742"/>
                <a:gd name="T6" fmla="*/ 666 w 1056"/>
                <a:gd name="T7" fmla="*/ 95 h 742"/>
                <a:gd name="T8" fmla="*/ 666 w 1056"/>
                <a:gd name="T9" fmla="*/ 95 h 742"/>
                <a:gd name="T10" fmla="*/ 860 w 1056"/>
                <a:gd name="T11" fmla="*/ 227 h 742"/>
                <a:gd name="T12" fmla="*/ 789 w 1056"/>
                <a:gd name="T13" fmla="*/ 149 h 742"/>
                <a:gd name="T14" fmla="*/ 768 w 1056"/>
                <a:gd name="T15" fmla="*/ 133 h 742"/>
                <a:gd name="T16" fmla="*/ 9 w 1056"/>
                <a:gd name="T17" fmla="*/ 393 h 742"/>
                <a:gd name="T18" fmla="*/ 118 w 1056"/>
                <a:gd name="T19" fmla="*/ 133 h 742"/>
                <a:gd name="T20" fmla="*/ 253 w 1056"/>
                <a:gd name="T21" fmla="*/ 189 h 742"/>
                <a:gd name="T22" fmla="*/ 340 w 1056"/>
                <a:gd name="T23" fmla="*/ 300 h 742"/>
                <a:gd name="T24" fmla="*/ 470 w 1056"/>
                <a:gd name="T25" fmla="*/ 388 h 742"/>
                <a:gd name="T26" fmla="*/ 482 w 1056"/>
                <a:gd name="T27" fmla="*/ 471 h 742"/>
                <a:gd name="T28" fmla="*/ 595 w 1056"/>
                <a:gd name="T29" fmla="*/ 560 h 742"/>
                <a:gd name="T30" fmla="*/ 616 w 1056"/>
                <a:gd name="T31" fmla="*/ 610 h 742"/>
                <a:gd name="T32" fmla="*/ 666 w 1056"/>
                <a:gd name="T33" fmla="*/ 648 h 742"/>
                <a:gd name="T34" fmla="*/ 616 w 1056"/>
                <a:gd name="T35" fmla="*/ 648 h 742"/>
                <a:gd name="T36" fmla="*/ 470 w 1056"/>
                <a:gd name="T37" fmla="*/ 626 h 742"/>
                <a:gd name="T38" fmla="*/ 399 w 1056"/>
                <a:gd name="T39" fmla="*/ 553 h 742"/>
                <a:gd name="T40" fmla="*/ 253 w 1056"/>
                <a:gd name="T41" fmla="*/ 449 h 742"/>
                <a:gd name="T42" fmla="*/ 238 w 1056"/>
                <a:gd name="T43" fmla="*/ 449 h 742"/>
                <a:gd name="T44" fmla="*/ 172 w 1056"/>
                <a:gd name="T45" fmla="*/ 471 h 742"/>
                <a:gd name="T46" fmla="*/ 101 w 1056"/>
                <a:gd name="T47" fmla="*/ 487 h 742"/>
                <a:gd name="T48" fmla="*/ 177 w 1056"/>
                <a:gd name="T49" fmla="*/ 537 h 742"/>
                <a:gd name="T50" fmla="*/ 47 w 1056"/>
                <a:gd name="T51" fmla="*/ 570 h 742"/>
                <a:gd name="T52" fmla="*/ 775 w 1056"/>
                <a:gd name="T53" fmla="*/ 100 h 742"/>
                <a:gd name="T54" fmla="*/ 697 w 1056"/>
                <a:gd name="T55" fmla="*/ 116 h 742"/>
                <a:gd name="T56" fmla="*/ 827 w 1056"/>
                <a:gd name="T57" fmla="*/ 133 h 742"/>
                <a:gd name="T58" fmla="*/ 897 w 1056"/>
                <a:gd name="T59" fmla="*/ 194 h 742"/>
                <a:gd name="T60" fmla="*/ 687 w 1056"/>
                <a:gd name="T61" fmla="*/ 338 h 742"/>
                <a:gd name="T62" fmla="*/ 553 w 1056"/>
                <a:gd name="T63" fmla="*/ 322 h 742"/>
                <a:gd name="T64" fmla="*/ 633 w 1056"/>
                <a:gd name="T65" fmla="*/ 300 h 742"/>
                <a:gd name="T66" fmla="*/ 642 w 1056"/>
                <a:gd name="T67" fmla="*/ 284 h 742"/>
                <a:gd name="T68" fmla="*/ 730 w 1056"/>
                <a:gd name="T69" fmla="*/ 260 h 742"/>
                <a:gd name="T70" fmla="*/ 789 w 1056"/>
                <a:gd name="T71" fmla="*/ 211 h 742"/>
                <a:gd name="T72" fmla="*/ 789 w 1056"/>
                <a:gd name="T73" fmla="*/ 284 h 742"/>
                <a:gd name="T74" fmla="*/ 687 w 1056"/>
                <a:gd name="T75" fmla="*/ 338 h 742"/>
                <a:gd name="T76" fmla="*/ 357 w 1056"/>
                <a:gd name="T77" fmla="*/ 244 h 742"/>
                <a:gd name="T78" fmla="*/ 612 w 1056"/>
                <a:gd name="T79" fmla="*/ 244 h 742"/>
                <a:gd name="T80" fmla="*/ 973 w 1056"/>
                <a:gd name="T81" fmla="*/ 277 h 742"/>
                <a:gd name="T82" fmla="*/ 432 w 1056"/>
                <a:gd name="T83" fmla="*/ 277 h 742"/>
                <a:gd name="T84" fmla="*/ 1023 w 1056"/>
                <a:gd name="T85" fmla="*/ 350 h 742"/>
                <a:gd name="T86" fmla="*/ 1006 w 1056"/>
                <a:gd name="T87" fmla="*/ 371 h 742"/>
                <a:gd name="T88" fmla="*/ 1006 w 1056"/>
                <a:gd name="T89" fmla="*/ 322 h 742"/>
                <a:gd name="T90" fmla="*/ 482 w 1056"/>
                <a:gd name="T91" fmla="*/ 300 h 742"/>
                <a:gd name="T92" fmla="*/ 194 w 1056"/>
                <a:gd name="T93" fmla="*/ 482 h 742"/>
                <a:gd name="T94" fmla="*/ 194 w 1056"/>
                <a:gd name="T95" fmla="*/ 487 h 742"/>
                <a:gd name="T96" fmla="*/ 172 w 1056"/>
                <a:gd name="T97" fmla="*/ 504 h 742"/>
                <a:gd name="T98" fmla="*/ 163 w 1056"/>
                <a:gd name="T99" fmla="*/ 504 h 742"/>
                <a:gd name="T100" fmla="*/ 713 w 1056"/>
                <a:gd name="T101" fmla="*/ 515 h 742"/>
                <a:gd name="T102" fmla="*/ 812 w 1056"/>
                <a:gd name="T103" fmla="*/ 553 h 742"/>
                <a:gd name="T104" fmla="*/ 666 w 1056"/>
                <a:gd name="T105" fmla="*/ 582 h 742"/>
                <a:gd name="T106" fmla="*/ 666 w 1056"/>
                <a:gd name="T107" fmla="*/ 582 h 742"/>
                <a:gd name="T108" fmla="*/ 697 w 1056"/>
                <a:gd name="T109" fmla="*/ 598 h 742"/>
                <a:gd name="T110" fmla="*/ 720 w 1056"/>
                <a:gd name="T111" fmla="*/ 626 h 742"/>
                <a:gd name="T112" fmla="*/ 697 w 1056"/>
                <a:gd name="T113" fmla="*/ 671 h 742"/>
                <a:gd name="T114" fmla="*/ 704 w 1056"/>
                <a:gd name="T115" fmla="*/ 671 h 742"/>
                <a:gd name="T116" fmla="*/ 704 w 1056"/>
                <a:gd name="T117" fmla="*/ 671 h 742"/>
                <a:gd name="T118" fmla="*/ 838 w 1056"/>
                <a:gd name="T119" fmla="*/ 671 h 742"/>
                <a:gd name="T120" fmla="*/ 864 w 1056"/>
                <a:gd name="T121" fmla="*/ 721 h 742"/>
                <a:gd name="T122" fmla="*/ 931 w 1056"/>
                <a:gd name="T123" fmla="*/ 726 h 742"/>
                <a:gd name="T124" fmla="*/ 893 w 1056"/>
                <a:gd name="T125" fmla="*/ 74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6" h="742">
                  <a:moveTo>
                    <a:pt x="616" y="17"/>
                  </a:moveTo>
                  <a:lnTo>
                    <a:pt x="605" y="5"/>
                  </a:lnTo>
                  <a:lnTo>
                    <a:pt x="612" y="0"/>
                  </a:lnTo>
                  <a:lnTo>
                    <a:pt x="616" y="5"/>
                  </a:lnTo>
                  <a:lnTo>
                    <a:pt x="628" y="17"/>
                  </a:lnTo>
                  <a:lnTo>
                    <a:pt x="616" y="17"/>
                  </a:lnTo>
                  <a:lnTo>
                    <a:pt x="616" y="17"/>
                  </a:lnTo>
                  <a:lnTo>
                    <a:pt x="616" y="17"/>
                  </a:lnTo>
                  <a:close/>
                  <a:moveTo>
                    <a:pt x="453" y="38"/>
                  </a:moveTo>
                  <a:lnTo>
                    <a:pt x="453" y="45"/>
                  </a:lnTo>
                  <a:lnTo>
                    <a:pt x="444" y="62"/>
                  </a:lnTo>
                  <a:lnTo>
                    <a:pt x="394" y="62"/>
                  </a:lnTo>
                  <a:lnTo>
                    <a:pt x="399" y="45"/>
                  </a:lnTo>
                  <a:lnTo>
                    <a:pt x="453" y="45"/>
                  </a:lnTo>
                  <a:lnTo>
                    <a:pt x="453" y="38"/>
                  </a:lnTo>
                  <a:lnTo>
                    <a:pt x="453" y="38"/>
                  </a:lnTo>
                  <a:lnTo>
                    <a:pt x="453" y="38"/>
                  </a:lnTo>
                  <a:close/>
                  <a:moveTo>
                    <a:pt x="482" y="71"/>
                  </a:moveTo>
                  <a:lnTo>
                    <a:pt x="486" y="62"/>
                  </a:lnTo>
                  <a:lnTo>
                    <a:pt x="486" y="62"/>
                  </a:lnTo>
                  <a:lnTo>
                    <a:pt x="482" y="71"/>
                  </a:lnTo>
                  <a:lnTo>
                    <a:pt x="482" y="71"/>
                  </a:lnTo>
                  <a:lnTo>
                    <a:pt x="482" y="71"/>
                  </a:lnTo>
                  <a:close/>
                  <a:moveTo>
                    <a:pt x="666" y="95"/>
                  </a:moveTo>
                  <a:lnTo>
                    <a:pt x="649" y="95"/>
                  </a:lnTo>
                  <a:lnTo>
                    <a:pt x="633" y="78"/>
                  </a:lnTo>
                  <a:lnTo>
                    <a:pt x="659" y="71"/>
                  </a:lnTo>
                  <a:lnTo>
                    <a:pt x="666" y="78"/>
                  </a:lnTo>
                  <a:lnTo>
                    <a:pt x="671" y="95"/>
                  </a:lnTo>
                  <a:lnTo>
                    <a:pt x="666" y="95"/>
                  </a:lnTo>
                  <a:lnTo>
                    <a:pt x="666" y="95"/>
                  </a:lnTo>
                  <a:lnTo>
                    <a:pt x="666" y="95"/>
                  </a:lnTo>
                  <a:close/>
                  <a:moveTo>
                    <a:pt x="827" y="182"/>
                  </a:moveTo>
                  <a:lnTo>
                    <a:pt x="860" y="206"/>
                  </a:lnTo>
                  <a:lnTo>
                    <a:pt x="850" y="223"/>
                  </a:lnTo>
                  <a:lnTo>
                    <a:pt x="860" y="227"/>
                  </a:lnTo>
                  <a:lnTo>
                    <a:pt x="843" y="244"/>
                  </a:lnTo>
                  <a:lnTo>
                    <a:pt x="838" y="239"/>
                  </a:lnTo>
                  <a:lnTo>
                    <a:pt x="827" y="223"/>
                  </a:lnTo>
                  <a:lnTo>
                    <a:pt x="827" y="206"/>
                  </a:lnTo>
                  <a:lnTo>
                    <a:pt x="805" y="166"/>
                  </a:lnTo>
                  <a:lnTo>
                    <a:pt x="789" y="149"/>
                  </a:lnTo>
                  <a:lnTo>
                    <a:pt x="775" y="149"/>
                  </a:lnTo>
                  <a:lnTo>
                    <a:pt x="720" y="100"/>
                  </a:lnTo>
                  <a:lnTo>
                    <a:pt x="687" y="100"/>
                  </a:lnTo>
                  <a:lnTo>
                    <a:pt x="704" y="95"/>
                  </a:lnTo>
                  <a:lnTo>
                    <a:pt x="697" y="83"/>
                  </a:lnTo>
                  <a:lnTo>
                    <a:pt x="768" y="133"/>
                  </a:lnTo>
                  <a:lnTo>
                    <a:pt x="784" y="133"/>
                  </a:lnTo>
                  <a:lnTo>
                    <a:pt x="827" y="182"/>
                  </a:lnTo>
                  <a:lnTo>
                    <a:pt x="827" y="182"/>
                  </a:lnTo>
                  <a:lnTo>
                    <a:pt x="827" y="182"/>
                  </a:lnTo>
                  <a:close/>
                  <a:moveTo>
                    <a:pt x="9" y="560"/>
                  </a:moveTo>
                  <a:lnTo>
                    <a:pt x="9" y="393"/>
                  </a:lnTo>
                  <a:lnTo>
                    <a:pt x="0" y="393"/>
                  </a:lnTo>
                  <a:lnTo>
                    <a:pt x="0" y="376"/>
                  </a:lnTo>
                  <a:lnTo>
                    <a:pt x="9" y="355"/>
                  </a:lnTo>
                  <a:lnTo>
                    <a:pt x="9" y="83"/>
                  </a:lnTo>
                  <a:lnTo>
                    <a:pt x="21" y="83"/>
                  </a:lnTo>
                  <a:lnTo>
                    <a:pt x="118" y="133"/>
                  </a:lnTo>
                  <a:lnTo>
                    <a:pt x="184" y="149"/>
                  </a:lnTo>
                  <a:lnTo>
                    <a:pt x="215" y="173"/>
                  </a:lnTo>
                  <a:lnTo>
                    <a:pt x="231" y="182"/>
                  </a:lnTo>
                  <a:lnTo>
                    <a:pt x="238" y="173"/>
                  </a:lnTo>
                  <a:lnTo>
                    <a:pt x="253" y="173"/>
                  </a:lnTo>
                  <a:lnTo>
                    <a:pt x="253" y="189"/>
                  </a:lnTo>
                  <a:lnTo>
                    <a:pt x="281" y="194"/>
                  </a:lnTo>
                  <a:lnTo>
                    <a:pt x="293" y="211"/>
                  </a:lnTo>
                  <a:lnTo>
                    <a:pt x="307" y="223"/>
                  </a:lnTo>
                  <a:lnTo>
                    <a:pt x="340" y="244"/>
                  </a:lnTo>
                  <a:lnTo>
                    <a:pt x="345" y="265"/>
                  </a:lnTo>
                  <a:lnTo>
                    <a:pt x="340" y="300"/>
                  </a:lnTo>
                  <a:lnTo>
                    <a:pt x="394" y="305"/>
                  </a:lnTo>
                  <a:lnTo>
                    <a:pt x="432" y="334"/>
                  </a:lnTo>
                  <a:lnTo>
                    <a:pt x="465" y="334"/>
                  </a:lnTo>
                  <a:lnTo>
                    <a:pt x="486" y="355"/>
                  </a:lnTo>
                  <a:lnTo>
                    <a:pt x="486" y="376"/>
                  </a:lnTo>
                  <a:lnTo>
                    <a:pt x="470" y="388"/>
                  </a:lnTo>
                  <a:lnTo>
                    <a:pt x="427" y="388"/>
                  </a:lnTo>
                  <a:lnTo>
                    <a:pt x="427" y="404"/>
                  </a:lnTo>
                  <a:lnTo>
                    <a:pt x="444" y="416"/>
                  </a:lnTo>
                  <a:lnTo>
                    <a:pt x="444" y="445"/>
                  </a:lnTo>
                  <a:lnTo>
                    <a:pt x="465" y="449"/>
                  </a:lnTo>
                  <a:lnTo>
                    <a:pt x="482" y="471"/>
                  </a:lnTo>
                  <a:lnTo>
                    <a:pt x="508" y="482"/>
                  </a:lnTo>
                  <a:lnTo>
                    <a:pt x="519" y="520"/>
                  </a:lnTo>
                  <a:lnTo>
                    <a:pt x="524" y="527"/>
                  </a:lnTo>
                  <a:lnTo>
                    <a:pt x="541" y="553"/>
                  </a:lnTo>
                  <a:lnTo>
                    <a:pt x="590" y="553"/>
                  </a:lnTo>
                  <a:lnTo>
                    <a:pt x="595" y="560"/>
                  </a:lnTo>
                  <a:lnTo>
                    <a:pt x="579" y="577"/>
                  </a:lnTo>
                  <a:lnTo>
                    <a:pt x="590" y="582"/>
                  </a:lnTo>
                  <a:lnTo>
                    <a:pt x="605" y="593"/>
                  </a:lnTo>
                  <a:lnTo>
                    <a:pt x="642" y="593"/>
                  </a:lnTo>
                  <a:lnTo>
                    <a:pt x="642" y="598"/>
                  </a:lnTo>
                  <a:lnTo>
                    <a:pt x="616" y="610"/>
                  </a:lnTo>
                  <a:lnTo>
                    <a:pt x="633" y="626"/>
                  </a:lnTo>
                  <a:lnTo>
                    <a:pt x="682" y="638"/>
                  </a:lnTo>
                  <a:lnTo>
                    <a:pt x="704" y="638"/>
                  </a:lnTo>
                  <a:lnTo>
                    <a:pt x="682" y="648"/>
                  </a:lnTo>
                  <a:lnTo>
                    <a:pt x="666" y="648"/>
                  </a:lnTo>
                  <a:lnTo>
                    <a:pt x="666" y="648"/>
                  </a:lnTo>
                  <a:lnTo>
                    <a:pt x="687" y="655"/>
                  </a:lnTo>
                  <a:lnTo>
                    <a:pt x="687" y="664"/>
                  </a:lnTo>
                  <a:lnTo>
                    <a:pt x="659" y="671"/>
                  </a:lnTo>
                  <a:lnTo>
                    <a:pt x="628" y="664"/>
                  </a:lnTo>
                  <a:lnTo>
                    <a:pt x="642" y="655"/>
                  </a:lnTo>
                  <a:lnTo>
                    <a:pt x="616" y="648"/>
                  </a:lnTo>
                  <a:lnTo>
                    <a:pt x="562" y="638"/>
                  </a:lnTo>
                  <a:lnTo>
                    <a:pt x="553" y="631"/>
                  </a:lnTo>
                  <a:lnTo>
                    <a:pt x="524" y="638"/>
                  </a:lnTo>
                  <a:lnTo>
                    <a:pt x="508" y="631"/>
                  </a:lnTo>
                  <a:lnTo>
                    <a:pt x="498" y="631"/>
                  </a:lnTo>
                  <a:lnTo>
                    <a:pt x="470" y="626"/>
                  </a:lnTo>
                  <a:lnTo>
                    <a:pt x="449" y="593"/>
                  </a:lnTo>
                  <a:lnTo>
                    <a:pt x="432" y="582"/>
                  </a:lnTo>
                  <a:lnTo>
                    <a:pt x="416" y="570"/>
                  </a:lnTo>
                  <a:lnTo>
                    <a:pt x="427" y="553"/>
                  </a:lnTo>
                  <a:lnTo>
                    <a:pt x="427" y="560"/>
                  </a:lnTo>
                  <a:lnTo>
                    <a:pt x="399" y="553"/>
                  </a:lnTo>
                  <a:lnTo>
                    <a:pt x="394" y="537"/>
                  </a:lnTo>
                  <a:lnTo>
                    <a:pt x="361" y="482"/>
                  </a:lnTo>
                  <a:lnTo>
                    <a:pt x="281" y="466"/>
                  </a:lnTo>
                  <a:lnTo>
                    <a:pt x="281" y="449"/>
                  </a:lnTo>
                  <a:lnTo>
                    <a:pt x="281" y="461"/>
                  </a:lnTo>
                  <a:lnTo>
                    <a:pt x="253" y="449"/>
                  </a:lnTo>
                  <a:lnTo>
                    <a:pt x="253" y="445"/>
                  </a:lnTo>
                  <a:lnTo>
                    <a:pt x="253" y="449"/>
                  </a:lnTo>
                  <a:lnTo>
                    <a:pt x="248" y="445"/>
                  </a:lnTo>
                  <a:lnTo>
                    <a:pt x="248" y="461"/>
                  </a:lnTo>
                  <a:lnTo>
                    <a:pt x="238" y="461"/>
                  </a:lnTo>
                  <a:lnTo>
                    <a:pt x="238" y="449"/>
                  </a:lnTo>
                  <a:lnTo>
                    <a:pt x="231" y="466"/>
                  </a:lnTo>
                  <a:lnTo>
                    <a:pt x="210" y="461"/>
                  </a:lnTo>
                  <a:lnTo>
                    <a:pt x="194" y="445"/>
                  </a:lnTo>
                  <a:lnTo>
                    <a:pt x="215" y="471"/>
                  </a:lnTo>
                  <a:lnTo>
                    <a:pt x="201" y="482"/>
                  </a:lnTo>
                  <a:lnTo>
                    <a:pt x="172" y="471"/>
                  </a:lnTo>
                  <a:lnTo>
                    <a:pt x="184" y="482"/>
                  </a:lnTo>
                  <a:lnTo>
                    <a:pt x="194" y="499"/>
                  </a:lnTo>
                  <a:lnTo>
                    <a:pt x="146" y="504"/>
                  </a:lnTo>
                  <a:lnTo>
                    <a:pt x="123" y="499"/>
                  </a:lnTo>
                  <a:lnTo>
                    <a:pt x="108" y="504"/>
                  </a:lnTo>
                  <a:lnTo>
                    <a:pt x="101" y="487"/>
                  </a:lnTo>
                  <a:lnTo>
                    <a:pt x="85" y="499"/>
                  </a:lnTo>
                  <a:lnTo>
                    <a:pt x="101" y="487"/>
                  </a:lnTo>
                  <a:lnTo>
                    <a:pt x="108" y="504"/>
                  </a:lnTo>
                  <a:lnTo>
                    <a:pt x="130" y="499"/>
                  </a:lnTo>
                  <a:lnTo>
                    <a:pt x="156" y="515"/>
                  </a:lnTo>
                  <a:lnTo>
                    <a:pt x="177" y="537"/>
                  </a:lnTo>
                  <a:lnTo>
                    <a:pt x="177" y="544"/>
                  </a:lnTo>
                  <a:lnTo>
                    <a:pt x="172" y="553"/>
                  </a:lnTo>
                  <a:lnTo>
                    <a:pt x="146" y="553"/>
                  </a:lnTo>
                  <a:lnTo>
                    <a:pt x="123" y="577"/>
                  </a:lnTo>
                  <a:lnTo>
                    <a:pt x="92" y="560"/>
                  </a:lnTo>
                  <a:lnTo>
                    <a:pt x="47" y="570"/>
                  </a:lnTo>
                  <a:lnTo>
                    <a:pt x="33" y="560"/>
                  </a:lnTo>
                  <a:lnTo>
                    <a:pt x="16" y="570"/>
                  </a:lnTo>
                  <a:lnTo>
                    <a:pt x="9" y="560"/>
                  </a:lnTo>
                  <a:lnTo>
                    <a:pt x="9" y="560"/>
                  </a:lnTo>
                  <a:lnTo>
                    <a:pt x="9" y="560"/>
                  </a:lnTo>
                  <a:close/>
                  <a:moveTo>
                    <a:pt x="775" y="100"/>
                  </a:moveTo>
                  <a:lnTo>
                    <a:pt x="775" y="95"/>
                  </a:lnTo>
                  <a:lnTo>
                    <a:pt x="784" y="100"/>
                  </a:lnTo>
                  <a:lnTo>
                    <a:pt x="775" y="100"/>
                  </a:lnTo>
                  <a:lnTo>
                    <a:pt x="775" y="100"/>
                  </a:lnTo>
                  <a:lnTo>
                    <a:pt x="775" y="100"/>
                  </a:lnTo>
                  <a:close/>
                  <a:moveTo>
                    <a:pt x="697" y="116"/>
                  </a:moveTo>
                  <a:lnTo>
                    <a:pt x="704" y="112"/>
                  </a:lnTo>
                  <a:lnTo>
                    <a:pt x="713" y="116"/>
                  </a:lnTo>
                  <a:lnTo>
                    <a:pt x="697" y="116"/>
                  </a:lnTo>
                  <a:lnTo>
                    <a:pt x="697" y="116"/>
                  </a:lnTo>
                  <a:lnTo>
                    <a:pt x="697" y="116"/>
                  </a:lnTo>
                  <a:close/>
                  <a:moveTo>
                    <a:pt x="827" y="133"/>
                  </a:moveTo>
                  <a:lnTo>
                    <a:pt x="822" y="128"/>
                  </a:lnTo>
                  <a:lnTo>
                    <a:pt x="827" y="116"/>
                  </a:lnTo>
                  <a:lnTo>
                    <a:pt x="827" y="133"/>
                  </a:lnTo>
                  <a:lnTo>
                    <a:pt x="827" y="133"/>
                  </a:lnTo>
                  <a:lnTo>
                    <a:pt x="827" y="133"/>
                  </a:lnTo>
                  <a:close/>
                  <a:moveTo>
                    <a:pt x="897" y="194"/>
                  </a:moveTo>
                  <a:lnTo>
                    <a:pt x="893" y="194"/>
                  </a:lnTo>
                  <a:lnTo>
                    <a:pt x="897" y="189"/>
                  </a:lnTo>
                  <a:lnTo>
                    <a:pt x="897" y="194"/>
                  </a:lnTo>
                  <a:lnTo>
                    <a:pt x="897" y="194"/>
                  </a:lnTo>
                  <a:lnTo>
                    <a:pt x="897" y="194"/>
                  </a:lnTo>
                  <a:close/>
                  <a:moveTo>
                    <a:pt x="687" y="338"/>
                  </a:moveTo>
                  <a:lnTo>
                    <a:pt x="666" y="355"/>
                  </a:lnTo>
                  <a:lnTo>
                    <a:pt x="612" y="355"/>
                  </a:lnTo>
                  <a:lnTo>
                    <a:pt x="595" y="338"/>
                  </a:lnTo>
                  <a:lnTo>
                    <a:pt x="574" y="350"/>
                  </a:lnTo>
                  <a:lnTo>
                    <a:pt x="574" y="338"/>
                  </a:lnTo>
                  <a:lnTo>
                    <a:pt x="553" y="322"/>
                  </a:lnTo>
                  <a:lnTo>
                    <a:pt x="524" y="317"/>
                  </a:lnTo>
                  <a:lnTo>
                    <a:pt x="519" y="305"/>
                  </a:lnTo>
                  <a:lnTo>
                    <a:pt x="524" y="293"/>
                  </a:lnTo>
                  <a:lnTo>
                    <a:pt x="562" y="293"/>
                  </a:lnTo>
                  <a:lnTo>
                    <a:pt x="590" y="305"/>
                  </a:lnTo>
                  <a:lnTo>
                    <a:pt x="633" y="300"/>
                  </a:lnTo>
                  <a:lnTo>
                    <a:pt x="633" y="293"/>
                  </a:lnTo>
                  <a:lnTo>
                    <a:pt x="633" y="284"/>
                  </a:lnTo>
                  <a:lnTo>
                    <a:pt x="642" y="260"/>
                  </a:lnTo>
                  <a:lnTo>
                    <a:pt x="659" y="265"/>
                  </a:lnTo>
                  <a:lnTo>
                    <a:pt x="642" y="265"/>
                  </a:lnTo>
                  <a:lnTo>
                    <a:pt x="642" y="284"/>
                  </a:lnTo>
                  <a:lnTo>
                    <a:pt x="649" y="300"/>
                  </a:lnTo>
                  <a:lnTo>
                    <a:pt x="659" y="300"/>
                  </a:lnTo>
                  <a:lnTo>
                    <a:pt x="671" y="293"/>
                  </a:lnTo>
                  <a:lnTo>
                    <a:pt x="682" y="300"/>
                  </a:lnTo>
                  <a:lnTo>
                    <a:pt x="704" y="300"/>
                  </a:lnTo>
                  <a:lnTo>
                    <a:pt x="730" y="260"/>
                  </a:lnTo>
                  <a:lnTo>
                    <a:pt x="758" y="249"/>
                  </a:lnTo>
                  <a:lnTo>
                    <a:pt x="742" y="206"/>
                  </a:lnTo>
                  <a:lnTo>
                    <a:pt x="768" y="206"/>
                  </a:lnTo>
                  <a:lnTo>
                    <a:pt x="784" y="211"/>
                  </a:lnTo>
                  <a:lnTo>
                    <a:pt x="796" y="206"/>
                  </a:lnTo>
                  <a:lnTo>
                    <a:pt x="789" y="211"/>
                  </a:lnTo>
                  <a:lnTo>
                    <a:pt x="805" y="211"/>
                  </a:lnTo>
                  <a:lnTo>
                    <a:pt x="812" y="239"/>
                  </a:lnTo>
                  <a:lnTo>
                    <a:pt x="796" y="260"/>
                  </a:lnTo>
                  <a:lnTo>
                    <a:pt x="784" y="260"/>
                  </a:lnTo>
                  <a:lnTo>
                    <a:pt x="784" y="277"/>
                  </a:lnTo>
                  <a:lnTo>
                    <a:pt x="789" y="284"/>
                  </a:lnTo>
                  <a:lnTo>
                    <a:pt x="789" y="293"/>
                  </a:lnTo>
                  <a:lnTo>
                    <a:pt x="768" y="305"/>
                  </a:lnTo>
                  <a:lnTo>
                    <a:pt x="742" y="300"/>
                  </a:lnTo>
                  <a:lnTo>
                    <a:pt x="734" y="317"/>
                  </a:lnTo>
                  <a:lnTo>
                    <a:pt x="687" y="338"/>
                  </a:lnTo>
                  <a:lnTo>
                    <a:pt x="687" y="338"/>
                  </a:lnTo>
                  <a:lnTo>
                    <a:pt x="687" y="338"/>
                  </a:lnTo>
                  <a:close/>
                  <a:moveTo>
                    <a:pt x="357" y="244"/>
                  </a:moveTo>
                  <a:lnTo>
                    <a:pt x="345" y="239"/>
                  </a:lnTo>
                  <a:lnTo>
                    <a:pt x="357" y="227"/>
                  </a:lnTo>
                  <a:lnTo>
                    <a:pt x="361" y="239"/>
                  </a:lnTo>
                  <a:lnTo>
                    <a:pt x="357" y="244"/>
                  </a:lnTo>
                  <a:lnTo>
                    <a:pt x="357" y="244"/>
                  </a:lnTo>
                  <a:lnTo>
                    <a:pt x="357" y="244"/>
                  </a:lnTo>
                  <a:close/>
                  <a:moveTo>
                    <a:pt x="612" y="244"/>
                  </a:moveTo>
                  <a:lnTo>
                    <a:pt x="605" y="239"/>
                  </a:lnTo>
                  <a:lnTo>
                    <a:pt x="605" y="239"/>
                  </a:lnTo>
                  <a:lnTo>
                    <a:pt x="612" y="244"/>
                  </a:lnTo>
                  <a:lnTo>
                    <a:pt x="612" y="244"/>
                  </a:lnTo>
                  <a:lnTo>
                    <a:pt x="612" y="244"/>
                  </a:lnTo>
                  <a:close/>
                  <a:moveTo>
                    <a:pt x="968" y="293"/>
                  </a:moveTo>
                  <a:lnTo>
                    <a:pt x="956" y="265"/>
                  </a:lnTo>
                  <a:lnTo>
                    <a:pt x="968" y="260"/>
                  </a:lnTo>
                  <a:lnTo>
                    <a:pt x="973" y="277"/>
                  </a:lnTo>
                  <a:lnTo>
                    <a:pt x="968" y="293"/>
                  </a:lnTo>
                  <a:lnTo>
                    <a:pt x="968" y="293"/>
                  </a:lnTo>
                  <a:lnTo>
                    <a:pt x="968" y="293"/>
                  </a:lnTo>
                  <a:close/>
                  <a:moveTo>
                    <a:pt x="444" y="293"/>
                  </a:moveTo>
                  <a:lnTo>
                    <a:pt x="427" y="284"/>
                  </a:lnTo>
                  <a:lnTo>
                    <a:pt x="432" y="277"/>
                  </a:lnTo>
                  <a:lnTo>
                    <a:pt x="444" y="284"/>
                  </a:lnTo>
                  <a:lnTo>
                    <a:pt x="444" y="293"/>
                  </a:lnTo>
                  <a:lnTo>
                    <a:pt x="444" y="293"/>
                  </a:lnTo>
                  <a:lnTo>
                    <a:pt x="444" y="293"/>
                  </a:lnTo>
                  <a:close/>
                  <a:moveTo>
                    <a:pt x="1023" y="334"/>
                  </a:moveTo>
                  <a:lnTo>
                    <a:pt x="1023" y="350"/>
                  </a:lnTo>
                  <a:lnTo>
                    <a:pt x="1056" y="371"/>
                  </a:lnTo>
                  <a:lnTo>
                    <a:pt x="1056" y="393"/>
                  </a:lnTo>
                  <a:lnTo>
                    <a:pt x="1056" y="388"/>
                  </a:lnTo>
                  <a:lnTo>
                    <a:pt x="1039" y="393"/>
                  </a:lnTo>
                  <a:lnTo>
                    <a:pt x="1011" y="388"/>
                  </a:lnTo>
                  <a:lnTo>
                    <a:pt x="1006" y="371"/>
                  </a:lnTo>
                  <a:lnTo>
                    <a:pt x="1006" y="355"/>
                  </a:lnTo>
                  <a:lnTo>
                    <a:pt x="990" y="350"/>
                  </a:lnTo>
                  <a:lnTo>
                    <a:pt x="973" y="334"/>
                  </a:lnTo>
                  <a:lnTo>
                    <a:pt x="973" y="300"/>
                  </a:lnTo>
                  <a:lnTo>
                    <a:pt x="1001" y="300"/>
                  </a:lnTo>
                  <a:lnTo>
                    <a:pt x="1006" y="322"/>
                  </a:lnTo>
                  <a:lnTo>
                    <a:pt x="1023" y="334"/>
                  </a:lnTo>
                  <a:lnTo>
                    <a:pt x="1023" y="334"/>
                  </a:lnTo>
                  <a:lnTo>
                    <a:pt x="1023" y="334"/>
                  </a:lnTo>
                  <a:close/>
                  <a:moveTo>
                    <a:pt x="498" y="322"/>
                  </a:moveTo>
                  <a:lnTo>
                    <a:pt x="482" y="305"/>
                  </a:lnTo>
                  <a:lnTo>
                    <a:pt x="482" y="300"/>
                  </a:lnTo>
                  <a:lnTo>
                    <a:pt x="503" y="305"/>
                  </a:lnTo>
                  <a:lnTo>
                    <a:pt x="498" y="322"/>
                  </a:lnTo>
                  <a:lnTo>
                    <a:pt x="498" y="322"/>
                  </a:lnTo>
                  <a:lnTo>
                    <a:pt x="498" y="322"/>
                  </a:lnTo>
                  <a:close/>
                  <a:moveTo>
                    <a:pt x="194" y="487"/>
                  </a:moveTo>
                  <a:lnTo>
                    <a:pt x="194" y="482"/>
                  </a:lnTo>
                  <a:lnTo>
                    <a:pt x="194" y="487"/>
                  </a:lnTo>
                  <a:lnTo>
                    <a:pt x="194" y="487"/>
                  </a:lnTo>
                  <a:lnTo>
                    <a:pt x="194" y="487"/>
                  </a:lnTo>
                  <a:lnTo>
                    <a:pt x="194" y="487"/>
                  </a:lnTo>
                  <a:close/>
                  <a:moveTo>
                    <a:pt x="194" y="499"/>
                  </a:moveTo>
                  <a:lnTo>
                    <a:pt x="194" y="487"/>
                  </a:lnTo>
                  <a:lnTo>
                    <a:pt x="201" y="487"/>
                  </a:lnTo>
                  <a:lnTo>
                    <a:pt x="194" y="499"/>
                  </a:lnTo>
                  <a:lnTo>
                    <a:pt x="194" y="499"/>
                  </a:lnTo>
                  <a:lnTo>
                    <a:pt x="194" y="499"/>
                  </a:lnTo>
                  <a:close/>
                  <a:moveTo>
                    <a:pt x="184" y="515"/>
                  </a:moveTo>
                  <a:lnTo>
                    <a:pt x="172" y="504"/>
                  </a:lnTo>
                  <a:lnTo>
                    <a:pt x="184" y="504"/>
                  </a:lnTo>
                  <a:lnTo>
                    <a:pt x="184" y="515"/>
                  </a:lnTo>
                  <a:lnTo>
                    <a:pt x="184" y="515"/>
                  </a:lnTo>
                  <a:lnTo>
                    <a:pt x="184" y="515"/>
                  </a:lnTo>
                  <a:close/>
                  <a:moveTo>
                    <a:pt x="194" y="527"/>
                  </a:moveTo>
                  <a:lnTo>
                    <a:pt x="163" y="504"/>
                  </a:lnTo>
                  <a:lnTo>
                    <a:pt x="177" y="515"/>
                  </a:lnTo>
                  <a:lnTo>
                    <a:pt x="194" y="527"/>
                  </a:lnTo>
                  <a:lnTo>
                    <a:pt x="194" y="527"/>
                  </a:lnTo>
                  <a:lnTo>
                    <a:pt x="194" y="527"/>
                  </a:lnTo>
                  <a:close/>
                  <a:moveTo>
                    <a:pt x="720" y="537"/>
                  </a:moveTo>
                  <a:lnTo>
                    <a:pt x="713" y="515"/>
                  </a:lnTo>
                  <a:lnTo>
                    <a:pt x="720" y="504"/>
                  </a:lnTo>
                  <a:lnTo>
                    <a:pt x="720" y="537"/>
                  </a:lnTo>
                  <a:lnTo>
                    <a:pt x="720" y="537"/>
                  </a:lnTo>
                  <a:lnTo>
                    <a:pt x="720" y="537"/>
                  </a:lnTo>
                  <a:close/>
                  <a:moveTo>
                    <a:pt x="838" y="570"/>
                  </a:moveTo>
                  <a:lnTo>
                    <a:pt x="812" y="553"/>
                  </a:lnTo>
                  <a:lnTo>
                    <a:pt x="838" y="544"/>
                  </a:lnTo>
                  <a:lnTo>
                    <a:pt x="850" y="560"/>
                  </a:lnTo>
                  <a:lnTo>
                    <a:pt x="838" y="570"/>
                  </a:lnTo>
                  <a:lnTo>
                    <a:pt x="838" y="570"/>
                  </a:lnTo>
                  <a:lnTo>
                    <a:pt x="838" y="570"/>
                  </a:lnTo>
                  <a:close/>
                  <a:moveTo>
                    <a:pt x="666" y="582"/>
                  </a:moveTo>
                  <a:lnTo>
                    <a:pt x="649" y="577"/>
                  </a:lnTo>
                  <a:lnTo>
                    <a:pt x="649" y="570"/>
                  </a:lnTo>
                  <a:lnTo>
                    <a:pt x="666" y="570"/>
                  </a:lnTo>
                  <a:lnTo>
                    <a:pt x="666" y="582"/>
                  </a:lnTo>
                  <a:lnTo>
                    <a:pt x="666" y="582"/>
                  </a:lnTo>
                  <a:lnTo>
                    <a:pt x="666" y="582"/>
                  </a:lnTo>
                  <a:close/>
                  <a:moveTo>
                    <a:pt x="697" y="598"/>
                  </a:moveTo>
                  <a:lnTo>
                    <a:pt x="671" y="593"/>
                  </a:lnTo>
                  <a:lnTo>
                    <a:pt x="671" y="577"/>
                  </a:lnTo>
                  <a:lnTo>
                    <a:pt x="697" y="582"/>
                  </a:lnTo>
                  <a:lnTo>
                    <a:pt x="704" y="598"/>
                  </a:lnTo>
                  <a:lnTo>
                    <a:pt x="697" y="598"/>
                  </a:lnTo>
                  <a:lnTo>
                    <a:pt x="697" y="598"/>
                  </a:lnTo>
                  <a:lnTo>
                    <a:pt x="697" y="598"/>
                  </a:lnTo>
                  <a:close/>
                  <a:moveTo>
                    <a:pt x="730" y="638"/>
                  </a:moveTo>
                  <a:lnTo>
                    <a:pt x="704" y="631"/>
                  </a:lnTo>
                  <a:lnTo>
                    <a:pt x="697" y="598"/>
                  </a:lnTo>
                  <a:lnTo>
                    <a:pt x="720" y="626"/>
                  </a:lnTo>
                  <a:lnTo>
                    <a:pt x="730" y="615"/>
                  </a:lnTo>
                  <a:lnTo>
                    <a:pt x="730" y="638"/>
                  </a:lnTo>
                  <a:lnTo>
                    <a:pt x="730" y="638"/>
                  </a:lnTo>
                  <a:lnTo>
                    <a:pt x="730" y="638"/>
                  </a:lnTo>
                  <a:close/>
                  <a:moveTo>
                    <a:pt x="704" y="671"/>
                  </a:moveTo>
                  <a:lnTo>
                    <a:pt x="697" y="671"/>
                  </a:lnTo>
                  <a:lnTo>
                    <a:pt x="697" y="664"/>
                  </a:lnTo>
                  <a:lnTo>
                    <a:pt x="704" y="664"/>
                  </a:lnTo>
                  <a:lnTo>
                    <a:pt x="704" y="671"/>
                  </a:lnTo>
                  <a:lnTo>
                    <a:pt x="704" y="671"/>
                  </a:lnTo>
                  <a:lnTo>
                    <a:pt x="704" y="671"/>
                  </a:lnTo>
                  <a:close/>
                  <a:moveTo>
                    <a:pt x="704" y="671"/>
                  </a:moveTo>
                  <a:lnTo>
                    <a:pt x="704" y="664"/>
                  </a:lnTo>
                  <a:lnTo>
                    <a:pt x="713" y="664"/>
                  </a:lnTo>
                  <a:lnTo>
                    <a:pt x="713" y="671"/>
                  </a:lnTo>
                  <a:lnTo>
                    <a:pt x="704" y="671"/>
                  </a:lnTo>
                  <a:lnTo>
                    <a:pt x="704" y="671"/>
                  </a:lnTo>
                  <a:lnTo>
                    <a:pt x="704" y="671"/>
                  </a:lnTo>
                  <a:close/>
                  <a:moveTo>
                    <a:pt x="838" y="671"/>
                  </a:moveTo>
                  <a:lnTo>
                    <a:pt x="822" y="671"/>
                  </a:lnTo>
                  <a:lnTo>
                    <a:pt x="843" y="671"/>
                  </a:lnTo>
                  <a:lnTo>
                    <a:pt x="838" y="671"/>
                  </a:lnTo>
                  <a:lnTo>
                    <a:pt x="838" y="671"/>
                  </a:lnTo>
                  <a:lnTo>
                    <a:pt x="838" y="671"/>
                  </a:lnTo>
                  <a:close/>
                  <a:moveTo>
                    <a:pt x="864" y="721"/>
                  </a:moveTo>
                  <a:lnTo>
                    <a:pt x="860" y="709"/>
                  </a:lnTo>
                  <a:lnTo>
                    <a:pt x="864" y="709"/>
                  </a:lnTo>
                  <a:lnTo>
                    <a:pt x="864" y="721"/>
                  </a:lnTo>
                  <a:lnTo>
                    <a:pt x="864" y="721"/>
                  </a:lnTo>
                  <a:lnTo>
                    <a:pt x="864" y="721"/>
                  </a:lnTo>
                  <a:close/>
                  <a:moveTo>
                    <a:pt x="931" y="726"/>
                  </a:moveTo>
                  <a:lnTo>
                    <a:pt x="919" y="721"/>
                  </a:lnTo>
                  <a:lnTo>
                    <a:pt x="935" y="721"/>
                  </a:lnTo>
                  <a:lnTo>
                    <a:pt x="947" y="726"/>
                  </a:lnTo>
                  <a:lnTo>
                    <a:pt x="931" y="726"/>
                  </a:lnTo>
                  <a:lnTo>
                    <a:pt x="931" y="726"/>
                  </a:lnTo>
                  <a:lnTo>
                    <a:pt x="931" y="726"/>
                  </a:lnTo>
                  <a:close/>
                  <a:moveTo>
                    <a:pt x="893" y="742"/>
                  </a:moveTo>
                  <a:lnTo>
                    <a:pt x="876" y="737"/>
                  </a:lnTo>
                  <a:lnTo>
                    <a:pt x="864" y="721"/>
                  </a:lnTo>
                  <a:lnTo>
                    <a:pt x="905" y="742"/>
                  </a:lnTo>
                  <a:lnTo>
                    <a:pt x="893" y="742"/>
                  </a:lnTo>
                  <a:lnTo>
                    <a:pt x="893" y="742"/>
                  </a:lnTo>
                  <a:lnTo>
                    <a:pt x="893" y="742"/>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5" name="Freeform 536">
              <a:extLst>
                <a:ext uri="{FF2B5EF4-FFF2-40B4-BE49-F238E27FC236}">
                  <a16:creationId xmlns:a16="http://schemas.microsoft.com/office/drawing/2014/main" id="{2F66823F-BA3E-4C8B-9E0D-6957DF0DB7B8}"/>
                </a:ext>
              </a:extLst>
            </p:cNvPr>
            <p:cNvSpPr>
              <a:spLocks noEditPoints="1"/>
            </p:cNvSpPr>
            <p:nvPr/>
          </p:nvSpPr>
          <p:spPr bwMode="gray">
            <a:xfrm>
              <a:off x="16826973" y="3930465"/>
              <a:ext cx="7528" cy="13092"/>
            </a:xfrm>
            <a:custGeom>
              <a:avLst/>
              <a:gdLst>
                <a:gd name="T0" fmla="*/ 14 w 23"/>
                <a:gd name="T1" fmla="*/ 33 h 40"/>
                <a:gd name="T2" fmla="*/ 14 w 23"/>
                <a:gd name="T3" fmla="*/ 21 h 40"/>
                <a:gd name="T4" fmla="*/ 23 w 23"/>
                <a:gd name="T5" fmla="*/ 0 h 40"/>
                <a:gd name="T6" fmla="*/ 23 w 23"/>
                <a:gd name="T7" fmla="*/ 17 h 40"/>
                <a:gd name="T8" fmla="*/ 14 w 23"/>
                <a:gd name="T9" fmla="*/ 33 h 40"/>
                <a:gd name="T10" fmla="*/ 14 w 23"/>
                <a:gd name="T11" fmla="*/ 33 h 40"/>
                <a:gd name="T12" fmla="*/ 14 w 23"/>
                <a:gd name="T13" fmla="*/ 33 h 40"/>
                <a:gd name="T14" fmla="*/ 9 w 23"/>
                <a:gd name="T15" fmla="*/ 40 h 40"/>
                <a:gd name="T16" fmla="*/ 0 w 23"/>
                <a:gd name="T17" fmla="*/ 33 h 40"/>
                <a:gd name="T18" fmla="*/ 9 w 23"/>
                <a:gd name="T19" fmla="*/ 33 h 40"/>
                <a:gd name="T20" fmla="*/ 9 w 23"/>
                <a:gd name="T21" fmla="*/ 40 h 40"/>
                <a:gd name="T22" fmla="*/ 9 w 23"/>
                <a:gd name="T23" fmla="*/ 40 h 40"/>
                <a:gd name="T24" fmla="*/ 9 w 23"/>
                <a:gd name="T2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40">
                  <a:moveTo>
                    <a:pt x="14" y="33"/>
                  </a:moveTo>
                  <a:lnTo>
                    <a:pt x="14" y="21"/>
                  </a:lnTo>
                  <a:lnTo>
                    <a:pt x="23" y="0"/>
                  </a:lnTo>
                  <a:lnTo>
                    <a:pt x="23" y="17"/>
                  </a:lnTo>
                  <a:lnTo>
                    <a:pt x="14" y="33"/>
                  </a:lnTo>
                  <a:lnTo>
                    <a:pt x="14" y="33"/>
                  </a:lnTo>
                  <a:lnTo>
                    <a:pt x="14" y="33"/>
                  </a:lnTo>
                  <a:close/>
                  <a:moveTo>
                    <a:pt x="9" y="40"/>
                  </a:moveTo>
                  <a:lnTo>
                    <a:pt x="0" y="33"/>
                  </a:lnTo>
                  <a:lnTo>
                    <a:pt x="9" y="33"/>
                  </a:lnTo>
                  <a:lnTo>
                    <a:pt x="9" y="40"/>
                  </a:lnTo>
                  <a:lnTo>
                    <a:pt x="9" y="40"/>
                  </a:lnTo>
                  <a:lnTo>
                    <a:pt x="9" y="4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6" name="Freeform 537">
              <a:extLst>
                <a:ext uri="{FF2B5EF4-FFF2-40B4-BE49-F238E27FC236}">
                  <a16:creationId xmlns:a16="http://schemas.microsoft.com/office/drawing/2014/main" id="{AD2B1D35-CFB3-4AF2-AFD0-C6A7652BC301}"/>
                </a:ext>
              </a:extLst>
            </p:cNvPr>
            <p:cNvSpPr>
              <a:spLocks noEditPoints="1"/>
            </p:cNvSpPr>
            <p:nvPr/>
          </p:nvSpPr>
          <p:spPr bwMode="gray">
            <a:xfrm>
              <a:off x="13361883" y="3815257"/>
              <a:ext cx="70369" cy="40912"/>
            </a:xfrm>
            <a:custGeom>
              <a:avLst/>
              <a:gdLst>
                <a:gd name="T0" fmla="*/ 37 w 215"/>
                <a:gd name="T1" fmla="*/ 17 h 125"/>
                <a:gd name="T2" fmla="*/ 106 w 215"/>
                <a:gd name="T3" fmla="*/ 0 h 125"/>
                <a:gd name="T4" fmla="*/ 203 w 215"/>
                <a:gd name="T5" fmla="*/ 0 h 125"/>
                <a:gd name="T6" fmla="*/ 186 w 215"/>
                <a:gd name="T7" fmla="*/ 38 h 125"/>
                <a:gd name="T8" fmla="*/ 203 w 215"/>
                <a:gd name="T9" fmla="*/ 71 h 125"/>
                <a:gd name="T10" fmla="*/ 165 w 215"/>
                <a:gd name="T11" fmla="*/ 71 h 125"/>
                <a:gd name="T12" fmla="*/ 134 w 215"/>
                <a:gd name="T13" fmla="*/ 83 h 125"/>
                <a:gd name="T14" fmla="*/ 113 w 215"/>
                <a:gd name="T15" fmla="*/ 114 h 125"/>
                <a:gd name="T16" fmla="*/ 106 w 215"/>
                <a:gd name="T17" fmla="*/ 114 h 125"/>
                <a:gd name="T18" fmla="*/ 96 w 215"/>
                <a:gd name="T19" fmla="*/ 109 h 125"/>
                <a:gd name="T20" fmla="*/ 89 w 215"/>
                <a:gd name="T21" fmla="*/ 92 h 125"/>
                <a:gd name="T22" fmla="*/ 80 w 215"/>
                <a:gd name="T23" fmla="*/ 92 h 125"/>
                <a:gd name="T24" fmla="*/ 113 w 215"/>
                <a:gd name="T25" fmla="*/ 76 h 125"/>
                <a:gd name="T26" fmla="*/ 89 w 215"/>
                <a:gd name="T27" fmla="*/ 76 h 125"/>
                <a:gd name="T28" fmla="*/ 80 w 215"/>
                <a:gd name="T29" fmla="*/ 71 h 125"/>
                <a:gd name="T30" fmla="*/ 106 w 215"/>
                <a:gd name="T31" fmla="*/ 54 h 125"/>
                <a:gd name="T32" fmla="*/ 113 w 215"/>
                <a:gd name="T33" fmla="*/ 54 h 125"/>
                <a:gd name="T34" fmla="*/ 106 w 215"/>
                <a:gd name="T35" fmla="*/ 54 h 125"/>
                <a:gd name="T36" fmla="*/ 75 w 215"/>
                <a:gd name="T37" fmla="*/ 59 h 125"/>
                <a:gd name="T38" fmla="*/ 59 w 215"/>
                <a:gd name="T39" fmla="*/ 45 h 125"/>
                <a:gd name="T40" fmla="*/ 37 w 215"/>
                <a:gd name="T41" fmla="*/ 54 h 125"/>
                <a:gd name="T42" fmla="*/ 21 w 215"/>
                <a:gd name="T43" fmla="*/ 38 h 125"/>
                <a:gd name="T44" fmla="*/ 9 w 215"/>
                <a:gd name="T45" fmla="*/ 28 h 125"/>
                <a:gd name="T46" fmla="*/ 0 w 215"/>
                <a:gd name="T47" fmla="*/ 21 h 125"/>
                <a:gd name="T48" fmla="*/ 26 w 215"/>
                <a:gd name="T49" fmla="*/ 59 h 125"/>
                <a:gd name="T50" fmla="*/ 37 w 215"/>
                <a:gd name="T51" fmla="*/ 54 h 125"/>
                <a:gd name="T52" fmla="*/ 26 w 215"/>
                <a:gd name="T53" fmla="*/ 59 h 125"/>
                <a:gd name="T54" fmla="*/ 42 w 215"/>
                <a:gd name="T55" fmla="*/ 59 h 125"/>
                <a:gd name="T56" fmla="*/ 54 w 215"/>
                <a:gd name="T57" fmla="*/ 54 h 125"/>
                <a:gd name="T58" fmla="*/ 42 w 215"/>
                <a:gd name="T59" fmla="*/ 59 h 125"/>
                <a:gd name="T60" fmla="*/ 42 w 215"/>
                <a:gd name="T61" fmla="*/ 83 h 125"/>
                <a:gd name="T62" fmla="*/ 54 w 215"/>
                <a:gd name="T63" fmla="*/ 76 h 125"/>
                <a:gd name="T64" fmla="*/ 42 w 215"/>
                <a:gd name="T65" fmla="*/ 83 h 125"/>
                <a:gd name="T66" fmla="*/ 42 w 215"/>
                <a:gd name="T67" fmla="*/ 83 h 125"/>
                <a:gd name="T68" fmla="*/ 21 w 215"/>
                <a:gd name="T69" fmla="*/ 76 h 125"/>
                <a:gd name="T70" fmla="*/ 26 w 215"/>
                <a:gd name="T71" fmla="*/ 83 h 125"/>
                <a:gd name="T72" fmla="*/ 26 w 215"/>
                <a:gd name="T73" fmla="*/ 83 h 125"/>
                <a:gd name="T74" fmla="*/ 26 w 215"/>
                <a:gd name="T75" fmla="*/ 83 h 125"/>
                <a:gd name="T76" fmla="*/ 26 w 215"/>
                <a:gd name="T77" fmla="*/ 83 h 125"/>
                <a:gd name="T78" fmla="*/ 26 w 215"/>
                <a:gd name="T79" fmla="*/ 83 h 125"/>
                <a:gd name="T80" fmla="*/ 26 w 215"/>
                <a:gd name="T81" fmla="*/ 97 h 125"/>
                <a:gd name="T82" fmla="*/ 26 w 215"/>
                <a:gd name="T83" fmla="*/ 97 h 125"/>
                <a:gd name="T84" fmla="*/ 26 w 215"/>
                <a:gd name="T85" fmla="*/ 97 h 125"/>
                <a:gd name="T86" fmla="*/ 26 w 215"/>
                <a:gd name="T87" fmla="*/ 109 h 125"/>
                <a:gd name="T88" fmla="*/ 42 w 215"/>
                <a:gd name="T89" fmla="*/ 114 h 125"/>
                <a:gd name="T90" fmla="*/ 37 w 215"/>
                <a:gd name="T91" fmla="*/ 114 h 125"/>
                <a:gd name="T92" fmla="*/ 42 w 215"/>
                <a:gd name="T93" fmla="*/ 114 h 125"/>
                <a:gd name="T94" fmla="*/ 54 w 215"/>
                <a:gd name="T95" fmla="*/ 97 h 125"/>
                <a:gd name="T96" fmla="*/ 42 w 215"/>
                <a:gd name="T97" fmla="*/ 11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 h="125">
                  <a:moveTo>
                    <a:pt x="0" y="21"/>
                  </a:moveTo>
                  <a:lnTo>
                    <a:pt x="37" y="17"/>
                  </a:lnTo>
                  <a:lnTo>
                    <a:pt x="63" y="17"/>
                  </a:lnTo>
                  <a:lnTo>
                    <a:pt x="106" y="0"/>
                  </a:lnTo>
                  <a:lnTo>
                    <a:pt x="165" y="0"/>
                  </a:lnTo>
                  <a:lnTo>
                    <a:pt x="203" y="0"/>
                  </a:lnTo>
                  <a:lnTo>
                    <a:pt x="215" y="21"/>
                  </a:lnTo>
                  <a:lnTo>
                    <a:pt x="186" y="38"/>
                  </a:lnTo>
                  <a:lnTo>
                    <a:pt x="203" y="45"/>
                  </a:lnTo>
                  <a:lnTo>
                    <a:pt x="203" y="71"/>
                  </a:lnTo>
                  <a:lnTo>
                    <a:pt x="186" y="71"/>
                  </a:lnTo>
                  <a:lnTo>
                    <a:pt x="165" y="71"/>
                  </a:lnTo>
                  <a:lnTo>
                    <a:pt x="148" y="76"/>
                  </a:lnTo>
                  <a:lnTo>
                    <a:pt x="134" y="83"/>
                  </a:lnTo>
                  <a:lnTo>
                    <a:pt x="113" y="125"/>
                  </a:lnTo>
                  <a:lnTo>
                    <a:pt x="113" y="114"/>
                  </a:lnTo>
                  <a:lnTo>
                    <a:pt x="113" y="97"/>
                  </a:lnTo>
                  <a:lnTo>
                    <a:pt x="106" y="114"/>
                  </a:lnTo>
                  <a:lnTo>
                    <a:pt x="106" y="97"/>
                  </a:lnTo>
                  <a:lnTo>
                    <a:pt x="96" y="109"/>
                  </a:lnTo>
                  <a:lnTo>
                    <a:pt x="89" y="109"/>
                  </a:lnTo>
                  <a:lnTo>
                    <a:pt x="89" y="92"/>
                  </a:lnTo>
                  <a:lnTo>
                    <a:pt x="96" y="83"/>
                  </a:lnTo>
                  <a:lnTo>
                    <a:pt x="80" y="92"/>
                  </a:lnTo>
                  <a:lnTo>
                    <a:pt x="96" y="76"/>
                  </a:lnTo>
                  <a:lnTo>
                    <a:pt x="113" y="76"/>
                  </a:lnTo>
                  <a:lnTo>
                    <a:pt x="96" y="71"/>
                  </a:lnTo>
                  <a:lnTo>
                    <a:pt x="89" y="76"/>
                  </a:lnTo>
                  <a:lnTo>
                    <a:pt x="89" y="71"/>
                  </a:lnTo>
                  <a:lnTo>
                    <a:pt x="80" y="71"/>
                  </a:lnTo>
                  <a:lnTo>
                    <a:pt x="89" y="54"/>
                  </a:lnTo>
                  <a:lnTo>
                    <a:pt x="106" y="54"/>
                  </a:lnTo>
                  <a:lnTo>
                    <a:pt x="118" y="59"/>
                  </a:lnTo>
                  <a:lnTo>
                    <a:pt x="113" y="54"/>
                  </a:lnTo>
                  <a:lnTo>
                    <a:pt x="118" y="45"/>
                  </a:lnTo>
                  <a:lnTo>
                    <a:pt x="106" y="54"/>
                  </a:lnTo>
                  <a:lnTo>
                    <a:pt x="89" y="45"/>
                  </a:lnTo>
                  <a:lnTo>
                    <a:pt x="75" y="59"/>
                  </a:lnTo>
                  <a:lnTo>
                    <a:pt x="54" y="59"/>
                  </a:lnTo>
                  <a:lnTo>
                    <a:pt x="59" y="45"/>
                  </a:lnTo>
                  <a:lnTo>
                    <a:pt x="63" y="45"/>
                  </a:lnTo>
                  <a:lnTo>
                    <a:pt x="37" y="54"/>
                  </a:lnTo>
                  <a:lnTo>
                    <a:pt x="26" y="54"/>
                  </a:lnTo>
                  <a:lnTo>
                    <a:pt x="21" y="38"/>
                  </a:lnTo>
                  <a:lnTo>
                    <a:pt x="42" y="21"/>
                  </a:lnTo>
                  <a:lnTo>
                    <a:pt x="9" y="28"/>
                  </a:lnTo>
                  <a:lnTo>
                    <a:pt x="0" y="21"/>
                  </a:lnTo>
                  <a:lnTo>
                    <a:pt x="0" y="21"/>
                  </a:lnTo>
                  <a:lnTo>
                    <a:pt x="0" y="21"/>
                  </a:lnTo>
                  <a:close/>
                  <a:moveTo>
                    <a:pt x="26" y="59"/>
                  </a:moveTo>
                  <a:lnTo>
                    <a:pt x="26" y="45"/>
                  </a:lnTo>
                  <a:lnTo>
                    <a:pt x="37" y="54"/>
                  </a:lnTo>
                  <a:lnTo>
                    <a:pt x="26" y="59"/>
                  </a:lnTo>
                  <a:lnTo>
                    <a:pt x="26" y="59"/>
                  </a:lnTo>
                  <a:lnTo>
                    <a:pt x="26" y="59"/>
                  </a:lnTo>
                  <a:close/>
                  <a:moveTo>
                    <a:pt x="42" y="59"/>
                  </a:moveTo>
                  <a:lnTo>
                    <a:pt x="37" y="54"/>
                  </a:lnTo>
                  <a:lnTo>
                    <a:pt x="54" y="54"/>
                  </a:lnTo>
                  <a:lnTo>
                    <a:pt x="42" y="59"/>
                  </a:lnTo>
                  <a:lnTo>
                    <a:pt x="42" y="59"/>
                  </a:lnTo>
                  <a:lnTo>
                    <a:pt x="42" y="59"/>
                  </a:lnTo>
                  <a:close/>
                  <a:moveTo>
                    <a:pt x="42" y="83"/>
                  </a:moveTo>
                  <a:lnTo>
                    <a:pt x="42" y="76"/>
                  </a:lnTo>
                  <a:lnTo>
                    <a:pt x="54" y="76"/>
                  </a:lnTo>
                  <a:lnTo>
                    <a:pt x="54" y="83"/>
                  </a:lnTo>
                  <a:lnTo>
                    <a:pt x="42" y="83"/>
                  </a:lnTo>
                  <a:lnTo>
                    <a:pt x="42" y="83"/>
                  </a:lnTo>
                  <a:lnTo>
                    <a:pt x="42" y="83"/>
                  </a:lnTo>
                  <a:close/>
                  <a:moveTo>
                    <a:pt x="26" y="83"/>
                  </a:moveTo>
                  <a:lnTo>
                    <a:pt x="21" y="76"/>
                  </a:lnTo>
                  <a:lnTo>
                    <a:pt x="26" y="76"/>
                  </a:lnTo>
                  <a:lnTo>
                    <a:pt x="26" y="83"/>
                  </a:lnTo>
                  <a:lnTo>
                    <a:pt x="26" y="83"/>
                  </a:lnTo>
                  <a:lnTo>
                    <a:pt x="26" y="83"/>
                  </a:lnTo>
                  <a:close/>
                  <a:moveTo>
                    <a:pt x="26" y="83"/>
                  </a:moveTo>
                  <a:lnTo>
                    <a:pt x="26" y="83"/>
                  </a:lnTo>
                  <a:lnTo>
                    <a:pt x="37" y="76"/>
                  </a:lnTo>
                  <a:lnTo>
                    <a:pt x="26" y="83"/>
                  </a:lnTo>
                  <a:lnTo>
                    <a:pt x="26" y="83"/>
                  </a:lnTo>
                  <a:lnTo>
                    <a:pt x="26" y="83"/>
                  </a:lnTo>
                  <a:close/>
                  <a:moveTo>
                    <a:pt x="26" y="97"/>
                  </a:moveTo>
                  <a:lnTo>
                    <a:pt x="26" y="97"/>
                  </a:lnTo>
                  <a:lnTo>
                    <a:pt x="37" y="97"/>
                  </a:lnTo>
                  <a:lnTo>
                    <a:pt x="26" y="97"/>
                  </a:lnTo>
                  <a:lnTo>
                    <a:pt x="26" y="97"/>
                  </a:lnTo>
                  <a:lnTo>
                    <a:pt x="26" y="97"/>
                  </a:lnTo>
                  <a:close/>
                  <a:moveTo>
                    <a:pt x="37" y="114"/>
                  </a:moveTo>
                  <a:lnTo>
                    <a:pt x="26" y="109"/>
                  </a:lnTo>
                  <a:lnTo>
                    <a:pt x="42" y="97"/>
                  </a:lnTo>
                  <a:lnTo>
                    <a:pt x="42" y="114"/>
                  </a:lnTo>
                  <a:lnTo>
                    <a:pt x="37" y="114"/>
                  </a:lnTo>
                  <a:lnTo>
                    <a:pt x="37" y="114"/>
                  </a:lnTo>
                  <a:lnTo>
                    <a:pt x="37" y="114"/>
                  </a:lnTo>
                  <a:close/>
                  <a:moveTo>
                    <a:pt x="42" y="114"/>
                  </a:moveTo>
                  <a:lnTo>
                    <a:pt x="42" y="109"/>
                  </a:lnTo>
                  <a:lnTo>
                    <a:pt x="54" y="97"/>
                  </a:lnTo>
                  <a:lnTo>
                    <a:pt x="42" y="114"/>
                  </a:lnTo>
                  <a:lnTo>
                    <a:pt x="42" y="114"/>
                  </a:lnTo>
                  <a:lnTo>
                    <a:pt x="42" y="114"/>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7" name="Freeform 538">
              <a:extLst>
                <a:ext uri="{FF2B5EF4-FFF2-40B4-BE49-F238E27FC236}">
                  <a16:creationId xmlns:a16="http://schemas.microsoft.com/office/drawing/2014/main" id="{8E35AB34-23D3-4260-8961-E42A7BDF368C}"/>
                </a:ext>
              </a:extLst>
            </p:cNvPr>
            <p:cNvSpPr>
              <a:spLocks/>
            </p:cNvSpPr>
            <p:nvPr/>
          </p:nvSpPr>
          <p:spPr bwMode="gray">
            <a:xfrm>
              <a:off x="14908032" y="3482723"/>
              <a:ext cx="20947" cy="41894"/>
            </a:xfrm>
            <a:custGeom>
              <a:avLst/>
              <a:gdLst>
                <a:gd name="T0" fmla="*/ 42 w 64"/>
                <a:gd name="T1" fmla="*/ 116 h 128"/>
                <a:gd name="T2" fmla="*/ 16 w 64"/>
                <a:gd name="T3" fmla="*/ 128 h 128"/>
                <a:gd name="T4" fmla="*/ 12 w 64"/>
                <a:gd name="T5" fmla="*/ 111 h 128"/>
                <a:gd name="T6" fmla="*/ 0 w 64"/>
                <a:gd name="T7" fmla="*/ 55 h 128"/>
                <a:gd name="T8" fmla="*/ 12 w 64"/>
                <a:gd name="T9" fmla="*/ 55 h 128"/>
                <a:gd name="T10" fmla="*/ 12 w 64"/>
                <a:gd name="T11" fmla="*/ 45 h 128"/>
                <a:gd name="T12" fmla="*/ 16 w 64"/>
                <a:gd name="T13" fmla="*/ 38 h 128"/>
                <a:gd name="T14" fmla="*/ 16 w 64"/>
                <a:gd name="T15" fmla="*/ 38 h 128"/>
                <a:gd name="T16" fmla="*/ 26 w 64"/>
                <a:gd name="T17" fmla="*/ 5 h 128"/>
                <a:gd name="T18" fmla="*/ 42 w 64"/>
                <a:gd name="T19" fmla="*/ 0 h 128"/>
                <a:gd name="T20" fmla="*/ 47 w 64"/>
                <a:gd name="T21" fmla="*/ 17 h 128"/>
                <a:gd name="T22" fmla="*/ 64 w 64"/>
                <a:gd name="T23" fmla="*/ 22 h 128"/>
                <a:gd name="T24" fmla="*/ 64 w 64"/>
                <a:gd name="T25" fmla="*/ 38 h 128"/>
                <a:gd name="T26" fmla="*/ 54 w 64"/>
                <a:gd name="T27" fmla="*/ 55 h 128"/>
                <a:gd name="T28" fmla="*/ 54 w 64"/>
                <a:gd name="T29" fmla="*/ 71 h 128"/>
                <a:gd name="T30" fmla="*/ 64 w 64"/>
                <a:gd name="T31" fmla="*/ 71 h 128"/>
                <a:gd name="T32" fmla="*/ 64 w 64"/>
                <a:gd name="T33" fmla="*/ 83 h 128"/>
                <a:gd name="T34" fmla="*/ 47 w 64"/>
                <a:gd name="T35" fmla="*/ 128 h 128"/>
                <a:gd name="T36" fmla="*/ 42 w 64"/>
                <a:gd name="T37" fmla="*/ 116 h 128"/>
                <a:gd name="T38" fmla="*/ 42 w 64"/>
                <a:gd name="T39" fmla="*/ 116 h 128"/>
                <a:gd name="T40" fmla="*/ 42 w 64"/>
                <a:gd name="T41" fmla="*/ 1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128">
                  <a:moveTo>
                    <a:pt x="42" y="116"/>
                  </a:moveTo>
                  <a:lnTo>
                    <a:pt x="16" y="128"/>
                  </a:lnTo>
                  <a:lnTo>
                    <a:pt x="12" y="111"/>
                  </a:lnTo>
                  <a:lnTo>
                    <a:pt x="0" y="55"/>
                  </a:lnTo>
                  <a:lnTo>
                    <a:pt x="12" y="55"/>
                  </a:lnTo>
                  <a:lnTo>
                    <a:pt x="12" y="45"/>
                  </a:lnTo>
                  <a:lnTo>
                    <a:pt x="16" y="38"/>
                  </a:lnTo>
                  <a:lnTo>
                    <a:pt x="16" y="38"/>
                  </a:lnTo>
                  <a:lnTo>
                    <a:pt x="26" y="5"/>
                  </a:lnTo>
                  <a:lnTo>
                    <a:pt x="42" y="0"/>
                  </a:lnTo>
                  <a:lnTo>
                    <a:pt x="47" y="17"/>
                  </a:lnTo>
                  <a:lnTo>
                    <a:pt x="64" y="22"/>
                  </a:lnTo>
                  <a:lnTo>
                    <a:pt x="64" y="38"/>
                  </a:lnTo>
                  <a:lnTo>
                    <a:pt x="54" y="55"/>
                  </a:lnTo>
                  <a:lnTo>
                    <a:pt x="54" y="71"/>
                  </a:lnTo>
                  <a:lnTo>
                    <a:pt x="64" y="71"/>
                  </a:lnTo>
                  <a:lnTo>
                    <a:pt x="64" y="83"/>
                  </a:lnTo>
                  <a:lnTo>
                    <a:pt x="47" y="128"/>
                  </a:lnTo>
                  <a:lnTo>
                    <a:pt x="42" y="116"/>
                  </a:lnTo>
                  <a:lnTo>
                    <a:pt x="42" y="116"/>
                  </a:lnTo>
                  <a:lnTo>
                    <a:pt x="42" y="116"/>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8" name="Freeform 539">
              <a:extLst>
                <a:ext uri="{FF2B5EF4-FFF2-40B4-BE49-F238E27FC236}">
                  <a16:creationId xmlns:a16="http://schemas.microsoft.com/office/drawing/2014/main" id="{CE5C07A1-752E-426E-8F50-F79818C619C9}"/>
                </a:ext>
              </a:extLst>
            </p:cNvPr>
            <p:cNvSpPr>
              <a:spLocks/>
            </p:cNvSpPr>
            <p:nvPr/>
          </p:nvSpPr>
          <p:spPr bwMode="gray">
            <a:xfrm>
              <a:off x="15011458" y="4613206"/>
              <a:ext cx="15710" cy="12437"/>
            </a:xfrm>
            <a:custGeom>
              <a:avLst/>
              <a:gdLst>
                <a:gd name="T0" fmla="*/ 34 w 48"/>
                <a:gd name="T1" fmla="*/ 5 h 38"/>
                <a:gd name="T2" fmla="*/ 48 w 48"/>
                <a:gd name="T3" fmla="*/ 21 h 38"/>
                <a:gd name="T4" fmla="*/ 38 w 48"/>
                <a:gd name="T5" fmla="*/ 33 h 38"/>
                <a:gd name="T6" fmla="*/ 34 w 48"/>
                <a:gd name="T7" fmla="*/ 38 h 38"/>
                <a:gd name="T8" fmla="*/ 8 w 48"/>
                <a:gd name="T9" fmla="*/ 33 h 38"/>
                <a:gd name="T10" fmla="*/ 0 w 48"/>
                <a:gd name="T11" fmla="*/ 16 h 38"/>
                <a:gd name="T12" fmla="*/ 17 w 48"/>
                <a:gd name="T13" fmla="*/ 0 h 38"/>
                <a:gd name="T14" fmla="*/ 34 w 48"/>
                <a:gd name="T15" fmla="*/ 0 h 38"/>
                <a:gd name="T16" fmla="*/ 34 w 48"/>
                <a:gd name="T17" fmla="*/ 5 h 38"/>
                <a:gd name="T18" fmla="*/ 34 w 48"/>
                <a:gd name="T19" fmla="*/ 5 h 38"/>
                <a:gd name="T20" fmla="*/ 34 w 48"/>
                <a:gd name="T21"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38">
                  <a:moveTo>
                    <a:pt x="34" y="5"/>
                  </a:moveTo>
                  <a:lnTo>
                    <a:pt x="48" y="21"/>
                  </a:lnTo>
                  <a:lnTo>
                    <a:pt x="38" y="33"/>
                  </a:lnTo>
                  <a:lnTo>
                    <a:pt x="34" y="38"/>
                  </a:lnTo>
                  <a:lnTo>
                    <a:pt x="8" y="33"/>
                  </a:lnTo>
                  <a:lnTo>
                    <a:pt x="0" y="16"/>
                  </a:lnTo>
                  <a:lnTo>
                    <a:pt x="17" y="0"/>
                  </a:lnTo>
                  <a:lnTo>
                    <a:pt x="34" y="0"/>
                  </a:lnTo>
                  <a:lnTo>
                    <a:pt x="34" y="5"/>
                  </a:lnTo>
                  <a:lnTo>
                    <a:pt x="34" y="5"/>
                  </a:lnTo>
                  <a:lnTo>
                    <a:pt x="34" y="5"/>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9" name="Freeform 540">
              <a:extLst>
                <a:ext uri="{FF2B5EF4-FFF2-40B4-BE49-F238E27FC236}">
                  <a16:creationId xmlns:a16="http://schemas.microsoft.com/office/drawing/2014/main" id="{97CCF1A6-01AC-4CBC-8B15-07CF47C7E092}"/>
                </a:ext>
              </a:extLst>
            </p:cNvPr>
            <p:cNvSpPr>
              <a:spLocks/>
            </p:cNvSpPr>
            <p:nvPr/>
          </p:nvSpPr>
          <p:spPr bwMode="gray">
            <a:xfrm>
              <a:off x="14209909" y="2878206"/>
              <a:ext cx="216343" cy="136810"/>
            </a:xfrm>
            <a:custGeom>
              <a:avLst/>
              <a:gdLst>
                <a:gd name="T0" fmla="*/ 151 w 661"/>
                <a:gd name="T1" fmla="*/ 340 h 418"/>
                <a:gd name="T2" fmla="*/ 151 w 661"/>
                <a:gd name="T3" fmla="*/ 324 h 418"/>
                <a:gd name="T4" fmla="*/ 130 w 661"/>
                <a:gd name="T5" fmla="*/ 340 h 418"/>
                <a:gd name="T6" fmla="*/ 97 w 661"/>
                <a:gd name="T7" fmla="*/ 324 h 418"/>
                <a:gd name="T8" fmla="*/ 80 w 661"/>
                <a:gd name="T9" fmla="*/ 317 h 418"/>
                <a:gd name="T10" fmla="*/ 92 w 661"/>
                <a:gd name="T11" fmla="*/ 307 h 418"/>
                <a:gd name="T12" fmla="*/ 92 w 661"/>
                <a:gd name="T13" fmla="*/ 284 h 418"/>
                <a:gd name="T14" fmla="*/ 38 w 661"/>
                <a:gd name="T15" fmla="*/ 229 h 418"/>
                <a:gd name="T16" fmla="*/ 0 w 661"/>
                <a:gd name="T17" fmla="*/ 196 h 418"/>
                <a:gd name="T18" fmla="*/ 28 w 661"/>
                <a:gd name="T19" fmla="*/ 196 h 418"/>
                <a:gd name="T20" fmla="*/ 71 w 661"/>
                <a:gd name="T21" fmla="*/ 184 h 418"/>
                <a:gd name="T22" fmla="*/ 92 w 661"/>
                <a:gd name="T23" fmla="*/ 140 h 418"/>
                <a:gd name="T24" fmla="*/ 123 w 661"/>
                <a:gd name="T25" fmla="*/ 85 h 418"/>
                <a:gd name="T26" fmla="*/ 146 w 661"/>
                <a:gd name="T27" fmla="*/ 57 h 418"/>
                <a:gd name="T28" fmla="*/ 182 w 661"/>
                <a:gd name="T29" fmla="*/ 29 h 418"/>
                <a:gd name="T30" fmla="*/ 220 w 661"/>
                <a:gd name="T31" fmla="*/ 29 h 418"/>
                <a:gd name="T32" fmla="*/ 295 w 661"/>
                <a:gd name="T33" fmla="*/ 29 h 418"/>
                <a:gd name="T34" fmla="*/ 349 w 661"/>
                <a:gd name="T35" fmla="*/ 29 h 418"/>
                <a:gd name="T36" fmla="*/ 420 w 661"/>
                <a:gd name="T37" fmla="*/ 7 h 418"/>
                <a:gd name="T38" fmla="*/ 468 w 661"/>
                <a:gd name="T39" fmla="*/ 19 h 418"/>
                <a:gd name="T40" fmla="*/ 527 w 661"/>
                <a:gd name="T41" fmla="*/ 102 h 418"/>
                <a:gd name="T42" fmla="*/ 560 w 661"/>
                <a:gd name="T43" fmla="*/ 168 h 418"/>
                <a:gd name="T44" fmla="*/ 553 w 661"/>
                <a:gd name="T45" fmla="*/ 239 h 418"/>
                <a:gd name="T46" fmla="*/ 553 w 661"/>
                <a:gd name="T47" fmla="*/ 262 h 418"/>
                <a:gd name="T48" fmla="*/ 590 w 661"/>
                <a:gd name="T49" fmla="*/ 279 h 418"/>
                <a:gd name="T50" fmla="*/ 649 w 661"/>
                <a:gd name="T51" fmla="*/ 267 h 418"/>
                <a:gd name="T52" fmla="*/ 649 w 661"/>
                <a:gd name="T53" fmla="*/ 317 h 418"/>
                <a:gd name="T54" fmla="*/ 612 w 661"/>
                <a:gd name="T55" fmla="*/ 307 h 418"/>
                <a:gd name="T56" fmla="*/ 612 w 661"/>
                <a:gd name="T57" fmla="*/ 300 h 418"/>
                <a:gd name="T58" fmla="*/ 607 w 661"/>
                <a:gd name="T59" fmla="*/ 317 h 418"/>
                <a:gd name="T60" fmla="*/ 612 w 661"/>
                <a:gd name="T61" fmla="*/ 324 h 418"/>
                <a:gd name="T62" fmla="*/ 590 w 661"/>
                <a:gd name="T63" fmla="*/ 340 h 418"/>
                <a:gd name="T64" fmla="*/ 581 w 661"/>
                <a:gd name="T65" fmla="*/ 357 h 418"/>
                <a:gd name="T66" fmla="*/ 581 w 661"/>
                <a:gd name="T67" fmla="*/ 411 h 418"/>
                <a:gd name="T68" fmla="*/ 538 w 661"/>
                <a:gd name="T69" fmla="*/ 390 h 418"/>
                <a:gd name="T70" fmla="*/ 510 w 661"/>
                <a:gd name="T71" fmla="*/ 378 h 418"/>
                <a:gd name="T72" fmla="*/ 489 w 661"/>
                <a:gd name="T73" fmla="*/ 373 h 418"/>
                <a:gd name="T74" fmla="*/ 413 w 661"/>
                <a:gd name="T75" fmla="*/ 390 h 418"/>
                <a:gd name="T76" fmla="*/ 361 w 661"/>
                <a:gd name="T77" fmla="*/ 418 h 418"/>
                <a:gd name="T78" fmla="*/ 274 w 661"/>
                <a:gd name="T79" fmla="*/ 411 h 418"/>
                <a:gd name="T80" fmla="*/ 182 w 661"/>
                <a:gd name="T81" fmla="*/ 406 h 418"/>
                <a:gd name="T82" fmla="*/ 189 w 661"/>
                <a:gd name="T83" fmla="*/ 378 h 418"/>
                <a:gd name="T84" fmla="*/ 168 w 661"/>
                <a:gd name="T85" fmla="*/ 36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1" h="418">
                  <a:moveTo>
                    <a:pt x="168" y="362"/>
                  </a:moveTo>
                  <a:lnTo>
                    <a:pt x="151" y="340"/>
                  </a:lnTo>
                  <a:lnTo>
                    <a:pt x="177" y="340"/>
                  </a:lnTo>
                  <a:lnTo>
                    <a:pt x="151" y="324"/>
                  </a:lnTo>
                  <a:lnTo>
                    <a:pt x="146" y="324"/>
                  </a:lnTo>
                  <a:lnTo>
                    <a:pt x="130" y="340"/>
                  </a:lnTo>
                  <a:lnTo>
                    <a:pt x="123" y="333"/>
                  </a:lnTo>
                  <a:lnTo>
                    <a:pt x="97" y="324"/>
                  </a:lnTo>
                  <a:lnTo>
                    <a:pt x="92" y="317"/>
                  </a:lnTo>
                  <a:lnTo>
                    <a:pt x="80" y="317"/>
                  </a:lnTo>
                  <a:lnTo>
                    <a:pt x="75" y="307"/>
                  </a:lnTo>
                  <a:lnTo>
                    <a:pt x="92" y="307"/>
                  </a:lnTo>
                  <a:lnTo>
                    <a:pt x="75" y="300"/>
                  </a:lnTo>
                  <a:lnTo>
                    <a:pt x="92" y="284"/>
                  </a:lnTo>
                  <a:lnTo>
                    <a:pt x="38" y="251"/>
                  </a:lnTo>
                  <a:lnTo>
                    <a:pt x="38" y="229"/>
                  </a:lnTo>
                  <a:lnTo>
                    <a:pt x="28" y="229"/>
                  </a:lnTo>
                  <a:lnTo>
                    <a:pt x="0" y="196"/>
                  </a:lnTo>
                  <a:lnTo>
                    <a:pt x="16" y="189"/>
                  </a:lnTo>
                  <a:lnTo>
                    <a:pt x="28" y="196"/>
                  </a:lnTo>
                  <a:lnTo>
                    <a:pt x="38" y="184"/>
                  </a:lnTo>
                  <a:lnTo>
                    <a:pt x="71" y="184"/>
                  </a:lnTo>
                  <a:lnTo>
                    <a:pt x="75" y="151"/>
                  </a:lnTo>
                  <a:lnTo>
                    <a:pt x="92" y="140"/>
                  </a:lnTo>
                  <a:lnTo>
                    <a:pt x="97" y="118"/>
                  </a:lnTo>
                  <a:lnTo>
                    <a:pt x="123" y="85"/>
                  </a:lnTo>
                  <a:lnTo>
                    <a:pt x="123" y="73"/>
                  </a:lnTo>
                  <a:lnTo>
                    <a:pt x="146" y="57"/>
                  </a:lnTo>
                  <a:lnTo>
                    <a:pt x="168" y="45"/>
                  </a:lnTo>
                  <a:lnTo>
                    <a:pt x="182" y="29"/>
                  </a:lnTo>
                  <a:lnTo>
                    <a:pt x="205" y="19"/>
                  </a:lnTo>
                  <a:lnTo>
                    <a:pt x="220" y="29"/>
                  </a:lnTo>
                  <a:lnTo>
                    <a:pt x="274" y="29"/>
                  </a:lnTo>
                  <a:lnTo>
                    <a:pt x="295" y="29"/>
                  </a:lnTo>
                  <a:lnTo>
                    <a:pt x="328" y="57"/>
                  </a:lnTo>
                  <a:lnTo>
                    <a:pt x="349" y="29"/>
                  </a:lnTo>
                  <a:lnTo>
                    <a:pt x="413" y="29"/>
                  </a:lnTo>
                  <a:lnTo>
                    <a:pt x="420" y="7"/>
                  </a:lnTo>
                  <a:lnTo>
                    <a:pt x="446" y="0"/>
                  </a:lnTo>
                  <a:lnTo>
                    <a:pt x="468" y="19"/>
                  </a:lnTo>
                  <a:lnTo>
                    <a:pt x="489" y="57"/>
                  </a:lnTo>
                  <a:lnTo>
                    <a:pt x="527" y="102"/>
                  </a:lnTo>
                  <a:lnTo>
                    <a:pt x="543" y="118"/>
                  </a:lnTo>
                  <a:lnTo>
                    <a:pt x="560" y="168"/>
                  </a:lnTo>
                  <a:lnTo>
                    <a:pt x="543" y="196"/>
                  </a:lnTo>
                  <a:lnTo>
                    <a:pt x="553" y="239"/>
                  </a:lnTo>
                  <a:lnTo>
                    <a:pt x="543" y="246"/>
                  </a:lnTo>
                  <a:lnTo>
                    <a:pt x="553" y="262"/>
                  </a:lnTo>
                  <a:lnTo>
                    <a:pt x="564" y="267"/>
                  </a:lnTo>
                  <a:lnTo>
                    <a:pt x="590" y="279"/>
                  </a:lnTo>
                  <a:lnTo>
                    <a:pt x="635" y="262"/>
                  </a:lnTo>
                  <a:lnTo>
                    <a:pt x="649" y="267"/>
                  </a:lnTo>
                  <a:lnTo>
                    <a:pt x="661" y="279"/>
                  </a:lnTo>
                  <a:lnTo>
                    <a:pt x="649" y="317"/>
                  </a:lnTo>
                  <a:lnTo>
                    <a:pt x="612" y="317"/>
                  </a:lnTo>
                  <a:lnTo>
                    <a:pt x="612" y="307"/>
                  </a:lnTo>
                  <a:lnTo>
                    <a:pt x="619" y="300"/>
                  </a:lnTo>
                  <a:lnTo>
                    <a:pt x="612" y="300"/>
                  </a:lnTo>
                  <a:lnTo>
                    <a:pt x="598" y="300"/>
                  </a:lnTo>
                  <a:lnTo>
                    <a:pt x="607" y="317"/>
                  </a:lnTo>
                  <a:lnTo>
                    <a:pt x="598" y="333"/>
                  </a:lnTo>
                  <a:lnTo>
                    <a:pt x="612" y="324"/>
                  </a:lnTo>
                  <a:lnTo>
                    <a:pt x="590" y="333"/>
                  </a:lnTo>
                  <a:lnTo>
                    <a:pt x="590" y="340"/>
                  </a:lnTo>
                  <a:lnTo>
                    <a:pt x="607" y="333"/>
                  </a:lnTo>
                  <a:lnTo>
                    <a:pt x="581" y="357"/>
                  </a:lnTo>
                  <a:lnTo>
                    <a:pt x="590" y="390"/>
                  </a:lnTo>
                  <a:lnTo>
                    <a:pt x="581" y="411"/>
                  </a:lnTo>
                  <a:lnTo>
                    <a:pt x="543" y="406"/>
                  </a:lnTo>
                  <a:lnTo>
                    <a:pt x="538" y="390"/>
                  </a:lnTo>
                  <a:lnTo>
                    <a:pt x="522" y="390"/>
                  </a:lnTo>
                  <a:lnTo>
                    <a:pt x="510" y="378"/>
                  </a:lnTo>
                  <a:lnTo>
                    <a:pt x="501" y="390"/>
                  </a:lnTo>
                  <a:lnTo>
                    <a:pt x="489" y="373"/>
                  </a:lnTo>
                  <a:lnTo>
                    <a:pt x="472" y="373"/>
                  </a:lnTo>
                  <a:lnTo>
                    <a:pt x="413" y="390"/>
                  </a:lnTo>
                  <a:lnTo>
                    <a:pt x="383" y="411"/>
                  </a:lnTo>
                  <a:lnTo>
                    <a:pt x="361" y="418"/>
                  </a:lnTo>
                  <a:lnTo>
                    <a:pt x="295" y="406"/>
                  </a:lnTo>
                  <a:lnTo>
                    <a:pt x="274" y="411"/>
                  </a:lnTo>
                  <a:lnTo>
                    <a:pt x="220" y="395"/>
                  </a:lnTo>
                  <a:lnTo>
                    <a:pt x="182" y="406"/>
                  </a:lnTo>
                  <a:lnTo>
                    <a:pt x="182" y="390"/>
                  </a:lnTo>
                  <a:lnTo>
                    <a:pt x="189" y="378"/>
                  </a:lnTo>
                  <a:lnTo>
                    <a:pt x="168" y="362"/>
                  </a:lnTo>
                  <a:lnTo>
                    <a:pt x="168" y="362"/>
                  </a:lnTo>
                  <a:lnTo>
                    <a:pt x="168" y="362"/>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0" name="Freeform 541">
              <a:extLst>
                <a:ext uri="{FF2B5EF4-FFF2-40B4-BE49-F238E27FC236}">
                  <a16:creationId xmlns:a16="http://schemas.microsoft.com/office/drawing/2014/main" id="{4B4AD4F8-12DC-4D09-B456-3C38EAC11668}"/>
                </a:ext>
              </a:extLst>
            </p:cNvPr>
            <p:cNvSpPr>
              <a:spLocks noEditPoints="1"/>
            </p:cNvSpPr>
            <p:nvPr/>
          </p:nvSpPr>
          <p:spPr bwMode="gray">
            <a:xfrm>
              <a:off x="16428652" y="3648336"/>
              <a:ext cx="221253" cy="348571"/>
            </a:xfrm>
            <a:custGeom>
              <a:avLst/>
              <a:gdLst>
                <a:gd name="T0" fmla="*/ 324 w 676"/>
                <a:gd name="T1" fmla="*/ 16 h 1065"/>
                <a:gd name="T2" fmla="*/ 310 w 676"/>
                <a:gd name="T3" fmla="*/ 50 h 1065"/>
                <a:gd name="T4" fmla="*/ 459 w 676"/>
                <a:gd name="T5" fmla="*/ 437 h 1065"/>
                <a:gd name="T6" fmla="*/ 487 w 676"/>
                <a:gd name="T7" fmla="*/ 494 h 1065"/>
                <a:gd name="T8" fmla="*/ 395 w 676"/>
                <a:gd name="T9" fmla="*/ 416 h 1065"/>
                <a:gd name="T10" fmla="*/ 260 w 676"/>
                <a:gd name="T11" fmla="*/ 416 h 1065"/>
                <a:gd name="T12" fmla="*/ 239 w 676"/>
                <a:gd name="T13" fmla="*/ 349 h 1065"/>
                <a:gd name="T14" fmla="*/ 244 w 676"/>
                <a:gd name="T15" fmla="*/ 250 h 1065"/>
                <a:gd name="T16" fmla="*/ 378 w 676"/>
                <a:gd name="T17" fmla="*/ 90 h 1065"/>
                <a:gd name="T18" fmla="*/ 369 w 676"/>
                <a:gd name="T19" fmla="*/ 250 h 1065"/>
                <a:gd name="T20" fmla="*/ 369 w 676"/>
                <a:gd name="T21" fmla="*/ 416 h 1065"/>
                <a:gd name="T22" fmla="*/ 433 w 676"/>
                <a:gd name="T23" fmla="*/ 437 h 1065"/>
                <a:gd name="T24" fmla="*/ 362 w 676"/>
                <a:gd name="T25" fmla="*/ 342 h 1065"/>
                <a:gd name="T26" fmla="*/ 369 w 676"/>
                <a:gd name="T27" fmla="*/ 361 h 1065"/>
                <a:gd name="T28" fmla="*/ 508 w 676"/>
                <a:gd name="T29" fmla="*/ 444 h 1065"/>
                <a:gd name="T30" fmla="*/ 345 w 676"/>
                <a:gd name="T31" fmla="*/ 461 h 1065"/>
                <a:gd name="T32" fmla="*/ 239 w 676"/>
                <a:gd name="T33" fmla="*/ 444 h 1065"/>
                <a:gd name="T34" fmla="*/ 487 w 676"/>
                <a:gd name="T35" fmla="*/ 453 h 1065"/>
                <a:gd name="T36" fmla="*/ 492 w 676"/>
                <a:gd name="T37" fmla="*/ 470 h 1065"/>
                <a:gd name="T38" fmla="*/ 362 w 676"/>
                <a:gd name="T39" fmla="*/ 510 h 1065"/>
                <a:gd name="T40" fmla="*/ 503 w 676"/>
                <a:gd name="T41" fmla="*/ 581 h 1065"/>
                <a:gd name="T42" fmla="*/ 617 w 676"/>
                <a:gd name="T43" fmla="*/ 626 h 1065"/>
                <a:gd name="T44" fmla="*/ 584 w 676"/>
                <a:gd name="T45" fmla="*/ 527 h 1065"/>
                <a:gd name="T46" fmla="*/ 617 w 676"/>
                <a:gd name="T47" fmla="*/ 626 h 1065"/>
                <a:gd name="T48" fmla="*/ 218 w 676"/>
                <a:gd name="T49" fmla="*/ 555 h 1065"/>
                <a:gd name="T50" fmla="*/ 293 w 676"/>
                <a:gd name="T51" fmla="*/ 538 h 1065"/>
                <a:gd name="T52" fmla="*/ 433 w 676"/>
                <a:gd name="T53" fmla="*/ 621 h 1065"/>
                <a:gd name="T54" fmla="*/ 369 w 676"/>
                <a:gd name="T55" fmla="*/ 572 h 1065"/>
                <a:gd name="T56" fmla="*/ 529 w 676"/>
                <a:gd name="T57" fmla="*/ 581 h 1065"/>
                <a:gd name="T58" fmla="*/ 525 w 676"/>
                <a:gd name="T59" fmla="*/ 638 h 1065"/>
                <a:gd name="T60" fmla="*/ 546 w 676"/>
                <a:gd name="T61" fmla="*/ 692 h 1065"/>
                <a:gd name="T62" fmla="*/ 189 w 676"/>
                <a:gd name="T63" fmla="*/ 666 h 1065"/>
                <a:gd name="T64" fmla="*/ 24 w 676"/>
                <a:gd name="T65" fmla="*/ 803 h 1065"/>
                <a:gd name="T66" fmla="*/ 168 w 676"/>
                <a:gd name="T67" fmla="*/ 659 h 1065"/>
                <a:gd name="T68" fmla="*/ 185 w 676"/>
                <a:gd name="T69" fmla="*/ 642 h 1065"/>
                <a:gd name="T70" fmla="*/ 475 w 676"/>
                <a:gd name="T71" fmla="*/ 666 h 1065"/>
                <a:gd name="T72" fmla="*/ 449 w 676"/>
                <a:gd name="T73" fmla="*/ 675 h 1065"/>
                <a:gd name="T74" fmla="*/ 416 w 676"/>
                <a:gd name="T75" fmla="*/ 699 h 1065"/>
                <a:gd name="T76" fmla="*/ 617 w 676"/>
                <a:gd name="T77" fmla="*/ 649 h 1065"/>
                <a:gd name="T78" fmla="*/ 407 w 676"/>
                <a:gd name="T79" fmla="*/ 659 h 1065"/>
                <a:gd name="T80" fmla="*/ 513 w 676"/>
                <a:gd name="T81" fmla="*/ 659 h 1065"/>
                <a:gd name="T82" fmla="*/ 201 w 676"/>
                <a:gd name="T83" fmla="*/ 666 h 1065"/>
                <a:gd name="T84" fmla="*/ 529 w 676"/>
                <a:gd name="T85" fmla="*/ 699 h 1065"/>
                <a:gd name="T86" fmla="*/ 529 w 676"/>
                <a:gd name="T87" fmla="*/ 699 h 1065"/>
                <a:gd name="T88" fmla="*/ 638 w 676"/>
                <a:gd name="T89" fmla="*/ 720 h 1065"/>
                <a:gd name="T90" fmla="*/ 407 w 676"/>
                <a:gd name="T91" fmla="*/ 886 h 1065"/>
                <a:gd name="T92" fmla="*/ 421 w 676"/>
                <a:gd name="T93" fmla="*/ 831 h 1065"/>
                <a:gd name="T94" fmla="*/ 513 w 676"/>
                <a:gd name="T95" fmla="*/ 815 h 1065"/>
                <a:gd name="T96" fmla="*/ 631 w 676"/>
                <a:gd name="T97" fmla="*/ 737 h 1065"/>
                <a:gd name="T98" fmla="*/ 664 w 676"/>
                <a:gd name="T99" fmla="*/ 860 h 1065"/>
                <a:gd name="T100" fmla="*/ 622 w 676"/>
                <a:gd name="T101" fmla="*/ 914 h 1065"/>
                <a:gd name="T102" fmla="*/ 584 w 676"/>
                <a:gd name="T103" fmla="*/ 1025 h 1065"/>
                <a:gd name="T104" fmla="*/ 492 w 676"/>
                <a:gd name="T105" fmla="*/ 869 h 1065"/>
                <a:gd name="T106" fmla="*/ 454 w 676"/>
                <a:gd name="T107" fmla="*/ 758 h 1065"/>
                <a:gd name="T108" fmla="*/ 546 w 676"/>
                <a:gd name="T109" fmla="*/ 770 h 1065"/>
                <a:gd name="T110" fmla="*/ 416 w 676"/>
                <a:gd name="T111" fmla="*/ 898 h 1065"/>
                <a:gd name="T112" fmla="*/ 622 w 676"/>
                <a:gd name="T113" fmla="*/ 914 h 1065"/>
                <a:gd name="T114" fmla="*/ 352 w 676"/>
                <a:gd name="T115" fmla="*/ 959 h 1065"/>
                <a:gd name="T116" fmla="*/ 255 w 676"/>
                <a:gd name="T117" fmla="*/ 959 h 1065"/>
                <a:gd name="T118" fmla="*/ 310 w 676"/>
                <a:gd name="T119" fmla="*/ 997 h 1065"/>
                <a:gd name="T120" fmla="*/ 277 w 676"/>
                <a:gd name="T121" fmla="*/ 1025 h 1065"/>
                <a:gd name="T122" fmla="*/ 206 w 676"/>
                <a:gd name="T123" fmla="*/ 1065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6" h="1065">
                  <a:moveTo>
                    <a:pt x="352" y="0"/>
                  </a:moveTo>
                  <a:lnTo>
                    <a:pt x="345" y="0"/>
                  </a:lnTo>
                  <a:lnTo>
                    <a:pt x="352" y="0"/>
                  </a:lnTo>
                  <a:lnTo>
                    <a:pt x="352" y="0"/>
                  </a:lnTo>
                  <a:lnTo>
                    <a:pt x="352" y="0"/>
                  </a:lnTo>
                  <a:close/>
                  <a:moveTo>
                    <a:pt x="324" y="16"/>
                  </a:moveTo>
                  <a:lnTo>
                    <a:pt x="314" y="12"/>
                  </a:lnTo>
                  <a:lnTo>
                    <a:pt x="324" y="12"/>
                  </a:lnTo>
                  <a:lnTo>
                    <a:pt x="324" y="16"/>
                  </a:lnTo>
                  <a:lnTo>
                    <a:pt x="324" y="16"/>
                  </a:lnTo>
                  <a:lnTo>
                    <a:pt x="324" y="16"/>
                  </a:lnTo>
                  <a:close/>
                  <a:moveTo>
                    <a:pt x="345" y="54"/>
                  </a:moveTo>
                  <a:lnTo>
                    <a:pt x="345" y="38"/>
                  </a:lnTo>
                  <a:lnTo>
                    <a:pt x="352" y="38"/>
                  </a:lnTo>
                  <a:lnTo>
                    <a:pt x="345" y="54"/>
                  </a:lnTo>
                  <a:lnTo>
                    <a:pt x="345" y="54"/>
                  </a:lnTo>
                  <a:lnTo>
                    <a:pt x="345" y="54"/>
                  </a:lnTo>
                  <a:close/>
                  <a:moveTo>
                    <a:pt x="310" y="50"/>
                  </a:moveTo>
                  <a:lnTo>
                    <a:pt x="314" y="50"/>
                  </a:lnTo>
                  <a:lnTo>
                    <a:pt x="310" y="50"/>
                  </a:lnTo>
                  <a:lnTo>
                    <a:pt x="310" y="50"/>
                  </a:lnTo>
                  <a:lnTo>
                    <a:pt x="310" y="50"/>
                  </a:lnTo>
                  <a:close/>
                  <a:moveTo>
                    <a:pt x="433" y="437"/>
                  </a:moveTo>
                  <a:lnTo>
                    <a:pt x="449" y="420"/>
                  </a:lnTo>
                  <a:lnTo>
                    <a:pt x="437" y="404"/>
                  </a:lnTo>
                  <a:lnTo>
                    <a:pt x="449" y="404"/>
                  </a:lnTo>
                  <a:lnTo>
                    <a:pt x="454" y="416"/>
                  </a:lnTo>
                  <a:lnTo>
                    <a:pt x="492" y="427"/>
                  </a:lnTo>
                  <a:lnTo>
                    <a:pt x="459" y="427"/>
                  </a:lnTo>
                  <a:lnTo>
                    <a:pt x="459" y="437"/>
                  </a:lnTo>
                  <a:lnTo>
                    <a:pt x="487" y="470"/>
                  </a:lnTo>
                  <a:lnTo>
                    <a:pt x="475" y="470"/>
                  </a:lnTo>
                  <a:lnTo>
                    <a:pt x="475" y="477"/>
                  </a:lnTo>
                  <a:lnTo>
                    <a:pt x="487" y="470"/>
                  </a:lnTo>
                  <a:lnTo>
                    <a:pt x="503" y="482"/>
                  </a:lnTo>
                  <a:lnTo>
                    <a:pt x="508" y="477"/>
                  </a:lnTo>
                  <a:lnTo>
                    <a:pt x="503" y="515"/>
                  </a:lnTo>
                  <a:lnTo>
                    <a:pt x="492" y="515"/>
                  </a:lnTo>
                  <a:lnTo>
                    <a:pt x="487" y="498"/>
                  </a:lnTo>
                  <a:lnTo>
                    <a:pt x="487" y="494"/>
                  </a:lnTo>
                  <a:lnTo>
                    <a:pt x="492" y="494"/>
                  </a:lnTo>
                  <a:lnTo>
                    <a:pt x="503" y="482"/>
                  </a:lnTo>
                  <a:lnTo>
                    <a:pt x="487" y="482"/>
                  </a:lnTo>
                  <a:lnTo>
                    <a:pt x="475" y="494"/>
                  </a:lnTo>
                  <a:lnTo>
                    <a:pt x="454" y="477"/>
                  </a:lnTo>
                  <a:lnTo>
                    <a:pt x="449" y="482"/>
                  </a:lnTo>
                  <a:lnTo>
                    <a:pt x="437" y="453"/>
                  </a:lnTo>
                  <a:lnTo>
                    <a:pt x="416" y="437"/>
                  </a:lnTo>
                  <a:lnTo>
                    <a:pt x="416" y="427"/>
                  </a:lnTo>
                  <a:lnTo>
                    <a:pt x="395" y="416"/>
                  </a:lnTo>
                  <a:lnTo>
                    <a:pt x="395" y="427"/>
                  </a:lnTo>
                  <a:lnTo>
                    <a:pt x="407" y="470"/>
                  </a:lnTo>
                  <a:lnTo>
                    <a:pt x="400" y="470"/>
                  </a:lnTo>
                  <a:lnTo>
                    <a:pt x="383" y="444"/>
                  </a:lnTo>
                  <a:lnTo>
                    <a:pt x="340" y="416"/>
                  </a:lnTo>
                  <a:lnTo>
                    <a:pt x="314" y="420"/>
                  </a:lnTo>
                  <a:lnTo>
                    <a:pt x="310" y="437"/>
                  </a:lnTo>
                  <a:lnTo>
                    <a:pt x="293" y="437"/>
                  </a:lnTo>
                  <a:lnTo>
                    <a:pt x="277" y="416"/>
                  </a:lnTo>
                  <a:lnTo>
                    <a:pt x="260" y="416"/>
                  </a:lnTo>
                  <a:lnTo>
                    <a:pt x="260" y="427"/>
                  </a:lnTo>
                  <a:lnTo>
                    <a:pt x="255" y="387"/>
                  </a:lnTo>
                  <a:lnTo>
                    <a:pt x="286" y="371"/>
                  </a:lnTo>
                  <a:lnTo>
                    <a:pt x="286" y="366"/>
                  </a:lnTo>
                  <a:lnTo>
                    <a:pt x="277" y="349"/>
                  </a:lnTo>
                  <a:lnTo>
                    <a:pt x="255" y="349"/>
                  </a:lnTo>
                  <a:lnTo>
                    <a:pt x="255" y="371"/>
                  </a:lnTo>
                  <a:lnTo>
                    <a:pt x="244" y="383"/>
                  </a:lnTo>
                  <a:lnTo>
                    <a:pt x="234" y="361"/>
                  </a:lnTo>
                  <a:lnTo>
                    <a:pt x="239" y="349"/>
                  </a:lnTo>
                  <a:lnTo>
                    <a:pt x="222" y="349"/>
                  </a:lnTo>
                  <a:lnTo>
                    <a:pt x="218" y="316"/>
                  </a:lnTo>
                  <a:lnTo>
                    <a:pt x="206" y="305"/>
                  </a:lnTo>
                  <a:lnTo>
                    <a:pt x="206" y="272"/>
                  </a:lnTo>
                  <a:lnTo>
                    <a:pt x="206" y="260"/>
                  </a:lnTo>
                  <a:lnTo>
                    <a:pt x="201" y="272"/>
                  </a:lnTo>
                  <a:lnTo>
                    <a:pt x="201" y="250"/>
                  </a:lnTo>
                  <a:lnTo>
                    <a:pt x="206" y="234"/>
                  </a:lnTo>
                  <a:lnTo>
                    <a:pt x="222" y="260"/>
                  </a:lnTo>
                  <a:lnTo>
                    <a:pt x="244" y="250"/>
                  </a:lnTo>
                  <a:lnTo>
                    <a:pt x="239" y="217"/>
                  </a:lnTo>
                  <a:lnTo>
                    <a:pt x="244" y="194"/>
                  </a:lnTo>
                  <a:lnTo>
                    <a:pt x="244" y="161"/>
                  </a:lnTo>
                  <a:lnTo>
                    <a:pt x="239" y="144"/>
                  </a:lnTo>
                  <a:lnTo>
                    <a:pt x="260" y="73"/>
                  </a:lnTo>
                  <a:lnTo>
                    <a:pt x="293" y="66"/>
                  </a:lnTo>
                  <a:lnTo>
                    <a:pt x="352" y="94"/>
                  </a:lnTo>
                  <a:lnTo>
                    <a:pt x="362" y="90"/>
                  </a:lnTo>
                  <a:lnTo>
                    <a:pt x="369" y="73"/>
                  </a:lnTo>
                  <a:lnTo>
                    <a:pt x="378" y="90"/>
                  </a:lnTo>
                  <a:lnTo>
                    <a:pt x="378" y="94"/>
                  </a:lnTo>
                  <a:lnTo>
                    <a:pt x="369" y="106"/>
                  </a:lnTo>
                  <a:lnTo>
                    <a:pt x="362" y="127"/>
                  </a:lnTo>
                  <a:lnTo>
                    <a:pt x="369" y="161"/>
                  </a:lnTo>
                  <a:lnTo>
                    <a:pt x="383" y="165"/>
                  </a:lnTo>
                  <a:lnTo>
                    <a:pt x="383" y="177"/>
                  </a:lnTo>
                  <a:lnTo>
                    <a:pt x="395" y="177"/>
                  </a:lnTo>
                  <a:lnTo>
                    <a:pt x="383" y="198"/>
                  </a:lnTo>
                  <a:lnTo>
                    <a:pt x="369" y="234"/>
                  </a:lnTo>
                  <a:lnTo>
                    <a:pt x="369" y="250"/>
                  </a:lnTo>
                  <a:lnTo>
                    <a:pt x="362" y="255"/>
                  </a:lnTo>
                  <a:lnTo>
                    <a:pt x="352" y="260"/>
                  </a:lnTo>
                  <a:lnTo>
                    <a:pt x="362" y="250"/>
                  </a:lnTo>
                  <a:lnTo>
                    <a:pt x="324" y="272"/>
                  </a:lnTo>
                  <a:lnTo>
                    <a:pt x="331" y="288"/>
                  </a:lnTo>
                  <a:lnTo>
                    <a:pt x="310" y="309"/>
                  </a:lnTo>
                  <a:lnTo>
                    <a:pt x="331" y="361"/>
                  </a:lnTo>
                  <a:lnTo>
                    <a:pt x="331" y="366"/>
                  </a:lnTo>
                  <a:lnTo>
                    <a:pt x="340" y="399"/>
                  </a:lnTo>
                  <a:lnTo>
                    <a:pt x="369" y="416"/>
                  </a:lnTo>
                  <a:lnTo>
                    <a:pt x="378" y="404"/>
                  </a:lnTo>
                  <a:lnTo>
                    <a:pt x="369" y="399"/>
                  </a:lnTo>
                  <a:lnTo>
                    <a:pt x="369" y="387"/>
                  </a:lnTo>
                  <a:lnTo>
                    <a:pt x="378" y="404"/>
                  </a:lnTo>
                  <a:lnTo>
                    <a:pt x="383" y="383"/>
                  </a:lnTo>
                  <a:lnTo>
                    <a:pt x="407" y="387"/>
                  </a:lnTo>
                  <a:lnTo>
                    <a:pt x="433" y="416"/>
                  </a:lnTo>
                  <a:lnTo>
                    <a:pt x="433" y="437"/>
                  </a:lnTo>
                  <a:lnTo>
                    <a:pt x="433" y="437"/>
                  </a:lnTo>
                  <a:lnTo>
                    <a:pt x="433" y="437"/>
                  </a:lnTo>
                  <a:close/>
                  <a:moveTo>
                    <a:pt x="218" y="250"/>
                  </a:moveTo>
                  <a:lnTo>
                    <a:pt x="206" y="238"/>
                  </a:lnTo>
                  <a:lnTo>
                    <a:pt x="218" y="238"/>
                  </a:lnTo>
                  <a:lnTo>
                    <a:pt x="218" y="250"/>
                  </a:lnTo>
                  <a:lnTo>
                    <a:pt x="218" y="250"/>
                  </a:lnTo>
                  <a:lnTo>
                    <a:pt x="218" y="250"/>
                  </a:lnTo>
                  <a:close/>
                  <a:moveTo>
                    <a:pt x="352" y="366"/>
                  </a:moveTo>
                  <a:lnTo>
                    <a:pt x="340" y="342"/>
                  </a:lnTo>
                  <a:lnTo>
                    <a:pt x="352" y="333"/>
                  </a:lnTo>
                  <a:lnTo>
                    <a:pt x="362" y="342"/>
                  </a:lnTo>
                  <a:lnTo>
                    <a:pt x="352" y="342"/>
                  </a:lnTo>
                  <a:lnTo>
                    <a:pt x="352" y="361"/>
                  </a:lnTo>
                  <a:lnTo>
                    <a:pt x="352" y="366"/>
                  </a:lnTo>
                  <a:lnTo>
                    <a:pt x="352" y="366"/>
                  </a:lnTo>
                  <a:lnTo>
                    <a:pt x="352" y="366"/>
                  </a:lnTo>
                  <a:close/>
                  <a:moveTo>
                    <a:pt x="369" y="361"/>
                  </a:moveTo>
                  <a:lnTo>
                    <a:pt x="362" y="349"/>
                  </a:lnTo>
                  <a:lnTo>
                    <a:pt x="369" y="349"/>
                  </a:lnTo>
                  <a:lnTo>
                    <a:pt x="369" y="361"/>
                  </a:lnTo>
                  <a:lnTo>
                    <a:pt x="369" y="361"/>
                  </a:lnTo>
                  <a:lnTo>
                    <a:pt x="369" y="361"/>
                  </a:lnTo>
                  <a:close/>
                  <a:moveTo>
                    <a:pt x="508" y="444"/>
                  </a:moveTo>
                  <a:lnTo>
                    <a:pt x="503" y="437"/>
                  </a:lnTo>
                  <a:lnTo>
                    <a:pt x="503" y="420"/>
                  </a:lnTo>
                  <a:lnTo>
                    <a:pt x="503" y="404"/>
                  </a:lnTo>
                  <a:lnTo>
                    <a:pt x="508" y="404"/>
                  </a:lnTo>
                  <a:lnTo>
                    <a:pt x="525" y="420"/>
                  </a:lnTo>
                  <a:lnTo>
                    <a:pt x="513" y="444"/>
                  </a:lnTo>
                  <a:lnTo>
                    <a:pt x="513" y="437"/>
                  </a:lnTo>
                  <a:lnTo>
                    <a:pt x="508" y="444"/>
                  </a:lnTo>
                  <a:lnTo>
                    <a:pt x="508" y="444"/>
                  </a:lnTo>
                  <a:lnTo>
                    <a:pt x="508" y="444"/>
                  </a:lnTo>
                  <a:close/>
                  <a:moveTo>
                    <a:pt x="234" y="437"/>
                  </a:moveTo>
                  <a:lnTo>
                    <a:pt x="222" y="420"/>
                  </a:lnTo>
                  <a:lnTo>
                    <a:pt x="234" y="420"/>
                  </a:lnTo>
                  <a:lnTo>
                    <a:pt x="234" y="437"/>
                  </a:lnTo>
                  <a:lnTo>
                    <a:pt x="234" y="437"/>
                  </a:lnTo>
                  <a:lnTo>
                    <a:pt x="234" y="437"/>
                  </a:lnTo>
                  <a:close/>
                  <a:moveTo>
                    <a:pt x="352" y="470"/>
                  </a:moveTo>
                  <a:lnTo>
                    <a:pt x="345" y="461"/>
                  </a:lnTo>
                  <a:lnTo>
                    <a:pt x="345" y="444"/>
                  </a:lnTo>
                  <a:lnTo>
                    <a:pt x="362" y="453"/>
                  </a:lnTo>
                  <a:lnTo>
                    <a:pt x="352" y="470"/>
                  </a:lnTo>
                  <a:lnTo>
                    <a:pt x="352" y="470"/>
                  </a:lnTo>
                  <a:lnTo>
                    <a:pt x="352" y="470"/>
                  </a:lnTo>
                  <a:close/>
                  <a:moveTo>
                    <a:pt x="314" y="531"/>
                  </a:moveTo>
                  <a:lnTo>
                    <a:pt x="293" y="538"/>
                  </a:lnTo>
                  <a:lnTo>
                    <a:pt x="272" y="498"/>
                  </a:lnTo>
                  <a:lnTo>
                    <a:pt x="260" y="477"/>
                  </a:lnTo>
                  <a:lnTo>
                    <a:pt x="239" y="444"/>
                  </a:lnTo>
                  <a:lnTo>
                    <a:pt x="286" y="444"/>
                  </a:lnTo>
                  <a:lnTo>
                    <a:pt x="324" y="470"/>
                  </a:lnTo>
                  <a:lnTo>
                    <a:pt x="314" y="498"/>
                  </a:lnTo>
                  <a:lnTo>
                    <a:pt x="324" y="510"/>
                  </a:lnTo>
                  <a:lnTo>
                    <a:pt x="314" y="527"/>
                  </a:lnTo>
                  <a:lnTo>
                    <a:pt x="314" y="531"/>
                  </a:lnTo>
                  <a:lnTo>
                    <a:pt x="314" y="531"/>
                  </a:lnTo>
                  <a:lnTo>
                    <a:pt x="314" y="531"/>
                  </a:lnTo>
                  <a:close/>
                  <a:moveTo>
                    <a:pt x="487" y="470"/>
                  </a:moveTo>
                  <a:lnTo>
                    <a:pt x="487" y="453"/>
                  </a:lnTo>
                  <a:lnTo>
                    <a:pt x="492" y="461"/>
                  </a:lnTo>
                  <a:lnTo>
                    <a:pt x="487" y="470"/>
                  </a:lnTo>
                  <a:lnTo>
                    <a:pt x="487" y="470"/>
                  </a:lnTo>
                  <a:lnTo>
                    <a:pt x="487" y="470"/>
                  </a:lnTo>
                  <a:close/>
                  <a:moveTo>
                    <a:pt x="492" y="470"/>
                  </a:moveTo>
                  <a:lnTo>
                    <a:pt x="492" y="461"/>
                  </a:lnTo>
                  <a:lnTo>
                    <a:pt x="503" y="461"/>
                  </a:lnTo>
                  <a:lnTo>
                    <a:pt x="492" y="470"/>
                  </a:lnTo>
                  <a:lnTo>
                    <a:pt x="492" y="470"/>
                  </a:lnTo>
                  <a:lnTo>
                    <a:pt x="492" y="470"/>
                  </a:lnTo>
                  <a:close/>
                  <a:moveTo>
                    <a:pt x="454" y="510"/>
                  </a:moveTo>
                  <a:lnTo>
                    <a:pt x="421" y="477"/>
                  </a:lnTo>
                  <a:lnTo>
                    <a:pt x="433" y="477"/>
                  </a:lnTo>
                  <a:lnTo>
                    <a:pt x="454" y="510"/>
                  </a:lnTo>
                  <a:lnTo>
                    <a:pt x="454" y="510"/>
                  </a:lnTo>
                  <a:lnTo>
                    <a:pt x="454" y="510"/>
                  </a:lnTo>
                  <a:close/>
                  <a:moveTo>
                    <a:pt x="352" y="548"/>
                  </a:moveTo>
                  <a:lnTo>
                    <a:pt x="345" y="531"/>
                  </a:lnTo>
                  <a:lnTo>
                    <a:pt x="352" y="515"/>
                  </a:lnTo>
                  <a:lnTo>
                    <a:pt x="362" y="510"/>
                  </a:lnTo>
                  <a:lnTo>
                    <a:pt x="352" y="548"/>
                  </a:lnTo>
                  <a:lnTo>
                    <a:pt x="352" y="548"/>
                  </a:lnTo>
                  <a:lnTo>
                    <a:pt x="352" y="548"/>
                  </a:lnTo>
                  <a:close/>
                  <a:moveTo>
                    <a:pt x="475" y="531"/>
                  </a:moveTo>
                  <a:lnTo>
                    <a:pt x="470" y="510"/>
                  </a:lnTo>
                  <a:lnTo>
                    <a:pt x="475" y="510"/>
                  </a:lnTo>
                  <a:lnTo>
                    <a:pt x="475" y="531"/>
                  </a:lnTo>
                  <a:lnTo>
                    <a:pt x="475" y="531"/>
                  </a:lnTo>
                  <a:lnTo>
                    <a:pt x="475" y="531"/>
                  </a:lnTo>
                  <a:close/>
                  <a:moveTo>
                    <a:pt x="503" y="581"/>
                  </a:moveTo>
                  <a:lnTo>
                    <a:pt x="459" y="538"/>
                  </a:lnTo>
                  <a:lnTo>
                    <a:pt x="437" y="564"/>
                  </a:lnTo>
                  <a:lnTo>
                    <a:pt x="449" y="538"/>
                  </a:lnTo>
                  <a:lnTo>
                    <a:pt x="437" y="510"/>
                  </a:lnTo>
                  <a:lnTo>
                    <a:pt x="492" y="538"/>
                  </a:lnTo>
                  <a:lnTo>
                    <a:pt x="503" y="555"/>
                  </a:lnTo>
                  <a:lnTo>
                    <a:pt x="503" y="581"/>
                  </a:lnTo>
                  <a:lnTo>
                    <a:pt x="503" y="581"/>
                  </a:lnTo>
                  <a:lnTo>
                    <a:pt x="503" y="581"/>
                  </a:lnTo>
                  <a:close/>
                  <a:moveTo>
                    <a:pt x="617" y="626"/>
                  </a:moveTo>
                  <a:lnTo>
                    <a:pt x="610" y="621"/>
                  </a:lnTo>
                  <a:lnTo>
                    <a:pt x="584" y="621"/>
                  </a:lnTo>
                  <a:lnTo>
                    <a:pt x="563" y="593"/>
                  </a:lnTo>
                  <a:lnTo>
                    <a:pt x="555" y="593"/>
                  </a:lnTo>
                  <a:lnTo>
                    <a:pt x="567" y="572"/>
                  </a:lnTo>
                  <a:lnTo>
                    <a:pt x="525" y="538"/>
                  </a:lnTo>
                  <a:lnTo>
                    <a:pt x="513" y="515"/>
                  </a:lnTo>
                  <a:lnTo>
                    <a:pt x="541" y="515"/>
                  </a:lnTo>
                  <a:lnTo>
                    <a:pt x="579" y="515"/>
                  </a:lnTo>
                  <a:lnTo>
                    <a:pt x="584" y="527"/>
                  </a:lnTo>
                  <a:lnTo>
                    <a:pt x="584" y="531"/>
                  </a:lnTo>
                  <a:lnTo>
                    <a:pt x="600" y="538"/>
                  </a:lnTo>
                  <a:lnTo>
                    <a:pt x="593" y="548"/>
                  </a:lnTo>
                  <a:lnTo>
                    <a:pt x="600" y="548"/>
                  </a:lnTo>
                  <a:lnTo>
                    <a:pt x="593" y="555"/>
                  </a:lnTo>
                  <a:lnTo>
                    <a:pt x="593" y="588"/>
                  </a:lnTo>
                  <a:lnTo>
                    <a:pt x="610" y="605"/>
                  </a:lnTo>
                  <a:lnTo>
                    <a:pt x="600" y="609"/>
                  </a:lnTo>
                  <a:lnTo>
                    <a:pt x="610" y="609"/>
                  </a:lnTo>
                  <a:lnTo>
                    <a:pt x="617" y="626"/>
                  </a:lnTo>
                  <a:lnTo>
                    <a:pt x="617" y="626"/>
                  </a:lnTo>
                  <a:lnTo>
                    <a:pt x="617" y="626"/>
                  </a:lnTo>
                  <a:close/>
                  <a:moveTo>
                    <a:pt x="400" y="538"/>
                  </a:moveTo>
                  <a:lnTo>
                    <a:pt x="383" y="527"/>
                  </a:lnTo>
                  <a:lnTo>
                    <a:pt x="400" y="527"/>
                  </a:lnTo>
                  <a:lnTo>
                    <a:pt x="400" y="538"/>
                  </a:lnTo>
                  <a:lnTo>
                    <a:pt x="400" y="538"/>
                  </a:lnTo>
                  <a:lnTo>
                    <a:pt x="400" y="538"/>
                  </a:lnTo>
                  <a:close/>
                  <a:moveTo>
                    <a:pt x="234" y="555"/>
                  </a:moveTo>
                  <a:lnTo>
                    <a:pt x="218" y="555"/>
                  </a:lnTo>
                  <a:lnTo>
                    <a:pt x="206" y="531"/>
                  </a:lnTo>
                  <a:lnTo>
                    <a:pt x="239" y="548"/>
                  </a:lnTo>
                  <a:lnTo>
                    <a:pt x="239" y="555"/>
                  </a:lnTo>
                  <a:lnTo>
                    <a:pt x="234" y="555"/>
                  </a:lnTo>
                  <a:lnTo>
                    <a:pt x="234" y="555"/>
                  </a:lnTo>
                  <a:lnTo>
                    <a:pt x="234" y="555"/>
                  </a:lnTo>
                  <a:close/>
                  <a:moveTo>
                    <a:pt x="293" y="538"/>
                  </a:moveTo>
                  <a:lnTo>
                    <a:pt x="293" y="548"/>
                  </a:lnTo>
                  <a:lnTo>
                    <a:pt x="286" y="538"/>
                  </a:lnTo>
                  <a:lnTo>
                    <a:pt x="293" y="538"/>
                  </a:lnTo>
                  <a:lnTo>
                    <a:pt x="293" y="538"/>
                  </a:lnTo>
                  <a:lnTo>
                    <a:pt x="293" y="538"/>
                  </a:lnTo>
                  <a:close/>
                  <a:moveTo>
                    <a:pt x="206" y="581"/>
                  </a:moveTo>
                  <a:lnTo>
                    <a:pt x="206" y="555"/>
                  </a:lnTo>
                  <a:lnTo>
                    <a:pt x="222" y="564"/>
                  </a:lnTo>
                  <a:lnTo>
                    <a:pt x="206" y="581"/>
                  </a:lnTo>
                  <a:lnTo>
                    <a:pt x="206" y="581"/>
                  </a:lnTo>
                  <a:lnTo>
                    <a:pt x="206" y="581"/>
                  </a:lnTo>
                  <a:close/>
                  <a:moveTo>
                    <a:pt x="433" y="609"/>
                  </a:moveTo>
                  <a:lnTo>
                    <a:pt x="433" y="621"/>
                  </a:lnTo>
                  <a:lnTo>
                    <a:pt x="407" y="638"/>
                  </a:lnTo>
                  <a:lnTo>
                    <a:pt x="407" y="642"/>
                  </a:lnTo>
                  <a:lnTo>
                    <a:pt x="369" y="659"/>
                  </a:lnTo>
                  <a:lnTo>
                    <a:pt x="352" y="675"/>
                  </a:lnTo>
                  <a:lnTo>
                    <a:pt x="345" y="666"/>
                  </a:lnTo>
                  <a:lnTo>
                    <a:pt x="362" y="581"/>
                  </a:lnTo>
                  <a:lnTo>
                    <a:pt x="362" y="572"/>
                  </a:lnTo>
                  <a:lnTo>
                    <a:pt x="345" y="572"/>
                  </a:lnTo>
                  <a:lnTo>
                    <a:pt x="345" y="564"/>
                  </a:lnTo>
                  <a:lnTo>
                    <a:pt x="369" y="572"/>
                  </a:lnTo>
                  <a:lnTo>
                    <a:pt x="395" y="588"/>
                  </a:lnTo>
                  <a:lnTo>
                    <a:pt x="416" y="588"/>
                  </a:lnTo>
                  <a:lnTo>
                    <a:pt x="416" y="593"/>
                  </a:lnTo>
                  <a:lnTo>
                    <a:pt x="437" y="588"/>
                  </a:lnTo>
                  <a:lnTo>
                    <a:pt x="433" y="609"/>
                  </a:lnTo>
                  <a:lnTo>
                    <a:pt x="433" y="609"/>
                  </a:lnTo>
                  <a:lnTo>
                    <a:pt x="433" y="609"/>
                  </a:lnTo>
                  <a:close/>
                  <a:moveTo>
                    <a:pt x="529" y="593"/>
                  </a:moveTo>
                  <a:lnTo>
                    <a:pt x="513" y="581"/>
                  </a:lnTo>
                  <a:lnTo>
                    <a:pt x="529" y="581"/>
                  </a:lnTo>
                  <a:lnTo>
                    <a:pt x="541" y="588"/>
                  </a:lnTo>
                  <a:lnTo>
                    <a:pt x="529" y="593"/>
                  </a:lnTo>
                  <a:lnTo>
                    <a:pt x="529" y="593"/>
                  </a:lnTo>
                  <a:lnTo>
                    <a:pt x="529" y="593"/>
                  </a:lnTo>
                  <a:close/>
                  <a:moveTo>
                    <a:pt x="546" y="659"/>
                  </a:moveTo>
                  <a:lnTo>
                    <a:pt x="555" y="649"/>
                  </a:lnTo>
                  <a:lnTo>
                    <a:pt x="541" y="638"/>
                  </a:lnTo>
                  <a:lnTo>
                    <a:pt x="529" y="626"/>
                  </a:lnTo>
                  <a:lnTo>
                    <a:pt x="529" y="638"/>
                  </a:lnTo>
                  <a:lnTo>
                    <a:pt x="525" y="638"/>
                  </a:lnTo>
                  <a:lnTo>
                    <a:pt x="513" y="588"/>
                  </a:lnTo>
                  <a:lnTo>
                    <a:pt x="541" y="605"/>
                  </a:lnTo>
                  <a:lnTo>
                    <a:pt x="555" y="593"/>
                  </a:lnTo>
                  <a:lnTo>
                    <a:pt x="563" y="605"/>
                  </a:lnTo>
                  <a:lnTo>
                    <a:pt x="563" y="649"/>
                  </a:lnTo>
                  <a:lnTo>
                    <a:pt x="584" y="683"/>
                  </a:lnTo>
                  <a:lnTo>
                    <a:pt x="567" y="692"/>
                  </a:lnTo>
                  <a:lnTo>
                    <a:pt x="563" y="675"/>
                  </a:lnTo>
                  <a:lnTo>
                    <a:pt x="567" y="699"/>
                  </a:lnTo>
                  <a:lnTo>
                    <a:pt x="546" y="692"/>
                  </a:lnTo>
                  <a:lnTo>
                    <a:pt x="546" y="659"/>
                  </a:lnTo>
                  <a:lnTo>
                    <a:pt x="546" y="659"/>
                  </a:lnTo>
                  <a:lnTo>
                    <a:pt x="546" y="659"/>
                  </a:lnTo>
                  <a:close/>
                  <a:moveTo>
                    <a:pt x="201" y="605"/>
                  </a:moveTo>
                  <a:lnTo>
                    <a:pt x="189" y="593"/>
                  </a:lnTo>
                  <a:lnTo>
                    <a:pt x="206" y="593"/>
                  </a:lnTo>
                  <a:lnTo>
                    <a:pt x="201" y="605"/>
                  </a:lnTo>
                  <a:lnTo>
                    <a:pt x="201" y="605"/>
                  </a:lnTo>
                  <a:lnTo>
                    <a:pt x="201" y="605"/>
                  </a:lnTo>
                  <a:close/>
                  <a:moveTo>
                    <a:pt x="189" y="666"/>
                  </a:moveTo>
                  <a:lnTo>
                    <a:pt x="168" y="683"/>
                  </a:lnTo>
                  <a:lnTo>
                    <a:pt x="163" y="699"/>
                  </a:lnTo>
                  <a:lnTo>
                    <a:pt x="130" y="704"/>
                  </a:lnTo>
                  <a:lnTo>
                    <a:pt x="126" y="720"/>
                  </a:lnTo>
                  <a:lnTo>
                    <a:pt x="130" y="732"/>
                  </a:lnTo>
                  <a:lnTo>
                    <a:pt x="100" y="758"/>
                  </a:lnTo>
                  <a:lnTo>
                    <a:pt x="83" y="758"/>
                  </a:lnTo>
                  <a:lnTo>
                    <a:pt x="76" y="786"/>
                  </a:lnTo>
                  <a:lnTo>
                    <a:pt x="17" y="827"/>
                  </a:lnTo>
                  <a:lnTo>
                    <a:pt x="24" y="803"/>
                  </a:lnTo>
                  <a:lnTo>
                    <a:pt x="55" y="770"/>
                  </a:lnTo>
                  <a:lnTo>
                    <a:pt x="71" y="753"/>
                  </a:lnTo>
                  <a:lnTo>
                    <a:pt x="76" y="753"/>
                  </a:lnTo>
                  <a:lnTo>
                    <a:pt x="130" y="692"/>
                  </a:lnTo>
                  <a:lnTo>
                    <a:pt x="130" y="699"/>
                  </a:lnTo>
                  <a:lnTo>
                    <a:pt x="130" y="692"/>
                  </a:lnTo>
                  <a:lnTo>
                    <a:pt x="137" y="692"/>
                  </a:lnTo>
                  <a:lnTo>
                    <a:pt x="147" y="666"/>
                  </a:lnTo>
                  <a:lnTo>
                    <a:pt x="151" y="675"/>
                  </a:lnTo>
                  <a:lnTo>
                    <a:pt x="168" y="659"/>
                  </a:lnTo>
                  <a:lnTo>
                    <a:pt x="168" y="649"/>
                  </a:lnTo>
                  <a:lnTo>
                    <a:pt x="163" y="638"/>
                  </a:lnTo>
                  <a:lnTo>
                    <a:pt x="180" y="649"/>
                  </a:lnTo>
                  <a:lnTo>
                    <a:pt x="168" y="626"/>
                  </a:lnTo>
                  <a:lnTo>
                    <a:pt x="168" y="621"/>
                  </a:lnTo>
                  <a:lnTo>
                    <a:pt x="180" y="626"/>
                  </a:lnTo>
                  <a:lnTo>
                    <a:pt x="180" y="593"/>
                  </a:lnTo>
                  <a:lnTo>
                    <a:pt x="185" y="609"/>
                  </a:lnTo>
                  <a:lnTo>
                    <a:pt x="180" y="638"/>
                  </a:lnTo>
                  <a:lnTo>
                    <a:pt x="185" y="642"/>
                  </a:lnTo>
                  <a:lnTo>
                    <a:pt x="189" y="666"/>
                  </a:lnTo>
                  <a:lnTo>
                    <a:pt x="189" y="666"/>
                  </a:lnTo>
                  <a:lnTo>
                    <a:pt x="189" y="666"/>
                  </a:lnTo>
                  <a:close/>
                  <a:moveTo>
                    <a:pt x="475" y="621"/>
                  </a:moveTo>
                  <a:lnTo>
                    <a:pt x="475" y="605"/>
                  </a:lnTo>
                  <a:lnTo>
                    <a:pt x="475" y="621"/>
                  </a:lnTo>
                  <a:lnTo>
                    <a:pt x="475" y="621"/>
                  </a:lnTo>
                  <a:lnTo>
                    <a:pt x="475" y="621"/>
                  </a:lnTo>
                  <a:close/>
                  <a:moveTo>
                    <a:pt x="454" y="699"/>
                  </a:moveTo>
                  <a:lnTo>
                    <a:pt x="475" y="666"/>
                  </a:lnTo>
                  <a:lnTo>
                    <a:pt x="492" y="621"/>
                  </a:lnTo>
                  <a:lnTo>
                    <a:pt x="503" y="609"/>
                  </a:lnTo>
                  <a:lnTo>
                    <a:pt x="503" y="675"/>
                  </a:lnTo>
                  <a:lnTo>
                    <a:pt x="470" y="699"/>
                  </a:lnTo>
                  <a:lnTo>
                    <a:pt x="459" y="732"/>
                  </a:lnTo>
                  <a:lnTo>
                    <a:pt x="449" y="749"/>
                  </a:lnTo>
                  <a:lnTo>
                    <a:pt x="454" y="699"/>
                  </a:lnTo>
                  <a:lnTo>
                    <a:pt x="454" y="699"/>
                  </a:lnTo>
                  <a:lnTo>
                    <a:pt x="454" y="699"/>
                  </a:lnTo>
                  <a:close/>
                  <a:moveTo>
                    <a:pt x="449" y="675"/>
                  </a:moveTo>
                  <a:lnTo>
                    <a:pt x="433" y="732"/>
                  </a:lnTo>
                  <a:lnTo>
                    <a:pt x="449" y="753"/>
                  </a:lnTo>
                  <a:lnTo>
                    <a:pt x="437" y="770"/>
                  </a:lnTo>
                  <a:lnTo>
                    <a:pt x="421" y="770"/>
                  </a:lnTo>
                  <a:lnTo>
                    <a:pt x="416" y="753"/>
                  </a:lnTo>
                  <a:lnTo>
                    <a:pt x="395" y="737"/>
                  </a:lnTo>
                  <a:lnTo>
                    <a:pt x="383" y="716"/>
                  </a:lnTo>
                  <a:lnTo>
                    <a:pt x="383" y="704"/>
                  </a:lnTo>
                  <a:lnTo>
                    <a:pt x="400" y="704"/>
                  </a:lnTo>
                  <a:lnTo>
                    <a:pt x="416" y="699"/>
                  </a:lnTo>
                  <a:lnTo>
                    <a:pt x="416" y="659"/>
                  </a:lnTo>
                  <a:lnTo>
                    <a:pt x="421" y="649"/>
                  </a:lnTo>
                  <a:lnTo>
                    <a:pt x="421" y="638"/>
                  </a:lnTo>
                  <a:lnTo>
                    <a:pt x="437" y="626"/>
                  </a:lnTo>
                  <a:lnTo>
                    <a:pt x="459" y="638"/>
                  </a:lnTo>
                  <a:lnTo>
                    <a:pt x="459" y="642"/>
                  </a:lnTo>
                  <a:lnTo>
                    <a:pt x="449" y="675"/>
                  </a:lnTo>
                  <a:lnTo>
                    <a:pt x="449" y="675"/>
                  </a:lnTo>
                  <a:lnTo>
                    <a:pt x="449" y="675"/>
                  </a:lnTo>
                  <a:close/>
                  <a:moveTo>
                    <a:pt x="617" y="649"/>
                  </a:moveTo>
                  <a:lnTo>
                    <a:pt x="610" y="642"/>
                  </a:lnTo>
                  <a:lnTo>
                    <a:pt x="617" y="642"/>
                  </a:lnTo>
                  <a:lnTo>
                    <a:pt x="622" y="649"/>
                  </a:lnTo>
                  <a:lnTo>
                    <a:pt x="617" y="649"/>
                  </a:lnTo>
                  <a:lnTo>
                    <a:pt x="617" y="649"/>
                  </a:lnTo>
                  <a:lnTo>
                    <a:pt x="617" y="649"/>
                  </a:lnTo>
                  <a:close/>
                  <a:moveTo>
                    <a:pt x="395" y="675"/>
                  </a:moveTo>
                  <a:lnTo>
                    <a:pt x="383" y="666"/>
                  </a:lnTo>
                  <a:lnTo>
                    <a:pt x="400" y="649"/>
                  </a:lnTo>
                  <a:lnTo>
                    <a:pt x="407" y="659"/>
                  </a:lnTo>
                  <a:lnTo>
                    <a:pt x="395" y="675"/>
                  </a:lnTo>
                  <a:lnTo>
                    <a:pt x="395" y="675"/>
                  </a:lnTo>
                  <a:lnTo>
                    <a:pt x="395" y="675"/>
                  </a:lnTo>
                  <a:close/>
                  <a:moveTo>
                    <a:pt x="525" y="659"/>
                  </a:moveTo>
                  <a:lnTo>
                    <a:pt x="525" y="649"/>
                  </a:lnTo>
                  <a:lnTo>
                    <a:pt x="529" y="649"/>
                  </a:lnTo>
                  <a:lnTo>
                    <a:pt x="525" y="659"/>
                  </a:lnTo>
                  <a:lnTo>
                    <a:pt x="525" y="659"/>
                  </a:lnTo>
                  <a:lnTo>
                    <a:pt x="525" y="659"/>
                  </a:lnTo>
                  <a:close/>
                  <a:moveTo>
                    <a:pt x="513" y="659"/>
                  </a:moveTo>
                  <a:lnTo>
                    <a:pt x="513" y="649"/>
                  </a:lnTo>
                  <a:lnTo>
                    <a:pt x="525" y="659"/>
                  </a:lnTo>
                  <a:lnTo>
                    <a:pt x="513" y="659"/>
                  </a:lnTo>
                  <a:lnTo>
                    <a:pt x="513" y="659"/>
                  </a:lnTo>
                  <a:lnTo>
                    <a:pt x="513" y="659"/>
                  </a:lnTo>
                  <a:close/>
                  <a:moveTo>
                    <a:pt x="201" y="666"/>
                  </a:moveTo>
                  <a:lnTo>
                    <a:pt x="201" y="659"/>
                  </a:lnTo>
                  <a:lnTo>
                    <a:pt x="218" y="659"/>
                  </a:lnTo>
                  <a:lnTo>
                    <a:pt x="201" y="666"/>
                  </a:lnTo>
                  <a:lnTo>
                    <a:pt x="201" y="666"/>
                  </a:lnTo>
                  <a:lnTo>
                    <a:pt x="201" y="666"/>
                  </a:lnTo>
                  <a:close/>
                  <a:moveTo>
                    <a:pt x="610" y="716"/>
                  </a:moveTo>
                  <a:lnTo>
                    <a:pt x="610" y="704"/>
                  </a:lnTo>
                  <a:lnTo>
                    <a:pt x="600" y="692"/>
                  </a:lnTo>
                  <a:lnTo>
                    <a:pt x="610" y="666"/>
                  </a:lnTo>
                  <a:lnTo>
                    <a:pt x="617" y="704"/>
                  </a:lnTo>
                  <a:lnTo>
                    <a:pt x="610" y="716"/>
                  </a:lnTo>
                  <a:lnTo>
                    <a:pt x="610" y="716"/>
                  </a:lnTo>
                  <a:lnTo>
                    <a:pt x="610" y="716"/>
                  </a:lnTo>
                  <a:close/>
                  <a:moveTo>
                    <a:pt x="529" y="699"/>
                  </a:moveTo>
                  <a:lnTo>
                    <a:pt x="529" y="716"/>
                  </a:lnTo>
                  <a:lnTo>
                    <a:pt x="541" y="720"/>
                  </a:lnTo>
                  <a:lnTo>
                    <a:pt x="525" y="732"/>
                  </a:lnTo>
                  <a:lnTo>
                    <a:pt x="492" y="732"/>
                  </a:lnTo>
                  <a:lnTo>
                    <a:pt x="475" y="720"/>
                  </a:lnTo>
                  <a:lnTo>
                    <a:pt x="475" y="716"/>
                  </a:lnTo>
                  <a:lnTo>
                    <a:pt x="508" y="692"/>
                  </a:lnTo>
                  <a:lnTo>
                    <a:pt x="529" y="699"/>
                  </a:lnTo>
                  <a:lnTo>
                    <a:pt x="529" y="699"/>
                  </a:lnTo>
                  <a:lnTo>
                    <a:pt x="529" y="699"/>
                  </a:lnTo>
                  <a:close/>
                  <a:moveTo>
                    <a:pt x="584" y="704"/>
                  </a:moveTo>
                  <a:lnTo>
                    <a:pt x="579" y="692"/>
                  </a:lnTo>
                  <a:lnTo>
                    <a:pt x="584" y="704"/>
                  </a:lnTo>
                  <a:lnTo>
                    <a:pt x="584" y="704"/>
                  </a:lnTo>
                  <a:lnTo>
                    <a:pt x="584" y="704"/>
                  </a:lnTo>
                  <a:close/>
                  <a:moveTo>
                    <a:pt x="638" y="720"/>
                  </a:moveTo>
                  <a:lnTo>
                    <a:pt x="631" y="716"/>
                  </a:lnTo>
                  <a:lnTo>
                    <a:pt x="638" y="699"/>
                  </a:lnTo>
                  <a:lnTo>
                    <a:pt x="648" y="716"/>
                  </a:lnTo>
                  <a:lnTo>
                    <a:pt x="638" y="720"/>
                  </a:lnTo>
                  <a:lnTo>
                    <a:pt x="638" y="720"/>
                  </a:lnTo>
                  <a:lnTo>
                    <a:pt x="638" y="720"/>
                  </a:lnTo>
                  <a:close/>
                  <a:moveTo>
                    <a:pt x="454" y="898"/>
                  </a:moveTo>
                  <a:lnTo>
                    <a:pt x="449" y="881"/>
                  </a:lnTo>
                  <a:lnTo>
                    <a:pt x="437" y="886"/>
                  </a:lnTo>
                  <a:lnTo>
                    <a:pt x="433" y="881"/>
                  </a:lnTo>
                  <a:lnTo>
                    <a:pt x="437" y="881"/>
                  </a:lnTo>
                  <a:lnTo>
                    <a:pt x="433" y="864"/>
                  </a:lnTo>
                  <a:lnTo>
                    <a:pt x="421" y="886"/>
                  </a:lnTo>
                  <a:lnTo>
                    <a:pt x="407" y="886"/>
                  </a:lnTo>
                  <a:lnTo>
                    <a:pt x="416" y="864"/>
                  </a:lnTo>
                  <a:lnTo>
                    <a:pt x="400" y="864"/>
                  </a:lnTo>
                  <a:lnTo>
                    <a:pt x="378" y="886"/>
                  </a:lnTo>
                  <a:lnTo>
                    <a:pt x="383" y="886"/>
                  </a:lnTo>
                  <a:lnTo>
                    <a:pt x="378" y="898"/>
                  </a:lnTo>
                  <a:lnTo>
                    <a:pt x="362" y="926"/>
                  </a:lnTo>
                  <a:lnTo>
                    <a:pt x="352" y="921"/>
                  </a:lnTo>
                  <a:lnTo>
                    <a:pt x="345" y="914"/>
                  </a:lnTo>
                  <a:lnTo>
                    <a:pt x="369" y="848"/>
                  </a:lnTo>
                  <a:lnTo>
                    <a:pt x="421" y="831"/>
                  </a:lnTo>
                  <a:lnTo>
                    <a:pt x="421" y="810"/>
                  </a:lnTo>
                  <a:lnTo>
                    <a:pt x="449" y="810"/>
                  </a:lnTo>
                  <a:lnTo>
                    <a:pt x="454" y="794"/>
                  </a:lnTo>
                  <a:lnTo>
                    <a:pt x="475" y="803"/>
                  </a:lnTo>
                  <a:lnTo>
                    <a:pt x="487" y="810"/>
                  </a:lnTo>
                  <a:lnTo>
                    <a:pt x="487" y="831"/>
                  </a:lnTo>
                  <a:lnTo>
                    <a:pt x="470" y="848"/>
                  </a:lnTo>
                  <a:lnTo>
                    <a:pt x="492" y="831"/>
                  </a:lnTo>
                  <a:lnTo>
                    <a:pt x="508" y="831"/>
                  </a:lnTo>
                  <a:lnTo>
                    <a:pt x="513" y="815"/>
                  </a:lnTo>
                  <a:lnTo>
                    <a:pt x="525" y="803"/>
                  </a:lnTo>
                  <a:lnTo>
                    <a:pt x="546" y="810"/>
                  </a:lnTo>
                  <a:lnTo>
                    <a:pt x="555" y="777"/>
                  </a:lnTo>
                  <a:lnTo>
                    <a:pt x="567" y="786"/>
                  </a:lnTo>
                  <a:lnTo>
                    <a:pt x="584" y="777"/>
                  </a:lnTo>
                  <a:lnTo>
                    <a:pt x="600" y="777"/>
                  </a:lnTo>
                  <a:lnTo>
                    <a:pt x="593" y="732"/>
                  </a:lnTo>
                  <a:lnTo>
                    <a:pt x="593" y="716"/>
                  </a:lnTo>
                  <a:lnTo>
                    <a:pt x="610" y="732"/>
                  </a:lnTo>
                  <a:lnTo>
                    <a:pt x="631" y="737"/>
                  </a:lnTo>
                  <a:lnTo>
                    <a:pt x="638" y="753"/>
                  </a:lnTo>
                  <a:lnTo>
                    <a:pt x="648" y="753"/>
                  </a:lnTo>
                  <a:lnTo>
                    <a:pt x="648" y="770"/>
                  </a:lnTo>
                  <a:lnTo>
                    <a:pt x="664" y="786"/>
                  </a:lnTo>
                  <a:lnTo>
                    <a:pt x="638" y="803"/>
                  </a:lnTo>
                  <a:lnTo>
                    <a:pt x="648" y="810"/>
                  </a:lnTo>
                  <a:lnTo>
                    <a:pt x="664" y="810"/>
                  </a:lnTo>
                  <a:lnTo>
                    <a:pt x="655" y="831"/>
                  </a:lnTo>
                  <a:lnTo>
                    <a:pt x="669" y="831"/>
                  </a:lnTo>
                  <a:lnTo>
                    <a:pt x="664" y="860"/>
                  </a:lnTo>
                  <a:lnTo>
                    <a:pt x="669" y="869"/>
                  </a:lnTo>
                  <a:lnTo>
                    <a:pt x="676" y="898"/>
                  </a:lnTo>
                  <a:lnTo>
                    <a:pt x="655" y="926"/>
                  </a:lnTo>
                  <a:lnTo>
                    <a:pt x="664" y="938"/>
                  </a:lnTo>
                  <a:lnTo>
                    <a:pt x="655" y="926"/>
                  </a:lnTo>
                  <a:lnTo>
                    <a:pt x="648" y="926"/>
                  </a:lnTo>
                  <a:lnTo>
                    <a:pt x="655" y="938"/>
                  </a:lnTo>
                  <a:lnTo>
                    <a:pt x="648" y="975"/>
                  </a:lnTo>
                  <a:lnTo>
                    <a:pt x="638" y="926"/>
                  </a:lnTo>
                  <a:lnTo>
                    <a:pt x="622" y="914"/>
                  </a:lnTo>
                  <a:lnTo>
                    <a:pt x="622" y="898"/>
                  </a:lnTo>
                  <a:lnTo>
                    <a:pt x="610" y="902"/>
                  </a:lnTo>
                  <a:lnTo>
                    <a:pt x="610" y="914"/>
                  </a:lnTo>
                  <a:lnTo>
                    <a:pt x="600" y="921"/>
                  </a:lnTo>
                  <a:lnTo>
                    <a:pt x="593" y="938"/>
                  </a:lnTo>
                  <a:lnTo>
                    <a:pt x="593" y="954"/>
                  </a:lnTo>
                  <a:lnTo>
                    <a:pt x="610" y="959"/>
                  </a:lnTo>
                  <a:lnTo>
                    <a:pt x="617" y="992"/>
                  </a:lnTo>
                  <a:lnTo>
                    <a:pt x="593" y="1025"/>
                  </a:lnTo>
                  <a:lnTo>
                    <a:pt x="584" y="1025"/>
                  </a:lnTo>
                  <a:lnTo>
                    <a:pt x="579" y="1009"/>
                  </a:lnTo>
                  <a:lnTo>
                    <a:pt x="584" y="980"/>
                  </a:lnTo>
                  <a:lnTo>
                    <a:pt x="579" y="980"/>
                  </a:lnTo>
                  <a:lnTo>
                    <a:pt x="567" y="997"/>
                  </a:lnTo>
                  <a:lnTo>
                    <a:pt x="563" y="997"/>
                  </a:lnTo>
                  <a:lnTo>
                    <a:pt x="513" y="980"/>
                  </a:lnTo>
                  <a:lnTo>
                    <a:pt x="503" y="971"/>
                  </a:lnTo>
                  <a:lnTo>
                    <a:pt x="492" y="926"/>
                  </a:lnTo>
                  <a:lnTo>
                    <a:pt x="513" y="886"/>
                  </a:lnTo>
                  <a:lnTo>
                    <a:pt x="492" y="869"/>
                  </a:lnTo>
                  <a:lnTo>
                    <a:pt x="459" y="860"/>
                  </a:lnTo>
                  <a:lnTo>
                    <a:pt x="454" y="860"/>
                  </a:lnTo>
                  <a:lnTo>
                    <a:pt x="454" y="869"/>
                  </a:lnTo>
                  <a:lnTo>
                    <a:pt x="449" y="881"/>
                  </a:lnTo>
                  <a:lnTo>
                    <a:pt x="454" y="886"/>
                  </a:lnTo>
                  <a:lnTo>
                    <a:pt x="454" y="898"/>
                  </a:lnTo>
                  <a:lnTo>
                    <a:pt x="454" y="898"/>
                  </a:lnTo>
                  <a:lnTo>
                    <a:pt x="454" y="898"/>
                  </a:lnTo>
                  <a:close/>
                  <a:moveTo>
                    <a:pt x="470" y="770"/>
                  </a:moveTo>
                  <a:lnTo>
                    <a:pt x="454" y="758"/>
                  </a:lnTo>
                  <a:lnTo>
                    <a:pt x="470" y="753"/>
                  </a:lnTo>
                  <a:lnTo>
                    <a:pt x="475" y="758"/>
                  </a:lnTo>
                  <a:lnTo>
                    <a:pt x="470" y="770"/>
                  </a:lnTo>
                  <a:lnTo>
                    <a:pt x="470" y="770"/>
                  </a:lnTo>
                  <a:lnTo>
                    <a:pt x="470" y="770"/>
                  </a:lnTo>
                  <a:close/>
                  <a:moveTo>
                    <a:pt x="546" y="770"/>
                  </a:moveTo>
                  <a:lnTo>
                    <a:pt x="541" y="758"/>
                  </a:lnTo>
                  <a:lnTo>
                    <a:pt x="541" y="753"/>
                  </a:lnTo>
                  <a:lnTo>
                    <a:pt x="546" y="758"/>
                  </a:lnTo>
                  <a:lnTo>
                    <a:pt x="546" y="770"/>
                  </a:lnTo>
                  <a:lnTo>
                    <a:pt x="546" y="770"/>
                  </a:lnTo>
                  <a:lnTo>
                    <a:pt x="546" y="770"/>
                  </a:lnTo>
                  <a:close/>
                  <a:moveTo>
                    <a:pt x="7" y="864"/>
                  </a:moveTo>
                  <a:lnTo>
                    <a:pt x="0" y="843"/>
                  </a:lnTo>
                  <a:lnTo>
                    <a:pt x="7" y="843"/>
                  </a:lnTo>
                  <a:lnTo>
                    <a:pt x="17" y="860"/>
                  </a:lnTo>
                  <a:lnTo>
                    <a:pt x="7" y="864"/>
                  </a:lnTo>
                  <a:lnTo>
                    <a:pt x="7" y="864"/>
                  </a:lnTo>
                  <a:lnTo>
                    <a:pt x="7" y="864"/>
                  </a:lnTo>
                  <a:close/>
                  <a:moveTo>
                    <a:pt x="416" y="898"/>
                  </a:moveTo>
                  <a:lnTo>
                    <a:pt x="407" y="886"/>
                  </a:lnTo>
                  <a:lnTo>
                    <a:pt x="421" y="886"/>
                  </a:lnTo>
                  <a:lnTo>
                    <a:pt x="421" y="898"/>
                  </a:lnTo>
                  <a:lnTo>
                    <a:pt x="416" y="898"/>
                  </a:lnTo>
                  <a:lnTo>
                    <a:pt x="416" y="898"/>
                  </a:lnTo>
                  <a:lnTo>
                    <a:pt x="416" y="898"/>
                  </a:lnTo>
                  <a:close/>
                  <a:moveTo>
                    <a:pt x="617" y="926"/>
                  </a:moveTo>
                  <a:lnTo>
                    <a:pt x="610" y="914"/>
                  </a:lnTo>
                  <a:lnTo>
                    <a:pt x="617" y="902"/>
                  </a:lnTo>
                  <a:lnTo>
                    <a:pt x="622" y="914"/>
                  </a:lnTo>
                  <a:lnTo>
                    <a:pt x="617" y="926"/>
                  </a:lnTo>
                  <a:lnTo>
                    <a:pt x="617" y="926"/>
                  </a:lnTo>
                  <a:lnTo>
                    <a:pt x="617" y="926"/>
                  </a:lnTo>
                  <a:close/>
                  <a:moveTo>
                    <a:pt x="114" y="921"/>
                  </a:moveTo>
                  <a:lnTo>
                    <a:pt x="109" y="921"/>
                  </a:lnTo>
                  <a:lnTo>
                    <a:pt x="114" y="914"/>
                  </a:lnTo>
                  <a:lnTo>
                    <a:pt x="114" y="921"/>
                  </a:lnTo>
                  <a:lnTo>
                    <a:pt x="114" y="921"/>
                  </a:lnTo>
                  <a:lnTo>
                    <a:pt x="114" y="921"/>
                  </a:lnTo>
                  <a:close/>
                  <a:moveTo>
                    <a:pt x="352" y="959"/>
                  </a:moveTo>
                  <a:lnTo>
                    <a:pt x="340" y="942"/>
                  </a:lnTo>
                  <a:lnTo>
                    <a:pt x="362" y="938"/>
                  </a:lnTo>
                  <a:lnTo>
                    <a:pt x="369" y="954"/>
                  </a:lnTo>
                  <a:lnTo>
                    <a:pt x="369" y="959"/>
                  </a:lnTo>
                  <a:lnTo>
                    <a:pt x="352" y="959"/>
                  </a:lnTo>
                  <a:lnTo>
                    <a:pt x="352" y="959"/>
                  </a:lnTo>
                  <a:lnTo>
                    <a:pt x="352" y="959"/>
                  </a:lnTo>
                  <a:close/>
                  <a:moveTo>
                    <a:pt x="255" y="975"/>
                  </a:moveTo>
                  <a:lnTo>
                    <a:pt x="244" y="975"/>
                  </a:lnTo>
                  <a:lnTo>
                    <a:pt x="255" y="959"/>
                  </a:lnTo>
                  <a:lnTo>
                    <a:pt x="255" y="975"/>
                  </a:lnTo>
                  <a:lnTo>
                    <a:pt x="255" y="975"/>
                  </a:lnTo>
                  <a:lnTo>
                    <a:pt x="255" y="975"/>
                  </a:lnTo>
                  <a:close/>
                  <a:moveTo>
                    <a:pt x="345" y="992"/>
                  </a:moveTo>
                  <a:lnTo>
                    <a:pt x="340" y="980"/>
                  </a:lnTo>
                  <a:lnTo>
                    <a:pt x="352" y="992"/>
                  </a:lnTo>
                  <a:lnTo>
                    <a:pt x="345" y="992"/>
                  </a:lnTo>
                  <a:lnTo>
                    <a:pt x="345" y="992"/>
                  </a:lnTo>
                  <a:lnTo>
                    <a:pt x="345" y="992"/>
                  </a:lnTo>
                  <a:close/>
                  <a:moveTo>
                    <a:pt x="310" y="997"/>
                  </a:moveTo>
                  <a:lnTo>
                    <a:pt x="298" y="997"/>
                  </a:lnTo>
                  <a:lnTo>
                    <a:pt x="277" y="997"/>
                  </a:lnTo>
                  <a:lnTo>
                    <a:pt x="277" y="992"/>
                  </a:lnTo>
                  <a:lnTo>
                    <a:pt x="293" y="980"/>
                  </a:lnTo>
                  <a:lnTo>
                    <a:pt x="314" y="992"/>
                  </a:lnTo>
                  <a:lnTo>
                    <a:pt x="310" y="997"/>
                  </a:lnTo>
                  <a:lnTo>
                    <a:pt x="310" y="997"/>
                  </a:lnTo>
                  <a:lnTo>
                    <a:pt x="310" y="997"/>
                  </a:lnTo>
                  <a:close/>
                  <a:moveTo>
                    <a:pt x="277" y="1030"/>
                  </a:moveTo>
                  <a:lnTo>
                    <a:pt x="277" y="1025"/>
                  </a:lnTo>
                  <a:lnTo>
                    <a:pt x="277" y="1030"/>
                  </a:lnTo>
                  <a:lnTo>
                    <a:pt x="277" y="1030"/>
                  </a:lnTo>
                  <a:lnTo>
                    <a:pt x="277" y="1030"/>
                  </a:lnTo>
                  <a:close/>
                  <a:moveTo>
                    <a:pt x="206" y="1065"/>
                  </a:moveTo>
                  <a:lnTo>
                    <a:pt x="201" y="1053"/>
                  </a:lnTo>
                  <a:lnTo>
                    <a:pt x="234" y="1037"/>
                  </a:lnTo>
                  <a:lnTo>
                    <a:pt x="234" y="1053"/>
                  </a:lnTo>
                  <a:lnTo>
                    <a:pt x="218" y="1046"/>
                  </a:lnTo>
                  <a:lnTo>
                    <a:pt x="206" y="1065"/>
                  </a:lnTo>
                  <a:lnTo>
                    <a:pt x="206" y="1065"/>
                  </a:lnTo>
                  <a:lnTo>
                    <a:pt x="206" y="1065"/>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1" name="Freeform 542">
              <a:extLst>
                <a:ext uri="{FF2B5EF4-FFF2-40B4-BE49-F238E27FC236}">
                  <a16:creationId xmlns:a16="http://schemas.microsoft.com/office/drawing/2014/main" id="{ABDC9142-CF2E-4307-A2B7-3992A86A9DF0}"/>
                </a:ext>
              </a:extLst>
            </p:cNvPr>
            <p:cNvSpPr>
              <a:spLocks noEditPoints="1"/>
            </p:cNvSpPr>
            <p:nvPr/>
          </p:nvSpPr>
          <p:spPr bwMode="gray">
            <a:xfrm>
              <a:off x="12184924" y="3672228"/>
              <a:ext cx="58913" cy="15383"/>
            </a:xfrm>
            <a:custGeom>
              <a:avLst/>
              <a:gdLst>
                <a:gd name="T0" fmla="*/ 142 w 180"/>
                <a:gd name="T1" fmla="*/ 36 h 47"/>
                <a:gd name="T2" fmla="*/ 121 w 180"/>
                <a:gd name="T3" fmla="*/ 47 h 47"/>
                <a:gd name="T4" fmla="*/ 104 w 180"/>
                <a:gd name="T5" fmla="*/ 36 h 47"/>
                <a:gd name="T6" fmla="*/ 52 w 180"/>
                <a:gd name="T7" fmla="*/ 47 h 47"/>
                <a:gd name="T8" fmla="*/ 52 w 180"/>
                <a:gd name="T9" fmla="*/ 21 h 47"/>
                <a:gd name="T10" fmla="*/ 41 w 180"/>
                <a:gd name="T11" fmla="*/ 17 h 47"/>
                <a:gd name="T12" fmla="*/ 57 w 180"/>
                <a:gd name="T13" fmla="*/ 0 h 47"/>
                <a:gd name="T14" fmla="*/ 142 w 180"/>
                <a:gd name="T15" fmla="*/ 10 h 47"/>
                <a:gd name="T16" fmla="*/ 159 w 180"/>
                <a:gd name="T17" fmla="*/ 17 h 47"/>
                <a:gd name="T18" fmla="*/ 163 w 180"/>
                <a:gd name="T19" fmla="*/ 21 h 47"/>
                <a:gd name="T20" fmla="*/ 142 w 180"/>
                <a:gd name="T21" fmla="*/ 36 h 47"/>
                <a:gd name="T22" fmla="*/ 142 w 180"/>
                <a:gd name="T23" fmla="*/ 36 h 47"/>
                <a:gd name="T24" fmla="*/ 142 w 180"/>
                <a:gd name="T25" fmla="*/ 36 h 47"/>
                <a:gd name="T26" fmla="*/ 163 w 180"/>
                <a:gd name="T27" fmla="*/ 31 h 47"/>
                <a:gd name="T28" fmla="*/ 163 w 180"/>
                <a:gd name="T29" fmla="*/ 31 h 47"/>
                <a:gd name="T30" fmla="*/ 180 w 180"/>
                <a:gd name="T31" fmla="*/ 31 h 47"/>
                <a:gd name="T32" fmla="*/ 163 w 180"/>
                <a:gd name="T33" fmla="*/ 31 h 47"/>
                <a:gd name="T34" fmla="*/ 163 w 180"/>
                <a:gd name="T35" fmla="*/ 31 h 47"/>
                <a:gd name="T36" fmla="*/ 163 w 180"/>
                <a:gd name="T37" fmla="*/ 31 h 47"/>
                <a:gd name="T38" fmla="*/ 5 w 180"/>
                <a:gd name="T39" fmla="*/ 36 h 47"/>
                <a:gd name="T40" fmla="*/ 0 w 180"/>
                <a:gd name="T41" fmla="*/ 31 h 47"/>
                <a:gd name="T42" fmla="*/ 5 w 180"/>
                <a:gd name="T43" fmla="*/ 31 h 47"/>
                <a:gd name="T44" fmla="*/ 5 w 180"/>
                <a:gd name="T45" fmla="*/ 36 h 47"/>
                <a:gd name="T46" fmla="*/ 5 w 180"/>
                <a:gd name="T47" fmla="*/ 36 h 47"/>
                <a:gd name="T48" fmla="*/ 5 w 180"/>
                <a:gd name="T49"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0" h="47">
                  <a:moveTo>
                    <a:pt x="142" y="36"/>
                  </a:moveTo>
                  <a:lnTo>
                    <a:pt x="121" y="47"/>
                  </a:lnTo>
                  <a:lnTo>
                    <a:pt x="104" y="36"/>
                  </a:lnTo>
                  <a:lnTo>
                    <a:pt x="52" y="47"/>
                  </a:lnTo>
                  <a:lnTo>
                    <a:pt x="52" y="21"/>
                  </a:lnTo>
                  <a:lnTo>
                    <a:pt x="41" y="17"/>
                  </a:lnTo>
                  <a:lnTo>
                    <a:pt x="57" y="0"/>
                  </a:lnTo>
                  <a:lnTo>
                    <a:pt x="142" y="10"/>
                  </a:lnTo>
                  <a:lnTo>
                    <a:pt x="159" y="17"/>
                  </a:lnTo>
                  <a:lnTo>
                    <a:pt x="163" y="21"/>
                  </a:lnTo>
                  <a:lnTo>
                    <a:pt x="142" y="36"/>
                  </a:lnTo>
                  <a:lnTo>
                    <a:pt x="142" y="36"/>
                  </a:lnTo>
                  <a:lnTo>
                    <a:pt x="142" y="36"/>
                  </a:lnTo>
                  <a:close/>
                  <a:moveTo>
                    <a:pt x="163" y="31"/>
                  </a:moveTo>
                  <a:lnTo>
                    <a:pt x="163" y="31"/>
                  </a:lnTo>
                  <a:lnTo>
                    <a:pt x="180" y="31"/>
                  </a:lnTo>
                  <a:lnTo>
                    <a:pt x="163" y="31"/>
                  </a:lnTo>
                  <a:lnTo>
                    <a:pt x="163" y="31"/>
                  </a:lnTo>
                  <a:lnTo>
                    <a:pt x="163" y="31"/>
                  </a:lnTo>
                  <a:close/>
                  <a:moveTo>
                    <a:pt x="5" y="36"/>
                  </a:moveTo>
                  <a:lnTo>
                    <a:pt x="0" y="31"/>
                  </a:lnTo>
                  <a:lnTo>
                    <a:pt x="5" y="31"/>
                  </a:lnTo>
                  <a:lnTo>
                    <a:pt x="5" y="36"/>
                  </a:lnTo>
                  <a:lnTo>
                    <a:pt x="5" y="36"/>
                  </a:lnTo>
                  <a:lnTo>
                    <a:pt x="5" y="36"/>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2" name="Freeform 543">
              <a:extLst>
                <a:ext uri="{FF2B5EF4-FFF2-40B4-BE49-F238E27FC236}">
                  <a16:creationId xmlns:a16="http://schemas.microsoft.com/office/drawing/2014/main" id="{54E373E5-24FB-4A85-A58C-8285C2ED0136}"/>
                </a:ext>
              </a:extLst>
            </p:cNvPr>
            <p:cNvSpPr>
              <a:spLocks noEditPoints="1"/>
            </p:cNvSpPr>
            <p:nvPr/>
          </p:nvSpPr>
          <p:spPr bwMode="gray">
            <a:xfrm>
              <a:off x="9778967" y="1537600"/>
              <a:ext cx="8330681" cy="1547786"/>
            </a:xfrm>
            <a:custGeom>
              <a:avLst/>
              <a:gdLst>
                <a:gd name="T0" fmla="*/ 24366 w 25453"/>
                <a:gd name="T1" fmla="*/ 2721 h 4729"/>
                <a:gd name="T2" fmla="*/ 23563 w 25453"/>
                <a:gd name="T3" fmla="*/ 3031 h 4729"/>
                <a:gd name="T4" fmla="*/ 23076 w 25453"/>
                <a:gd name="T5" fmla="*/ 3692 h 4729"/>
                <a:gd name="T6" fmla="*/ 23331 w 25453"/>
                <a:gd name="T7" fmla="*/ 2809 h 4729"/>
                <a:gd name="T8" fmla="*/ 22391 w 25453"/>
                <a:gd name="T9" fmla="*/ 2993 h 4729"/>
                <a:gd name="T10" fmla="*/ 22018 w 25453"/>
                <a:gd name="T11" fmla="*/ 3643 h 4729"/>
                <a:gd name="T12" fmla="*/ 21312 w 25453"/>
                <a:gd name="T13" fmla="*/ 4578 h 4729"/>
                <a:gd name="T14" fmla="*/ 20955 w 25453"/>
                <a:gd name="T15" fmla="*/ 3676 h 4729"/>
                <a:gd name="T16" fmla="*/ 19167 w 25453"/>
                <a:gd name="T17" fmla="*/ 3768 h 4729"/>
                <a:gd name="T18" fmla="*/ 18078 w 25453"/>
                <a:gd name="T19" fmla="*/ 3936 h 4729"/>
                <a:gd name="T20" fmla="*/ 17117 w 25453"/>
                <a:gd name="T21" fmla="*/ 3487 h 4729"/>
                <a:gd name="T22" fmla="*/ 16424 w 25453"/>
                <a:gd name="T23" fmla="*/ 3803 h 4729"/>
                <a:gd name="T24" fmla="*/ 15550 w 25453"/>
                <a:gd name="T25" fmla="*/ 3931 h 4729"/>
                <a:gd name="T26" fmla="*/ 15425 w 25453"/>
                <a:gd name="T27" fmla="*/ 4694 h 4729"/>
                <a:gd name="T28" fmla="*/ 14821 w 25453"/>
                <a:gd name="T29" fmla="*/ 4191 h 4729"/>
                <a:gd name="T30" fmla="*/ 14388 w 25453"/>
                <a:gd name="T31" fmla="*/ 3581 h 4729"/>
                <a:gd name="T32" fmla="*/ 14169 w 25453"/>
                <a:gd name="T33" fmla="*/ 2792 h 4729"/>
                <a:gd name="T34" fmla="*/ 14471 w 25453"/>
                <a:gd name="T35" fmla="*/ 1862 h 4729"/>
                <a:gd name="T36" fmla="*/ 14660 w 25453"/>
                <a:gd name="T37" fmla="*/ 2488 h 4729"/>
                <a:gd name="T38" fmla="*/ 15395 w 25453"/>
                <a:gd name="T39" fmla="*/ 2018 h 4729"/>
                <a:gd name="T40" fmla="*/ 16278 w 25453"/>
                <a:gd name="T41" fmla="*/ 1918 h 4729"/>
                <a:gd name="T42" fmla="*/ 16991 w 25453"/>
                <a:gd name="T43" fmla="*/ 1368 h 4729"/>
                <a:gd name="T44" fmla="*/ 17298 w 25453"/>
                <a:gd name="T45" fmla="*/ 2105 h 4729"/>
                <a:gd name="T46" fmla="*/ 17407 w 25453"/>
                <a:gd name="T47" fmla="*/ 1545 h 4729"/>
                <a:gd name="T48" fmla="*/ 17969 w 25453"/>
                <a:gd name="T49" fmla="*/ 1718 h 4729"/>
                <a:gd name="T50" fmla="*/ 18272 w 25453"/>
                <a:gd name="T51" fmla="*/ 1075 h 4729"/>
                <a:gd name="T52" fmla="*/ 19103 w 25453"/>
                <a:gd name="T53" fmla="*/ 891 h 4729"/>
                <a:gd name="T54" fmla="*/ 20065 w 25453"/>
                <a:gd name="T55" fmla="*/ 981 h 4729"/>
                <a:gd name="T56" fmla="*/ 20074 w 25453"/>
                <a:gd name="T57" fmla="*/ 1290 h 4729"/>
                <a:gd name="T58" fmla="*/ 21782 w 25453"/>
                <a:gd name="T59" fmla="*/ 1573 h 4729"/>
                <a:gd name="T60" fmla="*/ 22644 w 25453"/>
                <a:gd name="T61" fmla="*/ 1552 h 4729"/>
                <a:gd name="T62" fmla="*/ 24227 w 25453"/>
                <a:gd name="T63" fmla="*/ 1767 h 4729"/>
                <a:gd name="T64" fmla="*/ 25053 w 25453"/>
                <a:gd name="T65" fmla="*/ 2046 h 4729"/>
                <a:gd name="T66" fmla="*/ 25205 w 25453"/>
                <a:gd name="T67" fmla="*/ 2400 h 4729"/>
                <a:gd name="T68" fmla="*/ 16188 w 25453"/>
                <a:gd name="T69" fmla="*/ 5 h 4729"/>
                <a:gd name="T70" fmla="*/ 18557 w 25453"/>
                <a:gd name="T71" fmla="*/ 236 h 4729"/>
                <a:gd name="T72" fmla="*/ 16198 w 25453"/>
                <a:gd name="T73" fmla="*/ 116 h 4729"/>
                <a:gd name="T74" fmla="*/ 15593 w 25453"/>
                <a:gd name="T75" fmla="*/ 203 h 4729"/>
                <a:gd name="T76" fmla="*/ 15345 w 25453"/>
                <a:gd name="T77" fmla="*/ 236 h 4729"/>
                <a:gd name="T78" fmla="*/ 15933 w 25453"/>
                <a:gd name="T79" fmla="*/ 236 h 4729"/>
                <a:gd name="T80" fmla="*/ 18650 w 25453"/>
                <a:gd name="T81" fmla="*/ 404 h 4729"/>
                <a:gd name="T82" fmla="*/ 16252 w 25453"/>
                <a:gd name="T83" fmla="*/ 322 h 4729"/>
                <a:gd name="T84" fmla="*/ 19221 w 25453"/>
                <a:gd name="T85" fmla="*/ 598 h 4729"/>
                <a:gd name="T86" fmla="*/ 23093 w 25453"/>
                <a:gd name="T87" fmla="*/ 758 h 4729"/>
                <a:gd name="T88" fmla="*/ 16727 w 25453"/>
                <a:gd name="T89" fmla="*/ 832 h 4729"/>
                <a:gd name="T90" fmla="*/ 18978 w 25453"/>
                <a:gd name="T91" fmla="*/ 815 h 4729"/>
                <a:gd name="T92" fmla="*/ 18898 w 25453"/>
                <a:gd name="T93" fmla="*/ 886 h 4729"/>
                <a:gd name="T94" fmla="*/ 22046 w 25453"/>
                <a:gd name="T95" fmla="*/ 931 h 4729"/>
                <a:gd name="T96" fmla="*/ 16257 w 25453"/>
                <a:gd name="T97" fmla="*/ 947 h 4729"/>
                <a:gd name="T98" fmla="*/ 17700 w 25453"/>
                <a:gd name="T99" fmla="*/ 1129 h 4729"/>
                <a:gd name="T100" fmla="*/ 18125 w 25453"/>
                <a:gd name="T101" fmla="*/ 1195 h 4729"/>
                <a:gd name="T102" fmla="*/ 20700 w 25453"/>
                <a:gd name="T103" fmla="*/ 1363 h 4729"/>
                <a:gd name="T104" fmla="*/ 17133 w 25453"/>
                <a:gd name="T105" fmla="*/ 1314 h 4729"/>
                <a:gd name="T106" fmla="*/ 15858 w 25453"/>
                <a:gd name="T107" fmla="*/ 1363 h 4729"/>
                <a:gd name="T108" fmla="*/ 17693 w 25453"/>
                <a:gd name="T109" fmla="*/ 1392 h 4729"/>
                <a:gd name="T110" fmla="*/ 21775 w 25453"/>
                <a:gd name="T111" fmla="*/ 1552 h 4729"/>
                <a:gd name="T112" fmla="*/ 16257 w 25453"/>
                <a:gd name="T113" fmla="*/ 1696 h 4729"/>
                <a:gd name="T114" fmla="*/ 15534 w 25453"/>
                <a:gd name="T115" fmla="*/ 1923 h 4729"/>
                <a:gd name="T116" fmla="*/ 0 w 25453"/>
                <a:gd name="T117" fmla="*/ 2400 h 4729"/>
                <a:gd name="T118" fmla="*/ 13590 w 25453"/>
                <a:gd name="T119" fmla="*/ 3421 h 4729"/>
                <a:gd name="T120" fmla="*/ 22169 w 25453"/>
                <a:gd name="T121" fmla="*/ 3659 h 4729"/>
                <a:gd name="T122" fmla="*/ 23001 w 25453"/>
                <a:gd name="T123" fmla="*/ 3903 h 4729"/>
                <a:gd name="T124" fmla="*/ 22483 w 25453"/>
                <a:gd name="T125" fmla="*/ 4373 h 4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53" h="4729">
                  <a:moveTo>
                    <a:pt x="24735" y="2360"/>
                  </a:moveTo>
                  <a:lnTo>
                    <a:pt x="24706" y="2388"/>
                  </a:lnTo>
                  <a:lnTo>
                    <a:pt x="24638" y="2421"/>
                  </a:lnTo>
                  <a:lnTo>
                    <a:pt x="24654" y="2405"/>
                  </a:lnTo>
                  <a:lnTo>
                    <a:pt x="24572" y="2405"/>
                  </a:lnTo>
                  <a:lnTo>
                    <a:pt x="24562" y="2384"/>
                  </a:lnTo>
                  <a:lnTo>
                    <a:pt x="24517" y="2360"/>
                  </a:lnTo>
                  <a:lnTo>
                    <a:pt x="24479" y="2367"/>
                  </a:lnTo>
                  <a:lnTo>
                    <a:pt x="24529" y="2367"/>
                  </a:lnTo>
                  <a:lnTo>
                    <a:pt x="24550" y="2388"/>
                  </a:lnTo>
                  <a:lnTo>
                    <a:pt x="24529" y="2400"/>
                  </a:lnTo>
                  <a:lnTo>
                    <a:pt x="24508" y="2384"/>
                  </a:lnTo>
                  <a:lnTo>
                    <a:pt x="24491" y="2388"/>
                  </a:lnTo>
                  <a:lnTo>
                    <a:pt x="24465" y="2377"/>
                  </a:lnTo>
                  <a:lnTo>
                    <a:pt x="24442" y="2400"/>
                  </a:lnTo>
                  <a:lnTo>
                    <a:pt x="24352" y="2405"/>
                  </a:lnTo>
                  <a:lnTo>
                    <a:pt x="24437" y="2400"/>
                  </a:lnTo>
                  <a:lnTo>
                    <a:pt x="24465" y="2384"/>
                  </a:lnTo>
                  <a:lnTo>
                    <a:pt x="24491" y="2405"/>
                  </a:lnTo>
                  <a:lnTo>
                    <a:pt x="24465" y="2417"/>
                  </a:lnTo>
                  <a:lnTo>
                    <a:pt x="24465" y="2421"/>
                  </a:lnTo>
                  <a:lnTo>
                    <a:pt x="24491" y="2405"/>
                  </a:lnTo>
                  <a:lnTo>
                    <a:pt x="24513" y="2421"/>
                  </a:lnTo>
                  <a:lnTo>
                    <a:pt x="24529" y="2405"/>
                  </a:lnTo>
                  <a:lnTo>
                    <a:pt x="24567" y="2400"/>
                  </a:lnTo>
                  <a:lnTo>
                    <a:pt x="24550" y="2421"/>
                  </a:lnTo>
                  <a:lnTo>
                    <a:pt x="24572" y="2445"/>
                  </a:lnTo>
                  <a:lnTo>
                    <a:pt x="24605" y="2462"/>
                  </a:lnTo>
                  <a:lnTo>
                    <a:pt x="24621" y="2445"/>
                  </a:lnTo>
                  <a:lnTo>
                    <a:pt x="24626" y="2455"/>
                  </a:lnTo>
                  <a:lnTo>
                    <a:pt x="24638" y="2478"/>
                  </a:lnTo>
                  <a:lnTo>
                    <a:pt x="24626" y="2495"/>
                  </a:lnTo>
                  <a:lnTo>
                    <a:pt x="24642" y="2495"/>
                  </a:lnTo>
                  <a:lnTo>
                    <a:pt x="24654" y="2528"/>
                  </a:lnTo>
                  <a:lnTo>
                    <a:pt x="24642" y="2528"/>
                  </a:lnTo>
                  <a:lnTo>
                    <a:pt x="24621" y="2532"/>
                  </a:lnTo>
                  <a:lnTo>
                    <a:pt x="24654" y="2532"/>
                  </a:lnTo>
                  <a:lnTo>
                    <a:pt x="24654" y="2549"/>
                  </a:lnTo>
                  <a:lnTo>
                    <a:pt x="24642" y="2556"/>
                  </a:lnTo>
                  <a:lnTo>
                    <a:pt x="24659" y="2549"/>
                  </a:lnTo>
                  <a:lnTo>
                    <a:pt x="24654" y="2532"/>
                  </a:lnTo>
                  <a:lnTo>
                    <a:pt x="24668" y="2566"/>
                  </a:lnTo>
                  <a:lnTo>
                    <a:pt x="24659" y="2556"/>
                  </a:lnTo>
                  <a:lnTo>
                    <a:pt x="24659" y="2566"/>
                  </a:lnTo>
                  <a:lnTo>
                    <a:pt x="24697" y="2582"/>
                  </a:lnTo>
                  <a:lnTo>
                    <a:pt x="24697" y="2599"/>
                  </a:lnTo>
                  <a:lnTo>
                    <a:pt x="24680" y="2606"/>
                  </a:lnTo>
                  <a:lnTo>
                    <a:pt x="24706" y="2622"/>
                  </a:lnTo>
                  <a:lnTo>
                    <a:pt x="24706" y="2643"/>
                  </a:lnTo>
                  <a:lnTo>
                    <a:pt x="24676" y="2660"/>
                  </a:lnTo>
                  <a:lnTo>
                    <a:pt x="24680" y="2677"/>
                  </a:lnTo>
                  <a:lnTo>
                    <a:pt x="24676" y="2681"/>
                  </a:lnTo>
                  <a:lnTo>
                    <a:pt x="24600" y="2655"/>
                  </a:lnTo>
                  <a:lnTo>
                    <a:pt x="24550" y="2643"/>
                  </a:lnTo>
                  <a:lnTo>
                    <a:pt x="24550" y="2627"/>
                  </a:lnTo>
                  <a:lnTo>
                    <a:pt x="24562" y="2622"/>
                  </a:lnTo>
                  <a:lnTo>
                    <a:pt x="24546" y="2639"/>
                  </a:lnTo>
                  <a:lnTo>
                    <a:pt x="24529" y="2610"/>
                  </a:lnTo>
                  <a:lnTo>
                    <a:pt x="24529" y="2639"/>
                  </a:lnTo>
                  <a:lnTo>
                    <a:pt x="24550" y="2643"/>
                  </a:lnTo>
                  <a:lnTo>
                    <a:pt x="24508" y="2655"/>
                  </a:lnTo>
                  <a:lnTo>
                    <a:pt x="24479" y="2677"/>
                  </a:lnTo>
                  <a:lnTo>
                    <a:pt x="24373" y="2721"/>
                  </a:lnTo>
                  <a:lnTo>
                    <a:pt x="24357" y="2717"/>
                  </a:lnTo>
                  <a:lnTo>
                    <a:pt x="24366" y="2721"/>
                  </a:lnTo>
                  <a:lnTo>
                    <a:pt x="24357" y="2733"/>
                  </a:lnTo>
                  <a:lnTo>
                    <a:pt x="24328" y="2733"/>
                  </a:lnTo>
                  <a:lnTo>
                    <a:pt x="24319" y="2738"/>
                  </a:lnTo>
                  <a:lnTo>
                    <a:pt x="24302" y="2750"/>
                  </a:lnTo>
                  <a:lnTo>
                    <a:pt x="24290" y="2738"/>
                  </a:lnTo>
                  <a:lnTo>
                    <a:pt x="24281" y="2766"/>
                  </a:lnTo>
                  <a:lnTo>
                    <a:pt x="24276" y="2766"/>
                  </a:lnTo>
                  <a:lnTo>
                    <a:pt x="24260" y="2776"/>
                  </a:lnTo>
                  <a:lnTo>
                    <a:pt x="24243" y="2771"/>
                  </a:lnTo>
                  <a:lnTo>
                    <a:pt x="24227" y="2776"/>
                  </a:lnTo>
                  <a:lnTo>
                    <a:pt x="24243" y="2788"/>
                  </a:lnTo>
                  <a:lnTo>
                    <a:pt x="24227" y="2788"/>
                  </a:lnTo>
                  <a:lnTo>
                    <a:pt x="24239" y="2792"/>
                  </a:lnTo>
                  <a:lnTo>
                    <a:pt x="24222" y="2804"/>
                  </a:lnTo>
                  <a:lnTo>
                    <a:pt x="24205" y="2792"/>
                  </a:lnTo>
                  <a:lnTo>
                    <a:pt x="24205" y="2809"/>
                  </a:lnTo>
                  <a:lnTo>
                    <a:pt x="24210" y="2821"/>
                  </a:lnTo>
                  <a:lnTo>
                    <a:pt x="24194" y="2821"/>
                  </a:lnTo>
                  <a:lnTo>
                    <a:pt x="24184" y="2809"/>
                  </a:lnTo>
                  <a:lnTo>
                    <a:pt x="24189" y="2828"/>
                  </a:lnTo>
                  <a:lnTo>
                    <a:pt x="24184" y="2844"/>
                  </a:lnTo>
                  <a:lnTo>
                    <a:pt x="24172" y="2828"/>
                  </a:lnTo>
                  <a:lnTo>
                    <a:pt x="24172" y="2844"/>
                  </a:lnTo>
                  <a:lnTo>
                    <a:pt x="24151" y="2844"/>
                  </a:lnTo>
                  <a:lnTo>
                    <a:pt x="24151" y="2849"/>
                  </a:lnTo>
                  <a:lnTo>
                    <a:pt x="24135" y="2849"/>
                  </a:lnTo>
                  <a:lnTo>
                    <a:pt x="24135" y="2866"/>
                  </a:lnTo>
                  <a:lnTo>
                    <a:pt x="24080" y="2887"/>
                  </a:lnTo>
                  <a:lnTo>
                    <a:pt x="24080" y="2899"/>
                  </a:lnTo>
                  <a:lnTo>
                    <a:pt x="24076" y="2903"/>
                  </a:lnTo>
                  <a:lnTo>
                    <a:pt x="24064" y="2936"/>
                  </a:lnTo>
                  <a:lnTo>
                    <a:pt x="24059" y="2936"/>
                  </a:lnTo>
                  <a:lnTo>
                    <a:pt x="24033" y="2920"/>
                  </a:lnTo>
                  <a:lnTo>
                    <a:pt x="24021" y="2887"/>
                  </a:lnTo>
                  <a:lnTo>
                    <a:pt x="23979" y="2866"/>
                  </a:lnTo>
                  <a:lnTo>
                    <a:pt x="23979" y="2877"/>
                  </a:lnTo>
                  <a:lnTo>
                    <a:pt x="23913" y="2866"/>
                  </a:lnTo>
                  <a:lnTo>
                    <a:pt x="23832" y="2899"/>
                  </a:lnTo>
                  <a:lnTo>
                    <a:pt x="23761" y="2953"/>
                  </a:lnTo>
                  <a:lnTo>
                    <a:pt x="23773" y="2887"/>
                  </a:lnTo>
                  <a:lnTo>
                    <a:pt x="23778" y="2882"/>
                  </a:lnTo>
                  <a:lnTo>
                    <a:pt x="23757" y="2882"/>
                  </a:lnTo>
                  <a:lnTo>
                    <a:pt x="23702" y="2920"/>
                  </a:lnTo>
                  <a:lnTo>
                    <a:pt x="23686" y="2915"/>
                  </a:lnTo>
                  <a:lnTo>
                    <a:pt x="23702" y="2932"/>
                  </a:lnTo>
                  <a:lnTo>
                    <a:pt x="23681" y="2953"/>
                  </a:lnTo>
                  <a:lnTo>
                    <a:pt x="23665" y="2936"/>
                  </a:lnTo>
                  <a:lnTo>
                    <a:pt x="23648" y="2920"/>
                  </a:lnTo>
                  <a:lnTo>
                    <a:pt x="23643" y="2920"/>
                  </a:lnTo>
                  <a:lnTo>
                    <a:pt x="23643" y="2932"/>
                  </a:lnTo>
                  <a:lnTo>
                    <a:pt x="23627" y="2936"/>
                  </a:lnTo>
                  <a:lnTo>
                    <a:pt x="23627" y="2943"/>
                  </a:lnTo>
                  <a:lnTo>
                    <a:pt x="23617" y="2943"/>
                  </a:lnTo>
                  <a:lnTo>
                    <a:pt x="23627" y="2936"/>
                  </a:lnTo>
                  <a:lnTo>
                    <a:pt x="23617" y="2932"/>
                  </a:lnTo>
                  <a:lnTo>
                    <a:pt x="23596" y="2932"/>
                  </a:lnTo>
                  <a:lnTo>
                    <a:pt x="23601" y="2936"/>
                  </a:lnTo>
                  <a:lnTo>
                    <a:pt x="23596" y="2943"/>
                  </a:lnTo>
                  <a:lnTo>
                    <a:pt x="23572" y="2953"/>
                  </a:lnTo>
                  <a:lnTo>
                    <a:pt x="23572" y="2972"/>
                  </a:lnTo>
                  <a:lnTo>
                    <a:pt x="23558" y="2977"/>
                  </a:lnTo>
                  <a:lnTo>
                    <a:pt x="23572" y="2998"/>
                  </a:lnTo>
                  <a:lnTo>
                    <a:pt x="23563" y="3010"/>
                  </a:lnTo>
                  <a:lnTo>
                    <a:pt x="23546" y="3010"/>
                  </a:lnTo>
                  <a:lnTo>
                    <a:pt x="23563" y="3031"/>
                  </a:lnTo>
                  <a:lnTo>
                    <a:pt x="23546" y="3026"/>
                  </a:lnTo>
                  <a:lnTo>
                    <a:pt x="23542" y="3026"/>
                  </a:lnTo>
                  <a:lnTo>
                    <a:pt x="23546" y="3043"/>
                  </a:lnTo>
                  <a:lnTo>
                    <a:pt x="23504" y="3071"/>
                  </a:lnTo>
                  <a:lnTo>
                    <a:pt x="23487" y="3099"/>
                  </a:lnTo>
                  <a:lnTo>
                    <a:pt x="23471" y="3137"/>
                  </a:lnTo>
                  <a:lnTo>
                    <a:pt x="23487" y="3158"/>
                  </a:lnTo>
                  <a:lnTo>
                    <a:pt x="23504" y="3170"/>
                  </a:lnTo>
                  <a:lnTo>
                    <a:pt x="23504" y="3175"/>
                  </a:lnTo>
                  <a:lnTo>
                    <a:pt x="23520" y="3154"/>
                  </a:lnTo>
                  <a:lnTo>
                    <a:pt x="23563" y="3158"/>
                  </a:lnTo>
                  <a:lnTo>
                    <a:pt x="23563" y="3170"/>
                  </a:lnTo>
                  <a:lnTo>
                    <a:pt x="23558" y="3192"/>
                  </a:lnTo>
                  <a:lnTo>
                    <a:pt x="23525" y="3208"/>
                  </a:lnTo>
                  <a:lnTo>
                    <a:pt x="23535" y="3236"/>
                  </a:lnTo>
                  <a:lnTo>
                    <a:pt x="23535" y="3269"/>
                  </a:lnTo>
                  <a:lnTo>
                    <a:pt x="23542" y="3281"/>
                  </a:lnTo>
                  <a:lnTo>
                    <a:pt x="23563" y="3269"/>
                  </a:lnTo>
                  <a:lnTo>
                    <a:pt x="23572" y="3326"/>
                  </a:lnTo>
                  <a:lnTo>
                    <a:pt x="23546" y="3347"/>
                  </a:lnTo>
                  <a:lnTo>
                    <a:pt x="23525" y="3336"/>
                  </a:lnTo>
                  <a:lnTo>
                    <a:pt x="23525" y="3319"/>
                  </a:lnTo>
                  <a:lnTo>
                    <a:pt x="23558" y="3293"/>
                  </a:lnTo>
                  <a:lnTo>
                    <a:pt x="23546" y="3293"/>
                  </a:lnTo>
                  <a:lnTo>
                    <a:pt x="23542" y="3303"/>
                  </a:lnTo>
                  <a:lnTo>
                    <a:pt x="23525" y="3303"/>
                  </a:lnTo>
                  <a:lnTo>
                    <a:pt x="23504" y="3310"/>
                  </a:lnTo>
                  <a:lnTo>
                    <a:pt x="23520" y="3326"/>
                  </a:lnTo>
                  <a:lnTo>
                    <a:pt x="23483" y="3343"/>
                  </a:lnTo>
                  <a:lnTo>
                    <a:pt x="23454" y="3397"/>
                  </a:lnTo>
                  <a:lnTo>
                    <a:pt x="23466" y="3437"/>
                  </a:lnTo>
                  <a:lnTo>
                    <a:pt x="23487" y="3458"/>
                  </a:lnTo>
                  <a:lnTo>
                    <a:pt x="23487" y="3475"/>
                  </a:lnTo>
                  <a:lnTo>
                    <a:pt x="23454" y="3503"/>
                  </a:lnTo>
                  <a:lnTo>
                    <a:pt x="23428" y="3503"/>
                  </a:lnTo>
                  <a:lnTo>
                    <a:pt x="23416" y="3491"/>
                  </a:lnTo>
                  <a:lnTo>
                    <a:pt x="23383" y="3503"/>
                  </a:lnTo>
                  <a:lnTo>
                    <a:pt x="23341" y="3541"/>
                  </a:lnTo>
                  <a:lnTo>
                    <a:pt x="23324" y="3581"/>
                  </a:lnTo>
                  <a:lnTo>
                    <a:pt x="23331" y="3586"/>
                  </a:lnTo>
                  <a:lnTo>
                    <a:pt x="23331" y="3603"/>
                  </a:lnTo>
                  <a:lnTo>
                    <a:pt x="23324" y="3598"/>
                  </a:lnTo>
                  <a:lnTo>
                    <a:pt x="23341" y="3619"/>
                  </a:lnTo>
                  <a:lnTo>
                    <a:pt x="23341" y="3636"/>
                  </a:lnTo>
                  <a:lnTo>
                    <a:pt x="23308" y="3619"/>
                  </a:lnTo>
                  <a:lnTo>
                    <a:pt x="23270" y="3643"/>
                  </a:lnTo>
                  <a:lnTo>
                    <a:pt x="23249" y="3659"/>
                  </a:lnTo>
                  <a:lnTo>
                    <a:pt x="23239" y="3643"/>
                  </a:lnTo>
                  <a:lnTo>
                    <a:pt x="23223" y="3643"/>
                  </a:lnTo>
                  <a:lnTo>
                    <a:pt x="23223" y="3659"/>
                  </a:lnTo>
                  <a:lnTo>
                    <a:pt x="23239" y="3659"/>
                  </a:lnTo>
                  <a:lnTo>
                    <a:pt x="23232" y="3680"/>
                  </a:lnTo>
                  <a:lnTo>
                    <a:pt x="23223" y="3680"/>
                  </a:lnTo>
                  <a:lnTo>
                    <a:pt x="23232" y="3692"/>
                  </a:lnTo>
                  <a:lnTo>
                    <a:pt x="23232" y="3714"/>
                  </a:lnTo>
                  <a:lnTo>
                    <a:pt x="23218" y="3730"/>
                  </a:lnTo>
                  <a:lnTo>
                    <a:pt x="23218" y="3751"/>
                  </a:lnTo>
                  <a:lnTo>
                    <a:pt x="23105" y="3846"/>
                  </a:lnTo>
                  <a:lnTo>
                    <a:pt x="23109" y="3836"/>
                  </a:lnTo>
                  <a:lnTo>
                    <a:pt x="23093" y="3808"/>
                  </a:lnTo>
                  <a:lnTo>
                    <a:pt x="23093" y="3751"/>
                  </a:lnTo>
                  <a:lnTo>
                    <a:pt x="23076" y="3692"/>
                  </a:lnTo>
                  <a:lnTo>
                    <a:pt x="23088" y="3697"/>
                  </a:lnTo>
                  <a:lnTo>
                    <a:pt x="23088" y="3692"/>
                  </a:lnTo>
                  <a:lnTo>
                    <a:pt x="23076" y="3692"/>
                  </a:lnTo>
                  <a:lnTo>
                    <a:pt x="23060" y="3669"/>
                  </a:lnTo>
                  <a:lnTo>
                    <a:pt x="23022" y="3421"/>
                  </a:lnTo>
                  <a:lnTo>
                    <a:pt x="23034" y="3359"/>
                  </a:lnTo>
                  <a:lnTo>
                    <a:pt x="23055" y="3281"/>
                  </a:lnTo>
                  <a:lnTo>
                    <a:pt x="23088" y="3253"/>
                  </a:lnTo>
                  <a:lnTo>
                    <a:pt x="23093" y="3236"/>
                  </a:lnTo>
                  <a:lnTo>
                    <a:pt x="23105" y="3236"/>
                  </a:lnTo>
                  <a:lnTo>
                    <a:pt x="23126" y="3208"/>
                  </a:lnTo>
                  <a:lnTo>
                    <a:pt x="23126" y="3182"/>
                  </a:lnTo>
                  <a:lnTo>
                    <a:pt x="23109" y="3175"/>
                  </a:lnTo>
                  <a:lnTo>
                    <a:pt x="23126" y="3158"/>
                  </a:lnTo>
                  <a:lnTo>
                    <a:pt x="23142" y="3170"/>
                  </a:lnTo>
                  <a:lnTo>
                    <a:pt x="23157" y="3170"/>
                  </a:lnTo>
                  <a:lnTo>
                    <a:pt x="23168" y="3142"/>
                  </a:lnTo>
                  <a:lnTo>
                    <a:pt x="23218" y="3142"/>
                  </a:lnTo>
                  <a:lnTo>
                    <a:pt x="23320" y="3059"/>
                  </a:lnTo>
                  <a:lnTo>
                    <a:pt x="23324" y="3031"/>
                  </a:lnTo>
                  <a:lnTo>
                    <a:pt x="23362" y="2998"/>
                  </a:lnTo>
                  <a:lnTo>
                    <a:pt x="23374" y="2977"/>
                  </a:lnTo>
                  <a:lnTo>
                    <a:pt x="23395" y="2972"/>
                  </a:lnTo>
                  <a:lnTo>
                    <a:pt x="23438" y="2920"/>
                  </a:lnTo>
                  <a:lnTo>
                    <a:pt x="23466" y="2915"/>
                  </a:lnTo>
                  <a:lnTo>
                    <a:pt x="23471" y="2903"/>
                  </a:lnTo>
                  <a:lnTo>
                    <a:pt x="23471" y="2882"/>
                  </a:lnTo>
                  <a:lnTo>
                    <a:pt x="23535" y="2861"/>
                  </a:lnTo>
                  <a:lnTo>
                    <a:pt x="23542" y="2849"/>
                  </a:lnTo>
                  <a:lnTo>
                    <a:pt x="23596" y="2832"/>
                  </a:lnTo>
                  <a:lnTo>
                    <a:pt x="23596" y="2828"/>
                  </a:lnTo>
                  <a:lnTo>
                    <a:pt x="23579" y="2821"/>
                  </a:lnTo>
                  <a:lnTo>
                    <a:pt x="23617" y="2788"/>
                  </a:lnTo>
                  <a:lnTo>
                    <a:pt x="23617" y="2776"/>
                  </a:lnTo>
                  <a:lnTo>
                    <a:pt x="23601" y="2771"/>
                  </a:lnTo>
                  <a:lnTo>
                    <a:pt x="23610" y="2755"/>
                  </a:lnTo>
                  <a:lnTo>
                    <a:pt x="23617" y="2750"/>
                  </a:lnTo>
                  <a:lnTo>
                    <a:pt x="23627" y="2681"/>
                  </a:lnTo>
                  <a:lnTo>
                    <a:pt x="23655" y="2660"/>
                  </a:lnTo>
                  <a:lnTo>
                    <a:pt x="23698" y="2665"/>
                  </a:lnTo>
                  <a:lnTo>
                    <a:pt x="23709" y="2677"/>
                  </a:lnTo>
                  <a:lnTo>
                    <a:pt x="23698" y="2660"/>
                  </a:lnTo>
                  <a:lnTo>
                    <a:pt x="23735" y="2660"/>
                  </a:lnTo>
                  <a:lnTo>
                    <a:pt x="23686" y="2655"/>
                  </a:lnTo>
                  <a:lnTo>
                    <a:pt x="23643" y="2639"/>
                  </a:lnTo>
                  <a:lnTo>
                    <a:pt x="23563" y="2655"/>
                  </a:lnTo>
                  <a:lnTo>
                    <a:pt x="23558" y="2660"/>
                  </a:lnTo>
                  <a:lnTo>
                    <a:pt x="23572" y="2677"/>
                  </a:lnTo>
                  <a:lnTo>
                    <a:pt x="23558" y="2681"/>
                  </a:lnTo>
                  <a:lnTo>
                    <a:pt x="23558" y="2710"/>
                  </a:lnTo>
                  <a:lnTo>
                    <a:pt x="23542" y="2733"/>
                  </a:lnTo>
                  <a:lnTo>
                    <a:pt x="23572" y="2738"/>
                  </a:lnTo>
                  <a:lnTo>
                    <a:pt x="23563" y="2750"/>
                  </a:lnTo>
                  <a:lnTo>
                    <a:pt x="23546" y="2766"/>
                  </a:lnTo>
                  <a:lnTo>
                    <a:pt x="23535" y="2750"/>
                  </a:lnTo>
                  <a:lnTo>
                    <a:pt x="23525" y="2750"/>
                  </a:lnTo>
                  <a:lnTo>
                    <a:pt x="23535" y="2755"/>
                  </a:lnTo>
                  <a:lnTo>
                    <a:pt x="23504" y="2750"/>
                  </a:lnTo>
                  <a:lnTo>
                    <a:pt x="23400" y="2832"/>
                  </a:lnTo>
                  <a:lnTo>
                    <a:pt x="23395" y="2849"/>
                  </a:lnTo>
                  <a:lnTo>
                    <a:pt x="23362" y="2849"/>
                  </a:lnTo>
                  <a:lnTo>
                    <a:pt x="23346" y="2866"/>
                  </a:lnTo>
                  <a:lnTo>
                    <a:pt x="23357" y="2849"/>
                  </a:lnTo>
                  <a:lnTo>
                    <a:pt x="23346" y="2844"/>
                  </a:lnTo>
                  <a:lnTo>
                    <a:pt x="23362" y="2821"/>
                  </a:lnTo>
                  <a:lnTo>
                    <a:pt x="23346" y="2821"/>
                  </a:lnTo>
                  <a:lnTo>
                    <a:pt x="23324" y="2828"/>
                  </a:lnTo>
                  <a:lnTo>
                    <a:pt x="23331" y="2809"/>
                  </a:lnTo>
                  <a:lnTo>
                    <a:pt x="23331" y="2792"/>
                  </a:lnTo>
                  <a:lnTo>
                    <a:pt x="23324" y="2792"/>
                  </a:lnTo>
                  <a:lnTo>
                    <a:pt x="23362" y="2738"/>
                  </a:lnTo>
                  <a:lnTo>
                    <a:pt x="23362" y="2717"/>
                  </a:lnTo>
                  <a:lnTo>
                    <a:pt x="23303" y="2750"/>
                  </a:lnTo>
                  <a:lnTo>
                    <a:pt x="23294" y="2721"/>
                  </a:lnTo>
                  <a:lnTo>
                    <a:pt x="23287" y="2721"/>
                  </a:lnTo>
                  <a:lnTo>
                    <a:pt x="23202" y="2738"/>
                  </a:lnTo>
                  <a:lnTo>
                    <a:pt x="23164" y="2733"/>
                  </a:lnTo>
                  <a:lnTo>
                    <a:pt x="23109" y="2766"/>
                  </a:lnTo>
                  <a:lnTo>
                    <a:pt x="23105" y="2804"/>
                  </a:lnTo>
                  <a:lnTo>
                    <a:pt x="23060" y="2821"/>
                  </a:lnTo>
                  <a:lnTo>
                    <a:pt x="23055" y="2832"/>
                  </a:lnTo>
                  <a:lnTo>
                    <a:pt x="23050" y="2849"/>
                  </a:lnTo>
                  <a:lnTo>
                    <a:pt x="22984" y="2887"/>
                  </a:lnTo>
                  <a:lnTo>
                    <a:pt x="22963" y="2915"/>
                  </a:lnTo>
                  <a:lnTo>
                    <a:pt x="22946" y="2936"/>
                  </a:lnTo>
                  <a:lnTo>
                    <a:pt x="22930" y="2943"/>
                  </a:lnTo>
                  <a:lnTo>
                    <a:pt x="22942" y="2972"/>
                  </a:lnTo>
                  <a:lnTo>
                    <a:pt x="22925" y="2988"/>
                  </a:lnTo>
                  <a:lnTo>
                    <a:pt x="22925" y="2993"/>
                  </a:lnTo>
                  <a:lnTo>
                    <a:pt x="22953" y="2993"/>
                  </a:lnTo>
                  <a:lnTo>
                    <a:pt x="22946" y="2977"/>
                  </a:lnTo>
                  <a:lnTo>
                    <a:pt x="22984" y="2988"/>
                  </a:lnTo>
                  <a:lnTo>
                    <a:pt x="23001" y="2998"/>
                  </a:lnTo>
                  <a:lnTo>
                    <a:pt x="22996" y="3014"/>
                  </a:lnTo>
                  <a:lnTo>
                    <a:pt x="22968" y="3026"/>
                  </a:lnTo>
                  <a:lnTo>
                    <a:pt x="22946" y="3014"/>
                  </a:lnTo>
                  <a:lnTo>
                    <a:pt x="22942" y="3014"/>
                  </a:lnTo>
                  <a:lnTo>
                    <a:pt x="22930" y="3031"/>
                  </a:lnTo>
                  <a:lnTo>
                    <a:pt x="22916" y="3031"/>
                  </a:lnTo>
                  <a:lnTo>
                    <a:pt x="22899" y="3014"/>
                  </a:lnTo>
                  <a:lnTo>
                    <a:pt x="22871" y="3010"/>
                  </a:lnTo>
                  <a:lnTo>
                    <a:pt x="22861" y="3026"/>
                  </a:lnTo>
                  <a:lnTo>
                    <a:pt x="22845" y="3031"/>
                  </a:lnTo>
                  <a:lnTo>
                    <a:pt x="22840" y="3047"/>
                  </a:lnTo>
                  <a:lnTo>
                    <a:pt x="22802" y="3031"/>
                  </a:lnTo>
                  <a:lnTo>
                    <a:pt x="22786" y="3043"/>
                  </a:lnTo>
                  <a:lnTo>
                    <a:pt x="22779" y="3047"/>
                  </a:lnTo>
                  <a:lnTo>
                    <a:pt x="22731" y="3059"/>
                  </a:lnTo>
                  <a:lnTo>
                    <a:pt x="22710" y="3026"/>
                  </a:lnTo>
                  <a:lnTo>
                    <a:pt x="22791" y="3014"/>
                  </a:lnTo>
                  <a:lnTo>
                    <a:pt x="22765" y="3010"/>
                  </a:lnTo>
                  <a:lnTo>
                    <a:pt x="22748" y="2988"/>
                  </a:lnTo>
                  <a:lnTo>
                    <a:pt x="22731" y="2977"/>
                  </a:lnTo>
                  <a:lnTo>
                    <a:pt x="22698" y="2977"/>
                  </a:lnTo>
                  <a:lnTo>
                    <a:pt x="22698" y="2988"/>
                  </a:lnTo>
                  <a:lnTo>
                    <a:pt x="22682" y="2993"/>
                  </a:lnTo>
                  <a:lnTo>
                    <a:pt x="22682" y="2988"/>
                  </a:lnTo>
                  <a:lnTo>
                    <a:pt x="22665" y="2988"/>
                  </a:lnTo>
                  <a:lnTo>
                    <a:pt x="22682" y="2977"/>
                  </a:lnTo>
                  <a:lnTo>
                    <a:pt x="22606" y="2953"/>
                  </a:lnTo>
                  <a:lnTo>
                    <a:pt x="22568" y="2972"/>
                  </a:lnTo>
                  <a:lnTo>
                    <a:pt x="22576" y="2993"/>
                  </a:lnTo>
                  <a:lnTo>
                    <a:pt x="22559" y="2993"/>
                  </a:lnTo>
                  <a:lnTo>
                    <a:pt x="22552" y="2977"/>
                  </a:lnTo>
                  <a:lnTo>
                    <a:pt x="22547" y="2988"/>
                  </a:lnTo>
                  <a:lnTo>
                    <a:pt x="22547" y="2998"/>
                  </a:lnTo>
                  <a:lnTo>
                    <a:pt x="22559" y="2998"/>
                  </a:lnTo>
                  <a:lnTo>
                    <a:pt x="22559" y="3010"/>
                  </a:lnTo>
                  <a:lnTo>
                    <a:pt x="22521" y="3010"/>
                  </a:lnTo>
                  <a:lnTo>
                    <a:pt x="22521" y="2993"/>
                  </a:lnTo>
                  <a:lnTo>
                    <a:pt x="22505" y="2993"/>
                  </a:lnTo>
                  <a:lnTo>
                    <a:pt x="22462" y="3010"/>
                  </a:lnTo>
                  <a:lnTo>
                    <a:pt x="22391" y="2993"/>
                  </a:lnTo>
                  <a:lnTo>
                    <a:pt x="22375" y="2993"/>
                  </a:lnTo>
                  <a:lnTo>
                    <a:pt x="22375" y="3014"/>
                  </a:lnTo>
                  <a:lnTo>
                    <a:pt x="22354" y="3026"/>
                  </a:lnTo>
                  <a:lnTo>
                    <a:pt x="22337" y="3010"/>
                  </a:lnTo>
                  <a:lnTo>
                    <a:pt x="22342" y="2993"/>
                  </a:lnTo>
                  <a:lnTo>
                    <a:pt x="22207" y="2993"/>
                  </a:lnTo>
                  <a:lnTo>
                    <a:pt x="22160" y="2998"/>
                  </a:lnTo>
                  <a:lnTo>
                    <a:pt x="22084" y="3031"/>
                  </a:lnTo>
                  <a:lnTo>
                    <a:pt x="22051" y="3071"/>
                  </a:lnTo>
                  <a:lnTo>
                    <a:pt x="21980" y="3121"/>
                  </a:lnTo>
                  <a:lnTo>
                    <a:pt x="21964" y="3158"/>
                  </a:lnTo>
                  <a:lnTo>
                    <a:pt x="21938" y="3175"/>
                  </a:lnTo>
                  <a:lnTo>
                    <a:pt x="21900" y="3215"/>
                  </a:lnTo>
                  <a:lnTo>
                    <a:pt x="21872" y="3225"/>
                  </a:lnTo>
                  <a:lnTo>
                    <a:pt x="21857" y="3248"/>
                  </a:lnTo>
                  <a:lnTo>
                    <a:pt x="21834" y="3248"/>
                  </a:lnTo>
                  <a:lnTo>
                    <a:pt x="21803" y="3293"/>
                  </a:lnTo>
                  <a:lnTo>
                    <a:pt x="21803" y="3303"/>
                  </a:lnTo>
                  <a:lnTo>
                    <a:pt x="21775" y="3336"/>
                  </a:lnTo>
                  <a:lnTo>
                    <a:pt x="21683" y="3397"/>
                  </a:lnTo>
                  <a:lnTo>
                    <a:pt x="21668" y="3421"/>
                  </a:lnTo>
                  <a:lnTo>
                    <a:pt x="21619" y="3437"/>
                  </a:lnTo>
                  <a:lnTo>
                    <a:pt x="21598" y="3458"/>
                  </a:lnTo>
                  <a:lnTo>
                    <a:pt x="21602" y="3475"/>
                  </a:lnTo>
                  <a:lnTo>
                    <a:pt x="21635" y="3491"/>
                  </a:lnTo>
                  <a:lnTo>
                    <a:pt x="21711" y="3487"/>
                  </a:lnTo>
                  <a:lnTo>
                    <a:pt x="21711" y="3491"/>
                  </a:lnTo>
                  <a:lnTo>
                    <a:pt x="21706" y="3508"/>
                  </a:lnTo>
                  <a:lnTo>
                    <a:pt x="21711" y="3532"/>
                  </a:lnTo>
                  <a:lnTo>
                    <a:pt x="21694" y="3558"/>
                  </a:lnTo>
                  <a:lnTo>
                    <a:pt x="21706" y="3569"/>
                  </a:lnTo>
                  <a:lnTo>
                    <a:pt x="21737" y="3565"/>
                  </a:lnTo>
                  <a:lnTo>
                    <a:pt x="21744" y="3548"/>
                  </a:lnTo>
                  <a:lnTo>
                    <a:pt x="21728" y="3532"/>
                  </a:lnTo>
                  <a:lnTo>
                    <a:pt x="21737" y="3532"/>
                  </a:lnTo>
                  <a:lnTo>
                    <a:pt x="21775" y="3515"/>
                  </a:lnTo>
                  <a:lnTo>
                    <a:pt x="21744" y="3541"/>
                  </a:lnTo>
                  <a:lnTo>
                    <a:pt x="21744" y="3548"/>
                  </a:lnTo>
                  <a:lnTo>
                    <a:pt x="21765" y="3558"/>
                  </a:lnTo>
                  <a:lnTo>
                    <a:pt x="21782" y="3558"/>
                  </a:lnTo>
                  <a:lnTo>
                    <a:pt x="21765" y="3565"/>
                  </a:lnTo>
                  <a:lnTo>
                    <a:pt x="21758" y="3581"/>
                  </a:lnTo>
                  <a:lnTo>
                    <a:pt x="21737" y="3586"/>
                  </a:lnTo>
                  <a:lnTo>
                    <a:pt x="21744" y="3598"/>
                  </a:lnTo>
                  <a:lnTo>
                    <a:pt x="21791" y="3598"/>
                  </a:lnTo>
                  <a:lnTo>
                    <a:pt x="21813" y="3581"/>
                  </a:lnTo>
                  <a:lnTo>
                    <a:pt x="21820" y="3565"/>
                  </a:lnTo>
                  <a:lnTo>
                    <a:pt x="21834" y="3548"/>
                  </a:lnTo>
                  <a:lnTo>
                    <a:pt x="21834" y="3569"/>
                  </a:lnTo>
                  <a:lnTo>
                    <a:pt x="21813" y="3598"/>
                  </a:lnTo>
                  <a:lnTo>
                    <a:pt x="21829" y="3598"/>
                  </a:lnTo>
                  <a:lnTo>
                    <a:pt x="21834" y="3581"/>
                  </a:lnTo>
                  <a:lnTo>
                    <a:pt x="21850" y="3548"/>
                  </a:lnTo>
                  <a:lnTo>
                    <a:pt x="21846" y="3525"/>
                  </a:lnTo>
                  <a:lnTo>
                    <a:pt x="21834" y="3525"/>
                  </a:lnTo>
                  <a:lnTo>
                    <a:pt x="21888" y="3532"/>
                  </a:lnTo>
                  <a:lnTo>
                    <a:pt x="21909" y="3515"/>
                  </a:lnTo>
                  <a:lnTo>
                    <a:pt x="21954" y="3548"/>
                  </a:lnTo>
                  <a:lnTo>
                    <a:pt x="21954" y="3565"/>
                  </a:lnTo>
                  <a:lnTo>
                    <a:pt x="21976" y="3586"/>
                  </a:lnTo>
                  <a:lnTo>
                    <a:pt x="22009" y="3598"/>
                  </a:lnTo>
                  <a:lnTo>
                    <a:pt x="21997" y="3603"/>
                  </a:lnTo>
                  <a:lnTo>
                    <a:pt x="22035" y="3619"/>
                  </a:lnTo>
                  <a:lnTo>
                    <a:pt x="22035" y="3636"/>
                  </a:lnTo>
                  <a:lnTo>
                    <a:pt x="22018" y="3643"/>
                  </a:lnTo>
                  <a:lnTo>
                    <a:pt x="22018" y="3652"/>
                  </a:lnTo>
                  <a:lnTo>
                    <a:pt x="21980" y="3636"/>
                  </a:lnTo>
                  <a:lnTo>
                    <a:pt x="22018" y="3669"/>
                  </a:lnTo>
                  <a:lnTo>
                    <a:pt x="22030" y="3680"/>
                  </a:lnTo>
                  <a:lnTo>
                    <a:pt x="22013" y="3709"/>
                  </a:lnTo>
                  <a:lnTo>
                    <a:pt x="22046" y="3725"/>
                  </a:lnTo>
                  <a:lnTo>
                    <a:pt x="22030" y="3747"/>
                  </a:lnTo>
                  <a:lnTo>
                    <a:pt x="22035" y="3751"/>
                  </a:lnTo>
                  <a:lnTo>
                    <a:pt x="21997" y="3780"/>
                  </a:lnTo>
                  <a:lnTo>
                    <a:pt x="21997" y="3791"/>
                  </a:lnTo>
                  <a:lnTo>
                    <a:pt x="21992" y="3803"/>
                  </a:lnTo>
                  <a:lnTo>
                    <a:pt x="21997" y="3803"/>
                  </a:lnTo>
                  <a:lnTo>
                    <a:pt x="21997" y="3808"/>
                  </a:lnTo>
                  <a:lnTo>
                    <a:pt x="21980" y="3808"/>
                  </a:lnTo>
                  <a:lnTo>
                    <a:pt x="21980" y="3846"/>
                  </a:lnTo>
                  <a:lnTo>
                    <a:pt x="21976" y="3858"/>
                  </a:lnTo>
                  <a:lnTo>
                    <a:pt x="21964" y="3862"/>
                  </a:lnTo>
                  <a:lnTo>
                    <a:pt x="21964" y="3919"/>
                  </a:lnTo>
                  <a:lnTo>
                    <a:pt x="21976" y="3931"/>
                  </a:lnTo>
                  <a:lnTo>
                    <a:pt x="21980" y="3931"/>
                  </a:lnTo>
                  <a:lnTo>
                    <a:pt x="21959" y="3947"/>
                  </a:lnTo>
                  <a:lnTo>
                    <a:pt x="21976" y="3973"/>
                  </a:lnTo>
                  <a:lnTo>
                    <a:pt x="21959" y="4006"/>
                  </a:lnTo>
                  <a:lnTo>
                    <a:pt x="21959" y="4030"/>
                  </a:lnTo>
                  <a:lnTo>
                    <a:pt x="21954" y="4047"/>
                  </a:lnTo>
                  <a:lnTo>
                    <a:pt x="21942" y="4080"/>
                  </a:lnTo>
                  <a:lnTo>
                    <a:pt x="21883" y="4141"/>
                  </a:lnTo>
                  <a:lnTo>
                    <a:pt x="21867" y="4174"/>
                  </a:lnTo>
                  <a:lnTo>
                    <a:pt x="21834" y="4207"/>
                  </a:lnTo>
                  <a:lnTo>
                    <a:pt x="21820" y="4252"/>
                  </a:lnTo>
                  <a:lnTo>
                    <a:pt x="21796" y="4285"/>
                  </a:lnTo>
                  <a:lnTo>
                    <a:pt x="21683" y="4413"/>
                  </a:lnTo>
                  <a:lnTo>
                    <a:pt x="21668" y="4434"/>
                  </a:lnTo>
                  <a:lnTo>
                    <a:pt x="21640" y="4451"/>
                  </a:lnTo>
                  <a:lnTo>
                    <a:pt x="21631" y="4474"/>
                  </a:lnTo>
                  <a:lnTo>
                    <a:pt x="21614" y="4484"/>
                  </a:lnTo>
                  <a:lnTo>
                    <a:pt x="21619" y="4491"/>
                  </a:lnTo>
                  <a:lnTo>
                    <a:pt x="21619" y="4500"/>
                  </a:lnTo>
                  <a:lnTo>
                    <a:pt x="21586" y="4524"/>
                  </a:lnTo>
                  <a:lnTo>
                    <a:pt x="21527" y="4562"/>
                  </a:lnTo>
                  <a:lnTo>
                    <a:pt x="21505" y="4578"/>
                  </a:lnTo>
                  <a:lnTo>
                    <a:pt x="21456" y="4595"/>
                  </a:lnTo>
                  <a:lnTo>
                    <a:pt x="21442" y="4595"/>
                  </a:lnTo>
                  <a:lnTo>
                    <a:pt x="21442" y="4583"/>
                  </a:lnTo>
                  <a:lnTo>
                    <a:pt x="21435" y="4595"/>
                  </a:lnTo>
                  <a:lnTo>
                    <a:pt x="21425" y="4578"/>
                  </a:lnTo>
                  <a:lnTo>
                    <a:pt x="21413" y="4583"/>
                  </a:lnTo>
                  <a:lnTo>
                    <a:pt x="21404" y="4578"/>
                  </a:lnTo>
                  <a:lnTo>
                    <a:pt x="21397" y="4583"/>
                  </a:lnTo>
                  <a:lnTo>
                    <a:pt x="21397" y="4545"/>
                  </a:lnTo>
                  <a:lnTo>
                    <a:pt x="21371" y="4562"/>
                  </a:lnTo>
                  <a:lnTo>
                    <a:pt x="21366" y="4562"/>
                  </a:lnTo>
                  <a:lnTo>
                    <a:pt x="21380" y="4540"/>
                  </a:lnTo>
                  <a:lnTo>
                    <a:pt x="21359" y="4540"/>
                  </a:lnTo>
                  <a:lnTo>
                    <a:pt x="21333" y="4578"/>
                  </a:lnTo>
                  <a:lnTo>
                    <a:pt x="21317" y="4583"/>
                  </a:lnTo>
                  <a:lnTo>
                    <a:pt x="21317" y="4611"/>
                  </a:lnTo>
                  <a:lnTo>
                    <a:pt x="21312" y="4602"/>
                  </a:lnTo>
                  <a:lnTo>
                    <a:pt x="21279" y="4595"/>
                  </a:lnTo>
                  <a:lnTo>
                    <a:pt x="21295" y="4611"/>
                  </a:lnTo>
                  <a:lnTo>
                    <a:pt x="21279" y="4635"/>
                  </a:lnTo>
                  <a:lnTo>
                    <a:pt x="21274" y="4618"/>
                  </a:lnTo>
                  <a:lnTo>
                    <a:pt x="21274" y="4602"/>
                  </a:lnTo>
                  <a:lnTo>
                    <a:pt x="21262" y="4595"/>
                  </a:lnTo>
                  <a:lnTo>
                    <a:pt x="21312" y="4578"/>
                  </a:lnTo>
                  <a:lnTo>
                    <a:pt x="21312" y="4562"/>
                  </a:lnTo>
                  <a:lnTo>
                    <a:pt x="21328" y="4540"/>
                  </a:lnTo>
                  <a:lnTo>
                    <a:pt x="21317" y="4524"/>
                  </a:lnTo>
                  <a:lnTo>
                    <a:pt x="21328" y="4474"/>
                  </a:lnTo>
                  <a:lnTo>
                    <a:pt x="21312" y="4417"/>
                  </a:lnTo>
                  <a:lnTo>
                    <a:pt x="21295" y="4401"/>
                  </a:lnTo>
                  <a:lnTo>
                    <a:pt x="21333" y="4396"/>
                  </a:lnTo>
                  <a:lnTo>
                    <a:pt x="21366" y="4363"/>
                  </a:lnTo>
                  <a:lnTo>
                    <a:pt x="21371" y="4373"/>
                  </a:lnTo>
                  <a:lnTo>
                    <a:pt x="21435" y="4389"/>
                  </a:lnTo>
                  <a:lnTo>
                    <a:pt x="21451" y="4380"/>
                  </a:lnTo>
                  <a:lnTo>
                    <a:pt x="21451" y="4356"/>
                  </a:lnTo>
                  <a:lnTo>
                    <a:pt x="21472" y="4340"/>
                  </a:lnTo>
                  <a:lnTo>
                    <a:pt x="21472" y="4318"/>
                  </a:lnTo>
                  <a:lnTo>
                    <a:pt x="21505" y="4278"/>
                  </a:lnTo>
                  <a:lnTo>
                    <a:pt x="21510" y="4269"/>
                  </a:lnTo>
                  <a:lnTo>
                    <a:pt x="21505" y="4262"/>
                  </a:lnTo>
                  <a:lnTo>
                    <a:pt x="21510" y="4245"/>
                  </a:lnTo>
                  <a:lnTo>
                    <a:pt x="21522" y="4207"/>
                  </a:lnTo>
                  <a:lnTo>
                    <a:pt x="21527" y="4207"/>
                  </a:lnTo>
                  <a:lnTo>
                    <a:pt x="21527" y="4179"/>
                  </a:lnTo>
                  <a:lnTo>
                    <a:pt x="21548" y="4167"/>
                  </a:lnTo>
                  <a:lnTo>
                    <a:pt x="21565" y="4151"/>
                  </a:lnTo>
                  <a:lnTo>
                    <a:pt x="21548" y="4117"/>
                  </a:lnTo>
                  <a:lnTo>
                    <a:pt x="21565" y="4096"/>
                  </a:lnTo>
                  <a:lnTo>
                    <a:pt x="21543" y="4084"/>
                  </a:lnTo>
                  <a:lnTo>
                    <a:pt x="21494" y="4096"/>
                  </a:lnTo>
                  <a:lnTo>
                    <a:pt x="21479" y="4117"/>
                  </a:lnTo>
                  <a:lnTo>
                    <a:pt x="21451" y="4113"/>
                  </a:lnTo>
                  <a:lnTo>
                    <a:pt x="21418" y="4134"/>
                  </a:lnTo>
                  <a:lnTo>
                    <a:pt x="21413" y="4151"/>
                  </a:lnTo>
                  <a:lnTo>
                    <a:pt x="21305" y="4151"/>
                  </a:lnTo>
                  <a:lnTo>
                    <a:pt x="21295" y="4125"/>
                  </a:lnTo>
                  <a:lnTo>
                    <a:pt x="21279" y="4113"/>
                  </a:lnTo>
                  <a:lnTo>
                    <a:pt x="21291" y="4096"/>
                  </a:lnTo>
                  <a:lnTo>
                    <a:pt x="21274" y="4063"/>
                  </a:lnTo>
                  <a:lnTo>
                    <a:pt x="21279" y="4040"/>
                  </a:lnTo>
                  <a:lnTo>
                    <a:pt x="21253" y="4040"/>
                  </a:lnTo>
                  <a:lnTo>
                    <a:pt x="21224" y="4023"/>
                  </a:lnTo>
                  <a:lnTo>
                    <a:pt x="21208" y="4006"/>
                  </a:lnTo>
                  <a:lnTo>
                    <a:pt x="21203" y="4002"/>
                  </a:lnTo>
                  <a:lnTo>
                    <a:pt x="21198" y="3990"/>
                  </a:lnTo>
                  <a:lnTo>
                    <a:pt x="21170" y="4002"/>
                  </a:lnTo>
                  <a:lnTo>
                    <a:pt x="21149" y="3973"/>
                  </a:lnTo>
                  <a:lnTo>
                    <a:pt x="21078" y="3973"/>
                  </a:lnTo>
                  <a:lnTo>
                    <a:pt x="21057" y="3952"/>
                  </a:lnTo>
                  <a:lnTo>
                    <a:pt x="21057" y="3931"/>
                  </a:lnTo>
                  <a:lnTo>
                    <a:pt x="21064" y="3914"/>
                  </a:lnTo>
                  <a:lnTo>
                    <a:pt x="21047" y="3903"/>
                  </a:lnTo>
                  <a:lnTo>
                    <a:pt x="21040" y="3891"/>
                  </a:lnTo>
                  <a:lnTo>
                    <a:pt x="21047" y="3879"/>
                  </a:lnTo>
                  <a:lnTo>
                    <a:pt x="21040" y="3862"/>
                  </a:lnTo>
                  <a:lnTo>
                    <a:pt x="21019" y="3836"/>
                  </a:lnTo>
                  <a:lnTo>
                    <a:pt x="21019" y="3808"/>
                  </a:lnTo>
                  <a:lnTo>
                    <a:pt x="21009" y="3820"/>
                  </a:lnTo>
                  <a:lnTo>
                    <a:pt x="21019" y="3803"/>
                  </a:lnTo>
                  <a:lnTo>
                    <a:pt x="21009" y="3803"/>
                  </a:lnTo>
                  <a:lnTo>
                    <a:pt x="21002" y="3768"/>
                  </a:lnTo>
                  <a:lnTo>
                    <a:pt x="20981" y="3747"/>
                  </a:lnTo>
                  <a:lnTo>
                    <a:pt x="20993" y="3730"/>
                  </a:lnTo>
                  <a:lnTo>
                    <a:pt x="20972" y="3730"/>
                  </a:lnTo>
                  <a:lnTo>
                    <a:pt x="20981" y="3709"/>
                  </a:lnTo>
                  <a:lnTo>
                    <a:pt x="20965" y="3692"/>
                  </a:lnTo>
                  <a:lnTo>
                    <a:pt x="20950" y="3692"/>
                  </a:lnTo>
                  <a:lnTo>
                    <a:pt x="20955" y="3676"/>
                  </a:lnTo>
                  <a:lnTo>
                    <a:pt x="20927" y="3659"/>
                  </a:lnTo>
                  <a:lnTo>
                    <a:pt x="20934" y="3652"/>
                  </a:lnTo>
                  <a:lnTo>
                    <a:pt x="20927" y="3643"/>
                  </a:lnTo>
                  <a:lnTo>
                    <a:pt x="20896" y="3624"/>
                  </a:lnTo>
                  <a:lnTo>
                    <a:pt x="20875" y="3636"/>
                  </a:lnTo>
                  <a:lnTo>
                    <a:pt x="20846" y="3624"/>
                  </a:lnTo>
                  <a:lnTo>
                    <a:pt x="20830" y="3614"/>
                  </a:lnTo>
                  <a:lnTo>
                    <a:pt x="20820" y="3614"/>
                  </a:lnTo>
                  <a:lnTo>
                    <a:pt x="20787" y="3598"/>
                  </a:lnTo>
                  <a:lnTo>
                    <a:pt x="20587" y="3619"/>
                  </a:lnTo>
                  <a:lnTo>
                    <a:pt x="20535" y="3669"/>
                  </a:lnTo>
                  <a:lnTo>
                    <a:pt x="20539" y="3692"/>
                  </a:lnTo>
                  <a:lnTo>
                    <a:pt x="20561" y="3680"/>
                  </a:lnTo>
                  <a:lnTo>
                    <a:pt x="20577" y="3692"/>
                  </a:lnTo>
                  <a:lnTo>
                    <a:pt x="20577" y="3714"/>
                  </a:lnTo>
                  <a:lnTo>
                    <a:pt x="20587" y="3730"/>
                  </a:lnTo>
                  <a:lnTo>
                    <a:pt x="20577" y="3751"/>
                  </a:lnTo>
                  <a:lnTo>
                    <a:pt x="20539" y="3780"/>
                  </a:lnTo>
                  <a:lnTo>
                    <a:pt x="20518" y="3836"/>
                  </a:lnTo>
                  <a:lnTo>
                    <a:pt x="20502" y="3846"/>
                  </a:lnTo>
                  <a:lnTo>
                    <a:pt x="20497" y="3862"/>
                  </a:lnTo>
                  <a:lnTo>
                    <a:pt x="20468" y="3895"/>
                  </a:lnTo>
                  <a:lnTo>
                    <a:pt x="20485" y="3903"/>
                  </a:lnTo>
                  <a:lnTo>
                    <a:pt x="20485" y="3931"/>
                  </a:lnTo>
                  <a:lnTo>
                    <a:pt x="20468" y="3936"/>
                  </a:lnTo>
                  <a:lnTo>
                    <a:pt x="20431" y="3947"/>
                  </a:lnTo>
                  <a:lnTo>
                    <a:pt x="20388" y="3985"/>
                  </a:lnTo>
                  <a:lnTo>
                    <a:pt x="20301" y="3952"/>
                  </a:lnTo>
                  <a:lnTo>
                    <a:pt x="20291" y="3947"/>
                  </a:lnTo>
                  <a:lnTo>
                    <a:pt x="20270" y="3936"/>
                  </a:lnTo>
                  <a:lnTo>
                    <a:pt x="20232" y="3947"/>
                  </a:lnTo>
                  <a:lnTo>
                    <a:pt x="20209" y="3947"/>
                  </a:lnTo>
                  <a:lnTo>
                    <a:pt x="20171" y="3914"/>
                  </a:lnTo>
                  <a:lnTo>
                    <a:pt x="20128" y="3903"/>
                  </a:lnTo>
                  <a:lnTo>
                    <a:pt x="20053" y="3952"/>
                  </a:lnTo>
                  <a:lnTo>
                    <a:pt x="20048" y="3973"/>
                  </a:lnTo>
                  <a:lnTo>
                    <a:pt x="19923" y="4002"/>
                  </a:lnTo>
                  <a:lnTo>
                    <a:pt x="19885" y="4014"/>
                  </a:lnTo>
                  <a:lnTo>
                    <a:pt x="19800" y="4006"/>
                  </a:lnTo>
                  <a:lnTo>
                    <a:pt x="19779" y="3990"/>
                  </a:lnTo>
                  <a:lnTo>
                    <a:pt x="19729" y="4002"/>
                  </a:lnTo>
                  <a:lnTo>
                    <a:pt x="19687" y="3969"/>
                  </a:lnTo>
                  <a:lnTo>
                    <a:pt x="19691" y="3947"/>
                  </a:lnTo>
                  <a:lnTo>
                    <a:pt x="19628" y="3936"/>
                  </a:lnTo>
                  <a:lnTo>
                    <a:pt x="19620" y="3919"/>
                  </a:lnTo>
                  <a:lnTo>
                    <a:pt x="19599" y="3903"/>
                  </a:lnTo>
                  <a:lnTo>
                    <a:pt x="19566" y="3903"/>
                  </a:lnTo>
                  <a:lnTo>
                    <a:pt x="19552" y="3895"/>
                  </a:lnTo>
                  <a:lnTo>
                    <a:pt x="19507" y="3891"/>
                  </a:lnTo>
                  <a:lnTo>
                    <a:pt x="19439" y="3903"/>
                  </a:lnTo>
                  <a:lnTo>
                    <a:pt x="19410" y="3919"/>
                  </a:lnTo>
                  <a:lnTo>
                    <a:pt x="19401" y="3919"/>
                  </a:lnTo>
                  <a:lnTo>
                    <a:pt x="19389" y="3919"/>
                  </a:lnTo>
                  <a:lnTo>
                    <a:pt x="19356" y="3919"/>
                  </a:lnTo>
                  <a:lnTo>
                    <a:pt x="19351" y="3903"/>
                  </a:lnTo>
                  <a:lnTo>
                    <a:pt x="19335" y="3903"/>
                  </a:lnTo>
                  <a:lnTo>
                    <a:pt x="19292" y="3879"/>
                  </a:lnTo>
                  <a:lnTo>
                    <a:pt x="19297" y="3862"/>
                  </a:lnTo>
                  <a:lnTo>
                    <a:pt x="19280" y="3858"/>
                  </a:lnTo>
                  <a:lnTo>
                    <a:pt x="19292" y="3841"/>
                  </a:lnTo>
                  <a:lnTo>
                    <a:pt x="19280" y="3825"/>
                  </a:lnTo>
                  <a:lnTo>
                    <a:pt x="19280" y="3808"/>
                  </a:lnTo>
                  <a:lnTo>
                    <a:pt x="19243" y="3791"/>
                  </a:lnTo>
                  <a:lnTo>
                    <a:pt x="19226" y="3803"/>
                  </a:lnTo>
                  <a:lnTo>
                    <a:pt x="19167" y="3768"/>
                  </a:lnTo>
                  <a:lnTo>
                    <a:pt x="19129" y="3768"/>
                  </a:lnTo>
                  <a:lnTo>
                    <a:pt x="19049" y="3730"/>
                  </a:lnTo>
                  <a:lnTo>
                    <a:pt x="19032" y="3763"/>
                  </a:lnTo>
                  <a:lnTo>
                    <a:pt x="19011" y="3768"/>
                  </a:lnTo>
                  <a:lnTo>
                    <a:pt x="19006" y="3791"/>
                  </a:lnTo>
                  <a:lnTo>
                    <a:pt x="18990" y="3791"/>
                  </a:lnTo>
                  <a:lnTo>
                    <a:pt x="18973" y="3841"/>
                  </a:lnTo>
                  <a:lnTo>
                    <a:pt x="18990" y="3858"/>
                  </a:lnTo>
                  <a:lnTo>
                    <a:pt x="18990" y="3862"/>
                  </a:lnTo>
                  <a:lnTo>
                    <a:pt x="18990" y="3874"/>
                  </a:lnTo>
                  <a:lnTo>
                    <a:pt x="19011" y="3891"/>
                  </a:lnTo>
                  <a:lnTo>
                    <a:pt x="19011" y="3903"/>
                  </a:lnTo>
                  <a:lnTo>
                    <a:pt x="18994" y="3931"/>
                  </a:lnTo>
                  <a:lnTo>
                    <a:pt x="18969" y="3936"/>
                  </a:lnTo>
                  <a:lnTo>
                    <a:pt x="18940" y="3957"/>
                  </a:lnTo>
                  <a:lnTo>
                    <a:pt x="18919" y="3947"/>
                  </a:lnTo>
                  <a:lnTo>
                    <a:pt x="18886" y="3952"/>
                  </a:lnTo>
                  <a:lnTo>
                    <a:pt x="18848" y="3936"/>
                  </a:lnTo>
                  <a:lnTo>
                    <a:pt x="18843" y="3947"/>
                  </a:lnTo>
                  <a:lnTo>
                    <a:pt x="18834" y="3936"/>
                  </a:lnTo>
                  <a:lnTo>
                    <a:pt x="18810" y="3947"/>
                  </a:lnTo>
                  <a:lnTo>
                    <a:pt x="18780" y="3936"/>
                  </a:lnTo>
                  <a:lnTo>
                    <a:pt x="18772" y="3931"/>
                  </a:lnTo>
                  <a:lnTo>
                    <a:pt x="18751" y="3936"/>
                  </a:lnTo>
                  <a:lnTo>
                    <a:pt x="18735" y="3914"/>
                  </a:lnTo>
                  <a:lnTo>
                    <a:pt x="18725" y="3879"/>
                  </a:lnTo>
                  <a:lnTo>
                    <a:pt x="18645" y="3879"/>
                  </a:lnTo>
                  <a:lnTo>
                    <a:pt x="18633" y="3874"/>
                  </a:lnTo>
                  <a:lnTo>
                    <a:pt x="18633" y="3858"/>
                  </a:lnTo>
                  <a:lnTo>
                    <a:pt x="18628" y="3858"/>
                  </a:lnTo>
                  <a:lnTo>
                    <a:pt x="18612" y="3874"/>
                  </a:lnTo>
                  <a:lnTo>
                    <a:pt x="18591" y="3858"/>
                  </a:lnTo>
                  <a:lnTo>
                    <a:pt x="18579" y="3862"/>
                  </a:lnTo>
                  <a:lnTo>
                    <a:pt x="18546" y="3874"/>
                  </a:lnTo>
                  <a:lnTo>
                    <a:pt x="18524" y="3891"/>
                  </a:lnTo>
                  <a:lnTo>
                    <a:pt x="18494" y="3895"/>
                  </a:lnTo>
                  <a:lnTo>
                    <a:pt x="18482" y="3914"/>
                  </a:lnTo>
                  <a:lnTo>
                    <a:pt x="18432" y="3931"/>
                  </a:lnTo>
                  <a:lnTo>
                    <a:pt x="18428" y="3936"/>
                  </a:lnTo>
                  <a:lnTo>
                    <a:pt x="18402" y="3947"/>
                  </a:lnTo>
                  <a:lnTo>
                    <a:pt x="18411" y="3957"/>
                  </a:lnTo>
                  <a:lnTo>
                    <a:pt x="18380" y="3973"/>
                  </a:lnTo>
                  <a:lnTo>
                    <a:pt x="18373" y="3969"/>
                  </a:lnTo>
                  <a:lnTo>
                    <a:pt x="18373" y="3985"/>
                  </a:lnTo>
                  <a:lnTo>
                    <a:pt x="18357" y="3985"/>
                  </a:lnTo>
                  <a:lnTo>
                    <a:pt x="18347" y="3973"/>
                  </a:lnTo>
                  <a:lnTo>
                    <a:pt x="18347" y="3990"/>
                  </a:lnTo>
                  <a:lnTo>
                    <a:pt x="18305" y="3985"/>
                  </a:lnTo>
                  <a:lnTo>
                    <a:pt x="18293" y="3990"/>
                  </a:lnTo>
                  <a:lnTo>
                    <a:pt x="18293" y="4006"/>
                  </a:lnTo>
                  <a:lnTo>
                    <a:pt x="18276" y="4014"/>
                  </a:lnTo>
                  <a:lnTo>
                    <a:pt x="18239" y="4023"/>
                  </a:lnTo>
                  <a:lnTo>
                    <a:pt x="18239" y="4006"/>
                  </a:lnTo>
                  <a:lnTo>
                    <a:pt x="18213" y="4002"/>
                  </a:lnTo>
                  <a:lnTo>
                    <a:pt x="18213" y="3985"/>
                  </a:lnTo>
                  <a:lnTo>
                    <a:pt x="18184" y="3973"/>
                  </a:lnTo>
                  <a:lnTo>
                    <a:pt x="18201" y="3957"/>
                  </a:lnTo>
                  <a:lnTo>
                    <a:pt x="18201" y="3952"/>
                  </a:lnTo>
                  <a:lnTo>
                    <a:pt x="18184" y="3952"/>
                  </a:lnTo>
                  <a:lnTo>
                    <a:pt x="18163" y="3985"/>
                  </a:lnTo>
                  <a:lnTo>
                    <a:pt x="18125" y="3973"/>
                  </a:lnTo>
                  <a:lnTo>
                    <a:pt x="18092" y="3973"/>
                  </a:lnTo>
                  <a:lnTo>
                    <a:pt x="18087" y="3947"/>
                  </a:lnTo>
                  <a:lnTo>
                    <a:pt x="18078" y="3947"/>
                  </a:lnTo>
                  <a:lnTo>
                    <a:pt x="18078" y="3936"/>
                  </a:lnTo>
                  <a:lnTo>
                    <a:pt x="18078" y="3931"/>
                  </a:lnTo>
                  <a:lnTo>
                    <a:pt x="18033" y="3914"/>
                  </a:lnTo>
                  <a:lnTo>
                    <a:pt x="18002" y="3858"/>
                  </a:lnTo>
                  <a:lnTo>
                    <a:pt x="17969" y="3841"/>
                  </a:lnTo>
                  <a:lnTo>
                    <a:pt x="17915" y="3846"/>
                  </a:lnTo>
                  <a:lnTo>
                    <a:pt x="17915" y="3858"/>
                  </a:lnTo>
                  <a:lnTo>
                    <a:pt x="17898" y="3862"/>
                  </a:lnTo>
                  <a:lnTo>
                    <a:pt x="17835" y="3862"/>
                  </a:lnTo>
                  <a:lnTo>
                    <a:pt x="17823" y="3841"/>
                  </a:lnTo>
                  <a:lnTo>
                    <a:pt x="17802" y="3846"/>
                  </a:lnTo>
                  <a:lnTo>
                    <a:pt x="17806" y="3825"/>
                  </a:lnTo>
                  <a:lnTo>
                    <a:pt x="17780" y="3808"/>
                  </a:lnTo>
                  <a:lnTo>
                    <a:pt x="17769" y="3820"/>
                  </a:lnTo>
                  <a:lnTo>
                    <a:pt x="17752" y="3825"/>
                  </a:lnTo>
                  <a:lnTo>
                    <a:pt x="17764" y="3841"/>
                  </a:lnTo>
                  <a:lnTo>
                    <a:pt x="17731" y="3858"/>
                  </a:lnTo>
                  <a:lnTo>
                    <a:pt x="17731" y="3862"/>
                  </a:lnTo>
                  <a:lnTo>
                    <a:pt x="17575" y="3619"/>
                  </a:lnTo>
                  <a:lnTo>
                    <a:pt x="17483" y="3548"/>
                  </a:lnTo>
                  <a:lnTo>
                    <a:pt x="17478" y="3532"/>
                  </a:lnTo>
                  <a:lnTo>
                    <a:pt x="17495" y="3532"/>
                  </a:lnTo>
                  <a:lnTo>
                    <a:pt x="17511" y="3525"/>
                  </a:lnTo>
                  <a:lnTo>
                    <a:pt x="17499" y="3508"/>
                  </a:lnTo>
                  <a:lnTo>
                    <a:pt x="17478" y="3515"/>
                  </a:lnTo>
                  <a:lnTo>
                    <a:pt x="17461" y="3515"/>
                  </a:lnTo>
                  <a:lnTo>
                    <a:pt x="17461" y="3525"/>
                  </a:lnTo>
                  <a:lnTo>
                    <a:pt x="17407" y="3541"/>
                  </a:lnTo>
                  <a:lnTo>
                    <a:pt x="17402" y="3541"/>
                  </a:lnTo>
                  <a:lnTo>
                    <a:pt x="17407" y="3548"/>
                  </a:lnTo>
                  <a:lnTo>
                    <a:pt x="17374" y="3569"/>
                  </a:lnTo>
                  <a:lnTo>
                    <a:pt x="17360" y="3565"/>
                  </a:lnTo>
                  <a:lnTo>
                    <a:pt x="17353" y="3581"/>
                  </a:lnTo>
                  <a:lnTo>
                    <a:pt x="17336" y="3581"/>
                  </a:lnTo>
                  <a:lnTo>
                    <a:pt x="17336" y="3603"/>
                  </a:lnTo>
                  <a:lnTo>
                    <a:pt x="17322" y="3586"/>
                  </a:lnTo>
                  <a:lnTo>
                    <a:pt x="17298" y="3586"/>
                  </a:lnTo>
                  <a:lnTo>
                    <a:pt x="17284" y="3586"/>
                  </a:lnTo>
                  <a:lnTo>
                    <a:pt x="17268" y="3603"/>
                  </a:lnTo>
                  <a:lnTo>
                    <a:pt x="17251" y="3586"/>
                  </a:lnTo>
                  <a:lnTo>
                    <a:pt x="17268" y="3565"/>
                  </a:lnTo>
                  <a:lnTo>
                    <a:pt x="17284" y="3565"/>
                  </a:lnTo>
                  <a:lnTo>
                    <a:pt x="17294" y="3541"/>
                  </a:lnTo>
                  <a:lnTo>
                    <a:pt x="17251" y="3558"/>
                  </a:lnTo>
                  <a:lnTo>
                    <a:pt x="17239" y="3548"/>
                  </a:lnTo>
                  <a:lnTo>
                    <a:pt x="17230" y="3541"/>
                  </a:lnTo>
                  <a:lnTo>
                    <a:pt x="17209" y="3532"/>
                  </a:lnTo>
                  <a:lnTo>
                    <a:pt x="17197" y="3548"/>
                  </a:lnTo>
                  <a:lnTo>
                    <a:pt x="17213" y="3541"/>
                  </a:lnTo>
                  <a:lnTo>
                    <a:pt x="17213" y="3558"/>
                  </a:lnTo>
                  <a:lnTo>
                    <a:pt x="17197" y="3558"/>
                  </a:lnTo>
                  <a:lnTo>
                    <a:pt x="17192" y="3558"/>
                  </a:lnTo>
                  <a:lnTo>
                    <a:pt x="17197" y="3532"/>
                  </a:lnTo>
                  <a:lnTo>
                    <a:pt x="17185" y="3532"/>
                  </a:lnTo>
                  <a:lnTo>
                    <a:pt x="17192" y="3525"/>
                  </a:lnTo>
                  <a:lnTo>
                    <a:pt x="17176" y="3515"/>
                  </a:lnTo>
                  <a:lnTo>
                    <a:pt x="17171" y="3508"/>
                  </a:lnTo>
                  <a:lnTo>
                    <a:pt x="17176" y="3541"/>
                  </a:lnTo>
                  <a:lnTo>
                    <a:pt x="17143" y="3525"/>
                  </a:lnTo>
                  <a:lnTo>
                    <a:pt x="17138" y="3541"/>
                  </a:lnTo>
                  <a:lnTo>
                    <a:pt x="17121" y="3532"/>
                  </a:lnTo>
                  <a:lnTo>
                    <a:pt x="17105" y="3541"/>
                  </a:lnTo>
                  <a:lnTo>
                    <a:pt x="17088" y="3515"/>
                  </a:lnTo>
                  <a:lnTo>
                    <a:pt x="17105" y="3515"/>
                  </a:lnTo>
                  <a:lnTo>
                    <a:pt x="17105" y="3491"/>
                  </a:lnTo>
                  <a:lnTo>
                    <a:pt x="17117" y="3487"/>
                  </a:lnTo>
                  <a:lnTo>
                    <a:pt x="17100" y="3470"/>
                  </a:lnTo>
                  <a:lnTo>
                    <a:pt x="17088" y="3447"/>
                  </a:lnTo>
                  <a:lnTo>
                    <a:pt x="17083" y="3421"/>
                  </a:lnTo>
                  <a:lnTo>
                    <a:pt x="17062" y="3421"/>
                  </a:lnTo>
                  <a:lnTo>
                    <a:pt x="17046" y="3437"/>
                  </a:lnTo>
                  <a:lnTo>
                    <a:pt x="16996" y="3414"/>
                  </a:lnTo>
                  <a:lnTo>
                    <a:pt x="16975" y="3414"/>
                  </a:lnTo>
                  <a:lnTo>
                    <a:pt x="16970" y="3421"/>
                  </a:lnTo>
                  <a:lnTo>
                    <a:pt x="16954" y="3404"/>
                  </a:lnTo>
                  <a:lnTo>
                    <a:pt x="16954" y="3421"/>
                  </a:lnTo>
                  <a:lnTo>
                    <a:pt x="16937" y="3414"/>
                  </a:lnTo>
                  <a:lnTo>
                    <a:pt x="16928" y="3430"/>
                  </a:lnTo>
                  <a:lnTo>
                    <a:pt x="16899" y="3430"/>
                  </a:lnTo>
                  <a:lnTo>
                    <a:pt x="16906" y="3447"/>
                  </a:lnTo>
                  <a:lnTo>
                    <a:pt x="16899" y="3454"/>
                  </a:lnTo>
                  <a:lnTo>
                    <a:pt x="16883" y="3454"/>
                  </a:lnTo>
                  <a:lnTo>
                    <a:pt x="16852" y="3470"/>
                  </a:lnTo>
                  <a:lnTo>
                    <a:pt x="16743" y="3491"/>
                  </a:lnTo>
                  <a:lnTo>
                    <a:pt x="16743" y="3475"/>
                  </a:lnTo>
                  <a:lnTo>
                    <a:pt x="16727" y="3491"/>
                  </a:lnTo>
                  <a:lnTo>
                    <a:pt x="16706" y="3487"/>
                  </a:lnTo>
                  <a:lnTo>
                    <a:pt x="16689" y="3503"/>
                  </a:lnTo>
                  <a:lnTo>
                    <a:pt x="16689" y="3515"/>
                  </a:lnTo>
                  <a:lnTo>
                    <a:pt x="16668" y="3508"/>
                  </a:lnTo>
                  <a:lnTo>
                    <a:pt x="16604" y="3515"/>
                  </a:lnTo>
                  <a:lnTo>
                    <a:pt x="16604" y="3525"/>
                  </a:lnTo>
                  <a:lnTo>
                    <a:pt x="16597" y="3532"/>
                  </a:lnTo>
                  <a:lnTo>
                    <a:pt x="16580" y="3525"/>
                  </a:lnTo>
                  <a:lnTo>
                    <a:pt x="16543" y="3532"/>
                  </a:lnTo>
                  <a:lnTo>
                    <a:pt x="16543" y="3541"/>
                  </a:lnTo>
                  <a:lnTo>
                    <a:pt x="16505" y="3548"/>
                  </a:lnTo>
                  <a:lnTo>
                    <a:pt x="16505" y="3565"/>
                  </a:lnTo>
                  <a:lnTo>
                    <a:pt x="16491" y="3548"/>
                  </a:lnTo>
                  <a:lnTo>
                    <a:pt x="16467" y="3548"/>
                  </a:lnTo>
                  <a:lnTo>
                    <a:pt x="16467" y="3558"/>
                  </a:lnTo>
                  <a:lnTo>
                    <a:pt x="16420" y="3541"/>
                  </a:lnTo>
                  <a:lnTo>
                    <a:pt x="16398" y="3558"/>
                  </a:lnTo>
                  <a:lnTo>
                    <a:pt x="16398" y="3565"/>
                  </a:lnTo>
                  <a:lnTo>
                    <a:pt x="16415" y="3569"/>
                  </a:lnTo>
                  <a:lnTo>
                    <a:pt x="16398" y="3586"/>
                  </a:lnTo>
                  <a:lnTo>
                    <a:pt x="16387" y="3586"/>
                  </a:lnTo>
                  <a:lnTo>
                    <a:pt x="16424" y="3586"/>
                  </a:lnTo>
                  <a:lnTo>
                    <a:pt x="16436" y="3598"/>
                  </a:lnTo>
                  <a:lnTo>
                    <a:pt x="16420" y="3603"/>
                  </a:lnTo>
                  <a:lnTo>
                    <a:pt x="16415" y="3598"/>
                  </a:lnTo>
                  <a:lnTo>
                    <a:pt x="16403" y="3619"/>
                  </a:lnTo>
                  <a:lnTo>
                    <a:pt x="16474" y="3636"/>
                  </a:lnTo>
                  <a:lnTo>
                    <a:pt x="16474" y="3652"/>
                  </a:lnTo>
                  <a:lnTo>
                    <a:pt x="16458" y="3652"/>
                  </a:lnTo>
                  <a:lnTo>
                    <a:pt x="16424" y="3643"/>
                  </a:lnTo>
                  <a:lnTo>
                    <a:pt x="16398" y="3652"/>
                  </a:lnTo>
                  <a:lnTo>
                    <a:pt x="16370" y="3680"/>
                  </a:lnTo>
                  <a:lnTo>
                    <a:pt x="16382" y="3680"/>
                  </a:lnTo>
                  <a:lnTo>
                    <a:pt x="16382" y="3692"/>
                  </a:lnTo>
                  <a:lnTo>
                    <a:pt x="16387" y="3697"/>
                  </a:lnTo>
                  <a:lnTo>
                    <a:pt x="16398" y="3714"/>
                  </a:lnTo>
                  <a:lnTo>
                    <a:pt x="16370" y="3730"/>
                  </a:lnTo>
                  <a:lnTo>
                    <a:pt x="16361" y="3730"/>
                  </a:lnTo>
                  <a:lnTo>
                    <a:pt x="16316" y="3747"/>
                  </a:lnTo>
                  <a:lnTo>
                    <a:pt x="16328" y="3751"/>
                  </a:lnTo>
                  <a:lnTo>
                    <a:pt x="16361" y="3763"/>
                  </a:lnTo>
                  <a:lnTo>
                    <a:pt x="16349" y="3780"/>
                  </a:lnTo>
                  <a:lnTo>
                    <a:pt x="16387" y="3787"/>
                  </a:lnTo>
                  <a:lnTo>
                    <a:pt x="16387" y="3791"/>
                  </a:lnTo>
                  <a:lnTo>
                    <a:pt x="16424" y="3803"/>
                  </a:lnTo>
                  <a:lnTo>
                    <a:pt x="16441" y="3820"/>
                  </a:lnTo>
                  <a:lnTo>
                    <a:pt x="16436" y="3820"/>
                  </a:lnTo>
                  <a:lnTo>
                    <a:pt x="16420" y="3862"/>
                  </a:lnTo>
                  <a:lnTo>
                    <a:pt x="16370" y="3874"/>
                  </a:lnTo>
                  <a:lnTo>
                    <a:pt x="16344" y="3874"/>
                  </a:lnTo>
                  <a:lnTo>
                    <a:pt x="16328" y="3858"/>
                  </a:lnTo>
                  <a:lnTo>
                    <a:pt x="16311" y="3879"/>
                  </a:lnTo>
                  <a:lnTo>
                    <a:pt x="16290" y="3891"/>
                  </a:lnTo>
                  <a:lnTo>
                    <a:pt x="16295" y="3879"/>
                  </a:lnTo>
                  <a:lnTo>
                    <a:pt x="16290" y="3874"/>
                  </a:lnTo>
                  <a:lnTo>
                    <a:pt x="16252" y="3874"/>
                  </a:lnTo>
                  <a:lnTo>
                    <a:pt x="16226" y="3858"/>
                  </a:lnTo>
                  <a:lnTo>
                    <a:pt x="16219" y="3846"/>
                  </a:lnTo>
                  <a:lnTo>
                    <a:pt x="16226" y="3836"/>
                  </a:lnTo>
                  <a:lnTo>
                    <a:pt x="16202" y="3825"/>
                  </a:lnTo>
                  <a:lnTo>
                    <a:pt x="16198" y="3836"/>
                  </a:lnTo>
                  <a:lnTo>
                    <a:pt x="16165" y="3836"/>
                  </a:lnTo>
                  <a:lnTo>
                    <a:pt x="16165" y="3846"/>
                  </a:lnTo>
                  <a:lnTo>
                    <a:pt x="16150" y="3858"/>
                  </a:lnTo>
                  <a:lnTo>
                    <a:pt x="16117" y="3836"/>
                  </a:lnTo>
                  <a:lnTo>
                    <a:pt x="16096" y="3836"/>
                  </a:lnTo>
                  <a:lnTo>
                    <a:pt x="16089" y="3836"/>
                  </a:lnTo>
                  <a:lnTo>
                    <a:pt x="16096" y="3841"/>
                  </a:lnTo>
                  <a:lnTo>
                    <a:pt x="16080" y="3836"/>
                  </a:lnTo>
                  <a:lnTo>
                    <a:pt x="16063" y="3846"/>
                  </a:lnTo>
                  <a:lnTo>
                    <a:pt x="16058" y="3846"/>
                  </a:lnTo>
                  <a:lnTo>
                    <a:pt x="16047" y="3862"/>
                  </a:lnTo>
                  <a:lnTo>
                    <a:pt x="16021" y="3891"/>
                  </a:lnTo>
                  <a:lnTo>
                    <a:pt x="15950" y="3836"/>
                  </a:lnTo>
                  <a:lnTo>
                    <a:pt x="15938" y="3841"/>
                  </a:lnTo>
                  <a:lnTo>
                    <a:pt x="15938" y="3846"/>
                  </a:lnTo>
                  <a:lnTo>
                    <a:pt x="15950" y="3846"/>
                  </a:lnTo>
                  <a:lnTo>
                    <a:pt x="15950" y="3879"/>
                  </a:lnTo>
                  <a:lnTo>
                    <a:pt x="15938" y="3891"/>
                  </a:lnTo>
                  <a:lnTo>
                    <a:pt x="15933" y="3874"/>
                  </a:lnTo>
                  <a:lnTo>
                    <a:pt x="15938" y="3858"/>
                  </a:lnTo>
                  <a:lnTo>
                    <a:pt x="15928" y="3846"/>
                  </a:lnTo>
                  <a:lnTo>
                    <a:pt x="15900" y="3825"/>
                  </a:lnTo>
                  <a:lnTo>
                    <a:pt x="15879" y="3820"/>
                  </a:lnTo>
                  <a:lnTo>
                    <a:pt x="15879" y="3803"/>
                  </a:lnTo>
                  <a:lnTo>
                    <a:pt x="15862" y="3791"/>
                  </a:lnTo>
                  <a:lnTo>
                    <a:pt x="15803" y="3791"/>
                  </a:lnTo>
                  <a:lnTo>
                    <a:pt x="15787" y="3768"/>
                  </a:lnTo>
                  <a:lnTo>
                    <a:pt x="15772" y="3780"/>
                  </a:lnTo>
                  <a:lnTo>
                    <a:pt x="15756" y="3780"/>
                  </a:lnTo>
                  <a:lnTo>
                    <a:pt x="15749" y="3787"/>
                  </a:lnTo>
                  <a:lnTo>
                    <a:pt x="15749" y="3791"/>
                  </a:lnTo>
                  <a:lnTo>
                    <a:pt x="15739" y="3791"/>
                  </a:lnTo>
                  <a:lnTo>
                    <a:pt x="15711" y="3791"/>
                  </a:lnTo>
                  <a:lnTo>
                    <a:pt x="15711" y="3787"/>
                  </a:lnTo>
                  <a:lnTo>
                    <a:pt x="15718" y="3787"/>
                  </a:lnTo>
                  <a:lnTo>
                    <a:pt x="15718" y="3780"/>
                  </a:lnTo>
                  <a:lnTo>
                    <a:pt x="15680" y="3768"/>
                  </a:lnTo>
                  <a:lnTo>
                    <a:pt x="15680" y="3787"/>
                  </a:lnTo>
                  <a:lnTo>
                    <a:pt x="15664" y="3780"/>
                  </a:lnTo>
                  <a:lnTo>
                    <a:pt x="15664" y="3791"/>
                  </a:lnTo>
                  <a:lnTo>
                    <a:pt x="15647" y="3803"/>
                  </a:lnTo>
                  <a:lnTo>
                    <a:pt x="15647" y="3808"/>
                  </a:lnTo>
                  <a:lnTo>
                    <a:pt x="15609" y="3836"/>
                  </a:lnTo>
                  <a:lnTo>
                    <a:pt x="15588" y="3825"/>
                  </a:lnTo>
                  <a:lnTo>
                    <a:pt x="15576" y="3841"/>
                  </a:lnTo>
                  <a:lnTo>
                    <a:pt x="15576" y="3858"/>
                  </a:lnTo>
                  <a:lnTo>
                    <a:pt x="15534" y="3879"/>
                  </a:lnTo>
                  <a:lnTo>
                    <a:pt x="15534" y="3914"/>
                  </a:lnTo>
                  <a:lnTo>
                    <a:pt x="15550" y="3931"/>
                  </a:lnTo>
                  <a:lnTo>
                    <a:pt x="15539" y="3947"/>
                  </a:lnTo>
                  <a:lnTo>
                    <a:pt x="15508" y="3952"/>
                  </a:lnTo>
                  <a:lnTo>
                    <a:pt x="15501" y="3947"/>
                  </a:lnTo>
                  <a:lnTo>
                    <a:pt x="15480" y="3914"/>
                  </a:lnTo>
                  <a:lnTo>
                    <a:pt x="15454" y="3891"/>
                  </a:lnTo>
                  <a:lnTo>
                    <a:pt x="15447" y="3895"/>
                  </a:lnTo>
                  <a:lnTo>
                    <a:pt x="15432" y="3903"/>
                  </a:lnTo>
                  <a:lnTo>
                    <a:pt x="15432" y="3931"/>
                  </a:lnTo>
                  <a:lnTo>
                    <a:pt x="15409" y="3952"/>
                  </a:lnTo>
                  <a:lnTo>
                    <a:pt x="15395" y="4002"/>
                  </a:lnTo>
                  <a:lnTo>
                    <a:pt x="15416" y="4014"/>
                  </a:lnTo>
                  <a:lnTo>
                    <a:pt x="15395" y="4030"/>
                  </a:lnTo>
                  <a:lnTo>
                    <a:pt x="15378" y="4080"/>
                  </a:lnTo>
                  <a:lnTo>
                    <a:pt x="15416" y="4096"/>
                  </a:lnTo>
                  <a:lnTo>
                    <a:pt x="15425" y="4134"/>
                  </a:lnTo>
                  <a:lnTo>
                    <a:pt x="15442" y="4151"/>
                  </a:lnTo>
                  <a:lnTo>
                    <a:pt x="15442" y="4134"/>
                  </a:lnTo>
                  <a:lnTo>
                    <a:pt x="15496" y="4151"/>
                  </a:lnTo>
                  <a:lnTo>
                    <a:pt x="15555" y="4228"/>
                  </a:lnTo>
                  <a:lnTo>
                    <a:pt x="15534" y="4236"/>
                  </a:lnTo>
                  <a:lnTo>
                    <a:pt x="15517" y="4236"/>
                  </a:lnTo>
                  <a:lnTo>
                    <a:pt x="15517" y="4252"/>
                  </a:lnTo>
                  <a:lnTo>
                    <a:pt x="15560" y="4269"/>
                  </a:lnTo>
                  <a:lnTo>
                    <a:pt x="15572" y="4278"/>
                  </a:lnTo>
                  <a:lnTo>
                    <a:pt x="15560" y="4278"/>
                  </a:lnTo>
                  <a:lnTo>
                    <a:pt x="15550" y="4290"/>
                  </a:lnTo>
                  <a:lnTo>
                    <a:pt x="15522" y="4290"/>
                  </a:lnTo>
                  <a:lnTo>
                    <a:pt x="15534" y="4302"/>
                  </a:lnTo>
                  <a:lnTo>
                    <a:pt x="15534" y="4318"/>
                  </a:lnTo>
                  <a:lnTo>
                    <a:pt x="15522" y="4306"/>
                  </a:lnTo>
                  <a:lnTo>
                    <a:pt x="15496" y="4323"/>
                  </a:lnTo>
                  <a:lnTo>
                    <a:pt x="15470" y="4335"/>
                  </a:lnTo>
                  <a:lnTo>
                    <a:pt x="15447" y="4323"/>
                  </a:lnTo>
                  <a:lnTo>
                    <a:pt x="15454" y="4340"/>
                  </a:lnTo>
                  <a:lnTo>
                    <a:pt x="15442" y="4323"/>
                  </a:lnTo>
                  <a:lnTo>
                    <a:pt x="15447" y="4340"/>
                  </a:lnTo>
                  <a:lnTo>
                    <a:pt x="15447" y="4356"/>
                  </a:lnTo>
                  <a:lnTo>
                    <a:pt x="15416" y="4413"/>
                  </a:lnTo>
                  <a:lnTo>
                    <a:pt x="15416" y="4401"/>
                  </a:lnTo>
                  <a:lnTo>
                    <a:pt x="15395" y="4417"/>
                  </a:lnTo>
                  <a:lnTo>
                    <a:pt x="15387" y="4434"/>
                  </a:lnTo>
                  <a:lnTo>
                    <a:pt x="15395" y="4446"/>
                  </a:lnTo>
                  <a:lnTo>
                    <a:pt x="15416" y="4451"/>
                  </a:lnTo>
                  <a:lnTo>
                    <a:pt x="15432" y="4484"/>
                  </a:lnTo>
                  <a:lnTo>
                    <a:pt x="15447" y="4500"/>
                  </a:lnTo>
                  <a:lnTo>
                    <a:pt x="15442" y="4512"/>
                  </a:lnTo>
                  <a:lnTo>
                    <a:pt x="15442" y="4524"/>
                  </a:lnTo>
                  <a:lnTo>
                    <a:pt x="15447" y="4491"/>
                  </a:lnTo>
                  <a:lnTo>
                    <a:pt x="15463" y="4491"/>
                  </a:lnTo>
                  <a:lnTo>
                    <a:pt x="15447" y="4528"/>
                  </a:lnTo>
                  <a:lnTo>
                    <a:pt x="15447" y="4540"/>
                  </a:lnTo>
                  <a:lnTo>
                    <a:pt x="15454" y="4545"/>
                  </a:lnTo>
                  <a:lnTo>
                    <a:pt x="15447" y="4557"/>
                  </a:lnTo>
                  <a:lnTo>
                    <a:pt x="15442" y="4566"/>
                  </a:lnTo>
                  <a:lnTo>
                    <a:pt x="15463" y="4578"/>
                  </a:lnTo>
                  <a:lnTo>
                    <a:pt x="15463" y="4602"/>
                  </a:lnTo>
                  <a:lnTo>
                    <a:pt x="15484" y="4623"/>
                  </a:lnTo>
                  <a:lnTo>
                    <a:pt x="15508" y="4668"/>
                  </a:lnTo>
                  <a:lnTo>
                    <a:pt x="15522" y="4673"/>
                  </a:lnTo>
                  <a:lnTo>
                    <a:pt x="15508" y="4689"/>
                  </a:lnTo>
                  <a:lnTo>
                    <a:pt x="15484" y="4706"/>
                  </a:lnTo>
                  <a:lnTo>
                    <a:pt x="15480" y="4722"/>
                  </a:lnTo>
                  <a:lnTo>
                    <a:pt x="15463" y="4729"/>
                  </a:lnTo>
                  <a:lnTo>
                    <a:pt x="15432" y="4710"/>
                  </a:lnTo>
                  <a:lnTo>
                    <a:pt x="15425" y="4694"/>
                  </a:lnTo>
                  <a:lnTo>
                    <a:pt x="15395" y="4668"/>
                  </a:lnTo>
                  <a:lnTo>
                    <a:pt x="15387" y="4673"/>
                  </a:lnTo>
                  <a:lnTo>
                    <a:pt x="15371" y="4668"/>
                  </a:lnTo>
                  <a:lnTo>
                    <a:pt x="15319" y="4639"/>
                  </a:lnTo>
                  <a:lnTo>
                    <a:pt x="15324" y="4611"/>
                  </a:lnTo>
                  <a:lnTo>
                    <a:pt x="15291" y="4611"/>
                  </a:lnTo>
                  <a:lnTo>
                    <a:pt x="15286" y="4595"/>
                  </a:lnTo>
                  <a:lnTo>
                    <a:pt x="15269" y="4583"/>
                  </a:lnTo>
                  <a:lnTo>
                    <a:pt x="15253" y="4602"/>
                  </a:lnTo>
                  <a:lnTo>
                    <a:pt x="15236" y="4583"/>
                  </a:lnTo>
                  <a:lnTo>
                    <a:pt x="15194" y="4602"/>
                  </a:lnTo>
                  <a:lnTo>
                    <a:pt x="15182" y="4602"/>
                  </a:lnTo>
                  <a:lnTo>
                    <a:pt x="15182" y="4595"/>
                  </a:lnTo>
                  <a:lnTo>
                    <a:pt x="15144" y="4578"/>
                  </a:lnTo>
                  <a:lnTo>
                    <a:pt x="15123" y="4557"/>
                  </a:lnTo>
                  <a:lnTo>
                    <a:pt x="15031" y="4545"/>
                  </a:lnTo>
                  <a:lnTo>
                    <a:pt x="14967" y="4524"/>
                  </a:lnTo>
                  <a:lnTo>
                    <a:pt x="14941" y="4512"/>
                  </a:lnTo>
                  <a:lnTo>
                    <a:pt x="14924" y="4524"/>
                  </a:lnTo>
                  <a:lnTo>
                    <a:pt x="14924" y="4540"/>
                  </a:lnTo>
                  <a:lnTo>
                    <a:pt x="14832" y="4458"/>
                  </a:lnTo>
                  <a:lnTo>
                    <a:pt x="14795" y="4446"/>
                  </a:lnTo>
                  <a:lnTo>
                    <a:pt x="14766" y="4417"/>
                  </a:lnTo>
                  <a:lnTo>
                    <a:pt x="14766" y="4429"/>
                  </a:lnTo>
                  <a:lnTo>
                    <a:pt x="14745" y="4417"/>
                  </a:lnTo>
                  <a:lnTo>
                    <a:pt x="14724" y="4396"/>
                  </a:lnTo>
                  <a:lnTo>
                    <a:pt x="14686" y="4380"/>
                  </a:lnTo>
                  <a:lnTo>
                    <a:pt x="14707" y="4363"/>
                  </a:lnTo>
                  <a:lnTo>
                    <a:pt x="14691" y="4356"/>
                  </a:lnTo>
                  <a:lnTo>
                    <a:pt x="14686" y="4363"/>
                  </a:lnTo>
                  <a:lnTo>
                    <a:pt x="14698" y="4356"/>
                  </a:lnTo>
                  <a:lnTo>
                    <a:pt x="14714" y="4363"/>
                  </a:lnTo>
                  <a:lnTo>
                    <a:pt x="14714" y="4373"/>
                  </a:lnTo>
                  <a:lnTo>
                    <a:pt x="14745" y="4356"/>
                  </a:lnTo>
                  <a:lnTo>
                    <a:pt x="14761" y="4363"/>
                  </a:lnTo>
                  <a:lnTo>
                    <a:pt x="14761" y="4340"/>
                  </a:lnTo>
                  <a:lnTo>
                    <a:pt x="14752" y="4340"/>
                  </a:lnTo>
                  <a:lnTo>
                    <a:pt x="14752" y="4356"/>
                  </a:lnTo>
                  <a:lnTo>
                    <a:pt x="14752" y="4340"/>
                  </a:lnTo>
                  <a:lnTo>
                    <a:pt x="14761" y="4340"/>
                  </a:lnTo>
                  <a:lnTo>
                    <a:pt x="14752" y="4335"/>
                  </a:lnTo>
                  <a:lnTo>
                    <a:pt x="14766" y="4323"/>
                  </a:lnTo>
                  <a:lnTo>
                    <a:pt x="14778" y="4302"/>
                  </a:lnTo>
                  <a:lnTo>
                    <a:pt x="14783" y="4302"/>
                  </a:lnTo>
                  <a:lnTo>
                    <a:pt x="14783" y="4306"/>
                  </a:lnTo>
                  <a:lnTo>
                    <a:pt x="14795" y="4290"/>
                  </a:lnTo>
                  <a:lnTo>
                    <a:pt x="14816" y="4302"/>
                  </a:lnTo>
                  <a:lnTo>
                    <a:pt x="14821" y="4290"/>
                  </a:lnTo>
                  <a:lnTo>
                    <a:pt x="14783" y="4269"/>
                  </a:lnTo>
                  <a:lnTo>
                    <a:pt x="14778" y="4269"/>
                  </a:lnTo>
                  <a:lnTo>
                    <a:pt x="14761" y="4245"/>
                  </a:lnTo>
                  <a:lnTo>
                    <a:pt x="14783" y="4245"/>
                  </a:lnTo>
                  <a:lnTo>
                    <a:pt x="14799" y="4236"/>
                  </a:lnTo>
                  <a:lnTo>
                    <a:pt x="14821" y="4245"/>
                  </a:lnTo>
                  <a:lnTo>
                    <a:pt x="14816" y="4236"/>
                  </a:lnTo>
                  <a:lnTo>
                    <a:pt x="14804" y="4236"/>
                  </a:lnTo>
                  <a:lnTo>
                    <a:pt x="14804" y="4228"/>
                  </a:lnTo>
                  <a:lnTo>
                    <a:pt x="14854" y="4212"/>
                  </a:lnTo>
                  <a:lnTo>
                    <a:pt x="14870" y="4212"/>
                  </a:lnTo>
                  <a:lnTo>
                    <a:pt x="14870" y="4207"/>
                  </a:lnTo>
                  <a:lnTo>
                    <a:pt x="14870" y="4191"/>
                  </a:lnTo>
                  <a:lnTo>
                    <a:pt x="14854" y="4191"/>
                  </a:lnTo>
                  <a:lnTo>
                    <a:pt x="14821" y="4207"/>
                  </a:lnTo>
                  <a:lnTo>
                    <a:pt x="14816" y="4195"/>
                  </a:lnTo>
                  <a:lnTo>
                    <a:pt x="14821" y="4191"/>
                  </a:lnTo>
                  <a:lnTo>
                    <a:pt x="14832" y="4191"/>
                  </a:lnTo>
                  <a:lnTo>
                    <a:pt x="14799" y="4207"/>
                  </a:lnTo>
                  <a:lnTo>
                    <a:pt x="14799" y="4158"/>
                  </a:lnTo>
                  <a:lnTo>
                    <a:pt x="14832" y="4151"/>
                  </a:lnTo>
                  <a:lnTo>
                    <a:pt x="14837" y="4134"/>
                  </a:lnTo>
                  <a:lnTo>
                    <a:pt x="14908" y="4134"/>
                  </a:lnTo>
                  <a:lnTo>
                    <a:pt x="14908" y="4117"/>
                  </a:lnTo>
                  <a:lnTo>
                    <a:pt x="14924" y="4096"/>
                  </a:lnTo>
                  <a:lnTo>
                    <a:pt x="14908" y="4068"/>
                  </a:lnTo>
                  <a:lnTo>
                    <a:pt x="14903" y="4063"/>
                  </a:lnTo>
                  <a:lnTo>
                    <a:pt x="14908" y="4047"/>
                  </a:lnTo>
                  <a:lnTo>
                    <a:pt x="14924" y="4047"/>
                  </a:lnTo>
                  <a:lnTo>
                    <a:pt x="14924" y="4040"/>
                  </a:lnTo>
                  <a:lnTo>
                    <a:pt x="14908" y="4040"/>
                  </a:lnTo>
                  <a:lnTo>
                    <a:pt x="14903" y="4030"/>
                  </a:lnTo>
                  <a:lnTo>
                    <a:pt x="14913" y="4023"/>
                  </a:lnTo>
                  <a:lnTo>
                    <a:pt x="14929" y="4006"/>
                  </a:lnTo>
                  <a:lnTo>
                    <a:pt x="14924" y="3985"/>
                  </a:lnTo>
                  <a:lnTo>
                    <a:pt x="14929" y="3973"/>
                  </a:lnTo>
                  <a:lnTo>
                    <a:pt x="14908" y="3973"/>
                  </a:lnTo>
                  <a:lnTo>
                    <a:pt x="14891" y="3957"/>
                  </a:lnTo>
                  <a:lnTo>
                    <a:pt x="14870" y="3957"/>
                  </a:lnTo>
                  <a:lnTo>
                    <a:pt x="14858" y="3947"/>
                  </a:lnTo>
                  <a:lnTo>
                    <a:pt x="14849" y="3952"/>
                  </a:lnTo>
                  <a:lnTo>
                    <a:pt x="14799" y="3931"/>
                  </a:lnTo>
                  <a:lnTo>
                    <a:pt x="14795" y="3931"/>
                  </a:lnTo>
                  <a:lnTo>
                    <a:pt x="14783" y="3947"/>
                  </a:lnTo>
                  <a:lnTo>
                    <a:pt x="14761" y="3931"/>
                  </a:lnTo>
                  <a:lnTo>
                    <a:pt x="14745" y="3895"/>
                  </a:lnTo>
                  <a:lnTo>
                    <a:pt x="14686" y="3914"/>
                  </a:lnTo>
                  <a:lnTo>
                    <a:pt x="14660" y="3903"/>
                  </a:lnTo>
                  <a:lnTo>
                    <a:pt x="14653" y="3895"/>
                  </a:lnTo>
                  <a:lnTo>
                    <a:pt x="14615" y="3895"/>
                  </a:lnTo>
                  <a:lnTo>
                    <a:pt x="14601" y="3874"/>
                  </a:lnTo>
                  <a:lnTo>
                    <a:pt x="14606" y="3874"/>
                  </a:lnTo>
                  <a:lnTo>
                    <a:pt x="14589" y="3841"/>
                  </a:lnTo>
                  <a:lnTo>
                    <a:pt x="14601" y="3836"/>
                  </a:lnTo>
                  <a:lnTo>
                    <a:pt x="14584" y="3836"/>
                  </a:lnTo>
                  <a:lnTo>
                    <a:pt x="14577" y="3820"/>
                  </a:lnTo>
                  <a:lnTo>
                    <a:pt x="14551" y="3825"/>
                  </a:lnTo>
                  <a:lnTo>
                    <a:pt x="14530" y="3820"/>
                  </a:lnTo>
                  <a:lnTo>
                    <a:pt x="14509" y="3780"/>
                  </a:lnTo>
                  <a:lnTo>
                    <a:pt x="14530" y="3768"/>
                  </a:lnTo>
                  <a:lnTo>
                    <a:pt x="14530" y="3763"/>
                  </a:lnTo>
                  <a:lnTo>
                    <a:pt x="14509" y="3747"/>
                  </a:lnTo>
                  <a:lnTo>
                    <a:pt x="14509" y="3730"/>
                  </a:lnTo>
                  <a:lnTo>
                    <a:pt x="14492" y="3709"/>
                  </a:lnTo>
                  <a:lnTo>
                    <a:pt x="14443" y="3709"/>
                  </a:lnTo>
                  <a:lnTo>
                    <a:pt x="14421" y="3725"/>
                  </a:lnTo>
                  <a:lnTo>
                    <a:pt x="14384" y="3714"/>
                  </a:lnTo>
                  <a:lnTo>
                    <a:pt x="14374" y="3735"/>
                  </a:lnTo>
                  <a:lnTo>
                    <a:pt x="14346" y="3735"/>
                  </a:lnTo>
                  <a:lnTo>
                    <a:pt x="14329" y="3714"/>
                  </a:lnTo>
                  <a:lnTo>
                    <a:pt x="14329" y="3692"/>
                  </a:lnTo>
                  <a:lnTo>
                    <a:pt x="14320" y="3676"/>
                  </a:lnTo>
                  <a:lnTo>
                    <a:pt x="14329" y="3669"/>
                  </a:lnTo>
                  <a:lnTo>
                    <a:pt x="14308" y="3643"/>
                  </a:lnTo>
                  <a:lnTo>
                    <a:pt x="14320" y="3624"/>
                  </a:lnTo>
                  <a:lnTo>
                    <a:pt x="14374" y="3636"/>
                  </a:lnTo>
                  <a:lnTo>
                    <a:pt x="14405" y="3614"/>
                  </a:lnTo>
                  <a:lnTo>
                    <a:pt x="14417" y="3603"/>
                  </a:lnTo>
                  <a:lnTo>
                    <a:pt x="14388" y="3598"/>
                  </a:lnTo>
                  <a:lnTo>
                    <a:pt x="14388" y="3586"/>
                  </a:lnTo>
                  <a:lnTo>
                    <a:pt x="14400" y="3581"/>
                  </a:lnTo>
                  <a:lnTo>
                    <a:pt x="14388" y="3581"/>
                  </a:lnTo>
                  <a:lnTo>
                    <a:pt x="14367" y="3569"/>
                  </a:lnTo>
                  <a:lnTo>
                    <a:pt x="14346" y="3569"/>
                  </a:lnTo>
                  <a:lnTo>
                    <a:pt x="14350" y="3541"/>
                  </a:lnTo>
                  <a:lnTo>
                    <a:pt x="14313" y="3525"/>
                  </a:lnTo>
                  <a:lnTo>
                    <a:pt x="14308" y="3508"/>
                  </a:lnTo>
                  <a:lnTo>
                    <a:pt x="14298" y="3503"/>
                  </a:lnTo>
                  <a:lnTo>
                    <a:pt x="14298" y="3487"/>
                  </a:lnTo>
                  <a:lnTo>
                    <a:pt x="14275" y="3470"/>
                  </a:lnTo>
                  <a:lnTo>
                    <a:pt x="14291" y="3447"/>
                  </a:lnTo>
                  <a:lnTo>
                    <a:pt x="14275" y="3421"/>
                  </a:lnTo>
                  <a:lnTo>
                    <a:pt x="14282" y="3414"/>
                  </a:lnTo>
                  <a:lnTo>
                    <a:pt x="14282" y="3392"/>
                  </a:lnTo>
                  <a:lnTo>
                    <a:pt x="14275" y="3392"/>
                  </a:lnTo>
                  <a:lnTo>
                    <a:pt x="14254" y="3364"/>
                  </a:lnTo>
                  <a:lnTo>
                    <a:pt x="14237" y="3364"/>
                  </a:lnTo>
                  <a:lnTo>
                    <a:pt x="14211" y="3364"/>
                  </a:lnTo>
                  <a:lnTo>
                    <a:pt x="14185" y="3380"/>
                  </a:lnTo>
                  <a:lnTo>
                    <a:pt x="14173" y="3376"/>
                  </a:lnTo>
                  <a:lnTo>
                    <a:pt x="14185" y="3359"/>
                  </a:lnTo>
                  <a:lnTo>
                    <a:pt x="14173" y="3359"/>
                  </a:lnTo>
                  <a:lnTo>
                    <a:pt x="14152" y="3347"/>
                  </a:lnTo>
                  <a:lnTo>
                    <a:pt x="14131" y="3359"/>
                  </a:lnTo>
                  <a:lnTo>
                    <a:pt x="14119" y="3343"/>
                  </a:lnTo>
                  <a:lnTo>
                    <a:pt x="14098" y="3343"/>
                  </a:lnTo>
                  <a:lnTo>
                    <a:pt x="14093" y="3336"/>
                  </a:lnTo>
                  <a:lnTo>
                    <a:pt x="14098" y="3319"/>
                  </a:lnTo>
                  <a:lnTo>
                    <a:pt x="14076" y="3265"/>
                  </a:lnTo>
                  <a:lnTo>
                    <a:pt x="14060" y="3253"/>
                  </a:lnTo>
                  <a:lnTo>
                    <a:pt x="14065" y="3215"/>
                  </a:lnTo>
                  <a:lnTo>
                    <a:pt x="14043" y="3199"/>
                  </a:lnTo>
                  <a:lnTo>
                    <a:pt x="14043" y="3192"/>
                  </a:lnTo>
                  <a:lnTo>
                    <a:pt x="14039" y="3192"/>
                  </a:lnTo>
                  <a:lnTo>
                    <a:pt x="14043" y="3158"/>
                  </a:lnTo>
                  <a:lnTo>
                    <a:pt x="14065" y="3158"/>
                  </a:lnTo>
                  <a:lnTo>
                    <a:pt x="14043" y="3121"/>
                  </a:lnTo>
                  <a:lnTo>
                    <a:pt x="14043" y="3104"/>
                  </a:lnTo>
                  <a:lnTo>
                    <a:pt x="14039" y="3059"/>
                  </a:lnTo>
                  <a:lnTo>
                    <a:pt x="14065" y="3031"/>
                  </a:lnTo>
                  <a:lnTo>
                    <a:pt x="14076" y="3010"/>
                  </a:lnTo>
                  <a:lnTo>
                    <a:pt x="14093" y="3010"/>
                  </a:lnTo>
                  <a:lnTo>
                    <a:pt x="14093" y="2998"/>
                  </a:lnTo>
                  <a:lnTo>
                    <a:pt x="14081" y="2988"/>
                  </a:lnTo>
                  <a:lnTo>
                    <a:pt x="14081" y="2977"/>
                  </a:lnTo>
                  <a:lnTo>
                    <a:pt x="14076" y="2960"/>
                  </a:lnTo>
                  <a:lnTo>
                    <a:pt x="14081" y="2953"/>
                  </a:lnTo>
                  <a:lnTo>
                    <a:pt x="14102" y="2972"/>
                  </a:lnTo>
                  <a:lnTo>
                    <a:pt x="14114" y="2943"/>
                  </a:lnTo>
                  <a:lnTo>
                    <a:pt x="14136" y="2953"/>
                  </a:lnTo>
                  <a:lnTo>
                    <a:pt x="14157" y="2932"/>
                  </a:lnTo>
                  <a:lnTo>
                    <a:pt x="14228" y="2943"/>
                  </a:lnTo>
                  <a:lnTo>
                    <a:pt x="14237" y="2936"/>
                  </a:lnTo>
                  <a:lnTo>
                    <a:pt x="14211" y="2932"/>
                  </a:lnTo>
                  <a:lnTo>
                    <a:pt x="14211" y="2915"/>
                  </a:lnTo>
                  <a:lnTo>
                    <a:pt x="14199" y="2915"/>
                  </a:lnTo>
                  <a:lnTo>
                    <a:pt x="14152" y="2915"/>
                  </a:lnTo>
                  <a:lnTo>
                    <a:pt x="14119" y="2887"/>
                  </a:lnTo>
                  <a:lnTo>
                    <a:pt x="14114" y="2877"/>
                  </a:lnTo>
                  <a:lnTo>
                    <a:pt x="14131" y="2882"/>
                  </a:lnTo>
                  <a:lnTo>
                    <a:pt x="14131" y="2866"/>
                  </a:lnTo>
                  <a:lnTo>
                    <a:pt x="14119" y="2866"/>
                  </a:lnTo>
                  <a:lnTo>
                    <a:pt x="14131" y="2866"/>
                  </a:lnTo>
                  <a:lnTo>
                    <a:pt x="14131" y="2849"/>
                  </a:lnTo>
                  <a:lnTo>
                    <a:pt x="14093" y="2877"/>
                  </a:lnTo>
                  <a:lnTo>
                    <a:pt x="14065" y="2877"/>
                  </a:lnTo>
                  <a:lnTo>
                    <a:pt x="14169" y="2792"/>
                  </a:lnTo>
                  <a:lnTo>
                    <a:pt x="14308" y="2655"/>
                  </a:lnTo>
                  <a:lnTo>
                    <a:pt x="14329" y="2610"/>
                  </a:lnTo>
                  <a:lnTo>
                    <a:pt x="14308" y="2573"/>
                  </a:lnTo>
                  <a:lnTo>
                    <a:pt x="14223" y="2516"/>
                  </a:lnTo>
                  <a:lnTo>
                    <a:pt x="14261" y="2478"/>
                  </a:lnTo>
                  <a:lnTo>
                    <a:pt x="14261" y="2462"/>
                  </a:lnTo>
                  <a:lnTo>
                    <a:pt x="14223" y="2438"/>
                  </a:lnTo>
                  <a:lnTo>
                    <a:pt x="14228" y="2433"/>
                  </a:lnTo>
                  <a:lnTo>
                    <a:pt x="14223" y="2421"/>
                  </a:lnTo>
                  <a:lnTo>
                    <a:pt x="14237" y="2417"/>
                  </a:lnTo>
                  <a:lnTo>
                    <a:pt x="14228" y="2400"/>
                  </a:lnTo>
                  <a:lnTo>
                    <a:pt x="14206" y="2388"/>
                  </a:lnTo>
                  <a:lnTo>
                    <a:pt x="14190" y="2384"/>
                  </a:lnTo>
                  <a:lnTo>
                    <a:pt x="14190" y="2360"/>
                  </a:lnTo>
                  <a:lnTo>
                    <a:pt x="14211" y="2360"/>
                  </a:lnTo>
                  <a:lnTo>
                    <a:pt x="14206" y="2343"/>
                  </a:lnTo>
                  <a:lnTo>
                    <a:pt x="14190" y="2343"/>
                  </a:lnTo>
                  <a:lnTo>
                    <a:pt x="14199" y="2327"/>
                  </a:lnTo>
                  <a:lnTo>
                    <a:pt x="14206" y="2294"/>
                  </a:lnTo>
                  <a:lnTo>
                    <a:pt x="14228" y="2289"/>
                  </a:lnTo>
                  <a:lnTo>
                    <a:pt x="14211" y="2240"/>
                  </a:lnTo>
                  <a:lnTo>
                    <a:pt x="14152" y="2145"/>
                  </a:lnTo>
                  <a:lnTo>
                    <a:pt x="14157" y="2129"/>
                  </a:lnTo>
                  <a:lnTo>
                    <a:pt x="14211" y="2067"/>
                  </a:lnTo>
                  <a:lnTo>
                    <a:pt x="14223" y="2051"/>
                  </a:lnTo>
                  <a:lnTo>
                    <a:pt x="14199" y="2034"/>
                  </a:lnTo>
                  <a:lnTo>
                    <a:pt x="14173" y="2001"/>
                  </a:lnTo>
                  <a:lnTo>
                    <a:pt x="14131" y="1989"/>
                  </a:lnTo>
                  <a:lnTo>
                    <a:pt x="14114" y="1944"/>
                  </a:lnTo>
                  <a:lnTo>
                    <a:pt x="14136" y="1906"/>
                  </a:lnTo>
                  <a:lnTo>
                    <a:pt x="14102" y="1902"/>
                  </a:lnTo>
                  <a:lnTo>
                    <a:pt x="14147" y="1878"/>
                  </a:lnTo>
                  <a:lnTo>
                    <a:pt x="14169" y="1866"/>
                  </a:lnTo>
                  <a:lnTo>
                    <a:pt x="14169" y="1845"/>
                  </a:lnTo>
                  <a:lnTo>
                    <a:pt x="14228" y="1824"/>
                  </a:lnTo>
                  <a:lnTo>
                    <a:pt x="14228" y="1812"/>
                  </a:lnTo>
                  <a:lnTo>
                    <a:pt x="14228" y="1807"/>
                  </a:lnTo>
                  <a:lnTo>
                    <a:pt x="14261" y="1812"/>
                  </a:lnTo>
                  <a:lnTo>
                    <a:pt x="14282" y="1812"/>
                  </a:lnTo>
                  <a:lnTo>
                    <a:pt x="14282" y="1795"/>
                  </a:lnTo>
                  <a:lnTo>
                    <a:pt x="14282" y="1779"/>
                  </a:lnTo>
                  <a:lnTo>
                    <a:pt x="14346" y="1795"/>
                  </a:lnTo>
                  <a:lnTo>
                    <a:pt x="14336" y="1791"/>
                  </a:lnTo>
                  <a:lnTo>
                    <a:pt x="14336" y="1779"/>
                  </a:lnTo>
                  <a:lnTo>
                    <a:pt x="14367" y="1779"/>
                  </a:lnTo>
                  <a:lnTo>
                    <a:pt x="14350" y="1767"/>
                  </a:lnTo>
                  <a:lnTo>
                    <a:pt x="14400" y="1791"/>
                  </a:lnTo>
                  <a:lnTo>
                    <a:pt x="14438" y="1791"/>
                  </a:lnTo>
                  <a:lnTo>
                    <a:pt x="14438" y="1807"/>
                  </a:lnTo>
                  <a:lnTo>
                    <a:pt x="14421" y="1812"/>
                  </a:lnTo>
                  <a:lnTo>
                    <a:pt x="14362" y="1807"/>
                  </a:lnTo>
                  <a:lnTo>
                    <a:pt x="14388" y="1824"/>
                  </a:lnTo>
                  <a:lnTo>
                    <a:pt x="14374" y="1829"/>
                  </a:lnTo>
                  <a:lnTo>
                    <a:pt x="14426" y="1829"/>
                  </a:lnTo>
                  <a:lnTo>
                    <a:pt x="14417" y="1845"/>
                  </a:lnTo>
                  <a:lnTo>
                    <a:pt x="14426" y="1833"/>
                  </a:lnTo>
                  <a:lnTo>
                    <a:pt x="14471" y="1829"/>
                  </a:lnTo>
                  <a:lnTo>
                    <a:pt x="14443" y="1850"/>
                  </a:lnTo>
                  <a:lnTo>
                    <a:pt x="14459" y="1850"/>
                  </a:lnTo>
                  <a:lnTo>
                    <a:pt x="14471" y="1862"/>
                  </a:lnTo>
                  <a:lnTo>
                    <a:pt x="14426" y="1878"/>
                  </a:lnTo>
                  <a:lnTo>
                    <a:pt x="14426" y="1890"/>
                  </a:lnTo>
                  <a:lnTo>
                    <a:pt x="14426" y="1878"/>
                  </a:lnTo>
                  <a:lnTo>
                    <a:pt x="14459" y="1878"/>
                  </a:lnTo>
                  <a:lnTo>
                    <a:pt x="14471" y="1862"/>
                  </a:lnTo>
                  <a:lnTo>
                    <a:pt x="14471" y="1845"/>
                  </a:lnTo>
                  <a:lnTo>
                    <a:pt x="14480" y="1845"/>
                  </a:lnTo>
                  <a:lnTo>
                    <a:pt x="14639" y="1862"/>
                  </a:lnTo>
                  <a:lnTo>
                    <a:pt x="14761" y="1923"/>
                  </a:lnTo>
                  <a:lnTo>
                    <a:pt x="14804" y="1973"/>
                  </a:lnTo>
                  <a:lnTo>
                    <a:pt x="14821" y="1961"/>
                  </a:lnTo>
                  <a:lnTo>
                    <a:pt x="14887" y="2001"/>
                  </a:lnTo>
                  <a:lnTo>
                    <a:pt x="14908" y="2001"/>
                  </a:lnTo>
                  <a:lnTo>
                    <a:pt x="14903" y="1989"/>
                  </a:lnTo>
                  <a:lnTo>
                    <a:pt x="14908" y="1989"/>
                  </a:lnTo>
                  <a:lnTo>
                    <a:pt x="14946" y="2018"/>
                  </a:lnTo>
                  <a:lnTo>
                    <a:pt x="14946" y="2029"/>
                  </a:lnTo>
                  <a:lnTo>
                    <a:pt x="14955" y="2046"/>
                  </a:lnTo>
                  <a:lnTo>
                    <a:pt x="14993" y="2046"/>
                  </a:lnTo>
                  <a:lnTo>
                    <a:pt x="14993" y="2072"/>
                  </a:lnTo>
                  <a:lnTo>
                    <a:pt x="15000" y="2084"/>
                  </a:lnTo>
                  <a:lnTo>
                    <a:pt x="15000" y="2105"/>
                  </a:lnTo>
                  <a:lnTo>
                    <a:pt x="15017" y="2105"/>
                  </a:lnTo>
                  <a:lnTo>
                    <a:pt x="15017" y="2112"/>
                  </a:lnTo>
                  <a:lnTo>
                    <a:pt x="15010" y="2157"/>
                  </a:lnTo>
                  <a:lnTo>
                    <a:pt x="14962" y="2199"/>
                  </a:lnTo>
                  <a:lnTo>
                    <a:pt x="14924" y="2216"/>
                  </a:lnTo>
                  <a:lnTo>
                    <a:pt x="14821" y="2249"/>
                  </a:lnTo>
                  <a:lnTo>
                    <a:pt x="14606" y="2211"/>
                  </a:lnTo>
                  <a:lnTo>
                    <a:pt x="14563" y="2178"/>
                  </a:lnTo>
                  <a:lnTo>
                    <a:pt x="14530" y="2183"/>
                  </a:lnTo>
                  <a:lnTo>
                    <a:pt x="14525" y="2178"/>
                  </a:lnTo>
                  <a:lnTo>
                    <a:pt x="14530" y="2178"/>
                  </a:lnTo>
                  <a:lnTo>
                    <a:pt x="14492" y="2166"/>
                  </a:lnTo>
                  <a:lnTo>
                    <a:pt x="14471" y="2157"/>
                  </a:lnTo>
                  <a:lnTo>
                    <a:pt x="14476" y="2162"/>
                  </a:lnTo>
                  <a:lnTo>
                    <a:pt x="14471" y="2166"/>
                  </a:lnTo>
                  <a:lnTo>
                    <a:pt x="14443" y="2157"/>
                  </a:lnTo>
                  <a:lnTo>
                    <a:pt x="14405" y="2121"/>
                  </a:lnTo>
                  <a:lnTo>
                    <a:pt x="14350" y="2112"/>
                  </a:lnTo>
                  <a:lnTo>
                    <a:pt x="14374" y="2112"/>
                  </a:lnTo>
                  <a:lnTo>
                    <a:pt x="14400" y="2129"/>
                  </a:lnTo>
                  <a:lnTo>
                    <a:pt x="14400" y="2145"/>
                  </a:lnTo>
                  <a:lnTo>
                    <a:pt x="14421" y="2162"/>
                  </a:lnTo>
                  <a:lnTo>
                    <a:pt x="14417" y="2166"/>
                  </a:lnTo>
                  <a:lnTo>
                    <a:pt x="14454" y="2178"/>
                  </a:lnTo>
                  <a:lnTo>
                    <a:pt x="14421" y="2183"/>
                  </a:lnTo>
                  <a:lnTo>
                    <a:pt x="14443" y="2178"/>
                  </a:lnTo>
                  <a:lnTo>
                    <a:pt x="14471" y="2195"/>
                  </a:lnTo>
                  <a:lnTo>
                    <a:pt x="14421" y="2195"/>
                  </a:lnTo>
                  <a:lnTo>
                    <a:pt x="14480" y="2199"/>
                  </a:lnTo>
                  <a:lnTo>
                    <a:pt x="14454" y="2216"/>
                  </a:lnTo>
                  <a:lnTo>
                    <a:pt x="14509" y="2223"/>
                  </a:lnTo>
                  <a:lnTo>
                    <a:pt x="14563" y="2266"/>
                  </a:lnTo>
                  <a:lnTo>
                    <a:pt x="14568" y="2289"/>
                  </a:lnTo>
                  <a:lnTo>
                    <a:pt x="14547" y="2273"/>
                  </a:lnTo>
                  <a:lnTo>
                    <a:pt x="14551" y="2306"/>
                  </a:lnTo>
                  <a:lnTo>
                    <a:pt x="14547" y="2322"/>
                  </a:lnTo>
                  <a:lnTo>
                    <a:pt x="14530" y="2327"/>
                  </a:lnTo>
                  <a:lnTo>
                    <a:pt x="14547" y="2343"/>
                  </a:lnTo>
                  <a:lnTo>
                    <a:pt x="14568" y="2388"/>
                  </a:lnTo>
                  <a:lnTo>
                    <a:pt x="14568" y="2417"/>
                  </a:lnTo>
                  <a:lnTo>
                    <a:pt x="14551" y="2421"/>
                  </a:lnTo>
                  <a:lnTo>
                    <a:pt x="14589" y="2445"/>
                  </a:lnTo>
                  <a:lnTo>
                    <a:pt x="14606" y="2438"/>
                  </a:lnTo>
                  <a:lnTo>
                    <a:pt x="14622" y="2445"/>
                  </a:lnTo>
                  <a:lnTo>
                    <a:pt x="14639" y="2462"/>
                  </a:lnTo>
                  <a:lnTo>
                    <a:pt x="14643" y="2462"/>
                  </a:lnTo>
                  <a:lnTo>
                    <a:pt x="14660" y="2471"/>
                  </a:lnTo>
                  <a:lnTo>
                    <a:pt x="14660" y="2488"/>
                  </a:lnTo>
                  <a:lnTo>
                    <a:pt x="14740" y="2511"/>
                  </a:lnTo>
                  <a:lnTo>
                    <a:pt x="14783" y="2488"/>
                  </a:lnTo>
                  <a:lnTo>
                    <a:pt x="14783" y="2471"/>
                  </a:lnTo>
                  <a:lnTo>
                    <a:pt x="14778" y="2462"/>
                  </a:lnTo>
                  <a:lnTo>
                    <a:pt x="14778" y="2445"/>
                  </a:lnTo>
                  <a:lnTo>
                    <a:pt x="14766" y="2438"/>
                  </a:lnTo>
                  <a:lnTo>
                    <a:pt x="14728" y="2445"/>
                  </a:lnTo>
                  <a:lnTo>
                    <a:pt x="14724" y="2438"/>
                  </a:lnTo>
                  <a:lnTo>
                    <a:pt x="14691" y="2405"/>
                  </a:lnTo>
                  <a:lnTo>
                    <a:pt x="14676" y="2400"/>
                  </a:lnTo>
                  <a:lnTo>
                    <a:pt x="14669" y="2377"/>
                  </a:lnTo>
                  <a:lnTo>
                    <a:pt x="14698" y="2377"/>
                  </a:lnTo>
                  <a:lnTo>
                    <a:pt x="14698" y="2351"/>
                  </a:lnTo>
                  <a:lnTo>
                    <a:pt x="14714" y="2343"/>
                  </a:lnTo>
                  <a:lnTo>
                    <a:pt x="14761" y="2367"/>
                  </a:lnTo>
                  <a:lnTo>
                    <a:pt x="14778" y="2384"/>
                  </a:lnTo>
                  <a:lnTo>
                    <a:pt x="14804" y="2384"/>
                  </a:lnTo>
                  <a:lnTo>
                    <a:pt x="14783" y="2400"/>
                  </a:lnTo>
                  <a:lnTo>
                    <a:pt x="14783" y="2417"/>
                  </a:lnTo>
                  <a:lnTo>
                    <a:pt x="14816" y="2388"/>
                  </a:lnTo>
                  <a:lnTo>
                    <a:pt x="14891" y="2421"/>
                  </a:lnTo>
                  <a:lnTo>
                    <a:pt x="14913" y="2417"/>
                  </a:lnTo>
                  <a:lnTo>
                    <a:pt x="14908" y="2417"/>
                  </a:lnTo>
                  <a:lnTo>
                    <a:pt x="14908" y="2405"/>
                  </a:lnTo>
                  <a:lnTo>
                    <a:pt x="14955" y="2421"/>
                  </a:lnTo>
                  <a:lnTo>
                    <a:pt x="14946" y="2377"/>
                  </a:lnTo>
                  <a:lnTo>
                    <a:pt x="14903" y="2327"/>
                  </a:lnTo>
                  <a:lnTo>
                    <a:pt x="14903" y="2306"/>
                  </a:lnTo>
                  <a:lnTo>
                    <a:pt x="14946" y="2277"/>
                  </a:lnTo>
                  <a:lnTo>
                    <a:pt x="14967" y="2256"/>
                  </a:lnTo>
                  <a:lnTo>
                    <a:pt x="15021" y="2240"/>
                  </a:lnTo>
                  <a:lnTo>
                    <a:pt x="15069" y="2195"/>
                  </a:lnTo>
                  <a:lnTo>
                    <a:pt x="15106" y="2211"/>
                  </a:lnTo>
                  <a:lnTo>
                    <a:pt x="15156" y="2199"/>
                  </a:lnTo>
                  <a:lnTo>
                    <a:pt x="15177" y="2223"/>
                  </a:lnTo>
                  <a:lnTo>
                    <a:pt x="15156" y="2240"/>
                  </a:lnTo>
                  <a:lnTo>
                    <a:pt x="15156" y="2249"/>
                  </a:lnTo>
                  <a:lnTo>
                    <a:pt x="15172" y="2256"/>
                  </a:lnTo>
                  <a:lnTo>
                    <a:pt x="15172" y="2249"/>
                  </a:lnTo>
                  <a:lnTo>
                    <a:pt x="15156" y="2240"/>
                  </a:lnTo>
                  <a:lnTo>
                    <a:pt x="15194" y="2232"/>
                  </a:lnTo>
                  <a:lnTo>
                    <a:pt x="15198" y="2240"/>
                  </a:lnTo>
                  <a:lnTo>
                    <a:pt x="15198" y="2249"/>
                  </a:lnTo>
                  <a:lnTo>
                    <a:pt x="15215" y="2266"/>
                  </a:lnTo>
                  <a:lnTo>
                    <a:pt x="15210" y="2232"/>
                  </a:lnTo>
                  <a:lnTo>
                    <a:pt x="15232" y="2166"/>
                  </a:lnTo>
                  <a:lnTo>
                    <a:pt x="15227" y="2162"/>
                  </a:lnTo>
                  <a:lnTo>
                    <a:pt x="15236" y="2145"/>
                  </a:lnTo>
                  <a:lnTo>
                    <a:pt x="15210" y="2112"/>
                  </a:lnTo>
                  <a:lnTo>
                    <a:pt x="15182" y="2105"/>
                  </a:lnTo>
                  <a:lnTo>
                    <a:pt x="15182" y="2100"/>
                  </a:lnTo>
                  <a:lnTo>
                    <a:pt x="15210" y="2051"/>
                  </a:lnTo>
                  <a:lnTo>
                    <a:pt x="15210" y="2029"/>
                  </a:lnTo>
                  <a:lnTo>
                    <a:pt x="15215" y="2018"/>
                  </a:lnTo>
                  <a:lnTo>
                    <a:pt x="15210" y="2018"/>
                  </a:lnTo>
                  <a:lnTo>
                    <a:pt x="15215" y="1977"/>
                  </a:lnTo>
                  <a:lnTo>
                    <a:pt x="15156" y="1940"/>
                  </a:lnTo>
                  <a:lnTo>
                    <a:pt x="15156" y="1923"/>
                  </a:lnTo>
                  <a:lnTo>
                    <a:pt x="15210" y="1940"/>
                  </a:lnTo>
                  <a:lnTo>
                    <a:pt x="15291" y="1940"/>
                  </a:lnTo>
                  <a:lnTo>
                    <a:pt x="15333" y="1944"/>
                  </a:lnTo>
                  <a:lnTo>
                    <a:pt x="15340" y="1973"/>
                  </a:lnTo>
                  <a:lnTo>
                    <a:pt x="15378" y="1994"/>
                  </a:lnTo>
                  <a:lnTo>
                    <a:pt x="15378" y="2013"/>
                  </a:lnTo>
                  <a:lnTo>
                    <a:pt x="15395" y="2018"/>
                  </a:lnTo>
                  <a:lnTo>
                    <a:pt x="15395" y="2034"/>
                  </a:lnTo>
                  <a:lnTo>
                    <a:pt x="15302" y="2046"/>
                  </a:lnTo>
                  <a:lnTo>
                    <a:pt x="15291" y="2051"/>
                  </a:lnTo>
                  <a:lnTo>
                    <a:pt x="15291" y="2055"/>
                  </a:lnTo>
                  <a:lnTo>
                    <a:pt x="15269" y="2067"/>
                  </a:lnTo>
                  <a:lnTo>
                    <a:pt x="15265" y="2088"/>
                  </a:lnTo>
                  <a:lnTo>
                    <a:pt x="15319" y="2112"/>
                  </a:lnTo>
                  <a:lnTo>
                    <a:pt x="15324" y="2145"/>
                  </a:lnTo>
                  <a:lnTo>
                    <a:pt x="15340" y="2157"/>
                  </a:lnTo>
                  <a:lnTo>
                    <a:pt x="15387" y="2157"/>
                  </a:lnTo>
                  <a:lnTo>
                    <a:pt x="15371" y="2162"/>
                  </a:lnTo>
                  <a:lnTo>
                    <a:pt x="15463" y="2138"/>
                  </a:lnTo>
                  <a:lnTo>
                    <a:pt x="15463" y="2121"/>
                  </a:lnTo>
                  <a:lnTo>
                    <a:pt x="15454" y="2105"/>
                  </a:lnTo>
                  <a:lnTo>
                    <a:pt x="15480" y="2072"/>
                  </a:lnTo>
                  <a:lnTo>
                    <a:pt x="15470" y="2055"/>
                  </a:lnTo>
                  <a:lnTo>
                    <a:pt x="15480" y="2051"/>
                  </a:lnTo>
                  <a:lnTo>
                    <a:pt x="15534" y="2046"/>
                  </a:lnTo>
                  <a:lnTo>
                    <a:pt x="15555" y="2055"/>
                  </a:lnTo>
                  <a:lnTo>
                    <a:pt x="15522" y="2018"/>
                  </a:lnTo>
                  <a:lnTo>
                    <a:pt x="15572" y="2029"/>
                  </a:lnTo>
                  <a:lnTo>
                    <a:pt x="15626" y="1994"/>
                  </a:lnTo>
                  <a:lnTo>
                    <a:pt x="15609" y="2013"/>
                  </a:lnTo>
                  <a:lnTo>
                    <a:pt x="15614" y="2001"/>
                  </a:lnTo>
                  <a:lnTo>
                    <a:pt x="15680" y="1961"/>
                  </a:lnTo>
                  <a:lnTo>
                    <a:pt x="15697" y="1961"/>
                  </a:lnTo>
                  <a:lnTo>
                    <a:pt x="15765" y="1940"/>
                  </a:lnTo>
                  <a:lnTo>
                    <a:pt x="15787" y="1944"/>
                  </a:lnTo>
                  <a:lnTo>
                    <a:pt x="15772" y="1961"/>
                  </a:lnTo>
                  <a:lnTo>
                    <a:pt x="15777" y="1973"/>
                  </a:lnTo>
                  <a:lnTo>
                    <a:pt x="15810" y="1956"/>
                  </a:lnTo>
                  <a:lnTo>
                    <a:pt x="15794" y="1940"/>
                  </a:lnTo>
                  <a:lnTo>
                    <a:pt x="15810" y="1935"/>
                  </a:lnTo>
                  <a:lnTo>
                    <a:pt x="15777" y="1935"/>
                  </a:lnTo>
                  <a:lnTo>
                    <a:pt x="15886" y="1890"/>
                  </a:lnTo>
                  <a:lnTo>
                    <a:pt x="15938" y="1885"/>
                  </a:lnTo>
                  <a:lnTo>
                    <a:pt x="15874" y="1902"/>
                  </a:lnTo>
                  <a:lnTo>
                    <a:pt x="15900" y="1902"/>
                  </a:lnTo>
                  <a:lnTo>
                    <a:pt x="15879" y="1935"/>
                  </a:lnTo>
                  <a:lnTo>
                    <a:pt x="15895" y="1961"/>
                  </a:lnTo>
                  <a:lnTo>
                    <a:pt x="15886" y="1973"/>
                  </a:lnTo>
                  <a:lnTo>
                    <a:pt x="15874" y="1956"/>
                  </a:lnTo>
                  <a:lnTo>
                    <a:pt x="15879" y="1973"/>
                  </a:lnTo>
                  <a:lnTo>
                    <a:pt x="15862" y="1961"/>
                  </a:lnTo>
                  <a:lnTo>
                    <a:pt x="15848" y="1977"/>
                  </a:lnTo>
                  <a:lnTo>
                    <a:pt x="15917" y="1989"/>
                  </a:lnTo>
                  <a:lnTo>
                    <a:pt x="15933" y="1973"/>
                  </a:lnTo>
                  <a:lnTo>
                    <a:pt x="15954" y="1989"/>
                  </a:lnTo>
                  <a:lnTo>
                    <a:pt x="15966" y="1977"/>
                  </a:lnTo>
                  <a:lnTo>
                    <a:pt x="15966" y="1973"/>
                  </a:lnTo>
                  <a:lnTo>
                    <a:pt x="15966" y="1961"/>
                  </a:lnTo>
                  <a:lnTo>
                    <a:pt x="15992" y="1940"/>
                  </a:lnTo>
                  <a:lnTo>
                    <a:pt x="16042" y="1923"/>
                  </a:lnTo>
                  <a:lnTo>
                    <a:pt x="16134" y="1940"/>
                  </a:lnTo>
                  <a:lnTo>
                    <a:pt x="16155" y="1918"/>
                  </a:lnTo>
                  <a:lnTo>
                    <a:pt x="16181" y="1918"/>
                  </a:lnTo>
                  <a:lnTo>
                    <a:pt x="16181" y="1906"/>
                  </a:lnTo>
                  <a:lnTo>
                    <a:pt x="16198" y="1902"/>
                  </a:lnTo>
                  <a:lnTo>
                    <a:pt x="16209" y="1918"/>
                  </a:lnTo>
                  <a:lnTo>
                    <a:pt x="16202" y="1906"/>
                  </a:lnTo>
                  <a:lnTo>
                    <a:pt x="16202" y="1902"/>
                  </a:lnTo>
                  <a:lnTo>
                    <a:pt x="16240" y="1885"/>
                  </a:lnTo>
                  <a:lnTo>
                    <a:pt x="16273" y="1885"/>
                  </a:lnTo>
                  <a:lnTo>
                    <a:pt x="16240" y="1890"/>
                  </a:lnTo>
                  <a:lnTo>
                    <a:pt x="16278" y="1918"/>
                  </a:lnTo>
                  <a:lnTo>
                    <a:pt x="16257" y="1935"/>
                  </a:lnTo>
                  <a:lnTo>
                    <a:pt x="16257" y="1956"/>
                  </a:lnTo>
                  <a:lnTo>
                    <a:pt x="16311" y="1961"/>
                  </a:lnTo>
                  <a:lnTo>
                    <a:pt x="16316" y="1956"/>
                  </a:lnTo>
                  <a:lnTo>
                    <a:pt x="16306" y="1935"/>
                  </a:lnTo>
                  <a:lnTo>
                    <a:pt x="16311" y="1923"/>
                  </a:lnTo>
                  <a:lnTo>
                    <a:pt x="16361" y="1923"/>
                  </a:lnTo>
                  <a:lnTo>
                    <a:pt x="16387" y="1902"/>
                  </a:lnTo>
                  <a:lnTo>
                    <a:pt x="16387" y="1866"/>
                  </a:lnTo>
                  <a:lnTo>
                    <a:pt x="16365" y="1866"/>
                  </a:lnTo>
                  <a:lnTo>
                    <a:pt x="16361" y="1845"/>
                  </a:lnTo>
                  <a:lnTo>
                    <a:pt x="16332" y="1812"/>
                  </a:lnTo>
                  <a:lnTo>
                    <a:pt x="16344" y="1795"/>
                  </a:lnTo>
                  <a:lnTo>
                    <a:pt x="16365" y="1795"/>
                  </a:lnTo>
                  <a:lnTo>
                    <a:pt x="16370" y="1779"/>
                  </a:lnTo>
                  <a:lnTo>
                    <a:pt x="16382" y="1774"/>
                  </a:lnTo>
                  <a:lnTo>
                    <a:pt x="16543" y="1795"/>
                  </a:lnTo>
                  <a:lnTo>
                    <a:pt x="16613" y="1812"/>
                  </a:lnTo>
                  <a:lnTo>
                    <a:pt x="16672" y="1845"/>
                  </a:lnTo>
                  <a:lnTo>
                    <a:pt x="16656" y="1850"/>
                  </a:lnTo>
                  <a:lnTo>
                    <a:pt x="16656" y="1866"/>
                  </a:lnTo>
                  <a:lnTo>
                    <a:pt x="16684" y="1850"/>
                  </a:lnTo>
                  <a:lnTo>
                    <a:pt x="16739" y="1866"/>
                  </a:lnTo>
                  <a:lnTo>
                    <a:pt x="16722" y="1878"/>
                  </a:lnTo>
                  <a:lnTo>
                    <a:pt x="16819" y="1906"/>
                  </a:lnTo>
                  <a:lnTo>
                    <a:pt x="16814" y="1906"/>
                  </a:lnTo>
                  <a:lnTo>
                    <a:pt x="16831" y="1923"/>
                  </a:lnTo>
                  <a:lnTo>
                    <a:pt x="16899" y="1956"/>
                  </a:lnTo>
                  <a:lnTo>
                    <a:pt x="16906" y="1973"/>
                  </a:lnTo>
                  <a:lnTo>
                    <a:pt x="16899" y="1977"/>
                  </a:lnTo>
                  <a:lnTo>
                    <a:pt x="16906" y="1989"/>
                  </a:lnTo>
                  <a:lnTo>
                    <a:pt x="16916" y="1977"/>
                  </a:lnTo>
                  <a:lnTo>
                    <a:pt x="16958" y="1902"/>
                  </a:lnTo>
                  <a:lnTo>
                    <a:pt x="16954" y="1902"/>
                  </a:lnTo>
                  <a:lnTo>
                    <a:pt x="16970" y="1890"/>
                  </a:lnTo>
                  <a:lnTo>
                    <a:pt x="16937" y="1902"/>
                  </a:lnTo>
                  <a:lnTo>
                    <a:pt x="16916" y="1885"/>
                  </a:lnTo>
                  <a:lnTo>
                    <a:pt x="16890" y="1850"/>
                  </a:lnTo>
                  <a:lnTo>
                    <a:pt x="16890" y="1812"/>
                  </a:lnTo>
                  <a:lnTo>
                    <a:pt x="16883" y="1824"/>
                  </a:lnTo>
                  <a:lnTo>
                    <a:pt x="16814" y="1795"/>
                  </a:lnTo>
                  <a:lnTo>
                    <a:pt x="16814" y="1824"/>
                  </a:lnTo>
                  <a:lnTo>
                    <a:pt x="16798" y="1812"/>
                  </a:lnTo>
                  <a:lnTo>
                    <a:pt x="16798" y="1791"/>
                  </a:lnTo>
                  <a:lnTo>
                    <a:pt x="16807" y="1758"/>
                  </a:lnTo>
                  <a:lnTo>
                    <a:pt x="16814" y="1751"/>
                  </a:lnTo>
                  <a:lnTo>
                    <a:pt x="16814" y="1767"/>
                  </a:lnTo>
                  <a:lnTo>
                    <a:pt x="16831" y="1758"/>
                  </a:lnTo>
                  <a:lnTo>
                    <a:pt x="16835" y="1739"/>
                  </a:lnTo>
                  <a:lnTo>
                    <a:pt x="16819" y="1734"/>
                  </a:lnTo>
                  <a:lnTo>
                    <a:pt x="16835" y="1663"/>
                  </a:lnTo>
                  <a:lnTo>
                    <a:pt x="16819" y="1647"/>
                  </a:lnTo>
                  <a:lnTo>
                    <a:pt x="16793" y="1663"/>
                  </a:lnTo>
                  <a:lnTo>
                    <a:pt x="16793" y="1640"/>
                  </a:lnTo>
                  <a:lnTo>
                    <a:pt x="16807" y="1614"/>
                  </a:lnTo>
                  <a:lnTo>
                    <a:pt x="16798" y="1630"/>
                  </a:lnTo>
                  <a:lnTo>
                    <a:pt x="16793" y="1623"/>
                  </a:lnTo>
                  <a:lnTo>
                    <a:pt x="16807" y="1590"/>
                  </a:lnTo>
                  <a:lnTo>
                    <a:pt x="16883" y="1557"/>
                  </a:lnTo>
                  <a:lnTo>
                    <a:pt x="16916" y="1519"/>
                  </a:lnTo>
                  <a:lnTo>
                    <a:pt x="16954" y="1401"/>
                  </a:lnTo>
                  <a:lnTo>
                    <a:pt x="16970" y="1384"/>
                  </a:lnTo>
                  <a:lnTo>
                    <a:pt x="16975" y="1368"/>
                  </a:lnTo>
                  <a:lnTo>
                    <a:pt x="17013" y="1363"/>
                  </a:lnTo>
                  <a:lnTo>
                    <a:pt x="16991" y="1368"/>
                  </a:lnTo>
                  <a:lnTo>
                    <a:pt x="16996" y="1375"/>
                  </a:lnTo>
                  <a:lnTo>
                    <a:pt x="17138" y="1368"/>
                  </a:lnTo>
                  <a:lnTo>
                    <a:pt x="17171" y="1384"/>
                  </a:lnTo>
                  <a:lnTo>
                    <a:pt x="17154" y="1384"/>
                  </a:lnTo>
                  <a:lnTo>
                    <a:pt x="17223" y="1401"/>
                  </a:lnTo>
                  <a:lnTo>
                    <a:pt x="17213" y="1418"/>
                  </a:lnTo>
                  <a:lnTo>
                    <a:pt x="17230" y="1458"/>
                  </a:lnTo>
                  <a:lnTo>
                    <a:pt x="17197" y="1503"/>
                  </a:lnTo>
                  <a:lnTo>
                    <a:pt x="17192" y="1512"/>
                  </a:lnTo>
                  <a:lnTo>
                    <a:pt x="17192" y="1536"/>
                  </a:lnTo>
                  <a:lnTo>
                    <a:pt x="17154" y="1569"/>
                  </a:lnTo>
                  <a:lnTo>
                    <a:pt x="17171" y="1590"/>
                  </a:lnTo>
                  <a:lnTo>
                    <a:pt x="17209" y="1614"/>
                  </a:lnTo>
                  <a:lnTo>
                    <a:pt x="17209" y="1623"/>
                  </a:lnTo>
                  <a:lnTo>
                    <a:pt x="17223" y="1647"/>
                  </a:lnTo>
                  <a:lnTo>
                    <a:pt x="17213" y="1680"/>
                  </a:lnTo>
                  <a:lnTo>
                    <a:pt x="17223" y="1701"/>
                  </a:lnTo>
                  <a:lnTo>
                    <a:pt x="17192" y="1722"/>
                  </a:lnTo>
                  <a:lnTo>
                    <a:pt x="17209" y="1734"/>
                  </a:lnTo>
                  <a:lnTo>
                    <a:pt x="17197" y="1751"/>
                  </a:lnTo>
                  <a:lnTo>
                    <a:pt x="17213" y="1774"/>
                  </a:lnTo>
                  <a:lnTo>
                    <a:pt x="17197" y="1807"/>
                  </a:lnTo>
                  <a:lnTo>
                    <a:pt x="17209" y="1829"/>
                  </a:lnTo>
                  <a:lnTo>
                    <a:pt x="17197" y="1866"/>
                  </a:lnTo>
                  <a:lnTo>
                    <a:pt x="17209" y="1890"/>
                  </a:lnTo>
                  <a:lnTo>
                    <a:pt x="17213" y="1906"/>
                  </a:lnTo>
                  <a:lnTo>
                    <a:pt x="17268" y="1940"/>
                  </a:lnTo>
                  <a:lnTo>
                    <a:pt x="17284" y="1956"/>
                  </a:lnTo>
                  <a:lnTo>
                    <a:pt x="17268" y="1944"/>
                  </a:lnTo>
                  <a:lnTo>
                    <a:pt x="17246" y="1989"/>
                  </a:lnTo>
                  <a:lnTo>
                    <a:pt x="17239" y="1994"/>
                  </a:lnTo>
                  <a:lnTo>
                    <a:pt x="17251" y="2029"/>
                  </a:lnTo>
                  <a:lnTo>
                    <a:pt x="17239" y="2046"/>
                  </a:lnTo>
                  <a:lnTo>
                    <a:pt x="17209" y="2055"/>
                  </a:lnTo>
                  <a:lnTo>
                    <a:pt x="17209" y="2067"/>
                  </a:lnTo>
                  <a:lnTo>
                    <a:pt x="17192" y="2072"/>
                  </a:lnTo>
                  <a:lnTo>
                    <a:pt x="17197" y="2084"/>
                  </a:lnTo>
                  <a:lnTo>
                    <a:pt x="17192" y="2088"/>
                  </a:lnTo>
                  <a:lnTo>
                    <a:pt x="17171" y="2100"/>
                  </a:lnTo>
                  <a:lnTo>
                    <a:pt x="17185" y="2112"/>
                  </a:lnTo>
                  <a:lnTo>
                    <a:pt x="17176" y="2105"/>
                  </a:lnTo>
                  <a:lnTo>
                    <a:pt x="17154" y="2138"/>
                  </a:lnTo>
                  <a:lnTo>
                    <a:pt x="17121" y="2138"/>
                  </a:lnTo>
                  <a:lnTo>
                    <a:pt x="17138" y="2166"/>
                  </a:lnTo>
                  <a:lnTo>
                    <a:pt x="17138" y="2178"/>
                  </a:lnTo>
                  <a:lnTo>
                    <a:pt x="17100" y="2178"/>
                  </a:lnTo>
                  <a:lnTo>
                    <a:pt x="17088" y="2183"/>
                  </a:lnTo>
                  <a:lnTo>
                    <a:pt x="17079" y="2195"/>
                  </a:lnTo>
                  <a:lnTo>
                    <a:pt x="17046" y="2178"/>
                  </a:lnTo>
                  <a:lnTo>
                    <a:pt x="17079" y="2162"/>
                  </a:lnTo>
                  <a:lnTo>
                    <a:pt x="17046" y="2166"/>
                  </a:lnTo>
                  <a:lnTo>
                    <a:pt x="17013" y="2157"/>
                  </a:lnTo>
                  <a:lnTo>
                    <a:pt x="16954" y="2157"/>
                  </a:lnTo>
                  <a:lnTo>
                    <a:pt x="16958" y="2162"/>
                  </a:lnTo>
                  <a:lnTo>
                    <a:pt x="16958" y="2178"/>
                  </a:lnTo>
                  <a:lnTo>
                    <a:pt x="16982" y="2195"/>
                  </a:lnTo>
                  <a:lnTo>
                    <a:pt x="17050" y="2216"/>
                  </a:lnTo>
                  <a:lnTo>
                    <a:pt x="17133" y="2211"/>
                  </a:lnTo>
                  <a:lnTo>
                    <a:pt x="17171" y="2223"/>
                  </a:lnTo>
                  <a:lnTo>
                    <a:pt x="17192" y="2216"/>
                  </a:lnTo>
                  <a:lnTo>
                    <a:pt x="17192" y="2195"/>
                  </a:lnTo>
                  <a:lnTo>
                    <a:pt x="17197" y="2178"/>
                  </a:lnTo>
                  <a:lnTo>
                    <a:pt x="17230" y="2178"/>
                  </a:lnTo>
                  <a:lnTo>
                    <a:pt x="17294" y="2138"/>
                  </a:lnTo>
                  <a:lnTo>
                    <a:pt x="17298" y="2105"/>
                  </a:lnTo>
                  <a:lnTo>
                    <a:pt x="17298" y="2100"/>
                  </a:lnTo>
                  <a:lnTo>
                    <a:pt x="17353" y="2051"/>
                  </a:lnTo>
                  <a:lnTo>
                    <a:pt x="17360" y="2018"/>
                  </a:lnTo>
                  <a:lnTo>
                    <a:pt x="17353" y="1994"/>
                  </a:lnTo>
                  <a:lnTo>
                    <a:pt x="17332" y="1961"/>
                  </a:lnTo>
                  <a:lnTo>
                    <a:pt x="17336" y="1944"/>
                  </a:lnTo>
                  <a:lnTo>
                    <a:pt x="17336" y="1923"/>
                  </a:lnTo>
                  <a:lnTo>
                    <a:pt x="17353" y="1918"/>
                  </a:lnTo>
                  <a:lnTo>
                    <a:pt x="17483" y="1890"/>
                  </a:lnTo>
                  <a:lnTo>
                    <a:pt x="17495" y="1902"/>
                  </a:lnTo>
                  <a:lnTo>
                    <a:pt x="17495" y="1918"/>
                  </a:lnTo>
                  <a:lnTo>
                    <a:pt x="17537" y="1944"/>
                  </a:lnTo>
                  <a:lnTo>
                    <a:pt x="17537" y="1961"/>
                  </a:lnTo>
                  <a:lnTo>
                    <a:pt x="17532" y="1973"/>
                  </a:lnTo>
                  <a:lnTo>
                    <a:pt x="17537" y="1977"/>
                  </a:lnTo>
                  <a:lnTo>
                    <a:pt x="17532" y="2013"/>
                  </a:lnTo>
                  <a:lnTo>
                    <a:pt x="17537" y="2018"/>
                  </a:lnTo>
                  <a:lnTo>
                    <a:pt x="17520" y="2034"/>
                  </a:lnTo>
                  <a:lnTo>
                    <a:pt x="17570" y="2067"/>
                  </a:lnTo>
                  <a:lnTo>
                    <a:pt x="17662" y="2067"/>
                  </a:lnTo>
                  <a:lnTo>
                    <a:pt x="17646" y="2051"/>
                  </a:lnTo>
                  <a:lnTo>
                    <a:pt x="17624" y="2055"/>
                  </a:lnTo>
                  <a:lnTo>
                    <a:pt x="17617" y="2055"/>
                  </a:lnTo>
                  <a:lnTo>
                    <a:pt x="17629" y="2051"/>
                  </a:lnTo>
                  <a:lnTo>
                    <a:pt x="17549" y="2046"/>
                  </a:lnTo>
                  <a:lnTo>
                    <a:pt x="17554" y="1994"/>
                  </a:lnTo>
                  <a:lnTo>
                    <a:pt x="17601" y="1977"/>
                  </a:lnTo>
                  <a:lnTo>
                    <a:pt x="17587" y="1961"/>
                  </a:lnTo>
                  <a:lnTo>
                    <a:pt x="17587" y="1944"/>
                  </a:lnTo>
                  <a:lnTo>
                    <a:pt x="17570" y="1944"/>
                  </a:lnTo>
                  <a:lnTo>
                    <a:pt x="17563" y="1902"/>
                  </a:lnTo>
                  <a:lnTo>
                    <a:pt x="17445" y="1850"/>
                  </a:lnTo>
                  <a:lnTo>
                    <a:pt x="17407" y="1850"/>
                  </a:lnTo>
                  <a:lnTo>
                    <a:pt x="17360" y="1878"/>
                  </a:lnTo>
                  <a:lnTo>
                    <a:pt x="17332" y="1866"/>
                  </a:lnTo>
                  <a:lnTo>
                    <a:pt x="17298" y="1878"/>
                  </a:lnTo>
                  <a:lnTo>
                    <a:pt x="17284" y="1862"/>
                  </a:lnTo>
                  <a:lnTo>
                    <a:pt x="17298" y="1829"/>
                  </a:lnTo>
                  <a:lnTo>
                    <a:pt x="17268" y="1791"/>
                  </a:lnTo>
                  <a:lnTo>
                    <a:pt x="17294" y="1751"/>
                  </a:lnTo>
                  <a:lnTo>
                    <a:pt x="17284" y="1739"/>
                  </a:lnTo>
                  <a:lnTo>
                    <a:pt x="17332" y="1696"/>
                  </a:lnTo>
                  <a:lnTo>
                    <a:pt x="17332" y="1668"/>
                  </a:lnTo>
                  <a:lnTo>
                    <a:pt x="17298" y="1647"/>
                  </a:lnTo>
                  <a:lnTo>
                    <a:pt x="17298" y="1630"/>
                  </a:lnTo>
                  <a:lnTo>
                    <a:pt x="17268" y="1590"/>
                  </a:lnTo>
                  <a:lnTo>
                    <a:pt x="17239" y="1573"/>
                  </a:lnTo>
                  <a:lnTo>
                    <a:pt x="17268" y="1545"/>
                  </a:lnTo>
                  <a:lnTo>
                    <a:pt x="17268" y="1529"/>
                  </a:lnTo>
                  <a:lnTo>
                    <a:pt x="17268" y="1519"/>
                  </a:lnTo>
                  <a:lnTo>
                    <a:pt x="17369" y="1479"/>
                  </a:lnTo>
                  <a:lnTo>
                    <a:pt x="17386" y="1462"/>
                  </a:lnTo>
                  <a:lnTo>
                    <a:pt x="17386" y="1441"/>
                  </a:lnTo>
                  <a:lnTo>
                    <a:pt x="17374" y="1408"/>
                  </a:lnTo>
                  <a:lnTo>
                    <a:pt x="17360" y="1384"/>
                  </a:lnTo>
                  <a:lnTo>
                    <a:pt x="17374" y="1375"/>
                  </a:lnTo>
                  <a:lnTo>
                    <a:pt x="17402" y="1384"/>
                  </a:lnTo>
                  <a:lnTo>
                    <a:pt x="17412" y="1392"/>
                  </a:lnTo>
                  <a:lnTo>
                    <a:pt x="17402" y="1401"/>
                  </a:lnTo>
                  <a:lnTo>
                    <a:pt x="17424" y="1418"/>
                  </a:lnTo>
                  <a:lnTo>
                    <a:pt x="17412" y="1425"/>
                  </a:lnTo>
                  <a:lnTo>
                    <a:pt x="17428" y="1458"/>
                  </a:lnTo>
                  <a:lnTo>
                    <a:pt x="17391" y="1512"/>
                  </a:lnTo>
                  <a:lnTo>
                    <a:pt x="17391" y="1529"/>
                  </a:lnTo>
                  <a:lnTo>
                    <a:pt x="17407" y="1545"/>
                  </a:lnTo>
                  <a:lnTo>
                    <a:pt x="17407" y="1557"/>
                  </a:lnTo>
                  <a:lnTo>
                    <a:pt x="17391" y="1569"/>
                  </a:lnTo>
                  <a:lnTo>
                    <a:pt x="17391" y="1573"/>
                  </a:lnTo>
                  <a:lnTo>
                    <a:pt x="17428" y="1590"/>
                  </a:lnTo>
                  <a:lnTo>
                    <a:pt x="17511" y="1602"/>
                  </a:lnTo>
                  <a:lnTo>
                    <a:pt x="17511" y="1614"/>
                  </a:lnTo>
                  <a:lnTo>
                    <a:pt x="17516" y="1607"/>
                  </a:lnTo>
                  <a:lnTo>
                    <a:pt x="17563" y="1607"/>
                  </a:lnTo>
                  <a:lnTo>
                    <a:pt x="17575" y="1614"/>
                  </a:lnTo>
                  <a:lnTo>
                    <a:pt x="17587" y="1630"/>
                  </a:lnTo>
                  <a:lnTo>
                    <a:pt x="17617" y="1640"/>
                  </a:lnTo>
                  <a:lnTo>
                    <a:pt x="17662" y="1630"/>
                  </a:lnTo>
                  <a:lnTo>
                    <a:pt x="17624" y="1630"/>
                  </a:lnTo>
                  <a:lnTo>
                    <a:pt x="17617" y="1630"/>
                  </a:lnTo>
                  <a:lnTo>
                    <a:pt x="17624" y="1614"/>
                  </a:lnTo>
                  <a:lnTo>
                    <a:pt x="17608" y="1614"/>
                  </a:lnTo>
                  <a:lnTo>
                    <a:pt x="17624" y="1623"/>
                  </a:lnTo>
                  <a:lnTo>
                    <a:pt x="17617" y="1623"/>
                  </a:lnTo>
                  <a:lnTo>
                    <a:pt x="17601" y="1614"/>
                  </a:lnTo>
                  <a:lnTo>
                    <a:pt x="17608" y="1590"/>
                  </a:lnTo>
                  <a:lnTo>
                    <a:pt x="17575" y="1590"/>
                  </a:lnTo>
                  <a:lnTo>
                    <a:pt x="17587" y="1573"/>
                  </a:lnTo>
                  <a:lnTo>
                    <a:pt x="17570" y="1590"/>
                  </a:lnTo>
                  <a:lnTo>
                    <a:pt x="17549" y="1585"/>
                  </a:lnTo>
                  <a:lnTo>
                    <a:pt x="17554" y="1590"/>
                  </a:lnTo>
                  <a:lnTo>
                    <a:pt x="17461" y="1552"/>
                  </a:lnTo>
                  <a:lnTo>
                    <a:pt x="17445" y="1512"/>
                  </a:lnTo>
                  <a:lnTo>
                    <a:pt x="17457" y="1503"/>
                  </a:lnTo>
                  <a:lnTo>
                    <a:pt x="17511" y="1491"/>
                  </a:lnTo>
                  <a:lnTo>
                    <a:pt x="17554" y="1519"/>
                  </a:lnTo>
                  <a:lnTo>
                    <a:pt x="17591" y="1512"/>
                  </a:lnTo>
                  <a:lnTo>
                    <a:pt x="17601" y="1495"/>
                  </a:lnTo>
                  <a:lnTo>
                    <a:pt x="17587" y="1479"/>
                  </a:lnTo>
                  <a:lnTo>
                    <a:pt x="17537" y="1479"/>
                  </a:lnTo>
                  <a:lnTo>
                    <a:pt x="17549" y="1462"/>
                  </a:lnTo>
                  <a:lnTo>
                    <a:pt x="17563" y="1474"/>
                  </a:lnTo>
                  <a:lnTo>
                    <a:pt x="17575" y="1446"/>
                  </a:lnTo>
                  <a:lnTo>
                    <a:pt x="17624" y="1441"/>
                  </a:lnTo>
                  <a:lnTo>
                    <a:pt x="17693" y="1446"/>
                  </a:lnTo>
                  <a:lnTo>
                    <a:pt x="17785" y="1479"/>
                  </a:lnTo>
                  <a:lnTo>
                    <a:pt x="17785" y="1491"/>
                  </a:lnTo>
                  <a:lnTo>
                    <a:pt x="17769" y="1491"/>
                  </a:lnTo>
                  <a:lnTo>
                    <a:pt x="17839" y="1536"/>
                  </a:lnTo>
                  <a:lnTo>
                    <a:pt x="17927" y="1529"/>
                  </a:lnTo>
                  <a:lnTo>
                    <a:pt x="17953" y="1536"/>
                  </a:lnTo>
                  <a:lnTo>
                    <a:pt x="17941" y="1552"/>
                  </a:lnTo>
                  <a:lnTo>
                    <a:pt x="17932" y="1569"/>
                  </a:lnTo>
                  <a:lnTo>
                    <a:pt x="17889" y="1590"/>
                  </a:lnTo>
                  <a:lnTo>
                    <a:pt x="17894" y="1614"/>
                  </a:lnTo>
                  <a:lnTo>
                    <a:pt x="17877" y="1630"/>
                  </a:lnTo>
                  <a:lnTo>
                    <a:pt x="17894" y="1656"/>
                  </a:lnTo>
                  <a:lnTo>
                    <a:pt x="17872" y="1684"/>
                  </a:lnTo>
                  <a:lnTo>
                    <a:pt x="17894" y="1734"/>
                  </a:lnTo>
                  <a:lnTo>
                    <a:pt x="17877" y="1684"/>
                  </a:lnTo>
                  <a:lnTo>
                    <a:pt x="17898" y="1680"/>
                  </a:lnTo>
                  <a:lnTo>
                    <a:pt x="17898" y="1656"/>
                  </a:lnTo>
                  <a:lnTo>
                    <a:pt x="17910" y="1630"/>
                  </a:lnTo>
                  <a:lnTo>
                    <a:pt x="17948" y="1640"/>
                  </a:lnTo>
                  <a:lnTo>
                    <a:pt x="17941" y="1701"/>
                  </a:lnTo>
                  <a:lnTo>
                    <a:pt x="17910" y="1722"/>
                  </a:lnTo>
                  <a:lnTo>
                    <a:pt x="17910" y="1734"/>
                  </a:lnTo>
                  <a:lnTo>
                    <a:pt x="17948" y="1751"/>
                  </a:lnTo>
                  <a:lnTo>
                    <a:pt x="17948" y="1739"/>
                  </a:lnTo>
                  <a:lnTo>
                    <a:pt x="17932" y="1718"/>
                  </a:lnTo>
                  <a:lnTo>
                    <a:pt x="17969" y="1718"/>
                  </a:lnTo>
                  <a:lnTo>
                    <a:pt x="17986" y="1701"/>
                  </a:lnTo>
                  <a:lnTo>
                    <a:pt x="17969" y="1640"/>
                  </a:lnTo>
                  <a:lnTo>
                    <a:pt x="17948" y="1602"/>
                  </a:lnTo>
                  <a:lnTo>
                    <a:pt x="17979" y="1545"/>
                  </a:lnTo>
                  <a:lnTo>
                    <a:pt x="17965" y="1519"/>
                  </a:lnTo>
                  <a:lnTo>
                    <a:pt x="17915" y="1512"/>
                  </a:lnTo>
                  <a:lnTo>
                    <a:pt x="17877" y="1479"/>
                  </a:lnTo>
                  <a:lnTo>
                    <a:pt x="17889" y="1474"/>
                  </a:lnTo>
                  <a:lnTo>
                    <a:pt x="17877" y="1458"/>
                  </a:lnTo>
                  <a:lnTo>
                    <a:pt x="17806" y="1446"/>
                  </a:lnTo>
                  <a:lnTo>
                    <a:pt x="17780" y="1425"/>
                  </a:lnTo>
                  <a:lnTo>
                    <a:pt x="17785" y="1408"/>
                  </a:lnTo>
                  <a:lnTo>
                    <a:pt x="17769" y="1392"/>
                  </a:lnTo>
                  <a:lnTo>
                    <a:pt x="17785" y="1375"/>
                  </a:lnTo>
                  <a:lnTo>
                    <a:pt x="17785" y="1363"/>
                  </a:lnTo>
                  <a:lnTo>
                    <a:pt x="17752" y="1347"/>
                  </a:lnTo>
                  <a:lnTo>
                    <a:pt x="17764" y="1335"/>
                  </a:lnTo>
                  <a:lnTo>
                    <a:pt x="17738" y="1335"/>
                  </a:lnTo>
                  <a:lnTo>
                    <a:pt x="17764" y="1330"/>
                  </a:lnTo>
                  <a:lnTo>
                    <a:pt x="17747" y="1314"/>
                  </a:lnTo>
                  <a:lnTo>
                    <a:pt x="17769" y="1290"/>
                  </a:lnTo>
                  <a:lnTo>
                    <a:pt x="17764" y="1290"/>
                  </a:lnTo>
                  <a:lnTo>
                    <a:pt x="17764" y="1281"/>
                  </a:lnTo>
                  <a:lnTo>
                    <a:pt x="18054" y="1252"/>
                  </a:lnTo>
                  <a:lnTo>
                    <a:pt x="18092" y="1257"/>
                  </a:lnTo>
                  <a:lnTo>
                    <a:pt x="18146" y="1240"/>
                  </a:lnTo>
                  <a:lnTo>
                    <a:pt x="18222" y="1240"/>
                  </a:lnTo>
                  <a:lnTo>
                    <a:pt x="18217" y="1252"/>
                  </a:lnTo>
                  <a:lnTo>
                    <a:pt x="18130" y="1297"/>
                  </a:lnTo>
                  <a:lnTo>
                    <a:pt x="18130" y="1314"/>
                  </a:lnTo>
                  <a:lnTo>
                    <a:pt x="18196" y="1347"/>
                  </a:lnTo>
                  <a:lnTo>
                    <a:pt x="18201" y="1363"/>
                  </a:lnTo>
                  <a:lnTo>
                    <a:pt x="18196" y="1335"/>
                  </a:lnTo>
                  <a:lnTo>
                    <a:pt x="18142" y="1314"/>
                  </a:lnTo>
                  <a:lnTo>
                    <a:pt x="18130" y="1290"/>
                  </a:lnTo>
                  <a:lnTo>
                    <a:pt x="18234" y="1273"/>
                  </a:lnTo>
                  <a:lnTo>
                    <a:pt x="18267" y="1236"/>
                  </a:lnTo>
                  <a:lnTo>
                    <a:pt x="18239" y="1240"/>
                  </a:lnTo>
                  <a:lnTo>
                    <a:pt x="18217" y="1219"/>
                  </a:lnTo>
                  <a:lnTo>
                    <a:pt x="18250" y="1219"/>
                  </a:lnTo>
                  <a:lnTo>
                    <a:pt x="18239" y="1207"/>
                  </a:lnTo>
                  <a:lnTo>
                    <a:pt x="18213" y="1207"/>
                  </a:lnTo>
                  <a:lnTo>
                    <a:pt x="18201" y="1186"/>
                  </a:lnTo>
                  <a:lnTo>
                    <a:pt x="18184" y="1186"/>
                  </a:lnTo>
                  <a:lnTo>
                    <a:pt x="18142" y="1179"/>
                  </a:lnTo>
                  <a:lnTo>
                    <a:pt x="18142" y="1170"/>
                  </a:lnTo>
                  <a:lnTo>
                    <a:pt x="18168" y="1179"/>
                  </a:lnTo>
                  <a:lnTo>
                    <a:pt x="18146" y="1162"/>
                  </a:lnTo>
                  <a:lnTo>
                    <a:pt x="18180" y="1153"/>
                  </a:lnTo>
                  <a:lnTo>
                    <a:pt x="18213" y="1162"/>
                  </a:lnTo>
                  <a:lnTo>
                    <a:pt x="18196" y="1179"/>
                  </a:lnTo>
                  <a:lnTo>
                    <a:pt x="18222" y="1170"/>
                  </a:lnTo>
                  <a:lnTo>
                    <a:pt x="18184" y="1146"/>
                  </a:lnTo>
                  <a:lnTo>
                    <a:pt x="18196" y="1141"/>
                  </a:lnTo>
                  <a:lnTo>
                    <a:pt x="18184" y="1141"/>
                  </a:lnTo>
                  <a:lnTo>
                    <a:pt x="18130" y="1129"/>
                  </a:lnTo>
                  <a:lnTo>
                    <a:pt x="18158" y="1113"/>
                  </a:lnTo>
                  <a:lnTo>
                    <a:pt x="18146" y="1108"/>
                  </a:lnTo>
                  <a:lnTo>
                    <a:pt x="18213" y="1129"/>
                  </a:lnTo>
                  <a:lnTo>
                    <a:pt x="18213" y="1125"/>
                  </a:lnTo>
                  <a:lnTo>
                    <a:pt x="18201" y="1125"/>
                  </a:lnTo>
                  <a:lnTo>
                    <a:pt x="18239" y="1087"/>
                  </a:lnTo>
                  <a:lnTo>
                    <a:pt x="18234" y="1075"/>
                  </a:lnTo>
                  <a:lnTo>
                    <a:pt x="18255" y="1087"/>
                  </a:lnTo>
                  <a:lnTo>
                    <a:pt x="18272" y="1075"/>
                  </a:lnTo>
                  <a:lnTo>
                    <a:pt x="18213" y="1070"/>
                  </a:lnTo>
                  <a:lnTo>
                    <a:pt x="18217" y="1051"/>
                  </a:lnTo>
                  <a:lnTo>
                    <a:pt x="18288" y="1058"/>
                  </a:lnTo>
                  <a:lnTo>
                    <a:pt x="18373" y="1002"/>
                  </a:lnTo>
                  <a:lnTo>
                    <a:pt x="18395" y="1014"/>
                  </a:lnTo>
                  <a:lnTo>
                    <a:pt x="18428" y="997"/>
                  </a:lnTo>
                  <a:lnTo>
                    <a:pt x="18487" y="981"/>
                  </a:lnTo>
                  <a:lnTo>
                    <a:pt x="18541" y="981"/>
                  </a:lnTo>
                  <a:lnTo>
                    <a:pt x="18546" y="976"/>
                  </a:lnTo>
                  <a:lnTo>
                    <a:pt x="18720" y="943"/>
                  </a:lnTo>
                  <a:lnTo>
                    <a:pt x="18671" y="943"/>
                  </a:lnTo>
                  <a:lnTo>
                    <a:pt x="18666" y="947"/>
                  </a:lnTo>
                  <a:lnTo>
                    <a:pt x="18654" y="931"/>
                  </a:lnTo>
                  <a:lnTo>
                    <a:pt x="18645" y="943"/>
                  </a:lnTo>
                  <a:lnTo>
                    <a:pt x="18645" y="947"/>
                  </a:lnTo>
                  <a:lnTo>
                    <a:pt x="18628" y="943"/>
                  </a:lnTo>
                  <a:lnTo>
                    <a:pt x="18633" y="924"/>
                  </a:lnTo>
                  <a:lnTo>
                    <a:pt x="18654" y="924"/>
                  </a:lnTo>
                  <a:lnTo>
                    <a:pt x="18650" y="919"/>
                  </a:lnTo>
                  <a:lnTo>
                    <a:pt x="18666" y="919"/>
                  </a:lnTo>
                  <a:lnTo>
                    <a:pt x="18654" y="924"/>
                  </a:lnTo>
                  <a:lnTo>
                    <a:pt x="18666" y="931"/>
                  </a:lnTo>
                  <a:lnTo>
                    <a:pt x="18709" y="924"/>
                  </a:lnTo>
                  <a:lnTo>
                    <a:pt x="18683" y="907"/>
                  </a:lnTo>
                  <a:lnTo>
                    <a:pt x="18735" y="907"/>
                  </a:lnTo>
                  <a:lnTo>
                    <a:pt x="18742" y="924"/>
                  </a:lnTo>
                  <a:lnTo>
                    <a:pt x="18758" y="919"/>
                  </a:lnTo>
                  <a:lnTo>
                    <a:pt x="18742" y="907"/>
                  </a:lnTo>
                  <a:lnTo>
                    <a:pt x="18751" y="907"/>
                  </a:lnTo>
                  <a:lnTo>
                    <a:pt x="18865" y="919"/>
                  </a:lnTo>
                  <a:lnTo>
                    <a:pt x="18817" y="947"/>
                  </a:lnTo>
                  <a:lnTo>
                    <a:pt x="18827" y="947"/>
                  </a:lnTo>
                  <a:lnTo>
                    <a:pt x="18843" y="943"/>
                  </a:lnTo>
                  <a:lnTo>
                    <a:pt x="18881" y="931"/>
                  </a:lnTo>
                  <a:lnTo>
                    <a:pt x="18886" y="943"/>
                  </a:lnTo>
                  <a:lnTo>
                    <a:pt x="18881" y="947"/>
                  </a:lnTo>
                  <a:lnTo>
                    <a:pt x="18935" y="924"/>
                  </a:lnTo>
                  <a:lnTo>
                    <a:pt x="18940" y="924"/>
                  </a:lnTo>
                  <a:lnTo>
                    <a:pt x="18924" y="943"/>
                  </a:lnTo>
                  <a:lnTo>
                    <a:pt x="18973" y="931"/>
                  </a:lnTo>
                  <a:lnTo>
                    <a:pt x="18957" y="924"/>
                  </a:lnTo>
                  <a:lnTo>
                    <a:pt x="18994" y="919"/>
                  </a:lnTo>
                  <a:lnTo>
                    <a:pt x="19006" y="919"/>
                  </a:lnTo>
                  <a:lnTo>
                    <a:pt x="18978" y="907"/>
                  </a:lnTo>
                  <a:lnTo>
                    <a:pt x="19044" y="891"/>
                  </a:lnTo>
                  <a:lnTo>
                    <a:pt x="19032" y="903"/>
                  </a:lnTo>
                  <a:lnTo>
                    <a:pt x="19082" y="903"/>
                  </a:lnTo>
                  <a:lnTo>
                    <a:pt x="19065" y="907"/>
                  </a:lnTo>
                  <a:lnTo>
                    <a:pt x="19098" y="907"/>
                  </a:lnTo>
                  <a:lnTo>
                    <a:pt x="19087" y="919"/>
                  </a:lnTo>
                  <a:lnTo>
                    <a:pt x="19113" y="924"/>
                  </a:lnTo>
                  <a:lnTo>
                    <a:pt x="19103" y="959"/>
                  </a:lnTo>
                  <a:lnTo>
                    <a:pt x="19075" y="964"/>
                  </a:lnTo>
                  <a:lnTo>
                    <a:pt x="19065" y="997"/>
                  </a:lnTo>
                  <a:lnTo>
                    <a:pt x="19103" y="1014"/>
                  </a:lnTo>
                  <a:lnTo>
                    <a:pt x="19141" y="1051"/>
                  </a:lnTo>
                  <a:lnTo>
                    <a:pt x="19136" y="1035"/>
                  </a:lnTo>
                  <a:lnTo>
                    <a:pt x="19113" y="1018"/>
                  </a:lnTo>
                  <a:lnTo>
                    <a:pt x="19120" y="1014"/>
                  </a:lnTo>
                  <a:lnTo>
                    <a:pt x="19075" y="997"/>
                  </a:lnTo>
                  <a:lnTo>
                    <a:pt x="19082" y="964"/>
                  </a:lnTo>
                  <a:lnTo>
                    <a:pt x="19103" y="964"/>
                  </a:lnTo>
                  <a:lnTo>
                    <a:pt x="19120" y="947"/>
                  </a:lnTo>
                  <a:lnTo>
                    <a:pt x="19120" y="919"/>
                  </a:lnTo>
                  <a:lnTo>
                    <a:pt x="19103" y="891"/>
                  </a:lnTo>
                  <a:lnTo>
                    <a:pt x="19061" y="874"/>
                  </a:lnTo>
                  <a:lnTo>
                    <a:pt x="19044" y="865"/>
                  </a:lnTo>
                  <a:lnTo>
                    <a:pt x="19188" y="853"/>
                  </a:lnTo>
                  <a:lnTo>
                    <a:pt x="19280" y="874"/>
                  </a:lnTo>
                  <a:lnTo>
                    <a:pt x="19188" y="848"/>
                  </a:lnTo>
                  <a:lnTo>
                    <a:pt x="19205" y="848"/>
                  </a:lnTo>
                  <a:lnTo>
                    <a:pt x="19212" y="820"/>
                  </a:lnTo>
                  <a:lnTo>
                    <a:pt x="19188" y="799"/>
                  </a:lnTo>
                  <a:lnTo>
                    <a:pt x="19195" y="780"/>
                  </a:lnTo>
                  <a:lnTo>
                    <a:pt x="19212" y="780"/>
                  </a:lnTo>
                  <a:lnTo>
                    <a:pt x="19212" y="763"/>
                  </a:lnTo>
                  <a:lnTo>
                    <a:pt x="19276" y="721"/>
                  </a:lnTo>
                  <a:lnTo>
                    <a:pt x="19292" y="725"/>
                  </a:lnTo>
                  <a:lnTo>
                    <a:pt x="19351" y="681"/>
                  </a:lnTo>
                  <a:lnTo>
                    <a:pt x="19427" y="671"/>
                  </a:lnTo>
                  <a:lnTo>
                    <a:pt x="19439" y="671"/>
                  </a:lnTo>
                  <a:lnTo>
                    <a:pt x="19427" y="681"/>
                  </a:lnTo>
                  <a:lnTo>
                    <a:pt x="19460" y="671"/>
                  </a:lnTo>
                  <a:lnTo>
                    <a:pt x="19476" y="697"/>
                  </a:lnTo>
                  <a:lnTo>
                    <a:pt x="19507" y="697"/>
                  </a:lnTo>
                  <a:lnTo>
                    <a:pt x="19535" y="697"/>
                  </a:lnTo>
                  <a:lnTo>
                    <a:pt x="19552" y="721"/>
                  </a:lnTo>
                  <a:lnTo>
                    <a:pt x="19566" y="725"/>
                  </a:lnTo>
                  <a:lnTo>
                    <a:pt x="19528" y="725"/>
                  </a:lnTo>
                  <a:lnTo>
                    <a:pt x="19514" y="742"/>
                  </a:lnTo>
                  <a:lnTo>
                    <a:pt x="19422" y="763"/>
                  </a:lnTo>
                  <a:lnTo>
                    <a:pt x="19545" y="758"/>
                  </a:lnTo>
                  <a:lnTo>
                    <a:pt x="19535" y="775"/>
                  </a:lnTo>
                  <a:lnTo>
                    <a:pt x="19514" y="780"/>
                  </a:lnTo>
                  <a:lnTo>
                    <a:pt x="19604" y="775"/>
                  </a:lnTo>
                  <a:lnTo>
                    <a:pt x="19654" y="792"/>
                  </a:lnTo>
                  <a:lnTo>
                    <a:pt x="19637" y="799"/>
                  </a:lnTo>
                  <a:lnTo>
                    <a:pt x="19642" y="799"/>
                  </a:lnTo>
                  <a:lnTo>
                    <a:pt x="19590" y="848"/>
                  </a:lnTo>
                  <a:lnTo>
                    <a:pt x="19573" y="848"/>
                  </a:lnTo>
                  <a:lnTo>
                    <a:pt x="19573" y="853"/>
                  </a:lnTo>
                  <a:lnTo>
                    <a:pt x="19687" y="853"/>
                  </a:lnTo>
                  <a:lnTo>
                    <a:pt x="19691" y="836"/>
                  </a:lnTo>
                  <a:lnTo>
                    <a:pt x="19687" y="832"/>
                  </a:lnTo>
                  <a:lnTo>
                    <a:pt x="19687" y="820"/>
                  </a:lnTo>
                  <a:lnTo>
                    <a:pt x="19831" y="832"/>
                  </a:lnTo>
                  <a:lnTo>
                    <a:pt x="19906" y="820"/>
                  </a:lnTo>
                  <a:lnTo>
                    <a:pt x="19982" y="865"/>
                  </a:lnTo>
                  <a:lnTo>
                    <a:pt x="19961" y="874"/>
                  </a:lnTo>
                  <a:lnTo>
                    <a:pt x="19994" y="865"/>
                  </a:lnTo>
                  <a:lnTo>
                    <a:pt x="20020" y="886"/>
                  </a:lnTo>
                  <a:lnTo>
                    <a:pt x="20015" y="903"/>
                  </a:lnTo>
                  <a:lnTo>
                    <a:pt x="20010" y="891"/>
                  </a:lnTo>
                  <a:lnTo>
                    <a:pt x="20031" y="907"/>
                  </a:lnTo>
                  <a:lnTo>
                    <a:pt x="20010" y="924"/>
                  </a:lnTo>
                  <a:lnTo>
                    <a:pt x="20065" y="907"/>
                  </a:lnTo>
                  <a:lnTo>
                    <a:pt x="20036" y="891"/>
                  </a:lnTo>
                  <a:lnTo>
                    <a:pt x="20065" y="891"/>
                  </a:lnTo>
                  <a:lnTo>
                    <a:pt x="20074" y="907"/>
                  </a:lnTo>
                  <a:lnTo>
                    <a:pt x="20074" y="947"/>
                  </a:lnTo>
                  <a:lnTo>
                    <a:pt x="20091" y="943"/>
                  </a:lnTo>
                  <a:lnTo>
                    <a:pt x="20102" y="959"/>
                  </a:lnTo>
                  <a:lnTo>
                    <a:pt x="20091" y="985"/>
                  </a:lnTo>
                  <a:lnTo>
                    <a:pt x="20074" y="997"/>
                  </a:lnTo>
                  <a:lnTo>
                    <a:pt x="20069" y="997"/>
                  </a:lnTo>
                  <a:lnTo>
                    <a:pt x="20086" y="981"/>
                  </a:lnTo>
                  <a:lnTo>
                    <a:pt x="19994" y="959"/>
                  </a:lnTo>
                  <a:lnTo>
                    <a:pt x="20031" y="976"/>
                  </a:lnTo>
                  <a:lnTo>
                    <a:pt x="20031" y="997"/>
                  </a:lnTo>
                  <a:lnTo>
                    <a:pt x="20065" y="981"/>
                  </a:lnTo>
                  <a:lnTo>
                    <a:pt x="20065" y="997"/>
                  </a:lnTo>
                  <a:lnTo>
                    <a:pt x="20086" y="1002"/>
                  </a:lnTo>
                  <a:lnTo>
                    <a:pt x="20091" y="1018"/>
                  </a:lnTo>
                  <a:lnTo>
                    <a:pt x="20074" y="1018"/>
                  </a:lnTo>
                  <a:lnTo>
                    <a:pt x="20086" y="1030"/>
                  </a:lnTo>
                  <a:lnTo>
                    <a:pt x="20031" y="1075"/>
                  </a:lnTo>
                  <a:lnTo>
                    <a:pt x="19977" y="1092"/>
                  </a:lnTo>
                  <a:lnTo>
                    <a:pt x="19956" y="1125"/>
                  </a:lnTo>
                  <a:lnTo>
                    <a:pt x="19930" y="1125"/>
                  </a:lnTo>
                  <a:lnTo>
                    <a:pt x="19902" y="1141"/>
                  </a:lnTo>
                  <a:lnTo>
                    <a:pt x="19854" y="1153"/>
                  </a:lnTo>
                  <a:lnTo>
                    <a:pt x="19859" y="1153"/>
                  </a:lnTo>
                  <a:lnTo>
                    <a:pt x="19847" y="1170"/>
                  </a:lnTo>
                  <a:lnTo>
                    <a:pt x="19800" y="1170"/>
                  </a:lnTo>
                  <a:lnTo>
                    <a:pt x="19831" y="1179"/>
                  </a:lnTo>
                  <a:lnTo>
                    <a:pt x="19821" y="1195"/>
                  </a:lnTo>
                  <a:lnTo>
                    <a:pt x="19767" y="1219"/>
                  </a:lnTo>
                  <a:lnTo>
                    <a:pt x="19708" y="1264"/>
                  </a:lnTo>
                  <a:lnTo>
                    <a:pt x="19628" y="1273"/>
                  </a:lnTo>
                  <a:lnTo>
                    <a:pt x="19628" y="1281"/>
                  </a:lnTo>
                  <a:lnTo>
                    <a:pt x="19604" y="1314"/>
                  </a:lnTo>
                  <a:lnTo>
                    <a:pt x="19552" y="1318"/>
                  </a:lnTo>
                  <a:lnTo>
                    <a:pt x="19535" y="1363"/>
                  </a:lnTo>
                  <a:lnTo>
                    <a:pt x="19498" y="1392"/>
                  </a:lnTo>
                  <a:lnTo>
                    <a:pt x="19566" y="1363"/>
                  </a:lnTo>
                  <a:lnTo>
                    <a:pt x="19561" y="1347"/>
                  </a:lnTo>
                  <a:lnTo>
                    <a:pt x="19573" y="1330"/>
                  </a:lnTo>
                  <a:lnTo>
                    <a:pt x="19604" y="1335"/>
                  </a:lnTo>
                  <a:lnTo>
                    <a:pt x="19713" y="1330"/>
                  </a:lnTo>
                  <a:lnTo>
                    <a:pt x="19708" y="1318"/>
                  </a:lnTo>
                  <a:lnTo>
                    <a:pt x="19779" y="1307"/>
                  </a:lnTo>
                  <a:lnTo>
                    <a:pt x="19779" y="1290"/>
                  </a:lnTo>
                  <a:lnTo>
                    <a:pt x="19793" y="1297"/>
                  </a:lnTo>
                  <a:lnTo>
                    <a:pt x="19779" y="1281"/>
                  </a:lnTo>
                  <a:lnTo>
                    <a:pt x="19817" y="1297"/>
                  </a:lnTo>
                  <a:lnTo>
                    <a:pt x="19892" y="1264"/>
                  </a:lnTo>
                  <a:lnTo>
                    <a:pt x="19892" y="1252"/>
                  </a:lnTo>
                  <a:lnTo>
                    <a:pt x="19876" y="1252"/>
                  </a:lnTo>
                  <a:lnTo>
                    <a:pt x="19817" y="1264"/>
                  </a:lnTo>
                  <a:lnTo>
                    <a:pt x="19800" y="1252"/>
                  </a:lnTo>
                  <a:lnTo>
                    <a:pt x="19821" y="1224"/>
                  </a:lnTo>
                  <a:lnTo>
                    <a:pt x="19847" y="1219"/>
                  </a:lnTo>
                  <a:lnTo>
                    <a:pt x="19902" y="1236"/>
                  </a:lnTo>
                  <a:lnTo>
                    <a:pt x="19906" y="1219"/>
                  </a:lnTo>
                  <a:lnTo>
                    <a:pt x="19939" y="1207"/>
                  </a:lnTo>
                  <a:lnTo>
                    <a:pt x="19913" y="1224"/>
                  </a:lnTo>
                  <a:lnTo>
                    <a:pt x="19930" y="1240"/>
                  </a:lnTo>
                  <a:lnTo>
                    <a:pt x="19982" y="1257"/>
                  </a:lnTo>
                  <a:lnTo>
                    <a:pt x="20031" y="1252"/>
                  </a:lnTo>
                  <a:lnTo>
                    <a:pt x="20036" y="1240"/>
                  </a:lnTo>
                  <a:lnTo>
                    <a:pt x="20031" y="1224"/>
                  </a:lnTo>
                  <a:lnTo>
                    <a:pt x="20069" y="1264"/>
                  </a:lnTo>
                  <a:lnTo>
                    <a:pt x="20053" y="1297"/>
                  </a:lnTo>
                  <a:lnTo>
                    <a:pt x="20074" y="1314"/>
                  </a:lnTo>
                  <a:lnTo>
                    <a:pt x="20074" y="1363"/>
                  </a:lnTo>
                  <a:lnTo>
                    <a:pt x="20048" y="1375"/>
                  </a:lnTo>
                  <a:lnTo>
                    <a:pt x="20053" y="1392"/>
                  </a:lnTo>
                  <a:lnTo>
                    <a:pt x="20119" y="1418"/>
                  </a:lnTo>
                  <a:lnTo>
                    <a:pt x="20069" y="1401"/>
                  </a:lnTo>
                  <a:lnTo>
                    <a:pt x="20053" y="1384"/>
                  </a:lnTo>
                  <a:lnTo>
                    <a:pt x="20074" y="1363"/>
                  </a:lnTo>
                  <a:lnTo>
                    <a:pt x="20074" y="1318"/>
                  </a:lnTo>
                  <a:lnTo>
                    <a:pt x="20119" y="1314"/>
                  </a:lnTo>
                  <a:lnTo>
                    <a:pt x="20091" y="1314"/>
                  </a:lnTo>
                  <a:lnTo>
                    <a:pt x="20074" y="1290"/>
                  </a:lnTo>
                  <a:lnTo>
                    <a:pt x="20216" y="1257"/>
                  </a:lnTo>
                  <a:lnTo>
                    <a:pt x="20443" y="1281"/>
                  </a:lnTo>
                  <a:lnTo>
                    <a:pt x="20464" y="1290"/>
                  </a:lnTo>
                  <a:lnTo>
                    <a:pt x="20426" y="1290"/>
                  </a:lnTo>
                  <a:lnTo>
                    <a:pt x="20414" y="1297"/>
                  </a:lnTo>
                  <a:lnTo>
                    <a:pt x="20414" y="1330"/>
                  </a:lnTo>
                  <a:lnTo>
                    <a:pt x="20502" y="1351"/>
                  </a:lnTo>
                  <a:lnTo>
                    <a:pt x="20518" y="1368"/>
                  </a:lnTo>
                  <a:lnTo>
                    <a:pt x="20572" y="1375"/>
                  </a:lnTo>
                  <a:lnTo>
                    <a:pt x="20518" y="1363"/>
                  </a:lnTo>
                  <a:lnTo>
                    <a:pt x="20662" y="1363"/>
                  </a:lnTo>
                  <a:lnTo>
                    <a:pt x="20766" y="1392"/>
                  </a:lnTo>
                  <a:lnTo>
                    <a:pt x="20792" y="1392"/>
                  </a:lnTo>
                  <a:lnTo>
                    <a:pt x="20863" y="1408"/>
                  </a:lnTo>
                  <a:lnTo>
                    <a:pt x="20965" y="1458"/>
                  </a:lnTo>
                  <a:lnTo>
                    <a:pt x="20981" y="1446"/>
                  </a:lnTo>
                  <a:lnTo>
                    <a:pt x="21035" y="1512"/>
                  </a:lnTo>
                  <a:lnTo>
                    <a:pt x="21026" y="1529"/>
                  </a:lnTo>
                  <a:lnTo>
                    <a:pt x="21040" y="1573"/>
                  </a:lnTo>
                  <a:lnTo>
                    <a:pt x="21040" y="1569"/>
                  </a:lnTo>
                  <a:lnTo>
                    <a:pt x="21035" y="1529"/>
                  </a:lnTo>
                  <a:lnTo>
                    <a:pt x="21047" y="1512"/>
                  </a:lnTo>
                  <a:lnTo>
                    <a:pt x="21019" y="1491"/>
                  </a:lnTo>
                  <a:lnTo>
                    <a:pt x="21019" y="1458"/>
                  </a:lnTo>
                  <a:lnTo>
                    <a:pt x="21002" y="1441"/>
                  </a:lnTo>
                  <a:lnTo>
                    <a:pt x="21073" y="1446"/>
                  </a:lnTo>
                  <a:lnTo>
                    <a:pt x="21111" y="1479"/>
                  </a:lnTo>
                  <a:lnTo>
                    <a:pt x="21144" y="1529"/>
                  </a:lnTo>
                  <a:lnTo>
                    <a:pt x="21170" y="1519"/>
                  </a:lnTo>
                  <a:lnTo>
                    <a:pt x="21165" y="1495"/>
                  </a:lnTo>
                  <a:lnTo>
                    <a:pt x="21203" y="1536"/>
                  </a:lnTo>
                  <a:lnTo>
                    <a:pt x="21154" y="1536"/>
                  </a:lnTo>
                  <a:lnTo>
                    <a:pt x="21149" y="1545"/>
                  </a:lnTo>
                  <a:lnTo>
                    <a:pt x="21149" y="1552"/>
                  </a:lnTo>
                  <a:lnTo>
                    <a:pt x="21170" y="1552"/>
                  </a:lnTo>
                  <a:lnTo>
                    <a:pt x="21187" y="1585"/>
                  </a:lnTo>
                  <a:lnTo>
                    <a:pt x="21208" y="1590"/>
                  </a:lnTo>
                  <a:lnTo>
                    <a:pt x="21208" y="1614"/>
                  </a:lnTo>
                  <a:lnTo>
                    <a:pt x="21236" y="1614"/>
                  </a:lnTo>
                  <a:lnTo>
                    <a:pt x="21253" y="1630"/>
                  </a:lnTo>
                  <a:lnTo>
                    <a:pt x="21241" y="1630"/>
                  </a:lnTo>
                  <a:lnTo>
                    <a:pt x="21274" y="1647"/>
                  </a:lnTo>
                  <a:lnTo>
                    <a:pt x="21291" y="1630"/>
                  </a:lnTo>
                  <a:lnTo>
                    <a:pt x="21295" y="1663"/>
                  </a:lnTo>
                  <a:lnTo>
                    <a:pt x="21312" y="1663"/>
                  </a:lnTo>
                  <a:lnTo>
                    <a:pt x="21342" y="1647"/>
                  </a:lnTo>
                  <a:lnTo>
                    <a:pt x="21366" y="1602"/>
                  </a:lnTo>
                  <a:lnTo>
                    <a:pt x="21387" y="1602"/>
                  </a:lnTo>
                  <a:lnTo>
                    <a:pt x="21371" y="1590"/>
                  </a:lnTo>
                  <a:lnTo>
                    <a:pt x="21387" y="1536"/>
                  </a:lnTo>
                  <a:lnTo>
                    <a:pt x="21425" y="1503"/>
                  </a:lnTo>
                  <a:lnTo>
                    <a:pt x="21425" y="1529"/>
                  </a:lnTo>
                  <a:lnTo>
                    <a:pt x="21489" y="1569"/>
                  </a:lnTo>
                  <a:lnTo>
                    <a:pt x="21543" y="1585"/>
                  </a:lnTo>
                  <a:lnTo>
                    <a:pt x="21640" y="1545"/>
                  </a:lnTo>
                  <a:lnTo>
                    <a:pt x="21758" y="1585"/>
                  </a:lnTo>
                  <a:lnTo>
                    <a:pt x="21749" y="1590"/>
                  </a:lnTo>
                  <a:lnTo>
                    <a:pt x="21765" y="1590"/>
                  </a:lnTo>
                  <a:lnTo>
                    <a:pt x="21782" y="1614"/>
                  </a:lnTo>
                  <a:lnTo>
                    <a:pt x="21796" y="1607"/>
                  </a:lnTo>
                  <a:lnTo>
                    <a:pt x="21775" y="1602"/>
                  </a:lnTo>
                  <a:lnTo>
                    <a:pt x="21813" y="1590"/>
                  </a:lnTo>
                  <a:lnTo>
                    <a:pt x="21791" y="1590"/>
                  </a:lnTo>
                  <a:lnTo>
                    <a:pt x="21813" y="1585"/>
                  </a:lnTo>
                  <a:lnTo>
                    <a:pt x="21782" y="1573"/>
                  </a:lnTo>
                  <a:lnTo>
                    <a:pt x="21796" y="1552"/>
                  </a:lnTo>
                  <a:lnTo>
                    <a:pt x="21829" y="1545"/>
                  </a:lnTo>
                  <a:lnTo>
                    <a:pt x="21820" y="1552"/>
                  </a:lnTo>
                  <a:lnTo>
                    <a:pt x="21829" y="1557"/>
                  </a:lnTo>
                  <a:lnTo>
                    <a:pt x="21846" y="1545"/>
                  </a:lnTo>
                  <a:lnTo>
                    <a:pt x="21867" y="1552"/>
                  </a:lnTo>
                  <a:lnTo>
                    <a:pt x="21872" y="1573"/>
                  </a:lnTo>
                  <a:lnTo>
                    <a:pt x="21883" y="1573"/>
                  </a:lnTo>
                  <a:lnTo>
                    <a:pt x="21900" y="1557"/>
                  </a:lnTo>
                  <a:lnTo>
                    <a:pt x="21926" y="1569"/>
                  </a:lnTo>
                  <a:lnTo>
                    <a:pt x="21909" y="1536"/>
                  </a:lnTo>
                  <a:lnTo>
                    <a:pt x="21909" y="1512"/>
                  </a:lnTo>
                  <a:lnTo>
                    <a:pt x="21888" y="1503"/>
                  </a:lnTo>
                  <a:lnTo>
                    <a:pt x="21905" y="1503"/>
                  </a:lnTo>
                  <a:lnTo>
                    <a:pt x="21926" y="1474"/>
                  </a:lnTo>
                  <a:lnTo>
                    <a:pt x="21938" y="1479"/>
                  </a:lnTo>
                  <a:lnTo>
                    <a:pt x="21954" y="1462"/>
                  </a:lnTo>
                  <a:lnTo>
                    <a:pt x="21905" y="1462"/>
                  </a:lnTo>
                  <a:lnTo>
                    <a:pt x="21888" y="1479"/>
                  </a:lnTo>
                  <a:lnTo>
                    <a:pt x="21867" y="1462"/>
                  </a:lnTo>
                  <a:lnTo>
                    <a:pt x="21905" y="1425"/>
                  </a:lnTo>
                  <a:lnTo>
                    <a:pt x="21976" y="1425"/>
                  </a:lnTo>
                  <a:lnTo>
                    <a:pt x="22009" y="1418"/>
                  </a:lnTo>
                  <a:lnTo>
                    <a:pt x="22009" y="1401"/>
                  </a:lnTo>
                  <a:lnTo>
                    <a:pt x="21976" y="1375"/>
                  </a:lnTo>
                  <a:lnTo>
                    <a:pt x="21992" y="1375"/>
                  </a:lnTo>
                  <a:lnTo>
                    <a:pt x="22072" y="1392"/>
                  </a:lnTo>
                  <a:lnTo>
                    <a:pt x="22316" y="1425"/>
                  </a:lnTo>
                  <a:lnTo>
                    <a:pt x="22413" y="1446"/>
                  </a:lnTo>
                  <a:lnTo>
                    <a:pt x="22316" y="1446"/>
                  </a:lnTo>
                  <a:lnTo>
                    <a:pt x="22283" y="1429"/>
                  </a:lnTo>
                  <a:lnTo>
                    <a:pt x="22266" y="1441"/>
                  </a:lnTo>
                  <a:lnTo>
                    <a:pt x="22250" y="1462"/>
                  </a:lnTo>
                  <a:lnTo>
                    <a:pt x="22224" y="1458"/>
                  </a:lnTo>
                  <a:lnTo>
                    <a:pt x="22245" y="1474"/>
                  </a:lnTo>
                  <a:lnTo>
                    <a:pt x="22424" y="1458"/>
                  </a:lnTo>
                  <a:lnTo>
                    <a:pt x="22354" y="1512"/>
                  </a:lnTo>
                  <a:lnTo>
                    <a:pt x="22354" y="1491"/>
                  </a:lnTo>
                  <a:lnTo>
                    <a:pt x="22375" y="1479"/>
                  </a:lnTo>
                  <a:lnTo>
                    <a:pt x="22358" y="1474"/>
                  </a:lnTo>
                  <a:lnTo>
                    <a:pt x="22354" y="1491"/>
                  </a:lnTo>
                  <a:lnTo>
                    <a:pt x="22342" y="1462"/>
                  </a:lnTo>
                  <a:lnTo>
                    <a:pt x="22332" y="1462"/>
                  </a:lnTo>
                  <a:lnTo>
                    <a:pt x="22337" y="1462"/>
                  </a:lnTo>
                  <a:lnTo>
                    <a:pt x="22332" y="1491"/>
                  </a:lnTo>
                  <a:lnTo>
                    <a:pt x="22337" y="1491"/>
                  </a:lnTo>
                  <a:lnTo>
                    <a:pt x="22342" y="1503"/>
                  </a:lnTo>
                  <a:lnTo>
                    <a:pt x="22304" y="1512"/>
                  </a:lnTo>
                  <a:lnTo>
                    <a:pt x="22283" y="1503"/>
                  </a:lnTo>
                  <a:lnTo>
                    <a:pt x="22299" y="1519"/>
                  </a:lnTo>
                  <a:lnTo>
                    <a:pt x="22278" y="1529"/>
                  </a:lnTo>
                  <a:lnTo>
                    <a:pt x="22278" y="1536"/>
                  </a:lnTo>
                  <a:lnTo>
                    <a:pt x="22304" y="1545"/>
                  </a:lnTo>
                  <a:lnTo>
                    <a:pt x="22358" y="1519"/>
                  </a:lnTo>
                  <a:lnTo>
                    <a:pt x="22439" y="1446"/>
                  </a:lnTo>
                  <a:lnTo>
                    <a:pt x="22576" y="1462"/>
                  </a:lnTo>
                  <a:lnTo>
                    <a:pt x="22613" y="1479"/>
                  </a:lnTo>
                  <a:lnTo>
                    <a:pt x="22639" y="1512"/>
                  </a:lnTo>
                  <a:lnTo>
                    <a:pt x="22613" y="1529"/>
                  </a:lnTo>
                  <a:lnTo>
                    <a:pt x="22590" y="1503"/>
                  </a:lnTo>
                  <a:lnTo>
                    <a:pt x="22576" y="1529"/>
                  </a:lnTo>
                  <a:lnTo>
                    <a:pt x="22552" y="1519"/>
                  </a:lnTo>
                  <a:lnTo>
                    <a:pt x="22568" y="1529"/>
                  </a:lnTo>
                  <a:lnTo>
                    <a:pt x="22552" y="1536"/>
                  </a:lnTo>
                  <a:lnTo>
                    <a:pt x="22644" y="1552"/>
                  </a:lnTo>
                  <a:lnTo>
                    <a:pt x="22628" y="1552"/>
                  </a:lnTo>
                  <a:lnTo>
                    <a:pt x="22623" y="1569"/>
                  </a:lnTo>
                  <a:lnTo>
                    <a:pt x="22682" y="1557"/>
                  </a:lnTo>
                  <a:lnTo>
                    <a:pt x="22665" y="1585"/>
                  </a:lnTo>
                  <a:lnTo>
                    <a:pt x="22639" y="1602"/>
                  </a:lnTo>
                  <a:lnTo>
                    <a:pt x="22682" y="1573"/>
                  </a:lnTo>
                  <a:lnTo>
                    <a:pt x="22677" y="1590"/>
                  </a:lnTo>
                  <a:lnTo>
                    <a:pt x="22710" y="1573"/>
                  </a:lnTo>
                  <a:lnTo>
                    <a:pt x="22736" y="1585"/>
                  </a:lnTo>
                  <a:lnTo>
                    <a:pt x="22786" y="1630"/>
                  </a:lnTo>
                  <a:lnTo>
                    <a:pt x="22753" y="1630"/>
                  </a:lnTo>
                  <a:lnTo>
                    <a:pt x="22816" y="1647"/>
                  </a:lnTo>
                  <a:lnTo>
                    <a:pt x="22892" y="1647"/>
                  </a:lnTo>
                  <a:lnTo>
                    <a:pt x="23055" y="1614"/>
                  </a:lnTo>
                  <a:lnTo>
                    <a:pt x="23194" y="1623"/>
                  </a:lnTo>
                  <a:lnTo>
                    <a:pt x="23270" y="1647"/>
                  </a:lnTo>
                  <a:lnTo>
                    <a:pt x="23320" y="1668"/>
                  </a:lnTo>
                  <a:lnTo>
                    <a:pt x="23341" y="1701"/>
                  </a:lnTo>
                  <a:lnTo>
                    <a:pt x="23341" y="1722"/>
                  </a:lnTo>
                  <a:lnTo>
                    <a:pt x="23331" y="1739"/>
                  </a:lnTo>
                  <a:lnTo>
                    <a:pt x="23324" y="1739"/>
                  </a:lnTo>
                  <a:lnTo>
                    <a:pt x="23324" y="1751"/>
                  </a:lnTo>
                  <a:lnTo>
                    <a:pt x="23320" y="1774"/>
                  </a:lnTo>
                  <a:lnTo>
                    <a:pt x="23320" y="1779"/>
                  </a:lnTo>
                  <a:lnTo>
                    <a:pt x="23412" y="1812"/>
                  </a:lnTo>
                  <a:lnTo>
                    <a:pt x="23400" y="1829"/>
                  </a:lnTo>
                  <a:lnTo>
                    <a:pt x="23412" y="1862"/>
                  </a:lnTo>
                  <a:lnTo>
                    <a:pt x="23400" y="1878"/>
                  </a:lnTo>
                  <a:lnTo>
                    <a:pt x="23433" y="1885"/>
                  </a:lnTo>
                  <a:lnTo>
                    <a:pt x="23412" y="1940"/>
                  </a:lnTo>
                  <a:lnTo>
                    <a:pt x="23383" y="1940"/>
                  </a:lnTo>
                  <a:lnTo>
                    <a:pt x="23395" y="1944"/>
                  </a:lnTo>
                  <a:lnTo>
                    <a:pt x="23416" y="1940"/>
                  </a:lnTo>
                  <a:lnTo>
                    <a:pt x="23433" y="1906"/>
                  </a:lnTo>
                  <a:lnTo>
                    <a:pt x="23450" y="1890"/>
                  </a:lnTo>
                  <a:lnTo>
                    <a:pt x="23438" y="1862"/>
                  </a:lnTo>
                  <a:lnTo>
                    <a:pt x="23438" y="1833"/>
                  </a:lnTo>
                  <a:lnTo>
                    <a:pt x="23504" y="1807"/>
                  </a:lnTo>
                  <a:lnTo>
                    <a:pt x="23589" y="1795"/>
                  </a:lnTo>
                  <a:lnTo>
                    <a:pt x="23617" y="1791"/>
                  </a:lnTo>
                  <a:lnTo>
                    <a:pt x="23655" y="1807"/>
                  </a:lnTo>
                  <a:lnTo>
                    <a:pt x="23816" y="1824"/>
                  </a:lnTo>
                  <a:lnTo>
                    <a:pt x="23882" y="1791"/>
                  </a:lnTo>
                  <a:lnTo>
                    <a:pt x="23920" y="1812"/>
                  </a:lnTo>
                  <a:lnTo>
                    <a:pt x="23913" y="1833"/>
                  </a:lnTo>
                  <a:lnTo>
                    <a:pt x="23920" y="1850"/>
                  </a:lnTo>
                  <a:lnTo>
                    <a:pt x="23995" y="1878"/>
                  </a:lnTo>
                  <a:lnTo>
                    <a:pt x="24005" y="1906"/>
                  </a:lnTo>
                  <a:lnTo>
                    <a:pt x="24012" y="1918"/>
                  </a:lnTo>
                  <a:lnTo>
                    <a:pt x="24064" y="1906"/>
                  </a:lnTo>
                  <a:lnTo>
                    <a:pt x="24080" y="1918"/>
                  </a:lnTo>
                  <a:lnTo>
                    <a:pt x="24064" y="1906"/>
                  </a:lnTo>
                  <a:lnTo>
                    <a:pt x="24080" y="1902"/>
                  </a:lnTo>
                  <a:lnTo>
                    <a:pt x="24087" y="1906"/>
                  </a:lnTo>
                  <a:lnTo>
                    <a:pt x="24087" y="1890"/>
                  </a:lnTo>
                  <a:lnTo>
                    <a:pt x="24113" y="1878"/>
                  </a:lnTo>
                  <a:lnTo>
                    <a:pt x="24102" y="1845"/>
                  </a:lnTo>
                  <a:lnTo>
                    <a:pt x="24080" y="1812"/>
                  </a:lnTo>
                  <a:lnTo>
                    <a:pt x="24050" y="1807"/>
                  </a:lnTo>
                  <a:lnTo>
                    <a:pt x="24059" y="1791"/>
                  </a:lnTo>
                  <a:lnTo>
                    <a:pt x="24080" y="1791"/>
                  </a:lnTo>
                  <a:lnTo>
                    <a:pt x="24080" y="1751"/>
                  </a:lnTo>
                  <a:lnTo>
                    <a:pt x="24064" y="1739"/>
                  </a:lnTo>
                  <a:lnTo>
                    <a:pt x="24076" y="1739"/>
                  </a:lnTo>
                  <a:lnTo>
                    <a:pt x="24227" y="1767"/>
                  </a:lnTo>
                  <a:lnTo>
                    <a:pt x="24260" y="1774"/>
                  </a:lnTo>
                  <a:lnTo>
                    <a:pt x="24264" y="1791"/>
                  </a:lnTo>
                  <a:lnTo>
                    <a:pt x="24281" y="1779"/>
                  </a:lnTo>
                  <a:lnTo>
                    <a:pt x="24260" y="1767"/>
                  </a:lnTo>
                  <a:lnTo>
                    <a:pt x="24281" y="1767"/>
                  </a:lnTo>
                  <a:lnTo>
                    <a:pt x="24314" y="1779"/>
                  </a:lnTo>
                  <a:lnTo>
                    <a:pt x="24465" y="1774"/>
                  </a:lnTo>
                  <a:lnTo>
                    <a:pt x="24513" y="1795"/>
                  </a:lnTo>
                  <a:lnTo>
                    <a:pt x="24654" y="1833"/>
                  </a:lnTo>
                  <a:lnTo>
                    <a:pt x="24676" y="1845"/>
                  </a:lnTo>
                  <a:lnTo>
                    <a:pt x="24654" y="1833"/>
                  </a:lnTo>
                  <a:lnTo>
                    <a:pt x="24642" y="1845"/>
                  </a:lnTo>
                  <a:lnTo>
                    <a:pt x="24692" y="1850"/>
                  </a:lnTo>
                  <a:lnTo>
                    <a:pt x="24735" y="1885"/>
                  </a:lnTo>
                  <a:lnTo>
                    <a:pt x="24706" y="1866"/>
                  </a:lnTo>
                  <a:lnTo>
                    <a:pt x="24723" y="1885"/>
                  </a:lnTo>
                  <a:lnTo>
                    <a:pt x="24735" y="1885"/>
                  </a:lnTo>
                  <a:lnTo>
                    <a:pt x="24735" y="1944"/>
                  </a:lnTo>
                  <a:lnTo>
                    <a:pt x="24735" y="2013"/>
                  </a:lnTo>
                  <a:lnTo>
                    <a:pt x="24735" y="2067"/>
                  </a:lnTo>
                  <a:lnTo>
                    <a:pt x="24735" y="2129"/>
                  </a:lnTo>
                  <a:lnTo>
                    <a:pt x="24735" y="2183"/>
                  </a:lnTo>
                  <a:lnTo>
                    <a:pt x="24735" y="2249"/>
                  </a:lnTo>
                  <a:lnTo>
                    <a:pt x="24735" y="2306"/>
                  </a:lnTo>
                  <a:lnTo>
                    <a:pt x="24735" y="2360"/>
                  </a:lnTo>
                  <a:lnTo>
                    <a:pt x="24735" y="2360"/>
                  </a:lnTo>
                  <a:lnTo>
                    <a:pt x="24735" y="2360"/>
                  </a:lnTo>
                  <a:close/>
                  <a:moveTo>
                    <a:pt x="24735" y="1557"/>
                  </a:moveTo>
                  <a:lnTo>
                    <a:pt x="24739" y="1552"/>
                  </a:lnTo>
                  <a:lnTo>
                    <a:pt x="24836" y="1552"/>
                  </a:lnTo>
                  <a:lnTo>
                    <a:pt x="24912" y="1602"/>
                  </a:lnTo>
                  <a:lnTo>
                    <a:pt x="24874" y="1623"/>
                  </a:lnTo>
                  <a:lnTo>
                    <a:pt x="24782" y="1640"/>
                  </a:lnTo>
                  <a:lnTo>
                    <a:pt x="24735" y="1630"/>
                  </a:lnTo>
                  <a:lnTo>
                    <a:pt x="24735" y="1590"/>
                  </a:lnTo>
                  <a:lnTo>
                    <a:pt x="24735" y="1557"/>
                  </a:lnTo>
                  <a:lnTo>
                    <a:pt x="24735" y="1557"/>
                  </a:lnTo>
                  <a:lnTo>
                    <a:pt x="24735" y="1557"/>
                  </a:lnTo>
                  <a:close/>
                  <a:moveTo>
                    <a:pt x="24735" y="1630"/>
                  </a:moveTo>
                  <a:lnTo>
                    <a:pt x="24654" y="1656"/>
                  </a:lnTo>
                  <a:lnTo>
                    <a:pt x="24642" y="1623"/>
                  </a:lnTo>
                  <a:lnTo>
                    <a:pt x="24659" y="1602"/>
                  </a:lnTo>
                  <a:lnTo>
                    <a:pt x="24735" y="1557"/>
                  </a:lnTo>
                  <a:lnTo>
                    <a:pt x="24735" y="1590"/>
                  </a:lnTo>
                  <a:lnTo>
                    <a:pt x="24735" y="1630"/>
                  </a:lnTo>
                  <a:lnTo>
                    <a:pt x="24735" y="1630"/>
                  </a:lnTo>
                  <a:lnTo>
                    <a:pt x="24735" y="1630"/>
                  </a:lnTo>
                  <a:close/>
                  <a:moveTo>
                    <a:pt x="24735" y="1885"/>
                  </a:moveTo>
                  <a:lnTo>
                    <a:pt x="24756" y="1902"/>
                  </a:lnTo>
                  <a:lnTo>
                    <a:pt x="24768" y="1890"/>
                  </a:lnTo>
                  <a:lnTo>
                    <a:pt x="24772" y="1906"/>
                  </a:lnTo>
                  <a:lnTo>
                    <a:pt x="24805" y="1918"/>
                  </a:lnTo>
                  <a:lnTo>
                    <a:pt x="24836" y="1940"/>
                  </a:lnTo>
                  <a:lnTo>
                    <a:pt x="24820" y="1935"/>
                  </a:lnTo>
                  <a:lnTo>
                    <a:pt x="24820" y="1940"/>
                  </a:lnTo>
                  <a:lnTo>
                    <a:pt x="24864" y="1956"/>
                  </a:lnTo>
                  <a:lnTo>
                    <a:pt x="24874" y="1973"/>
                  </a:lnTo>
                  <a:lnTo>
                    <a:pt x="24890" y="1973"/>
                  </a:lnTo>
                  <a:lnTo>
                    <a:pt x="24843" y="1940"/>
                  </a:lnTo>
                  <a:lnTo>
                    <a:pt x="24895" y="1973"/>
                  </a:lnTo>
                  <a:lnTo>
                    <a:pt x="24890" y="1977"/>
                  </a:lnTo>
                  <a:lnTo>
                    <a:pt x="24895" y="1977"/>
                  </a:lnTo>
                  <a:lnTo>
                    <a:pt x="24919" y="1977"/>
                  </a:lnTo>
                  <a:lnTo>
                    <a:pt x="24928" y="1994"/>
                  </a:lnTo>
                  <a:lnTo>
                    <a:pt x="25053" y="2046"/>
                  </a:lnTo>
                  <a:lnTo>
                    <a:pt x="25063" y="2072"/>
                  </a:lnTo>
                  <a:lnTo>
                    <a:pt x="25058" y="2088"/>
                  </a:lnTo>
                  <a:lnTo>
                    <a:pt x="25075" y="2088"/>
                  </a:lnTo>
                  <a:lnTo>
                    <a:pt x="25079" y="2084"/>
                  </a:lnTo>
                  <a:lnTo>
                    <a:pt x="25096" y="2084"/>
                  </a:lnTo>
                  <a:lnTo>
                    <a:pt x="25096" y="2100"/>
                  </a:lnTo>
                  <a:lnTo>
                    <a:pt x="25091" y="2100"/>
                  </a:lnTo>
                  <a:lnTo>
                    <a:pt x="25079" y="2121"/>
                  </a:lnTo>
                  <a:lnTo>
                    <a:pt x="25096" y="2162"/>
                  </a:lnTo>
                  <a:lnTo>
                    <a:pt x="25079" y="2166"/>
                  </a:lnTo>
                  <a:lnTo>
                    <a:pt x="25117" y="2183"/>
                  </a:lnTo>
                  <a:lnTo>
                    <a:pt x="25117" y="2216"/>
                  </a:lnTo>
                  <a:lnTo>
                    <a:pt x="25150" y="2195"/>
                  </a:lnTo>
                  <a:lnTo>
                    <a:pt x="25146" y="2223"/>
                  </a:lnTo>
                  <a:lnTo>
                    <a:pt x="25150" y="2223"/>
                  </a:lnTo>
                  <a:lnTo>
                    <a:pt x="25167" y="2199"/>
                  </a:lnTo>
                  <a:lnTo>
                    <a:pt x="25129" y="2183"/>
                  </a:lnTo>
                  <a:lnTo>
                    <a:pt x="25150" y="2166"/>
                  </a:lnTo>
                  <a:lnTo>
                    <a:pt x="25146" y="2138"/>
                  </a:lnTo>
                  <a:lnTo>
                    <a:pt x="25108" y="2121"/>
                  </a:lnTo>
                  <a:lnTo>
                    <a:pt x="25172" y="2112"/>
                  </a:lnTo>
                  <a:lnTo>
                    <a:pt x="25214" y="2121"/>
                  </a:lnTo>
                  <a:lnTo>
                    <a:pt x="25198" y="2138"/>
                  </a:lnTo>
                  <a:lnTo>
                    <a:pt x="25198" y="2157"/>
                  </a:lnTo>
                  <a:lnTo>
                    <a:pt x="25214" y="2157"/>
                  </a:lnTo>
                  <a:lnTo>
                    <a:pt x="25205" y="2138"/>
                  </a:lnTo>
                  <a:lnTo>
                    <a:pt x="25214" y="2129"/>
                  </a:lnTo>
                  <a:lnTo>
                    <a:pt x="25235" y="2145"/>
                  </a:lnTo>
                  <a:lnTo>
                    <a:pt x="25259" y="2138"/>
                  </a:lnTo>
                  <a:lnTo>
                    <a:pt x="25221" y="2121"/>
                  </a:lnTo>
                  <a:lnTo>
                    <a:pt x="25311" y="2138"/>
                  </a:lnTo>
                  <a:lnTo>
                    <a:pt x="25311" y="2157"/>
                  </a:lnTo>
                  <a:lnTo>
                    <a:pt x="25335" y="2162"/>
                  </a:lnTo>
                  <a:lnTo>
                    <a:pt x="25335" y="2178"/>
                  </a:lnTo>
                  <a:lnTo>
                    <a:pt x="25398" y="2216"/>
                  </a:lnTo>
                  <a:lnTo>
                    <a:pt x="25387" y="2223"/>
                  </a:lnTo>
                  <a:lnTo>
                    <a:pt x="25403" y="2216"/>
                  </a:lnTo>
                  <a:lnTo>
                    <a:pt x="25420" y="2223"/>
                  </a:lnTo>
                  <a:lnTo>
                    <a:pt x="25415" y="2232"/>
                  </a:lnTo>
                  <a:lnTo>
                    <a:pt x="25441" y="2232"/>
                  </a:lnTo>
                  <a:lnTo>
                    <a:pt x="25453" y="2249"/>
                  </a:lnTo>
                  <a:lnTo>
                    <a:pt x="25453" y="2256"/>
                  </a:lnTo>
                  <a:lnTo>
                    <a:pt x="25420" y="2249"/>
                  </a:lnTo>
                  <a:lnTo>
                    <a:pt x="25387" y="2273"/>
                  </a:lnTo>
                  <a:lnTo>
                    <a:pt x="25398" y="2273"/>
                  </a:lnTo>
                  <a:lnTo>
                    <a:pt x="25398" y="2289"/>
                  </a:lnTo>
                  <a:lnTo>
                    <a:pt x="25387" y="2294"/>
                  </a:lnTo>
                  <a:lnTo>
                    <a:pt x="25323" y="2273"/>
                  </a:lnTo>
                  <a:lnTo>
                    <a:pt x="25361" y="2306"/>
                  </a:lnTo>
                  <a:lnTo>
                    <a:pt x="25349" y="2310"/>
                  </a:lnTo>
                  <a:lnTo>
                    <a:pt x="25335" y="2306"/>
                  </a:lnTo>
                  <a:lnTo>
                    <a:pt x="25290" y="2310"/>
                  </a:lnTo>
                  <a:lnTo>
                    <a:pt x="25306" y="2310"/>
                  </a:lnTo>
                  <a:lnTo>
                    <a:pt x="25273" y="2306"/>
                  </a:lnTo>
                  <a:lnTo>
                    <a:pt x="25268" y="2294"/>
                  </a:lnTo>
                  <a:lnTo>
                    <a:pt x="25235" y="2289"/>
                  </a:lnTo>
                  <a:lnTo>
                    <a:pt x="25259" y="2306"/>
                  </a:lnTo>
                  <a:lnTo>
                    <a:pt x="25268" y="2322"/>
                  </a:lnTo>
                  <a:lnTo>
                    <a:pt x="25280" y="2322"/>
                  </a:lnTo>
                  <a:lnTo>
                    <a:pt x="25273" y="2343"/>
                  </a:lnTo>
                  <a:lnTo>
                    <a:pt x="25242" y="2343"/>
                  </a:lnTo>
                  <a:lnTo>
                    <a:pt x="25273" y="2343"/>
                  </a:lnTo>
                  <a:lnTo>
                    <a:pt x="25280" y="2360"/>
                  </a:lnTo>
                  <a:lnTo>
                    <a:pt x="25259" y="2384"/>
                  </a:lnTo>
                  <a:lnTo>
                    <a:pt x="25205" y="2400"/>
                  </a:lnTo>
                  <a:lnTo>
                    <a:pt x="25226" y="2388"/>
                  </a:lnTo>
                  <a:lnTo>
                    <a:pt x="25235" y="2400"/>
                  </a:lnTo>
                  <a:lnTo>
                    <a:pt x="25214" y="2405"/>
                  </a:lnTo>
                  <a:lnTo>
                    <a:pt x="25259" y="2421"/>
                  </a:lnTo>
                  <a:lnTo>
                    <a:pt x="25268" y="2433"/>
                  </a:lnTo>
                  <a:lnTo>
                    <a:pt x="25252" y="2438"/>
                  </a:lnTo>
                  <a:lnTo>
                    <a:pt x="25235" y="2421"/>
                  </a:lnTo>
                  <a:lnTo>
                    <a:pt x="25221" y="2433"/>
                  </a:lnTo>
                  <a:lnTo>
                    <a:pt x="25226" y="2438"/>
                  </a:lnTo>
                  <a:lnTo>
                    <a:pt x="25226" y="2445"/>
                  </a:lnTo>
                  <a:lnTo>
                    <a:pt x="25205" y="2455"/>
                  </a:lnTo>
                  <a:lnTo>
                    <a:pt x="25188" y="2445"/>
                  </a:lnTo>
                  <a:lnTo>
                    <a:pt x="25205" y="2433"/>
                  </a:lnTo>
                  <a:lnTo>
                    <a:pt x="25188" y="2417"/>
                  </a:lnTo>
                  <a:lnTo>
                    <a:pt x="25198" y="2433"/>
                  </a:lnTo>
                  <a:lnTo>
                    <a:pt x="25172" y="2445"/>
                  </a:lnTo>
                  <a:lnTo>
                    <a:pt x="25150" y="2438"/>
                  </a:lnTo>
                  <a:lnTo>
                    <a:pt x="25146" y="2421"/>
                  </a:lnTo>
                  <a:lnTo>
                    <a:pt x="25091" y="2400"/>
                  </a:lnTo>
                  <a:lnTo>
                    <a:pt x="25053" y="2400"/>
                  </a:lnTo>
                  <a:lnTo>
                    <a:pt x="25053" y="2388"/>
                  </a:lnTo>
                  <a:lnTo>
                    <a:pt x="25020" y="2367"/>
                  </a:lnTo>
                  <a:lnTo>
                    <a:pt x="25025" y="2351"/>
                  </a:lnTo>
                  <a:lnTo>
                    <a:pt x="25020" y="2327"/>
                  </a:lnTo>
                  <a:lnTo>
                    <a:pt x="25004" y="2310"/>
                  </a:lnTo>
                  <a:lnTo>
                    <a:pt x="24933" y="2294"/>
                  </a:lnTo>
                  <a:lnTo>
                    <a:pt x="24902" y="2310"/>
                  </a:lnTo>
                  <a:lnTo>
                    <a:pt x="24836" y="2310"/>
                  </a:lnTo>
                  <a:lnTo>
                    <a:pt x="24843" y="2289"/>
                  </a:lnTo>
                  <a:lnTo>
                    <a:pt x="24827" y="2277"/>
                  </a:lnTo>
                  <a:lnTo>
                    <a:pt x="24810" y="2256"/>
                  </a:lnTo>
                  <a:lnTo>
                    <a:pt x="24820" y="2249"/>
                  </a:lnTo>
                  <a:lnTo>
                    <a:pt x="24836" y="2232"/>
                  </a:lnTo>
                  <a:lnTo>
                    <a:pt x="24836" y="2199"/>
                  </a:lnTo>
                  <a:lnTo>
                    <a:pt x="24810" y="2232"/>
                  </a:lnTo>
                  <a:lnTo>
                    <a:pt x="24794" y="2232"/>
                  </a:lnTo>
                  <a:lnTo>
                    <a:pt x="24789" y="2199"/>
                  </a:lnTo>
                  <a:lnTo>
                    <a:pt x="24789" y="2216"/>
                  </a:lnTo>
                  <a:lnTo>
                    <a:pt x="24772" y="2211"/>
                  </a:lnTo>
                  <a:lnTo>
                    <a:pt x="24789" y="2232"/>
                  </a:lnTo>
                  <a:lnTo>
                    <a:pt x="24782" y="2232"/>
                  </a:lnTo>
                  <a:lnTo>
                    <a:pt x="24756" y="2240"/>
                  </a:lnTo>
                  <a:lnTo>
                    <a:pt x="24751" y="2232"/>
                  </a:lnTo>
                  <a:lnTo>
                    <a:pt x="24756" y="2232"/>
                  </a:lnTo>
                  <a:lnTo>
                    <a:pt x="24751" y="2232"/>
                  </a:lnTo>
                  <a:lnTo>
                    <a:pt x="24739" y="2266"/>
                  </a:lnTo>
                  <a:lnTo>
                    <a:pt x="24782" y="2294"/>
                  </a:lnTo>
                  <a:lnTo>
                    <a:pt x="24782" y="2306"/>
                  </a:lnTo>
                  <a:lnTo>
                    <a:pt x="24768" y="2322"/>
                  </a:lnTo>
                  <a:lnTo>
                    <a:pt x="24768" y="2343"/>
                  </a:lnTo>
                  <a:lnTo>
                    <a:pt x="24751" y="2351"/>
                  </a:lnTo>
                  <a:lnTo>
                    <a:pt x="24735" y="2360"/>
                  </a:lnTo>
                  <a:lnTo>
                    <a:pt x="24735" y="2306"/>
                  </a:lnTo>
                  <a:lnTo>
                    <a:pt x="24735" y="2249"/>
                  </a:lnTo>
                  <a:lnTo>
                    <a:pt x="24735" y="2183"/>
                  </a:lnTo>
                  <a:lnTo>
                    <a:pt x="24735" y="2129"/>
                  </a:lnTo>
                  <a:lnTo>
                    <a:pt x="24735" y="2067"/>
                  </a:lnTo>
                  <a:lnTo>
                    <a:pt x="24735" y="2013"/>
                  </a:lnTo>
                  <a:lnTo>
                    <a:pt x="24735" y="1944"/>
                  </a:lnTo>
                  <a:lnTo>
                    <a:pt x="24735" y="1885"/>
                  </a:lnTo>
                  <a:lnTo>
                    <a:pt x="24735" y="1885"/>
                  </a:lnTo>
                  <a:lnTo>
                    <a:pt x="24735" y="1885"/>
                  </a:lnTo>
                  <a:close/>
                  <a:moveTo>
                    <a:pt x="16188" y="22"/>
                  </a:moveTo>
                  <a:lnTo>
                    <a:pt x="16172" y="22"/>
                  </a:lnTo>
                  <a:lnTo>
                    <a:pt x="16188" y="5"/>
                  </a:lnTo>
                  <a:lnTo>
                    <a:pt x="16278" y="0"/>
                  </a:lnTo>
                  <a:lnTo>
                    <a:pt x="16264" y="17"/>
                  </a:lnTo>
                  <a:lnTo>
                    <a:pt x="16188" y="22"/>
                  </a:lnTo>
                  <a:lnTo>
                    <a:pt x="16188" y="22"/>
                  </a:lnTo>
                  <a:lnTo>
                    <a:pt x="16188" y="22"/>
                  </a:lnTo>
                  <a:close/>
                  <a:moveTo>
                    <a:pt x="16474" y="22"/>
                  </a:moveTo>
                  <a:lnTo>
                    <a:pt x="16550" y="22"/>
                  </a:lnTo>
                  <a:lnTo>
                    <a:pt x="16592" y="33"/>
                  </a:lnTo>
                  <a:lnTo>
                    <a:pt x="16566" y="43"/>
                  </a:lnTo>
                  <a:lnTo>
                    <a:pt x="16474" y="33"/>
                  </a:lnTo>
                  <a:lnTo>
                    <a:pt x="16474" y="22"/>
                  </a:lnTo>
                  <a:lnTo>
                    <a:pt x="16474" y="22"/>
                  </a:lnTo>
                  <a:lnTo>
                    <a:pt x="16474" y="22"/>
                  </a:lnTo>
                  <a:close/>
                  <a:moveTo>
                    <a:pt x="16202" y="38"/>
                  </a:moveTo>
                  <a:lnTo>
                    <a:pt x="16235" y="38"/>
                  </a:lnTo>
                  <a:lnTo>
                    <a:pt x="16198" y="43"/>
                  </a:lnTo>
                  <a:lnTo>
                    <a:pt x="16202" y="38"/>
                  </a:lnTo>
                  <a:lnTo>
                    <a:pt x="16202" y="38"/>
                  </a:lnTo>
                  <a:lnTo>
                    <a:pt x="16202" y="38"/>
                  </a:lnTo>
                  <a:close/>
                  <a:moveTo>
                    <a:pt x="16453" y="38"/>
                  </a:moveTo>
                  <a:lnTo>
                    <a:pt x="16474" y="43"/>
                  </a:lnTo>
                  <a:lnTo>
                    <a:pt x="16441" y="38"/>
                  </a:lnTo>
                  <a:lnTo>
                    <a:pt x="16453" y="38"/>
                  </a:lnTo>
                  <a:lnTo>
                    <a:pt x="16453" y="38"/>
                  </a:lnTo>
                  <a:lnTo>
                    <a:pt x="16453" y="38"/>
                  </a:lnTo>
                  <a:close/>
                  <a:moveTo>
                    <a:pt x="16188" y="76"/>
                  </a:moveTo>
                  <a:lnTo>
                    <a:pt x="16096" y="59"/>
                  </a:lnTo>
                  <a:lnTo>
                    <a:pt x="16165" y="43"/>
                  </a:lnTo>
                  <a:lnTo>
                    <a:pt x="16219" y="71"/>
                  </a:lnTo>
                  <a:lnTo>
                    <a:pt x="16188" y="76"/>
                  </a:lnTo>
                  <a:lnTo>
                    <a:pt x="16188" y="76"/>
                  </a:lnTo>
                  <a:lnTo>
                    <a:pt x="16188" y="76"/>
                  </a:lnTo>
                  <a:close/>
                  <a:moveTo>
                    <a:pt x="16209" y="88"/>
                  </a:moveTo>
                  <a:lnTo>
                    <a:pt x="16252" y="71"/>
                  </a:lnTo>
                  <a:lnTo>
                    <a:pt x="16278" y="88"/>
                  </a:lnTo>
                  <a:lnTo>
                    <a:pt x="16209" y="88"/>
                  </a:lnTo>
                  <a:lnTo>
                    <a:pt x="16209" y="88"/>
                  </a:lnTo>
                  <a:lnTo>
                    <a:pt x="16209" y="88"/>
                  </a:lnTo>
                  <a:close/>
                  <a:moveTo>
                    <a:pt x="16009" y="99"/>
                  </a:moveTo>
                  <a:lnTo>
                    <a:pt x="16021" y="92"/>
                  </a:lnTo>
                  <a:lnTo>
                    <a:pt x="16004" y="92"/>
                  </a:lnTo>
                  <a:lnTo>
                    <a:pt x="16089" y="99"/>
                  </a:lnTo>
                  <a:lnTo>
                    <a:pt x="16063" y="76"/>
                  </a:lnTo>
                  <a:lnTo>
                    <a:pt x="16172" y="92"/>
                  </a:lnTo>
                  <a:lnTo>
                    <a:pt x="16075" y="116"/>
                  </a:lnTo>
                  <a:lnTo>
                    <a:pt x="16009" y="99"/>
                  </a:lnTo>
                  <a:lnTo>
                    <a:pt x="16009" y="99"/>
                  </a:lnTo>
                  <a:lnTo>
                    <a:pt x="16009" y="99"/>
                  </a:lnTo>
                  <a:close/>
                  <a:moveTo>
                    <a:pt x="15917" y="92"/>
                  </a:moveTo>
                  <a:lnTo>
                    <a:pt x="15912" y="88"/>
                  </a:lnTo>
                  <a:lnTo>
                    <a:pt x="15933" y="92"/>
                  </a:lnTo>
                  <a:lnTo>
                    <a:pt x="15917" y="92"/>
                  </a:lnTo>
                  <a:lnTo>
                    <a:pt x="15917" y="92"/>
                  </a:lnTo>
                  <a:lnTo>
                    <a:pt x="15917" y="92"/>
                  </a:lnTo>
                  <a:close/>
                  <a:moveTo>
                    <a:pt x="16311" y="92"/>
                  </a:moveTo>
                  <a:lnTo>
                    <a:pt x="16365" y="92"/>
                  </a:lnTo>
                  <a:lnTo>
                    <a:pt x="16306" y="92"/>
                  </a:lnTo>
                  <a:lnTo>
                    <a:pt x="16311" y="92"/>
                  </a:lnTo>
                  <a:lnTo>
                    <a:pt x="16311" y="92"/>
                  </a:lnTo>
                  <a:lnTo>
                    <a:pt x="16311" y="92"/>
                  </a:lnTo>
                  <a:close/>
                  <a:moveTo>
                    <a:pt x="18654" y="265"/>
                  </a:moveTo>
                  <a:lnTo>
                    <a:pt x="18524" y="260"/>
                  </a:lnTo>
                  <a:lnTo>
                    <a:pt x="18546" y="244"/>
                  </a:lnTo>
                  <a:lnTo>
                    <a:pt x="18612" y="244"/>
                  </a:lnTo>
                  <a:lnTo>
                    <a:pt x="18557" y="236"/>
                  </a:lnTo>
                  <a:lnTo>
                    <a:pt x="18617" y="220"/>
                  </a:lnTo>
                  <a:lnTo>
                    <a:pt x="18628" y="203"/>
                  </a:lnTo>
                  <a:lnTo>
                    <a:pt x="18654" y="170"/>
                  </a:lnTo>
                  <a:lnTo>
                    <a:pt x="18600" y="182"/>
                  </a:lnTo>
                  <a:lnTo>
                    <a:pt x="18617" y="166"/>
                  </a:lnTo>
                  <a:lnTo>
                    <a:pt x="18650" y="154"/>
                  </a:lnTo>
                  <a:lnTo>
                    <a:pt x="18645" y="144"/>
                  </a:lnTo>
                  <a:lnTo>
                    <a:pt x="18817" y="99"/>
                  </a:lnTo>
                  <a:lnTo>
                    <a:pt x="18780" y="99"/>
                  </a:lnTo>
                  <a:lnTo>
                    <a:pt x="18789" y="92"/>
                  </a:lnTo>
                  <a:lnTo>
                    <a:pt x="18834" y="92"/>
                  </a:lnTo>
                  <a:lnTo>
                    <a:pt x="18898" y="149"/>
                  </a:lnTo>
                  <a:lnTo>
                    <a:pt x="18990" y="187"/>
                  </a:lnTo>
                  <a:lnTo>
                    <a:pt x="18924" y="199"/>
                  </a:lnTo>
                  <a:lnTo>
                    <a:pt x="18919" y="220"/>
                  </a:lnTo>
                  <a:lnTo>
                    <a:pt x="18924" y="227"/>
                  </a:lnTo>
                  <a:lnTo>
                    <a:pt x="18935" y="255"/>
                  </a:lnTo>
                  <a:lnTo>
                    <a:pt x="18952" y="260"/>
                  </a:lnTo>
                  <a:lnTo>
                    <a:pt x="18924" y="265"/>
                  </a:lnTo>
                  <a:lnTo>
                    <a:pt x="18763" y="281"/>
                  </a:lnTo>
                  <a:lnTo>
                    <a:pt x="18687" y="310"/>
                  </a:lnTo>
                  <a:lnTo>
                    <a:pt x="18574" y="281"/>
                  </a:lnTo>
                  <a:lnTo>
                    <a:pt x="18628" y="281"/>
                  </a:lnTo>
                  <a:lnTo>
                    <a:pt x="18579" y="260"/>
                  </a:lnTo>
                  <a:lnTo>
                    <a:pt x="18654" y="265"/>
                  </a:lnTo>
                  <a:lnTo>
                    <a:pt x="18654" y="265"/>
                  </a:lnTo>
                  <a:lnTo>
                    <a:pt x="18654" y="265"/>
                  </a:lnTo>
                  <a:close/>
                  <a:moveTo>
                    <a:pt x="16117" y="109"/>
                  </a:moveTo>
                  <a:lnTo>
                    <a:pt x="16188" y="109"/>
                  </a:lnTo>
                  <a:lnTo>
                    <a:pt x="16150" y="128"/>
                  </a:lnTo>
                  <a:lnTo>
                    <a:pt x="16113" y="116"/>
                  </a:lnTo>
                  <a:lnTo>
                    <a:pt x="16117" y="109"/>
                  </a:lnTo>
                  <a:lnTo>
                    <a:pt x="16117" y="109"/>
                  </a:lnTo>
                  <a:lnTo>
                    <a:pt x="16117" y="109"/>
                  </a:lnTo>
                  <a:close/>
                  <a:moveTo>
                    <a:pt x="18503" y="133"/>
                  </a:moveTo>
                  <a:lnTo>
                    <a:pt x="18428" y="128"/>
                  </a:lnTo>
                  <a:lnTo>
                    <a:pt x="18418" y="109"/>
                  </a:lnTo>
                  <a:lnTo>
                    <a:pt x="18503" y="99"/>
                  </a:lnTo>
                  <a:lnTo>
                    <a:pt x="18541" y="116"/>
                  </a:lnTo>
                  <a:lnTo>
                    <a:pt x="18503" y="133"/>
                  </a:lnTo>
                  <a:lnTo>
                    <a:pt x="18503" y="133"/>
                  </a:lnTo>
                  <a:lnTo>
                    <a:pt x="18503" y="133"/>
                  </a:lnTo>
                  <a:close/>
                  <a:moveTo>
                    <a:pt x="16505" y="166"/>
                  </a:moveTo>
                  <a:lnTo>
                    <a:pt x="16543" y="149"/>
                  </a:lnTo>
                  <a:lnTo>
                    <a:pt x="16613" y="144"/>
                  </a:lnTo>
                  <a:lnTo>
                    <a:pt x="16618" y="116"/>
                  </a:lnTo>
                  <a:lnTo>
                    <a:pt x="16646" y="109"/>
                  </a:lnTo>
                  <a:lnTo>
                    <a:pt x="16689" y="116"/>
                  </a:lnTo>
                  <a:lnTo>
                    <a:pt x="16706" y="144"/>
                  </a:lnTo>
                  <a:lnTo>
                    <a:pt x="16706" y="154"/>
                  </a:lnTo>
                  <a:lnTo>
                    <a:pt x="16646" y="182"/>
                  </a:lnTo>
                  <a:lnTo>
                    <a:pt x="16550" y="199"/>
                  </a:lnTo>
                  <a:lnTo>
                    <a:pt x="16495" y="170"/>
                  </a:lnTo>
                  <a:lnTo>
                    <a:pt x="16505" y="166"/>
                  </a:lnTo>
                  <a:lnTo>
                    <a:pt x="16505" y="166"/>
                  </a:lnTo>
                  <a:lnTo>
                    <a:pt x="16505" y="166"/>
                  </a:lnTo>
                  <a:close/>
                  <a:moveTo>
                    <a:pt x="15647" y="133"/>
                  </a:moveTo>
                  <a:lnTo>
                    <a:pt x="15659" y="133"/>
                  </a:lnTo>
                  <a:lnTo>
                    <a:pt x="15647" y="128"/>
                  </a:lnTo>
                  <a:lnTo>
                    <a:pt x="15659" y="116"/>
                  </a:lnTo>
                  <a:lnTo>
                    <a:pt x="15685" y="128"/>
                  </a:lnTo>
                  <a:lnTo>
                    <a:pt x="15647" y="133"/>
                  </a:lnTo>
                  <a:lnTo>
                    <a:pt x="15647" y="133"/>
                  </a:lnTo>
                  <a:lnTo>
                    <a:pt x="15647" y="133"/>
                  </a:lnTo>
                  <a:close/>
                  <a:moveTo>
                    <a:pt x="16198" y="116"/>
                  </a:moveTo>
                  <a:lnTo>
                    <a:pt x="16226" y="116"/>
                  </a:lnTo>
                  <a:lnTo>
                    <a:pt x="16198" y="116"/>
                  </a:lnTo>
                  <a:lnTo>
                    <a:pt x="16198" y="116"/>
                  </a:lnTo>
                  <a:lnTo>
                    <a:pt x="16198" y="116"/>
                  </a:lnTo>
                  <a:close/>
                  <a:moveTo>
                    <a:pt x="16328" y="144"/>
                  </a:moveTo>
                  <a:lnTo>
                    <a:pt x="16370" y="128"/>
                  </a:lnTo>
                  <a:lnTo>
                    <a:pt x="16441" y="128"/>
                  </a:lnTo>
                  <a:lnTo>
                    <a:pt x="16398" y="154"/>
                  </a:lnTo>
                  <a:lnTo>
                    <a:pt x="16328" y="144"/>
                  </a:lnTo>
                  <a:lnTo>
                    <a:pt x="16328" y="144"/>
                  </a:lnTo>
                  <a:lnTo>
                    <a:pt x="16328" y="144"/>
                  </a:lnTo>
                  <a:close/>
                  <a:moveTo>
                    <a:pt x="15933" y="144"/>
                  </a:moveTo>
                  <a:lnTo>
                    <a:pt x="15950" y="128"/>
                  </a:lnTo>
                  <a:lnTo>
                    <a:pt x="16009" y="144"/>
                  </a:lnTo>
                  <a:lnTo>
                    <a:pt x="16047" y="133"/>
                  </a:lnTo>
                  <a:lnTo>
                    <a:pt x="16165" y="182"/>
                  </a:lnTo>
                  <a:lnTo>
                    <a:pt x="16113" y="199"/>
                  </a:lnTo>
                  <a:lnTo>
                    <a:pt x="16089" y="170"/>
                  </a:lnTo>
                  <a:lnTo>
                    <a:pt x="15933" y="144"/>
                  </a:lnTo>
                  <a:lnTo>
                    <a:pt x="15933" y="144"/>
                  </a:lnTo>
                  <a:lnTo>
                    <a:pt x="15933" y="144"/>
                  </a:lnTo>
                  <a:close/>
                  <a:moveTo>
                    <a:pt x="16047" y="128"/>
                  </a:moveTo>
                  <a:lnTo>
                    <a:pt x="16150" y="133"/>
                  </a:lnTo>
                  <a:lnTo>
                    <a:pt x="16202" y="154"/>
                  </a:lnTo>
                  <a:lnTo>
                    <a:pt x="16155" y="166"/>
                  </a:lnTo>
                  <a:lnTo>
                    <a:pt x="16047" y="128"/>
                  </a:lnTo>
                  <a:lnTo>
                    <a:pt x="16047" y="128"/>
                  </a:lnTo>
                  <a:lnTo>
                    <a:pt x="16047" y="128"/>
                  </a:lnTo>
                  <a:close/>
                  <a:moveTo>
                    <a:pt x="16172" y="133"/>
                  </a:moveTo>
                  <a:lnTo>
                    <a:pt x="16188" y="128"/>
                  </a:lnTo>
                  <a:lnTo>
                    <a:pt x="16235" y="144"/>
                  </a:lnTo>
                  <a:lnTo>
                    <a:pt x="16209" y="149"/>
                  </a:lnTo>
                  <a:lnTo>
                    <a:pt x="16172" y="133"/>
                  </a:lnTo>
                  <a:lnTo>
                    <a:pt x="16172" y="133"/>
                  </a:lnTo>
                  <a:lnTo>
                    <a:pt x="16172" y="133"/>
                  </a:lnTo>
                  <a:close/>
                  <a:moveTo>
                    <a:pt x="17672" y="149"/>
                  </a:moveTo>
                  <a:lnTo>
                    <a:pt x="17752" y="154"/>
                  </a:lnTo>
                  <a:lnTo>
                    <a:pt x="17714" y="170"/>
                  </a:lnTo>
                  <a:lnTo>
                    <a:pt x="17655" y="170"/>
                  </a:lnTo>
                  <a:lnTo>
                    <a:pt x="17672" y="149"/>
                  </a:lnTo>
                  <a:lnTo>
                    <a:pt x="17672" y="149"/>
                  </a:lnTo>
                  <a:lnTo>
                    <a:pt x="17672" y="149"/>
                  </a:lnTo>
                  <a:close/>
                  <a:moveTo>
                    <a:pt x="15534" y="260"/>
                  </a:moveTo>
                  <a:lnTo>
                    <a:pt x="15555" y="277"/>
                  </a:lnTo>
                  <a:lnTo>
                    <a:pt x="15517" y="277"/>
                  </a:lnTo>
                  <a:lnTo>
                    <a:pt x="15517" y="281"/>
                  </a:lnTo>
                  <a:lnTo>
                    <a:pt x="15508" y="293"/>
                  </a:lnTo>
                  <a:lnTo>
                    <a:pt x="15454" y="298"/>
                  </a:lnTo>
                  <a:lnTo>
                    <a:pt x="15454" y="293"/>
                  </a:lnTo>
                  <a:lnTo>
                    <a:pt x="15463" y="281"/>
                  </a:lnTo>
                  <a:lnTo>
                    <a:pt x="15484" y="277"/>
                  </a:lnTo>
                  <a:lnTo>
                    <a:pt x="15447" y="265"/>
                  </a:lnTo>
                  <a:lnTo>
                    <a:pt x="15416" y="281"/>
                  </a:lnTo>
                  <a:lnTo>
                    <a:pt x="15387" y="260"/>
                  </a:lnTo>
                  <a:lnTo>
                    <a:pt x="15416" y="244"/>
                  </a:lnTo>
                  <a:lnTo>
                    <a:pt x="15496" y="255"/>
                  </a:lnTo>
                  <a:lnTo>
                    <a:pt x="15454" y="244"/>
                  </a:lnTo>
                  <a:lnTo>
                    <a:pt x="15501" y="236"/>
                  </a:lnTo>
                  <a:lnTo>
                    <a:pt x="15484" y="227"/>
                  </a:lnTo>
                  <a:lnTo>
                    <a:pt x="15442" y="236"/>
                  </a:lnTo>
                  <a:lnTo>
                    <a:pt x="15508" y="210"/>
                  </a:lnTo>
                  <a:lnTo>
                    <a:pt x="15560" y="220"/>
                  </a:lnTo>
                  <a:lnTo>
                    <a:pt x="15576" y="210"/>
                  </a:lnTo>
                  <a:lnTo>
                    <a:pt x="15572" y="203"/>
                  </a:lnTo>
                  <a:lnTo>
                    <a:pt x="15593" y="203"/>
                  </a:lnTo>
                  <a:lnTo>
                    <a:pt x="15605" y="187"/>
                  </a:lnTo>
                  <a:lnTo>
                    <a:pt x="15550" y="187"/>
                  </a:lnTo>
                  <a:lnTo>
                    <a:pt x="15631" y="154"/>
                  </a:lnTo>
                  <a:lnTo>
                    <a:pt x="15659" y="154"/>
                  </a:lnTo>
                  <a:lnTo>
                    <a:pt x="15626" y="166"/>
                  </a:lnTo>
                  <a:lnTo>
                    <a:pt x="15680" y="154"/>
                  </a:lnTo>
                  <a:lnTo>
                    <a:pt x="15697" y="166"/>
                  </a:lnTo>
                  <a:lnTo>
                    <a:pt x="15643" y="187"/>
                  </a:lnTo>
                  <a:lnTo>
                    <a:pt x="15711" y="182"/>
                  </a:lnTo>
                  <a:lnTo>
                    <a:pt x="15739" y="187"/>
                  </a:lnTo>
                  <a:lnTo>
                    <a:pt x="15685" y="220"/>
                  </a:lnTo>
                  <a:lnTo>
                    <a:pt x="15605" y="227"/>
                  </a:lnTo>
                  <a:lnTo>
                    <a:pt x="15609" y="244"/>
                  </a:lnTo>
                  <a:lnTo>
                    <a:pt x="15539" y="244"/>
                  </a:lnTo>
                  <a:lnTo>
                    <a:pt x="15522" y="260"/>
                  </a:lnTo>
                  <a:lnTo>
                    <a:pt x="15534" y="260"/>
                  </a:lnTo>
                  <a:lnTo>
                    <a:pt x="15534" y="260"/>
                  </a:lnTo>
                  <a:lnTo>
                    <a:pt x="15534" y="260"/>
                  </a:lnTo>
                  <a:close/>
                  <a:moveTo>
                    <a:pt x="16181" y="170"/>
                  </a:moveTo>
                  <a:lnTo>
                    <a:pt x="16235" y="154"/>
                  </a:lnTo>
                  <a:lnTo>
                    <a:pt x="16257" y="170"/>
                  </a:lnTo>
                  <a:lnTo>
                    <a:pt x="16219" y="187"/>
                  </a:lnTo>
                  <a:lnTo>
                    <a:pt x="16172" y="170"/>
                  </a:lnTo>
                  <a:lnTo>
                    <a:pt x="16181" y="170"/>
                  </a:lnTo>
                  <a:lnTo>
                    <a:pt x="16181" y="170"/>
                  </a:lnTo>
                  <a:lnTo>
                    <a:pt x="16181" y="170"/>
                  </a:lnTo>
                  <a:close/>
                  <a:moveTo>
                    <a:pt x="15900" y="170"/>
                  </a:moveTo>
                  <a:lnTo>
                    <a:pt x="15983" y="154"/>
                  </a:lnTo>
                  <a:lnTo>
                    <a:pt x="16042" y="170"/>
                  </a:lnTo>
                  <a:lnTo>
                    <a:pt x="15966" y="187"/>
                  </a:lnTo>
                  <a:lnTo>
                    <a:pt x="15900" y="170"/>
                  </a:lnTo>
                  <a:lnTo>
                    <a:pt x="15900" y="170"/>
                  </a:lnTo>
                  <a:lnTo>
                    <a:pt x="15900" y="170"/>
                  </a:lnTo>
                  <a:close/>
                  <a:moveTo>
                    <a:pt x="16273" y="220"/>
                  </a:moveTo>
                  <a:lnTo>
                    <a:pt x="16278" y="210"/>
                  </a:lnTo>
                  <a:lnTo>
                    <a:pt x="16264" y="203"/>
                  </a:lnTo>
                  <a:lnTo>
                    <a:pt x="16273" y="199"/>
                  </a:lnTo>
                  <a:lnTo>
                    <a:pt x="16306" y="170"/>
                  </a:lnTo>
                  <a:lnTo>
                    <a:pt x="16453" y="166"/>
                  </a:lnTo>
                  <a:lnTo>
                    <a:pt x="16479" y="182"/>
                  </a:lnTo>
                  <a:lnTo>
                    <a:pt x="16467" y="199"/>
                  </a:lnTo>
                  <a:lnTo>
                    <a:pt x="16474" y="203"/>
                  </a:lnTo>
                  <a:lnTo>
                    <a:pt x="16441" y="210"/>
                  </a:lnTo>
                  <a:lnTo>
                    <a:pt x="16398" y="244"/>
                  </a:lnTo>
                  <a:lnTo>
                    <a:pt x="16344" y="227"/>
                  </a:lnTo>
                  <a:lnTo>
                    <a:pt x="16295" y="236"/>
                  </a:lnTo>
                  <a:lnTo>
                    <a:pt x="16273" y="220"/>
                  </a:lnTo>
                  <a:lnTo>
                    <a:pt x="16273" y="220"/>
                  </a:lnTo>
                  <a:lnTo>
                    <a:pt x="16273" y="220"/>
                  </a:lnTo>
                  <a:close/>
                  <a:moveTo>
                    <a:pt x="15345" y="236"/>
                  </a:moveTo>
                  <a:lnTo>
                    <a:pt x="15340" y="210"/>
                  </a:lnTo>
                  <a:lnTo>
                    <a:pt x="15307" y="220"/>
                  </a:lnTo>
                  <a:lnTo>
                    <a:pt x="15265" y="203"/>
                  </a:lnTo>
                  <a:lnTo>
                    <a:pt x="15409" y="182"/>
                  </a:lnTo>
                  <a:lnTo>
                    <a:pt x="15447" y="166"/>
                  </a:lnTo>
                  <a:lnTo>
                    <a:pt x="15517" y="182"/>
                  </a:lnTo>
                  <a:lnTo>
                    <a:pt x="15522" y="182"/>
                  </a:lnTo>
                  <a:lnTo>
                    <a:pt x="15508" y="187"/>
                  </a:lnTo>
                  <a:lnTo>
                    <a:pt x="15534" y="203"/>
                  </a:lnTo>
                  <a:lnTo>
                    <a:pt x="15484" y="199"/>
                  </a:lnTo>
                  <a:lnTo>
                    <a:pt x="15463" y="182"/>
                  </a:lnTo>
                  <a:lnTo>
                    <a:pt x="15432" y="199"/>
                  </a:lnTo>
                  <a:lnTo>
                    <a:pt x="15442" y="210"/>
                  </a:lnTo>
                  <a:lnTo>
                    <a:pt x="15425" y="203"/>
                  </a:lnTo>
                  <a:lnTo>
                    <a:pt x="15345" y="236"/>
                  </a:lnTo>
                  <a:lnTo>
                    <a:pt x="15345" y="236"/>
                  </a:lnTo>
                  <a:lnTo>
                    <a:pt x="15345" y="236"/>
                  </a:lnTo>
                  <a:close/>
                  <a:moveTo>
                    <a:pt x="16009" y="187"/>
                  </a:moveTo>
                  <a:lnTo>
                    <a:pt x="16080" y="182"/>
                  </a:lnTo>
                  <a:lnTo>
                    <a:pt x="16113" y="199"/>
                  </a:lnTo>
                  <a:lnTo>
                    <a:pt x="16037" y="203"/>
                  </a:lnTo>
                  <a:lnTo>
                    <a:pt x="16004" y="187"/>
                  </a:lnTo>
                  <a:lnTo>
                    <a:pt x="16009" y="187"/>
                  </a:lnTo>
                  <a:lnTo>
                    <a:pt x="16009" y="187"/>
                  </a:lnTo>
                  <a:lnTo>
                    <a:pt x="16009" y="187"/>
                  </a:lnTo>
                  <a:close/>
                  <a:moveTo>
                    <a:pt x="15848" y="220"/>
                  </a:moveTo>
                  <a:lnTo>
                    <a:pt x="15858" y="210"/>
                  </a:lnTo>
                  <a:lnTo>
                    <a:pt x="15841" y="203"/>
                  </a:lnTo>
                  <a:lnTo>
                    <a:pt x="15858" y="203"/>
                  </a:lnTo>
                  <a:lnTo>
                    <a:pt x="15874" y="220"/>
                  </a:lnTo>
                  <a:lnTo>
                    <a:pt x="15848" y="220"/>
                  </a:lnTo>
                  <a:lnTo>
                    <a:pt x="15848" y="220"/>
                  </a:lnTo>
                  <a:lnTo>
                    <a:pt x="15848" y="220"/>
                  </a:lnTo>
                  <a:close/>
                  <a:moveTo>
                    <a:pt x="16134" y="203"/>
                  </a:moveTo>
                  <a:lnTo>
                    <a:pt x="16188" y="203"/>
                  </a:lnTo>
                  <a:lnTo>
                    <a:pt x="16165" y="220"/>
                  </a:lnTo>
                  <a:lnTo>
                    <a:pt x="16127" y="210"/>
                  </a:lnTo>
                  <a:lnTo>
                    <a:pt x="16134" y="203"/>
                  </a:lnTo>
                  <a:lnTo>
                    <a:pt x="16134" y="203"/>
                  </a:lnTo>
                  <a:lnTo>
                    <a:pt x="16134" y="203"/>
                  </a:lnTo>
                  <a:close/>
                  <a:moveTo>
                    <a:pt x="15886" y="227"/>
                  </a:moveTo>
                  <a:lnTo>
                    <a:pt x="15900" y="220"/>
                  </a:lnTo>
                  <a:lnTo>
                    <a:pt x="15895" y="210"/>
                  </a:lnTo>
                  <a:lnTo>
                    <a:pt x="15900" y="203"/>
                  </a:lnTo>
                  <a:lnTo>
                    <a:pt x="15928" y="210"/>
                  </a:lnTo>
                  <a:lnTo>
                    <a:pt x="15912" y="220"/>
                  </a:lnTo>
                  <a:lnTo>
                    <a:pt x="15933" y="227"/>
                  </a:lnTo>
                  <a:lnTo>
                    <a:pt x="15917" y="236"/>
                  </a:lnTo>
                  <a:lnTo>
                    <a:pt x="15886" y="227"/>
                  </a:lnTo>
                  <a:lnTo>
                    <a:pt x="15886" y="227"/>
                  </a:lnTo>
                  <a:lnTo>
                    <a:pt x="15886" y="227"/>
                  </a:lnTo>
                  <a:close/>
                  <a:moveTo>
                    <a:pt x="15950" y="220"/>
                  </a:moveTo>
                  <a:lnTo>
                    <a:pt x="15971" y="210"/>
                  </a:lnTo>
                  <a:lnTo>
                    <a:pt x="15983" y="227"/>
                  </a:lnTo>
                  <a:lnTo>
                    <a:pt x="15950" y="220"/>
                  </a:lnTo>
                  <a:lnTo>
                    <a:pt x="15950" y="220"/>
                  </a:lnTo>
                  <a:lnTo>
                    <a:pt x="15950" y="220"/>
                  </a:lnTo>
                  <a:close/>
                  <a:moveTo>
                    <a:pt x="16155" y="293"/>
                  </a:moveTo>
                  <a:lnTo>
                    <a:pt x="16134" y="281"/>
                  </a:lnTo>
                  <a:lnTo>
                    <a:pt x="16134" y="244"/>
                  </a:lnTo>
                  <a:lnTo>
                    <a:pt x="16113" y="227"/>
                  </a:lnTo>
                  <a:lnTo>
                    <a:pt x="16209" y="227"/>
                  </a:lnTo>
                  <a:lnTo>
                    <a:pt x="16273" y="255"/>
                  </a:lnTo>
                  <a:lnTo>
                    <a:pt x="16209" y="260"/>
                  </a:lnTo>
                  <a:lnTo>
                    <a:pt x="16188" y="265"/>
                  </a:lnTo>
                  <a:lnTo>
                    <a:pt x="16219" y="265"/>
                  </a:lnTo>
                  <a:lnTo>
                    <a:pt x="16209" y="281"/>
                  </a:lnTo>
                  <a:lnTo>
                    <a:pt x="16181" y="277"/>
                  </a:lnTo>
                  <a:lnTo>
                    <a:pt x="16172" y="281"/>
                  </a:lnTo>
                  <a:lnTo>
                    <a:pt x="16181" y="293"/>
                  </a:lnTo>
                  <a:lnTo>
                    <a:pt x="16155" y="293"/>
                  </a:lnTo>
                  <a:lnTo>
                    <a:pt x="16155" y="293"/>
                  </a:lnTo>
                  <a:lnTo>
                    <a:pt x="16155" y="293"/>
                  </a:lnTo>
                  <a:close/>
                  <a:moveTo>
                    <a:pt x="15933" y="236"/>
                  </a:moveTo>
                  <a:lnTo>
                    <a:pt x="15950" y="227"/>
                  </a:lnTo>
                  <a:lnTo>
                    <a:pt x="15966" y="236"/>
                  </a:lnTo>
                  <a:lnTo>
                    <a:pt x="15928" y="244"/>
                  </a:lnTo>
                  <a:lnTo>
                    <a:pt x="15933" y="236"/>
                  </a:lnTo>
                  <a:lnTo>
                    <a:pt x="15933" y="236"/>
                  </a:lnTo>
                  <a:lnTo>
                    <a:pt x="15933" y="236"/>
                  </a:lnTo>
                  <a:close/>
                  <a:moveTo>
                    <a:pt x="15983" y="236"/>
                  </a:moveTo>
                  <a:lnTo>
                    <a:pt x="15992" y="236"/>
                  </a:lnTo>
                  <a:lnTo>
                    <a:pt x="15971" y="236"/>
                  </a:lnTo>
                  <a:lnTo>
                    <a:pt x="15983" y="236"/>
                  </a:lnTo>
                  <a:lnTo>
                    <a:pt x="15983" y="236"/>
                  </a:lnTo>
                  <a:lnTo>
                    <a:pt x="15983" y="236"/>
                  </a:lnTo>
                  <a:close/>
                  <a:moveTo>
                    <a:pt x="15787" y="277"/>
                  </a:moveTo>
                  <a:lnTo>
                    <a:pt x="15772" y="265"/>
                  </a:lnTo>
                  <a:lnTo>
                    <a:pt x="15824" y="244"/>
                  </a:lnTo>
                  <a:lnTo>
                    <a:pt x="15858" y="244"/>
                  </a:lnTo>
                  <a:lnTo>
                    <a:pt x="15895" y="265"/>
                  </a:lnTo>
                  <a:lnTo>
                    <a:pt x="15862" y="281"/>
                  </a:lnTo>
                  <a:lnTo>
                    <a:pt x="15787" y="277"/>
                  </a:lnTo>
                  <a:lnTo>
                    <a:pt x="15787" y="277"/>
                  </a:lnTo>
                  <a:lnTo>
                    <a:pt x="15787" y="277"/>
                  </a:lnTo>
                  <a:close/>
                  <a:moveTo>
                    <a:pt x="16025" y="293"/>
                  </a:moveTo>
                  <a:lnTo>
                    <a:pt x="16042" y="277"/>
                  </a:lnTo>
                  <a:lnTo>
                    <a:pt x="16042" y="265"/>
                  </a:lnTo>
                  <a:lnTo>
                    <a:pt x="16042" y="255"/>
                  </a:lnTo>
                  <a:lnTo>
                    <a:pt x="16117" y="260"/>
                  </a:lnTo>
                  <a:lnTo>
                    <a:pt x="16117" y="293"/>
                  </a:lnTo>
                  <a:lnTo>
                    <a:pt x="16113" y="298"/>
                  </a:lnTo>
                  <a:lnTo>
                    <a:pt x="16021" y="293"/>
                  </a:lnTo>
                  <a:lnTo>
                    <a:pt x="16025" y="293"/>
                  </a:lnTo>
                  <a:lnTo>
                    <a:pt x="16025" y="293"/>
                  </a:lnTo>
                  <a:lnTo>
                    <a:pt x="16025" y="293"/>
                  </a:lnTo>
                  <a:close/>
                  <a:moveTo>
                    <a:pt x="15966" y="265"/>
                  </a:moveTo>
                  <a:lnTo>
                    <a:pt x="15992" y="255"/>
                  </a:lnTo>
                  <a:lnTo>
                    <a:pt x="16009" y="260"/>
                  </a:lnTo>
                  <a:lnTo>
                    <a:pt x="15983" y="277"/>
                  </a:lnTo>
                  <a:lnTo>
                    <a:pt x="15966" y="265"/>
                  </a:lnTo>
                  <a:lnTo>
                    <a:pt x="15966" y="265"/>
                  </a:lnTo>
                  <a:lnTo>
                    <a:pt x="15966" y="265"/>
                  </a:lnTo>
                  <a:close/>
                  <a:moveTo>
                    <a:pt x="15917" y="277"/>
                  </a:moveTo>
                  <a:lnTo>
                    <a:pt x="15912" y="260"/>
                  </a:lnTo>
                  <a:lnTo>
                    <a:pt x="15917" y="255"/>
                  </a:lnTo>
                  <a:lnTo>
                    <a:pt x="15933" y="260"/>
                  </a:lnTo>
                  <a:lnTo>
                    <a:pt x="15917" y="277"/>
                  </a:lnTo>
                  <a:lnTo>
                    <a:pt x="15917" y="277"/>
                  </a:lnTo>
                  <a:lnTo>
                    <a:pt x="15917" y="277"/>
                  </a:lnTo>
                  <a:close/>
                  <a:moveTo>
                    <a:pt x="15609" y="298"/>
                  </a:moveTo>
                  <a:lnTo>
                    <a:pt x="15588" y="281"/>
                  </a:lnTo>
                  <a:lnTo>
                    <a:pt x="15614" y="265"/>
                  </a:lnTo>
                  <a:lnTo>
                    <a:pt x="15647" y="281"/>
                  </a:lnTo>
                  <a:lnTo>
                    <a:pt x="15609" y="298"/>
                  </a:lnTo>
                  <a:lnTo>
                    <a:pt x="15609" y="298"/>
                  </a:lnTo>
                  <a:lnTo>
                    <a:pt x="15609" y="298"/>
                  </a:lnTo>
                  <a:close/>
                  <a:moveTo>
                    <a:pt x="19098" y="425"/>
                  </a:moveTo>
                  <a:lnTo>
                    <a:pt x="19061" y="425"/>
                  </a:lnTo>
                  <a:lnTo>
                    <a:pt x="19120" y="459"/>
                  </a:lnTo>
                  <a:lnTo>
                    <a:pt x="19129" y="482"/>
                  </a:lnTo>
                  <a:lnTo>
                    <a:pt x="19087" y="499"/>
                  </a:lnTo>
                  <a:lnTo>
                    <a:pt x="19011" y="503"/>
                  </a:lnTo>
                  <a:lnTo>
                    <a:pt x="18935" y="499"/>
                  </a:lnTo>
                  <a:lnTo>
                    <a:pt x="18898" y="475"/>
                  </a:lnTo>
                  <a:lnTo>
                    <a:pt x="18827" y="475"/>
                  </a:lnTo>
                  <a:lnTo>
                    <a:pt x="18817" y="449"/>
                  </a:lnTo>
                  <a:lnTo>
                    <a:pt x="18780" y="466"/>
                  </a:lnTo>
                  <a:lnTo>
                    <a:pt x="18735" y="433"/>
                  </a:lnTo>
                  <a:lnTo>
                    <a:pt x="18735" y="392"/>
                  </a:lnTo>
                  <a:lnTo>
                    <a:pt x="18687" y="392"/>
                  </a:lnTo>
                  <a:lnTo>
                    <a:pt x="18704" y="392"/>
                  </a:lnTo>
                  <a:lnTo>
                    <a:pt x="18687" y="388"/>
                  </a:lnTo>
                  <a:lnTo>
                    <a:pt x="18697" y="371"/>
                  </a:lnTo>
                  <a:lnTo>
                    <a:pt x="18650" y="404"/>
                  </a:lnTo>
                  <a:lnTo>
                    <a:pt x="18650" y="392"/>
                  </a:lnTo>
                  <a:lnTo>
                    <a:pt x="18654" y="388"/>
                  </a:lnTo>
                  <a:lnTo>
                    <a:pt x="18628" y="376"/>
                  </a:lnTo>
                  <a:lnTo>
                    <a:pt x="18654" y="388"/>
                  </a:lnTo>
                  <a:lnTo>
                    <a:pt x="18709" y="347"/>
                  </a:lnTo>
                  <a:lnTo>
                    <a:pt x="18751" y="338"/>
                  </a:lnTo>
                  <a:lnTo>
                    <a:pt x="18725" y="322"/>
                  </a:lnTo>
                  <a:lnTo>
                    <a:pt x="18772" y="293"/>
                  </a:lnTo>
                  <a:lnTo>
                    <a:pt x="18796" y="310"/>
                  </a:lnTo>
                  <a:lnTo>
                    <a:pt x="18817" y="293"/>
                  </a:lnTo>
                  <a:lnTo>
                    <a:pt x="18957" y="281"/>
                  </a:lnTo>
                  <a:lnTo>
                    <a:pt x="18990" y="298"/>
                  </a:lnTo>
                  <a:lnTo>
                    <a:pt x="18957" y="347"/>
                  </a:lnTo>
                  <a:lnTo>
                    <a:pt x="18935" y="355"/>
                  </a:lnTo>
                  <a:lnTo>
                    <a:pt x="18969" y="347"/>
                  </a:lnTo>
                  <a:lnTo>
                    <a:pt x="18978" y="322"/>
                  </a:lnTo>
                  <a:lnTo>
                    <a:pt x="19011" y="331"/>
                  </a:lnTo>
                  <a:lnTo>
                    <a:pt x="19028" y="314"/>
                  </a:lnTo>
                  <a:lnTo>
                    <a:pt x="19023" y="310"/>
                  </a:lnTo>
                  <a:lnTo>
                    <a:pt x="19028" y="298"/>
                  </a:lnTo>
                  <a:lnTo>
                    <a:pt x="19075" y="298"/>
                  </a:lnTo>
                  <a:lnTo>
                    <a:pt x="19136" y="347"/>
                  </a:lnTo>
                  <a:lnTo>
                    <a:pt x="19113" y="371"/>
                  </a:lnTo>
                  <a:lnTo>
                    <a:pt x="19103" y="392"/>
                  </a:lnTo>
                  <a:lnTo>
                    <a:pt x="19113" y="409"/>
                  </a:lnTo>
                  <a:lnTo>
                    <a:pt x="19098" y="425"/>
                  </a:lnTo>
                  <a:lnTo>
                    <a:pt x="19098" y="425"/>
                  </a:lnTo>
                  <a:lnTo>
                    <a:pt x="19098" y="425"/>
                  </a:lnTo>
                  <a:close/>
                  <a:moveTo>
                    <a:pt x="16240" y="310"/>
                  </a:moveTo>
                  <a:lnTo>
                    <a:pt x="16278" y="293"/>
                  </a:lnTo>
                  <a:lnTo>
                    <a:pt x="16311" y="293"/>
                  </a:lnTo>
                  <a:lnTo>
                    <a:pt x="16311" y="310"/>
                  </a:lnTo>
                  <a:lnTo>
                    <a:pt x="16278" y="322"/>
                  </a:lnTo>
                  <a:lnTo>
                    <a:pt x="16240" y="310"/>
                  </a:lnTo>
                  <a:lnTo>
                    <a:pt x="16240" y="310"/>
                  </a:lnTo>
                  <a:lnTo>
                    <a:pt x="16240" y="310"/>
                  </a:lnTo>
                  <a:close/>
                  <a:moveTo>
                    <a:pt x="15626" y="314"/>
                  </a:moveTo>
                  <a:lnTo>
                    <a:pt x="15659" y="314"/>
                  </a:lnTo>
                  <a:lnTo>
                    <a:pt x="15697" y="293"/>
                  </a:lnTo>
                  <a:lnTo>
                    <a:pt x="15723" y="322"/>
                  </a:lnTo>
                  <a:lnTo>
                    <a:pt x="15626" y="314"/>
                  </a:lnTo>
                  <a:lnTo>
                    <a:pt x="15626" y="314"/>
                  </a:lnTo>
                  <a:lnTo>
                    <a:pt x="15626" y="314"/>
                  </a:lnTo>
                  <a:close/>
                  <a:moveTo>
                    <a:pt x="18503" y="298"/>
                  </a:moveTo>
                  <a:lnTo>
                    <a:pt x="18487" y="298"/>
                  </a:lnTo>
                  <a:lnTo>
                    <a:pt x="18633" y="310"/>
                  </a:lnTo>
                  <a:lnTo>
                    <a:pt x="18697" y="322"/>
                  </a:lnTo>
                  <a:lnTo>
                    <a:pt x="18645" y="355"/>
                  </a:lnTo>
                  <a:lnTo>
                    <a:pt x="18562" y="364"/>
                  </a:lnTo>
                  <a:lnTo>
                    <a:pt x="18595" y="355"/>
                  </a:lnTo>
                  <a:lnTo>
                    <a:pt x="18574" y="338"/>
                  </a:lnTo>
                  <a:lnTo>
                    <a:pt x="18503" y="331"/>
                  </a:lnTo>
                  <a:lnTo>
                    <a:pt x="18508" y="322"/>
                  </a:lnTo>
                  <a:lnTo>
                    <a:pt x="18503" y="298"/>
                  </a:lnTo>
                  <a:lnTo>
                    <a:pt x="18503" y="298"/>
                  </a:lnTo>
                  <a:lnTo>
                    <a:pt x="18503" y="298"/>
                  </a:lnTo>
                  <a:close/>
                  <a:moveTo>
                    <a:pt x="18704" y="310"/>
                  </a:moveTo>
                  <a:lnTo>
                    <a:pt x="18735" y="310"/>
                  </a:lnTo>
                  <a:lnTo>
                    <a:pt x="18704" y="314"/>
                  </a:lnTo>
                  <a:lnTo>
                    <a:pt x="18704" y="310"/>
                  </a:lnTo>
                  <a:lnTo>
                    <a:pt x="18704" y="310"/>
                  </a:lnTo>
                  <a:lnTo>
                    <a:pt x="18704" y="310"/>
                  </a:lnTo>
                  <a:close/>
                  <a:moveTo>
                    <a:pt x="16209" y="314"/>
                  </a:moveTo>
                  <a:lnTo>
                    <a:pt x="16226" y="314"/>
                  </a:lnTo>
                  <a:lnTo>
                    <a:pt x="16252" y="322"/>
                  </a:lnTo>
                  <a:lnTo>
                    <a:pt x="16202" y="322"/>
                  </a:lnTo>
                  <a:lnTo>
                    <a:pt x="16209" y="314"/>
                  </a:lnTo>
                  <a:lnTo>
                    <a:pt x="16209" y="314"/>
                  </a:lnTo>
                  <a:lnTo>
                    <a:pt x="16209" y="314"/>
                  </a:lnTo>
                  <a:close/>
                  <a:moveTo>
                    <a:pt x="18541" y="364"/>
                  </a:moveTo>
                  <a:lnTo>
                    <a:pt x="18503" y="355"/>
                  </a:lnTo>
                  <a:lnTo>
                    <a:pt x="18557" y="364"/>
                  </a:lnTo>
                  <a:lnTo>
                    <a:pt x="18541" y="364"/>
                  </a:lnTo>
                  <a:lnTo>
                    <a:pt x="18541" y="364"/>
                  </a:lnTo>
                  <a:lnTo>
                    <a:pt x="18541" y="364"/>
                  </a:lnTo>
                  <a:close/>
                  <a:moveTo>
                    <a:pt x="19129" y="376"/>
                  </a:moveTo>
                  <a:lnTo>
                    <a:pt x="19129" y="364"/>
                  </a:lnTo>
                  <a:lnTo>
                    <a:pt x="19150" y="364"/>
                  </a:lnTo>
                  <a:lnTo>
                    <a:pt x="19129" y="376"/>
                  </a:lnTo>
                  <a:lnTo>
                    <a:pt x="19129" y="376"/>
                  </a:lnTo>
                  <a:lnTo>
                    <a:pt x="19129" y="376"/>
                  </a:lnTo>
                  <a:close/>
                  <a:moveTo>
                    <a:pt x="17495" y="388"/>
                  </a:moveTo>
                  <a:lnTo>
                    <a:pt x="17445" y="371"/>
                  </a:lnTo>
                  <a:lnTo>
                    <a:pt x="17563" y="388"/>
                  </a:lnTo>
                  <a:lnTo>
                    <a:pt x="17499" y="392"/>
                  </a:lnTo>
                  <a:lnTo>
                    <a:pt x="17495" y="388"/>
                  </a:lnTo>
                  <a:lnTo>
                    <a:pt x="17495" y="388"/>
                  </a:lnTo>
                  <a:lnTo>
                    <a:pt x="17495" y="388"/>
                  </a:lnTo>
                  <a:close/>
                  <a:moveTo>
                    <a:pt x="18494" y="388"/>
                  </a:moveTo>
                  <a:lnTo>
                    <a:pt x="18536" y="392"/>
                  </a:lnTo>
                  <a:lnTo>
                    <a:pt x="18482" y="376"/>
                  </a:lnTo>
                  <a:lnTo>
                    <a:pt x="18494" y="388"/>
                  </a:lnTo>
                  <a:lnTo>
                    <a:pt x="18494" y="388"/>
                  </a:lnTo>
                  <a:lnTo>
                    <a:pt x="18494" y="388"/>
                  </a:lnTo>
                  <a:close/>
                  <a:moveTo>
                    <a:pt x="19129" y="392"/>
                  </a:moveTo>
                  <a:lnTo>
                    <a:pt x="19129" y="404"/>
                  </a:lnTo>
                  <a:lnTo>
                    <a:pt x="19120" y="404"/>
                  </a:lnTo>
                  <a:lnTo>
                    <a:pt x="19129" y="392"/>
                  </a:lnTo>
                  <a:lnTo>
                    <a:pt x="19129" y="392"/>
                  </a:lnTo>
                  <a:lnTo>
                    <a:pt x="19129" y="392"/>
                  </a:lnTo>
                  <a:close/>
                  <a:moveTo>
                    <a:pt x="19136" y="553"/>
                  </a:moveTo>
                  <a:lnTo>
                    <a:pt x="19157" y="503"/>
                  </a:lnTo>
                  <a:lnTo>
                    <a:pt x="19212" y="515"/>
                  </a:lnTo>
                  <a:lnTo>
                    <a:pt x="19183" y="487"/>
                  </a:lnTo>
                  <a:lnTo>
                    <a:pt x="19195" y="466"/>
                  </a:lnTo>
                  <a:lnTo>
                    <a:pt x="19243" y="475"/>
                  </a:lnTo>
                  <a:lnTo>
                    <a:pt x="19195" y="459"/>
                  </a:lnTo>
                  <a:lnTo>
                    <a:pt x="19212" y="433"/>
                  </a:lnTo>
                  <a:lnTo>
                    <a:pt x="19250" y="409"/>
                  </a:lnTo>
                  <a:lnTo>
                    <a:pt x="19264" y="425"/>
                  </a:lnTo>
                  <a:lnTo>
                    <a:pt x="19280" y="433"/>
                  </a:lnTo>
                  <a:lnTo>
                    <a:pt x="19280" y="409"/>
                  </a:lnTo>
                  <a:lnTo>
                    <a:pt x="19297" y="404"/>
                  </a:lnTo>
                  <a:lnTo>
                    <a:pt x="19351" y="421"/>
                  </a:lnTo>
                  <a:lnTo>
                    <a:pt x="19330" y="433"/>
                  </a:lnTo>
                  <a:lnTo>
                    <a:pt x="19297" y="499"/>
                  </a:lnTo>
                  <a:lnTo>
                    <a:pt x="19335" y="466"/>
                  </a:lnTo>
                  <a:lnTo>
                    <a:pt x="19406" y="449"/>
                  </a:lnTo>
                  <a:lnTo>
                    <a:pt x="19410" y="475"/>
                  </a:lnTo>
                  <a:lnTo>
                    <a:pt x="19439" y="475"/>
                  </a:lnTo>
                  <a:lnTo>
                    <a:pt x="19453" y="499"/>
                  </a:lnTo>
                  <a:lnTo>
                    <a:pt x="19453" y="503"/>
                  </a:lnTo>
                  <a:lnTo>
                    <a:pt x="19460" y="499"/>
                  </a:lnTo>
                  <a:lnTo>
                    <a:pt x="19491" y="499"/>
                  </a:lnTo>
                  <a:lnTo>
                    <a:pt x="19507" y="536"/>
                  </a:lnTo>
                  <a:lnTo>
                    <a:pt x="19460" y="577"/>
                  </a:lnTo>
                  <a:lnTo>
                    <a:pt x="19335" y="593"/>
                  </a:lnTo>
                  <a:lnTo>
                    <a:pt x="19318" y="598"/>
                  </a:lnTo>
                  <a:lnTo>
                    <a:pt x="19302" y="593"/>
                  </a:lnTo>
                  <a:lnTo>
                    <a:pt x="19221" y="598"/>
                  </a:lnTo>
                  <a:lnTo>
                    <a:pt x="19129" y="631"/>
                  </a:lnTo>
                  <a:lnTo>
                    <a:pt x="19087" y="643"/>
                  </a:lnTo>
                  <a:lnTo>
                    <a:pt x="19082" y="626"/>
                  </a:lnTo>
                  <a:lnTo>
                    <a:pt x="19136" y="553"/>
                  </a:lnTo>
                  <a:lnTo>
                    <a:pt x="19136" y="553"/>
                  </a:lnTo>
                  <a:lnTo>
                    <a:pt x="19136" y="553"/>
                  </a:lnTo>
                  <a:close/>
                  <a:moveTo>
                    <a:pt x="19561" y="598"/>
                  </a:moveTo>
                  <a:lnTo>
                    <a:pt x="19552" y="593"/>
                  </a:lnTo>
                  <a:lnTo>
                    <a:pt x="19583" y="577"/>
                  </a:lnTo>
                  <a:lnTo>
                    <a:pt x="19604" y="586"/>
                  </a:lnTo>
                  <a:lnTo>
                    <a:pt x="19561" y="598"/>
                  </a:lnTo>
                  <a:lnTo>
                    <a:pt x="19561" y="598"/>
                  </a:lnTo>
                  <a:lnTo>
                    <a:pt x="19561" y="598"/>
                  </a:lnTo>
                  <a:close/>
                  <a:moveTo>
                    <a:pt x="19654" y="626"/>
                  </a:moveTo>
                  <a:lnTo>
                    <a:pt x="19583" y="598"/>
                  </a:lnTo>
                  <a:lnTo>
                    <a:pt x="19670" y="610"/>
                  </a:lnTo>
                  <a:lnTo>
                    <a:pt x="19654" y="626"/>
                  </a:lnTo>
                  <a:lnTo>
                    <a:pt x="19654" y="626"/>
                  </a:lnTo>
                  <a:lnTo>
                    <a:pt x="19654" y="626"/>
                  </a:lnTo>
                  <a:close/>
                  <a:moveTo>
                    <a:pt x="18562" y="688"/>
                  </a:moveTo>
                  <a:lnTo>
                    <a:pt x="18546" y="681"/>
                  </a:lnTo>
                  <a:lnTo>
                    <a:pt x="18574" y="688"/>
                  </a:lnTo>
                  <a:lnTo>
                    <a:pt x="18562" y="688"/>
                  </a:lnTo>
                  <a:lnTo>
                    <a:pt x="18562" y="688"/>
                  </a:lnTo>
                  <a:lnTo>
                    <a:pt x="18562" y="688"/>
                  </a:lnTo>
                  <a:close/>
                  <a:moveTo>
                    <a:pt x="19642" y="754"/>
                  </a:moveTo>
                  <a:lnTo>
                    <a:pt x="19637" y="742"/>
                  </a:lnTo>
                  <a:lnTo>
                    <a:pt x="19654" y="725"/>
                  </a:lnTo>
                  <a:lnTo>
                    <a:pt x="19670" y="737"/>
                  </a:lnTo>
                  <a:lnTo>
                    <a:pt x="19670" y="742"/>
                  </a:lnTo>
                  <a:lnTo>
                    <a:pt x="19642" y="754"/>
                  </a:lnTo>
                  <a:lnTo>
                    <a:pt x="19642" y="754"/>
                  </a:lnTo>
                  <a:lnTo>
                    <a:pt x="19642" y="754"/>
                  </a:lnTo>
                  <a:close/>
                  <a:moveTo>
                    <a:pt x="18373" y="758"/>
                  </a:moveTo>
                  <a:lnTo>
                    <a:pt x="18364" y="742"/>
                  </a:lnTo>
                  <a:lnTo>
                    <a:pt x="18373" y="737"/>
                  </a:lnTo>
                  <a:lnTo>
                    <a:pt x="18402" y="742"/>
                  </a:lnTo>
                  <a:lnTo>
                    <a:pt x="18373" y="758"/>
                  </a:lnTo>
                  <a:lnTo>
                    <a:pt x="18373" y="758"/>
                  </a:lnTo>
                  <a:lnTo>
                    <a:pt x="18373" y="758"/>
                  </a:lnTo>
                  <a:close/>
                  <a:moveTo>
                    <a:pt x="19535" y="742"/>
                  </a:moveTo>
                  <a:lnTo>
                    <a:pt x="19552" y="737"/>
                  </a:lnTo>
                  <a:lnTo>
                    <a:pt x="19535" y="742"/>
                  </a:lnTo>
                  <a:lnTo>
                    <a:pt x="19535" y="742"/>
                  </a:lnTo>
                  <a:lnTo>
                    <a:pt x="19535" y="742"/>
                  </a:lnTo>
                  <a:close/>
                  <a:moveTo>
                    <a:pt x="18881" y="754"/>
                  </a:moveTo>
                  <a:lnTo>
                    <a:pt x="18886" y="758"/>
                  </a:lnTo>
                  <a:lnTo>
                    <a:pt x="18860" y="780"/>
                  </a:lnTo>
                  <a:lnTo>
                    <a:pt x="18796" y="780"/>
                  </a:lnTo>
                  <a:lnTo>
                    <a:pt x="18881" y="754"/>
                  </a:lnTo>
                  <a:lnTo>
                    <a:pt x="18881" y="754"/>
                  </a:lnTo>
                  <a:lnTo>
                    <a:pt x="18881" y="754"/>
                  </a:lnTo>
                  <a:close/>
                  <a:moveTo>
                    <a:pt x="18357" y="758"/>
                  </a:moveTo>
                  <a:lnTo>
                    <a:pt x="18331" y="763"/>
                  </a:lnTo>
                  <a:lnTo>
                    <a:pt x="18347" y="763"/>
                  </a:lnTo>
                  <a:lnTo>
                    <a:pt x="18343" y="780"/>
                  </a:lnTo>
                  <a:lnTo>
                    <a:pt x="18331" y="763"/>
                  </a:lnTo>
                  <a:lnTo>
                    <a:pt x="18357" y="758"/>
                  </a:lnTo>
                  <a:lnTo>
                    <a:pt x="18357" y="758"/>
                  </a:lnTo>
                  <a:lnTo>
                    <a:pt x="18357" y="758"/>
                  </a:lnTo>
                  <a:close/>
                  <a:moveTo>
                    <a:pt x="23093" y="758"/>
                  </a:moveTo>
                  <a:lnTo>
                    <a:pt x="23109" y="758"/>
                  </a:lnTo>
                  <a:lnTo>
                    <a:pt x="23088" y="758"/>
                  </a:lnTo>
                  <a:lnTo>
                    <a:pt x="23093" y="758"/>
                  </a:lnTo>
                  <a:lnTo>
                    <a:pt x="23093" y="758"/>
                  </a:lnTo>
                  <a:lnTo>
                    <a:pt x="23093" y="758"/>
                  </a:lnTo>
                  <a:close/>
                  <a:moveTo>
                    <a:pt x="16101" y="1314"/>
                  </a:moveTo>
                  <a:lnTo>
                    <a:pt x="16096" y="1307"/>
                  </a:lnTo>
                  <a:lnTo>
                    <a:pt x="16096" y="1318"/>
                  </a:lnTo>
                  <a:lnTo>
                    <a:pt x="16047" y="1318"/>
                  </a:lnTo>
                  <a:lnTo>
                    <a:pt x="16037" y="1297"/>
                  </a:lnTo>
                  <a:lnTo>
                    <a:pt x="16042" y="1314"/>
                  </a:lnTo>
                  <a:lnTo>
                    <a:pt x="15971" y="1297"/>
                  </a:lnTo>
                  <a:lnTo>
                    <a:pt x="15917" y="1314"/>
                  </a:lnTo>
                  <a:lnTo>
                    <a:pt x="15900" y="1307"/>
                  </a:lnTo>
                  <a:lnTo>
                    <a:pt x="15928" y="1297"/>
                  </a:lnTo>
                  <a:lnTo>
                    <a:pt x="15928" y="1290"/>
                  </a:lnTo>
                  <a:lnTo>
                    <a:pt x="15917" y="1290"/>
                  </a:lnTo>
                  <a:lnTo>
                    <a:pt x="15928" y="1281"/>
                  </a:lnTo>
                  <a:lnTo>
                    <a:pt x="15987" y="1257"/>
                  </a:lnTo>
                  <a:lnTo>
                    <a:pt x="15900" y="1273"/>
                  </a:lnTo>
                  <a:lnTo>
                    <a:pt x="15879" y="1252"/>
                  </a:lnTo>
                  <a:lnTo>
                    <a:pt x="15954" y="1224"/>
                  </a:lnTo>
                  <a:lnTo>
                    <a:pt x="15938" y="1219"/>
                  </a:lnTo>
                  <a:lnTo>
                    <a:pt x="15971" y="1195"/>
                  </a:lnTo>
                  <a:lnTo>
                    <a:pt x="16037" y="1203"/>
                  </a:lnTo>
                  <a:lnTo>
                    <a:pt x="15983" y="1179"/>
                  </a:lnTo>
                  <a:lnTo>
                    <a:pt x="16025" y="1179"/>
                  </a:lnTo>
                  <a:lnTo>
                    <a:pt x="15987" y="1170"/>
                  </a:lnTo>
                  <a:lnTo>
                    <a:pt x="15992" y="1153"/>
                  </a:lnTo>
                  <a:lnTo>
                    <a:pt x="16063" y="1146"/>
                  </a:lnTo>
                  <a:lnTo>
                    <a:pt x="16009" y="1141"/>
                  </a:lnTo>
                  <a:lnTo>
                    <a:pt x="16009" y="1125"/>
                  </a:lnTo>
                  <a:lnTo>
                    <a:pt x="16113" y="1125"/>
                  </a:lnTo>
                  <a:lnTo>
                    <a:pt x="16089" y="1125"/>
                  </a:lnTo>
                  <a:lnTo>
                    <a:pt x="16075" y="1108"/>
                  </a:lnTo>
                  <a:lnTo>
                    <a:pt x="16037" y="1108"/>
                  </a:lnTo>
                  <a:lnTo>
                    <a:pt x="16089" y="1087"/>
                  </a:lnTo>
                  <a:lnTo>
                    <a:pt x="16063" y="1087"/>
                  </a:lnTo>
                  <a:lnTo>
                    <a:pt x="16075" y="1075"/>
                  </a:lnTo>
                  <a:lnTo>
                    <a:pt x="16037" y="1075"/>
                  </a:lnTo>
                  <a:lnTo>
                    <a:pt x="16042" y="1070"/>
                  </a:lnTo>
                  <a:lnTo>
                    <a:pt x="16025" y="1070"/>
                  </a:lnTo>
                  <a:lnTo>
                    <a:pt x="16025" y="1058"/>
                  </a:lnTo>
                  <a:lnTo>
                    <a:pt x="16063" y="1051"/>
                  </a:lnTo>
                  <a:lnTo>
                    <a:pt x="16075" y="1070"/>
                  </a:lnTo>
                  <a:lnTo>
                    <a:pt x="16101" y="1042"/>
                  </a:lnTo>
                  <a:lnTo>
                    <a:pt x="16096" y="1035"/>
                  </a:lnTo>
                  <a:lnTo>
                    <a:pt x="16101" y="1030"/>
                  </a:lnTo>
                  <a:lnTo>
                    <a:pt x="16165" y="1030"/>
                  </a:lnTo>
                  <a:lnTo>
                    <a:pt x="16150" y="1002"/>
                  </a:lnTo>
                  <a:lnTo>
                    <a:pt x="16198" y="997"/>
                  </a:lnTo>
                  <a:lnTo>
                    <a:pt x="16181" y="985"/>
                  </a:lnTo>
                  <a:lnTo>
                    <a:pt x="16235" y="959"/>
                  </a:lnTo>
                  <a:lnTo>
                    <a:pt x="16349" y="931"/>
                  </a:lnTo>
                  <a:lnTo>
                    <a:pt x="16328" y="924"/>
                  </a:lnTo>
                  <a:lnTo>
                    <a:pt x="16344" y="919"/>
                  </a:lnTo>
                  <a:lnTo>
                    <a:pt x="16382" y="919"/>
                  </a:lnTo>
                  <a:lnTo>
                    <a:pt x="16361" y="931"/>
                  </a:lnTo>
                  <a:lnTo>
                    <a:pt x="16370" y="931"/>
                  </a:lnTo>
                  <a:lnTo>
                    <a:pt x="16403" y="907"/>
                  </a:lnTo>
                  <a:lnTo>
                    <a:pt x="16387" y="907"/>
                  </a:lnTo>
                  <a:lnTo>
                    <a:pt x="16398" y="891"/>
                  </a:lnTo>
                  <a:lnTo>
                    <a:pt x="16441" y="886"/>
                  </a:lnTo>
                  <a:lnTo>
                    <a:pt x="16495" y="903"/>
                  </a:lnTo>
                  <a:lnTo>
                    <a:pt x="16580" y="874"/>
                  </a:lnTo>
                  <a:lnTo>
                    <a:pt x="16613" y="886"/>
                  </a:lnTo>
                  <a:lnTo>
                    <a:pt x="16710" y="848"/>
                  </a:lnTo>
                  <a:lnTo>
                    <a:pt x="16743" y="853"/>
                  </a:lnTo>
                  <a:lnTo>
                    <a:pt x="16727" y="832"/>
                  </a:lnTo>
                  <a:lnTo>
                    <a:pt x="16852" y="780"/>
                  </a:lnTo>
                  <a:lnTo>
                    <a:pt x="16921" y="792"/>
                  </a:lnTo>
                  <a:lnTo>
                    <a:pt x="16954" y="815"/>
                  </a:lnTo>
                  <a:lnTo>
                    <a:pt x="16937" y="848"/>
                  </a:lnTo>
                  <a:lnTo>
                    <a:pt x="16944" y="853"/>
                  </a:lnTo>
                  <a:lnTo>
                    <a:pt x="16899" y="886"/>
                  </a:lnTo>
                  <a:lnTo>
                    <a:pt x="16906" y="886"/>
                  </a:lnTo>
                  <a:lnTo>
                    <a:pt x="16684" y="959"/>
                  </a:lnTo>
                  <a:lnTo>
                    <a:pt x="16592" y="981"/>
                  </a:lnTo>
                  <a:lnTo>
                    <a:pt x="16576" y="976"/>
                  </a:lnTo>
                  <a:lnTo>
                    <a:pt x="16559" y="985"/>
                  </a:lnTo>
                  <a:lnTo>
                    <a:pt x="16441" y="1018"/>
                  </a:lnTo>
                  <a:lnTo>
                    <a:pt x="16424" y="1042"/>
                  </a:lnTo>
                  <a:lnTo>
                    <a:pt x="16415" y="1030"/>
                  </a:lnTo>
                  <a:lnTo>
                    <a:pt x="16403" y="1042"/>
                  </a:lnTo>
                  <a:lnTo>
                    <a:pt x="16370" y="1058"/>
                  </a:lnTo>
                  <a:lnTo>
                    <a:pt x="16382" y="1070"/>
                  </a:lnTo>
                  <a:lnTo>
                    <a:pt x="16370" y="1075"/>
                  </a:lnTo>
                  <a:lnTo>
                    <a:pt x="16361" y="1058"/>
                  </a:lnTo>
                  <a:lnTo>
                    <a:pt x="16361" y="1075"/>
                  </a:lnTo>
                  <a:lnTo>
                    <a:pt x="16316" y="1075"/>
                  </a:lnTo>
                  <a:lnTo>
                    <a:pt x="16370" y="1087"/>
                  </a:lnTo>
                  <a:lnTo>
                    <a:pt x="16332" y="1096"/>
                  </a:lnTo>
                  <a:lnTo>
                    <a:pt x="16349" y="1108"/>
                  </a:lnTo>
                  <a:lnTo>
                    <a:pt x="16344" y="1113"/>
                  </a:lnTo>
                  <a:lnTo>
                    <a:pt x="16316" y="1113"/>
                  </a:lnTo>
                  <a:lnTo>
                    <a:pt x="16290" y="1108"/>
                  </a:lnTo>
                  <a:lnTo>
                    <a:pt x="16311" y="1125"/>
                  </a:lnTo>
                  <a:lnTo>
                    <a:pt x="16306" y="1141"/>
                  </a:lnTo>
                  <a:lnTo>
                    <a:pt x="16264" y="1113"/>
                  </a:lnTo>
                  <a:lnTo>
                    <a:pt x="16273" y="1129"/>
                  </a:lnTo>
                  <a:lnTo>
                    <a:pt x="16257" y="1141"/>
                  </a:lnTo>
                  <a:lnTo>
                    <a:pt x="16264" y="1153"/>
                  </a:lnTo>
                  <a:lnTo>
                    <a:pt x="16198" y="1141"/>
                  </a:lnTo>
                  <a:lnTo>
                    <a:pt x="16226" y="1153"/>
                  </a:lnTo>
                  <a:lnTo>
                    <a:pt x="16235" y="1179"/>
                  </a:lnTo>
                  <a:lnTo>
                    <a:pt x="16219" y="1195"/>
                  </a:lnTo>
                  <a:lnTo>
                    <a:pt x="16202" y="1186"/>
                  </a:lnTo>
                  <a:lnTo>
                    <a:pt x="16209" y="1203"/>
                  </a:lnTo>
                  <a:lnTo>
                    <a:pt x="16198" y="1203"/>
                  </a:lnTo>
                  <a:lnTo>
                    <a:pt x="16198" y="1219"/>
                  </a:lnTo>
                  <a:lnTo>
                    <a:pt x="16165" y="1207"/>
                  </a:lnTo>
                  <a:lnTo>
                    <a:pt x="16150" y="1195"/>
                  </a:lnTo>
                  <a:lnTo>
                    <a:pt x="16143" y="1195"/>
                  </a:lnTo>
                  <a:lnTo>
                    <a:pt x="16150" y="1207"/>
                  </a:lnTo>
                  <a:lnTo>
                    <a:pt x="16134" y="1207"/>
                  </a:lnTo>
                  <a:lnTo>
                    <a:pt x="16172" y="1236"/>
                  </a:lnTo>
                  <a:lnTo>
                    <a:pt x="16181" y="1252"/>
                  </a:lnTo>
                  <a:lnTo>
                    <a:pt x="16165" y="1257"/>
                  </a:lnTo>
                  <a:lnTo>
                    <a:pt x="16143" y="1240"/>
                  </a:lnTo>
                  <a:lnTo>
                    <a:pt x="16080" y="1236"/>
                  </a:lnTo>
                  <a:lnTo>
                    <a:pt x="16134" y="1240"/>
                  </a:lnTo>
                  <a:lnTo>
                    <a:pt x="16155" y="1264"/>
                  </a:lnTo>
                  <a:lnTo>
                    <a:pt x="16134" y="1281"/>
                  </a:lnTo>
                  <a:lnTo>
                    <a:pt x="16096" y="1264"/>
                  </a:lnTo>
                  <a:lnTo>
                    <a:pt x="16096" y="1273"/>
                  </a:lnTo>
                  <a:lnTo>
                    <a:pt x="16127" y="1290"/>
                  </a:lnTo>
                  <a:lnTo>
                    <a:pt x="16101" y="1314"/>
                  </a:lnTo>
                  <a:lnTo>
                    <a:pt x="16101" y="1314"/>
                  </a:lnTo>
                  <a:lnTo>
                    <a:pt x="16101" y="1314"/>
                  </a:lnTo>
                  <a:close/>
                  <a:moveTo>
                    <a:pt x="18978" y="815"/>
                  </a:moveTo>
                  <a:lnTo>
                    <a:pt x="18969" y="808"/>
                  </a:lnTo>
                  <a:lnTo>
                    <a:pt x="18978" y="808"/>
                  </a:lnTo>
                  <a:lnTo>
                    <a:pt x="18978" y="815"/>
                  </a:lnTo>
                  <a:lnTo>
                    <a:pt x="18978" y="815"/>
                  </a:lnTo>
                  <a:lnTo>
                    <a:pt x="18978" y="815"/>
                  </a:lnTo>
                  <a:close/>
                  <a:moveTo>
                    <a:pt x="22521" y="836"/>
                  </a:moveTo>
                  <a:lnTo>
                    <a:pt x="22547" y="820"/>
                  </a:lnTo>
                  <a:lnTo>
                    <a:pt x="22585" y="820"/>
                  </a:lnTo>
                  <a:lnTo>
                    <a:pt x="22576" y="836"/>
                  </a:lnTo>
                  <a:lnTo>
                    <a:pt x="22521" y="836"/>
                  </a:lnTo>
                  <a:lnTo>
                    <a:pt x="22521" y="836"/>
                  </a:lnTo>
                  <a:lnTo>
                    <a:pt x="22521" y="836"/>
                  </a:lnTo>
                  <a:close/>
                  <a:moveTo>
                    <a:pt x="18957" y="848"/>
                  </a:moveTo>
                  <a:lnTo>
                    <a:pt x="18940" y="836"/>
                  </a:lnTo>
                  <a:lnTo>
                    <a:pt x="18952" y="820"/>
                  </a:lnTo>
                  <a:lnTo>
                    <a:pt x="18957" y="836"/>
                  </a:lnTo>
                  <a:lnTo>
                    <a:pt x="18957" y="848"/>
                  </a:lnTo>
                  <a:lnTo>
                    <a:pt x="18957" y="848"/>
                  </a:lnTo>
                  <a:lnTo>
                    <a:pt x="18957" y="848"/>
                  </a:lnTo>
                  <a:close/>
                  <a:moveTo>
                    <a:pt x="18827" y="832"/>
                  </a:moveTo>
                  <a:lnTo>
                    <a:pt x="18834" y="832"/>
                  </a:lnTo>
                  <a:lnTo>
                    <a:pt x="18806" y="832"/>
                  </a:lnTo>
                  <a:lnTo>
                    <a:pt x="18827" y="832"/>
                  </a:lnTo>
                  <a:lnTo>
                    <a:pt x="18827" y="832"/>
                  </a:lnTo>
                  <a:lnTo>
                    <a:pt x="18827" y="832"/>
                  </a:lnTo>
                  <a:close/>
                  <a:moveTo>
                    <a:pt x="18789" y="820"/>
                  </a:moveTo>
                  <a:lnTo>
                    <a:pt x="18806" y="832"/>
                  </a:lnTo>
                  <a:lnTo>
                    <a:pt x="18763" y="836"/>
                  </a:lnTo>
                  <a:lnTo>
                    <a:pt x="18789" y="820"/>
                  </a:lnTo>
                  <a:lnTo>
                    <a:pt x="18789" y="820"/>
                  </a:lnTo>
                  <a:lnTo>
                    <a:pt x="18789" y="820"/>
                  </a:lnTo>
                  <a:close/>
                  <a:moveTo>
                    <a:pt x="18881" y="832"/>
                  </a:moveTo>
                  <a:lnTo>
                    <a:pt x="18865" y="836"/>
                  </a:lnTo>
                  <a:lnTo>
                    <a:pt x="18843" y="836"/>
                  </a:lnTo>
                  <a:lnTo>
                    <a:pt x="18881" y="832"/>
                  </a:lnTo>
                  <a:lnTo>
                    <a:pt x="18881" y="832"/>
                  </a:lnTo>
                  <a:lnTo>
                    <a:pt x="18881" y="832"/>
                  </a:lnTo>
                  <a:close/>
                  <a:moveTo>
                    <a:pt x="20010" y="865"/>
                  </a:moveTo>
                  <a:lnTo>
                    <a:pt x="19968" y="836"/>
                  </a:lnTo>
                  <a:lnTo>
                    <a:pt x="20010" y="836"/>
                  </a:lnTo>
                  <a:lnTo>
                    <a:pt x="20020" y="853"/>
                  </a:lnTo>
                  <a:lnTo>
                    <a:pt x="20010" y="865"/>
                  </a:lnTo>
                  <a:lnTo>
                    <a:pt x="20010" y="865"/>
                  </a:lnTo>
                  <a:lnTo>
                    <a:pt x="20010" y="865"/>
                  </a:lnTo>
                  <a:close/>
                  <a:moveTo>
                    <a:pt x="18704" y="836"/>
                  </a:moveTo>
                  <a:lnTo>
                    <a:pt x="18735" y="848"/>
                  </a:lnTo>
                  <a:lnTo>
                    <a:pt x="18697" y="848"/>
                  </a:lnTo>
                  <a:lnTo>
                    <a:pt x="18704" y="836"/>
                  </a:lnTo>
                  <a:lnTo>
                    <a:pt x="18704" y="836"/>
                  </a:lnTo>
                  <a:lnTo>
                    <a:pt x="18704" y="836"/>
                  </a:lnTo>
                  <a:close/>
                  <a:moveTo>
                    <a:pt x="20048" y="874"/>
                  </a:moveTo>
                  <a:lnTo>
                    <a:pt x="20065" y="870"/>
                  </a:lnTo>
                  <a:lnTo>
                    <a:pt x="20069" y="874"/>
                  </a:lnTo>
                  <a:lnTo>
                    <a:pt x="20048" y="874"/>
                  </a:lnTo>
                  <a:lnTo>
                    <a:pt x="20048" y="874"/>
                  </a:lnTo>
                  <a:lnTo>
                    <a:pt x="20048" y="874"/>
                  </a:lnTo>
                  <a:close/>
                  <a:moveTo>
                    <a:pt x="18902" y="907"/>
                  </a:moveTo>
                  <a:lnTo>
                    <a:pt x="18898" y="903"/>
                  </a:lnTo>
                  <a:lnTo>
                    <a:pt x="18902" y="874"/>
                  </a:lnTo>
                  <a:lnTo>
                    <a:pt x="18919" y="886"/>
                  </a:lnTo>
                  <a:lnTo>
                    <a:pt x="18902" y="907"/>
                  </a:lnTo>
                  <a:lnTo>
                    <a:pt x="18902" y="907"/>
                  </a:lnTo>
                  <a:lnTo>
                    <a:pt x="18902" y="907"/>
                  </a:lnTo>
                  <a:close/>
                  <a:moveTo>
                    <a:pt x="18898" y="886"/>
                  </a:moveTo>
                  <a:lnTo>
                    <a:pt x="18872" y="886"/>
                  </a:lnTo>
                  <a:lnTo>
                    <a:pt x="18902" y="886"/>
                  </a:lnTo>
                  <a:lnTo>
                    <a:pt x="18898" y="886"/>
                  </a:lnTo>
                  <a:lnTo>
                    <a:pt x="18898" y="886"/>
                  </a:lnTo>
                  <a:lnTo>
                    <a:pt x="18898" y="886"/>
                  </a:lnTo>
                  <a:close/>
                  <a:moveTo>
                    <a:pt x="18872" y="919"/>
                  </a:moveTo>
                  <a:lnTo>
                    <a:pt x="18796" y="903"/>
                  </a:lnTo>
                  <a:lnTo>
                    <a:pt x="18806" y="886"/>
                  </a:lnTo>
                  <a:lnTo>
                    <a:pt x="18898" y="891"/>
                  </a:lnTo>
                  <a:lnTo>
                    <a:pt x="18886" y="907"/>
                  </a:lnTo>
                  <a:lnTo>
                    <a:pt x="18886" y="891"/>
                  </a:lnTo>
                  <a:lnTo>
                    <a:pt x="18872" y="891"/>
                  </a:lnTo>
                  <a:lnTo>
                    <a:pt x="18872" y="903"/>
                  </a:lnTo>
                  <a:lnTo>
                    <a:pt x="18872" y="907"/>
                  </a:lnTo>
                  <a:lnTo>
                    <a:pt x="18872" y="919"/>
                  </a:lnTo>
                  <a:lnTo>
                    <a:pt x="18872" y="919"/>
                  </a:lnTo>
                  <a:lnTo>
                    <a:pt x="18872" y="919"/>
                  </a:lnTo>
                  <a:close/>
                  <a:moveTo>
                    <a:pt x="18758" y="891"/>
                  </a:moveTo>
                  <a:lnTo>
                    <a:pt x="18780" y="891"/>
                  </a:lnTo>
                  <a:lnTo>
                    <a:pt x="18763" y="903"/>
                  </a:lnTo>
                  <a:lnTo>
                    <a:pt x="18735" y="903"/>
                  </a:lnTo>
                  <a:lnTo>
                    <a:pt x="18763" y="903"/>
                  </a:lnTo>
                  <a:lnTo>
                    <a:pt x="18758" y="891"/>
                  </a:lnTo>
                  <a:lnTo>
                    <a:pt x="18758" y="891"/>
                  </a:lnTo>
                  <a:lnTo>
                    <a:pt x="18758" y="891"/>
                  </a:lnTo>
                  <a:close/>
                  <a:moveTo>
                    <a:pt x="18780" y="903"/>
                  </a:moveTo>
                  <a:lnTo>
                    <a:pt x="18789" y="907"/>
                  </a:lnTo>
                  <a:lnTo>
                    <a:pt x="18780" y="907"/>
                  </a:lnTo>
                  <a:lnTo>
                    <a:pt x="18780" y="903"/>
                  </a:lnTo>
                  <a:lnTo>
                    <a:pt x="18780" y="903"/>
                  </a:lnTo>
                  <a:lnTo>
                    <a:pt x="18780" y="903"/>
                  </a:lnTo>
                  <a:close/>
                  <a:moveTo>
                    <a:pt x="22105" y="1108"/>
                  </a:moveTo>
                  <a:lnTo>
                    <a:pt x="22072" y="1087"/>
                  </a:lnTo>
                  <a:lnTo>
                    <a:pt x="22098" y="1087"/>
                  </a:lnTo>
                  <a:lnTo>
                    <a:pt x="22089" y="1075"/>
                  </a:lnTo>
                  <a:lnTo>
                    <a:pt x="21938" y="1096"/>
                  </a:lnTo>
                  <a:lnTo>
                    <a:pt x="21909" y="1087"/>
                  </a:lnTo>
                  <a:lnTo>
                    <a:pt x="21900" y="1087"/>
                  </a:lnTo>
                  <a:lnTo>
                    <a:pt x="21905" y="1096"/>
                  </a:lnTo>
                  <a:lnTo>
                    <a:pt x="21900" y="1113"/>
                  </a:lnTo>
                  <a:lnTo>
                    <a:pt x="21867" y="1125"/>
                  </a:lnTo>
                  <a:lnTo>
                    <a:pt x="21791" y="1096"/>
                  </a:lnTo>
                  <a:lnTo>
                    <a:pt x="21782" y="1087"/>
                  </a:lnTo>
                  <a:lnTo>
                    <a:pt x="21737" y="1058"/>
                  </a:lnTo>
                  <a:lnTo>
                    <a:pt x="21711" y="1030"/>
                  </a:lnTo>
                  <a:lnTo>
                    <a:pt x="21749" y="1030"/>
                  </a:lnTo>
                  <a:lnTo>
                    <a:pt x="21749" y="1018"/>
                  </a:lnTo>
                  <a:lnTo>
                    <a:pt x="21737" y="1018"/>
                  </a:lnTo>
                  <a:lnTo>
                    <a:pt x="21744" y="985"/>
                  </a:lnTo>
                  <a:lnTo>
                    <a:pt x="21720" y="985"/>
                  </a:lnTo>
                  <a:lnTo>
                    <a:pt x="21737" y="981"/>
                  </a:lnTo>
                  <a:lnTo>
                    <a:pt x="21728" y="976"/>
                  </a:lnTo>
                  <a:lnTo>
                    <a:pt x="21737" y="964"/>
                  </a:lnTo>
                  <a:lnTo>
                    <a:pt x="21775" y="964"/>
                  </a:lnTo>
                  <a:lnTo>
                    <a:pt x="21749" y="943"/>
                  </a:lnTo>
                  <a:lnTo>
                    <a:pt x="21820" y="907"/>
                  </a:lnTo>
                  <a:lnTo>
                    <a:pt x="21829" y="924"/>
                  </a:lnTo>
                  <a:lnTo>
                    <a:pt x="21829" y="903"/>
                  </a:lnTo>
                  <a:lnTo>
                    <a:pt x="21850" y="903"/>
                  </a:lnTo>
                  <a:lnTo>
                    <a:pt x="21872" y="919"/>
                  </a:lnTo>
                  <a:lnTo>
                    <a:pt x="21921" y="931"/>
                  </a:lnTo>
                  <a:lnTo>
                    <a:pt x="21926" y="943"/>
                  </a:lnTo>
                  <a:lnTo>
                    <a:pt x="21921" y="947"/>
                  </a:lnTo>
                  <a:lnTo>
                    <a:pt x="21926" y="959"/>
                  </a:lnTo>
                  <a:lnTo>
                    <a:pt x="21964" y="964"/>
                  </a:lnTo>
                  <a:lnTo>
                    <a:pt x="21964" y="981"/>
                  </a:lnTo>
                  <a:lnTo>
                    <a:pt x="22009" y="981"/>
                  </a:lnTo>
                  <a:lnTo>
                    <a:pt x="21997" y="976"/>
                  </a:lnTo>
                  <a:lnTo>
                    <a:pt x="22009" y="924"/>
                  </a:lnTo>
                  <a:lnTo>
                    <a:pt x="22046" y="931"/>
                  </a:lnTo>
                  <a:lnTo>
                    <a:pt x="22030" y="903"/>
                  </a:lnTo>
                  <a:lnTo>
                    <a:pt x="22115" y="947"/>
                  </a:lnTo>
                  <a:lnTo>
                    <a:pt x="22207" y="959"/>
                  </a:lnTo>
                  <a:lnTo>
                    <a:pt x="22316" y="1002"/>
                  </a:lnTo>
                  <a:lnTo>
                    <a:pt x="22266" y="1014"/>
                  </a:lnTo>
                  <a:lnTo>
                    <a:pt x="22261" y="1030"/>
                  </a:lnTo>
                  <a:lnTo>
                    <a:pt x="22283" y="1035"/>
                  </a:lnTo>
                  <a:lnTo>
                    <a:pt x="22245" y="1070"/>
                  </a:lnTo>
                  <a:lnTo>
                    <a:pt x="22212" y="1075"/>
                  </a:lnTo>
                  <a:lnTo>
                    <a:pt x="22136" y="1058"/>
                  </a:lnTo>
                  <a:lnTo>
                    <a:pt x="22105" y="1030"/>
                  </a:lnTo>
                  <a:lnTo>
                    <a:pt x="22115" y="1014"/>
                  </a:lnTo>
                  <a:lnTo>
                    <a:pt x="22143" y="985"/>
                  </a:lnTo>
                  <a:lnTo>
                    <a:pt x="22143" y="981"/>
                  </a:lnTo>
                  <a:lnTo>
                    <a:pt x="22105" y="976"/>
                  </a:lnTo>
                  <a:lnTo>
                    <a:pt x="22084" y="985"/>
                  </a:lnTo>
                  <a:lnTo>
                    <a:pt x="22084" y="1018"/>
                  </a:lnTo>
                  <a:lnTo>
                    <a:pt x="22115" y="1058"/>
                  </a:lnTo>
                  <a:lnTo>
                    <a:pt x="22191" y="1087"/>
                  </a:lnTo>
                  <a:lnTo>
                    <a:pt x="22122" y="1092"/>
                  </a:lnTo>
                  <a:lnTo>
                    <a:pt x="22105" y="1108"/>
                  </a:lnTo>
                  <a:lnTo>
                    <a:pt x="22105" y="1108"/>
                  </a:lnTo>
                  <a:lnTo>
                    <a:pt x="22105" y="1108"/>
                  </a:lnTo>
                  <a:close/>
                  <a:moveTo>
                    <a:pt x="22816" y="907"/>
                  </a:moveTo>
                  <a:lnTo>
                    <a:pt x="22807" y="907"/>
                  </a:lnTo>
                  <a:lnTo>
                    <a:pt x="22833" y="907"/>
                  </a:lnTo>
                  <a:lnTo>
                    <a:pt x="22816" y="907"/>
                  </a:lnTo>
                  <a:lnTo>
                    <a:pt x="22816" y="907"/>
                  </a:lnTo>
                  <a:lnTo>
                    <a:pt x="22816" y="907"/>
                  </a:lnTo>
                  <a:close/>
                  <a:moveTo>
                    <a:pt x="16316" y="907"/>
                  </a:moveTo>
                  <a:lnTo>
                    <a:pt x="16361" y="903"/>
                  </a:lnTo>
                  <a:lnTo>
                    <a:pt x="16311" y="919"/>
                  </a:lnTo>
                  <a:lnTo>
                    <a:pt x="16316" y="907"/>
                  </a:lnTo>
                  <a:lnTo>
                    <a:pt x="16316" y="907"/>
                  </a:lnTo>
                  <a:lnTo>
                    <a:pt x="16316" y="907"/>
                  </a:lnTo>
                  <a:close/>
                  <a:moveTo>
                    <a:pt x="21997" y="924"/>
                  </a:moveTo>
                  <a:lnTo>
                    <a:pt x="21992" y="919"/>
                  </a:lnTo>
                  <a:lnTo>
                    <a:pt x="21997" y="907"/>
                  </a:lnTo>
                  <a:lnTo>
                    <a:pt x="22013" y="919"/>
                  </a:lnTo>
                  <a:lnTo>
                    <a:pt x="21997" y="924"/>
                  </a:lnTo>
                  <a:lnTo>
                    <a:pt x="21997" y="924"/>
                  </a:lnTo>
                  <a:lnTo>
                    <a:pt x="21997" y="924"/>
                  </a:lnTo>
                  <a:close/>
                  <a:moveTo>
                    <a:pt x="17932" y="943"/>
                  </a:moveTo>
                  <a:lnTo>
                    <a:pt x="17889" y="943"/>
                  </a:lnTo>
                  <a:lnTo>
                    <a:pt x="17953" y="943"/>
                  </a:lnTo>
                  <a:lnTo>
                    <a:pt x="17932" y="943"/>
                  </a:lnTo>
                  <a:lnTo>
                    <a:pt x="17932" y="943"/>
                  </a:lnTo>
                  <a:lnTo>
                    <a:pt x="17932" y="943"/>
                  </a:lnTo>
                  <a:close/>
                  <a:moveTo>
                    <a:pt x="16240" y="943"/>
                  </a:moveTo>
                  <a:lnTo>
                    <a:pt x="16273" y="931"/>
                  </a:lnTo>
                  <a:lnTo>
                    <a:pt x="16235" y="947"/>
                  </a:lnTo>
                  <a:lnTo>
                    <a:pt x="16240" y="943"/>
                  </a:lnTo>
                  <a:lnTo>
                    <a:pt x="16240" y="943"/>
                  </a:lnTo>
                  <a:lnTo>
                    <a:pt x="16240" y="943"/>
                  </a:lnTo>
                  <a:close/>
                  <a:moveTo>
                    <a:pt x="17839" y="943"/>
                  </a:moveTo>
                  <a:lnTo>
                    <a:pt x="17889" y="947"/>
                  </a:lnTo>
                  <a:lnTo>
                    <a:pt x="17835" y="943"/>
                  </a:lnTo>
                  <a:lnTo>
                    <a:pt x="17839" y="943"/>
                  </a:lnTo>
                  <a:lnTo>
                    <a:pt x="17839" y="943"/>
                  </a:lnTo>
                  <a:lnTo>
                    <a:pt x="17839" y="943"/>
                  </a:lnTo>
                  <a:close/>
                  <a:moveTo>
                    <a:pt x="16257" y="947"/>
                  </a:moveTo>
                  <a:lnTo>
                    <a:pt x="16273" y="943"/>
                  </a:lnTo>
                  <a:lnTo>
                    <a:pt x="16252" y="947"/>
                  </a:lnTo>
                  <a:lnTo>
                    <a:pt x="16257" y="947"/>
                  </a:lnTo>
                  <a:lnTo>
                    <a:pt x="16257" y="947"/>
                  </a:lnTo>
                  <a:lnTo>
                    <a:pt x="16257" y="947"/>
                  </a:lnTo>
                  <a:close/>
                  <a:moveTo>
                    <a:pt x="21614" y="1018"/>
                  </a:moveTo>
                  <a:lnTo>
                    <a:pt x="21631" y="997"/>
                  </a:lnTo>
                  <a:lnTo>
                    <a:pt x="21619" y="981"/>
                  </a:lnTo>
                  <a:lnTo>
                    <a:pt x="21635" y="959"/>
                  </a:lnTo>
                  <a:lnTo>
                    <a:pt x="21640" y="981"/>
                  </a:lnTo>
                  <a:lnTo>
                    <a:pt x="21668" y="985"/>
                  </a:lnTo>
                  <a:lnTo>
                    <a:pt x="21652" y="1002"/>
                  </a:lnTo>
                  <a:lnTo>
                    <a:pt x="21657" y="1014"/>
                  </a:lnTo>
                  <a:lnTo>
                    <a:pt x="21652" y="1018"/>
                  </a:lnTo>
                  <a:lnTo>
                    <a:pt x="21614" y="1018"/>
                  </a:lnTo>
                  <a:lnTo>
                    <a:pt x="21614" y="1018"/>
                  </a:lnTo>
                  <a:lnTo>
                    <a:pt x="21614" y="1018"/>
                  </a:lnTo>
                  <a:close/>
                  <a:moveTo>
                    <a:pt x="22391" y="985"/>
                  </a:moveTo>
                  <a:lnTo>
                    <a:pt x="22408" y="1002"/>
                  </a:lnTo>
                  <a:lnTo>
                    <a:pt x="22396" y="1014"/>
                  </a:lnTo>
                  <a:lnTo>
                    <a:pt x="22424" y="1030"/>
                  </a:lnTo>
                  <a:lnTo>
                    <a:pt x="22450" y="1030"/>
                  </a:lnTo>
                  <a:lnTo>
                    <a:pt x="22439" y="1030"/>
                  </a:lnTo>
                  <a:lnTo>
                    <a:pt x="22450" y="1014"/>
                  </a:lnTo>
                  <a:lnTo>
                    <a:pt x="22521" y="1018"/>
                  </a:lnTo>
                  <a:lnTo>
                    <a:pt x="22538" y="1018"/>
                  </a:lnTo>
                  <a:lnTo>
                    <a:pt x="22531" y="1035"/>
                  </a:lnTo>
                  <a:lnTo>
                    <a:pt x="22538" y="1042"/>
                  </a:lnTo>
                  <a:lnTo>
                    <a:pt x="22590" y="1035"/>
                  </a:lnTo>
                  <a:lnTo>
                    <a:pt x="22644" y="1042"/>
                  </a:lnTo>
                  <a:lnTo>
                    <a:pt x="22665" y="1070"/>
                  </a:lnTo>
                  <a:lnTo>
                    <a:pt x="22698" y="1058"/>
                  </a:lnTo>
                  <a:lnTo>
                    <a:pt x="22682" y="1075"/>
                  </a:lnTo>
                  <a:lnTo>
                    <a:pt x="22677" y="1092"/>
                  </a:lnTo>
                  <a:lnTo>
                    <a:pt x="22613" y="1113"/>
                  </a:lnTo>
                  <a:lnTo>
                    <a:pt x="22514" y="1108"/>
                  </a:lnTo>
                  <a:lnTo>
                    <a:pt x="22358" y="1042"/>
                  </a:lnTo>
                  <a:lnTo>
                    <a:pt x="22387" y="997"/>
                  </a:lnTo>
                  <a:lnTo>
                    <a:pt x="22391" y="985"/>
                  </a:lnTo>
                  <a:lnTo>
                    <a:pt x="22391" y="985"/>
                  </a:lnTo>
                  <a:lnTo>
                    <a:pt x="22391" y="985"/>
                  </a:lnTo>
                  <a:close/>
                  <a:moveTo>
                    <a:pt x="17877" y="1002"/>
                  </a:moveTo>
                  <a:lnTo>
                    <a:pt x="17872" y="1014"/>
                  </a:lnTo>
                  <a:lnTo>
                    <a:pt x="17889" y="1030"/>
                  </a:lnTo>
                  <a:lnTo>
                    <a:pt x="17872" y="1030"/>
                  </a:lnTo>
                  <a:lnTo>
                    <a:pt x="17872" y="1051"/>
                  </a:lnTo>
                  <a:lnTo>
                    <a:pt x="17856" y="1042"/>
                  </a:lnTo>
                  <a:lnTo>
                    <a:pt x="17856" y="1035"/>
                  </a:lnTo>
                  <a:lnTo>
                    <a:pt x="17844" y="1035"/>
                  </a:lnTo>
                  <a:lnTo>
                    <a:pt x="17835" y="1030"/>
                  </a:lnTo>
                  <a:lnTo>
                    <a:pt x="17877" y="1002"/>
                  </a:lnTo>
                  <a:lnTo>
                    <a:pt x="17877" y="1002"/>
                  </a:lnTo>
                  <a:lnTo>
                    <a:pt x="17877" y="1002"/>
                  </a:lnTo>
                  <a:close/>
                  <a:moveTo>
                    <a:pt x="18217" y="1075"/>
                  </a:moveTo>
                  <a:lnTo>
                    <a:pt x="18222" y="1087"/>
                  </a:lnTo>
                  <a:lnTo>
                    <a:pt x="18196" y="1092"/>
                  </a:lnTo>
                  <a:lnTo>
                    <a:pt x="18201" y="1096"/>
                  </a:lnTo>
                  <a:lnTo>
                    <a:pt x="18163" y="1092"/>
                  </a:lnTo>
                  <a:lnTo>
                    <a:pt x="18217" y="1075"/>
                  </a:lnTo>
                  <a:lnTo>
                    <a:pt x="18217" y="1075"/>
                  </a:lnTo>
                  <a:lnTo>
                    <a:pt x="18217" y="1075"/>
                  </a:lnTo>
                  <a:close/>
                  <a:moveTo>
                    <a:pt x="18109" y="1108"/>
                  </a:moveTo>
                  <a:lnTo>
                    <a:pt x="18125" y="1113"/>
                  </a:lnTo>
                  <a:lnTo>
                    <a:pt x="18087" y="1113"/>
                  </a:lnTo>
                  <a:lnTo>
                    <a:pt x="18109" y="1108"/>
                  </a:lnTo>
                  <a:lnTo>
                    <a:pt x="18109" y="1108"/>
                  </a:lnTo>
                  <a:lnTo>
                    <a:pt x="18109" y="1108"/>
                  </a:lnTo>
                  <a:close/>
                  <a:moveTo>
                    <a:pt x="17672" y="1129"/>
                  </a:moveTo>
                  <a:lnTo>
                    <a:pt x="17700" y="1129"/>
                  </a:lnTo>
                  <a:lnTo>
                    <a:pt x="17693" y="1146"/>
                  </a:lnTo>
                  <a:lnTo>
                    <a:pt x="17672" y="1129"/>
                  </a:lnTo>
                  <a:lnTo>
                    <a:pt x="17672" y="1129"/>
                  </a:lnTo>
                  <a:lnTo>
                    <a:pt x="17672" y="1129"/>
                  </a:lnTo>
                  <a:close/>
                  <a:moveTo>
                    <a:pt x="18125" y="1141"/>
                  </a:moveTo>
                  <a:lnTo>
                    <a:pt x="18104" y="1153"/>
                  </a:lnTo>
                  <a:lnTo>
                    <a:pt x="18087" y="1146"/>
                  </a:lnTo>
                  <a:lnTo>
                    <a:pt x="18125" y="1141"/>
                  </a:lnTo>
                  <a:lnTo>
                    <a:pt x="18125" y="1141"/>
                  </a:lnTo>
                  <a:lnTo>
                    <a:pt x="18125" y="1141"/>
                  </a:lnTo>
                  <a:close/>
                  <a:moveTo>
                    <a:pt x="18142" y="1153"/>
                  </a:moveTo>
                  <a:lnTo>
                    <a:pt x="18125" y="1153"/>
                  </a:lnTo>
                  <a:lnTo>
                    <a:pt x="18130" y="1141"/>
                  </a:lnTo>
                  <a:lnTo>
                    <a:pt x="18163" y="1146"/>
                  </a:lnTo>
                  <a:lnTo>
                    <a:pt x="18142" y="1153"/>
                  </a:lnTo>
                  <a:lnTo>
                    <a:pt x="18142" y="1153"/>
                  </a:lnTo>
                  <a:lnTo>
                    <a:pt x="18142" y="1153"/>
                  </a:lnTo>
                  <a:close/>
                  <a:moveTo>
                    <a:pt x="20020" y="1207"/>
                  </a:moveTo>
                  <a:lnTo>
                    <a:pt x="19982" y="1203"/>
                  </a:lnTo>
                  <a:lnTo>
                    <a:pt x="19930" y="1170"/>
                  </a:lnTo>
                  <a:lnTo>
                    <a:pt x="19961" y="1170"/>
                  </a:lnTo>
                  <a:lnTo>
                    <a:pt x="19977" y="1141"/>
                  </a:lnTo>
                  <a:lnTo>
                    <a:pt x="20069" y="1162"/>
                  </a:lnTo>
                  <a:lnTo>
                    <a:pt x="20053" y="1186"/>
                  </a:lnTo>
                  <a:lnTo>
                    <a:pt x="20020" y="1207"/>
                  </a:lnTo>
                  <a:lnTo>
                    <a:pt x="20020" y="1207"/>
                  </a:lnTo>
                  <a:lnTo>
                    <a:pt x="20020" y="1207"/>
                  </a:lnTo>
                  <a:close/>
                  <a:moveTo>
                    <a:pt x="18054" y="1146"/>
                  </a:moveTo>
                  <a:lnTo>
                    <a:pt x="18071" y="1153"/>
                  </a:lnTo>
                  <a:lnTo>
                    <a:pt x="18050" y="1153"/>
                  </a:lnTo>
                  <a:lnTo>
                    <a:pt x="18054" y="1162"/>
                  </a:lnTo>
                  <a:lnTo>
                    <a:pt x="18033" y="1153"/>
                  </a:lnTo>
                  <a:lnTo>
                    <a:pt x="18054" y="1146"/>
                  </a:lnTo>
                  <a:lnTo>
                    <a:pt x="18054" y="1146"/>
                  </a:lnTo>
                  <a:lnTo>
                    <a:pt x="18054" y="1146"/>
                  </a:lnTo>
                  <a:close/>
                  <a:moveTo>
                    <a:pt x="20246" y="1179"/>
                  </a:moveTo>
                  <a:lnTo>
                    <a:pt x="20246" y="1162"/>
                  </a:lnTo>
                  <a:lnTo>
                    <a:pt x="20263" y="1179"/>
                  </a:lnTo>
                  <a:lnTo>
                    <a:pt x="20246" y="1179"/>
                  </a:lnTo>
                  <a:lnTo>
                    <a:pt x="20246" y="1179"/>
                  </a:lnTo>
                  <a:lnTo>
                    <a:pt x="20246" y="1179"/>
                  </a:lnTo>
                  <a:close/>
                  <a:moveTo>
                    <a:pt x="21964" y="1236"/>
                  </a:moveTo>
                  <a:lnTo>
                    <a:pt x="21942" y="1219"/>
                  </a:lnTo>
                  <a:lnTo>
                    <a:pt x="21942" y="1195"/>
                  </a:lnTo>
                  <a:lnTo>
                    <a:pt x="21980" y="1179"/>
                  </a:lnTo>
                  <a:lnTo>
                    <a:pt x="22013" y="1195"/>
                  </a:lnTo>
                  <a:lnTo>
                    <a:pt x="22009" y="1219"/>
                  </a:lnTo>
                  <a:lnTo>
                    <a:pt x="21964" y="1236"/>
                  </a:lnTo>
                  <a:lnTo>
                    <a:pt x="21964" y="1236"/>
                  </a:lnTo>
                  <a:lnTo>
                    <a:pt x="21964" y="1236"/>
                  </a:lnTo>
                  <a:close/>
                  <a:moveTo>
                    <a:pt x="21614" y="1186"/>
                  </a:moveTo>
                  <a:lnTo>
                    <a:pt x="21657" y="1207"/>
                  </a:lnTo>
                  <a:lnTo>
                    <a:pt x="21673" y="1224"/>
                  </a:lnTo>
                  <a:lnTo>
                    <a:pt x="21657" y="1236"/>
                  </a:lnTo>
                  <a:lnTo>
                    <a:pt x="21614" y="1195"/>
                  </a:lnTo>
                  <a:lnTo>
                    <a:pt x="21614" y="1186"/>
                  </a:lnTo>
                  <a:lnTo>
                    <a:pt x="21614" y="1186"/>
                  </a:lnTo>
                  <a:lnTo>
                    <a:pt x="21614" y="1186"/>
                  </a:lnTo>
                  <a:close/>
                  <a:moveTo>
                    <a:pt x="18125" y="1195"/>
                  </a:moveTo>
                  <a:lnTo>
                    <a:pt x="18109" y="1203"/>
                  </a:lnTo>
                  <a:lnTo>
                    <a:pt x="18116" y="1195"/>
                  </a:lnTo>
                  <a:lnTo>
                    <a:pt x="18104" y="1195"/>
                  </a:lnTo>
                  <a:lnTo>
                    <a:pt x="18125" y="1195"/>
                  </a:lnTo>
                  <a:lnTo>
                    <a:pt x="18125" y="1195"/>
                  </a:lnTo>
                  <a:lnTo>
                    <a:pt x="18125" y="1195"/>
                  </a:lnTo>
                  <a:close/>
                  <a:moveTo>
                    <a:pt x="17910" y="1195"/>
                  </a:moveTo>
                  <a:lnTo>
                    <a:pt x="17915" y="1203"/>
                  </a:lnTo>
                  <a:lnTo>
                    <a:pt x="17889" y="1203"/>
                  </a:lnTo>
                  <a:lnTo>
                    <a:pt x="17910" y="1195"/>
                  </a:lnTo>
                  <a:lnTo>
                    <a:pt x="17910" y="1195"/>
                  </a:lnTo>
                  <a:lnTo>
                    <a:pt x="17910" y="1195"/>
                  </a:lnTo>
                  <a:close/>
                  <a:moveTo>
                    <a:pt x="17927" y="1207"/>
                  </a:moveTo>
                  <a:lnTo>
                    <a:pt x="17948" y="1195"/>
                  </a:lnTo>
                  <a:lnTo>
                    <a:pt x="17979" y="1207"/>
                  </a:lnTo>
                  <a:lnTo>
                    <a:pt x="17927" y="1207"/>
                  </a:lnTo>
                  <a:lnTo>
                    <a:pt x="17927" y="1207"/>
                  </a:lnTo>
                  <a:lnTo>
                    <a:pt x="17927" y="1207"/>
                  </a:lnTo>
                  <a:close/>
                  <a:moveTo>
                    <a:pt x="18002" y="1219"/>
                  </a:moveTo>
                  <a:lnTo>
                    <a:pt x="18033" y="1207"/>
                  </a:lnTo>
                  <a:lnTo>
                    <a:pt x="18033" y="1224"/>
                  </a:lnTo>
                  <a:lnTo>
                    <a:pt x="18002" y="1219"/>
                  </a:lnTo>
                  <a:lnTo>
                    <a:pt x="18002" y="1219"/>
                  </a:lnTo>
                  <a:lnTo>
                    <a:pt x="18002" y="1219"/>
                  </a:lnTo>
                  <a:close/>
                  <a:moveTo>
                    <a:pt x="20846" y="1240"/>
                  </a:moveTo>
                  <a:lnTo>
                    <a:pt x="20830" y="1236"/>
                  </a:lnTo>
                  <a:lnTo>
                    <a:pt x="20858" y="1236"/>
                  </a:lnTo>
                  <a:lnTo>
                    <a:pt x="20846" y="1240"/>
                  </a:lnTo>
                  <a:lnTo>
                    <a:pt x="20846" y="1240"/>
                  </a:lnTo>
                  <a:lnTo>
                    <a:pt x="20846" y="1240"/>
                  </a:lnTo>
                  <a:close/>
                  <a:moveTo>
                    <a:pt x="22013" y="1236"/>
                  </a:moveTo>
                  <a:lnTo>
                    <a:pt x="22072" y="1236"/>
                  </a:lnTo>
                  <a:lnTo>
                    <a:pt x="22115" y="1240"/>
                  </a:lnTo>
                  <a:lnTo>
                    <a:pt x="22174" y="1290"/>
                  </a:lnTo>
                  <a:lnTo>
                    <a:pt x="22181" y="1297"/>
                  </a:lnTo>
                  <a:lnTo>
                    <a:pt x="22174" y="1307"/>
                  </a:lnTo>
                  <a:lnTo>
                    <a:pt x="22181" y="1330"/>
                  </a:lnTo>
                  <a:lnTo>
                    <a:pt x="22098" y="1318"/>
                  </a:lnTo>
                  <a:lnTo>
                    <a:pt x="21992" y="1297"/>
                  </a:lnTo>
                  <a:lnTo>
                    <a:pt x="21926" y="1314"/>
                  </a:lnTo>
                  <a:lnTo>
                    <a:pt x="21909" y="1307"/>
                  </a:lnTo>
                  <a:lnTo>
                    <a:pt x="21964" y="1290"/>
                  </a:lnTo>
                  <a:lnTo>
                    <a:pt x="22013" y="1236"/>
                  </a:lnTo>
                  <a:lnTo>
                    <a:pt x="22013" y="1236"/>
                  </a:lnTo>
                  <a:lnTo>
                    <a:pt x="22013" y="1236"/>
                  </a:lnTo>
                  <a:close/>
                  <a:moveTo>
                    <a:pt x="20776" y="1330"/>
                  </a:moveTo>
                  <a:lnTo>
                    <a:pt x="20754" y="1307"/>
                  </a:lnTo>
                  <a:lnTo>
                    <a:pt x="20754" y="1281"/>
                  </a:lnTo>
                  <a:lnTo>
                    <a:pt x="20771" y="1264"/>
                  </a:lnTo>
                  <a:lnTo>
                    <a:pt x="20809" y="1273"/>
                  </a:lnTo>
                  <a:lnTo>
                    <a:pt x="20804" y="1252"/>
                  </a:lnTo>
                  <a:lnTo>
                    <a:pt x="20820" y="1264"/>
                  </a:lnTo>
                  <a:lnTo>
                    <a:pt x="20842" y="1252"/>
                  </a:lnTo>
                  <a:lnTo>
                    <a:pt x="20880" y="1273"/>
                  </a:lnTo>
                  <a:lnTo>
                    <a:pt x="20896" y="1264"/>
                  </a:lnTo>
                  <a:lnTo>
                    <a:pt x="20901" y="1281"/>
                  </a:lnTo>
                  <a:lnTo>
                    <a:pt x="20927" y="1281"/>
                  </a:lnTo>
                  <a:lnTo>
                    <a:pt x="20917" y="1297"/>
                  </a:lnTo>
                  <a:lnTo>
                    <a:pt x="20917" y="1307"/>
                  </a:lnTo>
                  <a:lnTo>
                    <a:pt x="20972" y="1281"/>
                  </a:lnTo>
                  <a:lnTo>
                    <a:pt x="20981" y="1290"/>
                  </a:lnTo>
                  <a:lnTo>
                    <a:pt x="20965" y="1307"/>
                  </a:lnTo>
                  <a:lnTo>
                    <a:pt x="20988" y="1307"/>
                  </a:lnTo>
                  <a:lnTo>
                    <a:pt x="21002" y="1347"/>
                  </a:lnTo>
                  <a:lnTo>
                    <a:pt x="20972" y="1375"/>
                  </a:lnTo>
                  <a:lnTo>
                    <a:pt x="20981" y="1384"/>
                  </a:lnTo>
                  <a:lnTo>
                    <a:pt x="20972" y="1425"/>
                  </a:lnTo>
                  <a:lnTo>
                    <a:pt x="20981" y="1441"/>
                  </a:lnTo>
                  <a:lnTo>
                    <a:pt x="20965" y="1458"/>
                  </a:lnTo>
                  <a:lnTo>
                    <a:pt x="20863" y="1401"/>
                  </a:lnTo>
                  <a:lnTo>
                    <a:pt x="20700" y="1363"/>
                  </a:lnTo>
                  <a:lnTo>
                    <a:pt x="20717" y="1351"/>
                  </a:lnTo>
                  <a:lnTo>
                    <a:pt x="20754" y="1368"/>
                  </a:lnTo>
                  <a:lnTo>
                    <a:pt x="20766" y="1363"/>
                  </a:lnTo>
                  <a:lnTo>
                    <a:pt x="20771" y="1335"/>
                  </a:lnTo>
                  <a:lnTo>
                    <a:pt x="20787" y="1330"/>
                  </a:lnTo>
                  <a:lnTo>
                    <a:pt x="20776" y="1330"/>
                  </a:lnTo>
                  <a:lnTo>
                    <a:pt x="20776" y="1330"/>
                  </a:lnTo>
                  <a:lnTo>
                    <a:pt x="20776" y="1330"/>
                  </a:lnTo>
                  <a:close/>
                  <a:moveTo>
                    <a:pt x="18213" y="1264"/>
                  </a:moveTo>
                  <a:lnTo>
                    <a:pt x="18201" y="1273"/>
                  </a:lnTo>
                  <a:lnTo>
                    <a:pt x="18168" y="1273"/>
                  </a:lnTo>
                  <a:lnTo>
                    <a:pt x="18213" y="1264"/>
                  </a:lnTo>
                  <a:lnTo>
                    <a:pt x="18213" y="1264"/>
                  </a:lnTo>
                  <a:lnTo>
                    <a:pt x="18213" y="1264"/>
                  </a:lnTo>
                  <a:close/>
                  <a:moveTo>
                    <a:pt x="17747" y="1290"/>
                  </a:moveTo>
                  <a:lnTo>
                    <a:pt x="17731" y="1281"/>
                  </a:lnTo>
                  <a:lnTo>
                    <a:pt x="17752" y="1281"/>
                  </a:lnTo>
                  <a:lnTo>
                    <a:pt x="17747" y="1290"/>
                  </a:lnTo>
                  <a:lnTo>
                    <a:pt x="17747" y="1290"/>
                  </a:lnTo>
                  <a:lnTo>
                    <a:pt x="17747" y="1290"/>
                  </a:lnTo>
                  <a:close/>
                  <a:moveTo>
                    <a:pt x="17402" y="1297"/>
                  </a:moveTo>
                  <a:lnTo>
                    <a:pt x="17412" y="1281"/>
                  </a:lnTo>
                  <a:lnTo>
                    <a:pt x="17457" y="1281"/>
                  </a:lnTo>
                  <a:lnTo>
                    <a:pt x="17440" y="1297"/>
                  </a:lnTo>
                  <a:lnTo>
                    <a:pt x="17407" y="1297"/>
                  </a:lnTo>
                  <a:lnTo>
                    <a:pt x="17412" y="1290"/>
                  </a:lnTo>
                  <a:lnTo>
                    <a:pt x="17402" y="1297"/>
                  </a:lnTo>
                  <a:lnTo>
                    <a:pt x="17402" y="1297"/>
                  </a:lnTo>
                  <a:lnTo>
                    <a:pt x="17402" y="1297"/>
                  </a:lnTo>
                  <a:close/>
                  <a:moveTo>
                    <a:pt x="21002" y="1347"/>
                  </a:moveTo>
                  <a:lnTo>
                    <a:pt x="21002" y="1335"/>
                  </a:lnTo>
                  <a:lnTo>
                    <a:pt x="20993" y="1318"/>
                  </a:lnTo>
                  <a:lnTo>
                    <a:pt x="20993" y="1307"/>
                  </a:lnTo>
                  <a:lnTo>
                    <a:pt x="21002" y="1297"/>
                  </a:lnTo>
                  <a:lnTo>
                    <a:pt x="21009" y="1307"/>
                  </a:lnTo>
                  <a:lnTo>
                    <a:pt x="21019" y="1290"/>
                  </a:lnTo>
                  <a:lnTo>
                    <a:pt x="21009" y="1290"/>
                  </a:lnTo>
                  <a:lnTo>
                    <a:pt x="21026" y="1281"/>
                  </a:lnTo>
                  <a:lnTo>
                    <a:pt x="21090" y="1290"/>
                  </a:lnTo>
                  <a:lnTo>
                    <a:pt x="21094" y="1307"/>
                  </a:lnTo>
                  <a:lnTo>
                    <a:pt x="21116" y="1314"/>
                  </a:lnTo>
                  <a:lnTo>
                    <a:pt x="21111" y="1318"/>
                  </a:lnTo>
                  <a:lnTo>
                    <a:pt x="21154" y="1335"/>
                  </a:lnTo>
                  <a:lnTo>
                    <a:pt x="21149" y="1351"/>
                  </a:lnTo>
                  <a:lnTo>
                    <a:pt x="21170" y="1347"/>
                  </a:lnTo>
                  <a:lnTo>
                    <a:pt x="21154" y="1363"/>
                  </a:lnTo>
                  <a:lnTo>
                    <a:pt x="21111" y="1368"/>
                  </a:lnTo>
                  <a:lnTo>
                    <a:pt x="21111" y="1384"/>
                  </a:lnTo>
                  <a:lnTo>
                    <a:pt x="20993" y="1425"/>
                  </a:lnTo>
                  <a:lnTo>
                    <a:pt x="20988" y="1429"/>
                  </a:lnTo>
                  <a:lnTo>
                    <a:pt x="20993" y="1441"/>
                  </a:lnTo>
                  <a:lnTo>
                    <a:pt x="20972" y="1425"/>
                  </a:lnTo>
                  <a:lnTo>
                    <a:pt x="20981" y="1401"/>
                  </a:lnTo>
                  <a:lnTo>
                    <a:pt x="20988" y="1384"/>
                  </a:lnTo>
                  <a:lnTo>
                    <a:pt x="20981" y="1368"/>
                  </a:lnTo>
                  <a:lnTo>
                    <a:pt x="21002" y="1347"/>
                  </a:lnTo>
                  <a:lnTo>
                    <a:pt x="21002" y="1347"/>
                  </a:lnTo>
                  <a:lnTo>
                    <a:pt x="21002" y="1347"/>
                  </a:lnTo>
                  <a:close/>
                  <a:moveTo>
                    <a:pt x="17013" y="1351"/>
                  </a:moveTo>
                  <a:lnTo>
                    <a:pt x="17029" y="1330"/>
                  </a:lnTo>
                  <a:lnTo>
                    <a:pt x="17024" y="1307"/>
                  </a:lnTo>
                  <a:lnTo>
                    <a:pt x="17062" y="1290"/>
                  </a:lnTo>
                  <a:lnTo>
                    <a:pt x="17117" y="1297"/>
                  </a:lnTo>
                  <a:lnTo>
                    <a:pt x="17088" y="1318"/>
                  </a:lnTo>
                  <a:lnTo>
                    <a:pt x="17133" y="1314"/>
                  </a:lnTo>
                  <a:lnTo>
                    <a:pt x="17143" y="1330"/>
                  </a:lnTo>
                  <a:lnTo>
                    <a:pt x="17050" y="1351"/>
                  </a:lnTo>
                  <a:lnTo>
                    <a:pt x="17013" y="1351"/>
                  </a:lnTo>
                  <a:lnTo>
                    <a:pt x="17013" y="1351"/>
                  </a:lnTo>
                  <a:lnTo>
                    <a:pt x="17013" y="1351"/>
                  </a:lnTo>
                  <a:close/>
                  <a:moveTo>
                    <a:pt x="16134" y="1684"/>
                  </a:moveTo>
                  <a:lnTo>
                    <a:pt x="16089" y="1680"/>
                  </a:lnTo>
                  <a:lnTo>
                    <a:pt x="16080" y="1668"/>
                  </a:lnTo>
                  <a:lnTo>
                    <a:pt x="16080" y="1663"/>
                  </a:lnTo>
                  <a:lnTo>
                    <a:pt x="16058" y="1668"/>
                  </a:lnTo>
                  <a:lnTo>
                    <a:pt x="16075" y="1668"/>
                  </a:lnTo>
                  <a:lnTo>
                    <a:pt x="16089" y="1684"/>
                  </a:lnTo>
                  <a:lnTo>
                    <a:pt x="16075" y="1684"/>
                  </a:lnTo>
                  <a:lnTo>
                    <a:pt x="16063" y="1684"/>
                  </a:lnTo>
                  <a:lnTo>
                    <a:pt x="16080" y="1684"/>
                  </a:lnTo>
                  <a:lnTo>
                    <a:pt x="16037" y="1668"/>
                  </a:lnTo>
                  <a:lnTo>
                    <a:pt x="16047" y="1684"/>
                  </a:lnTo>
                  <a:lnTo>
                    <a:pt x="16037" y="1684"/>
                  </a:lnTo>
                  <a:lnTo>
                    <a:pt x="16021" y="1680"/>
                  </a:lnTo>
                  <a:lnTo>
                    <a:pt x="16025" y="1668"/>
                  </a:lnTo>
                  <a:lnTo>
                    <a:pt x="16004" y="1663"/>
                  </a:lnTo>
                  <a:lnTo>
                    <a:pt x="15983" y="1684"/>
                  </a:lnTo>
                  <a:lnTo>
                    <a:pt x="15938" y="1656"/>
                  </a:lnTo>
                  <a:lnTo>
                    <a:pt x="15933" y="1663"/>
                  </a:lnTo>
                  <a:lnTo>
                    <a:pt x="15954" y="1668"/>
                  </a:lnTo>
                  <a:lnTo>
                    <a:pt x="15928" y="1656"/>
                  </a:lnTo>
                  <a:lnTo>
                    <a:pt x="15862" y="1656"/>
                  </a:lnTo>
                  <a:lnTo>
                    <a:pt x="15858" y="1647"/>
                  </a:lnTo>
                  <a:lnTo>
                    <a:pt x="15879" y="1647"/>
                  </a:lnTo>
                  <a:lnTo>
                    <a:pt x="15886" y="1640"/>
                  </a:lnTo>
                  <a:lnTo>
                    <a:pt x="15862" y="1614"/>
                  </a:lnTo>
                  <a:lnTo>
                    <a:pt x="15917" y="1607"/>
                  </a:lnTo>
                  <a:lnTo>
                    <a:pt x="15862" y="1602"/>
                  </a:lnTo>
                  <a:lnTo>
                    <a:pt x="15862" y="1590"/>
                  </a:lnTo>
                  <a:lnTo>
                    <a:pt x="15879" y="1573"/>
                  </a:lnTo>
                  <a:lnTo>
                    <a:pt x="15895" y="1569"/>
                  </a:lnTo>
                  <a:lnTo>
                    <a:pt x="15862" y="1590"/>
                  </a:lnTo>
                  <a:lnTo>
                    <a:pt x="15848" y="1569"/>
                  </a:lnTo>
                  <a:lnTo>
                    <a:pt x="15862" y="1557"/>
                  </a:lnTo>
                  <a:lnTo>
                    <a:pt x="15858" y="1552"/>
                  </a:lnTo>
                  <a:lnTo>
                    <a:pt x="15824" y="1573"/>
                  </a:lnTo>
                  <a:lnTo>
                    <a:pt x="15803" y="1557"/>
                  </a:lnTo>
                  <a:lnTo>
                    <a:pt x="15803" y="1552"/>
                  </a:lnTo>
                  <a:lnTo>
                    <a:pt x="15787" y="1569"/>
                  </a:lnTo>
                  <a:lnTo>
                    <a:pt x="15777" y="1552"/>
                  </a:lnTo>
                  <a:lnTo>
                    <a:pt x="15772" y="1557"/>
                  </a:lnTo>
                  <a:lnTo>
                    <a:pt x="15777" y="1557"/>
                  </a:lnTo>
                  <a:lnTo>
                    <a:pt x="15749" y="1569"/>
                  </a:lnTo>
                  <a:lnTo>
                    <a:pt x="15735" y="1552"/>
                  </a:lnTo>
                  <a:lnTo>
                    <a:pt x="15718" y="1512"/>
                  </a:lnTo>
                  <a:lnTo>
                    <a:pt x="15735" y="1491"/>
                  </a:lnTo>
                  <a:lnTo>
                    <a:pt x="15749" y="1474"/>
                  </a:lnTo>
                  <a:lnTo>
                    <a:pt x="15787" y="1491"/>
                  </a:lnTo>
                  <a:lnTo>
                    <a:pt x="15787" y="1462"/>
                  </a:lnTo>
                  <a:lnTo>
                    <a:pt x="15820" y="1446"/>
                  </a:lnTo>
                  <a:lnTo>
                    <a:pt x="15810" y="1429"/>
                  </a:lnTo>
                  <a:lnTo>
                    <a:pt x="15841" y="1418"/>
                  </a:lnTo>
                  <a:lnTo>
                    <a:pt x="15810" y="1418"/>
                  </a:lnTo>
                  <a:lnTo>
                    <a:pt x="15820" y="1408"/>
                  </a:lnTo>
                  <a:lnTo>
                    <a:pt x="15848" y="1408"/>
                  </a:lnTo>
                  <a:lnTo>
                    <a:pt x="15787" y="1392"/>
                  </a:lnTo>
                  <a:lnTo>
                    <a:pt x="15832" y="1368"/>
                  </a:lnTo>
                  <a:lnTo>
                    <a:pt x="15858" y="1375"/>
                  </a:lnTo>
                  <a:lnTo>
                    <a:pt x="15841" y="1363"/>
                  </a:lnTo>
                  <a:lnTo>
                    <a:pt x="15858" y="1363"/>
                  </a:lnTo>
                  <a:lnTo>
                    <a:pt x="15841" y="1347"/>
                  </a:lnTo>
                  <a:lnTo>
                    <a:pt x="15858" y="1330"/>
                  </a:lnTo>
                  <a:lnTo>
                    <a:pt x="15886" y="1314"/>
                  </a:lnTo>
                  <a:lnTo>
                    <a:pt x="15917" y="1318"/>
                  </a:lnTo>
                  <a:lnTo>
                    <a:pt x="15966" y="1297"/>
                  </a:lnTo>
                  <a:lnTo>
                    <a:pt x="16075" y="1330"/>
                  </a:lnTo>
                  <a:lnTo>
                    <a:pt x="16080" y="1335"/>
                  </a:lnTo>
                  <a:lnTo>
                    <a:pt x="16025" y="1351"/>
                  </a:lnTo>
                  <a:lnTo>
                    <a:pt x="16075" y="1351"/>
                  </a:lnTo>
                  <a:lnTo>
                    <a:pt x="16063" y="1363"/>
                  </a:lnTo>
                  <a:lnTo>
                    <a:pt x="16021" y="1363"/>
                  </a:lnTo>
                  <a:lnTo>
                    <a:pt x="16058" y="1363"/>
                  </a:lnTo>
                  <a:lnTo>
                    <a:pt x="16047" y="1384"/>
                  </a:lnTo>
                  <a:lnTo>
                    <a:pt x="16004" y="1384"/>
                  </a:lnTo>
                  <a:lnTo>
                    <a:pt x="16042" y="1401"/>
                  </a:lnTo>
                  <a:lnTo>
                    <a:pt x="16025" y="1408"/>
                  </a:lnTo>
                  <a:lnTo>
                    <a:pt x="16021" y="1425"/>
                  </a:lnTo>
                  <a:lnTo>
                    <a:pt x="15987" y="1418"/>
                  </a:lnTo>
                  <a:lnTo>
                    <a:pt x="16009" y="1425"/>
                  </a:lnTo>
                  <a:lnTo>
                    <a:pt x="15983" y="1429"/>
                  </a:lnTo>
                  <a:lnTo>
                    <a:pt x="16004" y="1429"/>
                  </a:lnTo>
                  <a:lnTo>
                    <a:pt x="16004" y="1458"/>
                  </a:lnTo>
                  <a:lnTo>
                    <a:pt x="16009" y="1474"/>
                  </a:lnTo>
                  <a:lnTo>
                    <a:pt x="15987" y="1503"/>
                  </a:lnTo>
                  <a:lnTo>
                    <a:pt x="16009" y="1512"/>
                  </a:lnTo>
                  <a:lnTo>
                    <a:pt x="16021" y="1545"/>
                  </a:lnTo>
                  <a:lnTo>
                    <a:pt x="16058" y="1602"/>
                  </a:lnTo>
                  <a:lnTo>
                    <a:pt x="16117" y="1647"/>
                  </a:lnTo>
                  <a:lnTo>
                    <a:pt x="16155" y="1663"/>
                  </a:lnTo>
                  <a:lnTo>
                    <a:pt x="16143" y="1680"/>
                  </a:lnTo>
                  <a:lnTo>
                    <a:pt x="16096" y="1668"/>
                  </a:lnTo>
                  <a:lnTo>
                    <a:pt x="16134" y="1684"/>
                  </a:lnTo>
                  <a:lnTo>
                    <a:pt x="16134" y="1684"/>
                  </a:lnTo>
                  <a:lnTo>
                    <a:pt x="16134" y="1684"/>
                  </a:lnTo>
                  <a:close/>
                  <a:moveTo>
                    <a:pt x="17105" y="1314"/>
                  </a:moveTo>
                  <a:lnTo>
                    <a:pt x="17121" y="1307"/>
                  </a:lnTo>
                  <a:lnTo>
                    <a:pt x="17105" y="1318"/>
                  </a:lnTo>
                  <a:lnTo>
                    <a:pt x="17105" y="1314"/>
                  </a:lnTo>
                  <a:lnTo>
                    <a:pt x="17105" y="1314"/>
                  </a:lnTo>
                  <a:lnTo>
                    <a:pt x="17105" y="1314"/>
                  </a:lnTo>
                  <a:close/>
                  <a:moveTo>
                    <a:pt x="17461" y="1335"/>
                  </a:moveTo>
                  <a:lnTo>
                    <a:pt x="17457" y="1330"/>
                  </a:lnTo>
                  <a:lnTo>
                    <a:pt x="17499" y="1335"/>
                  </a:lnTo>
                  <a:lnTo>
                    <a:pt x="17461" y="1335"/>
                  </a:lnTo>
                  <a:lnTo>
                    <a:pt x="17461" y="1335"/>
                  </a:lnTo>
                  <a:lnTo>
                    <a:pt x="17461" y="1335"/>
                  </a:lnTo>
                  <a:close/>
                  <a:moveTo>
                    <a:pt x="20535" y="1351"/>
                  </a:moveTo>
                  <a:lnTo>
                    <a:pt x="20506" y="1347"/>
                  </a:lnTo>
                  <a:lnTo>
                    <a:pt x="20523" y="1335"/>
                  </a:lnTo>
                  <a:lnTo>
                    <a:pt x="20549" y="1347"/>
                  </a:lnTo>
                  <a:lnTo>
                    <a:pt x="20535" y="1351"/>
                  </a:lnTo>
                  <a:lnTo>
                    <a:pt x="20535" y="1351"/>
                  </a:lnTo>
                  <a:lnTo>
                    <a:pt x="20535" y="1351"/>
                  </a:lnTo>
                  <a:close/>
                  <a:moveTo>
                    <a:pt x="17315" y="1351"/>
                  </a:moveTo>
                  <a:lnTo>
                    <a:pt x="17336" y="1335"/>
                  </a:lnTo>
                  <a:lnTo>
                    <a:pt x="17369" y="1351"/>
                  </a:lnTo>
                  <a:lnTo>
                    <a:pt x="17353" y="1347"/>
                  </a:lnTo>
                  <a:lnTo>
                    <a:pt x="17353" y="1375"/>
                  </a:lnTo>
                  <a:lnTo>
                    <a:pt x="17315" y="1351"/>
                  </a:lnTo>
                  <a:lnTo>
                    <a:pt x="17315" y="1351"/>
                  </a:lnTo>
                  <a:lnTo>
                    <a:pt x="17315" y="1351"/>
                  </a:lnTo>
                  <a:close/>
                  <a:moveTo>
                    <a:pt x="17629" y="1368"/>
                  </a:moveTo>
                  <a:lnTo>
                    <a:pt x="17672" y="1347"/>
                  </a:lnTo>
                  <a:lnTo>
                    <a:pt x="17693" y="1368"/>
                  </a:lnTo>
                  <a:lnTo>
                    <a:pt x="17693" y="1392"/>
                  </a:lnTo>
                  <a:lnTo>
                    <a:pt x="17683" y="1401"/>
                  </a:lnTo>
                  <a:lnTo>
                    <a:pt x="17629" y="1384"/>
                  </a:lnTo>
                  <a:lnTo>
                    <a:pt x="17629" y="1368"/>
                  </a:lnTo>
                  <a:lnTo>
                    <a:pt x="17629" y="1368"/>
                  </a:lnTo>
                  <a:lnTo>
                    <a:pt x="17629" y="1368"/>
                  </a:lnTo>
                  <a:close/>
                  <a:moveTo>
                    <a:pt x="20695" y="1368"/>
                  </a:moveTo>
                  <a:lnTo>
                    <a:pt x="20787" y="1392"/>
                  </a:lnTo>
                  <a:lnTo>
                    <a:pt x="20724" y="1384"/>
                  </a:lnTo>
                  <a:lnTo>
                    <a:pt x="20695" y="1368"/>
                  </a:lnTo>
                  <a:lnTo>
                    <a:pt x="20695" y="1368"/>
                  </a:lnTo>
                  <a:lnTo>
                    <a:pt x="20695" y="1368"/>
                  </a:lnTo>
                  <a:close/>
                  <a:moveTo>
                    <a:pt x="21170" y="1384"/>
                  </a:moveTo>
                  <a:lnTo>
                    <a:pt x="21111" y="1375"/>
                  </a:lnTo>
                  <a:lnTo>
                    <a:pt x="21149" y="1375"/>
                  </a:lnTo>
                  <a:lnTo>
                    <a:pt x="21182" y="1384"/>
                  </a:lnTo>
                  <a:lnTo>
                    <a:pt x="21170" y="1384"/>
                  </a:lnTo>
                  <a:lnTo>
                    <a:pt x="21170" y="1384"/>
                  </a:lnTo>
                  <a:lnTo>
                    <a:pt x="21170" y="1384"/>
                  </a:lnTo>
                  <a:close/>
                  <a:moveTo>
                    <a:pt x="21040" y="1408"/>
                  </a:moveTo>
                  <a:lnTo>
                    <a:pt x="21111" y="1384"/>
                  </a:lnTo>
                  <a:lnTo>
                    <a:pt x="21187" y="1401"/>
                  </a:lnTo>
                  <a:lnTo>
                    <a:pt x="21040" y="1408"/>
                  </a:lnTo>
                  <a:lnTo>
                    <a:pt x="21040" y="1408"/>
                  </a:lnTo>
                  <a:lnTo>
                    <a:pt x="21040" y="1408"/>
                  </a:lnTo>
                  <a:close/>
                  <a:moveTo>
                    <a:pt x="17223" y="1401"/>
                  </a:moveTo>
                  <a:lnTo>
                    <a:pt x="17239" y="1401"/>
                  </a:lnTo>
                  <a:lnTo>
                    <a:pt x="17239" y="1408"/>
                  </a:lnTo>
                  <a:lnTo>
                    <a:pt x="17223" y="1401"/>
                  </a:lnTo>
                  <a:lnTo>
                    <a:pt x="17223" y="1401"/>
                  </a:lnTo>
                  <a:lnTo>
                    <a:pt x="17223" y="1401"/>
                  </a:lnTo>
                  <a:close/>
                  <a:moveTo>
                    <a:pt x="21102" y="1408"/>
                  </a:moveTo>
                  <a:lnTo>
                    <a:pt x="21144" y="1401"/>
                  </a:lnTo>
                  <a:lnTo>
                    <a:pt x="21154" y="1418"/>
                  </a:lnTo>
                  <a:lnTo>
                    <a:pt x="21144" y="1425"/>
                  </a:lnTo>
                  <a:lnTo>
                    <a:pt x="21102" y="1408"/>
                  </a:lnTo>
                  <a:lnTo>
                    <a:pt x="21102" y="1408"/>
                  </a:lnTo>
                  <a:lnTo>
                    <a:pt x="21102" y="1408"/>
                  </a:lnTo>
                  <a:close/>
                  <a:moveTo>
                    <a:pt x="21002" y="1429"/>
                  </a:moveTo>
                  <a:lnTo>
                    <a:pt x="21002" y="1425"/>
                  </a:lnTo>
                  <a:lnTo>
                    <a:pt x="21078" y="1408"/>
                  </a:lnTo>
                  <a:lnTo>
                    <a:pt x="21144" y="1429"/>
                  </a:lnTo>
                  <a:lnTo>
                    <a:pt x="21182" y="1429"/>
                  </a:lnTo>
                  <a:lnTo>
                    <a:pt x="21198" y="1446"/>
                  </a:lnTo>
                  <a:lnTo>
                    <a:pt x="21187" y="1458"/>
                  </a:lnTo>
                  <a:lnTo>
                    <a:pt x="21203" y="1462"/>
                  </a:lnTo>
                  <a:lnTo>
                    <a:pt x="21182" y="1474"/>
                  </a:lnTo>
                  <a:lnTo>
                    <a:pt x="21198" y="1479"/>
                  </a:lnTo>
                  <a:lnTo>
                    <a:pt x="21187" y="1479"/>
                  </a:lnTo>
                  <a:lnTo>
                    <a:pt x="21149" y="1491"/>
                  </a:lnTo>
                  <a:lnTo>
                    <a:pt x="21064" y="1429"/>
                  </a:lnTo>
                  <a:lnTo>
                    <a:pt x="21002" y="1429"/>
                  </a:lnTo>
                  <a:lnTo>
                    <a:pt x="21002" y="1429"/>
                  </a:lnTo>
                  <a:lnTo>
                    <a:pt x="21002" y="1429"/>
                  </a:lnTo>
                  <a:close/>
                  <a:moveTo>
                    <a:pt x="17511" y="1446"/>
                  </a:moveTo>
                  <a:lnTo>
                    <a:pt x="17563" y="1408"/>
                  </a:lnTo>
                  <a:lnTo>
                    <a:pt x="17617" y="1425"/>
                  </a:lnTo>
                  <a:lnTo>
                    <a:pt x="17570" y="1458"/>
                  </a:lnTo>
                  <a:lnTo>
                    <a:pt x="17520" y="1458"/>
                  </a:lnTo>
                  <a:lnTo>
                    <a:pt x="17511" y="1446"/>
                  </a:lnTo>
                  <a:lnTo>
                    <a:pt x="17511" y="1446"/>
                  </a:lnTo>
                  <a:lnTo>
                    <a:pt x="17511" y="1446"/>
                  </a:lnTo>
                  <a:close/>
                  <a:moveTo>
                    <a:pt x="21791" y="1557"/>
                  </a:moveTo>
                  <a:lnTo>
                    <a:pt x="21775" y="1573"/>
                  </a:lnTo>
                  <a:lnTo>
                    <a:pt x="21720" y="1557"/>
                  </a:lnTo>
                  <a:lnTo>
                    <a:pt x="21775" y="1552"/>
                  </a:lnTo>
                  <a:lnTo>
                    <a:pt x="21791" y="1557"/>
                  </a:lnTo>
                  <a:lnTo>
                    <a:pt x="21791" y="1557"/>
                  </a:lnTo>
                  <a:lnTo>
                    <a:pt x="21791" y="1557"/>
                  </a:lnTo>
                  <a:close/>
                  <a:moveTo>
                    <a:pt x="15832" y="1630"/>
                  </a:moveTo>
                  <a:lnTo>
                    <a:pt x="15810" y="1602"/>
                  </a:lnTo>
                  <a:lnTo>
                    <a:pt x="15777" y="1585"/>
                  </a:lnTo>
                  <a:lnTo>
                    <a:pt x="15810" y="1573"/>
                  </a:lnTo>
                  <a:lnTo>
                    <a:pt x="15832" y="1590"/>
                  </a:lnTo>
                  <a:lnTo>
                    <a:pt x="15810" y="1573"/>
                  </a:lnTo>
                  <a:lnTo>
                    <a:pt x="15820" y="1590"/>
                  </a:lnTo>
                  <a:lnTo>
                    <a:pt x="15848" y="1590"/>
                  </a:lnTo>
                  <a:lnTo>
                    <a:pt x="15848" y="1607"/>
                  </a:lnTo>
                  <a:lnTo>
                    <a:pt x="15832" y="1614"/>
                  </a:lnTo>
                  <a:lnTo>
                    <a:pt x="15841" y="1630"/>
                  </a:lnTo>
                  <a:lnTo>
                    <a:pt x="15832" y="1630"/>
                  </a:lnTo>
                  <a:lnTo>
                    <a:pt x="15832" y="1630"/>
                  </a:lnTo>
                  <a:lnTo>
                    <a:pt x="15832" y="1630"/>
                  </a:lnTo>
                  <a:close/>
                  <a:moveTo>
                    <a:pt x="15848" y="1585"/>
                  </a:moveTo>
                  <a:lnTo>
                    <a:pt x="15841" y="1585"/>
                  </a:lnTo>
                  <a:lnTo>
                    <a:pt x="15858" y="1590"/>
                  </a:lnTo>
                  <a:lnTo>
                    <a:pt x="15848" y="1585"/>
                  </a:lnTo>
                  <a:lnTo>
                    <a:pt x="15848" y="1585"/>
                  </a:lnTo>
                  <a:lnTo>
                    <a:pt x="15848" y="1585"/>
                  </a:lnTo>
                  <a:close/>
                  <a:moveTo>
                    <a:pt x="23383" y="1656"/>
                  </a:moveTo>
                  <a:lnTo>
                    <a:pt x="23374" y="1647"/>
                  </a:lnTo>
                  <a:lnTo>
                    <a:pt x="23362" y="1640"/>
                  </a:lnTo>
                  <a:lnTo>
                    <a:pt x="23383" y="1656"/>
                  </a:lnTo>
                  <a:lnTo>
                    <a:pt x="23383" y="1656"/>
                  </a:lnTo>
                  <a:lnTo>
                    <a:pt x="23383" y="1656"/>
                  </a:lnTo>
                  <a:close/>
                  <a:moveTo>
                    <a:pt x="17941" y="1701"/>
                  </a:moveTo>
                  <a:lnTo>
                    <a:pt x="17948" y="1656"/>
                  </a:lnTo>
                  <a:lnTo>
                    <a:pt x="17953" y="1647"/>
                  </a:lnTo>
                  <a:lnTo>
                    <a:pt x="17969" y="1663"/>
                  </a:lnTo>
                  <a:lnTo>
                    <a:pt x="17953" y="1668"/>
                  </a:lnTo>
                  <a:lnTo>
                    <a:pt x="17953" y="1696"/>
                  </a:lnTo>
                  <a:lnTo>
                    <a:pt x="17941" y="1701"/>
                  </a:lnTo>
                  <a:lnTo>
                    <a:pt x="17941" y="1701"/>
                  </a:lnTo>
                  <a:lnTo>
                    <a:pt x="17941" y="1701"/>
                  </a:lnTo>
                  <a:close/>
                  <a:moveTo>
                    <a:pt x="16117" y="1696"/>
                  </a:moveTo>
                  <a:lnTo>
                    <a:pt x="16101" y="1680"/>
                  </a:lnTo>
                  <a:lnTo>
                    <a:pt x="16127" y="1684"/>
                  </a:lnTo>
                  <a:lnTo>
                    <a:pt x="16117" y="1696"/>
                  </a:lnTo>
                  <a:lnTo>
                    <a:pt x="16117" y="1696"/>
                  </a:lnTo>
                  <a:lnTo>
                    <a:pt x="16117" y="1696"/>
                  </a:lnTo>
                  <a:close/>
                  <a:moveTo>
                    <a:pt x="17979" y="1701"/>
                  </a:moveTo>
                  <a:lnTo>
                    <a:pt x="17965" y="1713"/>
                  </a:lnTo>
                  <a:lnTo>
                    <a:pt x="17979" y="1684"/>
                  </a:lnTo>
                  <a:lnTo>
                    <a:pt x="17979" y="1696"/>
                  </a:lnTo>
                  <a:lnTo>
                    <a:pt x="17979" y="1701"/>
                  </a:lnTo>
                  <a:lnTo>
                    <a:pt x="17979" y="1701"/>
                  </a:lnTo>
                  <a:lnTo>
                    <a:pt x="17979" y="1701"/>
                  </a:lnTo>
                  <a:close/>
                  <a:moveTo>
                    <a:pt x="16316" y="1795"/>
                  </a:moveTo>
                  <a:lnTo>
                    <a:pt x="16295" y="1795"/>
                  </a:lnTo>
                  <a:lnTo>
                    <a:pt x="16290" y="1791"/>
                  </a:lnTo>
                  <a:lnTo>
                    <a:pt x="16295" y="1779"/>
                  </a:lnTo>
                  <a:lnTo>
                    <a:pt x="16278" y="1774"/>
                  </a:lnTo>
                  <a:lnTo>
                    <a:pt x="16252" y="1767"/>
                  </a:lnTo>
                  <a:lnTo>
                    <a:pt x="16264" y="1774"/>
                  </a:lnTo>
                  <a:lnTo>
                    <a:pt x="16257" y="1774"/>
                  </a:lnTo>
                  <a:lnTo>
                    <a:pt x="16226" y="1751"/>
                  </a:lnTo>
                  <a:lnTo>
                    <a:pt x="16226" y="1734"/>
                  </a:lnTo>
                  <a:lnTo>
                    <a:pt x="16209" y="1722"/>
                  </a:lnTo>
                  <a:lnTo>
                    <a:pt x="16240" y="1734"/>
                  </a:lnTo>
                  <a:lnTo>
                    <a:pt x="16226" y="1718"/>
                  </a:lnTo>
                  <a:lnTo>
                    <a:pt x="16257" y="1696"/>
                  </a:lnTo>
                  <a:lnTo>
                    <a:pt x="16349" y="1767"/>
                  </a:lnTo>
                  <a:lnTo>
                    <a:pt x="16361" y="1779"/>
                  </a:lnTo>
                  <a:lnTo>
                    <a:pt x="16316" y="1795"/>
                  </a:lnTo>
                  <a:lnTo>
                    <a:pt x="16316" y="1795"/>
                  </a:lnTo>
                  <a:lnTo>
                    <a:pt x="16316" y="1795"/>
                  </a:lnTo>
                  <a:close/>
                  <a:moveTo>
                    <a:pt x="17927" y="1734"/>
                  </a:moveTo>
                  <a:lnTo>
                    <a:pt x="17932" y="1722"/>
                  </a:lnTo>
                  <a:lnTo>
                    <a:pt x="17948" y="1739"/>
                  </a:lnTo>
                  <a:lnTo>
                    <a:pt x="17927" y="1734"/>
                  </a:lnTo>
                  <a:lnTo>
                    <a:pt x="17927" y="1734"/>
                  </a:lnTo>
                  <a:lnTo>
                    <a:pt x="17927" y="1734"/>
                  </a:lnTo>
                  <a:close/>
                  <a:moveTo>
                    <a:pt x="23995" y="1791"/>
                  </a:moveTo>
                  <a:lnTo>
                    <a:pt x="23988" y="1791"/>
                  </a:lnTo>
                  <a:lnTo>
                    <a:pt x="23988" y="1807"/>
                  </a:lnTo>
                  <a:lnTo>
                    <a:pt x="23979" y="1812"/>
                  </a:lnTo>
                  <a:lnTo>
                    <a:pt x="23957" y="1812"/>
                  </a:lnTo>
                  <a:lnTo>
                    <a:pt x="23882" y="1779"/>
                  </a:lnTo>
                  <a:lnTo>
                    <a:pt x="23920" y="1758"/>
                  </a:lnTo>
                  <a:lnTo>
                    <a:pt x="23995" y="1774"/>
                  </a:lnTo>
                  <a:lnTo>
                    <a:pt x="23995" y="1791"/>
                  </a:lnTo>
                  <a:lnTo>
                    <a:pt x="23995" y="1791"/>
                  </a:lnTo>
                  <a:lnTo>
                    <a:pt x="23995" y="1791"/>
                  </a:lnTo>
                  <a:close/>
                  <a:moveTo>
                    <a:pt x="24050" y="1795"/>
                  </a:moveTo>
                  <a:lnTo>
                    <a:pt x="24033" y="1791"/>
                  </a:lnTo>
                  <a:lnTo>
                    <a:pt x="24050" y="1779"/>
                  </a:lnTo>
                  <a:lnTo>
                    <a:pt x="24050" y="1795"/>
                  </a:lnTo>
                  <a:lnTo>
                    <a:pt x="24050" y="1795"/>
                  </a:lnTo>
                  <a:lnTo>
                    <a:pt x="24050" y="1795"/>
                  </a:lnTo>
                  <a:close/>
                  <a:moveTo>
                    <a:pt x="23433" y="1833"/>
                  </a:moveTo>
                  <a:lnTo>
                    <a:pt x="23433" y="1812"/>
                  </a:lnTo>
                  <a:lnTo>
                    <a:pt x="23450" y="1812"/>
                  </a:lnTo>
                  <a:lnTo>
                    <a:pt x="23450" y="1829"/>
                  </a:lnTo>
                  <a:lnTo>
                    <a:pt x="23433" y="1833"/>
                  </a:lnTo>
                  <a:lnTo>
                    <a:pt x="23433" y="1833"/>
                  </a:lnTo>
                  <a:lnTo>
                    <a:pt x="23433" y="1833"/>
                  </a:lnTo>
                  <a:close/>
                  <a:moveTo>
                    <a:pt x="16814" y="1824"/>
                  </a:moveTo>
                  <a:lnTo>
                    <a:pt x="16835" y="1812"/>
                  </a:lnTo>
                  <a:lnTo>
                    <a:pt x="16831" y="1829"/>
                  </a:lnTo>
                  <a:lnTo>
                    <a:pt x="16814" y="1824"/>
                  </a:lnTo>
                  <a:lnTo>
                    <a:pt x="16814" y="1824"/>
                  </a:lnTo>
                  <a:lnTo>
                    <a:pt x="16814" y="1824"/>
                  </a:lnTo>
                  <a:close/>
                  <a:moveTo>
                    <a:pt x="23433" y="1902"/>
                  </a:moveTo>
                  <a:lnTo>
                    <a:pt x="23438" y="1885"/>
                  </a:lnTo>
                  <a:lnTo>
                    <a:pt x="23416" y="1878"/>
                  </a:lnTo>
                  <a:lnTo>
                    <a:pt x="23416" y="1845"/>
                  </a:lnTo>
                  <a:lnTo>
                    <a:pt x="23412" y="1833"/>
                  </a:lnTo>
                  <a:lnTo>
                    <a:pt x="23416" y="1829"/>
                  </a:lnTo>
                  <a:lnTo>
                    <a:pt x="23433" y="1824"/>
                  </a:lnTo>
                  <a:lnTo>
                    <a:pt x="23428" y="1829"/>
                  </a:lnTo>
                  <a:lnTo>
                    <a:pt x="23433" y="1833"/>
                  </a:lnTo>
                  <a:lnTo>
                    <a:pt x="23433" y="1850"/>
                  </a:lnTo>
                  <a:lnTo>
                    <a:pt x="23438" y="1890"/>
                  </a:lnTo>
                  <a:lnTo>
                    <a:pt x="23433" y="1902"/>
                  </a:lnTo>
                  <a:lnTo>
                    <a:pt x="23433" y="1902"/>
                  </a:lnTo>
                  <a:lnTo>
                    <a:pt x="23433" y="1902"/>
                  </a:lnTo>
                  <a:close/>
                  <a:moveTo>
                    <a:pt x="15496" y="1878"/>
                  </a:moveTo>
                  <a:lnTo>
                    <a:pt x="15508" y="1845"/>
                  </a:lnTo>
                  <a:lnTo>
                    <a:pt x="15555" y="1824"/>
                  </a:lnTo>
                  <a:lnTo>
                    <a:pt x="15631" y="1850"/>
                  </a:lnTo>
                  <a:lnTo>
                    <a:pt x="15647" y="1866"/>
                  </a:lnTo>
                  <a:lnTo>
                    <a:pt x="15631" y="1885"/>
                  </a:lnTo>
                  <a:lnTo>
                    <a:pt x="15643" y="1866"/>
                  </a:lnTo>
                  <a:lnTo>
                    <a:pt x="15631" y="1866"/>
                  </a:lnTo>
                  <a:lnTo>
                    <a:pt x="15588" y="1906"/>
                  </a:lnTo>
                  <a:lnTo>
                    <a:pt x="15534" y="1923"/>
                  </a:lnTo>
                  <a:lnTo>
                    <a:pt x="15496" y="1902"/>
                  </a:lnTo>
                  <a:lnTo>
                    <a:pt x="15496" y="1878"/>
                  </a:lnTo>
                  <a:lnTo>
                    <a:pt x="15496" y="1878"/>
                  </a:lnTo>
                  <a:lnTo>
                    <a:pt x="15496" y="1878"/>
                  </a:lnTo>
                  <a:close/>
                  <a:moveTo>
                    <a:pt x="16814" y="1833"/>
                  </a:moveTo>
                  <a:lnTo>
                    <a:pt x="16814" y="1829"/>
                  </a:lnTo>
                  <a:lnTo>
                    <a:pt x="16831" y="1833"/>
                  </a:lnTo>
                  <a:lnTo>
                    <a:pt x="16814" y="1833"/>
                  </a:lnTo>
                  <a:lnTo>
                    <a:pt x="16814" y="1833"/>
                  </a:lnTo>
                  <a:lnTo>
                    <a:pt x="16814" y="1833"/>
                  </a:lnTo>
                  <a:close/>
                  <a:moveTo>
                    <a:pt x="14513" y="1833"/>
                  </a:moveTo>
                  <a:lnTo>
                    <a:pt x="14530" y="1845"/>
                  </a:lnTo>
                  <a:lnTo>
                    <a:pt x="14497" y="1833"/>
                  </a:lnTo>
                  <a:lnTo>
                    <a:pt x="14513" y="1833"/>
                  </a:lnTo>
                  <a:lnTo>
                    <a:pt x="14513" y="1833"/>
                  </a:lnTo>
                  <a:lnTo>
                    <a:pt x="14513" y="1833"/>
                  </a:lnTo>
                  <a:close/>
                  <a:moveTo>
                    <a:pt x="16273" y="1866"/>
                  </a:moveTo>
                  <a:lnTo>
                    <a:pt x="16235" y="1845"/>
                  </a:lnTo>
                  <a:lnTo>
                    <a:pt x="16264" y="1850"/>
                  </a:lnTo>
                  <a:lnTo>
                    <a:pt x="16273" y="1866"/>
                  </a:lnTo>
                  <a:lnTo>
                    <a:pt x="16273" y="1866"/>
                  </a:lnTo>
                  <a:lnTo>
                    <a:pt x="16273" y="1866"/>
                  </a:lnTo>
                  <a:close/>
                  <a:moveTo>
                    <a:pt x="16134" y="1918"/>
                  </a:moveTo>
                  <a:lnTo>
                    <a:pt x="16181" y="1906"/>
                  </a:lnTo>
                  <a:lnTo>
                    <a:pt x="16127" y="1923"/>
                  </a:lnTo>
                  <a:lnTo>
                    <a:pt x="16134" y="1918"/>
                  </a:lnTo>
                  <a:lnTo>
                    <a:pt x="16134" y="1918"/>
                  </a:lnTo>
                  <a:lnTo>
                    <a:pt x="16134" y="1918"/>
                  </a:lnTo>
                  <a:close/>
                  <a:moveTo>
                    <a:pt x="17013" y="2195"/>
                  </a:moveTo>
                  <a:lnTo>
                    <a:pt x="16982" y="2162"/>
                  </a:lnTo>
                  <a:lnTo>
                    <a:pt x="16958" y="2162"/>
                  </a:lnTo>
                  <a:lnTo>
                    <a:pt x="17029" y="2166"/>
                  </a:lnTo>
                  <a:lnTo>
                    <a:pt x="17029" y="2195"/>
                  </a:lnTo>
                  <a:lnTo>
                    <a:pt x="17013" y="2195"/>
                  </a:lnTo>
                  <a:lnTo>
                    <a:pt x="17013" y="2195"/>
                  </a:lnTo>
                  <a:lnTo>
                    <a:pt x="17013" y="2195"/>
                  </a:lnTo>
                  <a:close/>
                  <a:moveTo>
                    <a:pt x="15102" y="2162"/>
                  </a:moveTo>
                  <a:lnTo>
                    <a:pt x="15106" y="2166"/>
                  </a:lnTo>
                  <a:lnTo>
                    <a:pt x="15092" y="2162"/>
                  </a:lnTo>
                  <a:lnTo>
                    <a:pt x="15102" y="2162"/>
                  </a:lnTo>
                  <a:lnTo>
                    <a:pt x="15102" y="2162"/>
                  </a:lnTo>
                  <a:lnTo>
                    <a:pt x="15102" y="2162"/>
                  </a:lnTo>
                  <a:close/>
                  <a:moveTo>
                    <a:pt x="16975" y="2166"/>
                  </a:moveTo>
                  <a:lnTo>
                    <a:pt x="16975" y="2178"/>
                  </a:lnTo>
                  <a:lnTo>
                    <a:pt x="16975" y="2166"/>
                  </a:lnTo>
                  <a:lnTo>
                    <a:pt x="16975" y="2166"/>
                  </a:lnTo>
                  <a:lnTo>
                    <a:pt x="16975" y="2166"/>
                  </a:lnTo>
                  <a:close/>
                  <a:moveTo>
                    <a:pt x="253" y="2277"/>
                  </a:moveTo>
                  <a:lnTo>
                    <a:pt x="253" y="2273"/>
                  </a:lnTo>
                  <a:lnTo>
                    <a:pt x="265" y="2273"/>
                  </a:lnTo>
                  <a:lnTo>
                    <a:pt x="253" y="2277"/>
                  </a:lnTo>
                  <a:lnTo>
                    <a:pt x="253" y="2277"/>
                  </a:lnTo>
                  <a:lnTo>
                    <a:pt x="253" y="2277"/>
                  </a:lnTo>
                  <a:close/>
                  <a:moveTo>
                    <a:pt x="14632" y="2351"/>
                  </a:moveTo>
                  <a:lnTo>
                    <a:pt x="14632" y="2367"/>
                  </a:lnTo>
                  <a:lnTo>
                    <a:pt x="14622" y="2377"/>
                  </a:lnTo>
                  <a:lnTo>
                    <a:pt x="14606" y="2351"/>
                  </a:lnTo>
                  <a:lnTo>
                    <a:pt x="14632" y="2351"/>
                  </a:lnTo>
                  <a:lnTo>
                    <a:pt x="14632" y="2351"/>
                  </a:lnTo>
                  <a:lnTo>
                    <a:pt x="14632" y="2351"/>
                  </a:lnTo>
                  <a:close/>
                  <a:moveTo>
                    <a:pt x="0" y="2400"/>
                  </a:moveTo>
                  <a:lnTo>
                    <a:pt x="17" y="2384"/>
                  </a:lnTo>
                  <a:lnTo>
                    <a:pt x="38" y="2400"/>
                  </a:lnTo>
                  <a:lnTo>
                    <a:pt x="0" y="2400"/>
                  </a:lnTo>
                  <a:lnTo>
                    <a:pt x="0" y="2400"/>
                  </a:lnTo>
                  <a:lnTo>
                    <a:pt x="0" y="2400"/>
                  </a:lnTo>
                  <a:close/>
                  <a:moveTo>
                    <a:pt x="14946" y="2400"/>
                  </a:moveTo>
                  <a:lnTo>
                    <a:pt x="14955" y="2421"/>
                  </a:lnTo>
                  <a:lnTo>
                    <a:pt x="14913" y="2405"/>
                  </a:lnTo>
                  <a:lnTo>
                    <a:pt x="14941" y="2417"/>
                  </a:lnTo>
                  <a:lnTo>
                    <a:pt x="14929" y="2400"/>
                  </a:lnTo>
                  <a:lnTo>
                    <a:pt x="14946" y="2400"/>
                  </a:lnTo>
                  <a:lnTo>
                    <a:pt x="14946" y="2400"/>
                  </a:lnTo>
                  <a:lnTo>
                    <a:pt x="14946" y="2400"/>
                  </a:lnTo>
                  <a:close/>
                  <a:moveTo>
                    <a:pt x="14639" y="2438"/>
                  </a:moveTo>
                  <a:lnTo>
                    <a:pt x="14643" y="2445"/>
                  </a:lnTo>
                  <a:lnTo>
                    <a:pt x="14632" y="2438"/>
                  </a:lnTo>
                  <a:lnTo>
                    <a:pt x="14639" y="2438"/>
                  </a:lnTo>
                  <a:lnTo>
                    <a:pt x="14639" y="2438"/>
                  </a:lnTo>
                  <a:lnTo>
                    <a:pt x="14639" y="2438"/>
                  </a:lnTo>
                  <a:close/>
                  <a:moveTo>
                    <a:pt x="14119" y="2899"/>
                  </a:moveTo>
                  <a:lnTo>
                    <a:pt x="14131" y="2899"/>
                  </a:lnTo>
                  <a:lnTo>
                    <a:pt x="14119" y="2887"/>
                  </a:lnTo>
                  <a:lnTo>
                    <a:pt x="14119" y="2899"/>
                  </a:lnTo>
                  <a:lnTo>
                    <a:pt x="14119" y="2899"/>
                  </a:lnTo>
                  <a:lnTo>
                    <a:pt x="14119" y="2899"/>
                  </a:lnTo>
                  <a:close/>
                  <a:moveTo>
                    <a:pt x="23572" y="3088"/>
                  </a:moveTo>
                  <a:lnTo>
                    <a:pt x="23596" y="3064"/>
                  </a:lnTo>
                  <a:lnTo>
                    <a:pt x="23610" y="3043"/>
                  </a:lnTo>
                  <a:lnTo>
                    <a:pt x="23596" y="3031"/>
                  </a:lnTo>
                  <a:lnTo>
                    <a:pt x="23655" y="3014"/>
                  </a:lnTo>
                  <a:lnTo>
                    <a:pt x="23665" y="3031"/>
                  </a:lnTo>
                  <a:lnTo>
                    <a:pt x="23665" y="3047"/>
                  </a:lnTo>
                  <a:lnTo>
                    <a:pt x="23627" y="3059"/>
                  </a:lnTo>
                  <a:lnTo>
                    <a:pt x="23579" y="3099"/>
                  </a:lnTo>
                  <a:lnTo>
                    <a:pt x="23572" y="3088"/>
                  </a:lnTo>
                  <a:lnTo>
                    <a:pt x="23572" y="3088"/>
                  </a:lnTo>
                  <a:lnTo>
                    <a:pt x="23572" y="3088"/>
                  </a:lnTo>
                  <a:close/>
                  <a:moveTo>
                    <a:pt x="22665" y="3031"/>
                  </a:moveTo>
                  <a:lnTo>
                    <a:pt x="22682" y="3026"/>
                  </a:lnTo>
                  <a:lnTo>
                    <a:pt x="22665" y="3031"/>
                  </a:lnTo>
                  <a:lnTo>
                    <a:pt x="22665" y="3031"/>
                  </a:lnTo>
                  <a:lnTo>
                    <a:pt x="22665" y="3031"/>
                  </a:lnTo>
                  <a:close/>
                  <a:moveTo>
                    <a:pt x="23773" y="3421"/>
                  </a:moveTo>
                  <a:lnTo>
                    <a:pt x="23773" y="3437"/>
                  </a:lnTo>
                  <a:lnTo>
                    <a:pt x="23806" y="3470"/>
                  </a:lnTo>
                  <a:lnTo>
                    <a:pt x="23806" y="3487"/>
                  </a:lnTo>
                  <a:lnTo>
                    <a:pt x="23778" y="3470"/>
                  </a:lnTo>
                  <a:lnTo>
                    <a:pt x="23752" y="3421"/>
                  </a:lnTo>
                  <a:lnTo>
                    <a:pt x="23773" y="3421"/>
                  </a:lnTo>
                  <a:lnTo>
                    <a:pt x="23773" y="3421"/>
                  </a:lnTo>
                  <a:lnTo>
                    <a:pt x="23773" y="3421"/>
                  </a:lnTo>
                  <a:close/>
                  <a:moveTo>
                    <a:pt x="13606" y="3430"/>
                  </a:moveTo>
                  <a:lnTo>
                    <a:pt x="13611" y="3421"/>
                  </a:lnTo>
                  <a:lnTo>
                    <a:pt x="13665" y="3447"/>
                  </a:lnTo>
                  <a:lnTo>
                    <a:pt x="13699" y="3447"/>
                  </a:lnTo>
                  <a:lnTo>
                    <a:pt x="13720" y="3470"/>
                  </a:lnTo>
                  <a:lnTo>
                    <a:pt x="13715" y="3487"/>
                  </a:lnTo>
                  <a:lnTo>
                    <a:pt x="13703" y="3503"/>
                  </a:lnTo>
                  <a:lnTo>
                    <a:pt x="13715" y="3515"/>
                  </a:lnTo>
                  <a:lnTo>
                    <a:pt x="13618" y="3515"/>
                  </a:lnTo>
                  <a:lnTo>
                    <a:pt x="13505" y="3508"/>
                  </a:lnTo>
                  <a:lnTo>
                    <a:pt x="13552" y="3487"/>
                  </a:lnTo>
                  <a:lnTo>
                    <a:pt x="13526" y="3487"/>
                  </a:lnTo>
                  <a:lnTo>
                    <a:pt x="13519" y="3475"/>
                  </a:lnTo>
                  <a:lnTo>
                    <a:pt x="13510" y="3487"/>
                  </a:lnTo>
                  <a:lnTo>
                    <a:pt x="13519" y="3454"/>
                  </a:lnTo>
                  <a:lnTo>
                    <a:pt x="13552" y="3454"/>
                  </a:lnTo>
                  <a:lnTo>
                    <a:pt x="13580" y="3421"/>
                  </a:lnTo>
                  <a:lnTo>
                    <a:pt x="13590" y="3421"/>
                  </a:lnTo>
                  <a:lnTo>
                    <a:pt x="13557" y="3454"/>
                  </a:lnTo>
                  <a:lnTo>
                    <a:pt x="13606" y="3458"/>
                  </a:lnTo>
                  <a:lnTo>
                    <a:pt x="13606" y="3437"/>
                  </a:lnTo>
                  <a:lnTo>
                    <a:pt x="13606" y="3430"/>
                  </a:lnTo>
                  <a:lnTo>
                    <a:pt x="13606" y="3430"/>
                  </a:lnTo>
                  <a:lnTo>
                    <a:pt x="13606" y="3430"/>
                  </a:lnTo>
                  <a:close/>
                  <a:moveTo>
                    <a:pt x="21744" y="3475"/>
                  </a:moveTo>
                  <a:lnTo>
                    <a:pt x="21765" y="3430"/>
                  </a:lnTo>
                  <a:lnTo>
                    <a:pt x="21803" y="3447"/>
                  </a:lnTo>
                  <a:lnTo>
                    <a:pt x="21775" y="3491"/>
                  </a:lnTo>
                  <a:lnTo>
                    <a:pt x="21758" y="3458"/>
                  </a:lnTo>
                  <a:lnTo>
                    <a:pt x="21744" y="3475"/>
                  </a:lnTo>
                  <a:lnTo>
                    <a:pt x="21744" y="3475"/>
                  </a:lnTo>
                  <a:lnTo>
                    <a:pt x="21744" y="3475"/>
                  </a:lnTo>
                  <a:close/>
                  <a:moveTo>
                    <a:pt x="21694" y="3458"/>
                  </a:moveTo>
                  <a:lnTo>
                    <a:pt x="21737" y="3437"/>
                  </a:lnTo>
                  <a:lnTo>
                    <a:pt x="21728" y="3458"/>
                  </a:lnTo>
                  <a:lnTo>
                    <a:pt x="21694" y="3458"/>
                  </a:lnTo>
                  <a:lnTo>
                    <a:pt x="21694" y="3458"/>
                  </a:lnTo>
                  <a:lnTo>
                    <a:pt x="21694" y="3458"/>
                  </a:lnTo>
                  <a:close/>
                  <a:moveTo>
                    <a:pt x="13498" y="3508"/>
                  </a:moveTo>
                  <a:lnTo>
                    <a:pt x="13488" y="3503"/>
                  </a:lnTo>
                  <a:lnTo>
                    <a:pt x="13510" y="3487"/>
                  </a:lnTo>
                  <a:lnTo>
                    <a:pt x="13498" y="3508"/>
                  </a:lnTo>
                  <a:lnTo>
                    <a:pt x="13498" y="3508"/>
                  </a:lnTo>
                  <a:lnTo>
                    <a:pt x="13498" y="3508"/>
                  </a:lnTo>
                  <a:close/>
                  <a:moveTo>
                    <a:pt x="21765" y="3508"/>
                  </a:moveTo>
                  <a:lnTo>
                    <a:pt x="21758" y="3503"/>
                  </a:lnTo>
                  <a:lnTo>
                    <a:pt x="21765" y="3491"/>
                  </a:lnTo>
                  <a:lnTo>
                    <a:pt x="21765" y="3508"/>
                  </a:lnTo>
                  <a:lnTo>
                    <a:pt x="21765" y="3508"/>
                  </a:lnTo>
                  <a:lnTo>
                    <a:pt x="21765" y="3508"/>
                  </a:lnTo>
                  <a:close/>
                  <a:moveTo>
                    <a:pt x="22072" y="4080"/>
                  </a:moveTo>
                  <a:lnTo>
                    <a:pt x="22068" y="4058"/>
                  </a:lnTo>
                  <a:lnTo>
                    <a:pt x="22072" y="4030"/>
                  </a:lnTo>
                  <a:lnTo>
                    <a:pt x="22084" y="3973"/>
                  </a:lnTo>
                  <a:lnTo>
                    <a:pt x="22084" y="3903"/>
                  </a:lnTo>
                  <a:lnTo>
                    <a:pt x="22072" y="3891"/>
                  </a:lnTo>
                  <a:lnTo>
                    <a:pt x="22089" y="3825"/>
                  </a:lnTo>
                  <a:lnTo>
                    <a:pt x="22084" y="3791"/>
                  </a:lnTo>
                  <a:lnTo>
                    <a:pt x="22051" y="3751"/>
                  </a:lnTo>
                  <a:lnTo>
                    <a:pt x="22051" y="3714"/>
                  </a:lnTo>
                  <a:lnTo>
                    <a:pt x="22061" y="3692"/>
                  </a:lnTo>
                  <a:lnTo>
                    <a:pt x="22068" y="3643"/>
                  </a:lnTo>
                  <a:lnTo>
                    <a:pt x="22061" y="3614"/>
                  </a:lnTo>
                  <a:lnTo>
                    <a:pt x="22089" y="3598"/>
                  </a:lnTo>
                  <a:lnTo>
                    <a:pt x="22089" y="3614"/>
                  </a:lnTo>
                  <a:lnTo>
                    <a:pt x="22105" y="3614"/>
                  </a:lnTo>
                  <a:lnTo>
                    <a:pt x="22122" y="3598"/>
                  </a:lnTo>
                  <a:lnTo>
                    <a:pt x="22115" y="3598"/>
                  </a:lnTo>
                  <a:lnTo>
                    <a:pt x="22105" y="3581"/>
                  </a:lnTo>
                  <a:lnTo>
                    <a:pt x="22122" y="3586"/>
                  </a:lnTo>
                  <a:lnTo>
                    <a:pt x="22127" y="3581"/>
                  </a:lnTo>
                  <a:lnTo>
                    <a:pt x="22127" y="3565"/>
                  </a:lnTo>
                  <a:lnTo>
                    <a:pt x="22115" y="3581"/>
                  </a:lnTo>
                  <a:lnTo>
                    <a:pt x="22122" y="3558"/>
                  </a:lnTo>
                  <a:lnTo>
                    <a:pt x="22098" y="3525"/>
                  </a:lnTo>
                  <a:lnTo>
                    <a:pt x="22122" y="3525"/>
                  </a:lnTo>
                  <a:lnTo>
                    <a:pt x="22122" y="3508"/>
                  </a:lnTo>
                  <a:lnTo>
                    <a:pt x="22143" y="3541"/>
                  </a:lnTo>
                  <a:lnTo>
                    <a:pt x="22136" y="3569"/>
                  </a:lnTo>
                  <a:lnTo>
                    <a:pt x="22153" y="3598"/>
                  </a:lnTo>
                  <a:lnTo>
                    <a:pt x="22153" y="3614"/>
                  </a:lnTo>
                  <a:lnTo>
                    <a:pt x="22160" y="3619"/>
                  </a:lnTo>
                  <a:lnTo>
                    <a:pt x="22169" y="3659"/>
                  </a:lnTo>
                  <a:lnTo>
                    <a:pt x="22169" y="3697"/>
                  </a:lnTo>
                  <a:lnTo>
                    <a:pt x="22160" y="3714"/>
                  </a:lnTo>
                  <a:lnTo>
                    <a:pt x="22160" y="3692"/>
                  </a:lnTo>
                  <a:lnTo>
                    <a:pt x="22153" y="3709"/>
                  </a:lnTo>
                  <a:lnTo>
                    <a:pt x="22153" y="3747"/>
                  </a:lnTo>
                  <a:lnTo>
                    <a:pt x="22169" y="3768"/>
                  </a:lnTo>
                  <a:lnTo>
                    <a:pt x="22160" y="3791"/>
                  </a:lnTo>
                  <a:lnTo>
                    <a:pt x="22169" y="3791"/>
                  </a:lnTo>
                  <a:lnTo>
                    <a:pt x="22169" y="3780"/>
                  </a:lnTo>
                  <a:lnTo>
                    <a:pt x="22174" y="3808"/>
                  </a:lnTo>
                  <a:lnTo>
                    <a:pt x="22169" y="3808"/>
                  </a:lnTo>
                  <a:lnTo>
                    <a:pt x="22181" y="3820"/>
                  </a:lnTo>
                  <a:lnTo>
                    <a:pt x="22198" y="3903"/>
                  </a:lnTo>
                  <a:lnTo>
                    <a:pt x="22212" y="3936"/>
                  </a:lnTo>
                  <a:lnTo>
                    <a:pt x="22245" y="4023"/>
                  </a:lnTo>
                  <a:lnTo>
                    <a:pt x="22261" y="4040"/>
                  </a:lnTo>
                  <a:lnTo>
                    <a:pt x="22266" y="4063"/>
                  </a:lnTo>
                  <a:lnTo>
                    <a:pt x="22245" y="4030"/>
                  </a:lnTo>
                  <a:lnTo>
                    <a:pt x="22212" y="4006"/>
                  </a:lnTo>
                  <a:lnTo>
                    <a:pt x="22169" y="3990"/>
                  </a:lnTo>
                  <a:lnTo>
                    <a:pt x="22169" y="4002"/>
                  </a:lnTo>
                  <a:lnTo>
                    <a:pt x="22191" y="4002"/>
                  </a:lnTo>
                  <a:lnTo>
                    <a:pt x="22160" y="4006"/>
                  </a:lnTo>
                  <a:lnTo>
                    <a:pt x="22143" y="4023"/>
                  </a:lnTo>
                  <a:lnTo>
                    <a:pt x="22143" y="4040"/>
                  </a:lnTo>
                  <a:lnTo>
                    <a:pt x="22115" y="4117"/>
                  </a:lnTo>
                  <a:lnTo>
                    <a:pt x="22115" y="4141"/>
                  </a:lnTo>
                  <a:lnTo>
                    <a:pt x="22122" y="4158"/>
                  </a:lnTo>
                  <a:lnTo>
                    <a:pt x="22143" y="4191"/>
                  </a:lnTo>
                  <a:lnTo>
                    <a:pt x="22160" y="4236"/>
                  </a:lnTo>
                  <a:lnTo>
                    <a:pt x="22169" y="4245"/>
                  </a:lnTo>
                  <a:lnTo>
                    <a:pt x="22169" y="4228"/>
                  </a:lnTo>
                  <a:lnTo>
                    <a:pt x="22174" y="4228"/>
                  </a:lnTo>
                  <a:lnTo>
                    <a:pt x="22181" y="4269"/>
                  </a:lnTo>
                  <a:lnTo>
                    <a:pt x="22174" y="4302"/>
                  </a:lnTo>
                  <a:lnTo>
                    <a:pt x="22169" y="4252"/>
                  </a:lnTo>
                  <a:lnTo>
                    <a:pt x="22127" y="4252"/>
                  </a:lnTo>
                  <a:lnTo>
                    <a:pt x="22122" y="4236"/>
                  </a:lnTo>
                  <a:lnTo>
                    <a:pt x="22105" y="4252"/>
                  </a:lnTo>
                  <a:lnTo>
                    <a:pt x="22084" y="4306"/>
                  </a:lnTo>
                  <a:lnTo>
                    <a:pt x="22068" y="4302"/>
                  </a:lnTo>
                  <a:lnTo>
                    <a:pt x="22061" y="4252"/>
                  </a:lnTo>
                  <a:lnTo>
                    <a:pt x="22072" y="4207"/>
                  </a:lnTo>
                  <a:lnTo>
                    <a:pt x="22072" y="4158"/>
                  </a:lnTo>
                  <a:lnTo>
                    <a:pt x="22089" y="4125"/>
                  </a:lnTo>
                  <a:lnTo>
                    <a:pt x="22084" y="4096"/>
                  </a:lnTo>
                  <a:lnTo>
                    <a:pt x="22072" y="4080"/>
                  </a:lnTo>
                  <a:lnTo>
                    <a:pt x="22072" y="4080"/>
                  </a:lnTo>
                  <a:lnTo>
                    <a:pt x="22072" y="4080"/>
                  </a:lnTo>
                  <a:close/>
                  <a:moveTo>
                    <a:pt x="23017" y="3846"/>
                  </a:moveTo>
                  <a:lnTo>
                    <a:pt x="23022" y="3846"/>
                  </a:lnTo>
                  <a:lnTo>
                    <a:pt x="23034" y="3858"/>
                  </a:lnTo>
                  <a:lnTo>
                    <a:pt x="23022" y="3858"/>
                  </a:lnTo>
                  <a:lnTo>
                    <a:pt x="23017" y="3846"/>
                  </a:lnTo>
                  <a:lnTo>
                    <a:pt x="23017" y="3846"/>
                  </a:lnTo>
                  <a:lnTo>
                    <a:pt x="23017" y="3846"/>
                  </a:lnTo>
                  <a:close/>
                  <a:moveTo>
                    <a:pt x="23088" y="3874"/>
                  </a:moveTo>
                  <a:lnTo>
                    <a:pt x="23072" y="3874"/>
                  </a:lnTo>
                  <a:lnTo>
                    <a:pt x="23072" y="3862"/>
                  </a:lnTo>
                  <a:lnTo>
                    <a:pt x="23088" y="3858"/>
                  </a:lnTo>
                  <a:lnTo>
                    <a:pt x="23088" y="3874"/>
                  </a:lnTo>
                  <a:lnTo>
                    <a:pt x="23088" y="3874"/>
                  </a:lnTo>
                  <a:lnTo>
                    <a:pt x="23088" y="3874"/>
                  </a:lnTo>
                  <a:close/>
                  <a:moveTo>
                    <a:pt x="23001" y="3931"/>
                  </a:moveTo>
                  <a:lnTo>
                    <a:pt x="23001" y="3903"/>
                  </a:lnTo>
                  <a:lnTo>
                    <a:pt x="23034" y="3895"/>
                  </a:lnTo>
                  <a:lnTo>
                    <a:pt x="23050" y="3874"/>
                  </a:lnTo>
                  <a:lnTo>
                    <a:pt x="23060" y="3862"/>
                  </a:lnTo>
                  <a:lnTo>
                    <a:pt x="23072" y="3891"/>
                  </a:lnTo>
                  <a:lnTo>
                    <a:pt x="23050" y="3914"/>
                  </a:lnTo>
                  <a:lnTo>
                    <a:pt x="23001" y="3931"/>
                  </a:lnTo>
                  <a:lnTo>
                    <a:pt x="23001" y="3931"/>
                  </a:lnTo>
                  <a:lnTo>
                    <a:pt x="23001" y="3931"/>
                  </a:lnTo>
                  <a:close/>
                  <a:moveTo>
                    <a:pt x="22946" y="3957"/>
                  </a:moveTo>
                  <a:lnTo>
                    <a:pt x="22946" y="3952"/>
                  </a:lnTo>
                  <a:lnTo>
                    <a:pt x="22946" y="3957"/>
                  </a:lnTo>
                  <a:lnTo>
                    <a:pt x="22946" y="3957"/>
                  </a:lnTo>
                  <a:lnTo>
                    <a:pt x="22946" y="3957"/>
                  </a:lnTo>
                  <a:close/>
                  <a:moveTo>
                    <a:pt x="22953" y="4002"/>
                  </a:moveTo>
                  <a:lnTo>
                    <a:pt x="22968" y="3973"/>
                  </a:lnTo>
                  <a:lnTo>
                    <a:pt x="22979" y="3969"/>
                  </a:lnTo>
                  <a:lnTo>
                    <a:pt x="22968" y="3990"/>
                  </a:lnTo>
                  <a:lnTo>
                    <a:pt x="22968" y="4002"/>
                  </a:lnTo>
                  <a:lnTo>
                    <a:pt x="22953" y="4002"/>
                  </a:lnTo>
                  <a:lnTo>
                    <a:pt x="22953" y="4002"/>
                  </a:lnTo>
                  <a:lnTo>
                    <a:pt x="22953" y="4002"/>
                  </a:lnTo>
                  <a:close/>
                  <a:moveTo>
                    <a:pt x="22946" y="4014"/>
                  </a:moveTo>
                  <a:lnTo>
                    <a:pt x="22953" y="4014"/>
                  </a:lnTo>
                  <a:lnTo>
                    <a:pt x="22953" y="4023"/>
                  </a:lnTo>
                  <a:lnTo>
                    <a:pt x="22946" y="4014"/>
                  </a:lnTo>
                  <a:lnTo>
                    <a:pt x="22946" y="4014"/>
                  </a:lnTo>
                  <a:lnTo>
                    <a:pt x="22946" y="4014"/>
                  </a:lnTo>
                  <a:close/>
                  <a:moveTo>
                    <a:pt x="22916" y="4058"/>
                  </a:moveTo>
                  <a:lnTo>
                    <a:pt x="22925" y="4040"/>
                  </a:lnTo>
                  <a:lnTo>
                    <a:pt x="22930" y="4040"/>
                  </a:lnTo>
                  <a:lnTo>
                    <a:pt x="22916" y="4058"/>
                  </a:lnTo>
                  <a:lnTo>
                    <a:pt x="22916" y="4058"/>
                  </a:lnTo>
                  <a:lnTo>
                    <a:pt x="22916" y="4058"/>
                  </a:lnTo>
                  <a:close/>
                  <a:moveTo>
                    <a:pt x="22861" y="4117"/>
                  </a:moveTo>
                  <a:lnTo>
                    <a:pt x="22854" y="4113"/>
                  </a:lnTo>
                  <a:lnTo>
                    <a:pt x="22861" y="4113"/>
                  </a:lnTo>
                  <a:lnTo>
                    <a:pt x="22861" y="4117"/>
                  </a:lnTo>
                  <a:lnTo>
                    <a:pt x="22861" y="4117"/>
                  </a:lnTo>
                  <a:lnTo>
                    <a:pt x="22861" y="4117"/>
                  </a:lnTo>
                  <a:close/>
                  <a:moveTo>
                    <a:pt x="22807" y="4179"/>
                  </a:moveTo>
                  <a:lnTo>
                    <a:pt x="22816" y="4179"/>
                  </a:lnTo>
                  <a:lnTo>
                    <a:pt x="22807" y="4179"/>
                  </a:lnTo>
                  <a:lnTo>
                    <a:pt x="22807" y="4179"/>
                  </a:lnTo>
                  <a:lnTo>
                    <a:pt x="22807" y="4179"/>
                  </a:lnTo>
                  <a:close/>
                  <a:moveTo>
                    <a:pt x="22791" y="4195"/>
                  </a:moveTo>
                  <a:lnTo>
                    <a:pt x="22779" y="4224"/>
                  </a:lnTo>
                  <a:lnTo>
                    <a:pt x="22753" y="4228"/>
                  </a:lnTo>
                  <a:lnTo>
                    <a:pt x="22791" y="4195"/>
                  </a:lnTo>
                  <a:lnTo>
                    <a:pt x="22791" y="4195"/>
                  </a:lnTo>
                  <a:lnTo>
                    <a:pt x="22791" y="4195"/>
                  </a:lnTo>
                  <a:close/>
                  <a:moveTo>
                    <a:pt x="22602" y="4340"/>
                  </a:moveTo>
                  <a:lnTo>
                    <a:pt x="22613" y="4318"/>
                  </a:lnTo>
                  <a:lnTo>
                    <a:pt x="22628" y="4302"/>
                  </a:lnTo>
                  <a:lnTo>
                    <a:pt x="22661" y="4285"/>
                  </a:lnTo>
                  <a:lnTo>
                    <a:pt x="22665" y="4285"/>
                  </a:lnTo>
                  <a:lnTo>
                    <a:pt x="22644" y="4306"/>
                  </a:lnTo>
                  <a:lnTo>
                    <a:pt x="22613" y="4335"/>
                  </a:lnTo>
                  <a:lnTo>
                    <a:pt x="22602" y="4340"/>
                  </a:lnTo>
                  <a:lnTo>
                    <a:pt x="22602" y="4340"/>
                  </a:lnTo>
                  <a:lnTo>
                    <a:pt x="22602" y="4340"/>
                  </a:lnTo>
                  <a:close/>
                  <a:moveTo>
                    <a:pt x="22413" y="4446"/>
                  </a:moveTo>
                  <a:lnTo>
                    <a:pt x="22413" y="4434"/>
                  </a:lnTo>
                  <a:lnTo>
                    <a:pt x="22439" y="4417"/>
                  </a:lnTo>
                  <a:lnTo>
                    <a:pt x="22429" y="4413"/>
                  </a:lnTo>
                  <a:lnTo>
                    <a:pt x="22483" y="4373"/>
                  </a:lnTo>
                  <a:lnTo>
                    <a:pt x="22483" y="4363"/>
                  </a:lnTo>
                  <a:lnTo>
                    <a:pt x="22493" y="4356"/>
                  </a:lnTo>
                  <a:lnTo>
                    <a:pt x="22500" y="4373"/>
                  </a:lnTo>
                  <a:lnTo>
                    <a:pt x="22514" y="4373"/>
                  </a:lnTo>
                  <a:lnTo>
                    <a:pt x="22547" y="4347"/>
                  </a:lnTo>
                  <a:lnTo>
                    <a:pt x="22552" y="4347"/>
                  </a:lnTo>
                  <a:lnTo>
                    <a:pt x="22552" y="4363"/>
                  </a:lnTo>
                  <a:lnTo>
                    <a:pt x="22514" y="4373"/>
                  </a:lnTo>
                  <a:lnTo>
                    <a:pt x="22476" y="4396"/>
                  </a:lnTo>
                  <a:lnTo>
                    <a:pt x="22467" y="4396"/>
                  </a:lnTo>
                  <a:lnTo>
                    <a:pt x="22462" y="4413"/>
                  </a:lnTo>
                  <a:lnTo>
                    <a:pt x="22413" y="4446"/>
                  </a:lnTo>
                  <a:lnTo>
                    <a:pt x="22413" y="4446"/>
                  </a:lnTo>
                  <a:lnTo>
                    <a:pt x="22413" y="4446"/>
                  </a:lnTo>
                  <a:close/>
                  <a:moveTo>
                    <a:pt x="22370" y="4434"/>
                  </a:moveTo>
                  <a:lnTo>
                    <a:pt x="22391" y="4446"/>
                  </a:lnTo>
                  <a:lnTo>
                    <a:pt x="22354" y="4467"/>
                  </a:lnTo>
                  <a:lnTo>
                    <a:pt x="22337" y="4491"/>
                  </a:lnTo>
                  <a:lnTo>
                    <a:pt x="22332" y="4491"/>
                  </a:lnTo>
                  <a:lnTo>
                    <a:pt x="22320" y="4512"/>
                  </a:lnTo>
                  <a:lnTo>
                    <a:pt x="22316" y="4507"/>
                  </a:lnTo>
                  <a:lnTo>
                    <a:pt x="22316" y="4500"/>
                  </a:lnTo>
                  <a:lnTo>
                    <a:pt x="22337" y="4474"/>
                  </a:lnTo>
                  <a:lnTo>
                    <a:pt x="22370" y="4434"/>
                  </a:lnTo>
                  <a:lnTo>
                    <a:pt x="22370" y="4434"/>
                  </a:lnTo>
                  <a:lnTo>
                    <a:pt x="22370" y="4434"/>
                  </a:lnTo>
                  <a:close/>
                  <a:moveTo>
                    <a:pt x="15463" y="4484"/>
                  </a:moveTo>
                  <a:lnTo>
                    <a:pt x="15454" y="4484"/>
                  </a:lnTo>
                  <a:lnTo>
                    <a:pt x="15463" y="4484"/>
                  </a:lnTo>
                  <a:lnTo>
                    <a:pt x="15463" y="4484"/>
                  </a:lnTo>
                  <a:lnTo>
                    <a:pt x="15463" y="4484"/>
                  </a:lnTo>
                  <a:close/>
                  <a:moveTo>
                    <a:pt x="22413" y="4491"/>
                  </a:moveTo>
                  <a:lnTo>
                    <a:pt x="22408" y="4507"/>
                  </a:lnTo>
                  <a:lnTo>
                    <a:pt x="22396" y="4507"/>
                  </a:lnTo>
                  <a:lnTo>
                    <a:pt x="22396" y="4500"/>
                  </a:lnTo>
                  <a:lnTo>
                    <a:pt x="22413" y="4491"/>
                  </a:lnTo>
                  <a:lnTo>
                    <a:pt x="22413" y="4491"/>
                  </a:lnTo>
                  <a:lnTo>
                    <a:pt x="22413" y="4491"/>
                  </a:lnTo>
                  <a:close/>
                  <a:moveTo>
                    <a:pt x="22370" y="4524"/>
                  </a:moveTo>
                  <a:lnTo>
                    <a:pt x="22370" y="4528"/>
                  </a:lnTo>
                  <a:lnTo>
                    <a:pt x="22358" y="4524"/>
                  </a:lnTo>
                  <a:lnTo>
                    <a:pt x="22370" y="4524"/>
                  </a:lnTo>
                  <a:lnTo>
                    <a:pt x="22370" y="4524"/>
                  </a:lnTo>
                  <a:lnTo>
                    <a:pt x="22370" y="4524"/>
                  </a:lnTo>
                  <a:close/>
                  <a:moveTo>
                    <a:pt x="21366" y="4566"/>
                  </a:moveTo>
                  <a:lnTo>
                    <a:pt x="21359" y="4566"/>
                  </a:lnTo>
                  <a:lnTo>
                    <a:pt x="21366" y="4562"/>
                  </a:lnTo>
                  <a:lnTo>
                    <a:pt x="21366" y="4566"/>
                  </a:lnTo>
                  <a:lnTo>
                    <a:pt x="21366" y="4566"/>
                  </a:lnTo>
                  <a:lnTo>
                    <a:pt x="21366" y="4566"/>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3" name="Freeform 544">
              <a:extLst>
                <a:ext uri="{FF2B5EF4-FFF2-40B4-BE49-F238E27FC236}">
                  <a16:creationId xmlns:a16="http://schemas.microsoft.com/office/drawing/2014/main" id="{6B77BA77-F70A-452B-BDCC-9FED6F286829}"/>
                </a:ext>
              </a:extLst>
            </p:cNvPr>
            <p:cNvSpPr>
              <a:spLocks/>
            </p:cNvSpPr>
            <p:nvPr/>
          </p:nvSpPr>
          <p:spPr bwMode="gray">
            <a:xfrm>
              <a:off x="14405632" y="4138298"/>
              <a:ext cx="47131" cy="41239"/>
            </a:xfrm>
            <a:custGeom>
              <a:avLst/>
              <a:gdLst>
                <a:gd name="T0" fmla="*/ 16 w 144"/>
                <a:gd name="T1" fmla="*/ 126 h 126"/>
                <a:gd name="T2" fmla="*/ 9 w 144"/>
                <a:gd name="T3" fmla="*/ 119 h 126"/>
                <a:gd name="T4" fmla="*/ 0 w 144"/>
                <a:gd name="T5" fmla="*/ 97 h 126"/>
                <a:gd name="T6" fmla="*/ 21 w 144"/>
                <a:gd name="T7" fmla="*/ 88 h 126"/>
                <a:gd name="T8" fmla="*/ 21 w 144"/>
                <a:gd name="T9" fmla="*/ 64 h 126"/>
                <a:gd name="T10" fmla="*/ 30 w 144"/>
                <a:gd name="T11" fmla="*/ 43 h 126"/>
                <a:gd name="T12" fmla="*/ 54 w 144"/>
                <a:gd name="T13" fmla="*/ 26 h 126"/>
                <a:gd name="T14" fmla="*/ 68 w 144"/>
                <a:gd name="T15" fmla="*/ 26 h 126"/>
                <a:gd name="T16" fmla="*/ 85 w 144"/>
                <a:gd name="T17" fmla="*/ 34 h 126"/>
                <a:gd name="T18" fmla="*/ 106 w 144"/>
                <a:gd name="T19" fmla="*/ 0 h 126"/>
                <a:gd name="T20" fmla="*/ 118 w 144"/>
                <a:gd name="T21" fmla="*/ 0 h 126"/>
                <a:gd name="T22" fmla="*/ 122 w 144"/>
                <a:gd name="T23" fmla="*/ 26 h 126"/>
                <a:gd name="T24" fmla="*/ 129 w 144"/>
                <a:gd name="T25" fmla="*/ 34 h 126"/>
                <a:gd name="T26" fmla="*/ 139 w 144"/>
                <a:gd name="T27" fmla="*/ 50 h 126"/>
                <a:gd name="T28" fmla="*/ 139 w 144"/>
                <a:gd name="T29" fmla="*/ 64 h 126"/>
                <a:gd name="T30" fmla="*/ 144 w 144"/>
                <a:gd name="T31" fmla="*/ 71 h 126"/>
                <a:gd name="T32" fmla="*/ 139 w 144"/>
                <a:gd name="T33" fmla="*/ 97 h 126"/>
                <a:gd name="T34" fmla="*/ 122 w 144"/>
                <a:gd name="T35" fmla="*/ 97 h 126"/>
                <a:gd name="T36" fmla="*/ 106 w 144"/>
                <a:gd name="T37" fmla="*/ 97 h 126"/>
                <a:gd name="T38" fmla="*/ 92 w 144"/>
                <a:gd name="T39" fmla="*/ 104 h 126"/>
                <a:gd name="T40" fmla="*/ 75 w 144"/>
                <a:gd name="T41" fmla="*/ 97 h 126"/>
                <a:gd name="T42" fmla="*/ 68 w 144"/>
                <a:gd name="T43" fmla="*/ 126 h 126"/>
                <a:gd name="T44" fmla="*/ 37 w 144"/>
                <a:gd name="T45" fmla="*/ 126 h 126"/>
                <a:gd name="T46" fmla="*/ 37 w 144"/>
                <a:gd name="T47" fmla="*/ 119 h 126"/>
                <a:gd name="T48" fmla="*/ 21 w 144"/>
                <a:gd name="T49" fmla="*/ 109 h 126"/>
                <a:gd name="T50" fmla="*/ 16 w 144"/>
                <a:gd name="T51" fmla="*/ 109 h 126"/>
                <a:gd name="T52" fmla="*/ 16 w 144"/>
                <a:gd name="T53" fmla="*/ 126 h 126"/>
                <a:gd name="T54" fmla="*/ 16 w 144"/>
                <a:gd name="T55" fmla="*/ 126 h 126"/>
                <a:gd name="T56" fmla="*/ 16 w 144"/>
                <a:gd name="T5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26">
                  <a:moveTo>
                    <a:pt x="16" y="126"/>
                  </a:moveTo>
                  <a:lnTo>
                    <a:pt x="9" y="119"/>
                  </a:lnTo>
                  <a:lnTo>
                    <a:pt x="0" y="97"/>
                  </a:lnTo>
                  <a:lnTo>
                    <a:pt x="21" y="88"/>
                  </a:lnTo>
                  <a:lnTo>
                    <a:pt x="21" y="64"/>
                  </a:lnTo>
                  <a:lnTo>
                    <a:pt x="30" y="43"/>
                  </a:lnTo>
                  <a:lnTo>
                    <a:pt x="54" y="26"/>
                  </a:lnTo>
                  <a:lnTo>
                    <a:pt x="68" y="26"/>
                  </a:lnTo>
                  <a:lnTo>
                    <a:pt x="85" y="34"/>
                  </a:lnTo>
                  <a:lnTo>
                    <a:pt x="106" y="0"/>
                  </a:lnTo>
                  <a:lnTo>
                    <a:pt x="118" y="0"/>
                  </a:lnTo>
                  <a:lnTo>
                    <a:pt x="122" y="26"/>
                  </a:lnTo>
                  <a:lnTo>
                    <a:pt x="129" y="34"/>
                  </a:lnTo>
                  <a:lnTo>
                    <a:pt x="139" y="50"/>
                  </a:lnTo>
                  <a:lnTo>
                    <a:pt x="139" y="64"/>
                  </a:lnTo>
                  <a:lnTo>
                    <a:pt x="144" y="71"/>
                  </a:lnTo>
                  <a:lnTo>
                    <a:pt x="139" y="97"/>
                  </a:lnTo>
                  <a:lnTo>
                    <a:pt x="122" y="97"/>
                  </a:lnTo>
                  <a:lnTo>
                    <a:pt x="106" y="97"/>
                  </a:lnTo>
                  <a:lnTo>
                    <a:pt x="92" y="104"/>
                  </a:lnTo>
                  <a:lnTo>
                    <a:pt x="75" y="97"/>
                  </a:lnTo>
                  <a:lnTo>
                    <a:pt x="68" y="126"/>
                  </a:lnTo>
                  <a:lnTo>
                    <a:pt x="37" y="126"/>
                  </a:lnTo>
                  <a:lnTo>
                    <a:pt x="37" y="119"/>
                  </a:lnTo>
                  <a:lnTo>
                    <a:pt x="21" y="109"/>
                  </a:lnTo>
                  <a:lnTo>
                    <a:pt x="16" y="109"/>
                  </a:lnTo>
                  <a:lnTo>
                    <a:pt x="16" y="126"/>
                  </a:lnTo>
                  <a:lnTo>
                    <a:pt x="16" y="126"/>
                  </a:lnTo>
                  <a:lnTo>
                    <a:pt x="16" y="126"/>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4" name="Freeform 545">
              <a:extLst>
                <a:ext uri="{FF2B5EF4-FFF2-40B4-BE49-F238E27FC236}">
                  <a16:creationId xmlns:a16="http://schemas.microsoft.com/office/drawing/2014/main" id="{955BC94C-C83B-4D5C-A5EE-0CA966C6B64E}"/>
                </a:ext>
              </a:extLst>
            </p:cNvPr>
            <p:cNvSpPr>
              <a:spLocks noEditPoints="1"/>
            </p:cNvSpPr>
            <p:nvPr/>
          </p:nvSpPr>
          <p:spPr bwMode="gray">
            <a:xfrm>
              <a:off x="14536223" y="3328239"/>
              <a:ext cx="485381" cy="414358"/>
            </a:xfrm>
            <a:custGeom>
              <a:avLst/>
              <a:gdLst>
                <a:gd name="T0" fmla="*/ 997 w 1483"/>
                <a:gd name="T1" fmla="*/ 1070 h 1266"/>
                <a:gd name="T2" fmla="*/ 694 w 1483"/>
                <a:gd name="T3" fmla="*/ 1139 h 1266"/>
                <a:gd name="T4" fmla="*/ 619 w 1483"/>
                <a:gd name="T5" fmla="*/ 1127 h 1266"/>
                <a:gd name="T6" fmla="*/ 609 w 1483"/>
                <a:gd name="T7" fmla="*/ 1193 h 1266"/>
                <a:gd name="T8" fmla="*/ 581 w 1483"/>
                <a:gd name="T9" fmla="*/ 1209 h 1266"/>
                <a:gd name="T10" fmla="*/ 567 w 1483"/>
                <a:gd name="T11" fmla="*/ 1172 h 1266"/>
                <a:gd name="T12" fmla="*/ 550 w 1483"/>
                <a:gd name="T13" fmla="*/ 1127 h 1266"/>
                <a:gd name="T14" fmla="*/ 475 w 1483"/>
                <a:gd name="T15" fmla="*/ 1044 h 1266"/>
                <a:gd name="T16" fmla="*/ 463 w 1483"/>
                <a:gd name="T17" fmla="*/ 1011 h 1266"/>
                <a:gd name="T18" fmla="*/ 441 w 1483"/>
                <a:gd name="T19" fmla="*/ 971 h 1266"/>
                <a:gd name="T20" fmla="*/ 378 w 1483"/>
                <a:gd name="T21" fmla="*/ 921 h 1266"/>
                <a:gd name="T22" fmla="*/ 323 w 1483"/>
                <a:gd name="T23" fmla="*/ 860 h 1266"/>
                <a:gd name="T24" fmla="*/ 312 w 1483"/>
                <a:gd name="T25" fmla="*/ 805 h 1266"/>
                <a:gd name="T26" fmla="*/ 278 w 1483"/>
                <a:gd name="T27" fmla="*/ 654 h 1266"/>
                <a:gd name="T28" fmla="*/ 189 w 1483"/>
                <a:gd name="T29" fmla="*/ 572 h 1266"/>
                <a:gd name="T30" fmla="*/ 172 w 1483"/>
                <a:gd name="T31" fmla="*/ 510 h 1266"/>
                <a:gd name="T32" fmla="*/ 156 w 1483"/>
                <a:gd name="T33" fmla="*/ 489 h 1266"/>
                <a:gd name="T34" fmla="*/ 47 w 1483"/>
                <a:gd name="T35" fmla="*/ 326 h 1266"/>
                <a:gd name="T36" fmla="*/ 0 w 1483"/>
                <a:gd name="T37" fmla="*/ 321 h 1266"/>
                <a:gd name="T38" fmla="*/ 106 w 1483"/>
                <a:gd name="T39" fmla="*/ 239 h 1266"/>
                <a:gd name="T40" fmla="*/ 210 w 1483"/>
                <a:gd name="T41" fmla="*/ 177 h 1266"/>
                <a:gd name="T42" fmla="*/ 172 w 1483"/>
                <a:gd name="T43" fmla="*/ 50 h 1266"/>
                <a:gd name="T44" fmla="*/ 408 w 1483"/>
                <a:gd name="T45" fmla="*/ 17 h 1266"/>
                <a:gd name="T46" fmla="*/ 718 w 1483"/>
                <a:gd name="T47" fmla="*/ 239 h 1266"/>
                <a:gd name="T48" fmla="*/ 928 w 1483"/>
                <a:gd name="T49" fmla="*/ 288 h 1266"/>
                <a:gd name="T50" fmla="*/ 987 w 1483"/>
                <a:gd name="T51" fmla="*/ 326 h 1266"/>
                <a:gd name="T52" fmla="*/ 1004 w 1483"/>
                <a:gd name="T53" fmla="*/ 345 h 1266"/>
                <a:gd name="T54" fmla="*/ 1034 w 1483"/>
                <a:gd name="T55" fmla="*/ 378 h 1266"/>
                <a:gd name="T56" fmla="*/ 1051 w 1483"/>
                <a:gd name="T57" fmla="*/ 387 h 1266"/>
                <a:gd name="T58" fmla="*/ 1089 w 1483"/>
                <a:gd name="T59" fmla="*/ 432 h 1266"/>
                <a:gd name="T60" fmla="*/ 1105 w 1483"/>
                <a:gd name="T61" fmla="*/ 461 h 1266"/>
                <a:gd name="T62" fmla="*/ 1089 w 1483"/>
                <a:gd name="T63" fmla="*/ 489 h 1266"/>
                <a:gd name="T64" fmla="*/ 1122 w 1483"/>
                <a:gd name="T65" fmla="*/ 531 h 1266"/>
                <a:gd name="T66" fmla="*/ 1143 w 1483"/>
                <a:gd name="T67" fmla="*/ 583 h 1266"/>
                <a:gd name="T68" fmla="*/ 1176 w 1483"/>
                <a:gd name="T69" fmla="*/ 588 h 1266"/>
                <a:gd name="T70" fmla="*/ 1186 w 1483"/>
                <a:gd name="T71" fmla="*/ 600 h 1266"/>
                <a:gd name="T72" fmla="*/ 1197 w 1483"/>
                <a:gd name="T73" fmla="*/ 626 h 1266"/>
                <a:gd name="T74" fmla="*/ 1450 w 1483"/>
                <a:gd name="T75" fmla="*/ 737 h 1266"/>
                <a:gd name="T76" fmla="*/ 1436 w 1483"/>
                <a:gd name="T77" fmla="*/ 938 h 1266"/>
                <a:gd name="T78" fmla="*/ 9 w 1483"/>
                <a:gd name="T79" fmla="*/ 333 h 1266"/>
                <a:gd name="T80" fmla="*/ 0 w 1483"/>
                <a:gd name="T81" fmla="*/ 326 h 1266"/>
                <a:gd name="T82" fmla="*/ 1051 w 1483"/>
                <a:gd name="T83" fmla="*/ 383 h 1266"/>
                <a:gd name="T84" fmla="*/ 1051 w 1483"/>
                <a:gd name="T85" fmla="*/ 383 h 1266"/>
                <a:gd name="T86" fmla="*/ 517 w 1483"/>
                <a:gd name="T87" fmla="*/ 1172 h 1266"/>
                <a:gd name="T88" fmla="*/ 517 w 1483"/>
                <a:gd name="T89" fmla="*/ 1172 h 1266"/>
                <a:gd name="T90" fmla="*/ 517 w 1483"/>
                <a:gd name="T91" fmla="*/ 1172 h 1266"/>
                <a:gd name="T92" fmla="*/ 512 w 1483"/>
                <a:gd name="T93" fmla="*/ 1181 h 1266"/>
                <a:gd name="T94" fmla="*/ 529 w 1483"/>
                <a:gd name="T95" fmla="*/ 1181 h 1266"/>
                <a:gd name="T96" fmla="*/ 534 w 1483"/>
                <a:gd name="T97" fmla="*/ 1200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3" h="1266">
                  <a:moveTo>
                    <a:pt x="1436" y="938"/>
                  </a:moveTo>
                  <a:lnTo>
                    <a:pt x="1230" y="1016"/>
                  </a:lnTo>
                  <a:lnTo>
                    <a:pt x="997" y="1070"/>
                  </a:lnTo>
                  <a:lnTo>
                    <a:pt x="824" y="1266"/>
                  </a:lnTo>
                  <a:lnTo>
                    <a:pt x="824" y="1193"/>
                  </a:lnTo>
                  <a:lnTo>
                    <a:pt x="694" y="1139"/>
                  </a:lnTo>
                  <a:lnTo>
                    <a:pt x="656" y="1143"/>
                  </a:lnTo>
                  <a:lnTo>
                    <a:pt x="635" y="1127"/>
                  </a:lnTo>
                  <a:lnTo>
                    <a:pt x="619" y="1127"/>
                  </a:lnTo>
                  <a:lnTo>
                    <a:pt x="609" y="1139"/>
                  </a:lnTo>
                  <a:lnTo>
                    <a:pt x="604" y="1172"/>
                  </a:lnTo>
                  <a:lnTo>
                    <a:pt x="609" y="1193"/>
                  </a:lnTo>
                  <a:lnTo>
                    <a:pt x="604" y="1193"/>
                  </a:lnTo>
                  <a:lnTo>
                    <a:pt x="593" y="1200"/>
                  </a:lnTo>
                  <a:lnTo>
                    <a:pt x="581" y="1209"/>
                  </a:lnTo>
                  <a:lnTo>
                    <a:pt x="581" y="1193"/>
                  </a:lnTo>
                  <a:lnTo>
                    <a:pt x="567" y="1176"/>
                  </a:lnTo>
                  <a:lnTo>
                    <a:pt x="567" y="1172"/>
                  </a:lnTo>
                  <a:lnTo>
                    <a:pt x="555" y="1155"/>
                  </a:lnTo>
                  <a:lnTo>
                    <a:pt x="550" y="1160"/>
                  </a:lnTo>
                  <a:lnTo>
                    <a:pt x="550" y="1127"/>
                  </a:lnTo>
                  <a:lnTo>
                    <a:pt x="500" y="1098"/>
                  </a:lnTo>
                  <a:lnTo>
                    <a:pt x="484" y="1061"/>
                  </a:lnTo>
                  <a:lnTo>
                    <a:pt x="475" y="1044"/>
                  </a:lnTo>
                  <a:lnTo>
                    <a:pt x="475" y="1028"/>
                  </a:lnTo>
                  <a:lnTo>
                    <a:pt x="463" y="1016"/>
                  </a:lnTo>
                  <a:lnTo>
                    <a:pt x="463" y="1011"/>
                  </a:lnTo>
                  <a:lnTo>
                    <a:pt x="458" y="1004"/>
                  </a:lnTo>
                  <a:lnTo>
                    <a:pt x="446" y="987"/>
                  </a:lnTo>
                  <a:lnTo>
                    <a:pt x="441" y="971"/>
                  </a:lnTo>
                  <a:lnTo>
                    <a:pt x="441" y="959"/>
                  </a:lnTo>
                  <a:lnTo>
                    <a:pt x="392" y="921"/>
                  </a:lnTo>
                  <a:lnTo>
                    <a:pt x="378" y="921"/>
                  </a:lnTo>
                  <a:lnTo>
                    <a:pt x="366" y="905"/>
                  </a:lnTo>
                  <a:lnTo>
                    <a:pt x="349" y="883"/>
                  </a:lnTo>
                  <a:lnTo>
                    <a:pt x="323" y="860"/>
                  </a:lnTo>
                  <a:lnTo>
                    <a:pt x="323" y="843"/>
                  </a:lnTo>
                  <a:lnTo>
                    <a:pt x="323" y="827"/>
                  </a:lnTo>
                  <a:lnTo>
                    <a:pt x="312" y="805"/>
                  </a:lnTo>
                  <a:lnTo>
                    <a:pt x="323" y="765"/>
                  </a:lnTo>
                  <a:lnTo>
                    <a:pt x="316" y="749"/>
                  </a:lnTo>
                  <a:lnTo>
                    <a:pt x="278" y="654"/>
                  </a:lnTo>
                  <a:lnTo>
                    <a:pt x="257" y="638"/>
                  </a:lnTo>
                  <a:lnTo>
                    <a:pt x="203" y="609"/>
                  </a:lnTo>
                  <a:lnTo>
                    <a:pt x="189" y="572"/>
                  </a:lnTo>
                  <a:lnTo>
                    <a:pt x="193" y="572"/>
                  </a:lnTo>
                  <a:lnTo>
                    <a:pt x="189" y="548"/>
                  </a:lnTo>
                  <a:lnTo>
                    <a:pt x="172" y="510"/>
                  </a:lnTo>
                  <a:lnTo>
                    <a:pt x="156" y="498"/>
                  </a:lnTo>
                  <a:lnTo>
                    <a:pt x="151" y="494"/>
                  </a:lnTo>
                  <a:lnTo>
                    <a:pt x="156" y="489"/>
                  </a:lnTo>
                  <a:lnTo>
                    <a:pt x="139" y="477"/>
                  </a:lnTo>
                  <a:lnTo>
                    <a:pt x="118" y="437"/>
                  </a:lnTo>
                  <a:lnTo>
                    <a:pt x="47" y="326"/>
                  </a:lnTo>
                  <a:lnTo>
                    <a:pt x="14" y="321"/>
                  </a:lnTo>
                  <a:lnTo>
                    <a:pt x="9" y="326"/>
                  </a:lnTo>
                  <a:lnTo>
                    <a:pt x="0" y="321"/>
                  </a:lnTo>
                  <a:lnTo>
                    <a:pt x="14" y="288"/>
                  </a:lnTo>
                  <a:lnTo>
                    <a:pt x="30" y="222"/>
                  </a:lnTo>
                  <a:lnTo>
                    <a:pt x="106" y="239"/>
                  </a:lnTo>
                  <a:lnTo>
                    <a:pt x="139" y="215"/>
                  </a:lnTo>
                  <a:lnTo>
                    <a:pt x="156" y="182"/>
                  </a:lnTo>
                  <a:lnTo>
                    <a:pt x="210" y="177"/>
                  </a:lnTo>
                  <a:lnTo>
                    <a:pt x="215" y="144"/>
                  </a:lnTo>
                  <a:lnTo>
                    <a:pt x="241" y="139"/>
                  </a:lnTo>
                  <a:lnTo>
                    <a:pt x="172" y="50"/>
                  </a:lnTo>
                  <a:lnTo>
                    <a:pt x="316" y="9"/>
                  </a:lnTo>
                  <a:lnTo>
                    <a:pt x="323" y="0"/>
                  </a:lnTo>
                  <a:lnTo>
                    <a:pt x="408" y="17"/>
                  </a:lnTo>
                  <a:lnTo>
                    <a:pt x="484" y="66"/>
                  </a:lnTo>
                  <a:lnTo>
                    <a:pt x="534" y="83"/>
                  </a:lnTo>
                  <a:lnTo>
                    <a:pt x="718" y="239"/>
                  </a:lnTo>
                  <a:lnTo>
                    <a:pt x="841" y="239"/>
                  </a:lnTo>
                  <a:lnTo>
                    <a:pt x="907" y="250"/>
                  </a:lnTo>
                  <a:lnTo>
                    <a:pt x="928" y="288"/>
                  </a:lnTo>
                  <a:lnTo>
                    <a:pt x="971" y="288"/>
                  </a:lnTo>
                  <a:lnTo>
                    <a:pt x="982" y="288"/>
                  </a:lnTo>
                  <a:lnTo>
                    <a:pt x="987" y="326"/>
                  </a:lnTo>
                  <a:lnTo>
                    <a:pt x="1004" y="345"/>
                  </a:lnTo>
                  <a:lnTo>
                    <a:pt x="1004" y="350"/>
                  </a:lnTo>
                  <a:lnTo>
                    <a:pt x="1004" y="345"/>
                  </a:lnTo>
                  <a:lnTo>
                    <a:pt x="1004" y="361"/>
                  </a:lnTo>
                  <a:lnTo>
                    <a:pt x="1034" y="366"/>
                  </a:lnTo>
                  <a:lnTo>
                    <a:pt x="1034" y="378"/>
                  </a:lnTo>
                  <a:lnTo>
                    <a:pt x="1025" y="378"/>
                  </a:lnTo>
                  <a:lnTo>
                    <a:pt x="1041" y="399"/>
                  </a:lnTo>
                  <a:lnTo>
                    <a:pt x="1051" y="387"/>
                  </a:lnTo>
                  <a:lnTo>
                    <a:pt x="1067" y="404"/>
                  </a:lnTo>
                  <a:lnTo>
                    <a:pt x="1096" y="437"/>
                  </a:lnTo>
                  <a:lnTo>
                    <a:pt x="1089" y="432"/>
                  </a:lnTo>
                  <a:lnTo>
                    <a:pt x="1089" y="444"/>
                  </a:lnTo>
                  <a:lnTo>
                    <a:pt x="1096" y="456"/>
                  </a:lnTo>
                  <a:lnTo>
                    <a:pt x="1105" y="461"/>
                  </a:lnTo>
                  <a:lnTo>
                    <a:pt x="1096" y="477"/>
                  </a:lnTo>
                  <a:lnTo>
                    <a:pt x="1089" y="472"/>
                  </a:lnTo>
                  <a:lnTo>
                    <a:pt x="1089" y="489"/>
                  </a:lnTo>
                  <a:lnTo>
                    <a:pt x="1105" y="515"/>
                  </a:lnTo>
                  <a:lnTo>
                    <a:pt x="1096" y="510"/>
                  </a:lnTo>
                  <a:lnTo>
                    <a:pt x="1122" y="531"/>
                  </a:lnTo>
                  <a:lnTo>
                    <a:pt x="1126" y="555"/>
                  </a:lnTo>
                  <a:lnTo>
                    <a:pt x="1143" y="583"/>
                  </a:lnTo>
                  <a:lnTo>
                    <a:pt x="1143" y="583"/>
                  </a:lnTo>
                  <a:lnTo>
                    <a:pt x="1148" y="600"/>
                  </a:lnTo>
                  <a:lnTo>
                    <a:pt x="1176" y="588"/>
                  </a:lnTo>
                  <a:lnTo>
                    <a:pt x="1176" y="588"/>
                  </a:lnTo>
                  <a:lnTo>
                    <a:pt x="1176" y="600"/>
                  </a:lnTo>
                  <a:lnTo>
                    <a:pt x="1181" y="588"/>
                  </a:lnTo>
                  <a:lnTo>
                    <a:pt x="1186" y="600"/>
                  </a:lnTo>
                  <a:lnTo>
                    <a:pt x="1176" y="609"/>
                  </a:lnTo>
                  <a:lnTo>
                    <a:pt x="1197" y="621"/>
                  </a:lnTo>
                  <a:lnTo>
                    <a:pt x="1197" y="626"/>
                  </a:lnTo>
                  <a:lnTo>
                    <a:pt x="1268" y="716"/>
                  </a:lnTo>
                  <a:lnTo>
                    <a:pt x="1445" y="737"/>
                  </a:lnTo>
                  <a:lnTo>
                    <a:pt x="1450" y="737"/>
                  </a:lnTo>
                  <a:lnTo>
                    <a:pt x="1483" y="789"/>
                  </a:lnTo>
                  <a:lnTo>
                    <a:pt x="1436" y="938"/>
                  </a:lnTo>
                  <a:lnTo>
                    <a:pt x="1436" y="938"/>
                  </a:lnTo>
                  <a:lnTo>
                    <a:pt x="1436" y="938"/>
                  </a:lnTo>
                  <a:close/>
                  <a:moveTo>
                    <a:pt x="0" y="326"/>
                  </a:moveTo>
                  <a:lnTo>
                    <a:pt x="9" y="333"/>
                  </a:lnTo>
                  <a:lnTo>
                    <a:pt x="0" y="333"/>
                  </a:lnTo>
                  <a:lnTo>
                    <a:pt x="0" y="326"/>
                  </a:lnTo>
                  <a:lnTo>
                    <a:pt x="0" y="326"/>
                  </a:lnTo>
                  <a:lnTo>
                    <a:pt x="0" y="326"/>
                  </a:lnTo>
                  <a:close/>
                  <a:moveTo>
                    <a:pt x="1051" y="383"/>
                  </a:moveTo>
                  <a:lnTo>
                    <a:pt x="1051" y="383"/>
                  </a:lnTo>
                  <a:lnTo>
                    <a:pt x="1058" y="383"/>
                  </a:lnTo>
                  <a:lnTo>
                    <a:pt x="1051" y="383"/>
                  </a:lnTo>
                  <a:lnTo>
                    <a:pt x="1051" y="383"/>
                  </a:lnTo>
                  <a:lnTo>
                    <a:pt x="1051" y="383"/>
                  </a:lnTo>
                  <a:close/>
                  <a:moveTo>
                    <a:pt x="517" y="1172"/>
                  </a:moveTo>
                  <a:lnTo>
                    <a:pt x="517" y="1172"/>
                  </a:lnTo>
                  <a:lnTo>
                    <a:pt x="529" y="1181"/>
                  </a:lnTo>
                  <a:lnTo>
                    <a:pt x="512" y="1176"/>
                  </a:lnTo>
                  <a:lnTo>
                    <a:pt x="517" y="1172"/>
                  </a:lnTo>
                  <a:lnTo>
                    <a:pt x="517" y="1172"/>
                  </a:lnTo>
                  <a:lnTo>
                    <a:pt x="517" y="1172"/>
                  </a:lnTo>
                  <a:lnTo>
                    <a:pt x="517" y="1172"/>
                  </a:lnTo>
                  <a:close/>
                  <a:moveTo>
                    <a:pt x="534" y="1200"/>
                  </a:moveTo>
                  <a:lnTo>
                    <a:pt x="534" y="1193"/>
                  </a:lnTo>
                  <a:lnTo>
                    <a:pt x="512" y="1181"/>
                  </a:lnTo>
                  <a:lnTo>
                    <a:pt x="512" y="1176"/>
                  </a:lnTo>
                  <a:lnTo>
                    <a:pt x="517" y="1181"/>
                  </a:lnTo>
                  <a:lnTo>
                    <a:pt x="529" y="1181"/>
                  </a:lnTo>
                  <a:lnTo>
                    <a:pt x="529" y="1181"/>
                  </a:lnTo>
                  <a:lnTo>
                    <a:pt x="534" y="1176"/>
                  </a:lnTo>
                  <a:lnTo>
                    <a:pt x="534" y="1200"/>
                  </a:lnTo>
                  <a:lnTo>
                    <a:pt x="534" y="1200"/>
                  </a:lnTo>
                  <a:lnTo>
                    <a:pt x="534" y="120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5" name="Freeform 546">
              <a:extLst>
                <a:ext uri="{FF2B5EF4-FFF2-40B4-BE49-F238E27FC236}">
                  <a16:creationId xmlns:a16="http://schemas.microsoft.com/office/drawing/2014/main" id="{1358B7B1-65A9-4056-90C5-2E68B70D70D2}"/>
                </a:ext>
              </a:extLst>
            </p:cNvPr>
            <p:cNvSpPr>
              <a:spLocks/>
            </p:cNvSpPr>
            <p:nvPr/>
          </p:nvSpPr>
          <p:spPr bwMode="gray">
            <a:xfrm>
              <a:off x="12448725" y="2915518"/>
              <a:ext cx="5237" cy="6873"/>
            </a:xfrm>
            <a:custGeom>
              <a:avLst/>
              <a:gdLst>
                <a:gd name="T0" fmla="*/ 5 w 16"/>
                <a:gd name="T1" fmla="*/ 0 h 21"/>
                <a:gd name="T2" fmla="*/ 5 w 16"/>
                <a:gd name="T3" fmla="*/ 4 h 21"/>
                <a:gd name="T4" fmla="*/ 5 w 16"/>
                <a:gd name="T5" fmla="*/ 4 h 21"/>
                <a:gd name="T6" fmla="*/ 16 w 16"/>
                <a:gd name="T7" fmla="*/ 21 h 21"/>
                <a:gd name="T8" fmla="*/ 5 w 16"/>
                <a:gd name="T9" fmla="*/ 21 h 21"/>
                <a:gd name="T10" fmla="*/ 0 w 16"/>
                <a:gd name="T11" fmla="*/ 0 h 21"/>
                <a:gd name="T12" fmla="*/ 5 w 16"/>
                <a:gd name="T13" fmla="*/ 0 h 21"/>
                <a:gd name="T14" fmla="*/ 5 w 16"/>
                <a:gd name="T15" fmla="*/ 0 h 21"/>
                <a:gd name="T16" fmla="*/ 5 w 16"/>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1">
                  <a:moveTo>
                    <a:pt x="5" y="0"/>
                  </a:moveTo>
                  <a:lnTo>
                    <a:pt x="5" y="4"/>
                  </a:lnTo>
                  <a:lnTo>
                    <a:pt x="5" y="4"/>
                  </a:lnTo>
                  <a:lnTo>
                    <a:pt x="16" y="21"/>
                  </a:lnTo>
                  <a:lnTo>
                    <a:pt x="5" y="21"/>
                  </a:lnTo>
                  <a:lnTo>
                    <a:pt x="0" y="0"/>
                  </a:lnTo>
                  <a:lnTo>
                    <a:pt x="5" y="0"/>
                  </a:lnTo>
                  <a:lnTo>
                    <a:pt x="5" y="0"/>
                  </a:lnTo>
                  <a:lnTo>
                    <a:pt x="5" y="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6" name="Freeform 547">
              <a:extLst>
                <a:ext uri="{FF2B5EF4-FFF2-40B4-BE49-F238E27FC236}">
                  <a16:creationId xmlns:a16="http://schemas.microsoft.com/office/drawing/2014/main" id="{EC338C28-C1AE-497B-9970-68DE66099BE2}"/>
                </a:ext>
              </a:extLst>
            </p:cNvPr>
            <p:cNvSpPr>
              <a:spLocks/>
            </p:cNvSpPr>
            <p:nvPr/>
          </p:nvSpPr>
          <p:spPr bwMode="gray">
            <a:xfrm>
              <a:off x="12302424" y="3700048"/>
              <a:ext cx="1636" cy="5564"/>
            </a:xfrm>
            <a:custGeom>
              <a:avLst/>
              <a:gdLst>
                <a:gd name="T0" fmla="*/ 5 w 5"/>
                <a:gd name="T1" fmla="*/ 17 h 17"/>
                <a:gd name="T2" fmla="*/ 0 w 5"/>
                <a:gd name="T3" fmla="*/ 0 h 17"/>
                <a:gd name="T4" fmla="*/ 5 w 5"/>
                <a:gd name="T5" fmla="*/ 0 h 17"/>
                <a:gd name="T6" fmla="*/ 5 w 5"/>
                <a:gd name="T7" fmla="*/ 17 h 17"/>
                <a:gd name="T8" fmla="*/ 5 w 5"/>
                <a:gd name="T9" fmla="*/ 17 h 17"/>
                <a:gd name="T10" fmla="*/ 5 w 5"/>
                <a:gd name="T11" fmla="*/ 17 h 17"/>
              </a:gdLst>
              <a:ahLst/>
              <a:cxnLst>
                <a:cxn ang="0">
                  <a:pos x="T0" y="T1"/>
                </a:cxn>
                <a:cxn ang="0">
                  <a:pos x="T2" y="T3"/>
                </a:cxn>
                <a:cxn ang="0">
                  <a:pos x="T4" y="T5"/>
                </a:cxn>
                <a:cxn ang="0">
                  <a:pos x="T6" y="T7"/>
                </a:cxn>
                <a:cxn ang="0">
                  <a:pos x="T8" y="T9"/>
                </a:cxn>
                <a:cxn ang="0">
                  <a:pos x="T10" y="T11"/>
                </a:cxn>
              </a:cxnLst>
              <a:rect l="0" t="0" r="r" b="b"/>
              <a:pathLst>
                <a:path w="5" h="17">
                  <a:moveTo>
                    <a:pt x="5" y="17"/>
                  </a:moveTo>
                  <a:lnTo>
                    <a:pt x="0" y="0"/>
                  </a:lnTo>
                  <a:lnTo>
                    <a:pt x="5" y="0"/>
                  </a:lnTo>
                  <a:lnTo>
                    <a:pt x="5" y="17"/>
                  </a:lnTo>
                  <a:lnTo>
                    <a:pt x="5" y="17"/>
                  </a:lnTo>
                  <a:lnTo>
                    <a:pt x="5" y="1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7" name="Freeform 548">
              <a:extLst>
                <a:ext uri="{FF2B5EF4-FFF2-40B4-BE49-F238E27FC236}">
                  <a16:creationId xmlns:a16="http://schemas.microsoft.com/office/drawing/2014/main" id="{3DF9AA38-96FB-4CDA-95CF-7F6C014AADC8}"/>
                </a:ext>
              </a:extLst>
            </p:cNvPr>
            <p:cNvSpPr>
              <a:spLocks noEditPoints="1"/>
            </p:cNvSpPr>
            <p:nvPr/>
          </p:nvSpPr>
          <p:spPr bwMode="gray">
            <a:xfrm>
              <a:off x="14805261" y="4221105"/>
              <a:ext cx="214052" cy="116845"/>
            </a:xfrm>
            <a:custGeom>
              <a:avLst/>
              <a:gdLst>
                <a:gd name="T0" fmla="*/ 654 w 654"/>
                <a:gd name="T1" fmla="*/ 17 h 357"/>
                <a:gd name="T2" fmla="*/ 638 w 654"/>
                <a:gd name="T3" fmla="*/ 12 h 357"/>
                <a:gd name="T4" fmla="*/ 647 w 654"/>
                <a:gd name="T5" fmla="*/ 0 h 357"/>
                <a:gd name="T6" fmla="*/ 654 w 654"/>
                <a:gd name="T7" fmla="*/ 17 h 357"/>
                <a:gd name="T8" fmla="*/ 654 w 654"/>
                <a:gd name="T9" fmla="*/ 17 h 357"/>
                <a:gd name="T10" fmla="*/ 654 w 654"/>
                <a:gd name="T11" fmla="*/ 17 h 357"/>
                <a:gd name="T12" fmla="*/ 7 w 654"/>
                <a:gd name="T13" fmla="*/ 357 h 357"/>
                <a:gd name="T14" fmla="*/ 0 w 654"/>
                <a:gd name="T15" fmla="*/ 352 h 357"/>
                <a:gd name="T16" fmla="*/ 23 w 654"/>
                <a:gd name="T17" fmla="*/ 352 h 357"/>
                <a:gd name="T18" fmla="*/ 7 w 654"/>
                <a:gd name="T19" fmla="*/ 357 h 357"/>
                <a:gd name="T20" fmla="*/ 7 w 654"/>
                <a:gd name="T21" fmla="*/ 357 h 357"/>
                <a:gd name="T22" fmla="*/ 7 w 654"/>
                <a:gd name="T23"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4" h="357">
                  <a:moveTo>
                    <a:pt x="654" y="17"/>
                  </a:moveTo>
                  <a:lnTo>
                    <a:pt x="638" y="12"/>
                  </a:lnTo>
                  <a:lnTo>
                    <a:pt x="647" y="0"/>
                  </a:lnTo>
                  <a:lnTo>
                    <a:pt x="654" y="17"/>
                  </a:lnTo>
                  <a:lnTo>
                    <a:pt x="654" y="17"/>
                  </a:lnTo>
                  <a:lnTo>
                    <a:pt x="654" y="17"/>
                  </a:lnTo>
                  <a:close/>
                  <a:moveTo>
                    <a:pt x="7" y="357"/>
                  </a:moveTo>
                  <a:lnTo>
                    <a:pt x="0" y="352"/>
                  </a:lnTo>
                  <a:lnTo>
                    <a:pt x="23" y="352"/>
                  </a:lnTo>
                  <a:lnTo>
                    <a:pt x="7" y="357"/>
                  </a:lnTo>
                  <a:lnTo>
                    <a:pt x="7" y="357"/>
                  </a:lnTo>
                  <a:lnTo>
                    <a:pt x="7" y="35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8" name="Freeform 549">
              <a:extLst>
                <a:ext uri="{FF2B5EF4-FFF2-40B4-BE49-F238E27FC236}">
                  <a16:creationId xmlns:a16="http://schemas.microsoft.com/office/drawing/2014/main" id="{C3FAAA63-618A-4456-A5A2-729B65C9EB6C}"/>
                </a:ext>
              </a:extLst>
            </p:cNvPr>
            <p:cNvSpPr>
              <a:spLocks noEditPoints="1"/>
            </p:cNvSpPr>
            <p:nvPr/>
          </p:nvSpPr>
          <p:spPr bwMode="gray">
            <a:xfrm>
              <a:off x="14075390" y="4643972"/>
              <a:ext cx="538076" cy="665721"/>
            </a:xfrm>
            <a:custGeom>
              <a:avLst/>
              <a:gdLst>
                <a:gd name="T0" fmla="*/ 449 w 1644"/>
                <a:gd name="T1" fmla="*/ 289 h 2034"/>
                <a:gd name="T2" fmla="*/ 437 w 1644"/>
                <a:gd name="T3" fmla="*/ 355 h 2034"/>
                <a:gd name="T4" fmla="*/ 534 w 1644"/>
                <a:gd name="T5" fmla="*/ 350 h 2034"/>
                <a:gd name="T6" fmla="*/ 588 w 1644"/>
                <a:gd name="T7" fmla="*/ 260 h 2034"/>
                <a:gd name="T8" fmla="*/ 664 w 1644"/>
                <a:gd name="T9" fmla="*/ 272 h 2034"/>
                <a:gd name="T10" fmla="*/ 718 w 1644"/>
                <a:gd name="T11" fmla="*/ 289 h 2034"/>
                <a:gd name="T12" fmla="*/ 805 w 1644"/>
                <a:gd name="T13" fmla="*/ 199 h 2034"/>
                <a:gd name="T14" fmla="*/ 881 w 1644"/>
                <a:gd name="T15" fmla="*/ 123 h 2034"/>
                <a:gd name="T16" fmla="*/ 923 w 1644"/>
                <a:gd name="T17" fmla="*/ 90 h 2034"/>
                <a:gd name="T18" fmla="*/ 1020 w 1644"/>
                <a:gd name="T19" fmla="*/ 22 h 2034"/>
                <a:gd name="T20" fmla="*/ 1075 w 1644"/>
                <a:gd name="T21" fmla="*/ 0 h 2034"/>
                <a:gd name="T22" fmla="*/ 1188 w 1644"/>
                <a:gd name="T23" fmla="*/ 22 h 2034"/>
                <a:gd name="T24" fmla="*/ 1226 w 1644"/>
                <a:gd name="T25" fmla="*/ 144 h 2034"/>
                <a:gd name="T26" fmla="*/ 1226 w 1644"/>
                <a:gd name="T27" fmla="*/ 293 h 2034"/>
                <a:gd name="T28" fmla="*/ 1171 w 1644"/>
                <a:gd name="T29" fmla="*/ 293 h 2034"/>
                <a:gd name="T30" fmla="*/ 1157 w 1644"/>
                <a:gd name="T31" fmla="*/ 355 h 2034"/>
                <a:gd name="T32" fmla="*/ 1238 w 1644"/>
                <a:gd name="T33" fmla="*/ 400 h 2034"/>
                <a:gd name="T34" fmla="*/ 1297 w 1644"/>
                <a:gd name="T35" fmla="*/ 366 h 2034"/>
                <a:gd name="T36" fmla="*/ 1221 w 1644"/>
                <a:gd name="T37" fmla="*/ 522 h 2034"/>
                <a:gd name="T38" fmla="*/ 1167 w 1644"/>
                <a:gd name="T39" fmla="*/ 605 h 2034"/>
                <a:gd name="T40" fmla="*/ 990 w 1644"/>
                <a:gd name="T41" fmla="*/ 815 h 2034"/>
                <a:gd name="T42" fmla="*/ 848 w 1644"/>
                <a:gd name="T43" fmla="*/ 910 h 2034"/>
                <a:gd name="T44" fmla="*/ 794 w 1644"/>
                <a:gd name="T45" fmla="*/ 926 h 2034"/>
                <a:gd name="T46" fmla="*/ 734 w 1644"/>
                <a:gd name="T47" fmla="*/ 943 h 2034"/>
                <a:gd name="T48" fmla="*/ 626 w 1644"/>
                <a:gd name="T49" fmla="*/ 938 h 2034"/>
                <a:gd name="T50" fmla="*/ 517 w 1644"/>
                <a:gd name="T51" fmla="*/ 959 h 2034"/>
                <a:gd name="T52" fmla="*/ 453 w 1644"/>
                <a:gd name="T53" fmla="*/ 959 h 2034"/>
                <a:gd name="T54" fmla="*/ 394 w 1644"/>
                <a:gd name="T55" fmla="*/ 992 h 2034"/>
                <a:gd name="T56" fmla="*/ 345 w 1644"/>
                <a:gd name="T57" fmla="*/ 964 h 2034"/>
                <a:gd name="T58" fmla="*/ 307 w 1644"/>
                <a:gd name="T59" fmla="*/ 943 h 2034"/>
                <a:gd name="T60" fmla="*/ 286 w 1644"/>
                <a:gd name="T61" fmla="*/ 959 h 2034"/>
                <a:gd name="T62" fmla="*/ 286 w 1644"/>
                <a:gd name="T63" fmla="*/ 922 h 2034"/>
                <a:gd name="T64" fmla="*/ 248 w 1644"/>
                <a:gd name="T65" fmla="*/ 848 h 2034"/>
                <a:gd name="T66" fmla="*/ 260 w 1644"/>
                <a:gd name="T67" fmla="*/ 832 h 2034"/>
                <a:gd name="T68" fmla="*/ 269 w 1644"/>
                <a:gd name="T69" fmla="*/ 759 h 2034"/>
                <a:gd name="T70" fmla="*/ 151 w 1644"/>
                <a:gd name="T71" fmla="*/ 522 h 2034"/>
                <a:gd name="T72" fmla="*/ 168 w 1644"/>
                <a:gd name="T73" fmla="*/ 461 h 2034"/>
                <a:gd name="T74" fmla="*/ 205 w 1644"/>
                <a:gd name="T75" fmla="*/ 466 h 2034"/>
                <a:gd name="T76" fmla="*/ 222 w 1644"/>
                <a:gd name="T77" fmla="*/ 515 h 2034"/>
                <a:gd name="T78" fmla="*/ 302 w 1644"/>
                <a:gd name="T79" fmla="*/ 515 h 2034"/>
                <a:gd name="T80" fmla="*/ 340 w 1644"/>
                <a:gd name="T81" fmla="*/ 511 h 2034"/>
                <a:gd name="T82" fmla="*/ 394 w 1644"/>
                <a:gd name="T83" fmla="*/ 482 h 2034"/>
                <a:gd name="T84" fmla="*/ 394 w 1644"/>
                <a:gd name="T85" fmla="*/ 199 h 2034"/>
                <a:gd name="T86" fmla="*/ 966 w 1644"/>
                <a:gd name="T87" fmla="*/ 511 h 2034"/>
                <a:gd name="T88" fmla="*/ 886 w 1644"/>
                <a:gd name="T89" fmla="*/ 577 h 2034"/>
                <a:gd name="T90" fmla="*/ 935 w 1644"/>
                <a:gd name="T91" fmla="*/ 659 h 2034"/>
                <a:gd name="T92" fmla="*/ 1011 w 1644"/>
                <a:gd name="T93" fmla="*/ 622 h 2034"/>
                <a:gd name="T94" fmla="*/ 1042 w 1644"/>
                <a:gd name="T95" fmla="*/ 577 h 2034"/>
                <a:gd name="T96" fmla="*/ 1049 w 1644"/>
                <a:gd name="T97" fmla="*/ 539 h 2034"/>
                <a:gd name="T98" fmla="*/ 1011 w 1644"/>
                <a:gd name="T99" fmla="*/ 511 h 2034"/>
                <a:gd name="T100" fmla="*/ 21 w 1644"/>
                <a:gd name="T101" fmla="*/ 78 h 2034"/>
                <a:gd name="T102" fmla="*/ 0 w 1644"/>
                <a:gd name="T103" fmla="*/ 55 h 2034"/>
                <a:gd name="T104" fmla="*/ 5 w 1644"/>
                <a:gd name="T105" fmla="*/ 38 h 2034"/>
                <a:gd name="T106" fmla="*/ 1644 w 1644"/>
                <a:gd name="T107" fmla="*/ 2034 h 2034"/>
                <a:gd name="T108" fmla="*/ 1644 w 1644"/>
                <a:gd name="T109" fmla="*/ 2029 h 2034"/>
                <a:gd name="T110" fmla="*/ 1644 w 1644"/>
                <a:gd name="T111" fmla="*/ 2034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44" h="2034">
                  <a:moveTo>
                    <a:pt x="394" y="199"/>
                  </a:moveTo>
                  <a:lnTo>
                    <a:pt x="416" y="222"/>
                  </a:lnTo>
                  <a:lnTo>
                    <a:pt x="449" y="289"/>
                  </a:lnTo>
                  <a:lnTo>
                    <a:pt x="453" y="310"/>
                  </a:lnTo>
                  <a:lnTo>
                    <a:pt x="432" y="333"/>
                  </a:lnTo>
                  <a:lnTo>
                    <a:pt x="437" y="355"/>
                  </a:lnTo>
                  <a:lnTo>
                    <a:pt x="508" y="366"/>
                  </a:lnTo>
                  <a:lnTo>
                    <a:pt x="517" y="350"/>
                  </a:lnTo>
                  <a:lnTo>
                    <a:pt x="534" y="350"/>
                  </a:lnTo>
                  <a:lnTo>
                    <a:pt x="546" y="326"/>
                  </a:lnTo>
                  <a:lnTo>
                    <a:pt x="579" y="300"/>
                  </a:lnTo>
                  <a:lnTo>
                    <a:pt x="588" y="260"/>
                  </a:lnTo>
                  <a:lnTo>
                    <a:pt x="600" y="244"/>
                  </a:lnTo>
                  <a:lnTo>
                    <a:pt x="633" y="239"/>
                  </a:lnTo>
                  <a:lnTo>
                    <a:pt x="664" y="272"/>
                  </a:lnTo>
                  <a:lnTo>
                    <a:pt x="685" y="272"/>
                  </a:lnTo>
                  <a:lnTo>
                    <a:pt x="697" y="277"/>
                  </a:lnTo>
                  <a:lnTo>
                    <a:pt x="718" y="289"/>
                  </a:lnTo>
                  <a:lnTo>
                    <a:pt x="777" y="272"/>
                  </a:lnTo>
                  <a:lnTo>
                    <a:pt x="789" y="255"/>
                  </a:lnTo>
                  <a:lnTo>
                    <a:pt x="805" y="199"/>
                  </a:lnTo>
                  <a:lnTo>
                    <a:pt x="843" y="189"/>
                  </a:lnTo>
                  <a:lnTo>
                    <a:pt x="869" y="166"/>
                  </a:lnTo>
                  <a:lnTo>
                    <a:pt x="881" y="123"/>
                  </a:lnTo>
                  <a:lnTo>
                    <a:pt x="914" y="95"/>
                  </a:lnTo>
                  <a:lnTo>
                    <a:pt x="919" y="95"/>
                  </a:lnTo>
                  <a:lnTo>
                    <a:pt x="923" y="90"/>
                  </a:lnTo>
                  <a:lnTo>
                    <a:pt x="952" y="74"/>
                  </a:lnTo>
                  <a:lnTo>
                    <a:pt x="973" y="38"/>
                  </a:lnTo>
                  <a:lnTo>
                    <a:pt x="1020" y="22"/>
                  </a:lnTo>
                  <a:lnTo>
                    <a:pt x="1027" y="12"/>
                  </a:lnTo>
                  <a:lnTo>
                    <a:pt x="1049" y="12"/>
                  </a:lnTo>
                  <a:lnTo>
                    <a:pt x="1075" y="0"/>
                  </a:lnTo>
                  <a:lnTo>
                    <a:pt x="1120" y="17"/>
                  </a:lnTo>
                  <a:lnTo>
                    <a:pt x="1157" y="17"/>
                  </a:lnTo>
                  <a:lnTo>
                    <a:pt x="1188" y="22"/>
                  </a:lnTo>
                  <a:lnTo>
                    <a:pt x="1205" y="78"/>
                  </a:lnTo>
                  <a:lnTo>
                    <a:pt x="1205" y="107"/>
                  </a:lnTo>
                  <a:lnTo>
                    <a:pt x="1226" y="144"/>
                  </a:lnTo>
                  <a:lnTo>
                    <a:pt x="1238" y="178"/>
                  </a:lnTo>
                  <a:lnTo>
                    <a:pt x="1238" y="293"/>
                  </a:lnTo>
                  <a:lnTo>
                    <a:pt x="1226" y="293"/>
                  </a:lnTo>
                  <a:lnTo>
                    <a:pt x="1195" y="277"/>
                  </a:lnTo>
                  <a:lnTo>
                    <a:pt x="1188" y="277"/>
                  </a:lnTo>
                  <a:lnTo>
                    <a:pt x="1171" y="293"/>
                  </a:lnTo>
                  <a:lnTo>
                    <a:pt x="1150" y="326"/>
                  </a:lnTo>
                  <a:lnTo>
                    <a:pt x="1150" y="355"/>
                  </a:lnTo>
                  <a:lnTo>
                    <a:pt x="1157" y="355"/>
                  </a:lnTo>
                  <a:lnTo>
                    <a:pt x="1171" y="388"/>
                  </a:lnTo>
                  <a:lnTo>
                    <a:pt x="1205" y="400"/>
                  </a:lnTo>
                  <a:lnTo>
                    <a:pt x="1238" y="400"/>
                  </a:lnTo>
                  <a:lnTo>
                    <a:pt x="1238" y="355"/>
                  </a:lnTo>
                  <a:lnTo>
                    <a:pt x="1242" y="366"/>
                  </a:lnTo>
                  <a:lnTo>
                    <a:pt x="1297" y="366"/>
                  </a:lnTo>
                  <a:lnTo>
                    <a:pt x="1259" y="494"/>
                  </a:lnTo>
                  <a:lnTo>
                    <a:pt x="1238" y="522"/>
                  </a:lnTo>
                  <a:lnTo>
                    <a:pt x="1221" y="522"/>
                  </a:lnTo>
                  <a:lnTo>
                    <a:pt x="1188" y="565"/>
                  </a:lnTo>
                  <a:lnTo>
                    <a:pt x="1167" y="605"/>
                  </a:lnTo>
                  <a:lnTo>
                    <a:pt x="1167" y="605"/>
                  </a:lnTo>
                  <a:lnTo>
                    <a:pt x="1096" y="716"/>
                  </a:lnTo>
                  <a:lnTo>
                    <a:pt x="1049" y="742"/>
                  </a:lnTo>
                  <a:lnTo>
                    <a:pt x="990" y="815"/>
                  </a:lnTo>
                  <a:lnTo>
                    <a:pt x="952" y="848"/>
                  </a:lnTo>
                  <a:lnTo>
                    <a:pt x="886" y="886"/>
                  </a:lnTo>
                  <a:lnTo>
                    <a:pt x="848" y="910"/>
                  </a:lnTo>
                  <a:lnTo>
                    <a:pt x="794" y="910"/>
                  </a:lnTo>
                  <a:lnTo>
                    <a:pt x="789" y="922"/>
                  </a:lnTo>
                  <a:lnTo>
                    <a:pt x="794" y="926"/>
                  </a:lnTo>
                  <a:lnTo>
                    <a:pt x="739" y="926"/>
                  </a:lnTo>
                  <a:lnTo>
                    <a:pt x="739" y="926"/>
                  </a:lnTo>
                  <a:lnTo>
                    <a:pt x="734" y="943"/>
                  </a:lnTo>
                  <a:lnTo>
                    <a:pt x="647" y="926"/>
                  </a:lnTo>
                  <a:lnTo>
                    <a:pt x="633" y="926"/>
                  </a:lnTo>
                  <a:lnTo>
                    <a:pt x="626" y="938"/>
                  </a:lnTo>
                  <a:lnTo>
                    <a:pt x="572" y="926"/>
                  </a:lnTo>
                  <a:lnTo>
                    <a:pt x="541" y="938"/>
                  </a:lnTo>
                  <a:lnTo>
                    <a:pt x="517" y="959"/>
                  </a:lnTo>
                  <a:lnTo>
                    <a:pt x="503" y="959"/>
                  </a:lnTo>
                  <a:lnTo>
                    <a:pt x="486" y="959"/>
                  </a:lnTo>
                  <a:lnTo>
                    <a:pt x="453" y="959"/>
                  </a:lnTo>
                  <a:lnTo>
                    <a:pt x="449" y="964"/>
                  </a:lnTo>
                  <a:lnTo>
                    <a:pt x="427" y="964"/>
                  </a:lnTo>
                  <a:lnTo>
                    <a:pt x="394" y="992"/>
                  </a:lnTo>
                  <a:lnTo>
                    <a:pt x="373" y="992"/>
                  </a:lnTo>
                  <a:lnTo>
                    <a:pt x="345" y="976"/>
                  </a:lnTo>
                  <a:lnTo>
                    <a:pt x="345" y="964"/>
                  </a:lnTo>
                  <a:lnTo>
                    <a:pt x="340" y="959"/>
                  </a:lnTo>
                  <a:lnTo>
                    <a:pt x="307" y="959"/>
                  </a:lnTo>
                  <a:lnTo>
                    <a:pt x="307" y="943"/>
                  </a:lnTo>
                  <a:lnTo>
                    <a:pt x="307" y="938"/>
                  </a:lnTo>
                  <a:lnTo>
                    <a:pt x="286" y="938"/>
                  </a:lnTo>
                  <a:lnTo>
                    <a:pt x="286" y="959"/>
                  </a:lnTo>
                  <a:lnTo>
                    <a:pt x="274" y="955"/>
                  </a:lnTo>
                  <a:lnTo>
                    <a:pt x="269" y="926"/>
                  </a:lnTo>
                  <a:lnTo>
                    <a:pt x="286" y="922"/>
                  </a:lnTo>
                  <a:lnTo>
                    <a:pt x="286" y="903"/>
                  </a:lnTo>
                  <a:lnTo>
                    <a:pt x="253" y="848"/>
                  </a:lnTo>
                  <a:lnTo>
                    <a:pt x="248" y="848"/>
                  </a:lnTo>
                  <a:lnTo>
                    <a:pt x="236" y="832"/>
                  </a:lnTo>
                  <a:lnTo>
                    <a:pt x="253" y="827"/>
                  </a:lnTo>
                  <a:lnTo>
                    <a:pt x="260" y="832"/>
                  </a:lnTo>
                  <a:lnTo>
                    <a:pt x="269" y="815"/>
                  </a:lnTo>
                  <a:lnTo>
                    <a:pt x="274" y="794"/>
                  </a:lnTo>
                  <a:lnTo>
                    <a:pt x="269" y="759"/>
                  </a:lnTo>
                  <a:lnTo>
                    <a:pt x="198" y="631"/>
                  </a:lnTo>
                  <a:lnTo>
                    <a:pt x="168" y="539"/>
                  </a:lnTo>
                  <a:lnTo>
                    <a:pt x="151" y="522"/>
                  </a:lnTo>
                  <a:lnTo>
                    <a:pt x="146" y="499"/>
                  </a:lnTo>
                  <a:lnTo>
                    <a:pt x="160" y="494"/>
                  </a:lnTo>
                  <a:lnTo>
                    <a:pt x="168" y="461"/>
                  </a:lnTo>
                  <a:lnTo>
                    <a:pt x="184" y="454"/>
                  </a:lnTo>
                  <a:lnTo>
                    <a:pt x="198" y="466"/>
                  </a:lnTo>
                  <a:lnTo>
                    <a:pt x="205" y="466"/>
                  </a:lnTo>
                  <a:lnTo>
                    <a:pt x="205" y="511"/>
                  </a:lnTo>
                  <a:lnTo>
                    <a:pt x="222" y="511"/>
                  </a:lnTo>
                  <a:lnTo>
                    <a:pt x="222" y="515"/>
                  </a:lnTo>
                  <a:lnTo>
                    <a:pt x="248" y="515"/>
                  </a:lnTo>
                  <a:lnTo>
                    <a:pt x="260" y="522"/>
                  </a:lnTo>
                  <a:lnTo>
                    <a:pt x="302" y="515"/>
                  </a:lnTo>
                  <a:lnTo>
                    <a:pt x="328" y="522"/>
                  </a:lnTo>
                  <a:lnTo>
                    <a:pt x="340" y="522"/>
                  </a:lnTo>
                  <a:lnTo>
                    <a:pt x="340" y="511"/>
                  </a:lnTo>
                  <a:lnTo>
                    <a:pt x="357" y="511"/>
                  </a:lnTo>
                  <a:lnTo>
                    <a:pt x="361" y="494"/>
                  </a:lnTo>
                  <a:lnTo>
                    <a:pt x="394" y="482"/>
                  </a:lnTo>
                  <a:lnTo>
                    <a:pt x="394" y="199"/>
                  </a:lnTo>
                  <a:lnTo>
                    <a:pt x="394" y="199"/>
                  </a:lnTo>
                  <a:lnTo>
                    <a:pt x="394" y="199"/>
                  </a:lnTo>
                  <a:close/>
                  <a:moveTo>
                    <a:pt x="1011" y="511"/>
                  </a:moveTo>
                  <a:lnTo>
                    <a:pt x="994" y="499"/>
                  </a:lnTo>
                  <a:lnTo>
                    <a:pt x="966" y="511"/>
                  </a:lnTo>
                  <a:lnTo>
                    <a:pt x="923" y="532"/>
                  </a:lnTo>
                  <a:lnTo>
                    <a:pt x="902" y="572"/>
                  </a:lnTo>
                  <a:lnTo>
                    <a:pt x="886" y="577"/>
                  </a:lnTo>
                  <a:lnTo>
                    <a:pt x="902" y="610"/>
                  </a:lnTo>
                  <a:lnTo>
                    <a:pt x="914" y="631"/>
                  </a:lnTo>
                  <a:lnTo>
                    <a:pt x="935" y="659"/>
                  </a:lnTo>
                  <a:lnTo>
                    <a:pt x="957" y="659"/>
                  </a:lnTo>
                  <a:lnTo>
                    <a:pt x="978" y="622"/>
                  </a:lnTo>
                  <a:lnTo>
                    <a:pt x="1011" y="622"/>
                  </a:lnTo>
                  <a:lnTo>
                    <a:pt x="1032" y="605"/>
                  </a:lnTo>
                  <a:lnTo>
                    <a:pt x="1032" y="577"/>
                  </a:lnTo>
                  <a:lnTo>
                    <a:pt x="1042" y="577"/>
                  </a:lnTo>
                  <a:lnTo>
                    <a:pt x="1042" y="572"/>
                  </a:lnTo>
                  <a:lnTo>
                    <a:pt x="1058" y="555"/>
                  </a:lnTo>
                  <a:lnTo>
                    <a:pt x="1049" y="539"/>
                  </a:lnTo>
                  <a:lnTo>
                    <a:pt x="1011" y="511"/>
                  </a:lnTo>
                  <a:lnTo>
                    <a:pt x="1011" y="511"/>
                  </a:lnTo>
                  <a:lnTo>
                    <a:pt x="1011" y="511"/>
                  </a:lnTo>
                  <a:close/>
                  <a:moveTo>
                    <a:pt x="5" y="38"/>
                  </a:moveTo>
                  <a:lnTo>
                    <a:pt x="16" y="38"/>
                  </a:lnTo>
                  <a:lnTo>
                    <a:pt x="21" y="78"/>
                  </a:lnTo>
                  <a:lnTo>
                    <a:pt x="0" y="78"/>
                  </a:lnTo>
                  <a:lnTo>
                    <a:pt x="0" y="66"/>
                  </a:lnTo>
                  <a:lnTo>
                    <a:pt x="0" y="55"/>
                  </a:lnTo>
                  <a:lnTo>
                    <a:pt x="0" y="66"/>
                  </a:lnTo>
                  <a:lnTo>
                    <a:pt x="5" y="66"/>
                  </a:lnTo>
                  <a:lnTo>
                    <a:pt x="5" y="38"/>
                  </a:lnTo>
                  <a:lnTo>
                    <a:pt x="5" y="38"/>
                  </a:lnTo>
                  <a:lnTo>
                    <a:pt x="5" y="38"/>
                  </a:lnTo>
                  <a:close/>
                  <a:moveTo>
                    <a:pt x="1644" y="2034"/>
                  </a:moveTo>
                  <a:lnTo>
                    <a:pt x="1627" y="2029"/>
                  </a:lnTo>
                  <a:lnTo>
                    <a:pt x="1637" y="2022"/>
                  </a:lnTo>
                  <a:lnTo>
                    <a:pt x="1644" y="2029"/>
                  </a:lnTo>
                  <a:lnTo>
                    <a:pt x="1644" y="2034"/>
                  </a:lnTo>
                  <a:lnTo>
                    <a:pt x="1644" y="2034"/>
                  </a:lnTo>
                  <a:lnTo>
                    <a:pt x="1644" y="2034"/>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9" name="Freeform 550">
              <a:extLst>
                <a:ext uri="{FF2B5EF4-FFF2-40B4-BE49-F238E27FC236}">
                  <a16:creationId xmlns:a16="http://schemas.microsoft.com/office/drawing/2014/main" id="{EE486636-A499-44C4-98E7-0CB4C85CF1EC}"/>
                </a:ext>
              </a:extLst>
            </p:cNvPr>
            <p:cNvSpPr>
              <a:spLocks/>
            </p:cNvSpPr>
            <p:nvPr/>
          </p:nvSpPr>
          <p:spPr bwMode="gray">
            <a:xfrm>
              <a:off x="13343227" y="3715431"/>
              <a:ext cx="142374" cy="106699"/>
            </a:xfrm>
            <a:custGeom>
              <a:avLst/>
              <a:gdLst>
                <a:gd name="T0" fmla="*/ 163 w 435"/>
                <a:gd name="T1" fmla="*/ 305 h 326"/>
                <a:gd name="T2" fmla="*/ 92 w 435"/>
                <a:gd name="T3" fmla="*/ 322 h 326"/>
                <a:gd name="T4" fmla="*/ 45 w 435"/>
                <a:gd name="T5" fmla="*/ 322 h 326"/>
                <a:gd name="T6" fmla="*/ 75 w 435"/>
                <a:gd name="T7" fmla="*/ 310 h 326"/>
                <a:gd name="T8" fmla="*/ 130 w 435"/>
                <a:gd name="T9" fmla="*/ 310 h 326"/>
                <a:gd name="T10" fmla="*/ 137 w 435"/>
                <a:gd name="T11" fmla="*/ 293 h 326"/>
                <a:gd name="T12" fmla="*/ 137 w 435"/>
                <a:gd name="T13" fmla="*/ 293 h 326"/>
                <a:gd name="T14" fmla="*/ 130 w 435"/>
                <a:gd name="T15" fmla="*/ 310 h 326"/>
                <a:gd name="T16" fmla="*/ 99 w 435"/>
                <a:gd name="T17" fmla="*/ 293 h 326"/>
                <a:gd name="T18" fmla="*/ 75 w 435"/>
                <a:gd name="T19" fmla="*/ 310 h 326"/>
                <a:gd name="T20" fmla="*/ 59 w 435"/>
                <a:gd name="T21" fmla="*/ 293 h 326"/>
                <a:gd name="T22" fmla="*/ 54 w 435"/>
                <a:gd name="T23" fmla="*/ 272 h 326"/>
                <a:gd name="T24" fmla="*/ 113 w 435"/>
                <a:gd name="T25" fmla="*/ 267 h 326"/>
                <a:gd name="T26" fmla="*/ 151 w 435"/>
                <a:gd name="T27" fmla="*/ 251 h 326"/>
                <a:gd name="T28" fmla="*/ 222 w 435"/>
                <a:gd name="T29" fmla="*/ 267 h 326"/>
                <a:gd name="T30" fmla="*/ 260 w 435"/>
                <a:gd name="T31" fmla="*/ 251 h 326"/>
                <a:gd name="T32" fmla="*/ 222 w 435"/>
                <a:gd name="T33" fmla="*/ 251 h 326"/>
                <a:gd name="T34" fmla="*/ 191 w 435"/>
                <a:gd name="T35" fmla="*/ 232 h 326"/>
                <a:gd name="T36" fmla="*/ 168 w 435"/>
                <a:gd name="T37" fmla="*/ 215 h 326"/>
                <a:gd name="T38" fmla="*/ 137 w 435"/>
                <a:gd name="T39" fmla="*/ 232 h 326"/>
                <a:gd name="T40" fmla="*/ 59 w 435"/>
                <a:gd name="T41" fmla="*/ 222 h 326"/>
                <a:gd name="T42" fmla="*/ 54 w 435"/>
                <a:gd name="T43" fmla="*/ 222 h 326"/>
                <a:gd name="T44" fmla="*/ 75 w 435"/>
                <a:gd name="T45" fmla="*/ 194 h 326"/>
                <a:gd name="T46" fmla="*/ 59 w 435"/>
                <a:gd name="T47" fmla="*/ 199 h 326"/>
                <a:gd name="T48" fmla="*/ 21 w 435"/>
                <a:gd name="T49" fmla="*/ 156 h 326"/>
                <a:gd name="T50" fmla="*/ 0 w 435"/>
                <a:gd name="T51" fmla="*/ 156 h 326"/>
                <a:gd name="T52" fmla="*/ 21 w 435"/>
                <a:gd name="T53" fmla="*/ 140 h 326"/>
                <a:gd name="T54" fmla="*/ 66 w 435"/>
                <a:gd name="T55" fmla="*/ 74 h 326"/>
                <a:gd name="T56" fmla="*/ 83 w 435"/>
                <a:gd name="T57" fmla="*/ 17 h 326"/>
                <a:gd name="T58" fmla="*/ 175 w 435"/>
                <a:gd name="T59" fmla="*/ 0 h 326"/>
                <a:gd name="T60" fmla="*/ 255 w 435"/>
                <a:gd name="T61" fmla="*/ 50 h 326"/>
                <a:gd name="T62" fmla="*/ 272 w 435"/>
                <a:gd name="T63" fmla="*/ 50 h 326"/>
                <a:gd name="T64" fmla="*/ 283 w 435"/>
                <a:gd name="T65" fmla="*/ 50 h 326"/>
                <a:gd name="T66" fmla="*/ 309 w 435"/>
                <a:gd name="T67" fmla="*/ 100 h 326"/>
                <a:gd name="T68" fmla="*/ 326 w 435"/>
                <a:gd name="T69" fmla="*/ 107 h 326"/>
                <a:gd name="T70" fmla="*/ 347 w 435"/>
                <a:gd name="T71" fmla="*/ 128 h 326"/>
                <a:gd name="T72" fmla="*/ 368 w 435"/>
                <a:gd name="T73" fmla="*/ 178 h 326"/>
                <a:gd name="T74" fmla="*/ 385 w 435"/>
                <a:gd name="T75" fmla="*/ 215 h 326"/>
                <a:gd name="T76" fmla="*/ 401 w 435"/>
                <a:gd name="T77" fmla="*/ 256 h 326"/>
                <a:gd name="T78" fmla="*/ 406 w 435"/>
                <a:gd name="T79" fmla="*/ 251 h 326"/>
                <a:gd name="T80" fmla="*/ 435 w 435"/>
                <a:gd name="T81" fmla="*/ 322 h 326"/>
                <a:gd name="T82" fmla="*/ 364 w 435"/>
                <a:gd name="T83" fmla="*/ 326 h 326"/>
                <a:gd name="T84" fmla="*/ 309 w 435"/>
                <a:gd name="T85" fmla="*/ 322 h 326"/>
                <a:gd name="T86" fmla="*/ 260 w 435"/>
                <a:gd name="T87" fmla="*/ 305 h 326"/>
                <a:gd name="T88" fmla="*/ 222 w 435"/>
                <a:gd name="T89" fmla="*/ 30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5" h="326">
                  <a:moveTo>
                    <a:pt x="222" y="305"/>
                  </a:moveTo>
                  <a:lnTo>
                    <a:pt x="163" y="305"/>
                  </a:lnTo>
                  <a:lnTo>
                    <a:pt x="120" y="322"/>
                  </a:lnTo>
                  <a:lnTo>
                    <a:pt x="92" y="322"/>
                  </a:lnTo>
                  <a:lnTo>
                    <a:pt x="54" y="326"/>
                  </a:lnTo>
                  <a:lnTo>
                    <a:pt x="45" y="322"/>
                  </a:lnTo>
                  <a:lnTo>
                    <a:pt x="59" y="305"/>
                  </a:lnTo>
                  <a:lnTo>
                    <a:pt x="75" y="310"/>
                  </a:lnTo>
                  <a:lnTo>
                    <a:pt x="99" y="305"/>
                  </a:lnTo>
                  <a:lnTo>
                    <a:pt x="130" y="310"/>
                  </a:lnTo>
                  <a:lnTo>
                    <a:pt x="137" y="305"/>
                  </a:lnTo>
                  <a:lnTo>
                    <a:pt x="137" y="293"/>
                  </a:lnTo>
                  <a:lnTo>
                    <a:pt x="146" y="289"/>
                  </a:lnTo>
                  <a:lnTo>
                    <a:pt x="137" y="293"/>
                  </a:lnTo>
                  <a:lnTo>
                    <a:pt x="137" y="305"/>
                  </a:lnTo>
                  <a:lnTo>
                    <a:pt x="130" y="310"/>
                  </a:lnTo>
                  <a:lnTo>
                    <a:pt x="109" y="310"/>
                  </a:lnTo>
                  <a:lnTo>
                    <a:pt x="99" y="293"/>
                  </a:lnTo>
                  <a:lnTo>
                    <a:pt x="99" y="305"/>
                  </a:lnTo>
                  <a:lnTo>
                    <a:pt x="75" y="310"/>
                  </a:lnTo>
                  <a:lnTo>
                    <a:pt x="59" y="305"/>
                  </a:lnTo>
                  <a:lnTo>
                    <a:pt x="59" y="293"/>
                  </a:lnTo>
                  <a:lnTo>
                    <a:pt x="54" y="310"/>
                  </a:lnTo>
                  <a:lnTo>
                    <a:pt x="54" y="272"/>
                  </a:lnTo>
                  <a:lnTo>
                    <a:pt x="54" y="267"/>
                  </a:lnTo>
                  <a:lnTo>
                    <a:pt x="113" y="267"/>
                  </a:lnTo>
                  <a:lnTo>
                    <a:pt x="113" y="256"/>
                  </a:lnTo>
                  <a:lnTo>
                    <a:pt x="151" y="251"/>
                  </a:lnTo>
                  <a:lnTo>
                    <a:pt x="168" y="232"/>
                  </a:lnTo>
                  <a:lnTo>
                    <a:pt x="222" y="267"/>
                  </a:lnTo>
                  <a:lnTo>
                    <a:pt x="255" y="256"/>
                  </a:lnTo>
                  <a:lnTo>
                    <a:pt x="260" y="251"/>
                  </a:lnTo>
                  <a:lnTo>
                    <a:pt x="243" y="232"/>
                  </a:lnTo>
                  <a:lnTo>
                    <a:pt x="222" y="251"/>
                  </a:lnTo>
                  <a:lnTo>
                    <a:pt x="205" y="232"/>
                  </a:lnTo>
                  <a:lnTo>
                    <a:pt x="191" y="232"/>
                  </a:lnTo>
                  <a:lnTo>
                    <a:pt x="184" y="222"/>
                  </a:lnTo>
                  <a:lnTo>
                    <a:pt x="168" y="215"/>
                  </a:lnTo>
                  <a:lnTo>
                    <a:pt x="146" y="222"/>
                  </a:lnTo>
                  <a:lnTo>
                    <a:pt x="137" y="232"/>
                  </a:lnTo>
                  <a:lnTo>
                    <a:pt x="59" y="232"/>
                  </a:lnTo>
                  <a:lnTo>
                    <a:pt x="59" y="222"/>
                  </a:lnTo>
                  <a:lnTo>
                    <a:pt x="66" y="211"/>
                  </a:lnTo>
                  <a:lnTo>
                    <a:pt x="54" y="222"/>
                  </a:lnTo>
                  <a:lnTo>
                    <a:pt x="54" y="211"/>
                  </a:lnTo>
                  <a:lnTo>
                    <a:pt x="75" y="194"/>
                  </a:lnTo>
                  <a:lnTo>
                    <a:pt x="66" y="194"/>
                  </a:lnTo>
                  <a:lnTo>
                    <a:pt x="59" y="199"/>
                  </a:lnTo>
                  <a:lnTo>
                    <a:pt x="45" y="199"/>
                  </a:lnTo>
                  <a:lnTo>
                    <a:pt x="21" y="156"/>
                  </a:lnTo>
                  <a:lnTo>
                    <a:pt x="7" y="156"/>
                  </a:lnTo>
                  <a:lnTo>
                    <a:pt x="0" y="156"/>
                  </a:lnTo>
                  <a:lnTo>
                    <a:pt x="0" y="156"/>
                  </a:lnTo>
                  <a:lnTo>
                    <a:pt x="21" y="140"/>
                  </a:lnTo>
                  <a:lnTo>
                    <a:pt x="45" y="111"/>
                  </a:lnTo>
                  <a:lnTo>
                    <a:pt x="66" y="74"/>
                  </a:lnTo>
                  <a:lnTo>
                    <a:pt x="66" y="50"/>
                  </a:lnTo>
                  <a:lnTo>
                    <a:pt x="83" y="17"/>
                  </a:lnTo>
                  <a:lnTo>
                    <a:pt x="130" y="17"/>
                  </a:lnTo>
                  <a:lnTo>
                    <a:pt x="175" y="0"/>
                  </a:lnTo>
                  <a:lnTo>
                    <a:pt x="222" y="12"/>
                  </a:lnTo>
                  <a:lnTo>
                    <a:pt x="255" y="50"/>
                  </a:lnTo>
                  <a:lnTo>
                    <a:pt x="260" y="45"/>
                  </a:lnTo>
                  <a:lnTo>
                    <a:pt x="272" y="50"/>
                  </a:lnTo>
                  <a:lnTo>
                    <a:pt x="276" y="50"/>
                  </a:lnTo>
                  <a:lnTo>
                    <a:pt x="283" y="50"/>
                  </a:lnTo>
                  <a:lnTo>
                    <a:pt x="298" y="83"/>
                  </a:lnTo>
                  <a:lnTo>
                    <a:pt x="309" y="100"/>
                  </a:lnTo>
                  <a:lnTo>
                    <a:pt x="314" y="100"/>
                  </a:lnTo>
                  <a:lnTo>
                    <a:pt x="326" y="107"/>
                  </a:lnTo>
                  <a:lnTo>
                    <a:pt x="326" y="111"/>
                  </a:lnTo>
                  <a:lnTo>
                    <a:pt x="347" y="128"/>
                  </a:lnTo>
                  <a:lnTo>
                    <a:pt x="368" y="144"/>
                  </a:lnTo>
                  <a:lnTo>
                    <a:pt x="368" y="178"/>
                  </a:lnTo>
                  <a:lnTo>
                    <a:pt x="385" y="194"/>
                  </a:lnTo>
                  <a:lnTo>
                    <a:pt x="385" y="215"/>
                  </a:lnTo>
                  <a:lnTo>
                    <a:pt x="380" y="232"/>
                  </a:lnTo>
                  <a:lnTo>
                    <a:pt x="401" y="256"/>
                  </a:lnTo>
                  <a:lnTo>
                    <a:pt x="401" y="251"/>
                  </a:lnTo>
                  <a:lnTo>
                    <a:pt x="406" y="251"/>
                  </a:lnTo>
                  <a:lnTo>
                    <a:pt x="435" y="277"/>
                  </a:lnTo>
                  <a:lnTo>
                    <a:pt x="435" y="322"/>
                  </a:lnTo>
                  <a:lnTo>
                    <a:pt x="385" y="322"/>
                  </a:lnTo>
                  <a:lnTo>
                    <a:pt x="364" y="326"/>
                  </a:lnTo>
                  <a:lnTo>
                    <a:pt x="326" y="310"/>
                  </a:lnTo>
                  <a:lnTo>
                    <a:pt x="309" y="322"/>
                  </a:lnTo>
                  <a:lnTo>
                    <a:pt x="309" y="305"/>
                  </a:lnTo>
                  <a:lnTo>
                    <a:pt x="260" y="305"/>
                  </a:lnTo>
                  <a:lnTo>
                    <a:pt x="222" y="305"/>
                  </a:lnTo>
                  <a:lnTo>
                    <a:pt x="222" y="305"/>
                  </a:lnTo>
                  <a:lnTo>
                    <a:pt x="222" y="305"/>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0" name="Freeform 551">
              <a:extLst>
                <a:ext uri="{FF2B5EF4-FFF2-40B4-BE49-F238E27FC236}">
                  <a16:creationId xmlns:a16="http://schemas.microsoft.com/office/drawing/2014/main" id="{48D5C890-BB36-4709-894B-7BF96333BA5F}"/>
                </a:ext>
              </a:extLst>
            </p:cNvPr>
            <p:cNvSpPr>
              <a:spLocks noEditPoints="1"/>
            </p:cNvSpPr>
            <p:nvPr/>
          </p:nvSpPr>
          <p:spPr bwMode="gray">
            <a:xfrm>
              <a:off x="13413596" y="4299983"/>
              <a:ext cx="198014" cy="732817"/>
            </a:xfrm>
            <a:custGeom>
              <a:avLst/>
              <a:gdLst>
                <a:gd name="T0" fmla="*/ 0 w 605"/>
                <a:gd name="T1" fmla="*/ 5 h 2239"/>
                <a:gd name="T2" fmla="*/ 0 w 605"/>
                <a:gd name="T3" fmla="*/ 0 h 2239"/>
                <a:gd name="T4" fmla="*/ 5 w 605"/>
                <a:gd name="T5" fmla="*/ 5 h 2239"/>
                <a:gd name="T6" fmla="*/ 0 w 605"/>
                <a:gd name="T7" fmla="*/ 5 h 2239"/>
                <a:gd name="T8" fmla="*/ 0 w 605"/>
                <a:gd name="T9" fmla="*/ 5 h 2239"/>
                <a:gd name="T10" fmla="*/ 0 w 605"/>
                <a:gd name="T11" fmla="*/ 5 h 2239"/>
                <a:gd name="T12" fmla="*/ 605 w 605"/>
                <a:gd name="T13" fmla="*/ 593 h 2239"/>
                <a:gd name="T14" fmla="*/ 600 w 605"/>
                <a:gd name="T15" fmla="*/ 593 h 2239"/>
                <a:gd name="T16" fmla="*/ 605 w 605"/>
                <a:gd name="T17" fmla="*/ 588 h 2239"/>
                <a:gd name="T18" fmla="*/ 605 w 605"/>
                <a:gd name="T19" fmla="*/ 593 h 2239"/>
                <a:gd name="T20" fmla="*/ 605 w 605"/>
                <a:gd name="T21" fmla="*/ 593 h 2239"/>
                <a:gd name="T22" fmla="*/ 605 w 605"/>
                <a:gd name="T23" fmla="*/ 593 h 2239"/>
                <a:gd name="T24" fmla="*/ 146 w 605"/>
                <a:gd name="T25" fmla="*/ 2239 h 2239"/>
                <a:gd name="T26" fmla="*/ 146 w 605"/>
                <a:gd name="T27" fmla="*/ 2235 h 2239"/>
                <a:gd name="T28" fmla="*/ 151 w 605"/>
                <a:gd name="T29" fmla="*/ 2235 h 2239"/>
                <a:gd name="T30" fmla="*/ 146 w 605"/>
                <a:gd name="T31" fmla="*/ 2239 h 2239"/>
                <a:gd name="T32" fmla="*/ 146 w 605"/>
                <a:gd name="T33" fmla="*/ 2239 h 2239"/>
                <a:gd name="T34" fmla="*/ 146 w 605"/>
                <a:gd name="T35" fmla="*/ 2239 h 2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5" h="2239">
                  <a:moveTo>
                    <a:pt x="0" y="5"/>
                  </a:moveTo>
                  <a:lnTo>
                    <a:pt x="0" y="0"/>
                  </a:lnTo>
                  <a:lnTo>
                    <a:pt x="5" y="5"/>
                  </a:lnTo>
                  <a:lnTo>
                    <a:pt x="0" y="5"/>
                  </a:lnTo>
                  <a:lnTo>
                    <a:pt x="0" y="5"/>
                  </a:lnTo>
                  <a:lnTo>
                    <a:pt x="0" y="5"/>
                  </a:lnTo>
                  <a:close/>
                  <a:moveTo>
                    <a:pt x="605" y="593"/>
                  </a:moveTo>
                  <a:lnTo>
                    <a:pt x="600" y="593"/>
                  </a:lnTo>
                  <a:lnTo>
                    <a:pt x="605" y="588"/>
                  </a:lnTo>
                  <a:lnTo>
                    <a:pt x="605" y="593"/>
                  </a:lnTo>
                  <a:lnTo>
                    <a:pt x="605" y="593"/>
                  </a:lnTo>
                  <a:lnTo>
                    <a:pt x="605" y="593"/>
                  </a:lnTo>
                  <a:close/>
                  <a:moveTo>
                    <a:pt x="146" y="2239"/>
                  </a:moveTo>
                  <a:lnTo>
                    <a:pt x="146" y="2235"/>
                  </a:lnTo>
                  <a:lnTo>
                    <a:pt x="151" y="2235"/>
                  </a:lnTo>
                  <a:lnTo>
                    <a:pt x="146" y="2239"/>
                  </a:lnTo>
                  <a:lnTo>
                    <a:pt x="146" y="2239"/>
                  </a:lnTo>
                  <a:lnTo>
                    <a:pt x="146" y="223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1" name="Freeform 552">
              <a:extLst>
                <a:ext uri="{FF2B5EF4-FFF2-40B4-BE49-F238E27FC236}">
                  <a16:creationId xmlns:a16="http://schemas.microsoft.com/office/drawing/2014/main" id="{F02DEF5F-C33B-4D9B-AF7E-198F79731716}"/>
                </a:ext>
              </a:extLst>
            </p:cNvPr>
            <p:cNvSpPr>
              <a:spLocks/>
            </p:cNvSpPr>
            <p:nvPr/>
          </p:nvSpPr>
          <p:spPr bwMode="gray">
            <a:xfrm>
              <a:off x="14052806" y="2920755"/>
              <a:ext cx="71351" cy="43203"/>
            </a:xfrm>
            <a:custGeom>
              <a:avLst/>
              <a:gdLst>
                <a:gd name="T0" fmla="*/ 22 w 218"/>
                <a:gd name="T1" fmla="*/ 28 h 132"/>
                <a:gd name="T2" fmla="*/ 74 w 218"/>
                <a:gd name="T3" fmla="*/ 45 h 132"/>
                <a:gd name="T4" fmla="*/ 102 w 218"/>
                <a:gd name="T5" fmla="*/ 38 h 132"/>
                <a:gd name="T6" fmla="*/ 102 w 218"/>
                <a:gd name="T7" fmla="*/ 21 h 132"/>
                <a:gd name="T8" fmla="*/ 166 w 218"/>
                <a:gd name="T9" fmla="*/ 12 h 132"/>
                <a:gd name="T10" fmla="*/ 180 w 218"/>
                <a:gd name="T11" fmla="*/ 0 h 132"/>
                <a:gd name="T12" fmla="*/ 208 w 218"/>
                <a:gd name="T13" fmla="*/ 5 h 132"/>
                <a:gd name="T14" fmla="*/ 196 w 218"/>
                <a:gd name="T15" fmla="*/ 12 h 132"/>
                <a:gd name="T16" fmla="*/ 218 w 218"/>
                <a:gd name="T17" fmla="*/ 38 h 132"/>
                <a:gd name="T18" fmla="*/ 196 w 218"/>
                <a:gd name="T19" fmla="*/ 28 h 132"/>
                <a:gd name="T20" fmla="*/ 196 w 218"/>
                <a:gd name="T21" fmla="*/ 45 h 132"/>
                <a:gd name="T22" fmla="*/ 154 w 218"/>
                <a:gd name="T23" fmla="*/ 62 h 132"/>
                <a:gd name="T24" fmla="*/ 154 w 218"/>
                <a:gd name="T25" fmla="*/ 66 h 132"/>
                <a:gd name="T26" fmla="*/ 159 w 218"/>
                <a:gd name="T27" fmla="*/ 78 h 132"/>
                <a:gd name="T28" fmla="*/ 159 w 218"/>
                <a:gd name="T29" fmla="*/ 95 h 132"/>
                <a:gd name="T30" fmla="*/ 128 w 218"/>
                <a:gd name="T31" fmla="*/ 99 h 132"/>
                <a:gd name="T32" fmla="*/ 128 w 218"/>
                <a:gd name="T33" fmla="*/ 111 h 132"/>
                <a:gd name="T34" fmla="*/ 137 w 218"/>
                <a:gd name="T35" fmla="*/ 111 h 132"/>
                <a:gd name="T36" fmla="*/ 128 w 218"/>
                <a:gd name="T37" fmla="*/ 123 h 132"/>
                <a:gd name="T38" fmla="*/ 123 w 218"/>
                <a:gd name="T39" fmla="*/ 132 h 132"/>
                <a:gd name="T40" fmla="*/ 102 w 218"/>
                <a:gd name="T41" fmla="*/ 123 h 132"/>
                <a:gd name="T42" fmla="*/ 85 w 218"/>
                <a:gd name="T43" fmla="*/ 111 h 132"/>
                <a:gd name="T44" fmla="*/ 69 w 218"/>
                <a:gd name="T45" fmla="*/ 123 h 132"/>
                <a:gd name="T46" fmla="*/ 15 w 218"/>
                <a:gd name="T47" fmla="*/ 123 h 132"/>
                <a:gd name="T48" fmla="*/ 22 w 218"/>
                <a:gd name="T49" fmla="*/ 116 h 132"/>
                <a:gd name="T50" fmla="*/ 22 w 218"/>
                <a:gd name="T51" fmla="*/ 116 h 132"/>
                <a:gd name="T52" fmla="*/ 36 w 218"/>
                <a:gd name="T53" fmla="*/ 111 h 132"/>
                <a:gd name="T54" fmla="*/ 15 w 218"/>
                <a:gd name="T55" fmla="*/ 95 h 132"/>
                <a:gd name="T56" fmla="*/ 15 w 218"/>
                <a:gd name="T57" fmla="*/ 78 h 132"/>
                <a:gd name="T58" fmla="*/ 5 w 218"/>
                <a:gd name="T59" fmla="*/ 78 h 132"/>
                <a:gd name="T60" fmla="*/ 15 w 218"/>
                <a:gd name="T61" fmla="*/ 62 h 132"/>
                <a:gd name="T62" fmla="*/ 0 w 218"/>
                <a:gd name="T63" fmla="*/ 62 h 132"/>
                <a:gd name="T64" fmla="*/ 0 w 218"/>
                <a:gd name="T65" fmla="*/ 54 h 132"/>
                <a:gd name="T66" fmla="*/ 22 w 218"/>
                <a:gd name="T67" fmla="*/ 28 h 132"/>
                <a:gd name="T68" fmla="*/ 22 w 218"/>
                <a:gd name="T69" fmla="*/ 28 h 132"/>
                <a:gd name="T70" fmla="*/ 22 w 218"/>
                <a:gd name="T71" fmla="*/ 2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8" h="132">
                  <a:moveTo>
                    <a:pt x="22" y="28"/>
                  </a:moveTo>
                  <a:lnTo>
                    <a:pt x="74" y="45"/>
                  </a:lnTo>
                  <a:lnTo>
                    <a:pt x="102" y="38"/>
                  </a:lnTo>
                  <a:lnTo>
                    <a:pt x="102" y="21"/>
                  </a:lnTo>
                  <a:lnTo>
                    <a:pt x="166" y="12"/>
                  </a:lnTo>
                  <a:lnTo>
                    <a:pt x="180" y="0"/>
                  </a:lnTo>
                  <a:lnTo>
                    <a:pt x="208" y="5"/>
                  </a:lnTo>
                  <a:lnTo>
                    <a:pt x="196" y="12"/>
                  </a:lnTo>
                  <a:lnTo>
                    <a:pt x="218" y="38"/>
                  </a:lnTo>
                  <a:lnTo>
                    <a:pt x="196" y="28"/>
                  </a:lnTo>
                  <a:lnTo>
                    <a:pt x="196" y="45"/>
                  </a:lnTo>
                  <a:lnTo>
                    <a:pt x="154" y="62"/>
                  </a:lnTo>
                  <a:lnTo>
                    <a:pt x="154" y="66"/>
                  </a:lnTo>
                  <a:lnTo>
                    <a:pt x="159" y="78"/>
                  </a:lnTo>
                  <a:lnTo>
                    <a:pt x="159" y="95"/>
                  </a:lnTo>
                  <a:lnTo>
                    <a:pt x="128" y="99"/>
                  </a:lnTo>
                  <a:lnTo>
                    <a:pt x="128" y="111"/>
                  </a:lnTo>
                  <a:lnTo>
                    <a:pt x="137" y="111"/>
                  </a:lnTo>
                  <a:lnTo>
                    <a:pt x="128" y="123"/>
                  </a:lnTo>
                  <a:lnTo>
                    <a:pt x="123" y="132"/>
                  </a:lnTo>
                  <a:lnTo>
                    <a:pt x="102" y="123"/>
                  </a:lnTo>
                  <a:lnTo>
                    <a:pt x="85" y="111"/>
                  </a:lnTo>
                  <a:lnTo>
                    <a:pt x="69" y="123"/>
                  </a:lnTo>
                  <a:lnTo>
                    <a:pt x="15" y="123"/>
                  </a:lnTo>
                  <a:lnTo>
                    <a:pt x="22" y="116"/>
                  </a:lnTo>
                  <a:lnTo>
                    <a:pt x="22" y="116"/>
                  </a:lnTo>
                  <a:lnTo>
                    <a:pt x="36" y="111"/>
                  </a:lnTo>
                  <a:lnTo>
                    <a:pt x="15" y="95"/>
                  </a:lnTo>
                  <a:lnTo>
                    <a:pt x="15" y="78"/>
                  </a:lnTo>
                  <a:lnTo>
                    <a:pt x="5" y="78"/>
                  </a:lnTo>
                  <a:lnTo>
                    <a:pt x="15" y="62"/>
                  </a:lnTo>
                  <a:lnTo>
                    <a:pt x="0" y="62"/>
                  </a:lnTo>
                  <a:lnTo>
                    <a:pt x="0" y="54"/>
                  </a:lnTo>
                  <a:lnTo>
                    <a:pt x="22" y="28"/>
                  </a:lnTo>
                  <a:lnTo>
                    <a:pt x="22" y="28"/>
                  </a:lnTo>
                  <a:lnTo>
                    <a:pt x="22" y="28"/>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2" name="Freeform 553">
              <a:extLst>
                <a:ext uri="{FF2B5EF4-FFF2-40B4-BE49-F238E27FC236}">
                  <a16:creationId xmlns:a16="http://schemas.microsoft.com/office/drawing/2014/main" id="{4E28BDF2-E8BE-47C8-AF05-FDCA8268DC5A}"/>
                </a:ext>
              </a:extLst>
            </p:cNvPr>
            <p:cNvSpPr>
              <a:spLocks noEditPoints="1"/>
            </p:cNvSpPr>
            <p:nvPr/>
          </p:nvSpPr>
          <p:spPr bwMode="gray">
            <a:xfrm>
              <a:off x="13439125" y="3877116"/>
              <a:ext cx="70369" cy="74296"/>
            </a:xfrm>
            <a:custGeom>
              <a:avLst/>
              <a:gdLst>
                <a:gd name="T0" fmla="*/ 165 w 215"/>
                <a:gd name="T1" fmla="*/ 184 h 227"/>
                <a:gd name="T2" fmla="*/ 139 w 215"/>
                <a:gd name="T3" fmla="*/ 206 h 227"/>
                <a:gd name="T4" fmla="*/ 127 w 215"/>
                <a:gd name="T5" fmla="*/ 227 h 227"/>
                <a:gd name="T6" fmla="*/ 97 w 215"/>
                <a:gd name="T7" fmla="*/ 217 h 227"/>
                <a:gd name="T8" fmla="*/ 52 w 215"/>
                <a:gd name="T9" fmla="*/ 189 h 227"/>
                <a:gd name="T10" fmla="*/ 59 w 215"/>
                <a:gd name="T11" fmla="*/ 184 h 227"/>
                <a:gd name="T12" fmla="*/ 75 w 215"/>
                <a:gd name="T13" fmla="*/ 173 h 227"/>
                <a:gd name="T14" fmla="*/ 59 w 215"/>
                <a:gd name="T15" fmla="*/ 184 h 227"/>
                <a:gd name="T16" fmla="*/ 21 w 215"/>
                <a:gd name="T17" fmla="*/ 161 h 227"/>
                <a:gd name="T18" fmla="*/ 30 w 215"/>
                <a:gd name="T19" fmla="*/ 151 h 227"/>
                <a:gd name="T20" fmla="*/ 21 w 215"/>
                <a:gd name="T21" fmla="*/ 128 h 227"/>
                <a:gd name="T22" fmla="*/ 16 w 215"/>
                <a:gd name="T23" fmla="*/ 132 h 227"/>
                <a:gd name="T24" fmla="*/ 0 w 215"/>
                <a:gd name="T25" fmla="*/ 111 h 227"/>
                <a:gd name="T26" fmla="*/ 16 w 215"/>
                <a:gd name="T27" fmla="*/ 116 h 227"/>
                <a:gd name="T28" fmla="*/ 16 w 215"/>
                <a:gd name="T29" fmla="*/ 116 h 227"/>
                <a:gd name="T30" fmla="*/ 30 w 215"/>
                <a:gd name="T31" fmla="*/ 111 h 227"/>
                <a:gd name="T32" fmla="*/ 5 w 215"/>
                <a:gd name="T33" fmla="*/ 111 h 227"/>
                <a:gd name="T34" fmla="*/ 5 w 215"/>
                <a:gd name="T35" fmla="*/ 90 h 227"/>
                <a:gd name="T36" fmla="*/ 16 w 215"/>
                <a:gd name="T37" fmla="*/ 90 h 227"/>
                <a:gd name="T38" fmla="*/ 0 w 215"/>
                <a:gd name="T39" fmla="*/ 73 h 227"/>
                <a:gd name="T40" fmla="*/ 16 w 215"/>
                <a:gd name="T41" fmla="*/ 73 h 227"/>
                <a:gd name="T42" fmla="*/ 21 w 215"/>
                <a:gd name="T43" fmla="*/ 57 h 227"/>
                <a:gd name="T44" fmla="*/ 42 w 215"/>
                <a:gd name="T45" fmla="*/ 50 h 227"/>
                <a:gd name="T46" fmla="*/ 59 w 215"/>
                <a:gd name="T47" fmla="*/ 5 h 227"/>
                <a:gd name="T48" fmla="*/ 75 w 215"/>
                <a:gd name="T49" fmla="*/ 5 h 227"/>
                <a:gd name="T50" fmla="*/ 85 w 215"/>
                <a:gd name="T51" fmla="*/ 17 h 227"/>
                <a:gd name="T52" fmla="*/ 97 w 215"/>
                <a:gd name="T53" fmla="*/ 5 h 227"/>
                <a:gd name="T54" fmla="*/ 97 w 215"/>
                <a:gd name="T55" fmla="*/ 0 h 227"/>
                <a:gd name="T56" fmla="*/ 144 w 215"/>
                <a:gd name="T57" fmla="*/ 0 h 227"/>
                <a:gd name="T58" fmla="*/ 182 w 215"/>
                <a:gd name="T59" fmla="*/ 57 h 227"/>
                <a:gd name="T60" fmla="*/ 177 w 215"/>
                <a:gd name="T61" fmla="*/ 73 h 227"/>
                <a:gd name="T62" fmla="*/ 193 w 215"/>
                <a:gd name="T63" fmla="*/ 73 h 227"/>
                <a:gd name="T64" fmla="*/ 193 w 215"/>
                <a:gd name="T65" fmla="*/ 90 h 227"/>
                <a:gd name="T66" fmla="*/ 198 w 215"/>
                <a:gd name="T67" fmla="*/ 95 h 227"/>
                <a:gd name="T68" fmla="*/ 182 w 215"/>
                <a:gd name="T69" fmla="*/ 128 h 227"/>
                <a:gd name="T70" fmla="*/ 215 w 215"/>
                <a:gd name="T71" fmla="*/ 111 h 227"/>
                <a:gd name="T72" fmla="*/ 203 w 215"/>
                <a:gd name="T73" fmla="*/ 132 h 227"/>
                <a:gd name="T74" fmla="*/ 193 w 215"/>
                <a:gd name="T75" fmla="*/ 144 h 227"/>
                <a:gd name="T76" fmla="*/ 193 w 215"/>
                <a:gd name="T77" fmla="*/ 168 h 227"/>
                <a:gd name="T78" fmla="*/ 165 w 215"/>
                <a:gd name="T79" fmla="*/ 184 h 227"/>
                <a:gd name="T80" fmla="*/ 165 w 215"/>
                <a:gd name="T81" fmla="*/ 184 h 227"/>
                <a:gd name="T82" fmla="*/ 165 w 215"/>
                <a:gd name="T83" fmla="*/ 184 h 227"/>
                <a:gd name="T84" fmla="*/ 30 w 215"/>
                <a:gd name="T85" fmla="*/ 173 h 227"/>
                <a:gd name="T86" fmla="*/ 52 w 215"/>
                <a:gd name="T87" fmla="*/ 173 h 227"/>
                <a:gd name="T88" fmla="*/ 52 w 215"/>
                <a:gd name="T89" fmla="*/ 184 h 227"/>
                <a:gd name="T90" fmla="*/ 52 w 215"/>
                <a:gd name="T91" fmla="*/ 189 h 227"/>
                <a:gd name="T92" fmla="*/ 21 w 215"/>
                <a:gd name="T93" fmla="*/ 184 h 227"/>
                <a:gd name="T94" fmla="*/ 30 w 215"/>
                <a:gd name="T95" fmla="*/ 173 h 227"/>
                <a:gd name="T96" fmla="*/ 30 w 215"/>
                <a:gd name="T97" fmla="*/ 173 h 227"/>
                <a:gd name="T98" fmla="*/ 30 w 215"/>
                <a:gd name="T99" fmla="*/ 17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5" h="227">
                  <a:moveTo>
                    <a:pt x="165" y="184"/>
                  </a:moveTo>
                  <a:lnTo>
                    <a:pt x="139" y="206"/>
                  </a:lnTo>
                  <a:lnTo>
                    <a:pt x="127" y="227"/>
                  </a:lnTo>
                  <a:lnTo>
                    <a:pt x="97" y="217"/>
                  </a:lnTo>
                  <a:lnTo>
                    <a:pt x="52" y="189"/>
                  </a:lnTo>
                  <a:lnTo>
                    <a:pt x="59" y="184"/>
                  </a:lnTo>
                  <a:lnTo>
                    <a:pt x="75" y="173"/>
                  </a:lnTo>
                  <a:lnTo>
                    <a:pt x="59" y="184"/>
                  </a:lnTo>
                  <a:lnTo>
                    <a:pt x="21" y="161"/>
                  </a:lnTo>
                  <a:lnTo>
                    <a:pt x="30" y="151"/>
                  </a:lnTo>
                  <a:lnTo>
                    <a:pt x="21" y="128"/>
                  </a:lnTo>
                  <a:lnTo>
                    <a:pt x="16" y="132"/>
                  </a:lnTo>
                  <a:lnTo>
                    <a:pt x="0" y="111"/>
                  </a:lnTo>
                  <a:lnTo>
                    <a:pt x="16" y="116"/>
                  </a:lnTo>
                  <a:lnTo>
                    <a:pt x="16" y="116"/>
                  </a:lnTo>
                  <a:lnTo>
                    <a:pt x="30" y="111"/>
                  </a:lnTo>
                  <a:lnTo>
                    <a:pt x="5" y="111"/>
                  </a:lnTo>
                  <a:lnTo>
                    <a:pt x="5" y="90"/>
                  </a:lnTo>
                  <a:lnTo>
                    <a:pt x="16" y="90"/>
                  </a:lnTo>
                  <a:lnTo>
                    <a:pt x="0" y="73"/>
                  </a:lnTo>
                  <a:lnTo>
                    <a:pt x="16" y="73"/>
                  </a:lnTo>
                  <a:lnTo>
                    <a:pt x="21" y="57"/>
                  </a:lnTo>
                  <a:lnTo>
                    <a:pt x="42" y="50"/>
                  </a:lnTo>
                  <a:lnTo>
                    <a:pt x="59" y="5"/>
                  </a:lnTo>
                  <a:lnTo>
                    <a:pt x="75" y="5"/>
                  </a:lnTo>
                  <a:lnTo>
                    <a:pt x="85" y="17"/>
                  </a:lnTo>
                  <a:lnTo>
                    <a:pt x="97" y="5"/>
                  </a:lnTo>
                  <a:lnTo>
                    <a:pt x="97" y="0"/>
                  </a:lnTo>
                  <a:lnTo>
                    <a:pt x="144" y="0"/>
                  </a:lnTo>
                  <a:lnTo>
                    <a:pt x="182" y="57"/>
                  </a:lnTo>
                  <a:lnTo>
                    <a:pt x="177" y="73"/>
                  </a:lnTo>
                  <a:lnTo>
                    <a:pt x="193" y="73"/>
                  </a:lnTo>
                  <a:lnTo>
                    <a:pt x="193" y="90"/>
                  </a:lnTo>
                  <a:lnTo>
                    <a:pt x="198" y="95"/>
                  </a:lnTo>
                  <a:lnTo>
                    <a:pt x="182" y="128"/>
                  </a:lnTo>
                  <a:lnTo>
                    <a:pt x="215" y="111"/>
                  </a:lnTo>
                  <a:lnTo>
                    <a:pt x="203" y="132"/>
                  </a:lnTo>
                  <a:lnTo>
                    <a:pt x="193" y="144"/>
                  </a:lnTo>
                  <a:lnTo>
                    <a:pt x="193" y="168"/>
                  </a:lnTo>
                  <a:lnTo>
                    <a:pt x="165" y="184"/>
                  </a:lnTo>
                  <a:lnTo>
                    <a:pt x="165" y="184"/>
                  </a:lnTo>
                  <a:lnTo>
                    <a:pt x="165" y="184"/>
                  </a:lnTo>
                  <a:close/>
                  <a:moveTo>
                    <a:pt x="30" y="173"/>
                  </a:moveTo>
                  <a:lnTo>
                    <a:pt x="52" y="173"/>
                  </a:lnTo>
                  <a:lnTo>
                    <a:pt x="52" y="184"/>
                  </a:lnTo>
                  <a:lnTo>
                    <a:pt x="52" y="189"/>
                  </a:lnTo>
                  <a:lnTo>
                    <a:pt x="21" y="184"/>
                  </a:lnTo>
                  <a:lnTo>
                    <a:pt x="30" y="173"/>
                  </a:lnTo>
                  <a:lnTo>
                    <a:pt x="30" y="173"/>
                  </a:lnTo>
                  <a:lnTo>
                    <a:pt x="30" y="173"/>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3" name="Freeform 554">
              <a:extLst>
                <a:ext uri="{FF2B5EF4-FFF2-40B4-BE49-F238E27FC236}">
                  <a16:creationId xmlns:a16="http://schemas.microsoft.com/office/drawing/2014/main" id="{653C97B2-A999-43E5-8D80-43B68D1AA0CB}"/>
                </a:ext>
              </a:extLst>
            </p:cNvPr>
            <p:cNvSpPr>
              <a:spLocks/>
            </p:cNvSpPr>
            <p:nvPr/>
          </p:nvSpPr>
          <p:spPr bwMode="gray">
            <a:xfrm>
              <a:off x="14028913" y="3005198"/>
              <a:ext cx="3928" cy="2946"/>
            </a:xfrm>
            <a:custGeom>
              <a:avLst/>
              <a:gdLst>
                <a:gd name="T0" fmla="*/ 0 w 12"/>
                <a:gd name="T1" fmla="*/ 0 h 9"/>
                <a:gd name="T2" fmla="*/ 12 w 12"/>
                <a:gd name="T3" fmla="*/ 0 h 9"/>
                <a:gd name="T4" fmla="*/ 0 w 12"/>
                <a:gd name="T5" fmla="*/ 9 h 9"/>
                <a:gd name="T6" fmla="*/ 0 w 12"/>
                <a:gd name="T7" fmla="*/ 0 h 9"/>
                <a:gd name="T8" fmla="*/ 0 w 12"/>
                <a:gd name="T9" fmla="*/ 0 h 9"/>
                <a:gd name="T10" fmla="*/ 0 w 12"/>
                <a:gd name="T11" fmla="*/ 0 h 9"/>
              </a:gdLst>
              <a:ahLst/>
              <a:cxnLst>
                <a:cxn ang="0">
                  <a:pos x="T0" y="T1"/>
                </a:cxn>
                <a:cxn ang="0">
                  <a:pos x="T2" y="T3"/>
                </a:cxn>
                <a:cxn ang="0">
                  <a:pos x="T4" y="T5"/>
                </a:cxn>
                <a:cxn ang="0">
                  <a:pos x="T6" y="T7"/>
                </a:cxn>
                <a:cxn ang="0">
                  <a:pos x="T8" y="T9"/>
                </a:cxn>
                <a:cxn ang="0">
                  <a:pos x="T10" y="T11"/>
                </a:cxn>
              </a:cxnLst>
              <a:rect l="0" t="0" r="r" b="b"/>
              <a:pathLst>
                <a:path w="12" h="9">
                  <a:moveTo>
                    <a:pt x="0" y="0"/>
                  </a:moveTo>
                  <a:lnTo>
                    <a:pt x="12" y="0"/>
                  </a:lnTo>
                  <a:lnTo>
                    <a:pt x="0" y="9"/>
                  </a:lnTo>
                  <a:lnTo>
                    <a:pt x="0" y="0"/>
                  </a:lnTo>
                  <a:lnTo>
                    <a:pt x="0" y="0"/>
                  </a:lnTo>
                  <a:lnTo>
                    <a:pt x="0" y="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4" name="Freeform 555">
              <a:extLst>
                <a:ext uri="{FF2B5EF4-FFF2-40B4-BE49-F238E27FC236}">
                  <a16:creationId xmlns:a16="http://schemas.microsoft.com/office/drawing/2014/main" id="{A5989023-FE7C-42AC-A657-C63399327837}"/>
                </a:ext>
              </a:extLst>
            </p:cNvPr>
            <p:cNvSpPr>
              <a:spLocks/>
            </p:cNvSpPr>
            <p:nvPr/>
          </p:nvSpPr>
          <p:spPr bwMode="gray">
            <a:xfrm>
              <a:off x="16122630" y="4082003"/>
              <a:ext cx="7855" cy="1637"/>
            </a:xfrm>
            <a:custGeom>
              <a:avLst/>
              <a:gdLst>
                <a:gd name="T0" fmla="*/ 24 w 24"/>
                <a:gd name="T1" fmla="*/ 0 h 5"/>
                <a:gd name="T2" fmla="*/ 16 w 24"/>
                <a:gd name="T3" fmla="*/ 5 h 5"/>
                <a:gd name="T4" fmla="*/ 0 w 24"/>
                <a:gd name="T5" fmla="*/ 5 h 5"/>
                <a:gd name="T6" fmla="*/ 7 w 24"/>
                <a:gd name="T7" fmla="*/ 0 h 5"/>
                <a:gd name="T8" fmla="*/ 24 w 24"/>
                <a:gd name="T9" fmla="*/ 0 h 5"/>
                <a:gd name="T10" fmla="*/ 24 w 24"/>
                <a:gd name="T11" fmla="*/ 0 h 5"/>
                <a:gd name="T12" fmla="*/ 24 w 2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4" h="5">
                  <a:moveTo>
                    <a:pt x="24" y="0"/>
                  </a:moveTo>
                  <a:lnTo>
                    <a:pt x="16" y="5"/>
                  </a:lnTo>
                  <a:lnTo>
                    <a:pt x="0" y="5"/>
                  </a:lnTo>
                  <a:lnTo>
                    <a:pt x="7" y="0"/>
                  </a:lnTo>
                  <a:lnTo>
                    <a:pt x="24" y="0"/>
                  </a:lnTo>
                  <a:lnTo>
                    <a:pt x="24" y="0"/>
                  </a:lnTo>
                  <a:lnTo>
                    <a:pt x="24" y="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5" name="Freeform 556">
              <a:extLst>
                <a:ext uri="{FF2B5EF4-FFF2-40B4-BE49-F238E27FC236}">
                  <a16:creationId xmlns:a16="http://schemas.microsoft.com/office/drawing/2014/main" id="{C5DCB666-F9A4-4701-BFCC-505F18C19FDD}"/>
                </a:ext>
              </a:extLst>
            </p:cNvPr>
            <p:cNvSpPr>
              <a:spLocks/>
            </p:cNvSpPr>
            <p:nvPr/>
          </p:nvSpPr>
          <p:spPr bwMode="gray">
            <a:xfrm>
              <a:off x="14686125" y="3829330"/>
              <a:ext cx="237290" cy="324678"/>
            </a:xfrm>
            <a:custGeom>
              <a:avLst/>
              <a:gdLst>
                <a:gd name="T0" fmla="*/ 130 w 725"/>
                <a:gd name="T1" fmla="*/ 555 h 992"/>
                <a:gd name="T2" fmla="*/ 184 w 725"/>
                <a:gd name="T3" fmla="*/ 515 h 992"/>
                <a:gd name="T4" fmla="*/ 276 w 725"/>
                <a:gd name="T5" fmla="*/ 515 h 992"/>
                <a:gd name="T6" fmla="*/ 416 w 725"/>
                <a:gd name="T7" fmla="*/ 295 h 992"/>
                <a:gd name="T8" fmla="*/ 184 w 725"/>
                <a:gd name="T9" fmla="*/ 193 h 992"/>
                <a:gd name="T10" fmla="*/ 151 w 725"/>
                <a:gd name="T11" fmla="*/ 151 h 992"/>
                <a:gd name="T12" fmla="*/ 130 w 725"/>
                <a:gd name="T13" fmla="*/ 127 h 992"/>
                <a:gd name="T14" fmla="*/ 130 w 725"/>
                <a:gd name="T15" fmla="*/ 73 h 992"/>
                <a:gd name="T16" fmla="*/ 168 w 725"/>
                <a:gd name="T17" fmla="*/ 49 h 992"/>
                <a:gd name="T18" fmla="*/ 234 w 725"/>
                <a:gd name="T19" fmla="*/ 111 h 992"/>
                <a:gd name="T20" fmla="*/ 331 w 725"/>
                <a:gd name="T21" fmla="*/ 85 h 992"/>
                <a:gd name="T22" fmla="*/ 449 w 725"/>
                <a:gd name="T23" fmla="*/ 66 h 992"/>
                <a:gd name="T24" fmla="*/ 503 w 725"/>
                <a:gd name="T25" fmla="*/ 66 h 992"/>
                <a:gd name="T26" fmla="*/ 557 w 725"/>
                <a:gd name="T27" fmla="*/ 56 h 992"/>
                <a:gd name="T28" fmla="*/ 600 w 725"/>
                <a:gd name="T29" fmla="*/ 40 h 992"/>
                <a:gd name="T30" fmla="*/ 654 w 725"/>
                <a:gd name="T31" fmla="*/ 28 h 992"/>
                <a:gd name="T32" fmla="*/ 687 w 725"/>
                <a:gd name="T33" fmla="*/ 0 h 992"/>
                <a:gd name="T34" fmla="*/ 704 w 725"/>
                <a:gd name="T35" fmla="*/ 49 h 992"/>
                <a:gd name="T36" fmla="*/ 709 w 725"/>
                <a:gd name="T37" fmla="*/ 66 h 992"/>
                <a:gd name="T38" fmla="*/ 704 w 725"/>
                <a:gd name="T39" fmla="*/ 111 h 992"/>
                <a:gd name="T40" fmla="*/ 709 w 725"/>
                <a:gd name="T41" fmla="*/ 106 h 992"/>
                <a:gd name="T42" fmla="*/ 725 w 725"/>
                <a:gd name="T43" fmla="*/ 122 h 992"/>
                <a:gd name="T44" fmla="*/ 692 w 725"/>
                <a:gd name="T45" fmla="*/ 122 h 992"/>
                <a:gd name="T46" fmla="*/ 654 w 725"/>
                <a:gd name="T47" fmla="*/ 233 h 992"/>
                <a:gd name="T48" fmla="*/ 616 w 725"/>
                <a:gd name="T49" fmla="*/ 295 h 992"/>
                <a:gd name="T50" fmla="*/ 569 w 725"/>
                <a:gd name="T51" fmla="*/ 382 h 992"/>
                <a:gd name="T52" fmla="*/ 487 w 725"/>
                <a:gd name="T53" fmla="*/ 548 h 992"/>
                <a:gd name="T54" fmla="*/ 243 w 725"/>
                <a:gd name="T55" fmla="*/ 753 h 992"/>
                <a:gd name="T56" fmla="*/ 71 w 725"/>
                <a:gd name="T57" fmla="*/ 937 h 992"/>
                <a:gd name="T58" fmla="*/ 0 w 725"/>
                <a:gd name="T59" fmla="*/ 937 h 992"/>
                <a:gd name="T60" fmla="*/ 21 w 725"/>
                <a:gd name="T61" fmla="*/ 642 h 992"/>
                <a:gd name="T62" fmla="*/ 71 w 725"/>
                <a:gd name="T63" fmla="*/ 571 h 992"/>
                <a:gd name="T64" fmla="*/ 71 w 725"/>
                <a:gd name="T65" fmla="*/ 571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5" h="992">
                  <a:moveTo>
                    <a:pt x="71" y="571"/>
                  </a:moveTo>
                  <a:lnTo>
                    <a:pt x="130" y="555"/>
                  </a:lnTo>
                  <a:lnTo>
                    <a:pt x="146" y="531"/>
                  </a:lnTo>
                  <a:lnTo>
                    <a:pt x="184" y="515"/>
                  </a:lnTo>
                  <a:lnTo>
                    <a:pt x="205" y="510"/>
                  </a:lnTo>
                  <a:lnTo>
                    <a:pt x="276" y="515"/>
                  </a:lnTo>
                  <a:lnTo>
                    <a:pt x="487" y="295"/>
                  </a:lnTo>
                  <a:lnTo>
                    <a:pt x="416" y="295"/>
                  </a:lnTo>
                  <a:lnTo>
                    <a:pt x="205" y="222"/>
                  </a:lnTo>
                  <a:lnTo>
                    <a:pt x="184" y="193"/>
                  </a:lnTo>
                  <a:lnTo>
                    <a:pt x="168" y="193"/>
                  </a:lnTo>
                  <a:lnTo>
                    <a:pt x="151" y="151"/>
                  </a:lnTo>
                  <a:lnTo>
                    <a:pt x="146" y="151"/>
                  </a:lnTo>
                  <a:lnTo>
                    <a:pt x="130" y="127"/>
                  </a:lnTo>
                  <a:lnTo>
                    <a:pt x="113" y="106"/>
                  </a:lnTo>
                  <a:lnTo>
                    <a:pt x="130" y="73"/>
                  </a:lnTo>
                  <a:lnTo>
                    <a:pt x="151" y="40"/>
                  </a:lnTo>
                  <a:lnTo>
                    <a:pt x="168" y="49"/>
                  </a:lnTo>
                  <a:lnTo>
                    <a:pt x="189" y="89"/>
                  </a:lnTo>
                  <a:lnTo>
                    <a:pt x="234" y="111"/>
                  </a:lnTo>
                  <a:lnTo>
                    <a:pt x="272" y="122"/>
                  </a:lnTo>
                  <a:lnTo>
                    <a:pt x="331" y="85"/>
                  </a:lnTo>
                  <a:lnTo>
                    <a:pt x="378" y="94"/>
                  </a:lnTo>
                  <a:lnTo>
                    <a:pt x="449" y="66"/>
                  </a:lnTo>
                  <a:lnTo>
                    <a:pt x="470" y="66"/>
                  </a:lnTo>
                  <a:lnTo>
                    <a:pt x="503" y="66"/>
                  </a:lnTo>
                  <a:lnTo>
                    <a:pt x="524" y="49"/>
                  </a:lnTo>
                  <a:lnTo>
                    <a:pt x="557" y="56"/>
                  </a:lnTo>
                  <a:lnTo>
                    <a:pt x="583" y="49"/>
                  </a:lnTo>
                  <a:lnTo>
                    <a:pt x="600" y="40"/>
                  </a:lnTo>
                  <a:lnTo>
                    <a:pt x="633" y="40"/>
                  </a:lnTo>
                  <a:lnTo>
                    <a:pt x="654" y="28"/>
                  </a:lnTo>
                  <a:lnTo>
                    <a:pt x="671" y="11"/>
                  </a:lnTo>
                  <a:lnTo>
                    <a:pt x="687" y="0"/>
                  </a:lnTo>
                  <a:lnTo>
                    <a:pt x="720" y="11"/>
                  </a:lnTo>
                  <a:lnTo>
                    <a:pt x="704" y="49"/>
                  </a:lnTo>
                  <a:lnTo>
                    <a:pt x="704" y="56"/>
                  </a:lnTo>
                  <a:lnTo>
                    <a:pt x="709" y="66"/>
                  </a:lnTo>
                  <a:lnTo>
                    <a:pt x="709" y="106"/>
                  </a:lnTo>
                  <a:lnTo>
                    <a:pt x="704" y="111"/>
                  </a:lnTo>
                  <a:lnTo>
                    <a:pt x="709" y="111"/>
                  </a:lnTo>
                  <a:lnTo>
                    <a:pt x="709" y="106"/>
                  </a:lnTo>
                  <a:lnTo>
                    <a:pt x="725" y="111"/>
                  </a:lnTo>
                  <a:lnTo>
                    <a:pt x="725" y="122"/>
                  </a:lnTo>
                  <a:lnTo>
                    <a:pt x="720" y="111"/>
                  </a:lnTo>
                  <a:lnTo>
                    <a:pt x="692" y="122"/>
                  </a:lnTo>
                  <a:lnTo>
                    <a:pt x="687" y="193"/>
                  </a:lnTo>
                  <a:lnTo>
                    <a:pt x="654" y="233"/>
                  </a:lnTo>
                  <a:lnTo>
                    <a:pt x="638" y="278"/>
                  </a:lnTo>
                  <a:lnTo>
                    <a:pt x="616" y="295"/>
                  </a:lnTo>
                  <a:lnTo>
                    <a:pt x="612" y="328"/>
                  </a:lnTo>
                  <a:lnTo>
                    <a:pt x="569" y="382"/>
                  </a:lnTo>
                  <a:lnTo>
                    <a:pt x="562" y="427"/>
                  </a:lnTo>
                  <a:lnTo>
                    <a:pt x="487" y="548"/>
                  </a:lnTo>
                  <a:lnTo>
                    <a:pt x="347" y="699"/>
                  </a:lnTo>
                  <a:lnTo>
                    <a:pt x="243" y="753"/>
                  </a:lnTo>
                  <a:lnTo>
                    <a:pt x="168" y="826"/>
                  </a:lnTo>
                  <a:lnTo>
                    <a:pt x="71" y="937"/>
                  </a:lnTo>
                  <a:lnTo>
                    <a:pt x="38" y="992"/>
                  </a:lnTo>
                  <a:lnTo>
                    <a:pt x="0" y="937"/>
                  </a:lnTo>
                  <a:lnTo>
                    <a:pt x="0" y="666"/>
                  </a:lnTo>
                  <a:lnTo>
                    <a:pt x="21" y="642"/>
                  </a:lnTo>
                  <a:lnTo>
                    <a:pt x="59" y="583"/>
                  </a:lnTo>
                  <a:lnTo>
                    <a:pt x="71" y="571"/>
                  </a:lnTo>
                  <a:lnTo>
                    <a:pt x="71" y="571"/>
                  </a:lnTo>
                  <a:lnTo>
                    <a:pt x="71" y="571"/>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6" name="Freeform 557">
              <a:extLst>
                <a:ext uri="{FF2B5EF4-FFF2-40B4-BE49-F238E27FC236}">
                  <a16:creationId xmlns:a16="http://schemas.microsoft.com/office/drawing/2014/main" id="{769207FA-BD4D-4BE8-B3B9-26BB3F650C73}"/>
                </a:ext>
              </a:extLst>
            </p:cNvPr>
            <p:cNvSpPr>
              <a:spLocks noEditPoints="1"/>
            </p:cNvSpPr>
            <p:nvPr/>
          </p:nvSpPr>
          <p:spPr bwMode="gray">
            <a:xfrm>
              <a:off x="13327844" y="3010434"/>
              <a:ext cx="513856" cy="435305"/>
            </a:xfrm>
            <a:custGeom>
              <a:avLst/>
              <a:gdLst>
                <a:gd name="T0" fmla="*/ 793 w 1570"/>
                <a:gd name="T1" fmla="*/ 251 h 1330"/>
                <a:gd name="T2" fmla="*/ 815 w 1570"/>
                <a:gd name="T3" fmla="*/ 184 h 1330"/>
                <a:gd name="T4" fmla="*/ 756 w 1570"/>
                <a:gd name="T5" fmla="*/ 173 h 1330"/>
                <a:gd name="T6" fmla="*/ 708 w 1570"/>
                <a:gd name="T7" fmla="*/ 151 h 1330"/>
                <a:gd name="T8" fmla="*/ 647 w 1570"/>
                <a:gd name="T9" fmla="*/ 151 h 1330"/>
                <a:gd name="T10" fmla="*/ 654 w 1570"/>
                <a:gd name="T11" fmla="*/ 123 h 1330"/>
                <a:gd name="T12" fmla="*/ 642 w 1570"/>
                <a:gd name="T13" fmla="*/ 111 h 1330"/>
                <a:gd name="T14" fmla="*/ 633 w 1570"/>
                <a:gd name="T15" fmla="*/ 66 h 1330"/>
                <a:gd name="T16" fmla="*/ 663 w 1570"/>
                <a:gd name="T17" fmla="*/ 45 h 1330"/>
                <a:gd name="T18" fmla="*/ 722 w 1570"/>
                <a:gd name="T19" fmla="*/ 7 h 1330"/>
                <a:gd name="T20" fmla="*/ 777 w 1570"/>
                <a:gd name="T21" fmla="*/ 24 h 1330"/>
                <a:gd name="T22" fmla="*/ 869 w 1570"/>
                <a:gd name="T23" fmla="*/ 24 h 1330"/>
                <a:gd name="T24" fmla="*/ 1063 w 1570"/>
                <a:gd name="T25" fmla="*/ 28 h 1330"/>
                <a:gd name="T26" fmla="*/ 1171 w 1570"/>
                <a:gd name="T27" fmla="*/ 62 h 1330"/>
                <a:gd name="T28" fmla="*/ 1273 w 1570"/>
                <a:gd name="T29" fmla="*/ 95 h 1330"/>
                <a:gd name="T30" fmla="*/ 1372 w 1570"/>
                <a:gd name="T31" fmla="*/ 99 h 1330"/>
                <a:gd name="T32" fmla="*/ 1436 w 1570"/>
                <a:gd name="T33" fmla="*/ 118 h 1330"/>
                <a:gd name="T34" fmla="*/ 1495 w 1570"/>
                <a:gd name="T35" fmla="*/ 123 h 1330"/>
                <a:gd name="T36" fmla="*/ 1495 w 1570"/>
                <a:gd name="T37" fmla="*/ 168 h 1330"/>
                <a:gd name="T38" fmla="*/ 1318 w 1570"/>
                <a:gd name="T39" fmla="*/ 262 h 1330"/>
                <a:gd name="T40" fmla="*/ 1327 w 1570"/>
                <a:gd name="T41" fmla="*/ 279 h 1330"/>
                <a:gd name="T42" fmla="*/ 1263 w 1570"/>
                <a:gd name="T43" fmla="*/ 411 h 1330"/>
                <a:gd name="T44" fmla="*/ 1226 w 1570"/>
                <a:gd name="T45" fmla="*/ 527 h 1330"/>
                <a:gd name="T46" fmla="*/ 1112 w 1570"/>
                <a:gd name="T47" fmla="*/ 593 h 1330"/>
                <a:gd name="T48" fmla="*/ 949 w 1570"/>
                <a:gd name="T49" fmla="*/ 617 h 1330"/>
                <a:gd name="T50" fmla="*/ 881 w 1570"/>
                <a:gd name="T51" fmla="*/ 666 h 1330"/>
                <a:gd name="T52" fmla="*/ 826 w 1570"/>
                <a:gd name="T53" fmla="*/ 600 h 1330"/>
                <a:gd name="T54" fmla="*/ 751 w 1570"/>
                <a:gd name="T55" fmla="*/ 560 h 1330"/>
                <a:gd name="T56" fmla="*/ 777 w 1570"/>
                <a:gd name="T57" fmla="*/ 489 h 1330"/>
                <a:gd name="T58" fmla="*/ 760 w 1570"/>
                <a:gd name="T59" fmla="*/ 432 h 1330"/>
                <a:gd name="T60" fmla="*/ 777 w 1570"/>
                <a:gd name="T61" fmla="*/ 354 h 1330"/>
                <a:gd name="T62" fmla="*/ 789 w 1570"/>
                <a:gd name="T63" fmla="*/ 305 h 1330"/>
                <a:gd name="T64" fmla="*/ 1544 w 1570"/>
                <a:gd name="T65" fmla="*/ 321 h 1330"/>
                <a:gd name="T66" fmla="*/ 1570 w 1570"/>
                <a:gd name="T67" fmla="*/ 350 h 1330"/>
                <a:gd name="T68" fmla="*/ 1478 w 1570"/>
                <a:gd name="T69" fmla="*/ 333 h 1330"/>
                <a:gd name="T70" fmla="*/ 1495 w 1570"/>
                <a:gd name="T71" fmla="*/ 378 h 1330"/>
                <a:gd name="T72" fmla="*/ 1441 w 1570"/>
                <a:gd name="T73" fmla="*/ 371 h 1330"/>
                <a:gd name="T74" fmla="*/ 1356 w 1570"/>
                <a:gd name="T75" fmla="*/ 416 h 1330"/>
                <a:gd name="T76" fmla="*/ 1365 w 1570"/>
                <a:gd name="T77" fmla="*/ 428 h 1330"/>
                <a:gd name="T78" fmla="*/ 1372 w 1570"/>
                <a:gd name="T79" fmla="*/ 432 h 1330"/>
                <a:gd name="T80" fmla="*/ 1372 w 1570"/>
                <a:gd name="T81" fmla="*/ 444 h 1330"/>
                <a:gd name="T82" fmla="*/ 330 w 1570"/>
                <a:gd name="T83" fmla="*/ 1202 h 1330"/>
                <a:gd name="T84" fmla="*/ 309 w 1570"/>
                <a:gd name="T85" fmla="*/ 1238 h 1330"/>
                <a:gd name="T86" fmla="*/ 16 w 1570"/>
                <a:gd name="T87" fmla="*/ 1238 h 1330"/>
                <a:gd name="T88" fmla="*/ 21 w 1570"/>
                <a:gd name="T89" fmla="*/ 1259 h 1330"/>
                <a:gd name="T90" fmla="*/ 293 w 1570"/>
                <a:gd name="T91" fmla="*/ 1243 h 1330"/>
                <a:gd name="T92" fmla="*/ 271 w 1570"/>
                <a:gd name="T93" fmla="*/ 1297 h 1330"/>
                <a:gd name="T94" fmla="*/ 87 w 1570"/>
                <a:gd name="T95" fmla="*/ 1276 h 1330"/>
                <a:gd name="T96" fmla="*/ 125 w 1570"/>
                <a:gd name="T97" fmla="*/ 1292 h 1330"/>
                <a:gd name="T98" fmla="*/ 59 w 1570"/>
                <a:gd name="T99" fmla="*/ 1297 h 1330"/>
                <a:gd name="T100" fmla="*/ 59 w 1570"/>
                <a:gd name="T101" fmla="*/ 1297 h 1330"/>
                <a:gd name="T102" fmla="*/ 163 w 1570"/>
                <a:gd name="T103" fmla="*/ 1304 h 1330"/>
                <a:gd name="T104" fmla="*/ 196 w 1570"/>
                <a:gd name="T105" fmla="*/ 1313 h 1330"/>
                <a:gd name="T106" fmla="*/ 7 w 1570"/>
                <a:gd name="T107" fmla="*/ 1330 h 1330"/>
                <a:gd name="T108" fmla="*/ 7 w 1570"/>
                <a:gd name="T109" fmla="*/ 133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70" h="1330">
                  <a:moveTo>
                    <a:pt x="789" y="305"/>
                  </a:moveTo>
                  <a:lnTo>
                    <a:pt x="793" y="300"/>
                  </a:lnTo>
                  <a:lnTo>
                    <a:pt x="793" y="284"/>
                  </a:lnTo>
                  <a:lnTo>
                    <a:pt x="793" y="251"/>
                  </a:lnTo>
                  <a:lnTo>
                    <a:pt x="789" y="239"/>
                  </a:lnTo>
                  <a:lnTo>
                    <a:pt x="826" y="210"/>
                  </a:lnTo>
                  <a:lnTo>
                    <a:pt x="843" y="189"/>
                  </a:lnTo>
                  <a:lnTo>
                    <a:pt x="815" y="184"/>
                  </a:lnTo>
                  <a:lnTo>
                    <a:pt x="810" y="156"/>
                  </a:lnTo>
                  <a:lnTo>
                    <a:pt x="772" y="156"/>
                  </a:lnTo>
                  <a:lnTo>
                    <a:pt x="772" y="168"/>
                  </a:lnTo>
                  <a:lnTo>
                    <a:pt x="756" y="173"/>
                  </a:lnTo>
                  <a:lnTo>
                    <a:pt x="734" y="168"/>
                  </a:lnTo>
                  <a:lnTo>
                    <a:pt x="701" y="173"/>
                  </a:lnTo>
                  <a:lnTo>
                    <a:pt x="696" y="168"/>
                  </a:lnTo>
                  <a:lnTo>
                    <a:pt x="708" y="151"/>
                  </a:lnTo>
                  <a:lnTo>
                    <a:pt x="696" y="139"/>
                  </a:lnTo>
                  <a:lnTo>
                    <a:pt x="654" y="156"/>
                  </a:lnTo>
                  <a:lnTo>
                    <a:pt x="647" y="168"/>
                  </a:lnTo>
                  <a:lnTo>
                    <a:pt x="647" y="151"/>
                  </a:lnTo>
                  <a:lnTo>
                    <a:pt x="670" y="123"/>
                  </a:lnTo>
                  <a:lnTo>
                    <a:pt x="647" y="135"/>
                  </a:lnTo>
                  <a:lnTo>
                    <a:pt x="663" y="118"/>
                  </a:lnTo>
                  <a:lnTo>
                    <a:pt x="654" y="123"/>
                  </a:lnTo>
                  <a:lnTo>
                    <a:pt x="647" y="118"/>
                  </a:lnTo>
                  <a:lnTo>
                    <a:pt x="654" y="118"/>
                  </a:lnTo>
                  <a:lnTo>
                    <a:pt x="663" y="95"/>
                  </a:lnTo>
                  <a:lnTo>
                    <a:pt x="642" y="111"/>
                  </a:lnTo>
                  <a:lnTo>
                    <a:pt x="642" y="95"/>
                  </a:lnTo>
                  <a:lnTo>
                    <a:pt x="647" y="83"/>
                  </a:lnTo>
                  <a:lnTo>
                    <a:pt x="633" y="95"/>
                  </a:lnTo>
                  <a:lnTo>
                    <a:pt x="633" y="66"/>
                  </a:lnTo>
                  <a:lnTo>
                    <a:pt x="626" y="78"/>
                  </a:lnTo>
                  <a:lnTo>
                    <a:pt x="626" y="57"/>
                  </a:lnTo>
                  <a:lnTo>
                    <a:pt x="647" y="40"/>
                  </a:lnTo>
                  <a:lnTo>
                    <a:pt x="663" y="45"/>
                  </a:lnTo>
                  <a:lnTo>
                    <a:pt x="685" y="28"/>
                  </a:lnTo>
                  <a:lnTo>
                    <a:pt x="696" y="24"/>
                  </a:lnTo>
                  <a:lnTo>
                    <a:pt x="718" y="0"/>
                  </a:lnTo>
                  <a:lnTo>
                    <a:pt x="722" y="7"/>
                  </a:lnTo>
                  <a:lnTo>
                    <a:pt x="751" y="7"/>
                  </a:lnTo>
                  <a:lnTo>
                    <a:pt x="760" y="24"/>
                  </a:lnTo>
                  <a:lnTo>
                    <a:pt x="777" y="24"/>
                  </a:lnTo>
                  <a:lnTo>
                    <a:pt x="777" y="24"/>
                  </a:lnTo>
                  <a:lnTo>
                    <a:pt x="789" y="12"/>
                  </a:lnTo>
                  <a:lnTo>
                    <a:pt x="848" y="24"/>
                  </a:lnTo>
                  <a:lnTo>
                    <a:pt x="864" y="12"/>
                  </a:lnTo>
                  <a:lnTo>
                    <a:pt x="869" y="24"/>
                  </a:lnTo>
                  <a:lnTo>
                    <a:pt x="956" y="28"/>
                  </a:lnTo>
                  <a:lnTo>
                    <a:pt x="1020" y="24"/>
                  </a:lnTo>
                  <a:lnTo>
                    <a:pt x="1048" y="40"/>
                  </a:lnTo>
                  <a:lnTo>
                    <a:pt x="1063" y="28"/>
                  </a:lnTo>
                  <a:lnTo>
                    <a:pt x="1112" y="45"/>
                  </a:lnTo>
                  <a:lnTo>
                    <a:pt x="1150" y="40"/>
                  </a:lnTo>
                  <a:lnTo>
                    <a:pt x="1171" y="45"/>
                  </a:lnTo>
                  <a:lnTo>
                    <a:pt x="1171" y="62"/>
                  </a:lnTo>
                  <a:lnTo>
                    <a:pt x="1221" y="66"/>
                  </a:lnTo>
                  <a:lnTo>
                    <a:pt x="1237" y="83"/>
                  </a:lnTo>
                  <a:lnTo>
                    <a:pt x="1247" y="83"/>
                  </a:lnTo>
                  <a:lnTo>
                    <a:pt x="1273" y="95"/>
                  </a:lnTo>
                  <a:lnTo>
                    <a:pt x="1318" y="95"/>
                  </a:lnTo>
                  <a:lnTo>
                    <a:pt x="1327" y="78"/>
                  </a:lnTo>
                  <a:lnTo>
                    <a:pt x="1365" y="95"/>
                  </a:lnTo>
                  <a:lnTo>
                    <a:pt x="1372" y="99"/>
                  </a:lnTo>
                  <a:lnTo>
                    <a:pt x="1372" y="118"/>
                  </a:lnTo>
                  <a:lnTo>
                    <a:pt x="1398" y="111"/>
                  </a:lnTo>
                  <a:lnTo>
                    <a:pt x="1410" y="123"/>
                  </a:lnTo>
                  <a:lnTo>
                    <a:pt x="1436" y="118"/>
                  </a:lnTo>
                  <a:lnTo>
                    <a:pt x="1452" y="123"/>
                  </a:lnTo>
                  <a:lnTo>
                    <a:pt x="1478" y="118"/>
                  </a:lnTo>
                  <a:lnTo>
                    <a:pt x="1495" y="118"/>
                  </a:lnTo>
                  <a:lnTo>
                    <a:pt x="1495" y="123"/>
                  </a:lnTo>
                  <a:lnTo>
                    <a:pt x="1507" y="123"/>
                  </a:lnTo>
                  <a:lnTo>
                    <a:pt x="1490" y="135"/>
                  </a:lnTo>
                  <a:lnTo>
                    <a:pt x="1495" y="151"/>
                  </a:lnTo>
                  <a:lnTo>
                    <a:pt x="1495" y="168"/>
                  </a:lnTo>
                  <a:lnTo>
                    <a:pt x="1436" y="206"/>
                  </a:lnTo>
                  <a:lnTo>
                    <a:pt x="1419" y="222"/>
                  </a:lnTo>
                  <a:lnTo>
                    <a:pt x="1344" y="239"/>
                  </a:lnTo>
                  <a:lnTo>
                    <a:pt x="1318" y="262"/>
                  </a:lnTo>
                  <a:lnTo>
                    <a:pt x="1334" y="267"/>
                  </a:lnTo>
                  <a:lnTo>
                    <a:pt x="1318" y="279"/>
                  </a:lnTo>
                  <a:lnTo>
                    <a:pt x="1318" y="279"/>
                  </a:lnTo>
                  <a:lnTo>
                    <a:pt x="1327" y="279"/>
                  </a:lnTo>
                  <a:lnTo>
                    <a:pt x="1311" y="279"/>
                  </a:lnTo>
                  <a:lnTo>
                    <a:pt x="1273" y="321"/>
                  </a:lnTo>
                  <a:lnTo>
                    <a:pt x="1247" y="371"/>
                  </a:lnTo>
                  <a:lnTo>
                    <a:pt x="1263" y="411"/>
                  </a:lnTo>
                  <a:lnTo>
                    <a:pt x="1289" y="432"/>
                  </a:lnTo>
                  <a:lnTo>
                    <a:pt x="1237" y="465"/>
                  </a:lnTo>
                  <a:lnTo>
                    <a:pt x="1209" y="522"/>
                  </a:lnTo>
                  <a:lnTo>
                    <a:pt x="1226" y="527"/>
                  </a:lnTo>
                  <a:lnTo>
                    <a:pt x="1183" y="527"/>
                  </a:lnTo>
                  <a:lnTo>
                    <a:pt x="1155" y="543"/>
                  </a:lnTo>
                  <a:lnTo>
                    <a:pt x="1129" y="600"/>
                  </a:lnTo>
                  <a:lnTo>
                    <a:pt x="1112" y="593"/>
                  </a:lnTo>
                  <a:lnTo>
                    <a:pt x="1079" y="610"/>
                  </a:lnTo>
                  <a:lnTo>
                    <a:pt x="1063" y="600"/>
                  </a:lnTo>
                  <a:lnTo>
                    <a:pt x="966" y="600"/>
                  </a:lnTo>
                  <a:lnTo>
                    <a:pt x="949" y="617"/>
                  </a:lnTo>
                  <a:lnTo>
                    <a:pt x="911" y="626"/>
                  </a:lnTo>
                  <a:lnTo>
                    <a:pt x="902" y="650"/>
                  </a:lnTo>
                  <a:lnTo>
                    <a:pt x="897" y="650"/>
                  </a:lnTo>
                  <a:lnTo>
                    <a:pt x="881" y="666"/>
                  </a:lnTo>
                  <a:lnTo>
                    <a:pt x="848" y="650"/>
                  </a:lnTo>
                  <a:lnTo>
                    <a:pt x="831" y="626"/>
                  </a:lnTo>
                  <a:lnTo>
                    <a:pt x="843" y="617"/>
                  </a:lnTo>
                  <a:lnTo>
                    <a:pt x="826" y="600"/>
                  </a:lnTo>
                  <a:lnTo>
                    <a:pt x="826" y="593"/>
                  </a:lnTo>
                  <a:lnTo>
                    <a:pt x="789" y="560"/>
                  </a:lnTo>
                  <a:lnTo>
                    <a:pt x="756" y="560"/>
                  </a:lnTo>
                  <a:lnTo>
                    <a:pt x="751" y="560"/>
                  </a:lnTo>
                  <a:lnTo>
                    <a:pt x="751" y="527"/>
                  </a:lnTo>
                  <a:lnTo>
                    <a:pt x="751" y="522"/>
                  </a:lnTo>
                  <a:lnTo>
                    <a:pt x="760" y="499"/>
                  </a:lnTo>
                  <a:lnTo>
                    <a:pt x="777" y="489"/>
                  </a:lnTo>
                  <a:lnTo>
                    <a:pt x="789" y="482"/>
                  </a:lnTo>
                  <a:lnTo>
                    <a:pt x="777" y="482"/>
                  </a:lnTo>
                  <a:lnTo>
                    <a:pt x="756" y="461"/>
                  </a:lnTo>
                  <a:lnTo>
                    <a:pt x="760" y="432"/>
                  </a:lnTo>
                  <a:lnTo>
                    <a:pt x="789" y="411"/>
                  </a:lnTo>
                  <a:lnTo>
                    <a:pt x="760" y="395"/>
                  </a:lnTo>
                  <a:lnTo>
                    <a:pt x="751" y="354"/>
                  </a:lnTo>
                  <a:lnTo>
                    <a:pt x="777" y="354"/>
                  </a:lnTo>
                  <a:lnTo>
                    <a:pt x="793" y="321"/>
                  </a:lnTo>
                  <a:lnTo>
                    <a:pt x="777" y="317"/>
                  </a:lnTo>
                  <a:lnTo>
                    <a:pt x="789" y="305"/>
                  </a:lnTo>
                  <a:lnTo>
                    <a:pt x="789" y="305"/>
                  </a:lnTo>
                  <a:lnTo>
                    <a:pt x="789" y="305"/>
                  </a:lnTo>
                  <a:close/>
                  <a:moveTo>
                    <a:pt x="1570" y="350"/>
                  </a:moveTo>
                  <a:lnTo>
                    <a:pt x="1544" y="333"/>
                  </a:lnTo>
                  <a:lnTo>
                    <a:pt x="1544" y="321"/>
                  </a:lnTo>
                  <a:lnTo>
                    <a:pt x="1566" y="321"/>
                  </a:lnTo>
                  <a:lnTo>
                    <a:pt x="1570" y="338"/>
                  </a:lnTo>
                  <a:lnTo>
                    <a:pt x="1570" y="350"/>
                  </a:lnTo>
                  <a:lnTo>
                    <a:pt x="1570" y="350"/>
                  </a:lnTo>
                  <a:lnTo>
                    <a:pt x="1570" y="350"/>
                  </a:lnTo>
                  <a:close/>
                  <a:moveTo>
                    <a:pt x="1441" y="371"/>
                  </a:moveTo>
                  <a:lnTo>
                    <a:pt x="1441" y="362"/>
                  </a:lnTo>
                  <a:lnTo>
                    <a:pt x="1478" y="333"/>
                  </a:lnTo>
                  <a:lnTo>
                    <a:pt x="1490" y="333"/>
                  </a:lnTo>
                  <a:lnTo>
                    <a:pt x="1495" y="350"/>
                  </a:lnTo>
                  <a:lnTo>
                    <a:pt x="1516" y="350"/>
                  </a:lnTo>
                  <a:lnTo>
                    <a:pt x="1495" y="378"/>
                  </a:lnTo>
                  <a:lnTo>
                    <a:pt x="1490" y="388"/>
                  </a:lnTo>
                  <a:lnTo>
                    <a:pt x="1462" y="378"/>
                  </a:lnTo>
                  <a:lnTo>
                    <a:pt x="1457" y="362"/>
                  </a:lnTo>
                  <a:lnTo>
                    <a:pt x="1441" y="371"/>
                  </a:lnTo>
                  <a:lnTo>
                    <a:pt x="1441" y="371"/>
                  </a:lnTo>
                  <a:lnTo>
                    <a:pt x="1441" y="371"/>
                  </a:lnTo>
                  <a:close/>
                  <a:moveTo>
                    <a:pt x="1365" y="428"/>
                  </a:moveTo>
                  <a:lnTo>
                    <a:pt x="1356" y="416"/>
                  </a:lnTo>
                  <a:lnTo>
                    <a:pt x="1365" y="411"/>
                  </a:lnTo>
                  <a:lnTo>
                    <a:pt x="1386" y="406"/>
                  </a:lnTo>
                  <a:lnTo>
                    <a:pt x="1386" y="411"/>
                  </a:lnTo>
                  <a:lnTo>
                    <a:pt x="1365" y="428"/>
                  </a:lnTo>
                  <a:lnTo>
                    <a:pt x="1365" y="428"/>
                  </a:lnTo>
                  <a:lnTo>
                    <a:pt x="1365" y="428"/>
                  </a:lnTo>
                  <a:close/>
                  <a:moveTo>
                    <a:pt x="1372" y="444"/>
                  </a:moveTo>
                  <a:lnTo>
                    <a:pt x="1372" y="432"/>
                  </a:lnTo>
                  <a:lnTo>
                    <a:pt x="1382" y="444"/>
                  </a:lnTo>
                  <a:lnTo>
                    <a:pt x="1372" y="444"/>
                  </a:lnTo>
                  <a:lnTo>
                    <a:pt x="1372" y="444"/>
                  </a:lnTo>
                  <a:lnTo>
                    <a:pt x="1372" y="444"/>
                  </a:lnTo>
                  <a:close/>
                  <a:moveTo>
                    <a:pt x="309" y="1238"/>
                  </a:moveTo>
                  <a:lnTo>
                    <a:pt x="302" y="1226"/>
                  </a:lnTo>
                  <a:lnTo>
                    <a:pt x="309" y="1219"/>
                  </a:lnTo>
                  <a:lnTo>
                    <a:pt x="330" y="1202"/>
                  </a:lnTo>
                  <a:lnTo>
                    <a:pt x="323" y="1226"/>
                  </a:lnTo>
                  <a:lnTo>
                    <a:pt x="309" y="1238"/>
                  </a:lnTo>
                  <a:lnTo>
                    <a:pt x="309" y="1238"/>
                  </a:lnTo>
                  <a:lnTo>
                    <a:pt x="309" y="1238"/>
                  </a:lnTo>
                  <a:close/>
                  <a:moveTo>
                    <a:pt x="21" y="1259"/>
                  </a:moveTo>
                  <a:lnTo>
                    <a:pt x="21" y="1264"/>
                  </a:lnTo>
                  <a:lnTo>
                    <a:pt x="7" y="1243"/>
                  </a:lnTo>
                  <a:lnTo>
                    <a:pt x="16" y="1238"/>
                  </a:lnTo>
                  <a:lnTo>
                    <a:pt x="33" y="1243"/>
                  </a:lnTo>
                  <a:lnTo>
                    <a:pt x="21" y="1259"/>
                  </a:lnTo>
                  <a:lnTo>
                    <a:pt x="21" y="1259"/>
                  </a:lnTo>
                  <a:lnTo>
                    <a:pt x="21" y="1259"/>
                  </a:lnTo>
                  <a:close/>
                  <a:moveTo>
                    <a:pt x="271" y="1297"/>
                  </a:moveTo>
                  <a:lnTo>
                    <a:pt x="264" y="1297"/>
                  </a:lnTo>
                  <a:lnTo>
                    <a:pt x="276" y="1280"/>
                  </a:lnTo>
                  <a:lnTo>
                    <a:pt x="293" y="1243"/>
                  </a:lnTo>
                  <a:lnTo>
                    <a:pt x="302" y="1243"/>
                  </a:lnTo>
                  <a:lnTo>
                    <a:pt x="302" y="1259"/>
                  </a:lnTo>
                  <a:lnTo>
                    <a:pt x="293" y="1280"/>
                  </a:lnTo>
                  <a:lnTo>
                    <a:pt x="271" y="1297"/>
                  </a:lnTo>
                  <a:lnTo>
                    <a:pt x="271" y="1297"/>
                  </a:lnTo>
                  <a:lnTo>
                    <a:pt x="271" y="1297"/>
                  </a:lnTo>
                  <a:close/>
                  <a:moveTo>
                    <a:pt x="104" y="1297"/>
                  </a:moveTo>
                  <a:lnTo>
                    <a:pt x="87" y="1276"/>
                  </a:lnTo>
                  <a:lnTo>
                    <a:pt x="108" y="1264"/>
                  </a:lnTo>
                  <a:lnTo>
                    <a:pt x="125" y="1259"/>
                  </a:lnTo>
                  <a:lnTo>
                    <a:pt x="141" y="1259"/>
                  </a:lnTo>
                  <a:lnTo>
                    <a:pt x="125" y="1292"/>
                  </a:lnTo>
                  <a:lnTo>
                    <a:pt x="104" y="1297"/>
                  </a:lnTo>
                  <a:lnTo>
                    <a:pt x="104" y="1297"/>
                  </a:lnTo>
                  <a:lnTo>
                    <a:pt x="104" y="1297"/>
                  </a:lnTo>
                  <a:close/>
                  <a:moveTo>
                    <a:pt x="59" y="1297"/>
                  </a:moveTo>
                  <a:lnTo>
                    <a:pt x="54" y="1292"/>
                  </a:lnTo>
                  <a:lnTo>
                    <a:pt x="59" y="1280"/>
                  </a:lnTo>
                  <a:lnTo>
                    <a:pt x="75" y="1292"/>
                  </a:lnTo>
                  <a:lnTo>
                    <a:pt x="59" y="1297"/>
                  </a:lnTo>
                  <a:lnTo>
                    <a:pt x="59" y="1297"/>
                  </a:lnTo>
                  <a:lnTo>
                    <a:pt x="59" y="1297"/>
                  </a:lnTo>
                  <a:close/>
                  <a:moveTo>
                    <a:pt x="179" y="1321"/>
                  </a:moveTo>
                  <a:lnTo>
                    <a:pt x="163" y="1304"/>
                  </a:lnTo>
                  <a:lnTo>
                    <a:pt x="167" y="1292"/>
                  </a:lnTo>
                  <a:lnTo>
                    <a:pt x="196" y="1292"/>
                  </a:lnTo>
                  <a:lnTo>
                    <a:pt x="196" y="1297"/>
                  </a:lnTo>
                  <a:lnTo>
                    <a:pt x="196" y="1313"/>
                  </a:lnTo>
                  <a:lnTo>
                    <a:pt x="179" y="1321"/>
                  </a:lnTo>
                  <a:lnTo>
                    <a:pt x="179" y="1321"/>
                  </a:lnTo>
                  <a:lnTo>
                    <a:pt x="179" y="1321"/>
                  </a:lnTo>
                  <a:close/>
                  <a:moveTo>
                    <a:pt x="7" y="1330"/>
                  </a:moveTo>
                  <a:lnTo>
                    <a:pt x="0" y="1321"/>
                  </a:lnTo>
                  <a:lnTo>
                    <a:pt x="16" y="1313"/>
                  </a:lnTo>
                  <a:lnTo>
                    <a:pt x="7" y="1330"/>
                  </a:lnTo>
                  <a:lnTo>
                    <a:pt x="7" y="1330"/>
                  </a:lnTo>
                  <a:lnTo>
                    <a:pt x="7" y="133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7" name="Freeform 558">
              <a:extLst>
                <a:ext uri="{FF2B5EF4-FFF2-40B4-BE49-F238E27FC236}">
                  <a16:creationId xmlns:a16="http://schemas.microsoft.com/office/drawing/2014/main" id="{36C9F3A2-5FF9-4535-84A9-852BC6730139}"/>
                </a:ext>
              </a:extLst>
            </p:cNvPr>
            <p:cNvSpPr>
              <a:spLocks/>
            </p:cNvSpPr>
            <p:nvPr/>
          </p:nvSpPr>
          <p:spPr bwMode="gray">
            <a:xfrm>
              <a:off x="14176524" y="2940066"/>
              <a:ext cx="95243" cy="125355"/>
            </a:xfrm>
            <a:custGeom>
              <a:avLst/>
              <a:gdLst>
                <a:gd name="T0" fmla="*/ 90 w 291"/>
                <a:gd name="T1" fmla="*/ 317 h 383"/>
                <a:gd name="T2" fmla="*/ 102 w 291"/>
                <a:gd name="T3" fmla="*/ 300 h 383"/>
                <a:gd name="T4" fmla="*/ 107 w 291"/>
                <a:gd name="T5" fmla="*/ 295 h 383"/>
                <a:gd name="T6" fmla="*/ 31 w 291"/>
                <a:gd name="T7" fmla="*/ 239 h 383"/>
                <a:gd name="T8" fmla="*/ 48 w 291"/>
                <a:gd name="T9" fmla="*/ 222 h 383"/>
                <a:gd name="T10" fmla="*/ 48 w 291"/>
                <a:gd name="T11" fmla="*/ 201 h 383"/>
                <a:gd name="T12" fmla="*/ 22 w 291"/>
                <a:gd name="T13" fmla="*/ 168 h 383"/>
                <a:gd name="T14" fmla="*/ 14 w 291"/>
                <a:gd name="T15" fmla="*/ 118 h 383"/>
                <a:gd name="T16" fmla="*/ 48 w 291"/>
                <a:gd name="T17" fmla="*/ 90 h 383"/>
                <a:gd name="T18" fmla="*/ 14 w 291"/>
                <a:gd name="T19" fmla="*/ 62 h 383"/>
                <a:gd name="T20" fmla="*/ 5 w 291"/>
                <a:gd name="T21" fmla="*/ 57 h 383"/>
                <a:gd name="T22" fmla="*/ 0 w 291"/>
                <a:gd name="T23" fmla="*/ 24 h 383"/>
                <a:gd name="T24" fmla="*/ 31 w 291"/>
                <a:gd name="T25" fmla="*/ 17 h 383"/>
                <a:gd name="T26" fmla="*/ 102 w 291"/>
                <a:gd name="T27" fmla="*/ 7 h 383"/>
                <a:gd name="T28" fmla="*/ 140 w 291"/>
                <a:gd name="T29" fmla="*/ 40 h 383"/>
                <a:gd name="T30" fmla="*/ 194 w 291"/>
                <a:gd name="T31" fmla="*/ 95 h 383"/>
                <a:gd name="T32" fmla="*/ 194 w 291"/>
                <a:gd name="T33" fmla="*/ 118 h 383"/>
                <a:gd name="T34" fmla="*/ 182 w 291"/>
                <a:gd name="T35" fmla="*/ 128 h 383"/>
                <a:gd name="T36" fmla="*/ 199 w 291"/>
                <a:gd name="T37" fmla="*/ 135 h 383"/>
                <a:gd name="T38" fmla="*/ 232 w 291"/>
                <a:gd name="T39" fmla="*/ 151 h 383"/>
                <a:gd name="T40" fmla="*/ 253 w 291"/>
                <a:gd name="T41" fmla="*/ 135 h 383"/>
                <a:gd name="T42" fmla="*/ 253 w 291"/>
                <a:gd name="T43" fmla="*/ 151 h 383"/>
                <a:gd name="T44" fmla="*/ 253 w 291"/>
                <a:gd name="T45" fmla="*/ 201 h 383"/>
                <a:gd name="T46" fmla="*/ 265 w 291"/>
                <a:gd name="T47" fmla="*/ 246 h 383"/>
                <a:gd name="T48" fmla="*/ 279 w 291"/>
                <a:gd name="T49" fmla="*/ 295 h 383"/>
                <a:gd name="T50" fmla="*/ 253 w 291"/>
                <a:gd name="T51" fmla="*/ 317 h 383"/>
                <a:gd name="T52" fmla="*/ 248 w 291"/>
                <a:gd name="T53" fmla="*/ 338 h 383"/>
                <a:gd name="T54" fmla="*/ 199 w 291"/>
                <a:gd name="T55" fmla="*/ 350 h 383"/>
                <a:gd name="T56" fmla="*/ 177 w 291"/>
                <a:gd name="T57" fmla="*/ 354 h 383"/>
                <a:gd name="T58" fmla="*/ 140 w 291"/>
                <a:gd name="T59" fmla="*/ 366 h 383"/>
                <a:gd name="T60" fmla="*/ 123 w 291"/>
                <a:gd name="T61" fmla="*/ 383 h 383"/>
                <a:gd name="T62" fmla="*/ 102 w 291"/>
                <a:gd name="T63" fmla="*/ 338 h 383"/>
                <a:gd name="T64" fmla="*/ 85 w 291"/>
                <a:gd name="T65" fmla="*/ 32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 h="383">
                  <a:moveTo>
                    <a:pt x="85" y="329"/>
                  </a:moveTo>
                  <a:lnTo>
                    <a:pt x="90" y="317"/>
                  </a:lnTo>
                  <a:lnTo>
                    <a:pt x="85" y="312"/>
                  </a:lnTo>
                  <a:lnTo>
                    <a:pt x="102" y="300"/>
                  </a:lnTo>
                  <a:lnTo>
                    <a:pt x="107" y="300"/>
                  </a:lnTo>
                  <a:lnTo>
                    <a:pt x="107" y="295"/>
                  </a:lnTo>
                  <a:lnTo>
                    <a:pt x="64" y="272"/>
                  </a:lnTo>
                  <a:lnTo>
                    <a:pt x="31" y="239"/>
                  </a:lnTo>
                  <a:lnTo>
                    <a:pt x="48" y="239"/>
                  </a:lnTo>
                  <a:lnTo>
                    <a:pt x="48" y="222"/>
                  </a:lnTo>
                  <a:lnTo>
                    <a:pt x="31" y="201"/>
                  </a:lnTo>
                  <a:lnTo>
                    <a:pt x="48" y="201"/>
                  </a:lnTo>
                  <a:lnTo>
                    <a:pt x="52" y="189"/>
                  </a:lnTo>
                  <a:lnTo>
                    <a:pt x="22" y="168"/>
                  </a:lnTo>
                  <a:lnTo>
                    <a:pt x="38" y="118"/>
                  </a:lnTo>
                  <a:lnTo>
                    <a:pt x="14" y="118"/>
                  </a:lnTo>
                  <a:lnTo>
                    <a:pt x="22" y="90"/>
                  </a:lnTo>
                  <a:lnTo>
                    <a:pt x="48" y="90"/>
                  </a:lnTo>
                  <a:lnTo>
                    <a:pt x="14" y="73"/>
                  </a:lnTo>
                  <a:lnTo>
                    <a:pt x="14" y="62"/>
                  </a:lnTo>
                  <a:lnTo>
                    <a:pt x="22" y="62"/>
                  </a:lnTo>
                  <a:lnTo>
                    <a:pt x="5" y="57"/>
                  </a:lnTo>
                  <a:lnTo>
                    <a:pt x="5" y="40"/>
                  </a:lnTo>
                  <a:lnTo>
                    <a:pt x="0" y="24"/>
                  </a:lnTo>
                  <a:lnTo>
                    <a:pt x="22" y="17"/>
                  </a:lnTo>
                  <a:lnTo>
                    <a:pt x="31" y="17"/>
                  </a:lnTo>
                  <a:lnTo>
                    <a:pt x="52" y="0"/>
                  </a:lnTo>
                  <a:lnTo>
                    <a:pt x="102" y="7"/>
                  </a:lnTo>
                  <a:lnTo>
                    <a:pt x="128" y="40"/>
                  </a:lnTo>
                  <a:lnTo>
                    <a:pt x="140" y="40"/>
                  </a:lnTo>
                  <a:lnTo>
                    <a:pt x="140" y="62"/>
                  </a:lnTo>
                  <a:lnTo>
                    <a:pt x="194" y="95"/>
                  </a:lnTo>
                  <a:lnTo>
                    <a:pt x="177" y="111"/>
                  </a:lnTo>
                  <a:lnTo>
                    <a:pt x="194" y="118"/>
                  </a:lnTo>
                  <a:lnTo>
                    <a:pt x="177" y="118"/>
                  </a:lnTo>
                  <a:lnTo>
                    <a:pt x="182" y="128"/>
                  </a:lnTo>
                  <a:lnTo>
                    <a:pt x="194" y="128"/>
                  </a:lnTo>
                  <a:lnTo>
                    <a:pt x="199" y="135"/>
                  </a:lnTo>
                  <a:lnTo>
                    <a:pt x="227" y="144"/>
                  </a:lnTo>
                  <a:lnTo>
                    <a:pt x="232" y="151"/>
                  </a:lnTo>
                  <a:lnTo>
                    <a:pt x="248" y="135"/>
                  </a:lnTo>
                  <a:lnTo>
                    <a:pt x="253" y="135"/>
                  </a:lnTo>
                  <a:lnTo>
                    <a:pt x="279" y="151"/>
                  </a:lnTo>
                  <a:lnTo>
                    <a:pt x="253" y="151"/>
                  </a:lnTo>
                  <a:lnTo>
                    <a:pt x="270" y="173"/>
                  </a:lnTo>
                  <a:lnTo>
                    <a:pt x="253" y="201"/>
                  </a:lnTo>
                  <a:lnTo>
                    <a:pt x="248" y="217"/>
                  </a:lnTo>
                  <a:lnTo>
                    <a:pt x="265" y="246"/>
                  </a:lnTo>
                  <a:lnTo>
                    <a:pt x="291" y="272"/>
                  </a:lnTo>
                  <a:lnTo>
                    <a:pt x="279" y="295"/>
                  </a:lnTo>
                  <a:lnTo>
                    <a:pt x="253" y="300"/>
                  </a:lnTo>
                  <a:lnTo>
                    <a:pt x="253" y="317"/>
                  </a:lnTo>
                  <a:lnTo>
                    <a:pt x="265" y="333"/>
                  </a:lnTo>
                  <a:lnTo>
                    <a:pt x="248" y="338"/>
                  </a:lnTo>
                  <a:lnTo>
                    <a:pt x="215" y="338"/>
                  </a:lnTo>
                  <a:lnTo>
                    <a:pt x="199" y="350"/>
                  </a:lnTo>
                  <a:lnTo>
                    <a:pt x="182" y="350"/>
                  </a:lnTo>
                  <a:lnTo>
                    <a:pt x="177" y="354"/>
                  </a:lnTo>
                  <a:lnTo>
                    <a:pt x="161" y="354"/>
                  </a:lnTo>
                  <a:lnTo>
                    <a:pt x="140" y="366"/>
                  </a:lnTo>
                  <a:lnTo>
                    <a:pt x="128" y="383"/>
                  </a:lnTo>
                  <a:lnTo>
                    <a:pt x="123" y="383"/>
                  </a:lnTo>
                  <a:lnTo>
                    <a:pt x="123" y="350"/>
                  </a:lnTo>
                  <a:lnTo>
                    <a:pt x="102" y="338"/>
                  </a:lnTo>
                  <a:lnTo>
                    <a:pt x="85" y="329"/>
                  </a:lnTo>
                  <a:lnTo>
                    <a:pt x="85" y="329"/>
                  </a:lnTo>
                  <a:lnTo>
                    <a:pt x="85" y="32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8" name="Freeform 559">
              <a:extLst>
                <a:ext uri="{FF2B5EF4-FFF2-40B4-BE49-F238E27FC236}">
                  <a16:creationId xmlns:a16="http://schemas.microsoft.com/office/drawing/2014/main" id="{16CC72DB-C436-4B5E-8A47-EE43ED719071}"/>
                </a:ext>
              </a:extLst>
            </p:cNvPr>
            <p:cNvSpPr>
              <a:spLocks/>
            </p:cNvSpPr>
            <p:nvPr/>
          </p:nvSpPr>
          <p:spPr bwMode="gray">
            <a:xfrm>
              <a:off x="12343663" y="3780563"/>
              <a:ext cx="5237" cy="6873"/>
            </a:xfrm>
            <a:custGeom>
              <a:avLst/>
              <a:gdLst>
                <a:gd name="T0" fmla="*/ 4 w 16"/>
                <a:gd name="T1" fmla="*/ 21 h 21"/>
                <a:gd name="T2" fmla="*/ 0 w 16"/>
                <a:gd name="T3" fmla="*/ 16 h 21"/>
                <a:gd name="T4" fmla="*/ 4 w 16"/>
                <a:gd name="T5" fmla="*/ 0 h 21"/>
                <a:gd name="T6" fmla="*/ 16 w 16"/>
                <a:gd name="T7" fmla="*/ 9 h 21"/>
                <a:gd name="T8" fmla="*/ 4 w 16"/>
                <a:gd name="T9" fmla="*/ 21 h 21"/>
                <a:gd name="T10" fmla="*/ 4 w 16"/>
                <a:gd name="T11" fmla="*/ 21 h 21"/>
                <a:gd name="T12" fmla="*/ 4 w 16"/>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6" h="21">
                  <a:moveTo>
                    <a:pt x="4" y="21"/>
                  </a:moveTo>
                  <a:lnTo>
                    <a:pt x="0" y="16"/>
                  </a:lnTo>
                  <a:lnTo>
                    <a:pt x="4" y="0"/>
                  </a:lnTo>
                  <a:lnTo>
                    <a:pt x="16" y="9"/>
                  </a:lnTo>
                  <a:lnTo>
                    <a:pt x="4" y="21"/>
                  </a:lnTo>
                  <a:lnTo>
                    <a:pt x="4" y="21"/>
                  </a:lnTo>
                  <a:lnTo>
                    <a:pt x="4" y="21"/>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9" name="Freeform 560">
              <a:extLst>
                <a:ext uri="{FF2B5EF4-FFF2-40B4-BE49-F238E27FC236}">
                  <a16:creationId xmlns:a16="http://schemas.microsoft.com/office/drawing/2014/main" id="{91ECFE5D-0D43-4394-BA19-2B09ECD1B187}"/>
                </a:ext>
              </a:extLst>
            </p:cNvPr>
            <p:cNvSpPr>
              <a:spLocks noEditPoints="1"/>
            </p:cNvSpPr>
            <p:nvPr/>
          </p:nvSpPr>
          <p:spPr bwMode="gray">
            <a:xfrm>
              <a:off x="13984074" y="1597822"/>
              <a:ext cx="605499" cy="323369"/>
            </a:xfrm>
            <a:custGeom>
              <a:avLst/>
              <a:gdLst>
                <a:gd name="T0" fmla="*/ 749 w 1850"/>
                <a:gd name="T1" fmla="*/ 22 h 988"/>
                <a:gd name="T2" fmla="*/ 706 w 1850"/>
                <a:gd name="T3" fmla="*/ 17 h 988"/>
                <a:gd name="T4" fmla="*/ 678 w 1850"/>
                <a:gd name="T5" fmla="*/ 38 h 988"/>
                <a:gd name="T6" fmla="*/ 959 w 1850"/>
                <a:gd name="T7" fmla="*/ 43 h 988"/>
                <a:gd name="T8" fmla="*/ 834 w 1850"/>
                <a:gd name="T9" fmla="*/ 60 h 988"/>
                <a:gd name="T10" fmla="*/ 905 w 1850"/>
                <a:gd name="T11" fmla="*/ 71 h 988"/>
                <a:gd name="T12" fmla="*/ 933 w 1850"/>
                <a:gd name="T13" fmla="*/ 78 h 988"/>
                <a:gd name="T14" fmla="*/ 1013 w 1850"/>
                <a:gd name="T15" fmla="*/ 78 h 988"/>
                <a:gd name="T16" fmla="*/ 1082 w 1850"/>
                <a:gd name="T17" fmla="*/ 187 h 988"/>
                <a:gd name="T18" fmla="*/ 921 w 1850"/>
                <a:gd name="T19" fmla="*/ 260 h 988"/>
                <a:gd name="T20" fmla="*/ 690 w 1850"/>
                <a:gd name="T21" fmla="*/ 187 h 988"/>
                <a:gd name="T22" fmla="*/ 586 w 1850"/>
                <a:gd name="T23" fmla="*/ 128 h 988"/>
                <a:gd name="T24" fmla="*/ 657 w 1850"/>
                <a:gd name="T25" fmla="*/ 95 h 988"/>
                <a:gd name="T26" fmla="*/ 728 w 1850"/>
                <a:gd name="T27" fmla="*/ 78 h 988"/>
                <a:gd name="T28" fmla="*/ 825 w 1850"/>
                <a:gd name="T29" fmla="*/ 133 h 988"/>
                <a:gd name="T30" fmla="*/ 980 w 1850"/>
                <a:gd name="T31" fmla="*/ 60 h 988"/>
                <a:gd name="T32" fmla="*/ 586 w 1850"/>
                <a:gd name="T33" fmla="*/ 78 h 988"/>
                <a:gd name="T34" fmla="*/ 1481 w 1850"/>
                <a:gd name="T35" fmla="*/ 116 h 988"/>
                <a:gd name="T36" fmla="*/ 1219 w 1850"/>
                <a:gd name="T37" fmla="*/ 100 h 988"/>
                <a:gd name="T38" fmla="*/ 1843 w 1850"/>
                <a:gd name="T39" fmla="*/ 100 h 988"/>
                <a:gd name="T40" fmla="*/ 85 w 1850"/>
                <a:gd name="T41" fmla="*/ 334 h 988"/>
                <a:gd name="T42" fmla="*/ 118 w 1850"/>
                <a:gd name="T43" fmla="*/ 244 h 988"/>
                <a:gd name="T44" fmla="*/ 31 w 1850"/>
                <a:gd name="T45" fmla="*/ 227 h 988"/>
                <a:gd name="T46" fmla="*/ 85 w 1850"/>
                <a:gd name="T47" fmla="*/ 154 h 988"/>
                <a:gd name="T48" fmla="*/ 139 w 1850"/>
                <a:gd name="T49" fmla="*/ 194 h 988"/>
                <a:gd name="T50" fmla="*/ 295 w 1850"/>
                <a:gd name="T51" fmla="*/ 154 h 988"/>
                <a:gd name="T52" fmla="*/ 388 w 1850"/>
                <a:gd name="T53" fmla="*/ 239 h 988"/>
                <a:gd name="T54" fmla="*/ 458 w 1850"/>
                <a:gd name="T55" fmla="*/ 133 h 988"/>
                <a:gd name="T56" fmla="*/ 555 w 1850"/>
                <a:gd name="T57" fmla="*/ 187 h 988"/>
                <a:gd name="T58" fmla="*/ 652 w 1850"/>
                <a:gd name="T59" fmla="*/ 350 h 988"/>
                <a:gd name="T60" fmla="*/ 555 w 1850"/>
                <a:gd name="T61" fmla="*/ 442 h 988"/>
                <a:gd name="T62" fmla="*/ 480 w 1850"/>
                <a:gd name="T63" fmla="*/ 598 h 988"/>
                <a:gd name="T64" fmla="*/ 350 w 1850"/>
                <a:gd name="T65" fmla="*/ 598 h 988"/>
                <a:gd name="T66" fmla="*/ 286 w 1850"/>
                <a:gd name="T67" fmla="*/ 520 h 988"/>
                <a:gd name="T68" fmla="*/ 248 w 1850"/>
                <a:gd name="T69" fmla="*/ 487 h 988"/>
                <a:gd name="T70" fmla="*/ 265 w 1850"/>
                <a:gd name="T71" fmla="*/ 433 h 988"/>
                <a:gd name="T72" fmla="*/ 480 w 1850"/>
                <a:gd name="T73" fmla="*/ 376 h 988"/>
                <a:gd name="T74" fmla="*/ 350 w 1850"/>
                <a:gd name="T75" fmla="*/ 350 h 988"/>
                <a:gd name="T76" fmla="*/ 286 w 1850"/>
                <a:gd name="T77" fmla="*/ 355 h 988"/>
                <a:gd name="T78" fmla="*/ 227 w 1850"/>
                <a:gd name="T79" fmla="*/ 416 h 988"/>
                <a:gd name="T80" fmla="*/ 662 w 1850"/>
                <a:gd name="T81" fmla="*/ 249 h 988"/>
                <a:gd name="T82" fmla="*/ 673 w 1850"/>
                <a:gd name="T83" fmla="*/ 282 h 988"/>
                <a:gd name="T84" fmla="*/ 732 w 1850"/>
                <a:gd name="T85" fmla="*/ 282 h 988"/>
                <a:gd name="T86" fmla="*/ 1396 w 1850"/>
                <a:gd name="T87" fmla="*/ 293 h 988"/>
                <a:gd name="T88" fmla="*/ 1354 w 1850"/>
                <a:gd name="T89" fmla="*/ 305 h 988"/>
                <a:gd name="T90" fmla="*/ 47 w 1850"/>
                <a:gd name="T91" fmla="*/ 371 h 988"/>
                <a:gd name="T92" fmla="*/ 97 w 1850"/>
                <a:gd name="T93" fmla="*/ 376 h 988"/>
                <a:gd name="T94" fmla="*/ 1136 w 1850"/>
                <a:gd name="T95" fmla="*/ 315 h 988"/>
                <a:gd name="T96" fmla="*/ 813 w 1850"/>
                <a:gd name="T97" fmla="*/ 355 h 988"/>
                <a:gd name="T98" fmla="*/ 678 w 1850"/>
                <a:gd name="T99" fmla="*/ 371 h 988"/>
                <a:gd name="T100" fmla="*/ 841 w 1850"/>
                <a:gd name="T101" fmla="*/ 537 h 988"/>
                <a:gd name="T102" fmla="*/ 732 w 1850"/>
                <a:gd name="T103" fmla="*/ 433 h 988"/>
                <a:gd name="T104" fmla="*/ 1013 w 1850"/>
                <a:gd name="T105" fmla="*/ 482 h 988"/>
                <a:gd name="T106" fmla="*/ 879 w 1850"/>
                <a:gd name="T107" fmla="*/ 560 h 988"/>
                <a:gd name="T108" fmla="*/ 1068 w 1850"/>
                <a:gd name="T109" fmla="*/ 648 h 988"/>
                <a:gd name="T110" fmla="*/ 602 w 1850"/>
                <a:gd name="T111" fmla="*/ 988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50" h="988">
                  <a:moveTo>
                    <a:pt x="728" y="17"/>
                  </a:moveTo>
                  <a:lnTo>
                    <a:pt x="711" y="0"/>
                  </a:lnTo>
                  <a:lnTo>
                    <a:pt x="744" y="5"/>
                  </a:lnTo>
                  <a:lnTo>
                    <a:pt x="728" y="17"/>
                  </a:lnTo>
                  <a:lnTo>
                    <a:pt x="728" y="17"/>
                  </a:lnTo>
                  <a:lnTo>
                    <a:pt x="728" y="17"/>
                  </a:lnTo>
                  <a:close/>
                  <a:moveTo>
                    <a:pt x="749" y="22"/>
                  </a:moveTo>
                  <a:lnTo>
                    <a:pt x="744" y="17"/>
                  </a:lnTo>
                  <a:lnTo>
                    <a:pt x="765" y="17"/>
                  </a:lnTo>
                  <a:lnTo>
                    <a:pt x="749" y="22"/>
                  </a:lnTo>
                  <a:lnTo>
                    <a:pt x="749" y="22"/>
                  </a:lnTo>
                  <a:lnTo>
                    <a:pt x="749" y="22"/>
                  </a:lnTo>
                  <a:close/>
                  <a:moveTo>
                    <a:pt x="716" y="22"/>
                  </a:moveTo>
                  <a:lnTo>
                    <a:pt x="706" y="17"/>
                  </a:lnTo>
                  <a:lnTo>
                    <a:pt x="728" y="22"/>
                  </a:lnTo>
                  <a:lnTo>
                    <a:pt x="716" y="22"/>
                  </a:lnTo>
                  <a:lnTo>
                    <a:pt x="716" y="22"/>
                  </a:lnTo>
                  <a:lnTo>
                    <a:pt x="716" y="22"/>
                  </a:lnTo>
                  <a:close/>
                  <a:moveTo>
                    <a:pt x="673" y="43"/>
                  </a:moveTo>
                  <a:lnTo>
                    <a:pt x="657" y="43"/>
                  </a:lnTo>
                  <a:lnTo>
                    <a:pt x="678" y="38"/>
                  </a:lnTo>
                  <a:lnTo>
                    <a:pt x="673" y="43"/>
                  </a:lnTo>
                  <a:lnTo>
                    <a:pt x="673" y="43"/>
                  </a:lnTo>
                  <a:lnTo>
                    <a:pt x="673" y="43"/>
                  </a:lnTo>
                  <a:close/>
                  <a:moveTo>
                    <a:pt x="959" y="43"/>
                  </a:moveTo>
                  <a:lnTo>
                    <a:pt x="976" y="43"/>
                  </a:lnTo>
                  <a:lnTo>
                    <a:pt x="947" y="43"/>
                  </a:lnTo>
                  <a:lnTo>
                    <a:pt x="959" y="43"/>
                  </a:lnTo>
                  <a:lnTo>
                    <a:pt x="959" y="43"/>
                  </a:lnTo>
                  <a:lnTo>
                    <a:pt x="959" y="43"/>
                  </a:lnTo>
                  <a:close/>
                  <a:moveTo>
                    <a:pt x="834" y="128"/>
                  </a:moveTo>
                  <a:lnTo>
                    <a:pt x="841" y="83"/>
                  </a:lnTo>
                  <a:lnTo>
                    <a:pt x="851" y="78"/>
                  </a:lnTo>
                  <a:lnTo>
                    <a:pt x="834" y="71"/>
                  </a:lnTo>
                  <a:lnTo>
                    <a:pt x="834" y="60"/>
                  </a:lnTo>
                  <a:lnTo>
                    <a:pt x="858" y="55"/>
                  </a:lnTo>
                  <a:lnTo>
                    <a:pt x="858" y="71"/>
                  </a:lnTo>
                  <a:lnTo>
                    <a:pt x="867" y="71"/>
                  </a:lnTo>
                  <a:lnTo>
                    <a:pt x="872" y="43"/>
                  </a:lnTo>
                  <a:lnTo>
                    <a:pt x="905" y="55"/>
                  </a:lnTo>
                  <a:lnTo>
                    <a:pt x="888" y="60"/>
                  </a:lnTo>
                  <a:lnTo>
                    <a:pt x="905" y="71"/>
                  </a:lnTo>
                  <a:lnTo>
                    <a:pt x="888" y="83"/>
                  </a:lnTo>
                  <a:lnTo>
                    <a:pt x="879" y="100"/>
                  </a:lnTo>
                  <a:lnTo>
                    <a:pt x="888" y="112"/>
                  </a:lnTo>
                  <a:lnTo>
                    <a:pt x="910" y="95"/>
                  </a:lnTo>
                  <a:lnTo>
                    <a:pt x="926" y="100"/>
                  </a:lnTo>
                  <a:lnTo>
                    <a:pt x="933" y="95"/>
                  </a:lnTo>
                  <a:lnTo>
                    <a:pt x="933" y="78"/>
                  </a:lnTo>
                  <a:lnTo>
                    <a:pt x="980" y="78"/>
                  </a:lnTo>
                  <a:lnTo>
                    <a:pt x="964" y="71"/>
                  </a:lnTo>
                  <a:lnTo>
                    <a:pt x="997" y="78"/>
                  </a:lnTo>
                  <a:lnTo>
                    <a:pt x="980" y="83"/>
                  </a:lnTo>
                  <a:lnTo>
                    <a:pt x="985" y="83"/>
                  </a:lnTo>
                  <a:lnTo>
                    <a:pt x="1013" y="71"/>
                  </a:lnTo>
                  <a:lnTo>
                    <a:pt x="1013" y="78"/>
                  </a:lnTo>
                  <a:lnTo>
                    <a:pt x="1002" y="83"/>
                  </a:lnTo>
                  <a:lnTo>
                    <a:pt x="1039" y="78"/>
                  </a:lnTo>
                  <a:lnTo>
                    <a:pt x="1035" y="83"/>
                  </a:lnTo>
                  <a:lnTo>
                    <a:pt x="1174" y="112"/>
                  </a:lnTo>
                  <a:lnTo>
                    <a:pt x="1165" y="133"/>
                  </a:lnTo>
                  <a:lnTo>
                    <a:pt x="1181" y="138"/>
                  </a:lnTo>
                  <a:lnTo>
                    <a:pt x="1082" y="187"/>
                  </a:lnTo>
                  <a:lnTo>
                    <a:pt x="1089" y="206"/>
                  </a:lnTo>
                  <a:lnTo>
                    <a:pt x="1073" y="223"/>
                  </a:lnTo>
                  <a:lnTo>
                    <a:pt x="1035" y="239"/>
                  </a:lnTo>
                  <a:lnTo>
                    <a:pt x="1002" y="227"/>
                  </a:lnTo>
                  <a:lnTo>
                    <a:pt x="976" y="239"/>
                  </a:lnTo>
                  <a:lnTo>
                    <a:pt x="959" y="260"/>
                  </a:lnTo>
                  <a:lnTo>
                    <a:pt x="921" y="260"/>
                  </a:lnTo>
                  <a:lnTo>
                    <a:pt x="858" y="239"/>
                  </a:lnTo>
                  <a:lnTo>
                    <a:pt x="872" y="223"/>
                  </a:lnTo>
                  <a:lnTo>
                    <a:pt x="728" y="227"/>
                  </a:lnTo>
                  <a:lnTo>
                    <a:pt x="728" y="211"/>
                  </a:lnTo>
                  <a:lnTo>
                    <a:pt x="690" y="211"/>
                  </a:lnTo>
                  <a:lnTo>
                    <a:pt x="640" y="187"/>
                  </a:lnTo>
                  <a:lnTo>
                    <a:pt x="690" y="187"/>
                  </a:lnTo>
                  <a:lnTo>
                    <a:pt x="749" y="194"/>
                  </a:lnTo>
                  <a:lnTo>
                    <a:pt x="706" y="182"/>
                  </a:lnTo>
                  <a:lnTo>
                    <a:pt x="803" y="171"/>
                  </a:lnTo>
                  <a:lnTo>
                    <a:pt x="834" y="154"/>
                  </a:lnTo>
                  <a:lnTo>
                    <a:pt x="586" y="171"/>
                  </a:lnTo>
                  <a:lnTo>
                    <a:pt x="539" y="138"/>
                  </a:lnTo>
                  <a:lnTo>
                    <a:pt x="586" y="128"/>
                  </a:lnTo>
                  <a:lnTo>
                    <a:pt x="517" y="112"/>
                  </a:lnTo>
                  <a:lnTo>
                    <a:pt x="581" y="95"/>
                  </a:lnTo>
                  <a:lnTo>
                    <a:pt x="624" y="112"/>
                  </a:lnTo>
                  <a:lnTo>
                    <a:pt x="640" y="100"/>
                  </a:lnTo>
                  <a:lnTo>
                    <a:pt x="619" y="95"/>
                  </a:lnTo>
                  <a:lnTo>
                    <a:pt x="602" y="71"/>
                  </a:lnTo>
                  <a:lnTo>
                    <a:pt x="657" y="95"/>
                  </a:lnTo>
                  <a:lnTo>
                    <a:pt x="657" y="78"/>
                  </a:lnTo>
                  <a:lnTo>
                    <a:pt x="662" y="60"/>
                  </a:lnTo>
                  <a:lnTo>
                    <a:pt x="636" y="55"/>
                  </a:lnTo>
                  <a:lnTo>
                    <a:pt x="652" y="43"/>
                  </a:lnTo>
                  <a:lnTo>
                    <a:pt x="706" y="60"/>
                  </a:lnTo>
                  <a:lnTo>
                    <a:pt x="711" y="78"/>
                  </a:lnTo>
                  <a:lnTo>
                    <a:pt x="728" y="78"/>
                  </a:lnTo>
                  <a:lnTo>
                    <a:pt x="728" y="83"/>
                  </a:lnTo>
                  <a:lnTo>
                    <a:pt x="728" y="95"/>
                  </a:lnTo>
                  <a:lnTo>
                    <a:pt x="803" y="83"/>
                  </a:lnTo>
                  <a:lnTo>
                    <a:pt x="803" y="95"/>
                  </a:lnTo>
                  <a:lnTo>
                    <a:pt x="782" y="112"/>
                  </a:lnTo>
                  <a:lnTo>
                    <a:pt x="803" y="100"/>
                  </a:lnTo>
                  <a:lnTo>
                    <a:pt x="825" y="133"/>
                  </a:lnTo>
                  <a:lnTo>
                    <a:pt x="834" y="128"/>
                  </a:lnTo>
                  <a:lnTo>
                    <a:pt x="834" y="128"/>
                  </a:lnTo>
                  <a:lnTo>
                    <a:pt x="834" y="128"/>
                  </a:lnTo>
                  <a:close/>
                  <a:moveTo>
                    <a:pt x="976" y="60"/>
                  </a:moveTo>
                  <a:lnTo>
                    <a:pt x="959" y="60"/>
                  </a:lnTo>
                  <a:lnTo>
                    <a:pt x="964" y="55"/>
                  </a:lnTo>
                  <a:lnTo>
                    <a:pt x="980" y="60"/>
                  </a:lnTo>
                  <a:lnTo>
                    <a:pt x="976" y="60"/>
                  </a:lnTo>
                  <a:lnTo>
                    <a:pt x="976" y="60"/>
                  </a:lnTo>
                  <a:lnTo>
                    <a:pt x="976" y="60"/>
                  </a:lnTo>
                  <a:close/>
                  <a:moveTo>
                    <a:pt x="565" y="83"/>
                  </a:moveTo>
                  <a:lnTo>
                    <a:pt x="539" y="78"/>
                  </a:lnTo>
                  <a:lnTo>
                    <a:pt x="555" y="71"/>
                  </a:lnTo>
                  <a:lnTo>
                    <a:pt x="586" y="78"/>
                  </a:lnTo>
                  <a:lnTo>
                    <a:pt x="565" y="83"/>
                  </a:lnTo>
                  <a:lnTo>
                    <a:pt x="565" y="83"/>
                  </a:lnTo>
                  <a:lnTo>
                    <a:pt x="565" y="83"/>
                  </a:lnTo>
                  <a:close/>
                  <a:moveTo>
                    <a:pt x="1481" y="116"/>
                  </a:moveTo>
                  <a:lnTo>
                    <a:pt x="1472" y="112"/>
                  </a:lnTo>
                  <a:lnTo>
                    <a:pt x="1628" y="95"/>
                  </a:lnTo>
                  <a:lnTo>
                    <a:pt x="1481" y="116"/>
                  </a:lnTo>
                  <a:lnTo>
                    <a:pt x="1481" y="116"/>
                  </a:lnTo>
                  <a:lnTo>
                    <a:pt x="1481" y="116"/>
                  </a:lnTo>
                  <a:close/>
                  <a:moveTo>
                    <a:pt x="1219" y="100"/>
                  </a:moveTo>
                  <a:lnTo>
                    <a:pt x="1233" y="100"/>
                  </a:lnTo>
                  <a:lnTo>
                    <a:pt x="1212" y="112"/>
                  </a:lnTo>
                  <a:lnTo>
                    <a:pt x="1219" y="100"/>
                  </a:lnTo>
                  <a:lnTo>
                    <a:pt x="1219" y="100"/>
                  </a:lnTo>
                  <a:lnTo>
                    <a:pt x="1219" y="100"/>
                  </a:lnTo>
                  <a:close/>
                  <a:moveTo>
                    <a:pt x="1843" y="100"/>
                  </a:moveTo>
                  <a:lnTo>
                    <a:pt x="1838" y="100"/>
                  </a:lnTo>
                  <a:lnTo>
                    <a:pt x="1850" y="100"/>
                  </a:lnTo>
                  <a:lnTo>
                    <a:pt x="1843" y="100"/>
                  </a:lnTo>
                  <a:lnTo>
                    <a:pt x="1843" y="100"/>
                  </a:lnTo>
                  <a:lnTo>
                    <a:pt x="1843" y="100"/>
                  </a:lnTo>
                  <a:close/>
                  <a:moveTo>
                    <a:pt x="227" y="416"/>
                  </a:moveTo>
                  <a:lnTo>
                    <a:pt x="177" y="409"/>
                  </a:lnTo>
                  <a:lnTo>
                    <a:pt x="173" y="393"/>
                  </a:lnTo>
                  <a:lnTo>
                    <a:pt x="135" y="371"/>
                  </a:lnTo>
                  <a:lnTo>
                    <a:pt x="194" y="360"/>
                  </a:lnTo>
                  <a:lnTo>
                    <a:pt x="102" y="350"/>
                  </a:lnTo>
                  <a:lnTo>
                    <a:pt x="85" y="334"/>
                  </a:lnTo>
                  <a:lnTo>
                    <a:pt x="102" y="315"/>
                  </a:lnTo>
                  <a:lnTo>
                    <a:pt x="64" y="293"/>
                  </a:lnTo>
                  <a:lnTo>
                    <a:pt x="151" y="298"/>
                  </a:lnTo>
                  <a:lnTo>
                    <a:pt x="139" y="293"/>
                  </a:lnTo>
                  <a:lnTo>
                    <a:pt x="106" y="293"/>
                  </a:lnTo>
                  <a:lnTo>
                    <a:pt x="97" y="277"/>
                  </a:lnTo>
                  <a:lnTo>
                    <a:pt x="118" y="244"/>
                  </a:lnTo>
                  <a:lnTo>
                    <a:pt x="102" y="249"/>
                  </a:lnTo>
                  <a:lnTo>
                    <a:pt x="85" y="239"/>
                  </a:lnTo>
                  <a:lnTo>
                    <a:pt x="80" y="244"/>
                  </a:lnTo>
                  <a:lnTo>
                    <a:pt x="97" y="260"/>
                  </a:lnTo>
                  <a:lnTo>
                    <a:pt x="52" y="277"/>
                  </a:lnTo>
                  <a:lnTo>
                    <a:pt x="47" y="249"/>
                  </a:lnTo>
                  <a:lnTo>
                    <a:pt x="31" y="227"/>
                  </a:lnTo>
                  <a:lnTo>
                    <a:pt x="31" y="211"/>
                  </a:lnTo>
                  <a:lnTo>
                    <a:pt x="14" y="194"/>
                  </a:lnTo>
                  <a:lnTo>
                    <a:pt x="52" y="194"/>
                  </a:lnTo>
                  <a:lnTo>
                    <a:pt x="31" y="194"/>
                  </a:lnTo>
                  <a:lnTo>
                    <a:pt x="64" y="187"/>
                  </a:lnTo>
                  <a:lnTo>
                    <a:pt x="52" y="166"/>
                  </a:lnTo>
                  <a:lnTo>
                    <a:pt x="85" y="154"/>
                  </a:lnTo>
                  <a:lnTo>
                    <a:pt x="135" y="182"/>
                  </a:lnTo>
                  <a:lnTo>
                    <a:pt x="135" y="171"/>
                  </a:lnTo>
                  <a:lnTo>
                    <a:pt x="123" y="154"/>
                  </a:lnTo>
                  <a:lnTo>
                    <a:pt x="156" y="166"/>
                  </a:lnTo>
                  <a:lnTo>
                    <a:pt x="241" y="149"/>
                  </a:lnTo>
                  <a:lnTo>
                    <a:pt x="248" y="166"/>
                  </a:lnTo>
                  <a:lnTo>
                    <a:pt x="139" y="194"/>
                  </a:lnTo>
                  <a:lnTo>
                    <a:pt x="215" y="194"/>
                  </a:lnTo>
                  <a:lnTo>
                    <a:pt x="203" y="211"/>
                  </a:lnTo>
                  <a:lnTo>
                    <a:pt x="227" y="211"/>
                  </a:lnTo>
                  <a:lnTo>
                    <a:pt x="258" y="244"/>
                  </a:lnTo>
                  <a:lnTo>
                    <a:pt x="265" y="239"/>
                  </a:lnTo>
                  <a:lnTo>
                    <a:pt x="241" y="206"/>
                  </a:lnTo>
                  <a:lnTo>
                    <a:pt x="295" y="154"/>
                  </a:lnTo>
                  <a:lnTo>
                    <a:pt x="338" y="187"/>
                  </a:lnTo>
                  <a:lnTo>
                    <a:pt x="354" y="239"/>
                  </a:lnTo>
                  <a:lnTo>
                    <a:pt x="376" y="249"/>
                  </a:lnTo>
                  <a:lnTo>
                    <a:pt x="371" y="265"/>
                  </a:lnTo>
                  <a:lnTo>
                    <a:pt x="376" y="260"/>
                  </a:lnTo>
                  <a:lnTo>
                    <a:pt x="425" y="305"/>
                  </a:lnTo>
                  <a:lnTo>
                    <a:pt x="388" y="239"/>
                  </a:lnTo>
                  <a:lnTo>
                    <a:pt x="366" y="154"/>
                  </a:lnTo>
                  <a:lnTo>
                    <a:pt x="404" y="149"/>
                  </a:lnTo>
                  <a:lnTo>
                    <a:pt x="388" y="133"/>
                  </a:lnTo>
                  <a:lnTo>
                    <a:pt x="409" y="116"/>
                  </a:lnTo>
                  <a:lnTo>
                    <a:pt x="430" y="116"/>
                  </a:lnTo>
                  <a:lnTo>
                    <a:pt x="447" y="149"/>
                  </a:lnTo>
                  <a:lnTo>
                    <a:pt x="458" y="133"/>
                  </a:lnTo>
                  <a:lnTo>
                    <a:pt x="480" y="138"/>
                  </a:lnTo>
                  <a:lnTo>
                    <a:pt x="539" y="171"/>
                  </a:lnTo>
                  <a:lnTo>
                    <a:pt x="517" y="187"/>
                  </a:lnTo>
                  <a:lnTo>
                    <a:pt x="513" y="206"/>
                  </a:lnTo>
                  <a:lnTo>
                    <a:pt x="517" y="223"/>
                  </a:lnTo>
                  <a:lnTo>
                    <a:pt x="501" y="227"/>
                  </a:lnTo>
                  <a:lnTo>
                    <a:pt x="555" y="187"/>
                  </a:lnTo>
                  <a:lnTo>
                    <a:pt x="586" y="211"/>
                  </a:lnTo>
                  <a:lnTo>
                    <a:pt x="593" y="260"/>
                  </a:lnTo>
                  <a:lnTo>
                    <a:pt x="652" y="265"/>
                  </a:lnTo>
                  <a:lnTo>
                    <a:pt x="662" y="282"/>
                  </a:lnTo>
                  <a:lnTo>
                    <a:pt x="782" y="315"/>
                  </a:lnTo>
                  <a:lnTo>
                    <a:pt x="765" y="350"/>
                  </a:lnTo>
                  <a:lnTo>
                    <a:pt x="652" y="350"/>
                  </a:lnTo>
                  <a:lnTo>
                    <a:pt x="640" y="355"/>
                  </a:lnTo>
                  <a:lnTo>
                    <a:pt x="652" y="371"/>
                  </a:lnTo>
                  <a:lnTo>
                    <a:pt x="593" y="371"/>
                  </a:lnTo>
                  <a:lnTo>
                    <a:pt x="602" y="388"/>
                  </a:lnTo>
                  <a:lnTo>
                    <a:pt x="602" y="404"/>
                  </a:lnTo>
                  <a:lnTo>
                    <a:pt x="610" y="433"/>
                  </a:lnTo>
                  <a:lnTo>
                    <a:pt x="555" y="442"/>
                  </a:lnTo>
                  <a:lnTo>
                    <a:pt x="555" y="466"/>
                  </a:lnTo>
                  <a:lnTo>
                    <a:pt x="565" y="482"/>
                  </a:lnTo>
                  <a:lnTo>
                    <a:pt x="548" y="520"/>
                  </a:lnTo>
                  <a:lnTo>
                    <a:pt x="513" y="537"/>
                  </a:lnTo>
                  <a:lnTo>
                    <a:pt x="484" y="593"/>
                  </a:lnTo>
                  <a:lnTo>
                    <a:pt x="463" y="593"/>
                  </a:lnTo>
                  <a:lnTo>
                    <a:pt x="480" y="598"/>
                  </a:lnTo>
                  <a:lnTo>
                    <a:pt x="458" y="631"/>
                  </a:lnTo>
                  <a:lnTo>
                    <a:pt x="475" y="648"/>
                  </a:lnTo>
                  <a:lnTo>
                    <a:pt x="447" y="664"/>
                  </a:lnTo>
                  <a:lnTo>
                    <a:pt x="354" y="615"/>
                  </a:lnTo>
                  <a:lnTo>
                    <a:pt x="425" y="598"/>
                  </a:lnTo>
                  <a:lnTo>
                    <a:pt x="392" y="582"/>
                  </a:lnTo>
                  <a:lnTo>
                    <a:pt x="350" y="598"/>
                  </a:lnTo>
                  <a:lnTo>
                    <a:pt x="324" y="577"/>
                  </a:lnTo>
                  <a:lnTo>
                    <a:pt x="286" y="577"/>
                  </a:lnTo>
                  <a:lnTo>
                    <a:pt x="265" y="553"/>
                  </a:lnTo>
                  <a:lnTo>
                    <a:pt x="241" y="520"/>
                  </a:lnTo>
                  <a:lnTo>
                    <a:pt x="269" y="515"/>
                  </a:lnTo>
                  <a:lnTo>
                    <a:pt x="286" y="515"/>
                  </a:lnTo>
                  <a:lnTo>
                    <a:pt x="286" y="520"/>
                  </a:lnTo>
                  <a:lnTo>
                    <a:pt x="371" y="520"/>
                  </a:lnTo>
                  <a:lnTo>
                    <a:pt x="404" y="537"/>
                  </a:lnTo>
                  <a:lnTo>
                    <a:pt x="409" y="527"/>
                  </a:lnTo>
                  <a:lnTo>
                    <a:pt x="300" y="499"/>
                  </a:lnTo>
                  <a:lnTo>
                    <a:pt x="447" y="471"/>
                  </a:lnTo>
                  <a:lnTo>
                    <a:pt x="463" y="461"/>
                  </a:lnTo>
                  <a:lnTo>
                    <a:pt x="248" y="487"/>
                  </a:lnTo>
                  <a:lnTo>
                    <a:pt x="232" y="482"/>
                  </a:lnTo>
                  <a:lnTo>
                    <a:pt x="241" y="471"/>
                  </a:lnTo>
                  <a:lnTo>
                    <a:pt x="227" y="466"/>
                  </a:lnTo>
                  <a:lnTo>
                    <a:pt x="227" y="442"/>
                  </a:lnTo>
                  <a:lnTo>
                    <a:pt x="248" y="433"/>
                  </a:lnTo>
                  <a:lnTo>
                    <a:pt x="269" y="449"/>
                  </a:lnTo>
                  <a:lnTo>
                    <a:pt x="265" y="433"/>
                  </a:lnTo>
                  <a:lnTo>
                    <a:pt x="317" y="426"/>
                  </a:lnTo>
                  <a:lnTo>
                    <a:pt x="338" y="409"/>
                  </a:lnTo>
                  <a:lnTo>
                    <a:pt x="371" y="409"/>
                  </a:lnTo>
                  <a:lnTo>
                    <a:pt x="366" y="404"/>
                  </a:lnTo>
                  <a:lnTo>
                    <a:pt x="371" y="393"/>
                  </a:lnTo>
                  <a:lnTo>
                    <a:pt x="442" y="393"/>
                  </a:lnTo>
                  <a:lnTo>
                    <a:pt x="480" y="376"/>
                  </a:lnTo>
                  <a:lnTo>
                    <a:pt x="409" y="376"/>
                  </a:lnTo>
                  <a:lnTo>
                    <a:pt x="447" y="338"/>
                  </a:lnTo>
                  <a:lnTo>
                    <a:pt x="425" y="334"/>
                  </a:lnTo>
                  <a:lnTo>
                    <a:pt x="392" y="371"/>
                  </a:lnTo>
                  <a:lnTo>
                    <a:pt x="354" y="376"/>
                  </a:lnTo>
                  <a:lnTo>
                    <a:pt x="333" y="355"/>
                  </a:lnTo>
                  <a:lnTo>
                    <a:pt x="350" y="350"/>
                  </a:lnTo>
                  <a:lnTo>
                    <a:pt x="354" y="322"/>
                  </a:lnTo>
                  <a:lnTo>
                    <a:pt x="350" y="315"/>
                  </a:lnTo>
                  <a:lnTo>
                    <a:pt x="324" y="355"/>
                  </a:lnTo>
                  <a:lnTo>
                    <a:pt x="312" y="350"/>
                  </a:lnTo>
                  <a:lnTo>
                    <a:pt x="312" y="334"/>
                  </a:lnTo>
                  <a:lnTo>
                    <a:pt x="286" y="338"/>
                  </a:lnTo>
                  <a:lnTo>
                    <a:pt x="286" y="355"/>
                  </a:lnTo>
                  <a:lnTo>
                    <a:pt x="279" y="371"/>
                  </a:lnTo>
                  <a:lnTo>
                    <a:pt x="300" y="388"/>
                  </a:lnTo>
                  <a:lnTo>
                    <a:pt x="279" y="388"/>
                  </a:lnTo>
                  <a:lnTo>
                    <a:pt x="269" y="393"/>
                  </a:lnTo>
                  <a:lnTo>
                    <a:pt x="227" y="416"/>
                  </a:lnTo>
                  <a:lnTo>
                    <a:pt x="227" y="416"/>
                  </a:lnTo>
                  <a:lnTo>
                    <a:pt x="227" y="416"/>
                  </a:lnTo>
                  <a:close/>
                  <a:moveTo>
                    <a:pt x="26" y="182"/>
                  </a:moveTo>
                  <a:lnTo>
                    <a:pt x="14" y="171"/>
                  </a:lnTo>
                  <a:lnTo>
                    <a:pt x="47" y="182"/>
                  </a:lnTo>
                  <a:lnTo>
                    <a:pt x="26" y="182"/>
                  </a:lnTo>
                  <a:lnTo>
                    <a:pt x="26" y="182"/>
                  </a:lnTo>
                  <a:lnTo>
                    <a:pt x="26" y="182"/>
                  </a:lnTo>
                  <a:close/>
                  <a:moveTo>
                    <a:pt x="662" y="249"/>
                  </a:moveTo>
                  <a:lnTo>
                    <a:pt x="673" y="239"/>
                  </a:lnTo>
                  <a:lnTo>
                    <a:pt x="678" y="239"/>
                  </a:lnTo>
                  <a:lnTo>
                    <a:pt x="662" y="249"/>
                  </a:lnTo>
                  <a:lnTo>
                    <a:pt x="662" y="249"/>
                  </a:lnTo>
                  <a:lnTo>
                    <a:pt x="662" y="249"/>
                  </a:lnTo>
                  <a:close/>
                  <a:moveTo>
                    <a:pt x="695" y="293"/>
                  </a:moveTo>
                  <a:lnTo>
                    <a:pt x="673" y="282"/>
                  </a:lnTo>
                  <a:lnTo>
                    <a:pt x="690" y="265"/>
                  </a:lnTo>
                  <a:lnTo>
                    <a:pt x="728" y="277"/>
                  </a:lnTo>
                  <a:lnTo>
                    <a:pt x="695" y="293"/>
                  </a:lnTo>
                  <a:lnTo>
                    <a:pt x="695" y="293"/>
                  </a:lnTo>
                  <a:lnTo>
                    <a:pt x="695" y="293"/>
                  </a:lnTo>
                  <a:close/>
                  <a:moveTo>
                    <a:pt x="744" y="282"/>
                  </a:moveTo>
                  <a:lnTo>
                    <a:pt x="732" y="282"/>
                  </a:lnTo>
                  <a:lnTo>
                    <a:pt x="761" y="282"/>
                  </a:lnTo>
                  <a:lnTo>
                    <a:pt x="744" y="282"/>
                  </a:lnTo>
                  <a:lnTo>
                    <a:pt x="744" y="282"/>
                  </a:lnTo>
                  <a:lnTo>
                    <a:pt x="744" y="282"/>
                  </a:lnTo>
                  <a:close/>
                  <a:moveTo>
                    <a:pt x="1391" y="293"/>
                  </a:moveTo>
                  <a:lnTo>
                    <a:pt x="1375" y="293"/>
                  </a:lnTo>
                  <a:lnTo>
                    <a:pt x="1396" y="293"/>
                  </a:lnTo>
                  <a:lnTo>
                    <a:pt x="1391" y="293"/>
                  </a:lnTo>
                  <a:lnTo>
                    <a:pt x="1391" y="293"/>
                  </a:lnTo>
                  <a:lnTo>
                    <a:pt x="1391" y="293"/>
                  </a:lnTo>
                  <a:close/>
                  <a:moveTo>
                    <a:pt x="1233" y="315"/>
                  </a:moveTo>
                  <a:lnTo>
                    <a:pt x="1233" y="305"/>
                  </a:lnTo>
                  <a:lnTo>
                    <a:pt x="1257" y="298"/>
                  </a:lnTo>
                  <a:lnTo>
                    <a:pt x="1354" y="305"/>
                  </a:lnTo>
                  <a:lnTo>
                    <a:pt x="1321" y="315"/>
                  </a:lnTo>
                  <a:lnTo>
                    <a:pt x="1288" y="298"/>
                  </a:lnTo>
                  <a:lnTo>
                    <a:pt x="1233" y="315"/>
                  </a:lnTo>
                  <a:lnTo>
                    <a:pt x="1233" y="315"/>
                  </a:lnTo>
                  <a:lnTo>
                    <a:pt x="1233" y="315"/>
                  </a:lnTo>
                  <a:close/>
                  <a:moveTo>
                    <a:pt x="118" y="416"/>
                  </a:moveTo>
                  <a:lnTo>
                    <a:pt x="47" y="371"/>
                  </a:lnTo>
                  <a:lnTo>
                    <a:pt x="10" y="322"/>
                  </a:lnTo>
                  <a:lnTo>
                    <a:pt x="0" y="305"/>
                  </a:lnTo>
                  <a:lnTo>
                    <a:pt x="43" y="315"/>
                  </a:lnTo>
                  <a:lnTo>
                    <a:pt x="52" y="334"/>
                  </a:lnTo>
                  <a:lnTo>
                    <a:pt x="47" y="334"/>
                  </a:lnTo>
                  <a:lnTo>
                    <a:pt x="52" y="360"/>
                  </a:lnTo>
                  <a:lnTo>
                    <a:pt x="97" y="376"/>
                  </a:lnTo>
                  <a:lnTo>
                    <a:pt x="118" y="404"/>
                  </a:lnTo>
                  <a:lnTo>
                    <a:pt x="118" y="416"/>
                  </a:lnTo>
                  <a:lnTo>
                    <a:pt x="118" y="416"/>
                  </a:lnTo>
                  <a:lnTo>
                    <a:pt x="118" y="416"/>
                  </a:lnTo>
                  <a:close/>
                  <a:moveTo>
                    <a:pt x="1143" y="350"/>
                  </a:moveTo>
                  <a:lnTo>
                    <a:pt x="1120" y="322"/>
                  </a:lnTo>
                  <a:lnTo>
                    <a:pt x="1136" y="315"/>
                  </a:lnTo>
                  <a:lnTo>
                    <a:pt x="1165" y="338"/>
                  </a:lnTo>
                  <a:lnTo>
                    <a:pt x="1143" y="350"/>
                  </a:lnTo>
                  <a:lnTo>
                    <a:pt x="1143" y="350"/>
                  </a:lnTo>
                  <a:lnTo>
                    <a:pt x="1143" y="350"/>
                  </a:lnTo>
                  <a:close/>
                  <a:moveTo>
                    <a:pt x="678" y="371"/>
                  </a:moveTo>
                  <a:lnTo>
                    <a:pt x="761" y="350"/>
                  </a:lnTo>
                  <a:lnTo>
                    <a:pt x="813" y="355"/>
                  </a:lnTo>
                  <a:lnTo>
                    <a:pt x="825" y="371"/>
                  </a:lnTo>
                  <a:lnTo>
                    <a:pt x="825" y="404"/>
                  </a:lnTo>
                  <a:lnTo>
                    <a:pt x="716" y="416"/>
                  </a:lnTo>
                  <a:lnTo>
                    <a:pt x="728" y="404"/>
                  </a:lnTo>
                  <a:lnTo>
                    <a:pt x="706" y="393"/>
                  </a:lnTo>
                  <a:lnTo>
                    <a:pt x="716" y="388"/>
                  </a:lnTo>
                  <a:lnTo>
                    <a:pt x="678" y="371"/>
                  </a:lnTo>
                  <a:lnTo>
                    <a:pt x="678" y="371"/>
                  </a:lnTo>
                  <a:lnTo>
                    <a:pt x="678" y="371"/>
                  </a:lnTo>
                  <a:close/>
                  <a:moveTo>
                    <a:pt x="858" y="560"/>
                  </a:moveTo>
                  <a:lnTo>
                    <a:pt x="841" y="560"/>
                  </a:lnTo>
                  <a:lnTo>
                    <a:pt x="841" y="553"/>
                  </a:lnTo>
                  <a:lnTo>
                    <a:pt x="851" y="544"/>
                  </a:lnTo>
                  <a:lnTo>
                    <a:pt x="841" y="537"/>
                  </a:lnTo>
                  <a:lnTo>
                    <a:pt x="867" y="515"/>
                  </a:lnTo>
                  <a:lnTo>
                    <a:pt x="732" y="527"/>
                  </a:lnTo>
                  <a:lnTo>
                    <a:pt x="732" y="515"/>
                  </a:lnTo>
                  <a:lnTo>
                    <a:pt x="761" y="504"/>
                  </a:lnTo>
                  <a:lnTo>
                    <a:pt x="761" y="487"/>
                  </a:lnTo>
                  <a:lnTo>
                    <a:pt x="787" y="461"/>
                  </a:lnTo>
                  <a:lnTo>
                    <a:pt x="732" y="433"/>
                  </a:lnTo>
                  <a:lnTo>
                    <a:pt x="879" y="409"/>
                  </a:lnTo>
                  <a:lnTo>
                    <a:pt x="910" y="416"/>
                  </a:lnTo>
                  <a:lnTo>
                    <a:pt x="888" y="433"/>
                  </a:lnTo>
                  <a:lnTo>
                    <a:pt x="888" y="449"/>
                  </a:lnTo>
                  <a:lnTo>
                    <a:pt x="926" y="466"/>
                  </a:lnTo>
                  <a:lnTo>
                    <a:pt x="976" y="466"/>
                  </a:lnTo>
                  <a:lnTo>
                    <a:pt x="1013" y="482"/>
                  </a:lnTo>
                  <a:lnTo>
                    <a:pt x="964" y="499"/>
                  </a:lnTo>
                  <a:lnTo>
                    <a:pt x="933" y="527"/>
                  </a:lnTo>
                  <a:lnTo>
                    <a:pt x="858" y="560"/>
                  </a:lnTo>
                  <a:lnTo>
                    <a:pt x="858" y="560"/>
                  </a:lnTo>
                  <a:lnTo>
                    <a:pt x="858" y="560"/>
                  </a:lnTo>
                  <a:close/>
                  <a:moveTo>
                    <a:pt x="888" y="560"/>
                  </a:moveTo>
                  <a:lnTo>
                    <a:pt x="879" y="560"/>
                  </a:lnTo>
                  <a:lnTo>
                    <a:pt x="905" y="560"/>
                  </a:lnTo>
                  <a:lnTo>
                    <a:pt x="888" y="560"/>
                  </a:lnTo>
                  <a:lnTo>
                    <a:pt x="888" y="560"/>
                  </a:lnTo>
                  <a:lnTo>
                    <a:pt x="888" y="560"/>
                  </a:lnTo>
                  <a:close/>
                  <a:moveTo>
                    <a:pt x="1018" y="688"/>
                  </a:moveTo>
                  <a:lnTo>
                    <a:pt x="1018" y="681"/>
                  </a:lnTo>
                  <a:lnTo>
                    <a:pt x="1068" y="648"/>
                  </a:lnTo>
                  <a:lnTo>
                    <a:pt x="1018" y="688"/>
                  </a:lnTo>
                  <a:lnTo>
                    <a:pt x="1018" y="688"/>
                  </a:lnTo>
                  <a:lnTo>
                    <a:pt x="1018" y="688"/>
                  </a:lnTo>
                  <a:close/>
                  <a:moveTo>
                    <a:pt x="602" y="988"/>
                  </a:moveTo>
                  <a:lnTo>
                    <a:pt x="586" y="969"/>
                  </a:lnTo>
                  <a:lnTo>
                    <a:pt x="619" y="969"/>
                  </a:lnTo>
                  <a:lnTo>
                    <a:pt x="602" y="988"/>
                  </a:lnTo>
                  <a:lnTo>
                    <a:pt x="602" y="988"/>
                  </a:lnTo>
                  <a:lnTo>
                    <a:pt x="602" y="988"/>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0" name="Freeform 561">
              <a:extLst>
                <a:ext uri="{FF2B5EF4-FFF2-40B4-BE49-F238E27FC236}">
                  <a16:creationId xmlns:a16="http://schemas.microsoft.com/office/drawing/2014/main" id="{94D63BCE-881E-4E90-8371-6B775D74A077}"/>
                </a:ext>
              </a:extLst>
            </p:cNvPr>
            <p:cNvSpPr>
              <a:spLocks noEditPoints="1"/>
            </p:cNvSpPr>
            <p:nvPr/>
          </p:nvSpPr>
          <p:spPr bwMode="gray">
            <a:xfrm>
              <a:off x="13999457" y="2152263"/>
              <a:ext cx="300131" cy="503382"/>
            </a:xfrm>
            <a:custGeom>
              <a:avLst/>
              <a:gdLst>
                <a:gd name="T0" fmla="*/ 69 w 917"/>
                <a:gd name="T1" fmla="*/ 1065 h 1538"/>
                <a:gd name="T2" fmla="*/ 69 w 917"/>
                <a:gd name="T3" fmla="*/ 860 h 1538"/>
                <a:gd name="T4" fmla="*/ 76 w 917"/>
                <a:gd name="T5" fmla="*/ 666 h 1538"/>
                <a:gd name="T6" fmla="*/ 211 w 917"/>
                <a:gd name="T7" fmla="*/ 555 h 1538"/>
                <a:gd name="T8" fmla="*/ 274 w 917"/>
                <a:gd name="T9" fmla="*/ 357 h 1538"/>
                <a:gd name="T10" fmla="*/ 378 w 917"/>
                <a:gd name="T11" fmla="*/ 177 h 1538"/>
                <a:gd name="T12" fmla="*/ 485 w 917"/>
                <a:gd name="T13" fmla="*/ 66 h 1538"/>
                <a:gd name="T14" fmla="*/ 648 w 917"/>
                <a:gd name="T15" fmla="*/ 12 h 1538"/>
                <a:gd name="T16" fmla="*/ 865 w 917"/>
                <a:gd name="T17" fmla="*/ 151 h 1538"/>
                <a:gd name="T18" fmla="*/ 903 w 917"/>
                <a:gd name="T19" fmla="*/ 279 h 1538"/>
                <a:gd name="T20" fmla="*/ 903 w 917"/>
                <a:gd name="T21" fmla="*/ 362 h 1538"/>
                <a:gd name="T22" fmla="*/ 794 w 917"/>
                <a:gd name="T23" fmla="*/ 395 h 1538"/>
                <a:gd name="T24" fmla="*/ 778 w 917"/>
                <a:gd name="T25" fmla="*/ 428 h 1538"/>
                <a:gd name="T26" fmla="*/ 740 w 917"/>
                <a:gd name="T27" fmla="*/ 465 h 1538"/>
                <a:gd name="T28" fmla="*/ 697 w 917"/>
                <a:gd name="T29" fmla="*/ 510 h 1538"/>
                <a:gd name="T30" fmla="*/ 697 w 917"/>
                <a:gd name="T31" fmla="*/ 593 h 1538"/>
                <a:gd name="T32" fmla="*/ 589 w 917"/>
                <a:gd name="T33" fmla="*/ 666 h 1538"/>
                <a:gd name="T34" fmla="*/ 546 w 917"/>
                <a:gd name="T35" fmla="*/ 695 h 1538"/>
                <a:gd name="T36" fmla="*/ 501 w 917"/>
                <a:gd name="T37" fmla="*/ 749 h 1538"/>
                <a:gd name="T38" fmla="*/ 480 w 917"/>
                <a:gd name="T39" fmla="*/ 761 h 1538"/>
                <a:gd name="T40" fmla="*/ 463 w 917"/>
                <a:gd name="T41" fmla="*/ 806 h 1538"/>
                <a:gd name="T42" fmla="*/ 447 w 917"/>
                <a:gd name="T43" fmla="*/ 877 h 1538"/>
                <a:gd name="T44" fmla="*/ 433 w 917"/>
                <a:gd name="T45" fmla="*/ 910 h 1538"/>
                <a:gd name="T46" fmla="*/ 480 w 917"/>
                <a:gd name="T47" fmla="*/ 988 h 1538"/>
                <a:gd name="T48" fmla="*/ 539 w 917"/>
                <a:gd name="T49" fmla="*/ 1044 h 1538"/>
                <a:gd name="T50" fmla="*/ 555 w 917"/>
                <a:gd name="T51" fmla="*/ 1082 h 1538"/>
                <a:gd name="T52" fmla="*/ 470 w 917"/>
                <a:gd name="T53" fmla="*/ 1110 h 1538"/>
                <a:gd name="T54" fmla="*/ 454 w 917"/>
                <a:gd name="T55" fmla="*/ 1099 h 1538"/>
                <a:gd name="T56" fmla="*/ 454 w 917"/>
                <a:gd name="T57" fmla="*/ 1110 h 1538"/>
                <a:gd name="T58" fmla="*/ 395 w 917"/>
                <a:gd name="T59" fmla="*/ 1110 h 1538"/>
                <a:gd name="T60" fmla="*/ 437 w 917"/>
                <a:gd name="T61" fmla="*/ 1132 h 1538"/>
                <a:gd name="T62" fmla="*/ 534 w 917"/>
                <a:gd name="T63" fmla="*/ 1122 h 1538"/>
                <a:gd name="T64" fmla="*/ 454 w 917"/>
                <a:gd name="T65" fmla="*/ 1172 h 1538"/>
                <a:gd name="T66" fmla="*/ 383 w 917"/>
                <a:gd name="T67" fmla="*/ 1205 h 1538"/>
                <a:gd name="T68" fmla="*/ 383 w 917"/>
                <a:gd name="T69" fmla="*/ 1266 h 1538"/>
                <a:gd name="T70" fmla="*/ 383 w 917"/>
                <a:gd name="T71" fmla="*/ 1304 h 1538"/>
                <a:gd name="T72" fmla="*/ 371 w 917"/>
                <a:gd name="T73" fmla="*/ 1403 h 1538"/>
                <a:gd name="T74" fmla="*/ 215 w 917"/>
                <a:gd name="T75" fmla="*/ 1486 h 1538"/>
                <a:gd name="T76" fmla="*/ 130 w 917"/>
                <a:gd name="T77" fmla="*/ 1538 h 1538"/>
                <a:gd name="T78" fmla="*/ 123 w 917"/>
                <a:gd name="T79" fmla="*/ 1427 h 1538"/>
                <a:gd name="T80" fmla="*/ 69 w 917"/>
                <a:gd name="T81" fmla="*/ 1321 h 1538"/>
                <a:gd name="T82" fmla="*/ 55 w 917"/>
                <a:gd name="T83" fmla="*/ 1299 h 1538"/>
                <a:gd name="T84" fmla="*/ 5 w 917"/>
                <a:gd name="T85" fmla="*/ 1226 h 1538"/>
                <a:gd name="T86" fmla="*/ 31 w 917"/>
                <a:gd name="T87" fmla="*/ 1172 h 1538"/>
                <a:gd name="T88" fmla="*/ 485 w 917"/>
                <a:gd name="T89" fmla="*/ 761 h 1538"/>
                <a:gd name="T90" fmla="*/ 447 w 917"/>
                <a:gd name="T91" fmla="*/ 789 h 1538"/>
                <a:gd name="T92" fmla="*/ 508 w 917"/>
                <a:gd name="T93" fmla="*/ 999 h 1538"/>
                <a:gd name="T94" fmla="*/ 534 w 917"/>
                <a:gd name="T95" fmla="*/ 1099 h 1538"/>
                <a:gd name="T96" fmla="*/ 433 w 917"/>
                <a:gd name="T97" fmla="*/ 1115 h 1538"/>
                <a:gd name="T98" fmla="*/ 447 w 917"/>
                <a:gd name="T99" fmla="*/ 1115 h 1538"/>
                <a:gd name="T100" fmla="*/ 522 w 917"/>
                <a:gd name="T101" fmla="*/ 1132 h 1538"/>
                <a:gd name="T102" fmla="*/ 577 w 917"/>
                <a:gd name="T103" fmla="*/ 1226 h 1538"/>
                <a:gd name="T104" fmla="*/ 38 w 917"/>
                <a:gd name="T105" fmla="*/ 1238 h 1538"/>
                <a:gd name="T106" fmla="*/ 48 w 917"/>
                <a:gd name="T107" fmla="*/ 1259 h 1538"/>
                <a:gd name="T108" fmla="*/ 560 w 917"/>
                <a:gd name="T109" fmla="*/ 1283 h 1538"/>
                <a:gd name="T110" fmla="*/ 560 w 917"/>
                <a:gd name="T111" fmla="*/ 1283 h 1538"/>
                <a:gd name="T112" fmla="*/ 508 w 917"/>
                <a:gd name="T113" fmla="*/ 1354 h 1538"/>
                <a:gd name="T114" fmla="*/ 555 w 917"/>
                <a:gd name="T115" fmla="*/ 1276 h 1538"/>
                <a:gd name="T116" fmla="*/ 426 w 917"/>
                <a:gd name="T117" fmla="*/ 1337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7" h="1538">
                  <a:moveTo>
                    <a:pt x="31" y="1172"/>
                  </a:moveTo>
                  <a:lnTo>
                    <a:pt x="48" y="1132"/>
                  </a:lnTo>
                  <a:lnTo>
                    <a:pt x="38" y="1099"/>
                  </a:lnTo>
                  <a:lnTo>
                    <a:pt x="55" y="1082"/>
                  </a:lnTo>
                  <a:lnTo>
                    <a:pt x="48" y="1065"/>
                  </a:lnTo>
                  <a:lnTo>
                    <a:pt x="69" y="1065"/>
                  </a:lnTo>
                  <a:lnTo>
                    <a:pt x="92" y="1044"/>
                  </a:lnTo>
                  <a:lnTo>
                    <a:pt x="107" y="1004"/>
                  </a:lnTo>
                  <a:lnTo>
                    <a:pt x="76" y="943"/>
                  </a:lnTo>
                  <a:lnTo>
                    <a:pt x="107" y="943"/>
                  </a:lnTo>
                  <a:lnTo>
                    <a:pt x="123" y="910"/>
                  </a:lnTo>
                  <a:lnTo>
                    <a:pt x="69" y="860"/>
                  </a:lnTo>
                  <a:lnTo>
                    <a:pt x="85" y="806"/>
                  </a:lnTo>
                  <a:lnTo>
                    <a:pt x="69" y="765"/>
                  </a:lnTo>
                  <a:lnTo>
                    <a:pt x="59" y="732"/>
                  </a:lnTo>
                  <a:lnTo>
                    <a:pt x="76" y="721"/>
                  </a:lnTo>
                  <a:lnTo>
                    <a:pt x="59" y="695"/>
                  </a:lnTo>
                  <a:lnTo>
                    <a:pt x="76" y="666"/>
                  </a:lnTo>
                  <a:lnTo>
                    <a:pt x="69" y="654"/>
                  </a:lnTo>
                  <a:lnTo>
                    <a:pt x="107" y="617"/>
                  </a:lnTo>
                  <a:lnTo>
                    <a:pt x="130" y="600"/>
                  </a:lnTo>
                  <a:lnTo>
                    <a:pt x="199" y="612"/>
                  </a:lnTo>
                  <a:lnTo>
                    <a:pt x="215" y="584"/>
                  </a:lnTo>
                  <a:lnTo>
                    <a:pt x="211" y="555"/>
                  </a:lnTo>
                  <a:lnTo>
                    <a:pt x="178" y="543"/>
                  </a:lnTo>
                  <a:lnTo>
                    <a:pt x="237" y="456"/>
                  </a:lnTo>
                  <a:lnTo>
                    <a:pt x="237" y="428"/>
                  </a:lnTo>
                  <a:lnTo>
                    <a:pt x="248" y="395"/>
                  </a:lnTo>
                  <a:lnTo>
                    <a:pt x="237" y="362"/>
                  </a:lnTo>
                  <a:lnTo>
                    <a:pt x="274" y="357"/>
                  </a:lnTo>
                  <a:lnTo>
                    <a:pt x="307" y="338"/>
                  </a:lnTo>
                  <a:lnTo>
                    <a:pt x="303" y="317"/>
                  </a:lnTo>
                  <a:lnTo>
                    <a:pt x="371" y="251"/>
                  </a:lnTo>
                  <a:lnTo>
                    <a:pt x="371" y="229"/>
                  </a:lnTo>
                  <a:lnTo>
                    <a:pt x="345" y="206"/>
                  </a:lnTo>
                  <a:lnTo>
                    <a:pt x="378" y="177"/>
                  </a:lnTo>
                  <a:lnTo>
                    <a:pt x="395" y="140"/>
                  </a:lnTo>
                  <a:lnTo>
                    <a:pt x="433" y="118"/>
                  </a:lnTo>
                  <a:lnTo>
                    <a:pt x="480" y="140"/>
                  </a:lnTo>
                  <a:lnTo>
                    <a:pt x="492" y="111"/>
                  </a:lnTo>
                  <a:lnTo>
                    <a:pt x="485" y="78"/>
                  </a:lnTo>
                  <a:lnTo>
                    <a:pt x="485" y="66"/>
                  </a:lnTo>
                  <a:lnTo>
                    <a:pt x="546" y="66"/>
                  </a:lnTo>
                  <a:lnTo>
                    <a:pt x="615" y="95"/>
                  </a:lnTo>
                  <a:lnTo>
                    <a:pt x="643" y="66"/>
                  </a:lnTo>
                  <a:lnTo>
                    <a:pt x="615" y="62"/>
                  </a:lnTo>
                  <a:lnTo>
                    <a:pt x="648" y="28"/>
                  </a:lnTo>
                  <a:lnTo>
                    <a:pt x="648" y="12"/>
                  </a:lnTo>
                  <a:lnTo>
                    <a:pt x="631" y="0"/>
                  </a:lnTo>
                  <a:lnTo>
                    <a:pt x="664" y="0"/>
                  </a:lnTo>
                  <a:lnTo>
                    <a:pt x="766" y="66"/>
                  </a:lnTo>
                  <a:lnTo>
                    <a:pt x="827" y="83"/>
                  </a:lnTo>
                  <a:lnTo>
                    <a:pt x="879" y="140"/>
                  </a:lnTo>
                  <a:lnTo>
                    <a:pt x="865" y="151"/>
                  </a:lnTo>
                  <a:lnTo>
                    <a:pt x="865" y="194"/>
                  </a:lnTo>
                  <a:lnTo>
                    <a:pt x="886" y="206"/>
                  </a:lnTo>
                  <a:lnTo>
                    <a:pt x="886" y="222"/>
                  </a:lnTo>
                  <a:lnTo>
                    <a:pt x="879" y="222"/>
                  </a:lnTo>
                  <a:lnTo>
                    <a:pt x="874" y="234"/>
                  </a:lnTo>
                  <a:lnTo>
                    <a:pt x="903" y="279"/>
                  </a:lnTo>
                  <a:lnTo>
                    <a:pt x="896" y="284"/>
                  </a:lnTo>
                  <a:lnTo>
                    <a:pt x="896" y="305"/>
                  </a:lnTo>
                  <a:lnTo>
                    <a:pt x="879" y="321"/>
                  </a:lnTo>
                  <a:lnTo>
                    <a:pt x="879" y="338"/>
                  </a:lnTo>
                  <a:lnTo>
                    <a:pt x="886" y="357"/>
                  </a:lnTo>
                  <a:lnTo>
                    <a:pt x="903" y="362"/>
                  </a:lnTo>
                  <a:lnTo>
                    <a:pt x="917" y="395"/>
                  </a:lnTo>
                  <a:lnTo>
                    <a:pt x="848" y="399"/>
                  </a:lnTo>
                  <a:lnTo>
                    <a:pt x="841" y="411"/>
                  </a:lnTo>
                  <a:lnTo>
                    <a:pt x="811" y="390"/>
                  </a:lnTo>
                  <a:lnTo>
                    <a:pt x="811" y="399"/>
                  </a:lnTo>
                  <a:lnTo>
                    <a:pt x="794" y="395"/>
                  </a:lnTo>
                  <a:lnTo>
                    <a:pt x="789" y="395"/>
                  </a:lnTo>
                  <a:lnTo>
                    <a:pt x="778" y="416"/>
                  </a:lnTo>
                  <a:lnTo>
                    <a:pt x="794" y="416"/>
                  </a:lnTo>
                  <a:lnTo>
                    <a:pt x="794" y="428"/>
                  </a:lnTo>
                  <a:lnTo>
                    <a:pt x="752" y="411"/>
                  </a:lnTo>
                  <a:lnTo>
                    <a:pt x="778" y="428"/>
                  </a:lnTo>
                  <a:lnTo>
                    <a:pt x="756" y="432"/>
                  </a:lnTo>
                  <a:lnTo>
                    <a:pt x="766" y="444"/>
                  </a:lnTo>
                  <a:lnTo>
                    <a:pt x="756" y="449"/>
                  </a:lnTo>
                  <a:lnTo>
                    <a:pt x="723" y="449"/>
                  </a:lnTo>
                  <a:lnTo>
                    <a:pt x="740" y="456"/>
                  </a:lnTo>
                  <a:lnTo>
                    <a:pt x="740" y="465"/>
                  </a:lnTo>
                  <a:lnTo>
                    <a:pt x="711" y="449"/>
                  </a:lnTo>
                  <a:lnTo>
                    <a:pt x="740" y="473"/>
                  </a:lnTo>
                  <a:lnTo>
                    <a:pt x="735" y="489"/>
                  </a:lnTo>
                  <a:lnTo>
                    <a:pt x="711" y="501"/>
                  </a:lnTo>
                  <a:lnTo>
                    <a:pt x="711" y="510"/>
                  </a:lnTo>
                  <a:lnTo>
                    <a:pt x="697" y="510"/>
                  </a:lnTo>
                  <a:lnTo>
                    <a:pt x="718" y="522"/>
                  </a:lnTo>
                  <a:lnTo>
                    <a:pt x="718" y="527"/>
                  </a:lnTo>
                  <a:lnTo>
                    <a:pt x="702" y="527"/>
                  </a:lnTo>
                  <a:lnTo>
                    <a:pt x="735" y="543"/>
                  </a:lnTo>
                  <a:lnTo>
                    <a:pt x="735" y="560"/>
                  </a:lnTo>
                  <a:lnTo>
                    <a:pt x="697" y="593"/>
                  </a:lnTo>
                  <a:lnTo>
                    <a:pt x="681" y="621"/>
                  </a:lnTo>
                  <a:lnTo>
                    <a:pt x="659" y="633"/>
                  </a:lnTo>
                  <a:lnTo>
                    <a:pt x="648" y="650"/>
                  </a:lnTo>
                  <a:lnTo>
                    <a:pt x="615" y="654"/>
                  </a:lnTo>
                  <a:lnTo>
                    <a:pt x="605" y="671"/>
                  </a:lnTo>
                  <a:lnTo>
                    <a:pt x="589" y="666"/>
                  </a:lnTo>
                  <a:lnTo>
                    <a:pt x="589" y="671"/>
                  </a:lnTo>
                  <a:lnTo>
                    <a:pt x="572" y="671"/>
                  </a:lnTo>
                  <a:lnTo>
                    <a:pt x="572" y="688"/>
                  </a:lnTo>
                  <a:lnTo>
                    <a:pt x="555" y="695"/>
                  </a:lnTo>
                  <a:lnTo>
                    <a:pt x="555" y="704"/>
                  </a:lnTo>
                  <a:lnTo>
                    <a:pt x="546" y="695"/>
                  </a:lnTo>
                  <a:lnTo>
                    <a:pt x="539" y="695"/>
                  </a:lnTo>
                  <a:lnTo>
                    <a:pt x="546" y="704"/>
                  </a:lnTo>
                  <a:lnTo>
                    <a:pt x="534" y="704"/>
                  </a:lnTo>
                  <a:lnTo>
                    <a:pt x="501" y="721"/>
                  </a:lnTo>
                  <a:lnTo>
                    <a:pt x="522" y="728"/>
                  </a:lnTo>
                  <a:lnTo>
                    <a:pt x="501" y="749"/>
                  </a:lnTo>
                  <a:lnTo>
                    <a:pt x="480" y="744"/>
                  </a:lnTo>
                  <a:lnTo>
                    <a:pt x="470" y="728"/>
                  </a:lnTo>
                  <a:lnTo>
                    <a:pt x="463" y="728"/>
                  </a:lnTo>
                  <a:lnTo>
                    <a:pt x="485" y="749"/>
                  </a:lnTo>
                  <a:lnTo>
                    <a:pt x="485" y="761"/>
                  </a:lnTo>
                  <a:lnTo>
                    <a:pt x="480" y="761"/>
                  </a:lnTo>
                  <a:lnTo>
                    <a:pt x="485" y="765"/>
                  </a:lnTo>
                  <a:lnTo>
                    <a:pt x="463" y="782"/>
                  </a:lnTo>
                  <a:lnTo>
                    <a:pt x="437" y="777"/>
                  </a:lnTo>
                  <a:lnTo>
                    <a:pt x="437" y="782"/>
                  </a:lnTo>
                  <a:lnTo>
                    <a:pt x="437" y="799"/>
                  </a:lnTo>
                  <a:lnTo>
                    <a:pt x="463" y="806"/>
                  </a:lnTo>
                  <a:lnTo>
                    <a:pt x="447" y="806"/>
                  </a:lnTo>
                  <a:lnTo>
                    <a:pt x="447" y="839"/>
                  </a:lnTo>
                  <a:lnTo>
                    <a:pt x="437" y="839"/>
                  </a:lnTo>
                  <a:lnTo>
                    <a:pt x="437" y="855"/>
                  </a:lnTo>
                  <a:lnTo>
                    <a:pt x="447" y="872"/>
                  </a:lnTo>
                  <a:lnTo>
                    <a:pt x="447" y="877"/>
                  </a:lnTo>
                  <a:lnTo>
                    <a:pt x="426" y="872"/>
                  </a:lnTo>
                  <a:lnTo>
                    <a:pt x="433" y="872"/>
                  </a:lnTo>
                  <a:lnTo>
                    <a:pt x="416" y="877"/>
                  </a:lnTo>
                  <a:lnTo>
                    <a:pt x="433" y="893"/>
                  </a:lnTo>
                  <a:lnTo>
                    <a:pt x="416" y="900"/>
                  </a:lnTo>
                  <a:lnTo>
                    <a:pt x="433" y="910"/>
                  </a:lnTo>
                  <a:lnTo>
                    <a:pt x="426" y="950"/>
                  </a:lnTo>
                  <a:lnTo>
                    <a:pt x="433" y="966"/>
                  </a:lnTo>
                  <a:lnTo>
                    <a:pt x="433" y="983"/>
                  </a:lnTo>
                  <a:lnTo>
                    <a:pt x="454" y="988"/>
                  </a:lnTo>
                  <a:lnTo>
                    <a:pt x="463" y="999"/>
                  </a:lnTo>
                  <a:lnTo>
                    <a:pt x="480" y="988"/>
                  </a:lnTo>
                  <a:lnTo>
                    <a:pt x="501" y="1021"/>
                  </a:lnTo>
                  <a:lnTo>
                    <a:pt x="518" y="1021"/>
                  </a:lnTo>
                  <a:lnTo>
                    <a:pt x="522" y="1028"/>
                  </a:lnTo>
                  <a:lnTo>
                    <a:pt x="508" y="1021"/>
                  </a:lnTo>
                  <a:lnTo>
                    <a:pt x="508" y="1037"/>
                  </a:lnTo>
                  <a:lnTo>
                    <a:pt x="539" y="1044"/>
                  </a:lnTo>
                  <a:lnTo>
                    <a:pt x="546" y="1061"/>
                  </a:lnTo>
                  <a:lnTo>
                    <a:pt x="555" y="1065"/>
                  </a:lnTo>
                  <a:lnTo>
                    <a:pt x="555" y="1077"/>
                  </a:lnTo>
                  <a:lnTo>
                    <a:pt x="546" y="1065"/>
                  </a:lnTo>
                  <a:lnTo>
                    <a:pt x="539" y="1077"/>
                  </a:lnTo>
                  <a:lnTo>
                    <a:pt x="555" y="1082"/>
                  </a:lnTo>
                  <a:lnTo>
                    <a:pt x="501" y="1110"/>
                  </a:lnTo>
                  <a:lnTo>
                    <a:pt x="508" y="1115"/>
                  </a:lnTo>
                  <a:lnTo>
                    <a:pt x="492" y="1115"/>
                  </a:lnTo>
                  <a:lnTo>
                    <a:pt x="485" y="1122"/>
                  </a:lnTo>
                  <a:lnTo>
                    <a:pt x="470" y="1115"/>
                  </a:lnTo>
                  <a:lnTo>
                    <a:pt x="470" y="1110"/>
                  </a:lnTo>
                  <a:lnTo>
                    <a:pt x="463" y="1094"/>
                  </a:lnTo>
                  <a:lnTo>
                    <a:pt x="454" y="1094"/>
                  </a:lnTo>
                  <a:lnTo>
                    <a:pt x="463" y="1082"/>
                  </a:lnTo>
                  <a:lnTo>
                    <a:pt x="454" y="1077"/>
                  </a:lnTo>
                  <a:lnTo>
                    <a:pt x="447" y="1094"/>
                  </a:lnTo>
                  <a:lnTo>
                    <a:pt x="454" y="1099"/>
                  </a:lnTo>
                  <a:lnTo>
                    <a:pt x="447" y="1082"/>
                  </a:lnTo>
                  <a:lnTo>
                    <a:pt x="454" y="1082"/>
                  </a:lnTo>
                  <a:lnTo>
                    <a:pt x="454" y="1094"/>
                  </a:lnTo>
                  <a:lnTo>
                    <a:pt x="470" y="1099"/>
                  </a:lnTo>
                  <a:lnTo>
                    <a:pt x="463" y="1115"/>
                  </a:lnTo>
                  <a:lnTo>
                    <a:pt x="454" y="1110"/>
                  </a:lnTo>
                  <a:lnTo>
                    <a:pt x="437" y="1094"/>
                  </a:lnTo>
                  <a:lnTo>
                    <a:pt x="437" y="1110"/>
                  </a:lnTo>
                  <a:lnTo>
                    <a:pt x="378" y="1099"/>
                  </a:lnTo>
                  <a:lnTo>
                    <a:pt x="378" y="1110"/>
                  </a:lnTo>
                  <a:lnTo>
                    <a:pt x="345" y="1110"/>
                  </a:lnTo>
                  <a:lnTo>
                    <a:pt x="395" y="1110"/>
                  </a:lnTo>
                  <a:lnTo>
                    <a:pt x="409" y="1122"/>
                  </a:lnTo>
                  <a:lnTo>
                    <a:pt x="395" y="1110"/>
                  </a:lnTo>
                  <a:lnTo>
                    <a:pt x="400" y="1110"/>
                  </a:lnTo>
                  <a:lnTo>
                    <a:pt x="433" y="1122"/>
                  </a:lnTo>
                  <a:lnTo>
                    <a:pt x="433" y="1132"/>
                  </a:lnTo>
                  <a:lnTo>
                    <a:pt x="437" y="1132"/>
                  </a:lnTo>
                  <a:lnTo>
                    <a:pt x="437" y="1122"/>
                  </a:lnTo>
                  <a:lnTo>
                    <a:pt x="470" y="1132"/>
                  </a:lnTo>
                  <a:lnTo>
                    <a:pt x="501" y="1122"/>
                  </a:lnTo>
                  <a:lnTo>
                    <a:pt x="518" y="1122"/>
                  </a:lnTo>
                  <a:lnTo>
                    <a:pt x="518" y="1115"/>
                  </a:lnTo>
                  <a:lnTo>
                    <a:pt x="534" y="1122"/>
                  </a:lnTo>
                  <a:lnTo>
                    <a:pt x="501" y="1132"/>
                  </a:lnTo>
                  <a:lnTo>
                    <a:pt x="501" y="1148"/>
                  </a:lnTo>
                  <a:lnTo>
                    <a:pt x="485" y="1155"/>
                  </a:lnTo>
                  <a:lnTo>
                    <a:pt x="480" y="1181"/>
                  </a:lnTo>
                  <a:lnTo>
                    <a:pt x="463" y="1139"/>
                  </a:lnTo>
                  <a:lnTo>
                    <a:pt x="454" y="1172"/>
                  </a:lnTo>
                  <a:lnTo>
                    <a:pt x="437" y="1188"/>
                  </a:lnTo>
                  <a:lnTo>
                    <a:pt x="416" y="1188"/>
                  </a:lnTo>
                  <a:lnTo>
                    <a:pt x="426" y="1193"/>
                  </a:lnTo>
                  <a:lnTo>
                    <a:pt x="409" y="1205"/>
                  </a:lnTo>
                  <a:lnTo>
                    <a:pt x="357" y="1205"/>
                  </a:lnTo>
                  <a:lnTo>
                    <a:pt x="383" y="1205"/>
                  </a:lnTo>
                  <a:lnTo>
                    <a:pt x="409" y="1221"/>
                  </a:lnTo>
                  <a:lnTo>
                    <a:pt x="371" y="1221"/>
                  </a:lnTo>
                  <a:lnTo>
                    <a:pt x="395" y="1226"/>
                  </a:lnTo>
                  <a:lnTo>
                    <a:pt x="400" y="1243"/>
                  </a:lnTo>
                  <a:lnTo>
                    <a:pt x="395" y="1266"/>
                  </a:lnTo>
                  <a:lnTo>
                    <a:pt x="383" y="1266"/>
                  </a:lnTo>
                  <a:lnTo>
                    <a:pt x="395" y="1283"/>
                  </a:lnTo>
                  <a:lnTo>
                    <a:pt x="378" y="1266"/>
                  </a:lnTo>
                  <a:lnTo>
                    <a:pt x="395" y="1292"/>
                  </a:lnTo>
                  <a:lnTo>
                    <a:pt x="371" y="1276"/>
                  </a:lnTo>
                  <a:lnTo>
                    <a:pt x="395" y="1299"/>
                  </a:lnTo>
                  <a:lnTo>
                    <a:pt x="383" y="1304"/>
                  </a:lnTo>
                  <a:lnTo>
                    <a:pt x="395" y="1321"/>
                  </a:lnTo>
                  <a:lnTo>
                    <a:pt x="378" y="1337"/>
                  </a:lnTo>
                  <a:lnTo>
                    <a:pt x="378" y="1354"/>
                  </a:lnTo>
                  <a:lnTo>
                    <a:pt x="383" y="1358"/>
                  </a:lnTo>
                  <a:lnTo>
                    <a:pt x="378" y="1370"/>
                  </a:lnTo>
                  <a:lnTo>
                    <a:pt x="371" y="1403"/>
                  </a:lnTo>
                  <a:lnTo>
                    <a:pt x="329" y="1465"/>
                  </a:lnTo>
                  <a:lnTo>
                    <a:pt x="319" y="1460"/>
                  </a:lnTo>
                  <a:lnTo>
                    <a:pt x="253" y="1460"/>
                  </a:lnTo>
                  <a:lnTo>
                    <a:pt x="253" y="1469"/>
                  </a:lnTo>
                  <a:lnTo>
                    <a:pt x="237" y="1465"/>
                  </a:lnTo>
                  <a:lnTo>
                    <a:pt x="215" y="1486"/>
                  </a:lnTo>
                  <a:lnTo>
                    <a:pt x="215" y="1505"/>
                  </a:lnTo>
                  <a:lnTo>
                    <a:pt x="232" y="1521"/>
                  </a:lnTo>
                  <a:lnTo>
                    <a:pt x="215" y="1538"/>
                  </a:lnTo>
                  <a:lnTo>
                    <a:pt x="182" y="1526"/>
                  </a:lnTo>
                  <a:lnTo>
                    <a:pt x="156" y="1538"/>
                  </a:lnTo>
                  <a:lnTo>
                    <a:pt x="130" y="1538"/>
                  </a:lnTo>
                  <a:lnTo>
                    <a:pt x="123" y="1521"/>
                  </a:lnTo>
                  <a:lnTo>
                    <a:pt x="140" y="1505"/>
                  </a:lnTo>
                  <a:lnTo>
                    <a:pt x="92" y="1443"/>
                  </a:lnTo>
                  <a:lnTo>
                    <a:pt x="123" y="1448"/>
                  </a:lnTo>
                  <a:lnTo>
                    <a:pt x="107" y="1432"/>
                  </a:lnTo>
                  <a:lnTo>
                    <a:pt x="123" y="1427"/>
                  </a:lnTo>
                  <a:lnTo>
                    <a:pt x="123" y="1410"/>
                  </a:lnTo>
                  <a:lnTo>
                    <a:pt x="114" y="1410"/>
                  </a:lnTo>
                  <a:lnTo>
                    <a:pt x="102" y="1387"/>
                  </a:lnTo>
                  <a:lnTo>
                    <a:pt x="85" y="1377"/>
                  </a:lnTo>
                  <a:lnTo>
                    <a:pt x="69" y="1349"/>
                  </a:lnTo>
                  <a:lnTo>
                    <a:pt x="69" y="1321"/>
                  </a:lnTo>
                  <a:lnTo>
                    <a:pt x="59" y="1321"/>
                  </a:lnTo>
                  <a:lnTo>
                    <a:pt x="59" y="1337"/>
                  </a:lnTo>
                  <a:lnTo>
                    <a:pt x="55" y="1332"/>
                  </a:lnTo>
                  <a:lnTo>
                    <a:pt x="55" y="1304"/>
                  </a:lnTo>
                  <a:lnTo>
                    <a:pt x="55" y="1299"/>
                  </a:lnTo>
                  <a:lnTo>
                    <a:pt x="55" y="1299"/>
                  </a:lnTo>
                  <a:lnTo>
                    <a:pt x="38" y="1299"/>
                  </a:lnTo>
                  <a:lnTo>
                    <a:pt x="38" y="1283"/>
                  </a:lnTo>
                  <a:lnTo>
                    <a:pt x="55" y="1243"/>
                  </a:lnTo>
                  <a:lnTo>
                    <a:pt x="48" y="1238"/>
                  </a:lnTo>
                  <a:lnTo>
                    <a:pt x="31" y="1243"/>
                  </a:lnTo>
                  <a:lnTo>
                    <a:pt x="5" y="1226"/>
                  </a:lnTo>
                  <a:lnTo>
                    <a:pt x="5" y="1181"/>
                  </a:lnTo>
                  <a:lnTo>
                    <a:pt x="0" y="1165"/>
                  </a:lnTo>
                  <a:lnTo>
                    <a:pt x="15" y="1148"/>
                  </a:lnTo>
                  <a:lnTo>
                    <a:pt x="22" y="1165"/>
                  </a:lnTo>
                  <a:lnTo>
                    <a:pt x="22" y="1172"/>
                  </a:lnTo>
                  <a:lnTo>
                    <a:pt x="31" y="1172"/>
                  </a:lnTo>
                  <a:lnTo>
                    <a:pt x="31" y="1172"/>
                  </a:lnTo>
                  <a:lnTo>
                    <a:pt x="31" y="1172"/>
                  </a:lnTo>
                  <a:close/>
                  <a:moveTo>
                    <a:pt x="485" y="761"/>
                  </a:moveTo>
                  <a:lnTo>
                    <a:pt x="485" y="749"/>
                  </a:lnTo>
                  <a:lnTo>
                    <a:pt x="492" y="749"/>
                  </a:lnTo>
                  <a:lnTo>
                    <a:pt x="485" y="761"/>
                  </a:lnTo>
                  <a:lnTo>
                    <a:pt x="485" y="761"/>
                  </a:lnTo>
                  <a:lnTo>
                    <a:pt x="485" y="761"/>
                  </a:lnTo>
                  <a:close/>
                  <a:moveTo>
                    <a:pt x="447" y="799"/>
                  </a:moveTo>
                  <a:lnTo>
                    <a:pt x="437" y="782"/>
                  </a:lnTo>
                  <a:lnTo>
                    <a:pt x="447" y="782"/>
                  </a:lnTo>
                  <a:lnTo>
                    <a:pt x="447" y="789"/>
                  </a:lnTo>
                  <a:lnTo>
                    <a:pt x="447" y="799"/>
                  </a:lnTo>
                  <a:lnTo>
                    <a:pt x="447" y="799"/>
                  </a:lnTo>
                  <a:lnTo>
                    <a:pt x="447" y="799"/>
                  </a:lnTo>
                  <a:close/>
                  <a:moveTo>
                    <a:pt x="522" y="1021"/>
                  </a:moveTo>
                  <a:lnTo>
                    <a:pt x="508" y="1011"/>
                  </a:lnTo>
                  <a:lnTo>
                    <a:pt x="508" y="999"/>
                  </a:lnTo>
                  <a:lnTo>
                    <a:pt x="522" y="1021"/>
                  </a:lnTo>
                  <a:lnTo>
                    <a:pt x="522" y="1021"/>
                  </a:lnTo>
                  <a:lnTo>
                    <a:pt x="522" y="1021"/>
                  </a:lnTo>
                  <a:close/>
                  <a:moveTo>
                    <a:pt x="522" y="1115"/>
                  </a:moveTo>
                  <a:lnTo>
                    <a:pt x="522" y="1110"/>
                  </a:lnTo>
                  <a:lnTo>
                    <a:pt x="534" y="1099"/>
                  </a:lnTo>
                  <a:lnTo>
                    <a:pt x="522" y="1115"/>
                  </a:lnTo>
                  <a:lnTo>
                    <a:pt x="522" y="1115"/>
                  </a:lnTo>
                  <a:lnTo>
                    <a:pt x="522" y="1115"/>
                  </a:lnTo>
                  <a:close/>
                  <a:moveTo>
                    <a:pt x="433" y="1122"/>
                  </a:moveTo>
                  <a:lnTo>
                    <a:pt x="416" y="1115"/>
                  </a:lnTo>
                  <a:lnTo>
                    <a:pt x="433" y="1115"/>
                  </a:lnTo>
                  <a:lnTo>
                    <a:pt x="433" y="1122"/>
                  </a:lnTo>
                  <a:lnTo>
                    <a:pt x="433" y="1122"/>
                  </a:lnTo>
                  <a:lnTo>
                    <a:pt x="433" y="1122"/>
                  </a:lnTo>
                  <a:close/>
                  <a:moveTo>
                    <a:pt x="470" y="1132"/>
                  </a:moveTo>
                  <a:lnTo>
                    <a:pt x="454" y="1132"/>
                  </a:lnTo>
                  <a:lnTo>
                    <a:pt x="447" y="1115"/>
                  </a:lnTo>
                  <a:lnTo>
                    <a:pt x="470" y="1132"/>
                  </a:lnTo>
                  <a:lnTo>
                    <a:pt x="470" y="1132"/>
                  </a:lnTo>
                  <a:lnTo>
                    <a:pt x="470" y="1132"/>
                  </a:lnTo>
                  <a:close/>
                  <a:moveTo>
                    <a:pt x="518" y="1139"/>
                  </a:moveTo>
                  <a:lnTo>
                    <a:pt x="508" y="1132"/>
                  </a:lnTo>
                  <a:lnTo>
                    <a:pt x="522" y="1132"/>
                  </a:lnTo>
                  <a:lnTo>
                    <a:pt x="518" y="1139"/>
                  </a:lnTo>
                  <a:lnTo>
                    <a:pt x="518" y="1139"/>
                  </a:lnTo>
                  <a:lnTo>
                    <a:pt x="518" y="1139"/>
                  </a:lnTo>
                  <a:close/>
                  <a:moveTo>
                    <a:pt x="572" y="1238"/>
                  </a:moveTo>
                  <a:lnTo>
                    <a:pt x="560" y="1226"/>
                  </a:lnTo>
                  <a:lnTo>
                    <a:pt x="577" y="1226"/>
                  </a:lnTo>
                  <a:lnTo>
                    <a:pt x="572" y="1238"/>
                  </a:lnTo>
                  <a:lnTo>
                    <a:pt x="572" y="1238"/>
                  </a:lnTo>
                  <a:lnTo>
                    <a:pt x="572" y="1238"/>
                  </a:lnTo>
                  <a:close/>
                  <a:moveTo>
                    <a:pt x="22" y="1259"/>
                  </a:moveTo>
                  <a:lnTo>
                    <a:pt x="22" y="1250"/>
                  </a:lnTo>
                  <a:lnTo>
                    <a:pt x="38" y="1238"/>
                  </a:lnTo>
                  <a:lnTo>
                    <a:pt x="48" y="1243"/>
                  </a:lnTo>
                  <a:lnTo>
                    <a:pt x="48" y="1250"/>
                  </a:lnTo>
                  <a:lnTo>
                    <a:pt x="22" y="1259"/>
                  </a:lnTo>
                  <a:lnTo>
                    <a:pt x="22" y="1259"/>
                  </a:lnTo>
                  <a:lnTo>
                    <a:pt x="22" y="1259"/>
                  </a:lnTo>
                  <a:close/>
                  <a:moveTo>
                    <a:pt x="48" y="1259"/>
                  </a:moveTo>
                  <a:lnTo>
                    <a:pt x="31" y="1276"/>
                  </a:lnTo>
                  <a:lnTo>
                    <a:pt x="31" y="1266"/>
                  </a:lnTo>
                  <a:lnTo>
                    <a:pt x="48" y="1259"/>
                  </a:lnTo>
                  <a:lnTo>
                    <a:pt x="48" y="1259"/>
                  </a:lnTo>
                  <a:lnTo>
                    <a:pt x="48" y="1259"/>
                  </a:lnTo>
                  <a:close/>
                  <a:moveTo>
                    <a:pt x="560" y="1283"/>
                  </a:moveTo>
                  <a:lnTo>
                    <a:pt x="555" y="1276"/>
                  </a:lnTo>
                  <a:lnTo>
                    <a:pt x="560" y="1266"/>
                  </a:lnTo>
                  <a:lnTo>
                    <a:pt x="577" y="1266"/>
                  </a:lnTo>
                  <a:lnTo>
                    <a:pt x="560" y="1276"/>
                  </a:lnTo>
                  <a:lnTo>
                    <a:pt x="560" y="1283"/>
                  </a:lnTo>
                  <a:lnTo>
                    <a:pt x="560" y="1283"/>
                  </a:lnTo>
                  <a:lnTo>
                    <a:pt x="560" y="1283"/>
                  </a:lnTo>
                  <a:close/>
                  <a:moveTo>
                    <a:pt x="555" y="1276"/>
                  </a:moveTo>
                  <a:lnTo>
                    <a:pt x="555" y="1283"/>
                  </a:lnTo>
                  <a:lnTo>
                    <a:pt x="539" y="1299"/>
                  </a:lnTo>
                  <a:lnTo>
                    <a:pt x="534" y="1349"/>
                  </a:lnTo>
                  <a:lnTo>
                    <a:pt x="508" y="1354"/>
                  </a:lnTo>
                  <a:lnTo>
                    <a:pt x="501" y="1377"/>
                  </a:lnTo>
                  <a:lnTo>
                    <a:pt x="492" y="1377"/>
                  </a:lnTo>
                  <a:lnTo>
                    <a:pt x="501" y="1370"/>
                  </a:lnTo>
                  <a:lnTo>
                    <a:pt x="492" y="1316"/>
                  </a:lnTo>
                  <a:lnTo>
                    <a:pt x="534" y="1276"/>
                  </a:lnTo>
                  <a:lnTo>
                    <a:pt x="555" y="1276"/>
                  </a:lnTo>
                  <a:lnTo>
                    <a:pt x="555" y="1276"/>
                  </a:lnTo>
                  <a:lnTo>
                    <a:pt x="555" y="1276"/>
                  </a:lnTo>
                  <a:close/>
                  <a:moveTo>
                    <a:pt x="371" y="1448"/>
                  </a:moveTo>
                  <a:lnTo>
                    <a:pt x="371" y="1410"/>
                  </a:lnTo>
                  <a:lnTo>
                    <a:pt x="409" y="1337"/>
                  </a:lnTo>
                  <a:lnTo>
                    <a:pt x="426" y="1337"/>
                  </a:lnTo>
                  <a:lnTo>
                    <a:pt x="371" y="1448"/>
                  </a:lnTo>
                  <a:lnTo>
                    <a:pt x="371" y="1448"/>
                  </a:lnTo>
                  <a:lnTo>
                    <a:pt x="371" y="1448"/>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1" name="Freeform 562">
              <a:extLst>
                <a:ext uri="{FF2B5EF4-FFF2-40B4-BE49-F238E27FC236}">
                  <a16:creationId xmlns:a16="http://schemas.microsoft.com/office/drawing/2014/main" id="{D0C7C51D-001D-4C28-BFD9-BFE0EBACBB8B}"/>
                </a:ext>
              </a:extLst>
            </p:cNvPr>
            <p:cNvSpPr>
              <a:spLocks noEditPoints="1"/>
            </p:cNvSpPr>
            <p:nvPr/>
          </p:nvSpPr>
          <p:spPr bwMode="gray">
            <a:xfrm>
              <a:off x="12869956" y="5527673"/>
              <a:ext cx="270020" cy="170194"/>
            </a:xfrm>
            <a:custGeom>
              <a:avLst/>
              <a:gdLst>
                <a:gd name="T0" fmla="*/ 81 w 825"/>
                <a:gd name="T1" fmla="*/ 33 h 520"/>
                <a:gd name="T2" fmla="*/ 64 w 825"/>
                <a:gd name="T3" fmla="*/ 29 h 520"/>
                <a:gd name="T4" fmla="*/ 50 w 825"/>
                <a:gd name="T5" fmla="*/ 29 h 520"/>
                <a:gd name="T6" fmla="*/ 50 w 825"/>
                <a:gd name="T7" fmla="*/ 17 h 520"/>
                <a:gd name="T8" fmla="*/ 55 w 825"/>
                <a:gd name="T9" fmla="*/ 17 h 520"/>
                <a:gd name="T10" fmla="*/ 33 w 825"/>
                <a:gd name="T11" fmla="*/ 17 h 520"/>
                <a:gd name="T12" fmla="*/ 26 w 825"/>
                <a:gd name="T13" fmla="*/ 10 h 520"/>
                <a:gd name="T14" fmla="*/ 33 w 825"/>
                <a:gd name="T15" fmla="*/ 10 h 520"/>
                <a:gd name="T16" fmla="*/ 0 w 825"/>
                <a:gd name="T17" fmla="*/ 0 h 520"/>
                <a:gd name="T18" fmla="*/ 102 w 825"/>
                <a:gd name="T19" fmla="*/ 10 h 520"/>
                <a:gd name="T20" fmla="*/ 102 w 825"/>
                <a:gd name="T21" fmla="*/ 29 h 520"/>
                <a:gd name="T22" fmla="*/ 102 w 825"/>
                <a:gd name="T23" fmla="*/ 29 h 520"/>
                <a:gd name="T24" fmla="*/ 109 w 825"/>
                <a:gd name="T25" fmla="*/ 29 h 520"/>
                <a:gd name="T26" fmla="*/ 123 w 825"/>
                <a:gd name="T27" fmla="*/ 45 h 520"/>
                <a:gd name="T28" fmla="*/ 118 w 825"/>
                <a:gd name="T29" fmla="*/ 29 h 520"/>
                <a:gd name="T30" fmla="*/ 123 w 825"/>
                <a:gd name="T31" fmla="*/ 29 h 520"/>
                <a:gd name="T32" fmla="*/ 140 w 825"/>
                <a:gd name="T33" fmla="*/ 55 h 520"/>
                <a:gd name="T34" fmla="*/ 161 w 825"/>
                <a:gd name="T35" fmla="*/ 83 h 520"/>
                <a:gd name="T36" fmla="*/ 140 w 825"/>
                <a:gd name="T37" fmla="*/ 83 h 520"/>
                <a:gd name="T38" fmla="*/ 147 w 825"/>
                <a:gd name="T39" fmla="*/ 90 h 520"/>
                <a:gd name="T40" fmla="*/ 140 w 825"/>
                <a:gd name="T41" fmla="*/ 90 h 520"/>
                <a:gd name="T42" fmla="*/ 109 w 825"/>
                <a:gd name="T43" fmla="*/ 55 h 520"/>
                <a:gd name="T44" fmla="*/ 81 w 825"/>
                <a:gd name="T45" fmla="*/ 33 h 520"/>
                <a:gd name="T46" fmla="*/ 81 w 825"/>
                <a:gd name="T47" fmla="*/ 33 h 520"/>
                <a:gd name="T48" fmla="*/ 81 w 825"/>
                <a:gd name="T49" fmla="*/ 33 h 520"/>
                <a:gd name="T50" fmla="*/ 766 w 825"/>
                <a:gd name="T51" fmla="*/ 279 h 520"/>
                <a:gd name="T52" fmla="*/ 766 w 825"/>
                <a:gd name="T53" fmla="*/ 274 h 520"/>
                <a:gd name="T54" fmla="*/ 770 w 825"/>
                <a:gd name="T55" fmla="*/ 274 h 520"/>
                <a:gd name="T56" fmla="*/ 766 w 825"/>
                <a:gd name="T57" fmla="*/ 279 h 520"/>
                <a:gd name="T58" fmla="*/ 766 w 825"/>
                <a:gd name="T59" fmla="*/ 279 h 520"/>
                <a:gd name="T60" fmla="*/ 766 w 825"/>
                <a:gd name="T61" fmla="*/ 279 h 520"/>
                <a:gd name="T62" fmla="*/ 820 w 825"/>
                <a:gd name="T63" fmla="*/ 397 h 520"/>
                <a:gd name="T64" fmla="*/ 808 w 825"/>
                <a:gd name="T65" fmla="*/ 385 h 520"/>
                <a:gd name="T66" fmla="*/ 820 w 825"/>
                <a:gd name="T67" fmla="*/ 385 h 520"/>
                <a:gd name="T68" fmla="*/ 820 w 825"/>
                <a:gd name="T69" fmla="*/ 397 h 520"/>
                <a:gd name="T70" fmla="*/ 820 w 825"/>
                <a:gd name="T71" fmla="*/ 397 h 520"/>
                <a:gd name="T72" fmla="*/ 820 w 825"/>
                <a:gd name="T73" fmla="*/ 397 h 520"/>
                <a:gd name="T74" fmla="*/ 825 w 825"/>
                <a:gd name="T75" fmla="*/ 463 h 520"/>
                <a:gd name="T76" fmla="*/ 808 w 825"/>
                <a:gd name="T77" fmla="*/ 459 h 520"/>
                <a:gd name="T78" fmla="*/ 825 w 825"/>
                <a:gd name="T79" fmla="*/ 451 h 520"/>
                <a:gd name="T80" fmla="*/ 825 w 825"/>
                <a:gd name="T81" fmla="*/ 463 h 520"/>
                <a:gd name="T82" fmla="*/ 825 w 825"/>
                <a:gd name="T83" fmla="*/ 463 h 520"/>
                <a:gd name="T84" fmla="*/ 825 w 825"/>
                <a:gd name="T85" fmla="*/ 463 h 520"/>
                <a:gd name="T86" fmla="*/ 803 w 825"/>
                <a:gd name="T87" fmla="*/ 520 h 520"/>
                <a:gd name="T88" fmla="*/ 803 w 825"/>
                <a:gd name="T89" fmla="*/ 520 h 520"/>
                <a:gd name="T90" fmla="*/ 808 w 825"/>
                <a:gd name="T91" fmla="*/ 520 h 520"/>
                <a:gd name="T92" fmla="*/ 803 w 825"/>
                <a:gd name="T93" fmla="*/ 520 h 520"/>
                <a:gd name="T94" fmla="*/ 803 w 825"/>
                <a:gd name="T95" fmla="*/ 520 h 520"/>
                <a:gd name="T96" fmla="*/ 803 w 825"/>
                <a:gd name="T97" fmla="*/ 52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5" h="520">
                  <a:moveTo>
                    <a:pt x="81" y="33"/>
                  </a:moveTo>
                  <a:lnTo>
                    <a:pt x="64" y="29"/>
                  </a:lnTo>
                  <a:lnTo>
                    <a:pt x="50" y="29"/>
                  </a:lnTo>
                  <a:lnTo>
                    <a:pt x="50" y="17"/>
                  </a:lnTo>
                  <a:lnTo>
                    <a:pt x="55" y="17"/>
                  </a:lnTo>
                  <a:lnTo>
                    <a:pt x="33" y="17"/>
                  </a:lnTo>
                  <a:lnTo>
                    <a:pt x="26" y="10"/>
                  </a:lnTo>
                  <a:lnTo>
                    <a:pt x="33" y="10"/>
                  </a:lnTo>
                  <a:lnTo>
                    <a:pt x="0" y="0"/>
                  </a:lnTo>
                  <a:lnTo>
                    <a:pt x="102" y="10"/>
                  </a:lnTo>
                  <a:lnTo>
                    <a:pt x="102" y="29"/>
                  </a:lnTo>
                  <a:lnTo>
                    <a:pt x="102" y="29"/>
                  </a:lnTo>
                  <a:lnTo>
                    <a:pt x="109" y="29"/>
                  </a:lnTo>
                  <a:lnTo>
                    <a:pt x="123" y="45"/>
                  </a:lnTo>
                  <a:lnTo>
                    <a:pt x="118" y="29"/>
                  </a:lnTo>
                  <a:lnTo>
                    <a:pt x="123" y="29"/>
                  </a:lnTo>
                  <a:lnTo>
                    <a:pt x="140" y="55"/>
                  </a:lnTo>
                  <a:lnTo>
                    <a:pt x="161" y="83"/>
                  </a:lnTo>
                  <a:lnTo>
                    <a:pt x="140" y="83"/>
                  </a:lnTo>
                  <a:lnTo>
                    <a:pt x="147" y="90"/>
                  </a:lnTo>
                  <a:lnTo>
                    <a:pt x="140" y="90"/>
                  </a:lnTo>
                  <a:lnTo>
                    <a:pt x="109" y="55"/>
                  </a:lnTo>
                  <a:lnTo>
                    <a:pt x="81" y="33"/>
                  </a:lnTo>
                  <a:lnTo>
                    <a:pt x="81" y="33"/>
                  </a:lnTo>
                  <a:lnTo>
                    <a:pt x="81" y="33"/>
                  </a:lnTo>
                  <a:close/>
                  <a:moveTo>
                    <a:pt x="766" y="279"/>
                  </a:moveTo>
                  <a:lnTo>
                    <a:pt x="766" y="274"/>
                  </a:lnTo>
                  <a:lnTo>
                    <a:pt x="770" y="274"/>
                  </a:lnTo>
                  <a:lnTo>
                    <a:pt x="766" y="279"/>
                  </a:lnTo>
                  <a:lnTo>
                    <a:pt x="766" y="279"/>
                  </a:lnTo>
                  <a:lnTo>
                    <a:pt x="766" y="279"/>
                  </a:lnTo>
                  <a:close/>
                  <a:moveTo>
                    <a:pt x="820" y="397"/>
                  </a:moveTo>
                  <a:lnTo>
                    <a:pt x="808" y="385"/>
                  </a:lnTo>
                  <a:lnTo>
                    <a:pt x="820" y="385"/>
                  </a:lnTo>
                  <a:lnTo>
                    <a:pt x="820" y="397"/>
                  </a:lnTo>
                  <a:lnTo>
                    <a:pt x="820" y="397"/>
                  </a:lnTo>
                  <a:lnTo>
                    <a:pt x="820" y="397"/>
                  </a:lnTo>
                  <a:close/>
                  <a:moveTo>
                    <a:pt x="825" y="463"/>
                  </a:moveTo>
                  <a:lnTo>
                    <a:pt x="808" y="459"/>
                  </a:lnTo>
                  <a:lnTo>
                    <a:pt x="825" y="451"/>
                  </a:lnTo>
                  <a:lnTo>
                    <a:pt x="825" y="463"/>
                  </a:lnTo>
                  <a:lnTo>
                    <a:pt x="825" y="463"/>
                  </a:lnTo>
                  <a:lnTo>
                    <a:pt x="825" y="463"/>
                  </a:lnTo>
                  <a:close/>
                  <a:moveTo>
                    <a:pt x="803" y="520"/>
                  </a:moveTo>
                  <a:lnTo>
                    <a:pt x="803" y="520"/>
                  </a:lnTo>
                  <a:lnTo>
                    <a:pt x="808" y="520"/>
                  </a:lnTo>
                  <a:lnTo>
                    <a:pt x="803" y="520"/>
                  </a:lnTo>
                  <a:lnTo>
                    <a:pt x="803" y="520"/>
                  </a:lnTo>
                  <a:lnTo>
                    <a:pt x="803" y="52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2" name="Freeform 563">
              <a:extLst>
                <a:ext uri="{FF2B5EF4-FFF2-40B4-BE49-F238E27FC236}">
                  <a16:creationId xmlns:a16="http://schemas.microsoft.com/office/drawing/2014/main" id="{CC9B5701-D20B-42CD-B624-6A6A86689806}"/>
                </a:ext>
              </a:extLst>
            </p:cNvPr>
            <p:cNvSpPr>
              <a:spLocks/>
            </p:cNvSpPr>
            <p:nvPr/>
          </p:nvSpPr>
          <p:spPr bwMode="gray">
            <a:xfrm>
              <a:off x="14562407" y="3192084"/>
              <a:ext cx="154484" cy="133210"/>
            </a:xfrm>
            <a:custGeom>
              <a:avLst/>
              <a:gdLst>
                <a:gd name="T0" fmla="*/ 0 w 472"/>
                <a:gd name="T1" fmla="*/ 333 h 407"/>
                <a:gd name="T2" fmla="*/ 0 w 472"/>
                <a:gd name="T3" fmla="*/ 333 h 407"/>
                <a:gd name="T4" fmla="*/ 28 w 472"/>
                <a:gd name="T5" fmla="*/ 300 h 407"/>
                <a:gd name="T6" fmla="*/ 21 w 472"/>
                <a:gd name="T7" fmla="*/ 300 h 407"/>
                <a:gd name="T8" fmla="*/ 28 w 472"/>
                <a:gd name="T9" fmla="*/ 284 h 407"/>
                <a:gd name="T10" fmla="*/ 54 w 472"/>
                <a:gd name="T11" fmla="*/ 284 h 407"/>
                <a:gd name="T12" fmla="*/ 43 w 472"/>
                <a:gd name="T13" fmla="*/ 279 h 407"/>
                <a:gd name="T14" fmla="*/ 71 w 472"/>
                <a:gd name="T15" fmla="*/ 251 h 407"/>
                <a:gd name="T16" fmla="*/ 59 w 472"/>
                <a:gd name="T17" fmla="*/ 239 h 407"/>
                <a:gd name="T18" fmla="*/ 43 w 472"/>
                <a:gd name="T19" fmla="*/ 229 h 407"/>
                <a:gd name="T20" fmla="*/ 54 w 472"/>
                <a:gd name="T21" fmla="*/ 222 h 407"/>
                <a:gd name="T22" fmla="*/ 21 w 472"/>
                <a:gd name="T23" fmla="*/ 222 h 407"/>
                <a:gd name="T24" fmla="*/ 17 w 472"/>
                <a:gd name="T25" fmla="*/ 194 h 407"/>
                <a:gd name="T26" fmla="*/ 21 w 472"/>
                <a:gd name="T27" fmla="*/ 173 h 407"/>
                <a:gd name="T28" fmla="*/ 21 w 472"/>
                <a:gd name="T29" fmla="*/ 156 h 407"/>
                <a:gd name="T30" fmla="*/ 5 w 472"/>
                <a:gd name="T31" fmla="*/ 140 h 407"/>
                <a:gd name="T32" fmla="*/ 21 w 472"/>
                <a:gd name="T33" fmla="*/ 111 h 407"/>
                <a:gd name="T34" fmla="*/ 38 w 472"/>
                <a:gd name="T35" fmla="*/ 128 h 407"/>
                <a:gd name="T36" fmla="*/ 38 w 472"/>
                <a:gd name="T37" fmla="*/ 111 h 407"/>
                <a:gd name="T38" fmla="*/ 54 w 472"/>
                <a:gd name="T39" fmla="*/ 111 h 407"/>
                <a:gd name="T40" fmla="*/ 54 w 472"/>
                <a:gd name="T41" fmla="*/ 83 h 407"/>
                <a:gd name="T42" fmla="*/ 76 w 472"/>
                <a:gd name="T43" fmla="*/ 83 h 407"/>
                <a:gd name="T44" fmla="*/ 59 w 472"/>
                <a:gd name="T45" fmla="*/ 71 h 407"/>
                <a:gd name="T46" fmla="*/ 71 w 472"/>
                <a:gd name="T47" fmla="*/ 38 h 407"/>
                <a:gd name="T48" fmla="*/ 109 w 472"/>
                <a:gd name="T49" fmla="*/ 55 h 407"/>
                <a:gd name="T50" fmla="*/ 125 w 472"/>
                <a:gd name="T51" fmla="*/ 55 h 407"/>
                <a:gd name="T52" fmla="*/ 184 w 472"/>
                <a:gd name="T53" fmla="*/ 26 h 407"/>
                <a:gd name="T54" fmla="*/ 201 w 472"/>
                <a:gd name="T55" fmla="*/ 38 h 407"/>
                <a:gd name="T56" fmla="*/ 217 w 472"/>
                <a:gd name="T57" fmla="*/ 43 h 407"/>
                <a:gd name="T58" fmla="*/ 255 w 472"/>
                <a:gd name="T59" fmla="*/ 55 h 407"/>
                <a:gd name="T60" fmla="*/ 293 w 472"/>
                <a:gd name="T61" fmla="*/ 43 h 407"/>
                <a:gd name="T62" fmla="*/ 364 w 472"/>
                <a:gd name="T63" fmla="*/ 17 h 407"/>
                <a:gd name="T64" fmla="*/ 418 w 472"/>
                <a:gd name="T65" fmla="*/ 17 h 407"/>
                <a:gd name="T66" fmla="*/ 451 w 472"/>
                <a:gd name="T67" fmla="*/ 5 h 407"/>
                <a:gd name="T68" fmla="*/ 456 w 472"/>
                <a:gd name="T69" fmla="*/ 0 h 407"/>
                <a:gd name="T70" fmla="*/ 472 w 472"/>
                <a:gd name="T71" fmla="*/ 5 h 407"/>
                <a:gd name="T72" fmla="*/ 472 w 472"/>
                <a:gd name="T73" fmla="*/ 17 h 407"/>
                <a:gd name="T74" fmla="*/ 435 w 472"/>
                <a:gd name="T75" fmla="*/ 55 h 407"/>
                <a:gd name="T76" fmla="*/ 402 w 472"/>
                <a:gd name="T77" fmla="*/ 62 h 407"/>
                <a:gd name="T78" fmla="*/ 397 w 472"/>
                <a:gd name="T79" fmla="*/ 78 h 407"/>
                <a:gd name="T80" fmla="*/ 397 w 472"/>
                <a:gd name="T81" fmla="*/ 99 h 407"/>
                <a:gd name="T82" fmla="*/ 402 w 472"/>
                <a:gd name="T83" fmla="*/ 116 h 407"/>
                <a:gd name="T84" fmla="*/ 402 w 472"/>
                <a:gd name="T85" fmla="*/ 140 h 407"/>
                <a:gd name="T86" fmla="*/ 397 w 472"/>
                <a:gd name="T87" fmla="*/ 173 h 407"/>
                <a:gd name="T88" fmla="*/ 397 w 472"/>
                <a:gd name="T89" fmla="*/ 206 h 407"/>
                <a:gd name="T90" fmla="*/ 380 w 472"/>
                <a:gd name="T91" fmla="*/ 239 h 407"/>
                <a:gd name="T92" fmla="*/ 222 w 472"/>
                <a:gd name="T93" fmla="*/ 324 h 407"/>
                <a:gd name="T94" fmla="*/ 83 w 472"/>
                <a:gd name="T95" fmla="*/ 407 h 407"/>
                <a:gd name="T96" fmla="*/ 54 w 472"/>
                <a:gd name="T97" fmla="*/ 407 h 407"/>
                <a:gd name="T98" fmla="*/ 28 w 472"/>
                <a:gd name="T99" fmla="*/ 390 h 407"/>
                <a:gd name="T100" fmla="*/ 21 w 472"/>
                <a:gd name="T101" fmla="*/ 373 h 407"/>
                <a:gd name="T102" fmla="*/ 0 w 472"/>
                <a:gd name="T103" fmla="*/ 378 h 407"/>
                <a:gd name="T104" fmla="*/ 0 w 472"/>
                <a:gd name="T105" fmla="*/ 333 h 407"/>
                <a:gd name="T106" fmla="*/ 0 w 472"/>
                <a:gd name="T107" fmla="*/ 333 h 407"/>
                <a:gd name="T108" fmla="*/ 0 w 472"/>
                <a:gd name="T109" fmla="*/ 333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2" h="407">
                  <a:moveTo>
                    <a:pt x="0" y="333"/>
                  </a:moveTo>
                  <a:lnTo>
                    <a:pt x="0" y="333"/>
                  </a:lnTo>
                  <a:lnTo>
                    <a:pt x="28" y="300"/>
                  </a:lnTo>
                  <a:lnTo>
                    <a:pt x="21" y="300"/>
                  </a:lnTo>
                  <a:lnTo>
                    <a:pt x="28" y="284"/>
                  </a:lnTo>
                  <a:lnTo>
                    <a:pt x="54" y="284"/>
                  </a:lnTo>
                  <a:lnTo>
                    <a:pt x="43" y="279"/>
                  </a:lnTo>
                  <a:lnTo>
                    <a:pt x="71" y="251"/>
                  </a:lnTo>
                  <a:lnTo>
                    <a:pt x="59" y="239"/>
                  </a:lnTo>
                  <a:lnTo>
                    <a:pt x="43" y="229"/>
                  </a:lnTo>
                  <a:lnTo>
                    <a:pt x="54" y="222"/>
                  </a:lnTo>
                  <a:lnTo>
                    <a:pt x="21" y="222"/>
                  </a:lnTo>
                  <a:lnTo>
                    <a:pt x="17" y="194"/>
                  </a:lnTo>
                  <a:lnTo>
                    <a:pt x="21" y="173"/>
                  </a:lnTo>
                  <a:lnTo>
                    <a:pt x="21" y="156"/>
                  </a:lnTo>
                  <a:lnTo>
                    <a:pt x="5" y="140"/>
                  </a:lnTo>
                  <a:lnTo>
                    <a:pt x="21" y="111"/>
                  </a:lnTo>
                  <a:lnTo>
                    <a:pt x="38" y="128"/>
                  </a:lnTo>
                  <a:lnTo>
                    <a:pt x="38" y="111"/>
                  </a:lnTo>
                  <a:lnTo>
                    <a:pt x="54" y="111"/>
                  </a:lnTo>
                  <a:lnTo>
                    <a:pt x="54" y="83"/>
                  </a:lnTo>
                  <a:lnTo>
                    <a:pt x="76" y="83"/>
                  </a:lnTo>
                  <a:lnTo>
                    <a:pt x="59" y="71"/>
                  </a:lnTo>
                  <a:lnTo>
                    <a:pt x="71" y="38"/>
                  </a:lnTo>
                  <a:lnTo>
                    <a:pt x="109" y="55"/>
                  </a:lnTo>
                  <a:lnTo>
                    <a:pt x="125" y="55"/>
                  </a:lnTo>
                  <a:lnTo>
                    <a:pt x="184" y="26"/>
                  </a:lnTo>
                  <a:lnTo>
                    <a:pt x="201" y="38"/>
                  </a:lnTo>
                  <a:lnTo>
                    <a:pt x="217" y="43"/>
                  </a:lnTo>
                  <a:lnTo>
                    <a:pt x="255" y="55"/>
                  </a:lnTo>
                  <a:lnTo>
                    <a:pt x="293" y="43"/>
                  </a:lnTo>
                  <a:lnTo>
                    <a:pt x="364" y="17"/>
                  </a:lnTo>
                  <a:lnTo>
                    <a:pt x="418" y="17"/>
                  </a:lnTo>
                  <a:lnTo>
                    <a:pt x="451" y="5"/>
                  </a:lnTo>
                  <a:lnTo>
                    <a:pt x="456" y="0"/>
                  </a:lnTo>
                  <a:lnTo>
                    <a:pt x="472" y="5"/>
                  </a:lnTo>
                  <a:lnTo>
                    <a:pt x="472" y="17"/>
                  </a:lnTo>
                  <a:lnTo>
                    <a:pt x="435" y="55"/>
                  </a:lnTo>
                  <a:lnTo>
                    <a:pt x="402" y="62"/>
                  </a:lnTo>
                  <a:lnTo>
                    <a:pt x="397" y="78"/>
                  </a:lnTo>
                  <a:lnTo>
                    <a:pt x="397" y="99"/>
                  </a:lnTo>
                  <a:lnTo>
                    <a:pt x="402" y="116"/>
                  </a:lnTo>
                  <a:lnTo>
                    <a:pt x="402" y="140"/>
                  </a:lnTo>
                  <a:lnTo>
                    <a:pt x="397" y="173"/>
                  </a:lnTo>
                  <a:lnTo>
                    <a:pt x="397" y="206"/>
                  </a:lnTo>
                  <a:lnTo>
                    <a:pt x="380" y="239"/>
                  </a:lnTo>
                  <a:lnTo>
                    <a:pt x="222" y="324"/>
                  </a:lnTo>
                  <a:lnTo>
                    <a:pt x="83" y="407"/>
                  </a:lnTo>
                  <a:lnTo>
                    <a:pt x="54" y="407"/>
                  </a:lnTo>
                  <a:lnTo>
                    <a:pt x="28" y="390"/>
                  </a:lnTo>
                  <a:lnTo>
                    <a:pt x="21" y="373"/>
                  </a:lnTo>
                  <a:lnTo>
                    <a:pt x="0" y="378"/>
                  </a:lnTo>
                  <a:lnTo>
                    <a:pt x="0" y="333"/>
                  </a:lnTo>
                  <a:lnTo>
                    <a:pt x="0" y="333"/>
                  </a:lnTo>
                  <a:lnTo>
                    <a:pt x="0" y="333"/>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3" name="Freeform 564">
              <a:extLst>
                <a:ext uri="{FF2B5EF4-FFF2-40B4-BE49-F238E27FC236}">
                  <a16:creationId xmlns:a16="http://schemas.microsoft.com/office/drawing/2014/main" id="{951D66D7-5B9A-4308-A37A-D034B199B65F}"/>
                </a:ext>
              </a:extLst>
            </p:cNvPr>
            <p:cNvSpPr>
              <a:spLocks/>
            </p:cNvSpPr>
            <p:nvPr/>
          </p:nvSpPr>
          <p:spPr bwMode="gray">
            <a:xfrm>
              <a:off x="13881303" y="2892935"/>
              <a:ext cx="102771" cy="58913"/>
            </a:xfrm>
            <a:custGeom>
              <a:avLst/>
              <a:gdLst>
                <a:gd name="T0" fmla="*/ 38 w 314"/>
                <a:gd name="T1" fmla="*/ 90 h 180"/>
                <a:gd name="T2" fmla="*/ 71 w 314"/>
                <a:gd name="T3" fmla="*/ 50 h 180"/>
                <a:gd name="T4" fmla="*/ 76 w 314"/>
                <a:gd name="T5" fmla="*/ 38 h 180"/>
                <a:gd name="T6" fmla="*/ 71 w 314"/>
                <a:gd name="T7" fmla="*/ 38 h 180"/>
                <a:gd name="T8" fmla="*/ 76 w 314"/>
                <a:gd name="T9" fmla="*/ 28 h 180"/>
                <a:gd name="T10" fmla="*/ 97 w 314"/>
                <a:gd name="T11" fmla="*/ 33 h 180"/>
                <a:gd name="T12" fmla="*/ 113 w 314"/>
                <a:gd name="T13" fmla="*/ 17 h 180"/>
                <a:gd name="T14" fmla="*/ 184 w 314"/>
                <a:gd name="T15" fmla="*/ 17 h 180"/>
                <a:gd name="T16" fmla="*/ 184 w 314"/>
                <a:gd name="T17" fmla="*/ 10 h 180"/>
                <a:gd name="T18" fmla="*/ 168 w 314"/>
                <a:gd name="T19" fmla="*/ 10 h 180"/>
                <a:gd name="T20" fmla="*/ 184 w 314"/>
                <a:gd name="T21" fmla="*/ 0 h 180"/>
                <a:gd name="T22" fmla="*/ 194 w 314"/>
                <a:gd name="T23" fmla="*/ 0 h 180"/>
                <a:gd name="T24" fmla="*/ 194 w 314"/>
                <a:gd name="T25" fmla="*/ 10 h 180"/>
                <a:gd name="T26" fmla="*/ 231 w 314"/>
                <a:gd name="T27" fmla="*/ 10 h 180"/>
                <a:gd name="T28" fmla="*/ 253 w 314"/>
                <a:gd name="T29" fmla="*/ 28 h 180"/>
                <a:gd name="T30" fmla="*/ 260 w 314"/>
                <a:gd name="T31" fmla="*/ 33 h 180"/>
                <a:gd name="T32" fmla="*/ 253 w 314"/>
                <a:gd name="T33" fmla="*/ 50 h 180"/>
                <a:gd name="T34" fmla="*/ 248 w 314"/>
                <a:gd name="T35" fmla="*/ 66 h 180"/>
                <a:gd name="T36" fmla="*/ 253 w 314"/>
                <a:gd name="T37" fmla="*/ 66 h 180"/>
                <a:gd name="T38" fmla="*/ 276 w 314"/>
                <a:gd name="T39" fmla="*/ 73 h 180"/>
                <a:gd name="T40" fmla="*/ 276 w 314"/>
                <a:gd name="T41" fmla="*/ 83 h 180"/>
                <a:gd name="T42" fmla="*/ 293 w 314"/>
                <a:gd name="T43" fmla="*/ 90 h 180"/>
                <a:gd name="T44" fmla="*/ 307 w 314"/>
                <a:gd name="T45" fmla="*/ 73 h 180"/>
                <a:gd name="T46" fmla="*/ 314 w 314"/>
                <a:gd name="T47" fmla="*/ 83 h 180"/>
                <a:gd name="T48" fmla="*/ 314 w 314"/>
                <a:gd name="T49" fmla="*/ 111 h 180"/>
                <a:gd name="T50" fmla="*/ 302 w 314"/>
                <a:gd name="T51" fmla="*/ 106 h 180"/>
                <a:gd name="T52" fmla="*/ 286 w 314"/>
                <a:gd name="T53" fmla="*/ 111 h 180"/>
                <a:gd name="T54" fmla="*/ 286 w 314"/>
                <a:gd name="T55" fmla="*/ 123 h 180"/>
                <a:gd name="T56" fmla="*/ 293 w 314"/>
                <a:gd name="T57" fmla="*/ 128 h 180"/>
                <a:gd name="T58" fmla="*/ 293 w 314"/>
                <a:gd name="T59" fmla="*/ 147 h 180"/>
                <a:gd name="T60" fmla="*/ 276 w 314"/>
                <a:gd name="T61" fmla="*/ 128 h 180"/>
                <a:gd name="T62" fmla="*/ 253 w 314"/>
                <a:gd name="T63" fmla="*/ 139 h 180"/>
                <a:gd name="T64" fmla="*/ 248 w 314"/>
                <a:gd name="T65" fmla="*/ 123 h 180"/>
                <a:gd name="T66" fmla="*/ 231 w 314"/>
                <a:gd name="T67" fmla="*/ 123 h 180"/>
                <a:gd name="T68" fmla="*/ 231 w 314"/>
                <a:gd name="T69" fmla="*/ 139 h 180"/>
                <a:gd name="T70" fmla="*/ 215 w 314"/>
                <a:gd name="T71" fmla="*/ 168 h 180"/>
                <a:gd name="T72" fmla="*/ 222 w 314"/>
                <a:gd name="T73" fmla="*/ 168 h 180"/>
                <a:gd name="T74" fmla="*/ 215 w 314"/>
                <a:gd name="T75" fmla="*/ 180 h 180"/>
                <a:gd name="T76" fmla="*/ 201 w 314"/>
                <a:gd name="T77" fmla="*/ 163 h 180"/>
                <a:gd name="T78" fmla="*/ 201 w 314"/>
                <a:gd name="T79" fmla="*/ 151 h 180"/>
                <a:gd name="T80" fmla="*/ 177 w 314"/>
                <a:gd name="T81" fmla="*/ 147 h 180"/>
                <a:gd name="T82" fmla="*/ 177 w 314"/>
                <a:gd name="T83" fmla="*/ 123 h 180"/>
                <a:gd name="T84" fmla="*/ 163 w 314"/>
                <a:gd name="T85" fmla="*/ 123 h 180"/>
                <a:gd name="T86" fmla="*/ 151 w 314"/>
                <a:gd name="T87" fmla="*/ 151 h 180"/>
                <a:gd name="T88" fmla="*/ 130 w 314"/>
                <a:gd name="T89" fmla="*/ 168 h 180"/>
                <a:gd name="T90" fmla="*/ 125 w 314"/>
                <a:gd name="T91" fmla="*/ 168 h 180"/>
                <a:gd name="T92" fmla="*/ 87 w 314"/>
                <a:gd name="T93" fmla="*/ 180 h 180"/>
                <a:gd name="T94" fmla="*/ 76 w 314"/>
                <a:gd name="T95" fmla="*/ 168 h 180"/>
                <a:gd name="T96" fmla="*/ 59 w 314"/>
                <a:gd name="T97" fmla="*/ 151 h 180"/>
                <a:gd name="T98" fmla="*/ 59 w 314"/>
                <a:gd name="T99" fmla="*/ 128 h 180"/>
                <a:gd name="T100" fmla="*/ 54 w 314"/>
                <a:gd name="T101" fmla="*/ 123 h 180"/>
                <a:gd name="T102" fmla="*/ 21 w 314"/>
                <a:gd name="T103" fmla="*/ 128 h 180"/>
                <a:gd name="T104" fmla="*/ 21 w 314"/>
                <a:gd name="T105" fmla="*/ 147 h 180"/>
                <a:gd name="T106" fmla="*/ 5 w 314"/>
                <a:gd name="T107" fmla="*/ 151 h 180"/>
                <a:gd name="T108" fmla="*/ 0 w 314"/>
                <a:gd name="T109" fmla="*/ 147 h 180"/>
                <a:gd name="T110" fmla="*/ 16 w 314"/>
                <a:gd name="T111" fmla="*/ 139 h 180"/>
                <a:gd name="T112" fmla="*/ 16 w 314"/>
                <a:gd name="T113" fmla="*/ 128 h 180"/>
                <a:gd name="T114" fmla="*/ 5 w 314"/>
                <a:gd name="T115" fmla="*/ 123 h 180"/>
                <a:gd name="T116" fmla="*/ 16 w 314"/>
                <a:gd name="T117" fmla="*/ 111 h 180"/>
                <a:gd name="T118" fmla="*/ 33 w 314"/>
                <a:gd name="T119" fmla="*/ 95 h 180"/>
                <a:gd name="T120" fmla="*/ 38 w 314"/>
                <a:gd name="T121" fmla="*/ 90 h 180"/>
                <a:gd name="T122" fmla="*/ 38 w 314"/>
                <a:gd name="T123" fmla="*/ 90 h 180"/>
                <a:gd name="T124" fmla="*/ 38 w 314"/>
                <a:gd name="T125"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4" h="180">
                  <a:moveTo>
                    <a:pt x="38" y="90"/>
                  </a:moveTo>
                  <a:lnTo>
                    <a:pt x="71" y="50"/>
                  </a:lnTo>
                  <a:lnTo>
                    <a:pt x="76" y="38"/>
                  </a:lnTo>
                  <a:lnTo>
                    <a:pt x="71" y="38"/>
                  </a:lnTo>
                  <a:lnTo>
                    <a:pt x="76" y="28"/>
                  </a:lnTo>
                  <a:lnTo>
                    <a:pt x="97" y="33"/>
                  </a:lnTo>
                  <a:lnTo>
                    <a:pt x="113" y="17"/>
                  </a:lnTo>
                  <a:lnTo>
                    <a:pt x="184" y="17"/>
                  </a:lnTo>
                  <a:lnTo>
                    <a:pt x="184" y="10"/>
                  </a:lnTo>
                  <a:lnTo>
                    <a:pt x="168" y="10"/>
                  </a:lnTo>
                  <a:lnTo>
                    <a:pt x="184" y="0"/>
                  </a:lnTo>
                  <a:lnTo>
                    <a:pt x="194" y="0"/>
                  </a:lnTo>
                  <a:lnTo>
                    <a:pt x="194" y="10"/>
                  </a:lnTo>
                  <a:lnTo>
                    <a:pt x="231" y="10"/>
                  </a:lnTo>
                  <a:lnTo>
                    <a:pt x="253" y="28"/>
                  </a:lnTo>
                  <a:lnTo>
                    <a:pt x="260" y="33"/>
                  </a:lnTo>
                  <a:lnTo>
                    <a:pt x="253" y="50"/>
                  </a:lnTo>
                  <a:lnTo>
                    <a:pt x="248" y="66"/>
                  </a:lnTo>
                  <a:lnTo>
                    <a:pt x="253" y="66"/>
                  </a:lnTo>
                  <a:lnTo>
                    <a:pt x="276" y="73"/>
                  </a:lnTo>
                  <a:lnTo>
                    <a:pt x="276" y="83"/>
                  </a:lnTo>
                  <a:lnTo>
                    <a:pt x="293" y="90"/>
                  </a:lnTo>
                  <a:lnTo>
                    <a:pt x="307" y="73"/>
                  </a:lnTo>
                  <a:lnTo>
                    <a:pt x="314" y="83"/>
                  </a:lnTo>
                  <a:lnTo>
                    <a:pt x="314" y="111"/>
                  </a:lnTo>
                  <a:lnTo>
                    <a:pt x="302" y="106"/>
                  </a:lnTo>
                  <a:lnTo>
                    <a:pt x="286" y="111"/>
                  </a:lnTo>
                  <a:lnTo>
                    <a:pt x="286" y="123"/>
                  </a:lnTo>
                  <a:lnTo>
                    <a:pt x="293" y="128"/>
                  </a:lnTo>
                  <a:lnTo>
                    <a:pt x="293" y="147"/>
                  </a:lnTo>
                  <a:lnTo>
                    <a:pt x="276" y="128"/>
                  </a:lnTo>
                  <a:lnTo>
                    <a:pt x="253" y="139"/>
                  </a:lnTo>
                  <a:lnTo>
                    <a:pt x="248" y="123"/>
                  </a:lnTo>
                  <a:lnTo>
                    <a:pt x="231" y="123"/>
                  </a:lnTo>
                  <a:lnTo>
                    <a:pt x="231" y="139"/>
                  </a:lnTo>
                  <a:lnTo>
                    <a:pt x="215" y="168"/>
                  </a:lnTo>
                  <a:lnTo>
                    <a:pt x="222" y="168"/>
                  </a:lnTo>
                  <a:lnTo>
                    <a:pt x="215" y="180"/>
                  </a:lnTo>
                  <a:lnTo>
                    <a:pt x="201" y="163"/>
                  </a:lnTo>
                  <a:lnTo>
                    <a:pt x="201" y="151"/>
                  </a:lnTo>
                  <a:lnTo>
                    <a:pt x="177" y="147"/>
                  </a:lnTo>
                  <a:lnTo>
                    <a:pt x="177" y="123"/>
                  </a:lnTo>
                  <a:lnTo>
                    <a:pt x="163" y="123"/>
                  </a:lnTo>
                  <a:lnTo>
                    <a:pt x="151" y="151"/>
                  </a:lnTo>
                  <a:lnTo>
                    <a:pt x="130" y="168"/>
                  </a:lnTo>
                  <a:lnTo>
                    <a:pt x="125" y="168"/>
                  </a:lnTo>
                  <a:lnTo>
                    <a:pt x="87" y="180"/>
                  </a:lnTo>
                  <a:lnTo>
                    <a:pt x="76" y="168"/>
                  </a:lnTo>
                  <a:lnTo>
                    <a:pt x="59" y="151"/>
                  </a:lnTo>
                  <a:lnTo>
                    <a:pt x="59" y="128"/>
                  </a:lnTo>
                  <a:lnTo>
                    <a:pt x="54" y="123"/>
                  </a:lnTo>
                  <a:lnTo>
                    <a:pt x="21" y="128"/>
                  </a:lnTo>
                  <a:lnTo>
                    <a:pt x="21" y="147"/>
                  </a:lnTo>
                  <a:lnTo>
                    <a:pt x="5" y="151"/>
                  </a:lnTo>
                  <a:lnTo>
                    <a:pt x="0" y="147"/>
                  </a:lnTo>
                  <a:lnTo>
                    <a:pt x="16" y="139"/>
                  </a:lnTo>
                  <a:lnTo>
                    <a:pt x="16" y="128"/>
                  </a:lnTo>
                  <a:lnTo>
                    <a:pt x="5" y="123"/>
                  </a:lnTo>
                  <a:lnTo>
                    <a:pt x="16" y="111"/>
                  </a:lnTo>
                  <a:lnTo>
                    <a:pt x="33" y="95"/>
                  </a:lnTo>
                  <a:lnTo>
                    <a:pt x="38" y="90"/>
                  </a:lnTo>
                  <a:lnTo>
                    <a:pt x="38" y="90"/>
                  </a:lnTo>
                  <a:lnTo>
                    <a:pt x="38" y="9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4" name="Freeform 565">
              <a:extLst>
                <a:ext uri="{FF2B5EF4-FFF2-40B4-BE49-F238E27FC236}">
                  <a16:creationId xmlns:a16="http://schemas.microsoft.com/office/drawing/2014/main" id="{74503ACB-12F8-4B79-994A-9C67D7971DC8}"/>
                </a:ext>
              </a:extLst>
            </p:cNvPr>
            <p:cNvSpPr>
              <a:spLocks noEditPoints="1"/>
            </p:cNvSpPr>
            <p:nvPr/>
          </p:nvSpPr>
          <p:spPr bwMode="gray">
            <a:xfrm>
              <a:off x="14928979" y="3483705"/>
              <a:ext cx="106699" cy="85752"/>
            </a:xfrm>
            <a:custGeom>
              <a:avLst/>
              <a:gdLst>
                <a:gd name="T0" fmla="*/ 326 w 326"/>
                <a:gd name="T1" fmla="*/ 97 h 262"/>
                <a:gd name="T2" fmla="*/ 312 w 326"/>
                <a:gd name="T3" fmla="*/ 106 h 262"/>
                <a:gd name="T4" fmla="*/ 304 w 326"/>
                <a:gd name="T5" fmla="*/ 97 h 262"/>
                <a:gd name="T6" fmla="*/ 312 w 326"/>
                <a:gd name="T7" fmla="*/ 97 h 262"/>
                <a:gd name="T8" fmla="*/ 304 w 326"/>
                <a:gd name="T9" fmla="*/ 90 h 262"/>
                <a:gd name="T10" fmla="*/ 288 w 326"/>
                <a:gd name="T11" fmla="*/ 97 h 262"/>
                <a:gd name="T12" fmla="*/ 288 w 326"/>
                <a:gd name="T13" fmla="*/ 146 h 262"/>
                <a:gd name="T14" fmla="*/ 304 w 326"/>
                <a:gd name="T15" fmla="*/ 146 h 262"/>
                <a:gd name="T16" fmla="*/ 304 w 326"/>
                <a:gd name="T17" fmla="*/ 151 h 262"/>
                <a:gd name="T18" fmla="*/ 274 w 326"/>
                <a:gd name="T19" fmla="*/ 163 h 262"/>
                <a:gd name="T20" fmla="*/ 274 w 326"/>
                <a:gd name="T21" fmla="*/ 179 h 262"/>
                <a:gd name="T22" fmla="*/ 252 w 326"/>
                <a:gd name="T23" fmla="*/ 234 h 262"/>
                <a:gd name="T24" fmla="*/ 252 w 326"/>
                <a:gd name="T25" fmla="*/ 262 h 262"/>
                <a:gd name="T26" fmla="*/ 245 w 326"/>
                <a:gd name="T27" fmla="*/ 262 h 262"/>
                <a:gd name="T28" fmla="*/ 71 w 326"/>
                <a:gd name="T29" fmla="*/ 241 h 262"/>
                <a:gd name="T30" fmla="*/ 0 w 326"/>
                <a:gd name="T31" fmla="*/ 151 h 262"/>
                <a:gd name="T32" fmla="*/ 0 w 326"/>
                <a:gd name="T33" fmla="*/ 146 h 262"/>
                <a:gd name="T34" fmla="*/ 7 w 326"/>
                <a:gd name="T35" fmla="*/ 146 h 262"/>
                <a:gd name="T36" fmla="*/ 16 w 326"/>
                <a:gd name="T37" fmla="*/ 163 h 262"/>
                <a:gd name="T38" fmla="*/ 33 w 326"/>
                <a:gd name="T39" fmla="*/ 167 h 262"/>
                <a:gd name="T40" fmla="*/ 54 w 326"/>
                <a:gd name="T41" fmla="*/ 163 h 262"/>
                <a:gd name="T42" fmla="*/ 71 w 326"/>
                <a:gd name="T43" fmla="*/ 146 h 262"/>
                <a:gd name="T44" fmla="*/ 139 w 326"/>
                <a:gd name="T45" fmla="*/ 163 h 262"/>
                <a:gd name="T46" fmla="*/ 177 w 326"/>
                <a:gd name="T47" fmla="*/ 151 h 262"/>
                <a:gd name="T48" fmla="*/ 198 w 326"/>
                <a:gd name="T49" fmla="*/ 146 h 262"/>
                <a:gd name="T50" fmla="*/ 198 w 326"/>
                <a:gd name="T51" fmla="*/ 130 h 262"/>
                <a:gd name="T52" fmla="*/ 203 w 326"/>
                <a:gd name="T53" fmla="*/ 130 h 262"/>
                <a:gd name="T54" fmla="*/ 215 w 326"/>
                <a:gd name="T55" fmla="*/ 106 h 262"/>
                <a:gd name="T56" fmla="*/ 245 w 326"/>
                <a:gd name="T57" fmla="*/ 78 h 262"/>
                <a:gd name="T58" fmla="*/ 274 w 326"/>
                <a:gd name="T59" fmla="*/ 40 h 262"/>
                <a:gd name="T60" fmla="*/ 283 w 326"/>
                <a:gd name="T61" fmla="*/ 40 h 262"/>
                <a:gd name="T62" fmla="*/ 300 w 326"/>
                <a:gd name="T63" fmla="*/ 35 h 262"/>
                <a:gd name="T64" fmla="*/ 312 w 326"/>
                <a:gd name="T65" fmla="*/ 0 h 262"/>
                <a:gd name="T66" fmla="*/ 321 w 326"/>
                <a:gd name="T67" fmla="*/ 12 h 262"/>
                <a:gd name="T68" fmla="*/ 312 w 326"/>
                <a:gd name="T69" fmla="*/ 35 h 262"/>
                <a:gd name="T70" fmla="*/ 326 w 326"/>
                <a:gd name="T71" fmla="*/ 35 h 262"/>
                <a:gd name="T72" fmla="*/ 326 w 326"/>
                <a:gd name="T73" fmla="*/ 40 h 262"/>
                <a:gd name="T74" fmla="*/ 326 w 326"/>
                <a:gd name="T75" fmla="*/ 90 h 262"/>
                <a:gd name="T76" fmla="*/ 326 w 326"/>
                <a:gd name="T77" fmla="*/ 97 h 262"/>
                <a:gd name="T78" fmla="*/ 326 w 326"/>
                <a:gd name="T79" fmla="*/ 97 h 262"/>
                <a:gd name="T80" fmla="*/ 326 w 326"/>
                <a:gd name="T81" fmla="*/ 97 h 262"/>
                <a:gd name="T82" fmla="*/ 198 w 326"/>
                <a:gd name="T83" fmla="*/ 130 h 262"/>
                <a:gd name="T84" fmla="*/ 193 w 326"/>
                <a:gd name="T85" fmla="*/ 130 h 262"/>
                <a:gd name="T86" fmla="*/ 193 w 326"/>
                <a:gd name="T87" fmla="*/ 123 h 262"/>
                <a:gd name="T88" fmla="*/ 198 w 326"/>
                <a:gd name="T89" fmla="*/ 130 h 262"/>
                <a:gd name="T90" fmla="*/ 198 w 326"/>
                <a:gd name="T91" fmla="*/ 130 h 262"/>
                <a:gd name="T92" fmla="*/ 198 w 326"/>
                <a:gd name="T93" fmla="*/ 130 h 262"/>
                <a:gd name="T94" fmla="*/ 71 w 326"/>
                <a:gd name="T95" fmla="*/ 146 h 262"/>
                <a:gd name="T96" fmla="*/ 71 w 326"/>
                <a:gd name="T97" fmla="*/ 134 h 262"/>
                <a:gd name="T98" fmla="*/ 75 w 326"/>
                <a:gd name="T99" fmla="*/ 134 h 262"/>
                <a:gd name="T100" fmla="*/ 71 w 326"/>
                <a:gd name="T101" fmla="*/ 146 h 262"/>
                <a:gd name="T102" fmla="*/ 71 w 326"/>
                <a:gd name="T103" fmla="*/ 146 h 262"/>
                <a:gd name="T104" fmla="*/ 71 w 326"/>
                <a:gd name="T105" fmla="*/ 146 h 262"/>
                <a:gd name="T106" fmla="*/ 151 w 326"/>
                <a:gd name="T107" fmla="*/ 151 h 262"/>
                <a:gd name="T108" fmla="*/ 144 w 326"/>
                <a:gd name="T109" fmla="*/ 151 h 262"/>
                <a:gd name="T110" fmla="*/ 160 w 326"/>
                <a:gd name="T111" fmla="*/ 146 h 262"/>
                <a:gd name="T112" fmla="*/ 165 w 326"/>
                <a:gd name="T113" fmla="*/ 146 h 262"/>
                <a:gd name="T114" fmla="*/ 151 w 326"/>
                <a:gd name="T115" fmla="*/ 151 h 262"/>
                <a:gd name="T116" fmla="*/ 151 w 326"/>
                <a:gd name="T117" fmla="*/ 151 h 262"/>
                <a:gd name="T118" fmla="*/ 151 w 326"/>
                <a:gd name="T119" fmla="*/ 15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6" h="262">
                  <a:moveTo>
                    <a:pt x="326" y="97"/>
                  </a:moveTo>
                  <a:lnTo>
                    <a:pt x="312" y="106"/>
                  </a:lnTo>
                  <a:lnTo>
                    <a:pt x="304" y="97"/>
                  </a:lnTo>
                  <a:lnTo>
                    <a:pt x="312" y="97"/>
                  </a:lnTo>
                  <a:lnTo>
                    <a:pt x="304" y="90"/>
                  </a:lnTo>
                  <a:lnTo>
                    <a:pt x="288" y="97"/>
                  </a:lnTo>
                  <a:lnTo>
                    <a:pt x="288" y="146"/>
                  </a:lnTo>
                  <a:lnTo>
                    <a:pt x="304" y="146"/>
                  </a:lnTo>
                  <a:lnTo>
                    <a:pt x="304" y="151"/>
                  </a:lnTo>
                  <a:lnTo>
                    <a:pt x="274" y="163"/>
                  </a:lnTo>
                  <a:lnTo>
                    <a:pt x="274" y="179"/>
                  </a:lnTo>
                  <a:lnTo>
                    <a:pt x="252" y="234"/>
                  </a:lnTo>
                  <a:lnTo>
                    <a:pt x="252" y="262"/>
                  </a:lnTo>
                  <a:lnTo>
                    <a:pt x="245" y="262"/>
                  </a:lnTo>
                  <a:lnTo>
                    <a:pt x="71" y="241"/>
                  </a:lnTo>
                  <a:lnTo>
                    <a:pt x="0" y="151"/>
                  </a:lnTo>
                  <a:lnTo>
                    <a:pt x="0" y="146"/>
                  </a:lnTo>
                  <a:lnTo>
                    <a:pt x="7" y="146"/>
                  </a:lnTo>
                  <a:lnTo>
                    <a:pt x="16" y="163"/>
                  </a:lnTo>
                  <a:lnTo>
                    <a:pt x="33" y="167"/>
                  </a:lnTo>
                  <a:lnTo>
                    <a:pt x="54" y="163"/>
                  </a:lnTo>
                  <a:lnTo>
                    <a:pt x="71" y="146"/>
                  </a:lnTo>
                  <a:lnTo>
                    <a:pt x="139" y="163"/>
                  </a:lnTo>
                  <a:lnTo>
                    <a:pt x="177" y="151"/>
                  </a:lnTo>
                  <a:lnTo>
                    <a:pt x="198" y="146"/>
                  </a:lnTo>
                  <a:lnTo>
                    <a:pt x="198" y="130"/>
                  </a:lnTo>
                  <a:lnTo>
                    <a:pt x="203" y="130"/>
                  </a:lnTo>
                  <a:lnTo>
                    <a:pt x="215" y="106"/>
                  </a:lnTo>
                  <a:lnTo>
                    <a:pt x="245" y="78"/>
                  </a:lnTo>
                  <a:lnTo>
                    <a:pt x="274" y="40"/>
                  </a:lnTo>
                  <a:lnTo>
                    <a:pt x="283" y="40"/>
                  </a:lnTo>
                  <a:lnTo>
                    <a:pt x="300" y="35"/>
                  </a:lnTo>
                  <a:lnTo>
                    <a:pt x="312" y="0"/>
                  </a:lnTo>
                  <a:lnTo>
                    <a:pt x="321" y="12"/>
                  </a:lnTo>
                  <a:lnTo>
                    <a:pt x="312" y="35"/>
                  </a:lnTo>
                  <a:lnTo>
                    <a:pt x="326" y="35"/>
                  </a:lnTo>
                  <a:lnTo>
                    <a:pt x="326" y="40"/>
                  </a:lnTo>
                  <a:lnTo>
                    <a:pt x="326" y="90"/>
                  </a:lnTo>
                  <a:lnTo>
                    <a:pt x="326" y="97"/>
                  </a:lnTo>
                  <a:lnTo>
                    <a:pt x="326" y="97"/>
                  </a:lnTo>
                  <a:lnTo>
                    <a:pt x="326" y="97"/>
                  </a:lnTo>
                  <a:close/>
                  <a:moveTo>
                    <a:pt x="198" y="130"/>
                  </a:moveTo>
                  <a:lnTo>
                    <a:pt x="193" y="130"/>
                  </a:lnTo>
                  <a:lnTo>
                    <a:pt x="193" y="123"/>
                  </a:lnTo>
                  <a:lnTo>
                    <a:pt x="198" y="130"/>
                  </a:lnTo>
                  <a:lnTo>
                    <a:pt x="198" y="130"/>
                  </a:lnTo>
                  <a:lnTo>
                    <a:pt x="198" y="130"/>
                  </a:lnTo>
                  <a:close/>
                  <a:moveTo>
                    <a:pt x="71" y="146"/>
                  </a:moveTo>
                  <a:lnTo>
                    <a:pt x="71" y="134"/>
                  </a:lnTo>
                  <a:lnTo>
                    <a:pt x="75" y="134"/>
                  </a:lnTo>
                  <a:lnTo>
                    <a:pt x="71" y="146"/>
                  </a:lnTo>
                  <a:lnTo>
                    <a:pt x="71" y="146"/>
                  </a:lnTo>
                  <a:lnTo>
                    <a:pt x="71" y="146"/>
                  </a:lnTo>
                  <a:close/>
                  <a:moveTo>
                    <a:pt x="151" y="151"/>
                  </a:moveTo>
                  <a:lnTo>
                    <a:pt x="144" y="151"/>
                  </a:lnTo>
                  <a:lnTo>
                    <a:pt x="160" y="146"/>
                  </a:lnTo>
                  <a:lnTo>
                    <a:pt x="165" y="146"/>
                  </a:lnTo>
                  <a:lnTo>
                    <a:pt x="151" y="151"/>
                  </a:lnTo>
                  <a:lnTo>
                    <a:pt x="151" y="151"/>
                  </a:lnTo>
                  <a:lnTo>
                    <a:pt x="151" y="151"/>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5" name="Freeform 566">
              <a:extLst>
                <a:ext uri="{FF2B5EF4-FFF2-40B4-BE49-F238E27FC236}">
                  <a16:creationId xmlns:a16="http://schemas.microsoft.com/office/drawing/2014/main" id="{CDBC9068-AC2E-4FF4-83AA-87E50026C7A8}"/>
                </a:ext>
              </a:extLst>
            </p:cNvPr>
            <p:cNvSpPr>
              <a:spLocks noEditPoints="1"/>
            </p:cNvSpPr>
            <p:nvPr/>
          </p:nvSpPr>
          <p:spPr bwMode="gray">
            <a:xfrm>
              <a:off x="12322716" y="3846350"/>
              <a:ext cx="33057" cy="30766"/>
            </a:xfrm>
            <a:custGeom>
              <a:avLst/>
              <a:gdLst>
                <a:gd name="T0" fmla="*/ 80 w 101"/>
                <a:gd name="T1" fmla="*/ 16 h 94"/>
                <a:gd name="T2" fmla="*/ 80 w 101"/>
                <a:gd name="T3" fmla="*/ 16 h 94"/>
                <a:gd name="T4" fmla="*/ 101 w 101"/>
                <a:gd name="T5" fmla="*/ 0 h 94"/>
                <a:gd name="T6" fmla="*/ 101 w 101"/>
                <a:gd name="T7" fmla="*/ 4 h 94"/>
                <a:gd name="T8" fmla="*/ 80 w 101"/>
                <a:gd name="T9" fmla="*/ 16 h 94"/>
                <a:gd name="T10" fmla="*/ 80 w 101"/>
                <a:gd name="T11" fmla="*/ 16 h 94"/>
                <a:gd name="T12" fmla="*/ 80 w 101"/>
                <a:gd name="T13" fmla="*/ 16 h 94"/>
                <a:gd name="T14" fmla="*/ 64 w 101"/>
                <a:gd name="T15" fmla="*/ 40 h 94"/>
                <a:gd name="T16" fmla="*/ 68 w 101"/>
                <a:gd name="T17" fmla="*/ 40 h 94"/>
                <a:gd name="T18" fmla="*/ 64 w 101"/>
                <a:gd name="T19" fmla="*/ 44 h 94"/>
                <a:gd name="T20" fmla="*/ 64 w 101"/>
                <a:gd name="T21" fmla="*/ 89 h 94"/>
                <a:gd name="T22" fmla="*/ 0 w 101"/>
                <a:gd name="T23" fmla="*/ 94 h 94"/>
                <a:gd name="T24" fmla="*/ 31 w 101"/>
                <a:gd name="T25" fmla="*/ 78 h 94"/>
                <a:gd name="T26" fmla="*/ 31 w 101"/>
                <a:gd name="T27" fmla="*/ 56 h 94"/>
                <a:gd name="T28" fmla="*/ 14 w 101"/>
                <a:gd name="T29" fmla="*/ 44 h 94"/>
                <a:gd name="T30" fmla="*/ 64 w 101"/>
                <a:gd name="T31" fmla="*/ 40 h 94"/>
                <a:gd name="T32" fmla="*/ 64 w 101"/>
                <a:gd name="T33" fmla="*/ 40 h 94"/>
                <a:gd name="T34" fmla="*/ 64 w 101"/>
                <a:gd name="T35" fmla="*/ 4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 h="94">
                  <a:moveTo>
                    <a:pt x="80" y="16"/>
                  </a:moveTo>
                  <a:lnTo>
                    <a:pt x="80" y="16"/>
                  </a:lnTo>
                  <a:lnTo>
                    <a:pt x="101" y="0"/>
                  </a:lnTo>
                  <a:lnTo>
                    <a:pt x="101" y="4"/>
                  </a:lnTo>
                  <a:lnTo>
                    <a:pt x="80" y="16"/>
                  </a:lnTo>
                  <a:lnTo>
                    <a:pt x="80" y="16"/>
                  </a:lnTo>
                  <a:lnTo>
                    <a:pt x="80" y="16"/>
                  </a:lnTo>
                  <a:close/>
                  <a:moveTo>
                    <a:pt x="64" y="40"/>
                  </a:moveTo>
                  <a:lnTo>
                    <a:pt x="68" y="40"/>
                  </a:lnTo>
                  <a:lnTo>
                    <a:pt x="64" y="44"/>
                  </a:lnTo>
                  <a:lnTo>
                    <a:pt x="64" y="89"/>
                  </a:lnTo>
                  <a:lnTo>
                    <a:pt x="0" y="94"/>
                  </a:lnTo>
                  <a:lnTo>
                    <a:pt x="31" y="78"/>
                  </a:lnTo>
                  <a:lnTo>
                    <a:pt x="31" y="56"/>
                  </a:lnTo>
                  <a:lnTo>
                    <a:pt x="14" y="44"/>
                  </a:lnTo>
                  <a:lnTo>
                    <a:pt x="64" y="40"/>
                  </a:lnTo>
                  <a:lnTo>
                    <a:pt x="64" y="40"/>
                  </a:lnTo>
                  <a:lnTo>
                    <a:pt x="64" y="4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6" name="Freeform 567">
              <a:extLst>
                <a:ext uri="{FF2B5EF4-FFF2-40B4-BE49-F238E27FC236}">
                  <a16:creationId xmlns:a16="http://schemas.microsoft.com/office/drawing/2014/main" id="{922898A4-39B2-4019-BCE3-E51BE7DBC848}"/>
                </a:ext>
              </a:extLst>
            </p:cNvPr>
            <p:cNvSpPr>
              <a:spLocks noEditPoints="1"/>
            </p:cNvSpPr>
            <p:nvPr/>
          </p:nvSpPr>
          <p:spPr bwMode="gray">
            <a:xfrm>
              <a:off x="15977965" y="3624443"/>
              <a:ext cx="190159" cy="355444"/>
            </a:xfrm>
            <a:custGeom>
              <a:avLst/>
              <a:gdLst>
                <a:gd name="T0" fmla="*/ 298 w 581"/>
                <a:gd name="T1" fmla="*/ 1070 h 1086"/>
                <a:gd name="T2" fmla="*/ 267 w 581"/>
                <a:gd name="T3" fmla="*/ 1046 h 1086"/>
                <a:gd name="T4" fmla="*/ 217 w 581"/>
                <a:gd name="T5" fmla="*/ 1025 h 1086"/>
                <a:gd name="T6" fmla="*/ 196 w 581"/>
                <a:gd name="T7" fmla="*/ 1025 h 1086"/>
                <a:gd name="T8" fmla="*/ 147 w 581"/>
                <a:gd name="T9" fmla="*/ 968 h 1086"/>
                <a:gd name="T10" fmla="*/ 121 w 581"/>
                <a:gd name="T11" fmla="*/ 930 h 1086"/>
                <a:gd name="T12" fmla="*/ 92 w 581"/>
                <a:gd name="T13" fmla="*/ 885 h 1086"/>
                <a:gd name="T14" fmla="*/ 66 w 581"/>
                <a:gd name="T15" fmla="*/ 881 h 1086"/>
                <a:gd name="T16" fmla="*/ 104 w 581"/>
                <a:gd name="T17" fmla="*/ 720 h 1086"/>
                <a:gd name="T18" fmla="*/ 147 w 581"/>
                <a:gd name="T19" fmla="*/ 588 h 1086"/>
                <a:gd name="T20" fmla="*/ 137 w 581"/>
                <a:gd name="T21" fmla="*/ 543 h 1086"/>
                <a:gd name="T22" fmla="*/ 71 w 581"/>
                <a:gd name="T23" fmla="*/ 432 h 1086"/>
                <a:gd name="T24" fmla="*/ 88 w 581"/>
                <a:gd name="T25" fmla="*/ 382 h 1086"/>
                <a:gd name="T26" fmla="*/ 109 w 581"/>
                <a:gd name="T27" fmla="*/ 304 h 1086"/>
                <a:gd name="T28" fmla="*/ 33 w 581"/>
                <a:gd name="T29" fmla="*/ 210 h 1086"/>
                <a:gd name="T30" fmla="*/ 12 w 581"/>
                <a:gd name="T31" fmla="*/ 156 h 1086"/>
                <a:gd name="T32" fmla="*/ 33 w 581"/>
                <a:gd name="T33" fmla="*/ 82 h 1086"/>
                <a:gd name="T34" fmla="*/ 66 w 581"/>
                <a:gd name="T35" fmla="*/ 56 h 1086"/>
                <a:gd name="T36" fmla="*/ 147 w 581"/>
                <a:gd name="T37" fmla="*/ 28 h 1086"/>
                <a:gd name="T38" fmla="*/ 191 w 581"/>
                <a:gd name="T39" fmla="*/ 0 h 1086"/>
                <a:gd name="T40" fmla="*/ 217 w 581"/>
                <a:gd name="T41" fmla="*/ 28 h 1086"/>
                <a:gd name="T42" fmla="*/ 243 w 581"/>
                <a:gd name="T43" fmla="*/ 73 h 1086"/>
                <a:gd name="T44" fmla="*/ 281 w 581"/>
                <a:gd name="T45" fmla="*/ 106 h 1086"/>
                <a:gd name="T46" fmla="*/ 272 w 581"/>
                <a:gd name="T47" fmla="*/ 160 h 1086"/>
                <a:gd name="T48" fmla="*/ 298 w 581"/>
                <a:gd name="T49" fmla="*/ 200 h 1086"/>
                <a:gd name="T50" fmla="*/ 359 w 581"/>
                <a:gd name="T51" fmla="*/ 182 h 1086"/>
                <a:gd name="T52" fmla="*/ 406 w 581"/>
                <a:gd name="T53" fmla="*/ 182 h 1086"/>
                <a:gd name="T54" fmla="*/ 428 w 581"/>
                <a:gd name="T55" fmla="*/ 156 h 1086"/>
                <a:gd name="T56" fmla="*/ 527 w 581"/>
                <a:gd name="T57" fmla="*/ 238 h 1086"/>
                <a:gd name="T58" fmla="*/ 569 w 581"/>
                <a:gd name="T59" fmla="*/ 345 h 1086"/>
                <a:gd name="T60" fmla="*/ 581 w 581"/>
                <a:gd name="T61" fmla="*/ 404 h 1086"/>
                <a:gd name="T62" fmla="*/ 543 w 581"/>
                <a:gd name="T63" fmla="*/ 453 h 1086"/>
                <a:gd name="T64" fmla="*/ 414 w 581"/>
                <a:gd name="T65" fmla="*/ 453 h 1086"/>
                <a:gd name="T66" fmla="*/ 373 w 581"/>
                <a:gd name="T67" fmla="*/ 510 h 1086"/>
                <a:gd name="T68" fmla="*/ 364 w 581"/>
                <a:gd name="T69" fmla="*/ 581 h 1086"/>
                <a:gd name="T70" fmla="*/ 373 w 581"/>
                <a:gd name="T71" fmla="*/ 609 h 1086"/>
                <a:gd name="T72" fmla="*/ 359 w 581"/>
                <a:gd name="T73" fmla="*/ 604 h 1086"/>
                <a:gd name="T74" fmla="*/ 310 w 581"/>
                <a:gd name="T75" fmla="*/ 571 h 1086"/>
                <a:gd name="T76" fmla="*/ 251 w 581"/>
                <a:gd name="T77" fmla="*/ 581 h 1086"/>
                <a:gd name="T78" fmla="*/ 191 w 581"/>
                <a:gd name="T79" fmla="*/ 531 h 1086"/>
                <a:gd name="T80" fmla="*/ 163 w 581"/>
                <a:gd name="T81" fmla="*/ 666 h 1086"/>
                <a:gd name="T82" fmla="*/ 142 w 581"/>
                <a:gd name="T83" fmla="*/ 819 h 1086"/>
                <a:gd name="T84" fmla="*/ 191 w 581"/>
                <a:gd name="T85" fmla="*/ 876 h 1086"/>
                <a:gd name="T86" fmla="*/ 201 w 581"/>
                <a:gd name="T87" fmla="*/ 885 h 1086"/>
                <a:gd name="T88" fmla="*/ 213 w 581"/>
                <a:gd name="T89" fmla="*/ 935 h 1086"/>
                <a:gd name="T90" fmla="*/ 217 w 581"/>
                <a:gd name="T91" fmla="*/ 975 h 1086"/>
                <a:gd name="T92" fmla="*/ 281 w 581"/>
                <a:gd name="T93" fmla="*/ 996 h 1086"/>
                <a:gd name="T94" fmla="*/ 336 w 581"/>
                <a:gd name="T95" fmla="*/ 1046 h 1086"/>
                <a:gd name="T96" fmla="*/ 352 w 581"/>
                <a:gd name="T97" fmla="*/ 626 h 1086"/>
                <a:gd name="T98" fmla="*/ 359 w 581"/>
                <a:gd name="T99" fmla="*/ 626 h 1086"/>
                <a:gd name="T100" fmla="*/ 364 w 581"/>
                <a:gd name="T101" fmla="*/ 642 h 1086"/>
                <a:gd name="T102" fmla="*/ 196 w 581"/>
                <a:gd name="T103" fmla="*/ 791 h 1086"/>
                <a:gd name="T104" fmla="*/ 191 w 581"/>
                <a:gd name="T105" fmla="*/ 786 h 1086"/>
                <a:gd name="T106" fmla="*/ 196 w 581"/>
                <a:gd name="T107" fmla="*/ 808 h 1086"/>
                <a:gd name="T108" fmla="*/ 66 w 581"/>
                <a:gd name="T109" fmla="*/ 843 h 1086"/>
                <a:gd name="T110" fmla="*/ 71 w 581"/>
                <a:gd name="T111" fmla="*/ 843 h 1086"/>
                <a:gd name="T112" fmla="*/ 66 w 581"/>
                <a:gd name="T113" fmla="*/ 902 h 1086"/>
                <a:gd name="T114" fmla="*/ 88 w 581"/>
                <a:gd name="T115" fmla="*/ 914 h 1086"/>
                <a:gd name="T116" fmla="*/ 88 w 581"/>
                <a:gd name="T117" fmla="*/ 914 h 1086"/>
                <a:gd name="T118" fmla="*/ 158 w 581"/>
                <a:gd name="T119" fmla="*/ 1025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1" h="1086">
                  <a:moveTo>
                    <a:pt x="336" y="1046"/>
                  </a:moveTo>
                  <a:lnTo>
                    <a:pt x="321" y="1079"/>
                  </a:lnTo>
                  <a:lnTo>
                    <a:pt x="305" y="1079"/>
                  </a:lnTo>
                  <a:lnTo>
                    <a:pt x="298" y="1070"/>
                  </a:lnTo>
                  <a:lnTo>
                    <a:pt x="267" y="1086"/>
                  </a:lnTo>
                  <a:lnTo>
                    <a:pt x="255" y="1079"/>
                  </a:lnTo>
                  <a:lnTo>
                    <a:pt x="267" y="1063"/>
                  </a:lnTo>
                  <a:lnTo>
                    <a:pt x="267" y="1046"/>
                  </a:lnTo>
                  <a:lnTo>
                    <a:pt x="251" y="1046"/>
                  </a:lnTo>
                  <a:lnTo>
                    <a:pt x="243" y="1025"/>
                  </a:lnTo>
                  <a:lnTo>
                    <a:pt x="234" y="1030"/>
                  </a:lnTo>
                  <a:lnTo>
                    <a:pt x="217" y="1025"/>
                  </a:lnTo>
                  <a:lnTo>
                    <a:pt x="213" y="1013"/>
                  </a:lnTo>
                  <a:lnTo>
                    <a:pt x="201" y="1013"/>
                  </a:lnTo>
                  <a:lnTo>
                    <a:pt x="196" y="1030"/>
                  </a:lnTo>
                  <a:lnTo>
                    <a:pt x="196" y="1025"/>
                  </a:lnTo>
                  <a:lnTo>
                    <a:pt x="163" y="996"/>
                  </a:lnTo>
                  <a:lnTo>
                    <a:pt x="175" y="987"/>
                  </a:lnTo>
                  <a:lnTo>
                    <a:pt x="158" y="987"/>
                  </a:lnTo>
                  <a:lnTo>
                    <a:pt x="147" y="968"/>
                  </a:lnTo>
                  <a:lnTo>
                    <a:pt x="137" y="942"/>
                  </a:lnTo>
                  <a:lnTo>
                    <a:pt x="125" y="935"/>
                  </a:lnTo>
                  <a:lnTo>
                    <a:pt x="121" y="935"/>
                  </a:lnTo>
                  <a:lnTo>
                    <a:pt x="121" y="930"/>
                  </a:lnTo>
                  <a:lnTo>
                    <a:pt x="104" y="919"/>
                  </a:lnTo>
                  <a:lnTo>
                    <a:pt x="92" y="897"/>
                  </a:lnTo>
                  <a:lnTo>
                    <a:pt x="92" y="897"/>
                  </a:lnTo>
                  <a:lnTo>
                    <a:pt x="92" y="885"/>
                  </a:lnTo>
                  <a:lnTo>
                    <a:pt x="83" y="897"/>
                  </a:lnTo>
                  <a:lnTo>
                    <a:pt x="83" y="902"/>
                  </a:lnTo>
                  <a:lnTo>
                    <a:pt x="66" y="897"/>
                  </a:lnTo>
                  <a:lnTo>
                    <a:pt x="66" y="881"/>
                  </a:lnTo>
                  <a:lnTo>
                    <a:pt x="71" y="831"/>
                  </a:lnTo>
                  <a:lnTo>
                    <a:pt x="104" y="748"/>
                  </a:lnTo>
                  <a:lnTo>
                    <a:pt x="104" y="737"/>
                  </a:lnTo>
                  <a:lnTo>
                    <a:pt x="104" y="720"/>
                  </a:lnTo>
                  <a:lnTo>
                    <a:pt x="137" y="699"/>
                  </a:lnTo>
                  <a:lnTo>
                    <a:pt x="163" y="642"/>
                  </a:lnTo>
                  <a:lnTo>
                    <a:pt x="147" y="604"/>
                  </a:lnTo>
                  <a:lnTo>
                    <a:pt x="147" y="588"/>
                  </a:lnTo>
                  <a:lnTo>
                    <a:pt x="137" y="571"/>
                  </a:lnTo>
                  <a:lnTo>
                    <a:pt x="125" y="548"/>
                  </a:lnTo>
                  <a:lnTo>
                    <a:pt x="125" y="543"/>
                  </a:lnTo>
                  <a:lnTo>
                    <a:pt x="137" y="543"/>
                  </a:lnTo>
                  <a:lnTo>
                    <a:pt x="137" y="498"/>
                  </a:lnTo>
                  <a:lnTo>
                    <a:pt x="121" y="477"/>
                  </a:lnTo>
                  <a:lnTo>
                    <a:pt x="92" y="460"/>
                  </a:lnTo>
                  <a:lnTo>
                    <a:pt x="71" y="432"/>
                  </a:lnTo>
                  <a:lnTo>
                    <a:pt x="66" y="404"/>
                  </a:lnTo>
                  <a:lnTo>
                    <a:pt x="66" y="387"/>
                  </a:lnTo>
                  <a:lnTo>
                    <a:pt x="83" y="382"/>
                  </a:lnTo>
                  <a:lnTo>
                    <a:pt x="88" y="382"/>
                  </a:lnTo>
                  <a:lnTo>
                    <a:pt x="92" y="333"/>
                  </a:lnTo>
                  <a:lnTo>
                    <a:pt x="109" y="326"/>
                  </a:lnTo>
                  <a:lnTo>
                    <a:pt x="109" y="304"/>
                  </a:lnTo>
                  <a:lnTo>
                    <a:pt x="109" y="304"/>
                  </a:lnTo>
                  <a:lnTo>
                    <a:pt x="92" y="309"/>
                  </a:lnTo>
                  <a:lnTo>
                    <a:pt x="83" y="276"/>
                  </a:lnTo>
                  <a:lnTo>
                    <a:pt x="88" y="267"/>
                  </a:lnTo>
                  <a:lnTo>
                    <a:pt x="33" y="210"/>
                  </a:lnTo>
                  <a:lnTo>
                    <a:pt x="29" y="165"/>
                  </a:lnTo>
                  <a:lnTo>
                    <a:pt x="12" y="165"/>
                  </a:lnTo>
                  <a:lnTo>
                    <a:pt x="0" y="144"/>
                  </a:lnTo>
                  <a:lnTo>
                    <a:pt x="12" y="156"/>
                  </a:lnTo>
                  <a:lnTo>
                    <a:pt x="33" y="144"/>
                  </a:lnTo>
                  <a:lnTo>
                    <a:pt x="29" y="111"/>
                  </a:lnTo>
                  <a:lnTo>
                    <a:pt x="33" y="106"/>
                  </a:lnTo>
                  <a:lnTo>
                    <a:pt x="33" y="82"/>
                  </a:lnTo>
                  <a:lnTo>
                    <a:pt x="38" y="66"/>
                  </a:lnTo>
                  <a:lnTo>
                    <a:pt x="50" y="66"/>
                  </a:lnTo>
                  <a:lnTo>
                    <a:pt x="50" y="49"/>
                  </a:lnTo>
                  <a:lnTo>
                    <a:pt x="66" y="56"/>
                  </a:lnTo>
                  <a:lnTo>
                    <a:pt x="109" y="49"/>
                  </a:lnTo>
                  <a:lnTo>
                    <a:pt x="121" y="49"/>
                  </a:lnTo>
                  <a:lnTo>
                    <a:pt x="125" y="33"/>
                  </a:lnTo>
                  <a:lnTo>
                    <a:pt x="147" y="28"/>
                  </a:lnTo>
                  <a:lnTo>
                    <a:pt x="158" y="28"/>
                  </a:lnTo>
                  <a:lnTo>
                    <a:pt x="158" y="11"/>
                  </a:lnTo>
                  <a:lnTo>
                    <a:pt x="175" y="11"/>
                  </a:lnTo>
                  <a:lnTo>
                    <a:pt x="191" y="0"/>
                  </a:lnTo>
                  <a:lnTo>
                    <a:pt x="196" y="11"/>
                  </a:lnTo>
                  <a:lnTo>
                    <a:pt x="201" y="16"/>
                  </a:lnTo>
                  <a:lnTo>
                    <a:pt x="213" y="11"/>
                  </a:lnTo>
                  <a:lnTo>
                    <a:pt x="217" y="28"/>
                  </a:lnTo>
                  <a:lnTo>
                    <a:pt x="229" y="28"/>
                  </a:lnTo>
                  <a:lnTo>
                    <a:pt x="217" y="56"/>
                  </a:lnTo>
                  <a:lnTo>
                    <a:pt x="229" y="73"/>
                  </a:lnTo>
                  <a:lnTo>
                    <a:pt x="243" y="73"/>
                  </a:lnTo>
                  <a:lnTo>
                    <a:pt x="251" y="66"/>
                  </a:lnTo>
                  <a:lnTo>
                    <a:pt x="281" y="73"/>
                  </a:lnTo>
                  <a:lnTo>
                    <a:pt x="272" y="82"/>
                  </a:lnTo>
                  <a:lnTo>
                    <a:pt x="281" y="106"/>
                  </a:lnTo>
                  <a:lnTo>
                    <a:pt x="272" y="123"/>
                  </a:lnTo>
                  <a:lnTo>
                    <a:pt x="281" y="139"/>
                  </a:lnTo>
                  <a:lnTo>
                    <a:pt x="267" y="156"/>
                  </a:lnTo>
                  <a:lnTo>
                    <a:pt x="272" y="160"/>
                  </a:lnTo>
                  <a:lnTo>
                    <a:pt x="272" y="177"/>
                  </a:lnTo>
                  <a:lnTo>
                    <a:pt x="255" y="217"/>
                  </a:lnTo>
                  <a:lnTo>
                    <a:pt x="272" y="222"/>
                  </a:lnTo>
                  <a:lnTo>
                    <a:pt x="298" y="200"/>
                  </a:lnTo>
                  <a:lnTo>
                    <a:pt x="310" y="182"/>
                  </a:lnTo>
                  <a:lnTo>
                    <a:pt x="321" y="182"/>
                  </a:lnTo>
                  <a:lnTo>
                    <a:pt x="336" y="165"/>
                  </a:lnTo>
                  <a:lnTo>
                    <a:pt x="359" y="182"/>
                  </a:lnTo>
                  <a:lnTo>
                    <a:pt x="373" y="193"/>
                  </a:lnTo>
                  <a:lnTo>
                    <a:pt x="373" y="200"/>
                  </a:lnTo>
                  <a:lnTo>
                    <a:pt x="390" y="182"/>
                  </a:lnTo>
                  <a:lnTo>
                    <a:pt x="406" y="182"/>
                  </a:lnTo>
                  <a:lnTo>
                    <a:pt x="406" y="177"/>
                  </a:lnTo>
                  <a:lnTo>
                    <a:pt x="418" y="165"/>
                  </a:lnTo>
                  <a:lnTo>
                    <a:pt x="418" y="160"/>
                  </a:lnTo>
                  <a:lnTo>
                    <a:pt x="428" y="156"/>
                  </a:lnTo>
                  <a:lnTo>
                    <a:pt x="466" y="160"/>
                  </a:lnTo>
                  <a:lnTo>
                    <a:pt x="489" y="200"/>
                  </a:lnTo>
                  <a:lnTo>
                    <a:pt x="520" y="222"/>
                  </a:lnTo>
                  <a:lnTo>
                    <a:pt x="527" y="238"/>
                  </a:lnTo>
                  <a:lnTo>
                    <a:pt x="520" y="293"/>
                  </a:lnTo>
                  <a:lnTo>
                    <a:pt x="543" y="326"/>
                  </a:lnTo>
                  <a:lnTo>
                    <a:pt x="569" y="333"/>
                  </a:lnTo>
                  <a:lnTo>
                    <a:pt x="569" y="345"/>
                  </a:lnTo>
                  <a:lnTo>
                    <a:pt x="569" y="349"/>
                  </a:lnTo>
                  <a:lnTo>
                    <a:pt x="581" y="361"/>
                  </a:lnTo>
                  <a:lnTo>
                    <a:pt x="574" y="399"/>
                  </a:lnTo>
                  <a:lnTo>
                    <a:pt x="581" y="404"/>
                  </a:lnTo>
                  <a:lnTo>
                    <a:pt x="574" y="437"/>
                  </a:lnTo>
                  <a:lnTo>
                    <a:pt x="553" y="453"/>
                  </a:lnTo>
                  <a:lnTo>
                    <a:pt x="543" y="470"/>
                  </a:lnTo>
                  <a:lnTo>
                    <a:pt x="543" y="453"/>
                  </a:lnTo>
                  <a:lnTo>
                    <a:pt x="527" y="444"/>
                  </a:lnTo>
                  <a:lnTo>
                    <a:pt x="466" y="453"/>
                  </a:lnTo>
                  <a:lnTo>
                    <a:pt x="444" y="444"/>
                  </a:lnTo>
                  <a:lnTo>
                    <a:pt x="414" y="453"/>
                  </a:lnTo>
                  <a:lnTo>
                    <a:pt x="397" y="470"/>
                  </a:lnTo>
                  <a:lnTo>
                    <a:pt x="380" y="498"/>
                  </a:lnTo>
                  <a:lnTo>
                    <a:pt x="364" y="498"/>
                  </a:lnTo>
                  <a:lnTo>
                    <a:pt x="373" y="510"/>
                  </a:lnTo>
                  <a:lnTo>
                    <a:pt x="359" y="510"/>
                  </a:lnTo>
                  <a:lnTo>
                    <a:pt x="352" y="531"/>
                  </a:lnTo>
                  <a:lnTo>
                    <a:pt x="364" y="555"/>
                  </a:lnTo>
                  <a:lnTo>
                    <a:pt x="364" y="581"/>
                  </a:lnTo>
                  <a:lnTo>
                    <a:pt x="380" y="597"/>
                  </a:lnTo>
                  <a:lnTo>
                    <a:pt x="380" y="621"/>
                  </a:lnTo>
                  <a:lnTo>
                    <a:pt x="397" y="654"/>
                  </a:lnTo>
                  <a:lnTo>
                    <a:pt x="373" y="609"/>
                  </a:lnTo>
                  <a:lnTo>
                    <a:pt x="364" y="609"/>
                  </a:lnTo>
                  <a:lnTo>
                    <a:pt x="364" y="621"/>
                  </a:lnTo>
                  <a:lnTo>
                    <a:pt x="352" y="609"/>
                  </a:lnTo>
                  <a:lnTo>
                    <a:pt x="359" y="604"/>
                  </a:lnTo>
                  <a:lnTo>
                    <a:pt x="343" y="604"/>
                  </a:lnTo>
                  <a:lnTo>
                    <a:pt x="336" y="588"/>
                  </a:lnTo>
                  <a:lnTo>
                    <a:pt x="326" y="588"/>
                  </a:lnTo>
                  <a:lnTo>
                    <a:pt x="310" y="571"/>
                  </a:lnTo>
                  <a:lnTo>
                    <a:pt x="288" y="581"/>
                  </a:lnTo>
                  <a:lnTo>
                    <a:pt x="267" y="581"/>
                  </a:lnTo>
                  <a:lnTo>
                    <a:pt x="255" y="588"/>
                  </a:lnTo>
                  <a:lnTo>
                    <a:pt x="251" y="581"/>
                  </a:lnTo>
                  <a:lnTo>
                    <a:pt x="255" y="515"/>
                  </a:lnTo>
                  <a:lnTo>
                    <a:pt x="229" y="515"/>
                  </a:lnTo>
                  <a:lnTo>
                    <a:pt x="196" y="526"/>
                  </a:lnTo>
                  <a:lnTo>
                    <a:pt x="191" y="531"/>
                  </a:lnTo>
                  <a:lnTo>
                    <a:pt x="196" y="548"/>
                  </a:lnTo>
                  <a:lnTo>
                    <a:pt x="191" y="581"/>
                  </a:lnTo>
                  <a:lnTo>
                    <a:pt x="191" y="609"/>
                  </a:lnTo>
                  <a:lnTo>
                    <a:pt x="163" y="666"/>
                  </a:lnTo>
                  <a:lnTo>
                    <a:pt x="158" y="708"/>
                  </a:lnTo>
                  <a:lnTo>
                    <a:pt x="125" y="748"/>
                  </a:lnTo>
                  <a:lnTo>
                    <a:pt x="125" y="791"/>
                  </a:lnTo>
                  <a:lnTo>
                    <a:pt x="142" y="819"/>
                  </a:lnTo>
                  <a:lnTo>
                    <a:pt x="137" y="826"/>
                  </a:lnTo>
                  <a:lnTo>
                    <a:pt x="147" y="831"/>
                  </a:lnTo>
                  <a:lnTo>
                    <a:pt x="180" y="826"/>
                  </a:lnTo>
                  <a:lnTo>
                    <a:pt x="191" y="876"/>
                  </a:lnTo>
                  <a:lnTo>
                    <a:pt x="196" y="885"/>
                  </a:lnTo>
                  <a:lnTo>
                    <a:pt x="201" y="885"/>
                  </a:lnTo>
                  <a:lnTo>
                    <a:pt x="196" y="881"/>
                  </a:lnTo>
                  <a:lnTo>
                    <a:pt x="201" y="885"/>
                  </a:lnTo>
                  <a:lnTo>
                    <a:pt x="217" y="959"/>
                  </a:lnTo>
                  <a:lnTo>
                    <a:pt x="229" y="975"/>
                  </a:lnTo>
                  <a:lnTo>
                    <a:pt x="217" y="968"/>
                  </a:lnTo>
                  <a:lnTo>
                    <a:pt x="213" y="935"/>
                  </a:lnTo>
                  <a:lnTo>
                    <a:pt x="201" y="935"/>
                  </a:lnTo>
                  <a:lnTo>
                    <a:pt x="196" y="935"/>
                  </a:lnTo>
                  <a:lnTo>
                    <a:pt x="201" y="952"/>
                  </a:lnTo>
                  <a:lnTo>
                    <a:pt x="217" y="975"/>
                  </a:lnTo>
                  <a:lnTo>
                    <a:pt x="234" y="975"/>
                  </a:lnTo>
                  <a:lnTo>
                    <a:pt x="243" y="992"/>
                  </a:lnTo>
                  <a:lnTo>
                    <a:pt x="255" y="996"/>
                  </a:lnTo>
                  <a:lnTo>
                    <a:pt x="281" y="996"/>
                  </a:lnTo>
                  <a:lnTo>
                    <a:pt x="281" y="992"/>
                  </a:lnTo>
                  <a:lnTo>
                    <a:pt x="298" y="996"/>
                  </a:lnTo>
                  <a:lnTo>
                    <a:pt x="310" y="1030"/>
                  </a:lnTo>
                  <a:lnTo>
                    <a:pt x="336" y="1046"/>
                  </a:lnTo>
                  <a:lnTo>
                    <a:pt x="336" y="1046"/>
                  </a:lnTo>
                  <a:lnTo>
                    <a:pt x="336" y="1046"/>
                  </a:lnTo>
                  <a:close/>
                  <a:moveTo>
                    <a:pt x="359" y="626"/>
                  </a:moveTo>
                  <a:lnTo>
                    <a:pt x="352" y="626"/>
                  </a:lnTo>
                  <a:lnTo>
                    <a:pt x="352" y="621"/>
                  </a:lnTo>
                  <a:lnTo>
                    <a:pt x="359" y="626"/>
                  </a:lnTo>
                  <a:lnTo>
                    <a:pt x="359" y="626"/>
                  </a:lnTo>
                  <a:lnTo>
                    <a:pt x="359" y="626"/>
                  </a:lnTo>
                  <a:close/>
                  <a:moveTo>
                    <a:pt x="364" y="642"/>
                  </a:moveTo>
                  <a:lnTo>
                    <a:pt x="373" y="659"/>
                  </a:lnTo>
                  <a:lnTo>
                    <a:pt x="364" y="659"/>
                  </a:lnTo>
                  <a:lnTo>
                    <a:pt x="364" y="642"/>
                  </a:lnTo>
                  <a:lnTo>
                    <a:pt x="364" y="642"/>
                  </a:lnTo>
                  <a:lnTo>
                    <a:pt x="364" y="642"/>
                  </a:lnTo>
                  <a:close/>
                  <a:moveTo>
                    <a:pt x="191" y="786"/>
                  </a:moveTo>
                  <a:lnTo>
                    <a:pt x="196" y="791"/>
                  </a:lnTo>
                  <a:lnTo>
                    <a:pt x="191" y="791"/>
                  </a:lnTo>
                  <a:lnTo>
                    <a:pt x="191" y="786"/>
                  </a:lnTo>
                  <a:lnTo>
                    <a:pt x="191" y="786"/>
                  </a:lnTo>
                  <a:lnTo>
                    <a:pt x="191" y="786"/>
                  </a:lnTo>
                  <a:close/>
                  <a:moveTo>
                    <a:pt x="196" y="808"/>
                  </a:moveTo>
                  <a:lnTo>
                    <a:pt x="191" y="819"/>
                  </a:lnTo>
                  <a:lnTo>
                    <a:pt x="191" y="808"/>
                  </a:lnTo>
                  <a:lnTo>
                    <a:pt x="196" y="808"/>
                  </a:lnTo>
                  <a:lnTo>
                    <a:pt x="196" y="808"/>
                  </a:lnTo>
                  <a:lnTo>
                    <a:pt x="196" y="808"/>
                  </a:lnTo>
                  <a:close/>
                  <a:moveTo>
                    <a:pt x="71" y="843"/>
                  </a:moveTo>
                  <a:lnTo>
                    <a:pt x="66" y="843"/>
                  </a:lnTo>
                  <a:lnTo>
                    <a:pt x="66" y="831"/>
                  </a:lnTo>
                  <a:lnTo>
                    <a:pt x="71" y="843"/>
                  </a:lnTo>
                  <a:lnTo>
                    <a:pt x="71" y="843"/>
                  </a:lnTo>
                  <a:lnTo>
                    <a:pt x="71" y="843"/>
                  </a:lnTo>
                  <a:close/>
                  <a:moveTo>
                    <a:pt x="71" y="902"/>
                  </a:moveTo>
                  <a:lnTo>
                    <a:pt x="83" y="930"/>
                  </a:lnTo>
                  <a:lnTo>
                    <a:pt x="71" y="935"/>
                  </a:lnTo>
                  <a:lnTo>
                    <a:pt x="66" y="902"/>
                  </a:lnTo>
                  <a:lnTo>
                    <a:pt x="71" y="902"/>
                  </a:lnTo>
                  <a:lnTo>
                    <a:pt x="71" y="902"/>
                  </a:lnTo>
                  <a:lnTo>
                    <a:pt x="71" y="902"/>
                  </a:lnTo>
                  <a:close/>
                  <a:moveTo>
                    <a:pt x="88" y="914"/>
                  </a:moveTo>
                  <a:lnTo>
                    <a:pt x="88" y="914"/>
                  </a:lnTo>
                  <a:lnTo>
                    <a:pt x="88" y="930"/>
                  </a:lnTo>
                  <a:lnTo>
                    <a:pt x="88" y="914"/>
                  </a:lnTo>
                  <a:lnTo>
                    <a:pt x="88" y="914"/>
                  </a:lnTo>
                  <a:lnTo>
                    <a:pt x="88" y="914"/>
                  </a:lnTo>
                  <a:close/>
                  <a:moveTo>
                    <a:pt x="163" y="1013"/>
                  </a:moveTo>
                  <a:lnTo>
                    <a:pt x="163" y="1030"/>
                  </a:lnTo>
                  <a:lnTo>
                    <a:pt x="158" y="1025"/>
                  </a:lnTo>
                  <a:lnTo>
                    <a:pt x="163" y="1013"/>
                  </a:lnTo>
                  <a:lnTo>
                    <a:pt x="163" y="1013"/>
                  </a:lnTo>
                  <a:lnTo>
                    <a:pt x="163" y="1013"/>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7" name="Freeform 568">
              <a:extLst>
                <a:ext uri="{FF2B5EF4-FFF2-40B4-BE49-F238E27FC236}">
                  <a16:creationId xmlns:a16="http://schemas.microsoft.com/office/drawing/2014/main" id="{7D143C91-084F-4B3E-A36F-C7BE8C2148FA}"/>
                </a:ext>
              </a:extLst>
            </p:cNvPr>
            <p:cNvSpPr>
              <a:spLocks/>
            </p:cNvSpPr>
            <p:nvPr/>
          </p:nvSpPr>
          <p:spPr bwMode="gray">
            <a:xfrm>
              <a:off x="15288351" y="3089313"/>
              <a:ext cx="182632" cy="120773"/>
            </a:xfrm>
            <a:custGeom>
              <a:avLst/>
              <a:gdLst>
                <a:gd name="T0" fmla="*/ 520 w 558"/>
                <a:gd name="T1" fmla="*/ 302 h 369"/>
                <a:gd name="T2" fmla="*/ 451 w 558"/>
                <a:gd name="T3" fmla="*/ 319 h 369"/>
                <a:gd name="T4" fmla="*/ 461 w 558"/>
                <a:gd name="T5" fmla="*/ 314 h 369"/>
                <a:gd name="T6" fmla="*/ 418 w 558"/>
                <a:gd name="T7" fmla="*/ 298 h 369"/>
                <a:gd name="T8" fmla="*/ 380 w 558"/>
                <a:gd name="T9" fmla="*/ 335 h 369"/>
                <a:gd name="T10" fmla="*/ 321 w 558"/>
                <a:gd name="T11" fmla="*/ 359 h 369"/>
                <a:gd name="T12" fmla="*/ 305 w 558"/>
                <a:gd name="T13" fmla="*/ 359 h 369"/>
                <a:gd name="T14" fmla="*/ 305 w 558"/>
                <a:gd name="T15" fmla="*/ 265 h 369"/>
                <a:gd name="T16" fmla="*/ 288 w 558"/>
                <a:gd name="T17" fmla="*/ 232 h 369"/>
                <a:gd name="T18" fmla="*/ 246 w 558"/>
                <a:gd name="T19" fmla="*/ 220 h 369"/>
                <a:gd name="T20" fmla="*/ 213 w 558"/>
                <a:gd name="T21" fmla="*/ 281 h 369"/>
                <a:gd name="T22" fmla="*/ 180 w 558"/>
                <a:gd name="T23" fmla="*/ 286 h 369"/>
                <a:gd name="T24" fmla="*/ 147 w 558"/>
                <a:gd name="T25" fmla="*/ 302 h 369"/>
                <a:gd name="T26" fmla="*/ 142 w 558"/>
                <a:gd name="T27" fmla="*/ 331 h 369"/>
                <a:gd name="T28" fmla="*/ 54 w 558"/>
                <a:gd name="T29" fmla="*/ 343 h 369"/>
                <a:gd name="T30" fmla="*/ 33 w 558"/>
                <a:gd name="T31" fmla="*/ 319 h 369"/>
                <a:gd name="T32" fmla="*/ 66 w 558"/>
                <a:gd name="T33" fmla="*/ 260 h 369"/>
                <a:gd name="T34" fmla="*/ 83 w 558"/>
                <a:gd name="T35" fmla="*/ 243 h 369"/>
                <a:gd name="T36" fmla="*/ 54 w 558"/>
                <a:gd name="T37" fmla="*/ 187 h 369"/>
                <a:gd name="T38" fmla="*/ 54 w 558"/>
                <a:gd name="T39" fmla="*/ 170 h 369"/>
                <a:gd name="T40" fmla="*/ 28 w 558"/>
                <a:gd name="T41" fmla="*/ 165 h 369"/>
                <a:gd name="T42" fmla="*/ 0 w 558"/>
                <a:gd name="T43" fmla="*/ 149 h 369"/>
                <a:gd name="T44" fmla="*/ 33 w 558"/>
                <a:gd name="T45" fmla="*/ 116 h 369"/>
                <a:gd name="T46" fmla="*/ 92 w 558"/>
                <a:gd name="T47" fmla="*/ 99 h 369"/>
                <a:gd name="T48" fmla="*/ 104 w 558"/>
                <a:gd name="T49" fmla="*/ 83 h 369"/>
                <a:gd name="T50" fmla="*/ 92 w 558"/>
                <a:gd name="T51" fmla="*/ 78 h 369"/>
                <a:gd name="T52" fmla="*/ 142 w 558"/>
                <a:gd name="T53" fmla="*/ 45 h 369"/>
                <a:gd name="T54" fmla="*/ 147 w 558"/>
                <a:gd name="T55" fmla="*/ 21 h 369"/>
                <a:gd name="T56" fmla="*/ 213 w 558"/>
                <a:gd name="T57" fmla="*/ 12 h 369"/>
                <a:gd name="T58" fmla="*/ 250 w 558"/>
                <a:gd name="T59" fmla="*/ 28 h 369"/>
                <a:gd name="T60" fmla="*/ 217 w 558"/>
                <a:gd name="T61" fmla="*/ 54 h 369"/>
                <a:gd name="T62" fmla="*/ 255 w 558"/>
                <a:gd name="T63" fmla="*/ 66 h 369"/>
                <a:gd name="T64" fmla="*/ 234 w 558"/>
                <a:gd name="T65" fmla="*/ 78 h 369"/>
                <a:gd name="T66" fmla="*/ 229 w 558"/>
                <a:gd name="T67" fmla="*/ 95 h 369"/>
                <a:gd name="T68" fmla="*/ 196 w 558"/>
                <a:gd name="T69" fmla="*/ 66 h 369"/>
                <a:gd name="T70" fmla="*/ 158 w 558"/>
                <a:gd name="T71" fmla="*/ 95 h 369"/>
                <a:gd name="T72" fmla="*/ 142 w 558"/>
                <a:gd name="T73" fmla="*/ 83 h 369"/>
                <a:gd name="T74" fmla="*/ 142 w 558"/>
                <a:gd name="T75" fmla="*/ 121 h 369"/>
                <a:gd name="T76" fmla="*/ 234 w 558"/>
                <a:gd name="T77" fmla="*/ 121 h 369"/>
                <a:gd name="T78" fmla="*/ 255 w 558"/>
                <a:gd name="T79" fmla="*/ 137 h 369"/>
                <a:gd name="T80" fmla="*/ 298 w 558"/>
                <a:gd name="T81" fmla="*/ 121 h 369"/>
                <a:gd name="T82" fmla="*/ 310 w 558"/>
                <a:gd name="T83" fmla="*/ 132 h 369"/>
                <a:gd name="T84" fmla="*/ 336 w 558"/>
                <a:gd name="T85" fmla="*/ 137 h 369"/>
                <a:gd name="T86" fmla="*/ 359 w 558"/>
                <a:gd name="T87" fmla="*/ 137 h 369"/>
                <a:gd name="T88" fmla="*/ 451 w 558"/>
                <a:gd name="T89" fmla="*/ 132 h 369"/>
                <a:gd name="T90" fmla="*/ 461 w 558"/>
                <a:gd name="T91" fmla="*/ 170 h 369"/>
                <a:gd name="T92" fmla="*/ 461 w 558"/>
                <a:gd name="T93" fmla="*/ 203 h 369"/>
                <a:gd name="T94" fmla="*/ 482 w 558"/>
                <a:gd name="T95" fmla="*/ 203 h 369"/>
                <a:gd name="T96" fmla="*/ 536 w 558"/>
                <a:gd name="T97" fmla="*/ 220 h 369"/>
                <a:gd name="T98" fmla="*/ 543 w 558"/>
                <a:gd name="T99" fmla="*/ 276 h 369"/>
                <a:gd name="T100" fmla="*/ 558 w 558"/>
                <a:gd name="T101" fmla="*/ 302 h 369"/>
                <a:gd name="T102" fmla="*/ 536 w 558"/>
                <a:gd name="T103" fmla="*/ 31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58" h="369">
                  <a:moveTo>
                    <a:pt x="536" y="319"/>
                  </a:moveTo>
                  <a:lnTo>
                    <a:pt x="520" y="302"/>
                  </a:lnTo>
                  <a:lnTo>
                    <a:pt x="489" y="302"/>
                  </a:lnTo>
                  <a:lnTo>
                    <a:pt x="451" y="319"/>
                  </a:lnTo>
                  <a:lnTo>
                    <a:pt x="444" y="314"/>
                  </a:lnTo>
                  <a:lnTo>
                    <a:pt x="461" y="314"/>
                  </a:lnTo>
                  <a:lnTo>
                    <a:pt x="461" y="302"/>
                  </a:lnTo>
                  <a:lnTo>
                    <a:pt x="418" y="298"/>
                  </a:lnTo>
                  <a:lnTo>
                    <a:pt x="390" y="319"/>
                  </a:lnTo>
                  <a:lnTo>
                    <a:pt x="380" y="335"/>
                  </a:lnTo>
                  <a:lnTo>
                    <a:pt x="352" y="335"/>
                  </a:lnTo>
                  <a:lnTo>
                    <a:pt x="321" y="359"/>
                  </a:lnTo>
                  <a:lnTo>
                    <a:pt x="310" y="369"/>
                  </a:lnTo>
                  <a:lnTo>
                    <a:pt x="305" y="359"/>
                  </a:lnTo>
                  <a:lnTo>
                    <a:pt x="288" y="331"/>
                  </a:lnTo>
                  <a:lnTo>
                    <a:pt x="305" y="265"/>
                  </a:lnTo>
                  <a:lnTo>
                    <a:pt x="284" y="265"/>
                  </a:lnTo>
                  <a:lnTo>
                    <a:pt x="288" y="232"/>
                  </a:lnTo>
                  <a:lnTo>
                    <a:pt x="255" y="220"/>
                  </a:lnTo>
                  <a:lnTo>
                    <a:pt x="246" y="220"/>
                  </a:lnTo>
                  <a:lnTo>
                    <a:pt x="201" y="260"/>
                  </a:lnTo>
                  <a:lnTo>
                    <a:pt x="213" y="281"/>
                  </a:lnTo>
                  <a:lnTo>
                    <a:pt x="201" y="298"/>
                  </a:lnTo>
                  <a:lnTo>
                    <a:pt x="180" y="286"/>
                  </a:lnTo>
                  <a:lnTo>
                    <a:pt x="158" y="286"/>
                  </a:lnTo>
                  <a:lnTo>
                    <a:pt x="147" y="302"/>
                  </a:lnTo>
                  <a:lnTo>
                    <a:pt x="147" y="319"/>
                  </a:lnTo>
                  <a:lnTo>
                    <a:pt x="142" y="331"/>
                  </a:lnTo>
                  <a:lnTo>
                    <a:pt x="109" y="314"/>
                  </a:lnTo>
                  <a:lnTo>
                    <a:pt x="54" y="343"/>
                  </a:lnTo>
                  <a:lnTo>
                    <a:pt x="33" y="331"/>
                  </a:lnTo>
                  <a:lnTo>
                    <a:pt x="33" y="319"/>
                  </a:lnTo>
                  <a:lnTo>
                    <a:pt x="38" y="298"/>
                  </a:lnTo>
                  <a:lnTo>
                    <a:pt x="66" y="260"/>
                  </a:lnTo>
                  <a:lnTo>
                    <a:pt x="71" y="260"/>
                  </a:lnTo>
                  <a:lnTo>
                    <a:pt x="83" y="243"/>
                  </a:lnTo>
                  <a:lnTo>
                    <a:pt x="54" y="210"/>
                  </a:lnTo>
                  <a:lnTo>
                    <a:pt x="54" y="187"/>
                  </a:lnTo>
                  <a:lnTo>
                    <a:pt x="66" y="187"/>
                  </a:lnTo>
                  <a:lnTo>
                    <a:pt x="54" y="170"/>
                  </a:lnTo>
                  <a:lnTo>
                    <a:pt x="33" y="170"/>
                  </a:lnTo>
                  <a:lnTo>
                    <a:pt x="28" y="165"/>
                  </a:lnTo>
                  <a:lnTo>
                    <a:pt x="12" y="154"/>
                  </a:lnTo>
                  <a:lnTo>
                    <a:pt x="0" y="149"/>
                  </a:lnTo>
                  <a:lnTo>
                    <a:pt x="12" y="132"/>
                  </a:lnTo>
                  <a:lnTo>
                    <a:pt x="33" y="116"/>
                  </a:lnTo>
                  <a:lnTo>
                    <a:pt x="88" y="121"/>
                  </a:lnTo>
                  <a:lnTo>
                    <a:pt x="92" y="99"/>
                  </a:lnTo>
                  <a:lnTo>
                    <a:pt x="109" y="99"/>
                  </a:lnTo>
                  <a:lnTo>
                    <a:pt x="104" y="83"/>
                  </a:lnTo>
                  <a:lnTo>
                    <a:pt x="121" y="78"/>
                  </a:lnTo>
                  <a:lnTo>
                    <a:pt x="92" y="78"/>
                  </a:lnTo>
                  <a:lnTo>
                    <a:pt x="142" y="66"/>
                  </a:lnTo>
                  <a:lnTo>
                    <a:pt x="142" y="45"/>
                  </a:lnTo>
                  <a:lnTo>
                    <a:pt x="147" y="21"/>
                  </a:lnTo>
                  <a:lnTo>
                    <a:pt x="147" y="21"/>
                  </a:lnTo>
                  <a:lnTo>
                    <a:pt x="175" y="38"/>
                  </a:lnTo>
                  <a:lnTo>
                    <a:pt x="213" y="12"/>
                  </a:lnTo>
                  <a:lnTo>
                    <a:pt x="217" y="0"/>
                  </a:lnTo>
                  <a:lnTo>
                    <a:pt x="250" y="28"/>
                  </a:lnTo>
                  <a:lnTo>
                    <a:pt x="217" y="54"/>
                  </a:lnTo>
                  <a:lnTo>
                    <a:pt x="217" y="54"/>
                  </a:lnTo>
                  <a:lnTo>
                    <a:pt x="234" y="66"/>
                  </a:lnTo>
                  <a:lnTo>
                    <a:pt x="255" y="66"/>
                  </a:lnTo>
                  <a:lnTo>
                    <a:pt x="255" y="78"/>
                  </a:lnTo>
                  <a:lnTo>
                    <a:pt x="234" y="78"/>
                  </a:lnTo>
                  <a:lnTo>
                    <a:pt x="234" y="95"/>
                  </a:lnTo>
                  <a:lnTo>
                    <a:pt x="229" y="95"/>
                  </a:lnTo>
                  <a:lnTo>
                    <a:pt x="229" y="83"/>
                  </a:lnTo>
                  <a:lnTo>
                    <a:pt x="196" y="66"/>
                  </a:lnTo>
                  <a:lnTo>
                    <a:pt x="158" y="78"/>
                  </a:lnTo>
                  <a:lnTo>
                    <a:pt x="158" y="95"/>
                  </a:lnTo>
                  <a:lnTo>
                    <a:pt x="147" y="95"/>
                  </a:lnTo>
                  <a:lnTo>
                    <a:pt x="142" y="83"/>
                  </a:lnTo>
                  <a:lnTo>
                    <a:pt x="142" y="99"/>
                  </a:lnTo>
                  <a:lnTo>
                    <a:pt x="142" y="121"/>
                  </a:lnTo>
                  <a:lnTo>
                    <a:pt x="229" y="121"/>
                  </a:lnTo>
                  <a:lnTo>
                    <a:pt x="234" y="121"/>
                  </a:lnTo>
                  <a:lnTo>
                    <a:pt x="246" y="137"/>
                  </a:lnTo>
                  <a:lnTo>
                    <a:pt x="255" y="137"/>
                  </a:lnTo>
                  <a:lnTo>
                    <a:pt x="267" y="132"/>
                  </a:lnTo>
                  <a:lnTo>
                    <a:pt x="298" y="121"/>
                  </a:lnTo>
                  <a:lnTo>
                    <a:pt x="298" y="132"/>
                  </a:lnTo>
                  <a:lnTo>
                    <a:pt x="310" y="132"/>
                  </a:lnTo>
                  <a:lnTo>
                    <a:pt x="310" y="149"/>
                  </a:lnTo>
                  <a:lnTo>
                    <a:pt x="336" y="137"/>
                  </a:lnTo>
                  <a:lnTo>
                    <a:pt x="352" y="154"/>
                  </a:lnTo>
                  <a:lnTo>
                    <a:pt x="359" y="137"/>
                  </a:lnTo>
                  <a:lnTo>
                    <a:pt x="413" y="137"/>
                  </a:lnTo>
                  <a:lnTo>
                    <a:pt x="451" y="132"/>
                  </a:lnTo>
                  <a:lnTo>
                    <a:pt x="444" y="154"/>
                  </a:lnTo>
                  <a:lnTo>
                    <a:pt x="461" y="170"/>
                  </a:lnTo>
                  <a:lnTo>
                    <a:pt x="451" y="177"/>
                  </a:lnTo>
                  <a:lnTo>
                    <a:pt x="461" y="203"/>
                  </a:lnTo>
                  <a:lnTo>
                    <a:pt x="473" y="210"/>
                  </a:lnTo>
                  <a:lnTo>
                    <a:pt x="482" y="203"/>
                  </a:lnTo>
                  <a:lnTo>
                    <a:pt x="499" y="203"/>
                  </a:lnTo>
                  <a:lnTo>
                    <a:pt x="536" y="220"/>
                  </a:lnTo>
                  <a:lnTo>
                    <a:pt x="527" y="248"/>
                  </a:lnTo>
                  <a:lnTo>
                    <a:pt x="543" y="276"/>
                  </a:lnTo>
                  <a:lnTo>
                    <a:pt x="536" y="281"/>
                  </a:lnTo>
                  <a:lnTo>
                    <a:pt x="558" y="302"/>
                  </a:lnTo>
                  <a:lnTo>
                    <a:pt x="536" y="319"/>
                  </a:lnTo>
                  <a:lnTo>
                    <a:pt x="536" y="319"/>
                  </a:lnTo>
                  <a:lnTo>
                    <a:pt x="536" y="31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8" name="Freeform 569">
              <a:extLst>
                <a:ext uri="{FF2B5EF4-FFF2-40B4-BE49-F238E27FC236}">
                  <a16:creationId xmlns:a16="http://schemas.microsoft.com/office/drawing/2014/main" id="{67D93393-674F-4D0D-8A30-90212F0BBBB3}"/>
                </a:ext>
              </a:extLst>
            </p:cNvPr>
            <p:cNvSpPr>
              <a:spLocks noEditPoints="1"/>
            </p:cNvSpPr>
            <p:nvPr/>
          </p:nvSpPr>
          <p:spPr bwMode="gray">
            <a:xfrm>
              <a:off x="12090663" y="3588113"/>
              <a:ext cx="8510" cy="5237"/>
            </a:xfrm>
            <a:custGeom>
              <a:avLst/>
              <a:gdLst>
                <a:gd name="T0" fmla="*/ 14 w 26"/>
                <a:gd name="T1" fmla="*/ 11 h 16"/>
                <a:gd name="T2" fmla="*/ 0 w 26"/>
                <a:gd name="T3" fmla="*/ 0 h 16"/>
                <a:gd name="T4" fmla="*/ 5 w 26"/>
                <a:gd name="T5" fmla="*/ 0 h 16"/>
                <a:gd name="T6" fmla="*/ 14 w 26"/>
                <a:gd name="T7" fmla="*/ 11 h 16"/>
                <a:gd name="T8" fmla="*/ 14 w 26"/>
                <a:gd name="T9" fmla="*/ 11 h 16"/>
                <a:gd name="T10" fmla="*/ 14 w 26"/>
                <a:gd name="T11" fmla="*/ 11 h 16"/>
                <a:gd name="T12" fmla="*/ 26 w 26"/>
                <a:gd name="T13" fmla="*/ 16 h 16"/>
                <a:gd name="T14" fmla="*/ 14 w 26"/>
                <a:gd name="T15" fmla="*/ 16 h 16"/>
                <a:gd name="T16" fmla="*/ 14 w 26"/>
                <a:gd name="T17" fmla="*/ 11 h 16"/>
                <a:gd name="T18" fmla="*/ 21 w 26"/>
                <a:gd name="T19" fmla="*/ 11 h 16"/>
                <a:gd name="T20" fmla="*/ 26 w 26"/>
                <a:gd name="T21" fmla="*/ 16 h 16"/>
                <a:gd name="T22" fmla="*/ 26 w 26"/>
                <a:gd name="T23" fmla="*/ 16 h 16"/>
                <a:gd name="T24" fmla="*/ 26 w 26"/>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6">
                  <a:moveTo>
                    <a:pt x="14" y="11"/>
                  </a:moveTo>
                  <a:lnTo>
                    <a:pt x="0" y="0"/>
                  </a:lnTo>
                  <a:lnTo>
                    <a:pt x="5" y="0"/>
                  </a:lnTo>
                  <a:lnTo>
                    <a:pt x="14" y="11"/>
                  </a:lnTo>
                  <a:lnTo>
                    <a:pt x="14" y="11"/>
                  </a:lnTo>
                  <a:lnTo>
                    <a:pt x="14" y="11"/>
                  </a:lnTo>
                  <a:close/>
                  <a:moveTo>
                    <a:pt x="26" y="16"/>
                  </a:moveTo>
                  <a:lnTo>
                    <a:pt x="14" y="16"/>
                  </a:lnTo>
                  <a:lnTo>
                    <a:pt x="14" y="11"/>
                  </a:lnTo>
                  <a:lnTo>
                    <a:pt x="21" y="11"/>
                  </a:lnTo>
                  <a:lnTo>
                    <a:pt x="26" y="16"/>
                  </a:lnTo>
                  <a:lnTo>
                    <a:pt x="26" y="16"/>
                  </a:lnTo>
                  <a:lnTo>
                    <a:pt x="26" y="16"/>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9" name="Freeform 570">
              <a:extLst>
                <a:ext uri="{FF2B5EF4-FFF2-40B4-BE49-F238E27FC236}">
                  <a16:creationId xmlns:a16="http://schemas.microsoft.com/office/drawing/2014/main" id="{86B73BDD-FB92-4C3F-BD93-1E50F415FE1F}"/>
                </a:ext>
              </a:extLst>
            </p:cNvPr>
            <p:cNvSpPr>
              <a:spLocks noEditPoints="1"/>
            </p:cNvSpPr>
            <p:nvPr/>
          </p:nvSpPr>
          <p:spPr bwMode="gray">
            <a:xfrm>
              <a:off x="9718090" y="4555929"/>
              <a:ext cx="34039" cy="74296"/>
            </a:xfrm>
            <a:custGeom>
              <a:avLst/>
              <a:gdLst>
                <a:gd name="T0" fmla="*/ 104 w 104"/>
                <a:gd name="T1" fmla="*/ 0 h 227"/>
                <a:gd name="T2" fmla="*/ 104 w 104"/>
                <a:gd name="T3" fmla="*/ 10 h 227"/>
                <a:gd name="T4" fmla="*/ 92 w 104"/>
                <a:gd name="T5" fmla="*/ 10 h 227"/>
                <a:gd name="T6" fmla="*/ 104 w 104"/>
                <a:gd name="T7" fmla="*/ 0 h 227"/>
                <a:gd name="T8" fmla="*/ 104 w 104"/>
                <a:gd name="T9" fmla="*/ 0 h 227"/>
                <a:gd name="T10" fmla="*/ 104 w 104"/>
                <a:gd name="T11" fmla="*/ 0 h 227"/>
                <a:gd name="T12" fmla="*/ 16 w 104"/>
                <a:gd name="T13" fmla="*/ 210 h 227"/>
                <a:gd name="T14" fmla="*/ 0 w 104"/>
                <a:gd name="T15" fmla="*/ 198 h 227"/>
                <a:gd name="T16" fmla="*/ 0 w 104"/>
                <a:gd name="T17" fmla="*/ 194 h 227"/>
                <a:gd name="T18" fmla="*/ 16 w 104"/>
                <a:gd name="T19" fmla="*/ 198 h 227"/>
                <a:gd name="T20" fmla="*/ 23 w 104"/>
                <a:gd name="T21" fmla="*/ 198 h 227"/>
                <a:gd name="T22" fmla="*/ 16 w 104"/>
                <a:gd name="T23" fmla="*/ 210 h 227"/>
                <a:gd name="T24" fmla="*/ 16 w 104"/>
                <a:gd name="T25" fmla="*/ 210 h 227"/>
                <a:gd name="T26" fmla="*/ 16 w 104"/>
                <a:gd name="T27" fmla="*/ 210 h 227"/>
                <a:gd name="T28" fmla="*/ 33 w 104"/>
                <a:gd name="T29" fmla="*/ 227 h 227"/>
                <a:gd name="T30" fmla="*/ 23 w 104"/>
                <a:gd name="T31" fmla="*/ 215 h 227"/>
                <a:gd name="T32" fmla="*/ 33 w 104"/>
                <a:gd name="T33" fmla="*/ 210 h 227"/>
                <a:gd name="T34" fmla="*/ 33 w 104"/>
                <a:gd name="T35" fmla="*/ 227 h 227"/>
                <a:gd name="T36" fmla="*/ 33 w 104"/>
                <a:gd name="T37" fmla="*/ 227 h 227"/>
                <a:gd name="T38" fmla="*/ 33 w 104"/>
                <a:gd name="T39"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227">
                  <a:moveTo>
                    <a:pt x="104" y="0"/>
                  </a:moveTo>
                  <a:lnTo>
                    <a:pt x="104" y="10"/>
                  </a:lnTo>
                  <a:lnTo>
                    <a:pt x="92" y="10"/>
                  </a:lnTo>
                  <a:lnTo>
                    <a:pt x="104" y="0"/>
                  </a:lnTo>
                  <a:lnTo>
                    <a:pt x="104" y="0"/>
                  </a:lnTo>
                  <a:lnTo>
                    <a:pt x="104" y="0"/>
                  </a:lnTo>
                  <a:close/>
                  <a:moveTo>
                    <a:pt x="16" y="210"/>
                  </a:moveTo>
                  <a:lnTo>
                    <a:pt x="0" y="198"/>
                  </a:lnTo>
                  <a:lnTo>
                    <a:pt x="0" y="194"/>
                  </a:lnTo>
                  <a:lnTo>
                    <a:pt x="16" y="198"/>
                  </a:lnTo>
                  <a:lnTo>
                    <a:pt x="23" y="198"/>
                  </a:lnTo>
                  <a:lnTo>
                    <a:pt x="16" y="210"/>
                  </a:lnTo>
                  <a:lnTo>
                    <a:pt x="16" y="210"/>
                  </a:lnTo>
                  <a:lnTo>
                    <a:pt x="16" y="210"/>
                  </a:lnTo>
                  <a:close/>
                  <a:moveTo>
                    <a:pt x="33" y="227"/>
                  </a:moveTo>
                  <a:lnTo>
                    <a:pt x="23" y="215"/>
                  </a:lnTo>
                  <a:lnTo>
                    <a:pt x="33" y="210"/>
                  </a:lnTo>
                  <a:lnTo>
                    <a:pt x="33" y="227"/>
                  </a:lnTo>
                  <a:lnTo>
                    <a:pt x="33" y="227"/>
                  </a:lnTo>
                  <a:lnTo>
                    <a:pt x="33" y="22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0" name="Freeform 571">
              <a:extLst>
                <a:ext uri="{FF2B5EF4-FFF2-40B4-BE49-F238E27FC236}">
                  <a16:creationId xmlns:a16="http://schemas.microsoft.com/office/drawing/2014/main" id="{52FC3057-A693-4035-8A2F-5A39171FEC83}"/>
                </a:ext>
              </a:extLst>
            </p:cNvPr>
            <p:cNvSpPr>
              <a:spLocks/>
            </p:cNvSpPr>
            <p:nvPr/>
          </p:nvSpPr>
          <p:spPr bwMode="gray">
            <a:xfrm>
              <a:off x="13740565" y="3850932"/>
              <a:ext cx="45494" cy="117500"/>
            </a:xfrm>
            <a:custGeom>
              <a:avLst/>
              <a:gdLst>
                <a:gd name="T0" fmla="*/ 128 w 139"/>
                <a:gd name="T1" fmla="*/ 260 h 359"/>
                <a:gd name="T2" fmla="*/ 128 w 139"/>
                <a:gd name="T3" fmla="*/ 297 h 359"/>
                <a:gd name="T4" fmla="*/ 123 w 139"/>
                <a:gd name="T5" fmla="*/ 297 h 359"/>
                <a:gd name="T6" fmla="*/ 123 w 139"/>
                <a:gd name="T7" fmla="*/ 321 h 359"/>
                <a:gd name="T8" fmla="*/ 139 w 139"/>
                <a:gd name="T9" fmla="*/ 349 h 359"/>
                <a:gd name="T10" fmla="*/ 128 w 139"/>
                <a:gd name="T11" fmla="*/ 354 h 359"/>
                <a:gd name="T12" fmla="*/ 95 w 139"/>
                <a:gd name="T13" fmla="*/ 359 h 359"/>
                <a:gd name="T14" fmla="*/ 83 w 139"/>
                <a:gd name="T15" fmla="*/ 349 h 359"/>
                <a:gd name="T16" fmla="*/ 66 w 139"/>
                <a:gd name="T17" fmla="*/ 338 h 359"/>
                <a:gd name="T18" fmla="*/ 50 w 139"/>
                <a:gd name="T19" fmla="*/ 297 h 359"/>
                <a:gd name="T20" fmla="*/ 57 w 139"/>
                <a:gd name="T21" fmla="*/ 297 h 359"/>
                <a:gd name="T22" fmla="*/ 57 w 139"/>
                <a:gd name="T23" fmla="*/ 276 h 359"/>
                <a:gd name="T24" fmla="*/ 50 w 139"/>
                <a:gd name="T25" fmla="*/ 264 h 359"/>
                <a:gd name="T26" fmla="*/ 50 w 139"/>
                <a:gd name="T27" fmla="*/ 260 h 359"/>
                <a:gd name="T28" fmla="*/ 50 w 139"/>
                <a:gd name="T29" fmla="*/ 243 h 359"/>
                <a:gd name="T30" fmla="*/ 57 w 139"/>
                <a:gd name="T31" fmla="*/ 210 h 359"/>
                <a:gd name="T32" fmla="*/ 66 w 139"/>
                <a:gd name="T33" fmla="*/ 203 h 359"/>
                <a:gd name="T34" fmla="*/ 33 w 139"/>
                <a:gd name="T35" fmla="*/ 170 h 359"/>
                <a:gd name="T36" fmla="*/ 50 w 139"/>
                <a:gd name="T37" fmla="*/ 165 h 359"/>
                <a:gd name="T38" fmla="*/ 40 w 139"/>
                <a:gd name="T39" fmla="*/ 149 h 359"/>
                <a:gd name="T40" fmla="*/ 50 w 139"/>
                <a:gd name="T41" fmla="*/ 127 h 359"/>
                <a:gd name="T42" fmla="*/ 40 w 139"/>
                <a:gd name="T43" fmla="*/ 116 h 359"/>
                <a:gd name="T44" fmla="*/ 28 w 139"/>
                <a:gd name="T45" fmla="*/ 116 h 359"/>
                <a:gd name="T46" fmla="*/ 40 w 139"/>
                <a:gd name="T47" fmla="*/ 75 h 359"/>
                <a:gd name="T48" fmla="*/ 33 w 139"/>
                <a:gd name="T49" fmla="*/ 59 h 359"/>
                <a:gd name="T50" fmla="*/ 33 w 139"/>
                <a:gd name="T51" fmla="*/ 54 h 359"/>
                <a:gd name="T52" fmla="*/ 0 w 139"/>
                <a:gd name="T53" fmla="*/ 26 h 359"/>
                <a:gd name="T54" fmla="*/ 12 w 139"/>
                <a:gd name="T55" fmla="*/ 5 h 359"/>
                <a:gd name="T56" fmla="*/ 0 w 139"/>
                <a:gd name="T57" fmla="*/ 0 h 359"/>
                <a:gd name="T58" fmla="*/ 50 w 139"/>
                <a:gd name="T59" fmla="*/ 5 h 359"/>
                <a:gd name="T60" fmla="*/ 50 w 139"/>
                <a:gd name="T61" fmla="*/ 16 h 359"/>
                <a:gd name="T62" fmla="*/ 73 w 139"/>
                <a:gd name="T63" fmla="*/ 5 h 359"/>
                <a:gd name="T64" fmla="*/ 66 w 139"/>
                <a:gd name="T65" fmla="*/ 54 h 359"/>
                <a:gd name="T66" fmla="*/ 106 w 139"/>
                <a:gd name="T67" fmla="*/ 75 h 359"/>
                <a:gd name="T68" fmla="*/ 106 w 139"/>
                <a:gd name="T69" fmla="*/ 116 h 359"/>
                <a:gd name="T70" fmla="*/ 128 w 139"/>
                <a:gd name="T71" fmla="*/ 149 h 359"/>
                <a:gd name="T72" fmla="*/ 128 w 139"/>
                <a:gd name="T73" fmla="*/ 260 h 359"/>
                <a:gd name="T74" fmla="*/ 128 w 139"/>
                <a:gd name="T75" fmla="*/ 260 h 359"/>
                <a:gd name="T76" fmla="*/ 128 w 139"/>
                <a:gd name="T77" fmla="*/ 26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359">
                  <a:moveTo>
                    <a:pt x="128" y="260"/>
                  </a:moveTo>
                  <a:lnTo>
                    <a:pt x="128" y="297"/>
                  </a:lnTo>
                  <a:lnTo>
                    <a:pt x="123" y="297"/>
                  </a:lnTo>
                  <a:lnTo>
                    <a:pt x="123" y="321"/>
                  </a:lnTo>
                  <a:lnTo>
                    <a:pt x="139" y="349"/>
                  </a:lnTo>
                  <a:lnTo>
                    <a:pt x="128" y="354"/>
                  </a:lnTo>
                  <a:lnTo>
                    <a:pt x="95" y="359"/>
                  </a:lnTo>
                  <a:lnTo>
                    <a:pt x="83" y="349"/>
                  </a:lnTo>
                  <a:lnTo>
                    <a:pt x="66" y="338"/>
                  </a:lnTo>
                  <a:lnTo>
                    <a:pt x="50" y="297"/>
                  </a:lnTo>
                  <a:lnTo>
                    <a:pt x="57" y="297"/>
                  </a:lnTo>
                  <a:lnTo>
                    <a:pt x="57" y="276"/>
                  </a:lnTo>
                  <a:lnTo>
                    <a:pt x="50" y="264"/>
                  </a:lnTo>
                  <a:lnTo>
                    <a:pt x="50" y="260"/>
                  </a:lnTo>
                  <a:lnTo>
                    <a:pt x="50" y="243"/>
                  </a:lnTo>
                  <a:lnTo>
                    <a:pt x="57" y="210"/>
                  </a:lnTo>
                  <a:lnTo>
                    <a:pt x="66" y="203"/>
                  </a:lnTo>
                  <a:lnTo>
                    <a:pt x="33" y="170"/>
                  </a:lnTo>
                  <a:lnTo>
                    <a:pt x="50" y="165"/>
                  </a:lnTo>
                  <a:lnTo>
                    <a:pt x="40" y="149"/>
                  </a:lnTo>
                  <a:lnTo>
                    <a:pt x="50" y="127"/>
                  </a:lnTo>
                  <a:lnTo>
                    <a:pt x="40" y="116"/>
                  </a:lnTo>
                  <a:lnTo>
                    <a:pt x="28" y="116"/>
                  </a:lnTo>
                  <a:lnTo>
                    <a:pt x="40" y="75"/>
                  </a:lnTo>
                  <a:lnTo>
                    <a:pt x="33" y="59"/>
                  </a:lnTo>
                  <a:lnTo>
                    <a:pt x="33" y="54"/>
                  </a:lnTo>
                  <a:lnTo>
                    <a:pt x="0" y="26"/>
                  </a:lnTo>
                  <a:lnTo>
                    <a:pt x="12" y="5"/>
                  </a:lnTo>
                  <a:lnTo>
                    <a:pt x="0" y="0"/>
                  </a:lnTo>
                  <a:lnTo>
                    <a:pt x="50" y="5"/>
                  </a:lnTo>
                  <a:lnTo>
                    <a:pt x="50" y="16"/>
                  </a:lnTo>
                  <a:lnTo>
                    <a:pt x="73" y="5"/>
                  </a:lnTo>
                  <a:lnTo>
                    <a:pt x="66" y="54"/>
                  </a:lnTo>
                  <a:lnTo>
                    <a:pt x="106" y="75"/>
                  </a:lnTo>
                  <a:lnTo>
                    <a:pt x="106" y="116"/>
                  </a:lnTo>
                  <a:lnTo>
                    <a:pt x="128" y="149"/>
                  </a:lnTo>
                  <a:lnTo>
                    <a:pt x="128" y="260"/>
                  </a:lnTo>
                  <a:lnTo>
                    <a:pt x="128" y="260"/>
                  </a:lnTo>
                  <a:lnTo>
                    <a:pt x="128" y="26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1" name="Freeform 572">
              <a:extLst>
                <a:ext uri="{FF2B5EF4-FFF2-40B4-BE49-F238E27FC236}">
                  <a16:creationId xmlns:a16="http://schemas.microsoft.com/office/drawing/2014/main" id="{06AF2748-2013-489C-AB72-E6307A726D6C}"/>
                </a:ext>
              </a:extLst>
            </p:cNvPr>
            <p:cNvSpPr>
              <a:spLocks noEditPoints="1"/>
            </p:cNvSpPr>
            <p:nvPr/>
          </p:nvSpPr>
          <p:spPr bwMode="gray">
            <a:xfrm>
              <a:off x="13892758" y="4073494"/>
              <a:ext cx="23238" cy="39603"/>
            </a:xfrm>
            <a:custGeom>
              <a:avLst/>
              <a:gdLst>
                <a:gd name="T0" fmla="*/ 62 w 71"/>
                <a:gd name="T1" fmla="*/ 12 h 121"/>
                <a:gd name="T2" fmla="*/ 62 w 71"/>
                <a:gd name="T3" fmla="*/ 7 h 121"/>
                <a:gd name="T4" fmla="*/ 62 w 71"/>
                <a:gd name="T5" fmla="*/ 0 h 121"/>
                <a:gd name="T6" fmla="*/ 71 w 71"/>
                <a:gd name="T7" fmla="*/ 7 h 121"/>
                <a:gd name="T8" fmla="*/ 62 w 71"/>
                <a:gd name="T9" fmla="*/ 12 h 121"/>
                <a:gd name="T10" fmla="*/ 62 w 71"/>
                <a:gd name="T11" fmla="*/ 12 h 121"/>
                <a:gd name="T12" fmla="*/ 62 w 71"/>
                <a:gd name="T13" fmla="*/ 12 h 121"/>
                <a:gd name="T14" fmla="*/ 0 w 71"/>
                <a:gd name="T15" fmla="*/ 121 h 121"/>
                <a:gd name="T16" fmla="*/ 0 w 71"/>
                <a:gd name="T17" fmla="*/ 104 h 121"/>
                <a:gd name="T18" fmla="*/ 17 w 71"/>
                <a:gd name="T19" fmla="*/ 99 h 121"/>
                <a:gd name="T20" fmla="*/ 17 w 71"/>
                <a:gd name="T21" fmla="*/ 116 h 121"/>
                <a:gd name="T22" fmla="*/ 0 w 71"/>
                <a:gd name="T23" fmla="*/ 121 h 121"/>
                <a:gd name="T24" fmla="*/ 0 w 71"/>
                <a:gd name="T25" fmla="*/ 121 h 121"/>
                <a:gd name="T26" fmla="*/ 0 w 71"/>
                <a:gd name="T2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121">
                  <a:moveTo>
                    <a:pt x="62" y="12"/>
                  </a:moveTo>
                  <a:lnTo>
                    <a:pt x="62" y="7"/>
                  </a:lnTo>
                  <a:lnTo>
                    <a:pt x="62" y="0"/>
                  </a:lnTo>
                  <a:lnTo>
                    <a:pt x="71" y="7"/>
                  </a:lnTo>
                  <a:lnTo>
                    <a:pt x="62" y="12"/>
                  </a:lnTo>
                  <a:lnTo>
                    <a:pt x="62" y="12"/>
                  </a:lnTo>
                  <a:lnTo>
                    <a:pt x="62" y="12"/>
                  </a:lnTo>
                  <a:close/>
                  <a:moveTo>
                    <a:pt x="0" y="121"/>
                  </a:moveTo>
                  <a:lnTo>
                    <a:pt x="0" y="104"/>
                  </a:lnTo>
                  <a:lnTo>
                    <a:pt x="17" y="99"/>
                  </a:lnTo>
                  <a:lnTo>
                    <a:pt x="17" y="116"/>
                  </a:lnTo>
                  <a:lnTo>
                    <a:pt x="0" y="121"/>
                  </a:lnTo>
                  <a:lnTo>
                    <a:pt x="0" y="121"/>
                  </a:lnTo>
                  <a:lnTo>
                    <a:pt x="0" y="121"/>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2" name="Freeform 573">
              <a:extLst>
                <a:ext uri="{FF2B5EF4-FFF2-40B4-BE49-F238E27FC236}">
                  <a16:creationId xmlns:a16="http://schemas.microsoft.com/office/drawing/2014/main" id="{D361BDEC-27A1-470D-B9D2-4DA3B9D09E6E}"/>
                </a:ext>
              </a:extLst>
            </p:cNvPr>
            <p:cNvSpPr>
              <a:spLocks noEditPoints="1"/>
            </p:cNvSpPr>
            <p:nvPr/>
          </p:nvSpPr>
          <p:spPr bwMode="gray">
            <a:xfrm>
              <a:off x="13915996" y="3192084"/>
              <a:ext cx="92952" cy="187868"/>
            </a:xfrm>
            <a:custGeom>
              <a:avLst/>
              <a:gdLst>
                <a:gd name="T0" fmla="*/ 24 w 284"/>
                <a:gd name="T1" fmla="*/ 251 h 574"/>
                <a:gd name="T2" fmla="*/ 55 w 284"/>
                <a:gd name="T3" fmla="*/ 222 h 574"/>
                <a:gd name="T4" fmla="*/ 59 w 284"/>
                <a:gd name="T5" fmla="*/ 156 h 574"/>
                <a:gd name="T6" fmla="*/ 55 w 284"/>
                <a:gd name="T7" fmla="*/ 116 h 574"/>
                <a:gd name="T8" fmla="*/ 45 w 284"/>
                <a:gd name="T9" fmla="*/ 62 h 574"/>
                <a:gd name="T10" fmla="*/ 76 w 284"/>
                <a:gd name="T11" fmla="*/ 26 h 574"/>
                <a:gd name="T12" fmla="*/ 168 w 284"/>
                <a:gd name="T13" fmla="*/ 0 h 574"/>
                <a:gd name="T14" fmla="*/ 161 w 284"/>
                <a:gd name="T15" fmla="*/ 17 h 574"/>
                <a:gd name="T16" fmla="*/ 168 w 284"/>
                <a:gd name="T17" fmla="*/ 5 h 574"/>
                <a:gd name="T18" fmla="*/ 194 w 284"/>
                <a:gd name="T19" fmla="*/ 5 h 574"/>
                <a:gd name="T20" fmla="*/ 194 w 284"/>
                <a:gd name="T21" fmla="*/ 17 h 574"/>
                <a:gd name="T22" fmla="*/ 199 w 284"/>
                <a:gd name="T23" fmla="*/ 38 h 574"/>
                <a:gd name="T24" fmla="*/ 199 w 284"/>
                <a:gd name="T25" fmla="*/ 43 h 574"/>
                <a:gd name="T26" fmla="*/ 253 w 284"/>
                <a:gd name="T27" fmla="*/ 26 h 574"/>
                <a:gd name="T28" fmla="*/ 215 w 284"/>
                <a:gd name="T29" fmla="*/ 78 h 574"/>
                <a:gd name="T30" fmla="*/ 220 w 284"/>
                <a:gd name="T31" fmla="*/ 128 h 574"/>
                <a:gd name="T32" fmla="*/ 248 w 284"/>
                <a:gd name="T33" fmla="*/ 156 h 574"/>
                <a:gd name="T34" fmla="*/ 232 w 284"/>
                <a:gd name="T35" fmla="*/ 210 h 574"/>
                <a:gd name="T36" fmla="*/ 177 w 284"/>
                <a:gd name="T37" fmla="*/ 251 h 574"/>
                <a:gd name="T38" fmla="*/ 199 w 284"/>
                <a:gd name="T39" fmla="*/ 296 h 574"/>
                <a:gd name="T40" fmla="*/ 220 w 284"/>
                <a:gd name="T41" fmla="*/ 296 h 574"/>
                <a:gd name="T42" fmla="*/ 232 w 284"/>
                <a:gd name="T43" fmla="*/ 317 h 574"/>
                <a:gd name="T44" fmla="*/ 236 w 284"/>
                <a:gd name="T45" fmla="*/ 300 h 574"/>
                <a:gd name="T46" fmla="*/ 258 w 284"/>
                <a:gd name="T47" fmla="*/ 333 h 574"/>
                <a:gd name="T48" fmla="*/ 274 w 284"/>
                <a:gd name="T49" fmla="*/ 378 h 574"/>
                <a:gd name="T50" fmla="*/ 236 w 284"/>
                <a:gd name="T51" fmla="*/ 418 h 574"/>
                <a:gd name="T52" fmla="*/ 199 w 284"/>
                <a:gd name="T53" fmla="*/ 463 h 574"/>
                <a:gd name="T54" fmla="*/ 199 w 284"/>
                <a:gd name="T55" fmla="*/ 518 h 574"/>
                <a:gd name="T56" fmla="*/ 168 w 284"/>
                <a:gd name="T57" fmla="*/ 562 h 574"/>
                <a:gd name="T58" fmla="*/ 109 w 284"/>
                <a:gd name="T59" fmla="*/ 430 h 574"/>
                <a:gd name="T60" fmla="*/ 59 w 284"/>
                <a:gd name="T61" fmla="*/ 362 h 574"/>
                <a:gd name="T62" fmla="*/ 17 w 284"/>
                <a:gd name="T63" fmla="*/ 333 h 574"/>
                <a:gd name="T64" fmla="*/ 0 w 284"/>
                <a:gd name="T65" fmla="*/ 262 h 574"/>
                <a:gd name="T66" fmla="*/ 0 w 284"/>
                <a:gd name="T67" fmla="*/ 262 h 574"/>
                <a:gd name="T68" fmla="*/ 258 w 284"/>
                <a:gd name="T69" fmla="*/ 206 h 574"/>
                <a:gd name="T70" fmla="*/ 253 w 284"/>
                <a:gd name="T71" fmla="*/ 210 h 574"/>
                <a:gd name="T72" fmla="*/ 253 w 284"/>
                <a:gd name="T73" fmla="*/ 210 h 574"/>
                <a:gd name="T74" fmla="*/ 232 w 284"/>
                <a:gd name="T75" fmla="*/ 296 h 574"/>
                <a:gd name="T76" fmla="*/ 232 w 284"/>
                <a:gd name="T77" fmla="*/ 279 h 574"/>
                <a:gd name="T78" fmla="*/ 236 w 284"/>
                <a:gd name="T79" fmla="*/ 300 h 574"/>
                <a:gd name="T80" fmla="*/ 236 w 284"/>
                <a:gd name="T81" fmla="*/ 30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574">
                  <a:moveTo>
                    <a:pt x="0" y="262"/>
                  </a:moveTo>
                  <a:lnTo>
                    <a:pt x="24" y="251"/>
                  </a:lnTo>
                  <a:lnTo>
                    <a:pt x="24" y="239"/>
                  </a:lnTo>
                  <a:lnTo>
                    <a:pt x="55" y="222"/>
                  </a:lnTo>
                  <a:lnTo>
                    <a:pt x="59" y="173"/>
                  </a:lnTo>
                  <a:lnTo>
                    <a:pt x="59" y="156"/>
                  </a:lnTo>
                  <a:lnTo>
                    <a:pt x="59" y="133"/>
                  </a:lnTo>
                  <a:lnTo>
                    <a:pt x="55" y="116"/>
                  </a:lnTo>
                  <a:lnTo>
                    <a:pt x="59" y="71"/>
                  </a:lnTo>
                  <a:lnTo>
                    <a:pt x="45" y="62"/>
                  </a:lnTo>
                  <a:lnTo>
                    <a:pt x="88" y="38"/>
                  </a:lnTo>
                  <a:lnTo>
                    <a:pt x="76" y="26"/>
                  </a:lnTo>
                  <a:lnTo>
                    <a:pt x="151" y="0"/>
                  </a:lnTo>
                  <a:lnTo>
                    <a:pt x="168" y="0"/>
                  </a:lnTo>
                  <a:lnTo>
                    <a:pt x="161" y="5"/>
                  </a:lnTo>
                  <a:lnTo>
                    <a:pt x="161" y="17"/>
                  </a:lnTo>
                  <a:lnTo>
                    <a:pt x="168" y="5"/>
                  </a:lnTo>
                  <a:lnTo>
                    <a:pt x="168" y="5"/>
                  </a:lnTo>
                  <a:lnTo>
                    <a:pt x="177" y="0"/>
                  </a:lnTo>
                  <a:lnTo>
                    <a:pt x="194" y="5"/>
                  </a:lnTo>
                  <a:lnTo>
                    <a:pt x="182" y="17"/>
                  </a:lnTo>
                  <a:lnTo>
                    <a:pt x="194" y="17"/>
                  </a:lnTo>
                  <a:lnTo>
                    <a:pt x="194" y="21"/>
                  </a:lnTo>
                  <a:lnTo>
                    <a:pt x="199" y="38"/>
                  </a:lnTo>
                  <a:lnTo>
                    <a:pt x="194" y="38"/>
                  </a:lnTo>
                  <a:lnTo>
                    <a:pt x="199" y="43"/>
                  </a:lnTo>
                  <a:lnTo>
                    <a:pt x="248" y="17"/>
                  </a:lnTo>
                  <a:lnTo>
                    <a:pt x="253" y="26"/>
                  </a:lnTo>
                  <a:lnTo>
                    <a:pt x="232" y="71"/>
                  </a:lnTo>
                  <a:lnTo>
                    <a:pt x="215" y="78"/>
                  </a:lnTo>
                  <a:lnTo>
                    <a:pt x="203" y="95"/>
                  </a:lnTo>
                  <a:lnTo>
                    <a:pt x="220" y="128"/>
                  </a:lnTo>
                  <a:lnTo>
                    <a:pt x="248" y="133"/>
                  </a:lnTo>
                  <a:lnTo>
                    <a:pt x="248" y="156"/>
                  </a:lnTo>
                  <a:lnTo>
                    <a:pt x="253" y="173"/>
                  </a:lnTo>
                  <a:lnTo>
                    <a:pt x="232" y="210"/>
                  </a:lnTo>
                  <a:lnTo>
                    <a:pt x="182" y="246"/>
                  </a:lnTo>
                  <a:lnTo>
                    <a:pt x="177" y="251"/>
                  </a:lnTo>
                  <a:lnTo>
                    <a:pt x="182" y="279"/>
                  </a:lnTo>
                  <a:lnTo>
                    <a:pt x="199" y="296"/>
                  </a:lnTo>
                  <a:lnTo>
                    <a:pt x="203" y="300"/>
                  </a:lnTo>
                  <a:lnTo>
                    <a:pt x="220" y="296"/>
                  </a:lnTo>
                  <a:lnTo>
                    <a:pt x="220" y="307"/>
                  </a:lnTo>
                  <a:lnTo>
                    <a:pt x="232" y="317"/>
                  </a:lnTo>
                  <a:lnTo>
                    <a:pt x="236" y="307"/>
                  </a:lnTo>
                  <a:lnTo>
                    <a:pt x="236" y="300"/>
                  </a:lnTo>
                  <a:lnTo>
                    <a:pt x="248" y="300"/>
                  </a:lnTo>
                  <a:lnTo>
                    <a:pt x="258" y="333"/>
                  </a:lnTo>
                  <a:lnTo>
                    <a:pt x="284" y="340"/>
                  </a:lnTo>
                  <a:lnTo>
                    <a:pt x="274" y="378"/>
                  </a:lnTo>
                  <a:lnTo>
                    <a:pt x="284" y="395"/>
                  </a:lnTo>
                  <a:lnTo>
                    <a:pt x="236" y="418"/>
                  </a:lnTo>
                  <a:lnTo>
                    <a:pt x="203" y="451"/>
                  </a:lnTo>
                  <a:lnTo>
                    <a:pt x="199" y="463"/>
                  </a:lnTo>
                  <a:lnTo>
                    <a:pt x="182" y="473"/>
                  </a:lnTo>
                  <a:lnTo>
                    <a:pt x="199" y="518"/>
                  </a:lnTo>
                  <a:lnTo>
                    <a:pt x="194" y="529"/>
                  </a:lnTo>
                  <a:lnTo>
                    <a:pt x="168" y="562"/>
                  </a:lnTo>
                  <a:lnTo>
                    <a:pt x="147" y="574"/>
                  </a:lnTo>
                  <a:lnTo>
                    <a:pt x="109" y="430"/>
                  </a:lnTo>
                  <a:lnTo>
                    <a:pt x="59" y="390"/>
                  </a:lnTo>
                  <a:lnTo>
                    <a:pt x="59" y="362"/>
                  </a:lnTo>
                  <a:lnTo>
                    <a:pt x="45" y="340"/>
                  </a:lnTo>
                  <a:lnTo>
                    <a:pt x="17" y="333"/>
                  </a:lnTo>
                  <a:lnTo>
                    <a:pt x="0" y="279"/>
                  </a:lnTo>
                  <a:lnTo>
                    <a:pt x="0" y="262"/>
                  </a:lnTo>
                  <a:lnTo>
                    <a:pt x="0" y="262"/>
                  </a:lnTo>
                  <a:lnTo>
                    <a:pt x="0" y="262"/>
                  </a:lnTo>
                  <a:close/>
                  <a:moveTo>
                    <a:pt x="253" y="210"/>
                  </a:moveTo>
                  <a:lnTo>
                    <a:pt x="258" y="206"/>
                  </a:lnTo>
                  <a:lnTo>
                    <a:pt x="270" y="206"/>
                  </a:lnTo>
                  <a:lnTo>
                    <a:pt x="253" y="210"/>
                  </a:lnTo>
                  <a:lnTo>
                    <a:pt x="253" y="210"/>
                  </a:lnTo>
                  <a:lnTo>
                    <a:pt x="253" y="210"/>
                  </a:lnTo>
                  <a:close/>
                  <a:moveTo>
                    <a:pt x="236" y="300"/>
                  </a:moveTo>
                  <a:lnTo>
                    <a:pt x="232" y="296"/>
                  </a:lnTo>
                  <a:lnTo>
                    <a:pt x="232" y="296"/>
                  </a:lnTo>
                  <a:lnTo>
                    <a:pt x="232" y="279"/>
                  </a:lnTo>
                  <a:lnTo>
                    <a:pt x="248" y="284"/>
                  </a:lnTo>
                  <a:lnTo>
                    <a:pt x="236" y="300"/>
                  </a:lnTo>
                  <a:lnTo>
                    <a:pt x="236" y="300"/>
                  </a:lnTo>
                  <a:lnTo>
                    <a:pt x="236" y="30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3" name="Freeform 574">
              <a:extLst>
                <a:ext uri="{FF2B5EF4-FFF2-40B4-BE49-F238E27FC236}">
                  <a16:creationId xmlns:a16="http://schemas.microsoft.com/office/drawing/2014/main" id="{FEA3145A-F936-4FCC-95E4-18AD742CBE39}"/>
                </a:ext>
              </a:extLst>
            </p:cNvPr>
            <p:cNvSpPr>
              <a:spLocks noEditPoints="1"/>
            </p:cNvSpPr>
            <p:nvPr/>
          </p:nvSpPr>
          <p:spPr bwMode="gray">
            <a:xfrm>
              <a:off x="14333627" y="3059856"/>
              <a:ext cx="438250" cy="174122"/>
            </a:xfrm>
            <a:custGeom>
              <a:avLst/>
              <a:gdLst>
                <a:gd name="T0" fmla="*/ 71 w 1339"/>
                <a:gd name="T1" fmla="*/ 62 h 532"/>
                <a:gd name="T2" fmla="*/ 59 w 1339"/>
                <a:gd name="T3" fmla="*/ 22 h 532"/>
                <a:gd name="T4" fmla="*/ 113 w 1339"/>
                <a:gd name="T5" fmla="*/ 0 h 532"/>
                <a:gd name="T6" fmla="*/ 168 w 1339"/>
                <a:gd name="T7" fmla="*/ 38 h 532"/>
                <a:gd name="T8" fmla="*/ 222 w 1339"/>
                <a:gd name="T9" fmla="*/ 95 h 532"/>
                <a:gd name="T10" fmla="*/ 177 w 1339"/>
                <a:gd name="T11" fmla="*/ 88 h 532"/>
                <a:gd name="T12" fmla="*/ 75 w 1339"/>
                <a:gd name="T13" fmla="*/ 144 h 532"/>
                <a:gd name="T14" fmla="*/ 80 w 1339"/>
                <a:gd name="T15" fmla="*/ 128 h 532"/>
                <a:gd name="T16" fmla="*/ 26 w 1339"/>
                <a:gd name="T17" fmla="*/ 116 h 532"/>
                <a:gd name="T18" fmla="*/ 1264 w 1339"/>
                <a:gd name="T19" fmla="*/ 409 h 532"/>
                <a:gd name="T20" fmla="*/ 1188 w 1339"/>
                <a:gd name="T21" fmla="*/ 421 h 532"/>
                <a:gd name="T22" fmla="*/ 1150 w 1339"/>
                <a:gd name="T23" fmla="*/ 409 h 532"/>
                <a:gd name="T24" fmla="*/ 957 w 1339"/>
                <a:gd name="T25" fmla="*/ 461 h 532"/>
                <a:gd name="T26" fmla="*/ 827 w 1339"/>
                <a:gd name="T27" fmla="*/ 461 h 532"/>
                <a:gd name="T28" fmla="*/ 777 w 1339"/>
                <a:gd name="T29" fmla="*/ 487 h 532"/>
                <a:gd name="T30" fmla="*/ 739 w 1339"/>
                <a:gd name="T31" fmla="*/ 532 h 532"/>
                <a:gd name="T32" fmla="*/ 739 w 1339"/>
                <a:gd name="T33" fmla="*/ 461 h 532"/>
                <a:gd name="T34" fmla="*/ 701 w 1339"/>
                <a:gd name="T35" fmla="*/ 461 h 532"/>
                <a:gd name="T36" fmla="*/ 583 w 1339"/>
                <a:gd name="T37" fmla="*/ 487 h 532"/>
                <a:gd name="T38" fmla="*/ 470 w 1339"/>
                <a:gd name="T39" fmla="*/ 499 h 532"/>
                <a:gd name="T40" fmla="*/ 340 w 1339"/>
                <a:gd name="T41" fmla="*/ 482 h 532"/>
                <a:gd name="T42" fmla="*/ 243 w 1339"/>
                <a:gd name="T43" fmla="*/ 482 h 532"/>
                <a:gd name="T44" fmla="*/ 231 w 1339"/>
                <a:gd name="T45" fmla="*/ 449 h 532"/>
                <a:gd name="T46" fmla="*/ 189 w 1339"/>
                <a:gd name="T47" fmla="*/ 444 h 532"/>
                <a:gd name="T48" fmla="*/ 168 w 1339"/>
                <a:gd name="T49" fmla="*/ 461 h 532"/>
                <a:gd name="T50" fmla="*/ 125 w 1339"/>
                <a:gd name="T51" fmla="*/ 461 h 532"/>
                <a:gd name="T52" fmla="*/ 113 w 1339"/>
                <a:gd name="T53" fmla="*/ 433 h 532"/>
                <a:gd name="T54" fmla="*/ 134 w 1339"/>
                <a:gd name="T55" fmla="*/ 409 h 532"/>
                <a:gd name="T56" fmla="*/ 113 w 1339"/>
                <a:gd name="T57" fmla="*/ 350 h 532"/>
                <a:gd name="T58" fmla="*/ 42 w 1339"/>
                <a:gd name="T59" fmla="*/ 322 h 532"/>
                <a:gd name="T60" fmla="*/ 54 w 1339"/>
                <a:gd name="T61" fmla="*/ 310 h 532"/>
                <a:gd name="T62" fmla="*/ 108 w 1339"/>
                <a:gd name="T63" fmla="*/ 310 h 532"/>
                <a:gd name="T64" fmla="*/ 97 w 1339"/>
                <a:gd name="T65" fmla="*/ 265 h 532"/>
                <a:gd name="T66" fmla="*/ 92 w 1339"/>
                <a:gd name="T67" fmla="*/ 222 h 532"/>
                <a:gd name="T68" fmla="*/ 75 w 1339"/>
                <a:gd name="T69" fmla="*/ 144 h 532"/>
                <a:gd name="T70" fmla="*/ 146 w 1339"/>
                <a:gd name="T71" fmla="*/ 133 h 532"/>
                <a:gd name="T72" fmla="*/ 163 w 1339"/>
                <a:gd name="T73" fmla="*/ 149 h 532"/>
                <a:gd name="T74" fmla="*/ 269 w 1339"/>
                <a:gd name="T75" fmla="*/ 116 h 532"/>
                <a:gd name="T76" fmla="*/ 238 w 1339"/>
                <a:gd name="T77" fmla="*/ 88 h 532"/>
                <a:gd name="T78" fmla="*/ 361 w 1339"/>
                <a:gd name="T79" fmla="*/ 88 h 532"/>
                <a:gd name="T80" fmla="*/ 541 w 1339"/>
                <a:gd name="T81" fmla="*/ 5 h 532"/>
                <a:gd name="T82" fmla="*/ 692 w 1339"/>
                <a:gd name="T83" fmla="*/ 38 h 532"/>
                <a:gd name="T84" fmla="*/ 756 w 1339"/>
                <a:gd name="T85" fmla="*/ 71 h 532"/>
                <a:gd name="T86" fmla="*/ 831 w 1339"/>
                <a:gd name="T87" fmla="*/ 88 h 532"/>
                <a:gd name="T88" fmla="*/ 961 w 1339"/>
                <a:gd name="T89" fmla="*/ 88 h 532"/>
                <a:gd name="T90" fmla="*/ 1134 w 1339"/>
                <a:gd name="T91" fmla="*/ 55 h 532"/>
                <a:gd name="T92" fmla="*/ 1205 w 1339"/>
                <a:gd name="T93" fmla="*/ 38 h 532"/>
                <a:gd name="T94" fmla="*/ 1268 w 1339"/>
                <a:gd name="T95" fmla="*/ 111 h 532"/>
                <a:gd name="T96" fmla="*/ 1280 w 1339"/>
                <a:gd name="T97" fmla="*/ 173 h 532"/>
                <a:gd name="T98" fmla="*/ 1334 w 1339"/>
                <a:gd name="T99" fmla="*/ 199 h 532"/>
                <a:gd name="T100" fmla="*/ 1301 w 1339"/>
                <a:gd name="T101" fmla="*/ 255 h 532"/>
                <a:gd name="T102" fmla="*/ 1318 w 1339"/>
                <a:gd name="T103" fmla="*/ 317 h 532"/>
                <a:gd name="T104" fmla="*/ 1339 w 1339"/>
                <a:gd name="T105" fmla="*/ 404 h 532"/>
                <a:gd name="T106" fmla="*/ 1301 w 1339"/>
                <a:gd name="T107" fmla="*/ 421 h 532"/>
                <a:gd name="T108" fmla="*/ 1297 w 1339"/>
                <a:gd name="T109" fmla="*/ 404 h 532"/>
                <a:gd name="T110" fmla="*/ 134 w 1339"/>
                <a:gd name="T111" fmla="*/ 128 h 532"/>
                <a:gd name="T112" fmla="*/ 0 w 1339"/>
                <a:gd name="T113" fmla="*/ 166 h 532"/>
                <a:gd name="T114" fmla="*/ 5 w 1339"/>
                <a:gd name="T115" fmla="*/ 166 h 532"/>
                <a:gd name="T116" fmla="*/ 21 w 1339"/>
                <a:gd name="T117" fmla="*/ 189 h 532"/>
                <a:gd name="T118" fmla="*/ 26 w 1339"/>
                <a:gd name="T119" fmla="*/ 199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39" h="532">
                  <a:moveTo>
                    <a:pt x="26" y="116"/>
                  </a:moveTo>
                  <a:lnTo>
                    <a:pt x="54" y="95"/>
                  </a:lnTo>
                  <a:lnTo>
                    <a:pt x="42" y="71"/>
                  </a:lnTo>
                  <a:lnTo>
                    <a:pt x="71" y="62"/>
                  </a:lnTo>
                  <a:lnTo>
                    <a:pt x="71" y="38"/>
                  </a:lnTo>
                  <a:lnTo>
                    <a:pt x="54" y="33"/>
                  </a:lnTo>
                  <a:lnTo>
                    <a:pt x="54" y="22"/>
                  </a:lnTo>
                  <a:lnTo>
                    <a:pt x="59" y="22"/>
                  </a:lnTo>
                  <a:lnTo>
                    <a:pt x="71" y="5"/>
                  </a:lnTo>
                  <a:lnTo>
                    <a:pt x="92" y="5"/>
                  </a:lnTo>
                  <a:lnTo>
                    <a:pt x="97" y="0"/>
                  </a:lnTo>
                  <a:lnTo>
                    <a:pt x="113" y="0"/>
                  </a:lnTo>
                  <a:lnTo>
                    <a:pt x="134" y="17"/>
                  </a:lnTo>
                  <a:lnTo>
                    <a:pt x="168" y="5"/>
                  </a:lnTo>
                  <a:lnTo>
                    <a:pt x="163" y="22"/>
                  </a:lnTo>
                  <a:lnTo>
                    <a:pt x="168" y="38"/>
                  </a:lnTo>
                  <a:lnTo>
                    <a:pt x="201" y="55"/>
                  </a:lnTo>
                  <a:lnTo>
                    <a:pt x="238" y="71"/>
                  </a:lnTo>
                  <a:lnTo>
                    <a:pt x="238" y="88"/>
                  </a:lnTo>
                  <a:lnTo>
                    <a:pt x="222" y="95"/>
                  </a:lnTo>
                  <a:lnTo>
                    <a:pt x="205" y="95"/>
                  </a:lnTo>
                  <a:lnTo>
                    <a:pt x="201" y="88"/>
                  </a:lnTo>
                  <a:lnTo>
                    <a:pt x="201" y="95"/>
                  </a:lnTo>
                  <a:lnTo>
                    <a:pt x="177" y="88"/>
                  </a:lnTo>
                  <a:lnTo>
                    <a:pt x="163" y="95"/>
                  </a:lnTo>
                  <a:lnTo>
                    <a:pt x="130" y="95"/>
                  </a:lnTo>
                  <a:lnTo>
                    <a:pt x="113" y="116"/>
                  </a:lnTo>
                  <a:lnTo>
                    <a:pt x="75" y="144"/>
                  </a:lnTo>
                  <a:lnTo>
                    <a:pt x="38" y="173"/>
                  </a:lnTo>
                  <a:lnTo>
                    <a:pt x="42" y="156"/>
                  </a:lnTo>
                  <a:lnTo>
                    <a:pt x="38" y="149"/>
                  </a:lnTo>
                  <a:lnTo>
                    <a:pt x="80" y="128"/>
                  </a:lnTo>
                  <a:lnTo>
                    <a:pt x="75" y="116"/>
                  </a:lnTo>
                  <a:lnTo>
                    <a:pt x="26" y="128"/>
                  </a:lnTo>
                  <a:lnTo>
                    <a:pt x="26" y="116"/>
                  </a:lnTo>
                  <a:lnTo>
                    <a:pt x="26" y="116"/>
                  </a:lnTo>
                  <a:lnTo>
                    <a:pt x="26" y="116"/>
                  </a:lnTo>
                  <a:close/>
                  <a:moveTo>
                    <a:pt x="1297" y="404"/>
                  </a:moveTo>
                  <a:lnTo>
                    <a:pt x="1280" y="409"/>
                  </a:lnTo>
                  <a:lnTo>
                    <a:pt x="1264" y="409"/>
                  </a:lnTo>
                  <a:lnTo>
                    <a:pt x="1226" y="392"/>
                  </a:lnTo>
                  <a:lnTo>
                    <a:pt x="1214" y="404"/>
                  </a:lnTo>
                  <a:lnTo>
                    <a:pt x="1205" y="392"/>
                  </a:lnTo>
                  <a:lnTo>
                    <a:pt x="1188" y="421"/>
                  </a:lnTo>
                  <a:lnTo>
                    <a:pt x="1171" y="421"/>
                  </a:lnTo>
                  <a:lnTo>
                    <a:pt x="1171" y="409"/>
                  </a:lnTo>
                  <a:lnTo>
                    <a:pt x="1155" y="404"/>
                  </a:lnTo>
                  <a:lnTo>
                    <a:pt x="1150" y="409"/>
                  </a:lnTo>
                  <a:lnTo>
                    <a:pt x="1117" y="421"/>
                  </a:lnTo>
                  <a:lnTo>
                    <a:pt x="1063" y="421"/>
                  </a:lnTo>
                  <a:lnTo>
                    <a:pt x="994" y="449"/>
                  </a:lnTo>
                  <a:lnTo>
                    <a:pt x="957" y="461"/>
                  </a:lnTo>
                  <a:lnTo>
                    <a:pt x="919" y="449"/>
                  </a:lnTo>
                  <a:lnTo>
                    <a:pt x="902" y="444"/>
                  </a:lnTo>
                  <a:lnTo>
                    <a:pt x="886" y="433"/>
                  </a:lnTo>
                  <a:lnTo>
                    <a:pt x="827" y="461"/>
                  </a:lnTo>
                  <a:lnTo>
                    <a:pt x="810" y="461"/>
                  </a:lnTo>
                  <a:lnTo>
                    <a:pt x="772" y="444"/>
                  </a:lnTo>
                  <a:lnTo>
                    <a:pt x="760" y="477"/>
                  </a:lnTo>
                  <a:lnTo>
                    <a:pt x="777" y="487"/>
                  </a:lnTo>
                  <a:lnTo>
                    <a:pt x="756" y="487"/>
                  </a:lnTo>
                  <a:lnTo>
                    <a:pt x="756" y="515"/>
                  </a:lnTo>
                  <a:lnTo>
                    <a:pt x="739" y="515"/>
                  </a:lnTo>
                  <a:lnTo>
                    <a:pt x="739" y="532"/>
                  </a:lnTo>
                  <a:lnTo>
                    <a:pt x="723" y="515"/>
                  </a:lnTo>
                  <a:lnTo>
                    <a:pt x="723" y="515"/>
                  </a:lnTo>
                  <a:lnTo>
                    <a:pt x="706" y="482"/>
                  </a:lnTo>
                  <a:lnTo>
                    <a:pt x="739" y="461"/>
                  </a:lnTo>
                  <a:lnTo>
                    <a:pt x="739" y="444"/>
                  </a:lnTo>
                  <a:lnTo>
                    <a:pt x="723" y="433"/>
                  </a:lnTo>
                  <a:lnTo>
                    <a:pt x="692" y="449"/>
                  </a:lnTo>
                  <a:lnTo>
                    <a:pt x="701" y="461"/>
                  </a:lnTo>
                  <a:lnTo>
                    <a:pt x="675" y="466"/>
                  </a:lnTo>
                  <a:lnTo>
                    <a:pt x="631" y="444"/>
                  </a:lnTo>
                  <a:lnTo>
                    <a:pt x="609" y="466"/>
                  </a:lnTo>
                  <a:lnTo>
                    <a:pt x="583" y="487"/>
                  </a:lnTo>
                  <a:lnTo>
                    <a:pt x="579" y="482"/>
                  </a:lnTo>
                  <a:lnTo>
                    <a:pt x="562" y="499"/>
                  </a:lnTo>
                  <a:lnTo>
                    <a:pt x="503" y="503"/>
                  </a:lnTo>
                  <a:lnTo>
                    <a:pt x="470" y="499"/>
                  </a:lnTo>
                  <a:lnTo>
                    <a:pt x="449" y="466"/>
                  </a:lnTo>
                  <a:lnTo>
                    <a:pt x="378" y="444"/>
                  </a:lnTo>
                  <a:lnTo>
                    <a:pt x="345" y="444"/>
                  </a:lnTo>
                  <a:lnTo>
                    <a:pt x="340" y="482"/>
                  </a:lnTo>
                  <a:lnTo>
                    <a:pt x="328" y="499"/>
                  </a:lnTo>
                  <a:lnTo>
                    <a:pt x="323" y="482"/>
                  </a:lnTo>
                  <a:lnTo>
                    <a:pt x="286" y="499"/>
                  </a:lnTo>
                  <a:lnTo>
                    <a:pt x="243" y="482"/>
                  </a:lnTo>
                  <a:lnTo>
                    <a:pt x="243" y="466"/>
                  </a:lnTo>
                  <a:lnTo>
                    <a:pt x="238" y="466"/>
                  </a:lnTo>
                  <a:lnTo>
                    <a:pt x="238" y="461"/>
                  </a:lnTo>
                  <a:lnTo>
                    <a:pt x="231" y="449"/>
                  </a:lnTo>
                  <a:lnTo>
                    <a:pt x="222" y="461"/>
                  </a:lnTo>
                  <a:lnTo>
                    <a:pt x="215" y="449"/>
                  </a:lnTo>
                  <a:lnTo>
                    <a:pt x="201" y="433"/>
                  </a:lnTo>
                  <a:lnTo>
                    <a:pt x="189" y="444"/>
                  </a:lnTo>
                  <a:lnTo>
                    <a:pt x="184" y="444"/>
                  </a:lnTo>
                  <a:lnTo>
                    <a:pt x="184" y="449"/>
                  </a:lnTo>
                  <a:lnTo>
                    <a:pt x="163" y="466"/>
                  </a:lnTo>
                  <a:lnTo>
                    <a:pt x="168" y="461"/>
                  </a:lnTo>
                  <a:lnTo>
                    <a:pt x="163" y="449"/>
                  </a:lnTo>
                  <a:lnTo>
                    <a:pt x="177" y="449"/>
                  </a:lnTo>
                  <a:lnTo>
                    <a:pt x="177" y="444"/>
                  </a:lnTo>
                  <a:lnTo>
                    <a:pt x="125" y="461"/>
                  </a:lnTo>
                  <a:lnTo>
                    <a:pt x="168" y="444"/>
                  </a:lnTo>
                  <a:lnTo>
                    <a:pt x="168" y="433"/>
                  </a:lnTo>
                  <a:lnTo>
                    <a:pt x="189" y="425"/>
                  </a:lnTo>
                  <a:lnTo>
                    <a:pt x="113" y="433"/>
                  </a:lnTo>
                  <a:lnTo>
                    <a:pt x="113" y="425"/>
                  </a:lnTo>
                  <a:lnTo>
                    <a:pt x="113" y="421"/>
                  </a:lnTo>
                  <a:lnTo>
                    <a:pt x="130" y="421"/>
                  </a:lnTo>
                  <a:lnTo>
                    <a:pt x="134" y="409"/>
                  </a:lnTo>
                  <a:lnTo>
                    <a:pt x="125" y="404"/>
                  </a:lnTo>
                  <a:lnTo>
                    <a:pt x="125" y="392"/>
                  </a:lnTo>
                  <a:lnTo>
                    <a:pt x="108" y="404"/>
                  </a:lnTo>
                  <a:lnTo>
                    <a:pt x="113" y="350"/>
                  </a:lnTo>
                  <a:lnTo>
                    <a:pt x="92" y="338"/>
                  </a:lnTo>
                  <a:lnTo>
                    <a:pt x="75" y="322"/>
                  </a:lnTo>
                  <a:lnTo>
                    <a:pt x="71" y="338"/>
                  </a:lnTo>
                  <a:lnTo>
                    <a:pt x="42" y="322"/>
                  </a:lnTo>
                  <a:lnTo>
                    <a:pt x="42" y="317"/>
                  </a:lnTo>
                  <a:lnTo>
                    <a:pt x="54" y="317"/>
                  </a:lnTo>
                  <a:lnTo>
                    <a:pt x="59" y="310"/>
                  </a:lnTo>
                  <a:lnTo>
                    <a:pt x="54" y="310"/>
                  </a:lnTo>
                  <a:lnTo>
                    <a:pt x="54" y="293"/>
                  </a:lnTo>
                  <a:lnTo>
                    <a:pt x="59" y="293"/>
                  </a:lnTo>
                  <a:lnTo>
                    <a:pt x="75" y="317"/>
                  </a:lnTo>
                  <a:lnTo>
                    <a:pt x="108" y="310"/>
                  </a:lnTo>
                  <a:lnTo>
                    <a:pt x="92" y="310"/>
                  </a:lnTo>
                  <a:lnTo>
                    <a:pt x="75" y="293"/>
                  </a:lnTo>
                  <a:lnTo>
                    <a:pt x="75" y="281"/>
                  </a:lnTo>
                  <a:lnTo>
                    <a:pt x="97" y="265"/>
                  </a:lnTo>
                  <a:lnTo>
                    <a:pt x="80" y="265"/>
                  </a:lnTo>
                  <a:lnTo>
                    <a:pt x="80" y="255"/>
                  </a:lnTo>
                  <a:lnTo>
                    <a:pt x="71" y="239"/>
                  </a:lnTo>
                  <a:lnTo>
                    <a:pt x="92" y="222"/>
                  </a:lnTo>
                  <a:lnTo>
                    <a:pt x="92" y="211"/>
                  </a:lnTo>
                  <a:lnTo>
                    <a:pt x="26" y="222"/>
                  </a:lnTo>
                  <a:lnTo>
                    <a:pt x="38" y="182"/>
                  </a:lnTo>
                  <a:lnTo>
                    <a:pt x="75" y="144"/>
                  </a:lnTo>
                  <a:lnTo>
                    <a:pt x="108" y="144"/>
                  </a:lnTo>
                  <a:lnTo>
                    <a:pt x="130" y="149"/>
                  </a:lnTo>
                  <a:lnTo>
                    <a:pt x="151" y="149"/>
                  </a:lnTo>
                  <a:lnTo>
                    <a:pt x="146" y="133"/>
                  </a:lnTo>
                  <a:lnTo>
                    <a:pt x="146" y="133"/>
                  </a:lnTo>
                  <a:lnTo>
                    <a:pt x="168" y="133"/>
                  </a:lnTo>
                  <a:lnTo>
                    <a:pt x="163" y="144"/>
                  </a:lnTo>
                  <a:lnTo>
                    <a:pt x="163" y="149"/>
                  </a:lnTo>
                  <a:lnTo>
                    <a:pt x="238" y="149"/>
                  </a:lnTo>
                  <a:lnTo>
                    <a:pt x="243" y="144"/>
                  </a:lnTo>
                  <a:lnTo>
                    <a:pt x="222" y="133"/>
                  </a:lnTo>
                  <a:lnTo>
                    <a:pt x="269" y="116"/>
                  </a:lnTo>
                  <a:lnTo>
                    <a:pt x="297" y="116"/>
                  </a:lnTo>
                  <a:lnTo>
                    <a:pt x="260" y="111"/>
                  </a:lnTo>
                  <a:lnTo>
                    <a:pt x="243" y="100"/>
                  </a:lnTo>
                  <a:lnTo>
                    <a:pt x="238" y="88"/>
                  </a:lnTo>
                  <a:lnTo>
                    <a:pt x="243" y="71"/>
                  </a:lnTo>
                  <a:lnTo>
                    <a:pt x="307" y="78"/>
                  </a:lnTo>
                  <a:lnTo>
                    <a:pt x="323" y="71"/>
                  </a:lnTo>
                  <a:lnTo>
                    <a:pt x="361" y="88"/>
                  </a:lnTo>
                  <a:lnTo>
                    <a:pt x="394" y="88"/>
                  </a:lnTo>
                  <a:lnTo>
                    <a:pt x="416" y="62"/>
                  </a:lnTo>
                  <a:lnTo>
                    <a:pt x="458" y="33"/>
                  </a:lnTo>
                  <a:lnTo>
                    <a:pt x="541" y="5"/>
                  </a:lnTo>
                  <a:lnTo>
                    <a:pt x="638" y="5"/>
                  </a:lnTo>
                  <a:lnTo>
                    <a:pt x="654" y="0"/>
                  </a:lnTo>
                  <a:lnTo>
                    <a:pt x="675" y="33"/>
                  </a:lnTo>
                  <a:lnTo>
                    <a:pt x="692" y="38"/>
                  </a:lnTo>
                  <a:lnTo>
                    <a:pt x="723" y="33"/>
                  </a:lnTo>
                  <a:lnTo>
                    <a:pt x="730" y="33"/>
                  </a:lnTo>
                  <a:lnTo>
                    <a:pt x="730" y="55"/>
                  </a:lnTo>
                  <a:lnTo>
                    <a:pt x="756" y="71"/>
                  </a:lnTo>
                  <a:lnTo>
                    <a:pt x="782" y="62"/>
                  </a:lnTo>
                  <a:lnTo>
                    <a:pt x="798" y="71"/>
                  </a:lnTo>
                  <a:lnTo>
                    <a:pt x="798" y="78"/>
                  </a:lnTo>
                  <a:lnTo>
                    <a:pt x="831" y="88"/>
                  </a:lnTo>
                  <a:lnTo>
                    <a:pt x="848" y="78"/>
                  </a:lnTo>
                  <a:lnTo>
                    <a:pt x="853" y="95"/>
                  </a:lnTo>
                  <a:lnTo>
                    <a:pt x="890" y="100"/>
                  </a:lnTo>
                  <a:lnTo>
                    <a:pt x="961" y="88"/>
                  </a:lnTo>
                  <a:lnTo>
                    <a:pt x="1016" y="100"/>
                  </a:lnTo>
                  <a:lnTo>
                    <a:pt x="1101" y="62"/>
                  </a:lnTo>
                  <a:lnTo>
                    <a:pt x="1117" y="45"/>
                  </a:lnTo>
                  <a:lnTo>
                    <a:pt x="1134" y="55"/>
                  </a:lnTo>
                  <a:lnTo>
                    <a:pt x="1150" y="45"/>
                  </a:lnTo>
                  <a:lnTo>
                    <a:pt x="1176" y="55"/>
                  </a:lnTo>
                  <a:lnTo>
                    <a:pt x="1188" y="38"/>
                  </a:lnTo>
                  <a:lnTo>
                    <a:pt x="1205" y="38"/>
                  </a:lnTo>
                  <a:lnTo>
                    <a:pt x="1231" y="78"/>
                  </a:lnTo>
                  <a:lnTo>
                    <a:pt x="1242" y="78"/>
                  </a:lnTo>
                  <a:lnTo>
                    <a:pt x="1247" y="78"/>
                  </a:lnTo>
                  <a:lnTo>
                    <a:pt x="1268" y="111"/>
                  </a:lnTo>
                  <a:lnTo>
                    <a:pt x="1259" y="144"/>
                  </a:lnTo>
                  <a:lnTo>
                    <a:pt x="1264" y="166"/>
                  </a:lnTo>
                  <a:lnTo>
                    <a:pt x="1264" y="166"/>
                  </a:lnTo>
                  <a:lnTo>
                    <a:pt x="1280" y="173"/>
                  </a:lnTo>
                  <a:lnTo>
                    <a:pt x="1311" y="173"/>
                  </a:lnTo>
                  <a:lnTo>
                    <a:pt x="1339" y="206"/>
                  </a:lnTo>
                  <a:lnTo>
                    <a:pt x="1339" y="206"/>
                  </a:lnTo>
                  <a:lnTo>
                    <a:pt x="1334" y="199"/>
                  </a:lnTo>
                  <a:lnTo>
                    <a:pt x="1318" y="206"/>
                  </a:lnTo>
                  <a:lnTo>
                    <a:pt x="1318" y="227"/>
                  </a:lnTo>
                  <a:lnTo>
                    <a:pt x="1285" y="227"/>
                  </a:lnTo>
                  <a:lnTo>
                    <a:pt x="1301" y="255"/>
                  </a:lnTo>
                  <a:lnTo>
                    <a:pt x="1301" y="265"/>
                  </a:lnTo>
                  <a:lnTo>
                    <a:pt x="1311" y="277"/>
                  </a:lnTo>
                  <a:lnTo>
                    <a:pt x="1311" y="317"/>
                  </a:lnTo>
                  <a:lnTo>
                    <a:pt x="1318" y="317"/>
                  </a:lnTo>
                  <a:lnTo>
                    <a:pt x="1301" y="355"/>
                  </a:lnTo>
                  <a:lnTo>
                    <a:pt x="1334" y="371"/>
                  </a:lnTo>
                  <a:lnTo>
                    <a:pt x="1323" y="392"/>
                  </a:lnTo>
                  <a:lnTo>
                    <a:pt x="1339" y="404"/>
                  </a:lnTo>
                  <a:lnTo>
                    <a:pt x="1339" y="421"/>
                  </a:lnTo>
                  <a:lnTo>
                    <a:pt x="1334" y="409"/>
                  </a:lnTo>
                  <a:lnTo>
                    <a:pt x="1311" y="433"/>
                  </a:lnTo>
                  <a:lnTo>
                    <a:pt x="1301" y="421"/>
                  </a:lnTo>
                  <a:lnTo>
                    <a:pt x="1301" y="409"/>
                  </a:lnTo>
                  <a:lnTo>
                    <a:pt x="1297" y="404"/>
                  </a:lnTo>
                  <a:lnTo>
                    <a:pt x="1297" y="404"/>
                  </a:lnTo>
                  <a:lnTo>
                    <a:pt x="1297" y="404"/>
                  </a:lnTo>
                  <a:close/>
                  <a:moveTo>
                    <a:pt x="134" y="128"/>
                  </a:moveTo>
                  <a:lnTo>
                    <a:pt x="130" y="128"/>
                  </a:lnTo>
                  <a:lnTo>
                    <a:pt x="146" y="128"/>
                  </a:lnTo>
                  <a:lnTo>
                    <a:pt x="134" y="128"/>
                  </a:lnTo>
                  <a:lnTo>
                    <a:pt x="134" y="128"/>
                  </a:lnTo>
                  <a:lnTo>
                    <a:pt x="134" y="128"/>
                  </a:lnTo>
                  <a:close/>
                  <a:moveTo>
                    <a:pt x="5" y="166"/>
                  </a:moveTo>
                  <a:lnTo>
                    <a:pt x="0" y="166"/>
                  </a:lnTo>
                  <a:lnTo>
                    <a:pt x="5" y="156"/>
                  </a:lnTo>
                  <a:lnTo>
                    <a:pt x="21" y="156"/>
                  </a:lnTo>
                  <a:lnTo>
                    <a:pt x="21" y="166"/>
                  </a:lnTo>
                  <a:lnTo>
                    <a:pt x="5" y="166"/>
                  </a:lnTo>
                  <a:lnTo>
                    <a:pt x="5" y="166"/>
                  </a:lnTo>
                  <a:lnTo>
                    <a:pt x="5" y="166"/>
                  </a:lnTo>
                  <a:close/>
                  <a:moveTo>
                    <a:pt x="26" y="199"/>
                  </a:moveTo>
                  <a:lnTo>
                    <a:pt x="21" y="189"/>
                  </a:lnTo>
                  <a:lnTo>
                    <a:pt x="26" y="189"/>
                  </a:lnTo>
                  <a:lnTo>
                    <a:pt x="26" y="199"/>
                  </a:lnTo>
                  <a:lnTo>
                    <a:pt x="26" y="199"/>
                  </a:lnTo>
                  <a:lnTo>
                    <a:pt x="26" y="19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4" name="Freeform 575">
              <a:extLst>
                <a:ext uri="{FF2B5EF4-FFF2-40B4-BE49-F238E27FC236}">
                  <a16:creationId xmlns:a16="http://schemas.microsoft.com/office/drawing/2014/main" id="{B969BA6A-5094-4F28-8AE1-0B6F1AE1BF76}"/>
                </a:ext>
              </a:extLst>
            </p:cNvPr>
            <p:cNvSpPr>
              <a:spLocks noEditPoints="1"/>
            </p:cNvSpPr>
            <p:nvPr/>
          </p:nvSpPr>
          <p:spPr bwMode="gray">
            <a:xfrm>
              <a:off x="16458764" y="3506943"/>
              <a:ext cx="85097" cy="81170"/>
            </a:xfrm>
            <a:custGeom>
              <a:avLst/>
              <a:gdLst>
                <a:gd name="T0" fmla="*/ 130 w 260"/>
                <a:gd name="T1" fmla="*/ 132 h 248"/>
                <a:gd name="T2" fmla="*/ 142 w 260"/>
                <a:gd name="T3" fmla="*/ 108 h 248"/>
                <a:gd name="T4" fmla="*/ 196 w 260"/>
                <a:gd name="T5" fmla="*/ 21 h 248"/>
                <a:gd name="T6" fmla="*/ 222 w 260"/>
                <a:gd name="T7" fmla="*/ 4 h 248"/>
                <a:gd name="T8" fmla="*/ 222 w 260"/>
                <a:gd name="T9" fmla="*/ 4 h 248"/>
                <a:gd name="T10" fmla="*/ 234 w 260"/>
                <a:gd name="T11" fmla="*/ 0 h 248"/>
                <a:gd name="T12" fmla="*/ 260 w 260"/>
                <a:gd name="T13" fmla="*/ 9 h 248"/>
                <a:gd name="T14" fmla="*/ 251 w 260"/>
                <a:gd name="T15" fmla="*/ 26 h 248"/>
                <a:gd name="T16" fmla="*/ 256 w 260"/>
                <a:gd name="T17" fmla="*/ 59 h 248"/>
                <a:gd name="T18" fmla="*/ 239 w 260"/>
                <a:gd name="T19" fmla="*/ 82 h 248"/>
                <a:gd name="T20" fmla="*/ 222 w 260"/>
                <a:gd name="T21" fmla="*/ 148 h 248"/>
                <a:gd name="T22" fmla="*/ 206 w 260"/>
                <a:gd name="T23" fmla="*/ 174 h 248"/>
                <a:gd name="T24" fmla="*/ 196 w 260"/>
                <a:gd name="T25" fmla="*/ 203 h 248"/>
                <a:gd name="T26" fmla="*/ 180 w 260"/>
                <a:gd name="T27" fmla="*/ 248 h 248"/>
                <a:gd name="T28" fmla="*/ 168 w 260"/>
                <a:gd name="T29" fmla="*/ 248 h 248"/>
                <a:gd name="T30" fmla="*/ 168 w 260"/>
                <a:gd name="T31" fmla="*/ 226 h 248"/>
                <a:gd name="T32" fmla="*/ 147 w 260"/>
                <a:gd name="T33" fmla="*/ 203 h 248"/>
                <a:gd name="T34" fmla="*/ 130 w 260"/>
                <a:gd name="T35" fmla="*/ 170 h 248"/>
                <a:gd name="T36" fmla="*/ 126 w 260"/>
                <a:gd name="T37" fmla="*/ 165 h 248"/>
                <a:gd name="T38" fmla="*/ 130 w 260"/>
                <a:gd name="T39" fmla="*/ 132 h 248"/>
                <a:gd name="T40" fmla="*/ 130 w 260"/>
                <a:gd name="T41" fmla="*/ 132 h 248"/>
                <a:gd name="T42" fmla="*/ 130 w 260"/>
                <a:gd name="T43" fmla="*/ 132 h 248"/>
                <a:gd name="T44" fmla="*/ 0 w 260"/>
                <a:gd name="T45" fmla="*/ 59 h 248"/>
                <a:gd name="T46" fmla="*/ 5 w 260"/>
                <a:gd name="T47" fmla="*/ 54 h 248"/>
                <a:gd name="T48" fmla="*/ 17 w 260"/>
                <a:gd name="T49" fmla="*/ 59 h 248"/>
                <a:gd name="T50" fmla="*/ 17 w 260"/>
                <a:gd name="T51" fmla="*/ 59 h 248"/>
                <a:gd name="T52" fmla="*/ 0 w 260"/>
                <a:gd name="T53" fmla="*/ 59 h 248"/>
                <a:gd name="T54" fmla="*/ 0 w 260"/>
                <a:gd name="T55" fmla="*/ 59 h 248"/>
                <a:gd name="T56" fmla="*/ 0 w 260"/>
                <a:gd name="T57" fmla="*/ 59 h 248"/>
                <a:gd name="T58" fmla="*/ 93 w 260"/>
                <a:gd name="T59" fmla="*/ 132 h 248"/>
                <a:gd name="T60" fmla="*/ 93 w 260"/>
                <a:gd name="T61" fmla="*/ 120 h 248"/>
                <a:gd name="T62" fmla="*/ 97 w 260"/>
                <a:gd name="T63" fmla="*/ 132 h 248"/>
                <a:gd name="T64" fmla="*/ 93 w 260"/>
                <a:gd name="T65" fmla="*/ 132 h 248"/>
                <a:gd name="T66" fmla="*/ 93 w 260"/>
                <a:gd name="T67" fmla="*/ 132 h 248"/>
                <a:gd name="T68" fmla="*/ 93 w 260"/>
                <a:gd name="T69" fmla="*/ 13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0" h="248">
                  <a:moveTo>
                    <a:pt x="130" y="132"/>
                  </a:moveTo>
                  <a:lnTo>
                    <a:pt x="142" y="108"/>
                  </a:lnTo>
                  <a:lnTo>
                    <a:pt x="196" y="21"/>
                  </a:lnTo>
                  <a:lnTo>
                    <a:pt x="222" y="4"/>
                  </a:lnTo>
                  <a:lnTo>
                    <a:pt x="222" y="4"/>
                  </a:lnTo>
                  <a:lnTo>
                    <a:pt x="234" y="0"/>
                  </a:lnTo>
                  <a:lnTo>
                    <a:pt x="260" y="9"/>
                  </a:lnTo>
                  <a:lnTo>
                    <a:pt x="251" y="26"/>
                  </a:lnTo>
                  <a:lnTo>
                    <a:pt x="256" y="59"/>
                  </a:lnTo>
                  <a:lnTo>
                    <a:pt x="239" y="82"/>
                  </a:lnTo>
                  <a:lnTo>
                    <a:pt x="222" y="148"/>
                  </a:lnTo>
                  <a:lnTo>
                    <a:pt x="206" y="174"/>
                  </a:lnTo>
                  <a:lnTo>
                    <a:pt x="196" y="203"/>
                  </a:lnTo>
                  <a:lnTo>
                    <a:pt x="180" y="248"/>
                  </a:lnTo>
                  <a:lnTo>
                    <a:pt x="168" y="248"/>
                  </a:lnTo>
                  <a:lnTo>
                    <a:pt x="168" y="226"/>
                  </a:lnTo>
                  <a:lnTo>
                    <a:pt x="147" y="203"/>
                  </a:lnTo>
                  <a:lnTo>
                    <a:pt x="130" y="170"/>
                  </a:lnTo>
                  <a:lnTo>
                    <a:pt x="126" y="165"/>
                  </a:lnTo>
                  <a:lnTo>
                    <a:pt x="130" y="132"/>
                  </a:lnTo>
                  <a:lnTo>
                    <a:pt x="130" y="132"/>
                  </a:lnTo>
                  <a:lnTo>
                    <a:pt x="130" y="132"/>
                  </a:lnTo>
                  <a:close/>
                  <a:moveTo>
                    <a:pt x="0" y="59"/>
                  </a:moveTo>
                  <a:lnTo>
                    <a:pt x="5" y="54"/>
                  </a:lnTo>
                  <a:lnTo>
                    <a:pt x="17" y="59"/>
                  </a:lnTo>
                  <a:lnTo>
                    <a:pt x="17" y="59"/>
                  </a:lnTo>
                  <a:lnTo>
                    <a:pt x="0" y="59"/>
                  </a:lnTo>
                  <a:lnTo>
                    <a:pt x="0" y="59"/>
                  </a:lnTo>
                  <a:lnTo>
                    <a:pt x="0" y="59"/>
                  </a:lnTo>
                  <a:close/>
                  <a:moveTo>
                    <a:pt x="93" y="132"/>
                  </a:moveTo>
                  <a:lnTo>
                    <a:pt x="93" y="120"/>
                  </a:lnTo>
                  <a:lnTo>
                    <a:pt x="97" y="132"/>
                  </a:lnTo>
                  <a:lnTo>
                    <a:pt x="93" y="132"/>
                  </a:lnTo>
                  <a:lnTo>
                    <a:pt x="93" y="132"/>
                  </a:lnTo>
                  <a:lnTo>
                    <a:pt x="93" y="132"/>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5" name="Freeform 577">
              <a:extLst>
                <a:ext uri="{FF2B5EF4-FFF2-40B4-BE49-F238E27FC236}">
                  <a16:creationId xmlns:a16="http://schemas.microsoft.com/office/drawing/2014/main" id="{E6A7E087-0B5C-4F13-BDA6-B66BE81B07AA}"/>
                </a:ext>
              </a:extLst>
            </p:cNvPr>
            <p:cNvSpPr>
              <a:spLocks/>
            </p:cNvSpPr>
            <p:nvPr/>
          </p:nvSpPr>
          <p:spPr bwMode="gray">
            <a:xfrm>
              <a:off x="14948944" y="3039236"/>
              <a:ext cx="325660" cy="210124"/>
            </a:xfrm>
            <a:custGeom>
              <a:avLst/>
              <a:gdLst>
                <a:gd name="T0" fmla="*/ 926 w 995"/>
                <a:gd name="T1" fmla="*/ 453 h 642"/>
                <a:gd name="T2" fmla="*/ 860 w 995"/>
                <a:gd name="T3" fmla="*/ 486 h 642"/>
                <a:gd name="T4" fmla="*/ 806 w 995"/>
                <a:gd name="T5" fmla="*/ 571 h 642"/>
                <a:gd name="T6" fmla="*/ 747 w 995"/>
                <a:gd name="T7" fmla="*/ 609 h 642"/>
                <a:gd name="T8" fmla="*/ 699 w 995"/>
                <a:gd name="T9" fmla="*/ 637 h 642"/>
                <a:gd name="T10" fmla="*/ 640 w 995"/>
                <a:gd name="T11" fmla="*/ 621 h 642"/>
                <a:gd name="T12" fmla="*/ 607 w 995"/>
                <a:gd name="T13" fmla="*/ 526 h 642"/>
                <a:gd name="T14" fmla="*/ 494 w 995"/>
                <a:gd name="T15" fmla="*/ 477 h 642"/>
                <a:gd name="T16" fmla="*/ 409 w 995"/>
                <a:gd name="T17" fmla="*/ 437 h 642"/>
                <a:gd name="T18" fmla="*/ 333 w 995"/>
                <a:gd name="T19" fmla="*/ 387 h 642"/>
                <a:gd name="T20" fmla="*/ 279 w 995"/>
                <a:gd name="T21" fmla="*/ 387 h 642"/>
                <a:gd name="T22" fmla="*/ 262 w 995"/>
                <a:gd name="T23" fmla="*/ 403 h 642"/>
                <a:gd name="T24" fmla="*/ 161 w 995"/>
                <a:gd name="T25" fmla="*/ 453 h 642"/>
                <a:gd name="T26" fmla="*/ 102 w 995"/>
                <a:gd name="T27" fmla="*/ 470 h 642"/>
                <a:gd name="T28" fmla="*/ 106 w 995"/>
                <a:gd name="T29" fmla="*/ 333 h 642"/>
                <a:gd name="T30" fmla="*/ 47 w 995"/>
                <a:gd name="T31" fmla="*/ 292 h 642"/>
                <a:gd name="T32" fmla="*/ 52 w 995"/>
                <a:gd name="T33" fmla="*/ 271 h 642"/>
                <a:gd name="T34" fmla="*/ 90 w 995"/>
                <a:gd name="T35" fmla="*/ 288 h 642"/>
                <a:gd name="T36" fmla="*/ 31 w 995"/>
                <a:gd name="T37" fmla="*/ 248 h 642"/>
                <a:gd name="T38" fmla="*/ 17 w 995"/>
                <a:gd name="T39" fmla="*/ 210 h 642"/>
                <a:gd name="T40" fmla="*/ 47 w 995"/>
                <a:gd name="T41" fmla="*/ 177 h 642"/>
                <a:gd name="T42" fmla="*/ 90 w 995"/>
                <a:gd name="T43" fmla="*/ 193 h 642"/>
                <a:gd name="T44" fmla="*/ 135 w 995"/>
                <a:gd name="T45" fmla="*/ 160 h 642"/>
                <a:gd name="T46" fmla="*/ 161 w 995"/>
                <a:gd name="T47" fmla="*/ 153 h 642"/>
                <a:gd name="T48" fmla="*/ 90 w 995"/>
                <a:gd name="T49" fmla="*/ 54 h 642"/>
                <a:gd name="T50" fmla="*/ 26 w 995"/>
                <a:gd name="T51" fmla="*/ 99 h 642"/>
                <a:gd name="T52" fmla="*/ 31 w 995"/>
                <a:gd name="T53" fmla="*/ 153 h 642"/>
                <a:gd name="T54" fmla="*/ 10 w 995"/>
                <a:gd name="T55" fmla="*/ 103 h 642"/>
                <a:gd name="T56" fmla="*/ 69 w 995"/>
                <a:gd name="T57" fmla="*/ 49 h 642"/>
                <a:gd name="T58" fmla="*/ 177 w 995"/>
                <a:gd name="T59" fmla="*/ 87 h 642"/>
                <a:gd name="T60" fmla="*/ 321 w 995"/>
                <a:gd name="T61" fmla="*/ 137 h 642"/>
                <a:gd name="T62" fmla="*/ 317 w 995"/>
                <a:gd name="T63" fmla="*/ 82 h 642"/>
                <a:gd name="T64" fmla="*/ 392 w 995"/>
                <a:gd name="T65" fmla="*/ 26 h 642"/>
                <a:gd name="T66" fmla="*/ 425 w 995"/>
                <a:gd name="T67" fmla="*/ 49 h 642"/>
                <a:gd name="T68" fmla="*/ 425 w 995"/>
                <a:gd name="T69" fmla="*/ 16 h 642"/>
                <a:gd name="T70" fmla="*/ 468 w 995"/>
                <a:gd name="T71" fmla="*/ 26 h 642"/>
                <a:gd name="T72" fmla="*/ 532 w 995"/>
                <a:gd name="T73" fmla="*/ 49 h 642"/>
                <a:gd name="T74" fmla="*/ 532 w 995"/>
                <a:gd name="T75" fmla="*/ 87 h 642"/>
                <a:gd name="T76" fmla="*/ 539 w 995"/>
                <a:gd name="T77" fmla="*/ 127 h 642"/>
                <a:gd name="T78" fmla="*/ 619 w 995"/>
                <a:gd name="T79" fmla="*/ 144 h 642"/>
                <a:gd name="T80" fmla="*/ 678 w 995"/>
                <a:gd name="T81" fmla="*/ 193 h 642"/>
                <a:gd name="T82" fmla="*/ 780 w 995"/>
                <a:gd name="T83" fmla="*/ 292 h 642"/>
                <a:gd name="T84" fmla="*/ 834 w 995"/>
                <a:gd name="T85" fmla="*/ 326 h 642"/>
                <a:gd name="T86" fmla="*/ 995 w 995"/>
                <a:gd name="T87" fmla="*/ 415 h 642"/>
                <a:gd name="T88" fmla="*/ 985 w 995"/>
                <a:gd name="T89" fmla="*/ 460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5" h="642">
                  <a:moveTo>
                    <a:pt x="985" y="460"/>
                  </a:moveTo>
                  <a:lnTo>
                    <a:pt x="969" y="470"/>
                  </a:lnTo>
                  <a:lnTo>
                    <a:pt x="926" y="453"/>
                  </a:lnTo>
                  <a:lnTo>
                    <a:pt x="914" y="477"/>
                  </a:lnTo>
                  <a:lnTo>
                    <a:pt x="888" y="477"/>
                  </a:lnTo>
                  <a:lnTo>
                    <a:pt x="860" y="486"/>
                  </a:lnTo>
                  <a:lnTo>
                    <a:pt x="860" y="498"/>
                  </a:lnTo>
                  <a:lnTo>
                    <a:pt x="839" y="552"/>
                  </a:lnTo>
                  <a:lnTo>
                    <a:pt x="806" y="571"/>
                  </a:lnTo>
                  <a:lnTo>
                    <a:pt x="747" y="588"/>
                  </a:lnTo>
                  <a:lnTo>
                    <a:pt x="747" y="604"/>
                  </a:lnTo>
                  <a:lnTo>
                    <a:pt x="747" y="609"/>
                  </a:lnTo>
                  <a:lnTo>
                    <a:pt x="747" y="621"/>
                  </a:lnTo>
                  <a:lnTo>
                    <a:pt x="716" y="637"/>
                  </a:lnTo>
                  <a:lnTo>
                    <a:pt x="699" y="637"/>
                  </a:lnTo>
                  <a:lnTo>
                    <a:pt x="683" y="642"/>
                  </a:lnTo>
                  <a:lnTo>
                    <a:pt x="671" y="621"/>
                  </a:lnTo>
                  <a:lnTo>
                    <a:pt x="640" y="621"/>
                  </a:lnTo>
                  <a:lnTo>
                    <a:pt x="624" y="604"/>
                  </a:lnTo>
                  <a:lnTo>
                    <a:pt x="619" y="609"/>
                  </a:lnTo>
                  <a:lnTo>
                    <a:pt x="607" y="526"/>
                  </a:lnTo>
                  <a:lnTo>
                    <a:pt x="548" y="526"/>
                  </a:lnTo>
                  <a:lnTo>
                    <a:pt x="532" y="493"/>
                  </a:lnTo>
                  <a:lnTo>
                    <a:pt x="494" y="477"/>
                  </a:lnTo>
                  <a:lnTo>
                    <a:pt x="477" y="453"/>
                  </a:lnTo>
                  <a:lnTo>
                    <a:pt x="456" y="437"/>
                  </a:lnTo>
                  <a:lnTo>
                    <a:pt x="409" y="437"/>
                  </a:lnTo>
                  <a:lnTo>
                    <a:pt x="404" y="432"/>
                  </a:lnTo>
                  <a:lnTo>
                    <a:pt x="350" y="415"/>
                  </a:lnTo>
                  <a:lnTo>
                    <a:pt x="333" y="387"/>
                  </a:lnTo>
                  <a:lnTo>
                    <a:pt x="321" y="399"/>
                  </a:lnTo>
                  <a:lnTo>
                    <a:pt x="300" y="387"/>
                  </a:lnTo>
                  <a:lnTo>
                    <a:pt x="279" y="387"/>
                  </a:lnTo>
                  <a:lnTo>
                    <a:pt x="269" y="399"/>
                  </a:lnTo>
                  <a:lnTo>
                    <a:pt x="269" y="403"/>
                  </a:lnTo>
                  <a:lnTo>
                    <a:pt x="262" y="403"/>
                  </a:lnTo>
                  <a:lnTo>
                    <a:pt x="210" y="403"/>
                  </a:lnTo>
                  <a:lnTo>
                    <a:pt x="173" y="432"/>
                  </a:lnTo>
                  <a:lnTo>
                    <a:pt x="161" y="453"/>
                  </a:lnTo>
                  <a:lnTo>
                    <a:pt x="156" y="460"/>
                  </a:lnTo>
                  <a:lnTo>
                    <a:pt x="123" y="470"/>
                  </a:lnTo>
                  <a:lnTo>
                    <a:pt x="102" y="470"/>
                  </a:lnTo>
                  <a:lnTo>
                    <a:pt x="90" y="420"/>
                  </a:lnTo>
                  <a:lnTo>
                    <a:pt x="90" y="366"/>
                  </a:lnTo>
                  <a:lnTo>
                    <a:pt x="106" y="333"/>
                  </a:lnTo>
                  <a:lnTo>
                    <a:pt x="85" y="321"/>
                  </a:lnTo>
                  <a:lnTo>
                    <a:pt x="80" y="304"/>
                  </a:lnTo>
                  <a:lnTo>
                    <a:pt x="47" y="292"/>
                  </a:lnTo>
                  <a:lnTo>
                    <a:pt x="47" y="309"/>
                  </a:lnTo>
                  <a:lnTo>
                    <a:pt x="47" y="288"/>
                  </a:lnTo>
                  <a:lnTo>
                    <a:pt x="52" y="271"/>
                  </a:lnTo>
                  <a:lnTo>
                    <a:pt x="52" y="288"/>
                  </a:lnTo>
                  <a:lnTo>
                    <a:pt x="80" y="288"/>
                  </a:lnTo>
                  <a:lnTo>
                    <a:pt x="90" y="288"/>
                  </a:lnTo>
                  <a:lnTo>
                    <a:pt x="69" y="271"/>
                  </a:lnTo>
                  <a:lnTo>
                    <a:pt x="80" y="248"/>
                  </a:lnTo>
                  <a:lnTo>
                    <a:pt x="31" y="248"/>
                  </a:lnTo>
                  <a:lnTo>
                    <a:pt x="38" y="264"/>
                  </a:lnTo>
                  <a:lnTo>
                    <a:pt x="17" y="238"/>
                  </a:lnTo>
                  <a:lnTo>
                    <a:pt x="17" y="210"/>
                  </a:lnTo>
                  <a:lnTo>
                    <a:pt x="31" y="181"/>
                  </a:lnTo>
                  <a:lnTo>
                    <a:pt x="31" y="153"/>
                  </a:lnTo>
                  <a:lnTo>
                    <a:pt x="47" y="177"/>
                  </a:lnTo>
                  <a:lnTo>
                    <a:pt x="69" y="181"/>
                  </a:lnTo>
                  <a:lnTo>
                    <a:pt x="80" y="165"/>
                  </a:lnTo>
                  <a:lnTo>
                    <a:pt x="90" y="193"/>
                  </a:lnTo>
                  <a:lnTo>
                    <a:pt x="139" y="181"/>
                  </a:lnTo>
                  <a:lnTo>
                    <a:pt x="123" y="165"/>
                  </a:lnTo>
                  <a:lnTo>
                    <a:pt x="135" y="160"/>
                  </a:lnTo>
                  <a:lnTo>
                    <a:pt x="139" y="177"/>
                  </a:lnTo>
                  <a:lnTo>
                    <a:pt x="156" y="165"/>
                  </a:lnTo>
                  <a:lnTo>
                    <a:pt x="161" y="153"/>
                  </a:lnTo>
                  <a:lnTo>
                    <a:pt x="118" y="120"/>
                  </a:lnTo>
                  <a:lnTo>
                    <a:pt x="102" y="66"/>
                  </a:lnTo>
                  <a:lnTo>
                    <a:pt x="90" y="54"/>
                  </a:lnTo>
                  <a:lnTo>
                    <a:pt x="47" y="66"/>
                  </a:lnTo>
                  <a:lnTo>
                    <a:pt x="31" y="70"/>
                  </a:lnTo>
                  <a:lnTo>
                    <a:pt x="26" y="99"/>
                  </a:lnTo>
                  <a:lnTo>
                    <a:pt x="31" y="99"/>
                  </a:lnTo>
                  <a:lnTo>
                    <a:pt x="26" y="120"/>
                  </a:lnTo>
                  <a:lnTo>
                    <a:pt x="31" y="153"/>
                  </a:lnTo>
                  <a:lnTo>
                    <a:pt x="26" y="127"/>
                  </a:lnTo>
                  <a:lnTo>
                    <a:pt x="10" y="111"/>
                  </a:lnTo>
                  <a:lnTo>
                    <a:pt x="10" y="103"/>
                  </a:lnTo>
                  <a:lnTo>
                    <a:pt x="0" y="99"/>
                  </a:lnTo>
                  <a:lnTo>
                    <a:pt x="38" y="54"/>
                  </a:lnTo>
                  <a:lnTo>
                    <a:pt x="69" y="49"/>
                  </a:lnTo>
                  <a:lnTo>
                    <a:pt x="123" y="37"/>
                  </a:lnTo>
                  <a:lnTo>
                    <a:pt x="177" y="82"/>
                  </a:lnTo>
                  <a:lnTo>
                    <a:pt x="177" y="87"/>
                  </a:lnTo>
                  <a:lnTo>
                    <a:pt x="210" y="137"/>
                  </a:lnTo>
                  <a:lnTo>
                    <a:pt x="246" y="127"/>
                  </a:lnTo>
                  <a:lnTo>
                    <a:pt x="321" y="137"/>
                  </a:lnTo>
                  <a:lnTo>
                    <a:pt x="321" y="127"/>
                  </a:lnTo>
                  <a:lnTo>
                    <a:pt x="317" y="99"/>
                  </a:lnTo>
                  <a:lnTo>
                    <a:pt x="317" y="82"/>
                  </a:lnTo>
                  <a:lnTo>
                    <a:pt x="350" y="54"/>
                  </a:lnTo>
                  <a:lnTo>
                    <a:pt x="376" y="54"/>
                  </a:lnTo>
                  <a:lnTo>
                    <a:pt x="392" y="26"/>
                  </a:lnTo>
                  <a:lnTo>
                    <a:pt x="409" y="33"/>
                  </a:lnTo>
                  <a:lnTo>
                    <a:pt x="413" y="49"/>
                  </a:lnTo>
                  <a:lnTo>
                    <a:pt x="425" y="49"/>
                  </a:lnTo>
                  <a:lnTo>
                    <a:pt x="404" y="16"/>
                  </a:lnTo>
                  <a:lnTo>
                    <a:pt x="409" y="9"/>
                  </a:lnTo>
                  <a:lnTo>
                    <a:pt x="425" y="16"/>
                  </a:lnTo>
                  <a:lnTo>
                    <a:pt x="430" y="0"/>
                  </a:lnTo>
                  <a:lnTo>
                    <a:pt x="456" y="26"/>
                  </a:lnTo>
                  <a:lnTo>
                    <a:pt x="468" y="26"/>
                  </a:lnTo>
                  <a:lnTo>
                    <a:pt x="477" y="37"/>
                  </a:lnTo>
                  <a:lnTo>
                    <a:pt x="515" y="37"/>
                  </a:lnTo>
                  <a:lnTo>
                    <a:pt x="532" y="49"/>
                  </a:lnTo>
                  <a:lnTo>
                    <a:pt x="532" y="66"/>
                  </a:lnTo>
                  <a:lnTo>
                    <a:pt x="548" y="87"/>
                  </a:lnTo>
                  <a:lnTo>
                    <a:pt x="532" y="87"/>
                  </a:lnTo>
                  <a:lnTo>
                    <a:pt x="539" y="103"/>
                  </a:lnTo>
                  <a:lnTo>
                    <a:pt x="532" y="120"/>
                  </a:lnTo>
                  <a:lnTo>
                    <a:pt x="539" y="127"/>
                  </a:lnTo>
                  <a:lnTo>
                    <a:pt x="565" y="137"/>
                  </a:lnTo>
                  <a:lnTo>
                    <a:pt x="591" y="137"/>
                  </a:lnTo>
                  <a:lnTo>
                    <a:pt x="619" y="144"/>
                  </a:lnTo>
                  <a:lnTo>
                    <a:pt x="628" y="127"/>
                  </a:lnTo>
                  <a:lnTo>
                    <a:pt x="662" y="144"/>
                  </a:lnTo>
                  <a:lnTo>
                    <a:pt x="678" y="193"/>
                  </a:lnTo>
                  <a:lnTo>
                    <a:pt x="695" y="210"/>
                  </a:lnTo>
                  <a:lnTo>
                    <a:pt x="699" y="238"/>
                  </a:lnTo>
                  <a:lnTo>
                    <a:pt x="780" y="292"/>
                  </a:lnTo>
                  <a:lnTo>
                    <a:pt x="784" y="309"/>
                  </a:lnTo>
                  <a:lnTo>
                    <a:pt x="817" y="333"/>
                  </a:lnTo>
                  <a:lnTo>
                    <a:pt x="834" y="326"/>
                  </a:lnTo>
                  <a:lnTo>
                    <a:pt x="914" y="387"/>
                  </a:lnTo>
                  <a:lnTo>
                    <a:pt x="940" y="387"/>
                  </a:lnTo>
                  <a:lnTo>
                    <a:pt x="995" y="415"/>
                  </a:lnTo>
                  <a:lnTo>
                    <a:pt x="985" y="432"/>
                  </a:lnTo>
                  <a:lnTo>
                    <a:pt x="985" y="460"/>
                  </a:lnTo>
                  <a:lnTo>
                    <a:pt x="985" y="460"/>
                  </a:lnTo>
                  <a:lnTo>
                    <a:pt x="985" y="46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6" name="Freeform 578">
              <a:extLst>
                <a:ext uri="{FF2B5EF4-FFF2-40B4-BE49-F238E27FC236}">
                  <a16:creationId xmlns:a16="http://schemas.microsoft.com/office/drawing/2014/main" id="{479C464A-ECEF-4BB5-9368-8038C886948E}"/>
                </a:ext>
              </a:extLst>
            </p:cNvPr>
            <p:cNvSpPr>
              <a:spLocks noEditPoints="1"/>
            </p:cNvSpPr>
            <p:nvPr/>
          </p:nvSpPr>
          <p:spPr bwMode="gray">
            <a:xfrm>
              <a:off x="14417742" y="4138298"/>
              <a:ext cx="256928" cy="254637"/>
            </a:xfrm>
            <a:custGeom>
              <a:avLst/>
              <a:gdLst>
                <a:gd name="T0" fmla="*/ 612 w 785"/>
                <a:gd name="T1" fmla="*/ 737 h 778"/>
                <a:gd name="T2" fmla="*/ 596 w 785"/>
                <a:gd name="T3" fmla="*/ 766 h 778"/>
                <a:gd name="T4" fmla="*/ 525 w 785"/>
                <a:gd name="T5" fmla="*/ 766 h 778"/>
                <a:gd name="T6" fmla="*/ 482 w 785"/>
                <a:gd name="T7" fmla="*/ 778 h 778"/>
                <a:gd name="T8" fmla="*/ 461 w 785"/>
                <a:gd name="T9" fmla="*/ 754 h 778"/>
                <a:gd name="T10" fmla="*/ 395 w 785"/>
                <a:gd name="T11" fmla="*/ 766 h 778"/>
                <a:gd name="T12" fmla="*/ 374 w 785"/>
                <a:gd name="T13" fmla="*/ 712 h 778"/>
                <a:gd name="T14" fmla="*/ 352 w 785"/>
                <a:gd name="T15" fmla="*/ 626 h 778"/>
                <a:gd name="T16" fmla="*/ 319 w 785"/>
                <a:gd name="T17" fmla="*/ 626 h 778"/>
                <a:gd name="T18" fmla="*/ 288 w 785"/>
                <a:gd name="T19" fmla="*/ 622 h 778"/>
                <a:gd name="T20" fmla="*/ 248 w 785"/>
                <a:gd name="T21" fmla="*/ 605 h 778"/>
                <a:gd name="T22" fmla="*/ 218 w 785"/>
                <a:gd name="T23" fmla="*/ 589 h 778"/>
                <a:gd name="T24" fmla="*/ 189 w 785"/>
                <a:gd name="T25" fmla="*/ 572 h 778"/>
                <a:gd name="T26" fmla="*/ 147 w 785"/>
                <a:gd name="T27" fmla="*/ 551 h 778"/>
                <a:gd name="T28" fmla="*/ 104 w 785"/>
                <a:gd name="T29" fmla="*/ 515 h 778"/>
                <a:gd name="T30" fmla="*/ 50 w 785"/>
                <a:gd name="T31" fmla="*/ 423 h 778"/>
                <a:gd name="T32" fmla="*/ 17 w 785"/>
                <a:gd name="T33" fmla="*/ 383 h 778"/>
                <a:gd name="T34" fmla="*/ 17 w 785"/>
                <a:gd name="T35" fmla="*/ 345 h 778"/>
                <a:gd name="T36" fmla="*/ 0 w 785"/>
                <a:gd name="T37" fmla="*/ 251 h 778"/>
                <a:gd name="T38" fmla="*/ 50 w 785"/>
                <a:gd name="T39" fmla="*/ 234 h 778"/>
                <a:gd name="T40" fmla="*/ 71 w 785"/>
                <a:gd name="T41" fmla="*/ 201 h 778"/>
                <a:gd name="T42" fmla="*/ 104 w 785"/>
                <a:gd name="T43" fmla="*/ 161 h 778"/>
                <a:gd name="T44" fmla="*/ 88 w 785"/>
                <a:gd name="T45" fmla="*/ 140 h 778"/>
                <a:gd name="T46" fmla="*/ 81 w 785"/>
                <a:gd name="T47" fmla="*/ 140 h 778"/>
                <a:gd name="T48" fmla="*/ 104 w 785"/>
                <a:gd name="T49" fmla="*/ 100 h 778"/>
                <a:gd name="T50" fmla="*/ 104 w 785"/>
                <a:gd name="T51" fmla="*/ 67 h 778"/>
                <a:gd name="T52" fmla="*/ 92 w 785"/>
                <a:gd name="T53" fmla="*/ 34 h 778"/>
                <a:gd name="T54" fmla="*/ 81 w 785"/>
                <a:gd name="T55" fmla="*/ 0 h 778"/>
                <a:gd name="T56" fmla="*/ 248 w 785"/>
                <a:gd name="T57" fmla="*/ 0 h 778"/>
                <a:gd name="T58" fmla="*/ 579 w 785"/>
                <a:gd name="T59" fmla="*/ 145 h 778"/>
                <a:gd name="T60" fmla="*/ 579 w 785"/>
                <a:gd name="T61" fmla="*/ 178 h 778"/>
                <a:gd name="T62" fmla="*/ 700 w 785"/>
                <a:gd name="T63" fmla="*/ 277 h 778"/>
                <a:gd name="T64" fmla="*/ 688 w 785"/>
                <a:gd name="T65" fmla="*/ 277 h 778"/>
                <a:gd name="T66" fmla="*/ 678 w 785"/>
                <a:gd name="T67" fmla="*/ 388 h 778"/>
                <a:gd name="T68" fmla="*/ 721 w 785"/>
                <a:gd name="T69" fmla="*/ 433 h 778"/>
                <a:gd name="T70" fmla="*/ 700 w 785"/>
                <a:gd name="T71" fmla="*/ 489 h 778"/>
                <a:gd name="T72" fmla="*/ 716 w 785"/>
                <a:gd name="T73" fmla="*/ 499 h 778"/>
                <a:gd name="T74" fmla="*/ 704 w 785"/>
                <a:gd name="T75" fmla="*/ 556 h 778"/>
                <a:gd name="T76" fmla="*/ 704 w 785"/>
                <a:gd name="T77" fmla="*/ 572 h 778"/>
                <a:gd name="T78" fmla="*/ 737 w 785"/>
                <a:gd name="T79" fmla="*/ 655 h 778"/>
                <a:gd name="T80" fmla="*/ 754 w 785"/>
                <a:gd name="T81" fmla="*/ 662 h 778"/>
                <a:gd name="T82" fmla="*/ 770 w 785"/>
                <a:gd name="T83" fmla="*/ 667 h 778"/>
                <a:gd name="T84" fmla="*/ 700 w 785"/>
                <a:gd name="T85" fmla="*/ 737 h 778"/>
                <a:gd name="T86" fmla="*/ 645 w 785"/>
                <a:gd name="T87" fmla="*/ 754 h 778"/>
                <a:gd name="T88" fmla="*/ 645 w 785"/>
                <a:gd name="T89" fmla="*/ 754 h 778"/>
                <a:gd name="T90" fmla="*/ 733 w 785"/>
                <a:gd name="T91" fmla="*/ 277 h 778"/>
                <a:gd name="T92" fmla="*/ 737 w 785"/>
                <a:gd name="T93" fmla="*/ 305 h 778"/>
                <a:gd name="T94" fmla="*/ 721 w 785"/>
                <a:gd name="T95" fmla="*/ 322 h 778"/>
                <a:gd name="T96" fmla="*/ 733 w 785"/>
                <a:gd name="T97" fmla="*/ 305 h 778"/>
                <a:gd name="T98" fmla="*/ 704 w 785"/>
                <a:gd name="T99" fmla="*/ 362 h 778"/>
                <a:gd name="T100" fmla="*/ 716 w 785"/>
                <a:gd name="T101" fmla="*/ 367 h 778"/>
                <a:gd name="T102" fmla="*/ 721 w 785"/>
                <a:gd name="T103" fmla="*/ 388 h 778"/>
                <a:gd name="T104" fmla="*/ 688 w 785"/>
                <a:gd name="T105" fmla="*/ 378 h 778"/>
                <a:gd name="T106" fmla="*/ 700 w 785"/>
                <a:gd name="T107" fmla="*/ 345 h 778"/>
                <a:gd name="T108" fmla="*/ 704 w 785"/>
                <a:gd name="T109" fmla="*/ 362 h 778"/>
                <a:gd name="T110" fmla="*/ 721 w 785"/>
                <a:gd name="T111" fmla="*/ 499 h 778"/>
                <a:gd name="T112" fmla="*/ 742 w 785"/>
                <a:gd name="T113" fmla="*/ 478 h 778"/>
                <a:gd name="T114" fmla="*/ 721 w 785"/>
                <a:gd name="T115" fmla="*/ 499 h 778"/>
                <a:gd name="T116" fmla="*/ 721 w 785"/>
                <a:gd name="T117" fmla="*/ 499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5" h="778">
                  <a:moveTo>
                    <a:pt x="645" y="754"/>
                  </a:moveTo>
                  <a:lnTo>
                    <a:pt x="612" y="737"/>
                  </a:lnTo>
                  <a:lnTo>
                    <a:pt x="607" y="749"/>
                  </a:lnTo>
                  <a:lnTo>
                    <a:pt x="596" y="766"/>
                  </a:lnTo>
                  <a:lnTo>
                    <a:pt x="574" y="778"/>
                  </a:lnTo>
                  <a:lnTo>
                    <a:pt x="525" y="766"/>
                  </a:lnTo>
                  <a:lnTo>
                    <a:pt x="503" y="778"/>
                  </a:lnTo>
                  <a:lnTo>
                    <a:pt x="482" y="778"/>
                  </a:lnTo>
                  <a:lnTo>
                    <a:pt x="482" y="766"/>
                  </a:lnTo>
                  <a:lnTo>
                    <a:pt x="461" y="754"/>
                  </a:lnTo>
                  <a:lnTo>
                    <a:pt x="433" y="771"/>
                  </a:lnTo>
                  <a:lnTo>
                    <a:pt x="395" y="766"/>
                  </a:lnTo>
                  <a:lnTo>
                    <a:pt x="374" y="733"/>
                  </a:lnTo>
                  <a:lnTo>
                    <a:pt x="374" y="712"/>
                  </a:lnTo>
                  <a:lnTo>
                    <a:pt x="364" y="655"/>
                  </a:lnTo>
                  <a:lnTo>
                    <a:pt x="352" y="626"/>
                  </a:lnTo>
                  <a:lnTo>
                    <a:pt x="326" y="610"/>
                  </a:lnTo>
                  <a:lnTo>
                    <a:pt x="319" y="626"/>
                  </a:lnTo>
                  <a:lnTo>
                    <a:pt x="310" y="622"/>
                  </a:lnTo>
                  <a:lnTo>
                    <a:pt x="288" y="622"/>
                  </a:lnTo>
                  <a:lnTo>
                    <a:pt x="281" y="610"/>
                  </a:lnTo>
                  <a:lnTo>
                    <a:pt x="248" y="605"/>
                  </a:lnTo>
                  <a:lnTo>
                    <a:pt x="227" y="600"/>
                  </a:lnTo>
                  <a:lnTo>
                    <a:pt x="218" y="589"/>
                  </a:lnTo>
                  <a:lnTo>
                    <a:pt x="189" y="584"/>
                  </a:lnTo>
                  <a:lnTo>
                    <a:pt x="189" y="572"/>
                  </a:lnTo>
                  <a:lnTo>
                    <a:pt x="163" y="572"/>
                  </a:lnTo>
                  <a:lnTo>
                    <a:pt x="147" y="551"/>
                  </a:lnTo>
                  <a:lnTo>
                    <a:pt x="118" y="551"/>
                  </a:lnTo>
                  <a:lnTo>
                    <a:pt x="104" y="515"/>
                  </a:lnTo>
                  <a:lnTo>
                    <a:pt x="71" y="445"/>
                  </a:lnTo>
                  <a:lnTo>
                    <a:pt x="50" y="423"/>
                  </a:lnTo>
                  <a:lnTo>
                    <a:pt x="26" y="404"/>
                  </a:lnTo>
                  <a:lnTo>
                    <a:pt x="17" y="383"/>
                  </a:lnTo>
                  <a:lnTo>
                    <a:pt x="12" y="362"/>
                  </a:lnTo>
                  <a:lnTo>
                    <a:pt x="17" y="345"/>
                  </a:lnTo>
                  <a:lnTo>
                    <a:pt x="0" y="289"/>
                  </a:lnTo>
                  <a:lnTo>
                    <a:pt x="0" y="251"/>
                  </a:lnTo>
                  <a:lnTo>
                    <a:pt x="33" y="251"/>
                  </a:lnTo>
                  <a:lnTo>
                    <a:pt x="50" y="234"/>
                  </a:lnTo>
                  <a:lnTo>
                    <a:pt x="71" y="201"/>
                  </a:lnTo>
                  <a:lnTo>
                    <a:pt x="71" y="201"/>
                  </a:lnTo>
                  <a:lnTo>
                    <a:pt x="81" y="185"/>
                  </a:lnTo>
                  <a:lnTo>
                    <a:pt x="104" y="161"/>
                  </a:lnTo>
                  <a:lnTo>
                    <a:pt x="104" y="145"/>
                  </a:lnTo>
                  <a:lnTo>
                    <a:pt x="88" y="140"/>
                  </a:lnTo>
                  <a:lnTo>
                    <a:pt x="81" y="140"/>
                  </a:lnTo>
                  <a:lnTo>
                    <a:pt x="81" y="140"/>
                  </a:lnTo>
                  <a:lnTo>
                    <a:pt x="88" y="100"/>
                  </a:lnTo>
                  <a:lnTo>
                    <a:pt x="104" y="100"/>
                  </a:lnTo>
                  <a:lnTo>
                    <a:pt x="109" y="74"/>
                  </a:lnTo>
                  <a:lnTo>
                    <a:pt x="104" y="67"/>
                  </a:lnTo>
                  <a:lnTo>
                    <a:pt x="104" y="50"/>
                  </a:lnTo>
                  <a:lnTo>
                    <a:pt x="92" y="34"/>
                  </a:lnTo>
                  <a:lnTo>
                    <a:pt x="88" y="29"/>
                  </a:lnTo>
                  <a:lnTo>
                    <a:pt x="81" y="0"/>
                  </a:lnTo>
                  <a:lnTo>
                    <a:pt x="104" y="0"/>
                  </a:lnTo>
                  <a:lnTo>
                    <a:pt x="248" y="0"/>
                  </a:lnTo>
                  <a:lnTo>
                    <a:pt x="319" y="0"/>
                  </a:lnTo>
                  <a:lnTo>
                    <a:pt x="579" y="145"/>
                  </a:lnTo>
                  <a:lnTo>
                    <a:pt x="591" y="166"/>
                  </a:lnTo>
                  <a:lnTo>
                    <a:pt x="579" y="178"/>
                  </a:lnTo>
                  <a:lnTo>
                    <a:pt x="688" y="267"/>
                  </a:lnTo>
                  <a:lnTo>
                    <a:pt x="700" y="277"/>
                  </a:lnTo>
                  <a:lnTo>
                    <a:pt x="688" y="289"/>
                  </a:lnTo>
                  <a:lnTo>
                    <a:pt x="688" y="277"/>
                  </a:lnTo>
                  <a:lnTo>
                    <a:pt x="666" y="367"/>
                  </a:lnTo>
                  <a:lnTo>
                    <a:pt x="678" y="388"/>
                  </a:lnTo>
                  <a:lnTo>
                    <a:pt x="683" y="400"/>
                  </a:lnTo>
                  <a:lnTo>
                    <a:pt x="721" y="433"/>
                  </a:lnTo>
                  <a:lnTo>
                    <a:pt x="700" y="478"/>
                  </a:lnTo>
                  <a:lnTo>
                    <a:pt x="700" y="489"/>
                  </a:lnTo>
                  <a:lnTo>
                    <a:pt x="716" y="494"/>
                  </a:lnTo>
                  <a:lnTo>
                    <a:pt x="716" y="499"/>
                  </a:lnTo>
                  <a:lnTo>
                    <a:pt x="700" y="527"/>
                  </a:lnTo>
                  <a:lnTo>
                    <a:pt x="704" y="556"/>
                  </a:lnTo>
                  <a:lnTo>
                    <a:pt x="716" y="572"/>
                  </a:lnTo>
                  <a:lnTo>
                    <a:pt x="704" y="572"/>
                  </a:lnTo>
                  <a:lnTo>
                    <a:pt x="721" y="589"/>
                  </a:lnTo>
                  <a:lnTo>
                    <a:pt x="737" y="655"/>
                  </a:lnTo>
                  <a:lnTo>
                    <a:pt x="754" y="667"/>
                  </a:lnTo>
                  <a:lnTo>
                    <a:pt x="754" y="662"/>
                  </a:lnTo>
                  <a:lnTo>
                    <a:pt x="770" y="678"/>
                  </a:lnTo>
                  <a:lnTo>
                    <a:pt x="770" y="667"/>
                  </a:lnTo>
                  <a:lnTo>
                    <a:pt x="785" y="683"/>
                  </a:lnTo>
                  <a:lnTo>
                    <a:pt x="700" y="737"/>
                  </a:lnTo>
                  <a:lnTo>
                    <a:pt x="678" y="737"/>
                  </a:lnTo>
                  <a:lnTo>
                    <a:pt x="645" y="754"/>
                  </a:lnTo>
                  <a:lnTo>
                    <a:pt x="645" y="754"/>
                  </a:lnTo>
                  <a:lnTo>
                    <a:pt x="645" y="754"/>
                  </a:lnTo>
                  <a:close/>
                  <a:moveTo>
                    <a:pt x="733" y="305"/>
                  </a:moveTo>
                  <a:lnTo>
                    <a:pt x="733" y="277"/>
                  </a:lnTo>
                  <a:lnTo>
                    <a:pt x="737" y="277"/>
                  </a:lnTo>
                  <a:lnTo>
                    <a:pt x="737" y="305"/>
                  </a:lnTo>
                  <a:lnTo>
                    <a:pt x="733" y="322"/>
                  </a:lnTo>
                  <a:lnTo>
                    <a:pt x="721" y="322"/>
                  </a:lnTo>
                  <a:lnTo>
                    <a:pt x="733" y="305"/>
                  </a:lnTo>
                  <a:lnTo>
                    <a:pt x="733" y="305"/>
                  </a:lnTo>
                  <a:lnTo>
                    <a:pt x="733" y="305"/>
                  </a:lnTo>
                  <a:close/>
                  <a:moveTo>
                    <a:pt x="704" y="362"/>
                  </a:moveTo>
                  <a:lnTo>
                    <a:pt x="716" y="378"/>
                  </a:lnTo>
                  <a:lnTo>
                    <a:pt x="716" y="367"/>
                  </a:lnTo>
                  <a:lnTo>
                    <a:pt x="716" y="378"/>
                  </a:lnTo>
                  <a:lnTo>
                    <a:pt x="721" y="388"/>
                  </a:lnTo>
                  <a:lnTo>
                    <a:pt x="716" y="400"/>
                  </a:lnTo>
                  <a:lnTo>
                    <a:pt x="688" y="378"/>
                  </a:lnTo>
                  <a:lnTo>
                    <a:pt x="688" y="362"/>
                  </a:lnTo>
                  <a:lnTo>
                    <a:pt x="700" y="345"/>
                  </a:lnTo>
                  <a:lnTo>
                    <a:pt x="704" y="362"/>
                  </a:lnTo>
                  <a:lnTo>
                    <a:pt x="704" y="362"/>
                  </a:lnTo>
                  <a:lnTo>
                    <a:pt x="704" y="362"/>
                  </a:lnTo>
                  <a:close/>
                  <a:moveTo>
                    <a:pt x="721" y="499"/>
                  </a:moveTo>
                  <a:lnTo>
                    <a:pt x="721" y="499"/>
                  </a:lnTo>
                  <a:lnTo>
                    <a:pt x="742" y="478"/>
                  </a:lnTo>
                  <a:lnTo>
                    <a:pt x="737" y="499"/>
                  </a:lnTo>
                  <a:lnTo>
                    <a:pt x="721" y="499"/>
                  </a:lnTo>
                  <a:lnTo>
                    <a:pt x="721" y="499"/>
                  </a:lnTo>
                  <a:lnTo>
                    <a:pt x="721" y="49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7" name="Freeform 579">
              <a:extLst>
                <a:ext uri="{FF2B5EF4-FFF2-40B4-BE49-F238E27FC236}">
                  <a16:creationId xmlns:a16="http://schemas.microsoft.com/office/drawing/2014/main" id="{6EFD6683-D91B-4A61-B570-931D60ADB75C}"/>
                </a:ext>
              </a:extLst>
            </p:cNvPr>
            <p:cNvSpPr>
              <a:spLocks/>
            </p:cNvSpPr>
            <p:nvPr/>
          </p:nvSpPr>
          <p:spPr bwMode="gray">
            <a:xfrm>
              <a:off x="14423306" y="4014908"/>
              <a:ext cx="123718" cy="133537"/>
            </a:xfrm>
            <a:custGeom>
              <a:avLst/>
              <a:gdLst>
                <a:gd name="T0" fmla="*/ 231 w 378"/>
                <a:gd name="T1" fmla="*/ 375 h 408"/>
                <a:gd name="T2" fmla="*/ 87 w 378"/>
                <a:gd name="T3" fmla="*/ 375 h 408"/>
                <a:gd name="T4" fmla="*/ 66 w 378"/>
                <a:gd name="T5" fmla="*/ 375 h 408"/>
                <a:gd name="T6" fmla="*/ 54 w 378"/>
                <a:gd name="T7" fmla="*/ 375 h 408"/>
                <a:gd name="T8" fmla="*/ 33 w 378"/>
                <a:gd name="T9" fmla="*/ 408 h 408"/>
                <a:gd name="T10" fmla="*/ 16 w 378"/>
                <a:gd name="T11" fmla="*/ 401 h 408"/>
                <a:gd name="T12" fmla="*/ 0 w 378"/>
                <a:gd name="T13" fmla="*/ 401 h 408"/>
                <a:gd name="T14" fmla="*/ 0 w 378"/>
                <a:gd name="T15" fmla="*/ 368 h 408"/>
                <a:gd name="T16" fmla="*/ 12 w 378"/>
                <a:gd name="T17" fmla="*/ 297 h 408"/>
                <a:gd name="T18" fmla="*/ 21 w 378"/>
                <a:gd name="T19" fmla="*/ 264 h 408"/>
                <a:gd name="T20" fmla="*/ 21 w 378"/>
                <a:gd name="T21" fmla="*/ 243 h 408"/>
                <a:gd name="T22" fmla="*/ 38 w 378"/>
                <a:gd name="T23" fmla="*/ 236 h 408"/>
                <a:gd name="T24" fmla="*/ 49 w 378"/>
                <a:gd name="T25" fmla="*/ 219 h 408"/>
                <a:gd name="T26" fmla="*/ 66 w 378"/>
                <a:gd name="T27" fmla="*/ 219 h 408"/>
                <a:gd name="T28" fmla="*/ 125 w 378"/>
                <a:gd name="T29" fmla="*/ 148 h 408"/>
                <a:gd name="T30" fmla="*/ 104 w 378"/>
                <a:gd name="T31" fmla="*/ 132 h 408"/>
                <a:gd name="T32" fmla="*/ 92 w 378"/>
                <a:gd name="T33" fmla="*/ 132 h 408"/>
                <a:gd name="T34" fmla="*/ 75 w 378"/>
                <a:gd name="T35" fmla="*/ 127 h 408"/>
                <a:gd name="T36" fmla="*/ 92 w 378"/>
                <a:gd name="T37" fmla="*/ 99 h 408"/>
                <a:gd name="T38" fmla="*/ 87 w 378"/>
                <a:gd name="T39" fmla="*/ 82 h 408"/>
                <a:gd name="T40" fmla="*/ 92 w 378"/>
                <a:gd name="T41" fmla="*/ 61 h 408"/>
                <a:gd name="T42" fmla="*/ 92 w 378"/>
                <a:gd name="T43" fmla="*/ 54 h 408"/>
                <a:gd name="T44" fmla="*/ 92 w 378"/>
                <a:gd name="T45" fmla="*/ 54 h 408"/>
                <a:gd name="T46" fmla="*/ 104 w 378"/>
                <a:gd name="T47" fmla="*/ 37 h 408"/>
                <a:gd name="T48" fmla="*/ 108 w 378"/>
                <a:gd name="T49" fmla="*/ 28 h 408"/>
                <a:gd name="T50" fmla="*/ 142 w 378"/>
                <a:gd name="T51" fmla="*/ 37 h 408"/>
                <a:gd name="T52" fmla="*/ 156 w 378"/>
                <a:gd name="T53" fmla="*/ 28 h 408"/>
                <a:gd name="T54" fmla="*/ 163 w 378"/>
                <a:gd name="T55" fmla="*/ 44 h 408"/>
                <a:gd name="T56" fmla="*/ 184 w 378"/>
                <a:gd name="T57" fmla="*/ 54 h 408"/>
                <a:gd name="T58" fmla="*/ 184 w 378"/>
                <a:gd name="T59" fmla="*/ 44 h 408"/>
                <a:gd name="T60" fmla="*/ 201 w 378"/>
                <a:gd name="T61" fmla="*/ 37 h 408"/>
                <a:gd name="T62" fmla="*/ 217 w 378"/>
                <a:gd name="T63" fmla="*/ 28 h 408"/>
                <a:gd name="T64" fmla="*/ 238 w 378"/>
                <a:gd name="T65" fmla="*/ 21 h 408"/>
                <a:gd name="T66" fmla="*/ 255 w 378"/>
                <a:gd name="T67" fmla="*/ 28 h 408"/>
                <a:gd name="T68" fmla="*/ 281 w 378"/>
                <a:gd name="T69" fmla="*/ 28 h 408"/>
                <a:gd name="T70" fmla="*/ 307 w 378"/>
                <a:gd name="T71" fmla="*/ 0 h 408"/>
                <a:gd name="T72" fmla="*/ 323 w 378"/>
                <a:gd name="T73" fmla="*/ 28 h 408"/>
                <a:gd name="T74" fmla="*/ 340 w 378"/>
                <a:gd name="T75" fmla="*/ 37 h 408"/>
                <a:gd name="T76" fmla="*/ 340 w 378"/>
                <a:gd name="T77" fmla="*/ 61 h 408"/>
                <a:gd name="T78" fmla="*/ 345 w 378"/>
                <a:gd name="T79" fmla="*/ 94 h 408"/>
                <a:gd name="T80" fmla="*/ 361 w 378"/>
                <a:gd name="T81" fmla="*/ 99 h 408"/>
                <a:gd name="T82" fmla="*/ 373 w 378"/>
                <a:gd name="T83" fmla="*/ 127 h 408"/>
                <a:gd name="T84" fmla="*/ 378 w 378"/>
                <a:gd name="T85" fmla="*/ 165 h 408"/>
                <a:gd name="T86" fmla="*/ 378 w 378"/>
                <a:gd name="T87" fmla="*/ 181 h 408"/>
                <a:gd name="T88" fmla="*/ 361 w 378"/>
                <a:gd name="T89" fmla="*/ 203 h 408"/>
                <a:gd name="T90" fmla="*/ 373 w 378"/>
                <a:gd name="T91" fmla="*/ 210 h 408"/>
                <a:gd name="T92" fmla="*/ 345 w 378"/>
                <a:gd name="T93" fmla="*/ 219 h 408"/>
                <a:gd name="T94" fmla="*/ 340 w 378"/>
                <a:gd name="T95" fmla="*/ 243 h 408"/>
                <a:gd name="T96" fmla="*/ 323 w 378"/>
                <a:gd name="T97" fmla="*/ 259 h 408"/>
                <a:gd name="T98" fmla="*/ 302 w 378"/>
                <a:gd name="T99" fmla="*/ 297 h 408"/>
                <a:gd name="T100" fmla="*/ 307 w 378"/>
                <a:gd name="T101" fmla="*/ 314 h 408"/>
                <a:gd name="T102" fmla="*/ 302 w 378"/>
                <a:gd name="T103" fmla="*/ 375 h 408"/>
                <a:gd name="T104" fmla="*/ 231 w 378"/>
                <a:gd name="T105" fmla="*/ 375 h 408"/>
                <a:gd name="T106" fmla="*/ 231 w 378"/>
                <a:gd name="T107" fmla="*/ 375 h 408"/>
                <a:gd name="T108" fmla="*/ 231 w 378"/>
                <a:gd name="T109" fmla="*/ 375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8" h="408">
                  <a:moveTo>
                    <a:pt x="231" y="375"/>
                  </a:moveTo>
                  <a:lnTo>
                    <a:pt x="87" y="375"/>
                  </a:lnTo>
                  <a:lnTo>
                    <a:pt x="66" y="375"/>
                  </a:lnTo>
                  <a:lnTo>
                    <a:pt x="54" y="375"/>
                  </a:lnTo>
                  <a:lnTo>
                    <a:pt x="33" y="408"/>
                  </a:lnTo>
                  <a:lnTo>
                    <a:pt x="16" y="401"/>
                  </a:lnTo>
                  <a:lnTo>
                    <a:pt x="0" y="401"/>
                  </a:lnTo>
                  <a:lnTo>
                    <a:pt x="0" y="368"/>
                  </a:lnTo>
                  <a:lnTo>
                    <a:pt x="12" y="297"/>
                  </a:lnTo>
                  <a:lnTo>
                    <a:pt x="21" y="264"/>
                  </a:lnTo>
                  <a:lnTo>
                    <a:pt x="21" y="243"/>
                  </a:lnTo>
                  <a:lnTo>
                    <a:pt x="38" y="236"/>
                  </a:lnTo>
                  <a:lnTo>
                    <a:pt x="49" y="219"/>
                  </a:lnTo>
                  <a:lnTo>
                    <a:pt x="66" y="219"/>
                  </a:lnTo>
                  <a:lnTo>
                    <a:pt x="125" y="148"/>
                  </a:lnTo>
                  <a:lnTo>
                    <a:pt x="104" y="132"/>
                  </a:lnTo>
                  <a:lnTo>
                    <a:pt x="92" y="132"/>
                  </a:lnTo>
                  <a:lnTo>
                    <a:pt x="75" y="127"/>
                  </a:lnTo>
                  <a:lnTo>
                    <a:pt x="92" y="99"/>
                  </a:lnTo>
                  <a:lnTo>
                    <a:pt x="87" y="82"/>
                  </a:lnTo>
                  <a:lnTo>
                    <a:pt x="92" y="61"/>
                  </a:lnTo>
                  <a:lnTo>
                    <a:pt x="92" y="54"/>
                  </a:lnTo>
                  <a:lnTo>
                    <a:pt x="92" y="54"/>
                  </a:lnTo>
                  <a:lnTo>
                    <a:pt x="104" y="37"/>
                  </a:lnTo>
                  <a:lnTo>
                    <a:pt x="108" y="28"/>
                  </a:lnTo>
                  <a:lnTo>
                    <a:pt x="142" y="37"/>
                  </a:lnTo>
                  <a:lnTo>
                    <a:pt x="156" y="28"/>
                  </a:lnTo>
                  <a:lnTo>
                    <a:pt x="163" y="44"/>
                  </a:lnTo>
                  <a:lnTo>
                    <a:pt x="184" y="54"/>
                  </a:lnTo>
                  <a:lnTo>
                    <a:pt x="184" y="44"/>
                  </a:lnTo>
                  <a:lnTo>
                    <a:pt x="201" y="37"/>
                  </a:lnTo>
                  <a:lnTo>
                    <a:pt x="217" y="28"/>
                  </a:lnTo>
                  <a:lnTo>
                    <a:pt x="238" y="21"/>
                  </a:lnTo>
                  <a:lnTo>
                    <a:pt x="255" y="28"/>
                  </a:lnTo>
                  <a:lnTo>
                    <a:pt x="281" y="28"/>
                  </a:lnTo>
                  <a:lnTo>
                    <a:pt x="307" y="0"/>
                  </a:lnTo>
                  <a:lnTo>
                    <a:pt x="323" y="28"/>
                  </a:lnTo>
                  <a:lnTo>
                    <a:pt x="340" y="37"/>
                  </a:lnTo>
                  <a:lnTo>
                    <a:pt x="340" y="61"/>
                  </a:lnTo>
                  <a:lnTo>
                    <a:pt x="345" y="94"/>
                  </a:lnTo>
                  <a:lnTo>
                    <a:pt x="361" y="99"/>
                  </a:lnTo>
                  <a:lnTo>
                    <a:pt x="373" y="127"/>
                  </a:lnTo>
                  <a:lnTo>
                    <a:pt x="378" y="165"/>
                  </a:lnTo>
                  <a:lnTo>
                    <a:pt x="378" y="181"/>
                  </a:lnTo>
                  <a:lnTo>
                    <a:pt x="361" y="203"/>
                  </a:lnTo>
                  <a:lnTo>
                    <a:pt x="373" y="210"/>
                  </a:lnTo>
                  <a:lnTo>
                    <a:pt x="345" y="219"/>
                  </a:lnTo>
                  <a:lnTo>
                    <a:pt x="340" y="243"/>
                  </a:lnTo>
                  <a:lnTo>
                    <a:pt x="323" y="259"/>
                  </a:lnTo>
                  <a:lnTo>
                    <a:pt x="302" y="297"/>
                  </a:lnTo>
                  <a:lnTo>
                    <a:pt x="307" y="314"/>
                  </a:lnTo>
                  <a:lnTo>
                    <a:pt x="302" y="375"/>
                  </a:lnTo>
                  <a:lnTo>
                    <a:pt x="231" y="375"/>
                  </a:lnTo>
                  <a:lnTo>
                    <a:pt x="231" y="375"/>
                  </a:lnTo>
                  <a:lnTo>
                    <a:pt x="231" y="375"/>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8" name="Freeform 580">
              <a:extLst>
                <a:ext uri="{FF2B5EF4-FFF2-40B4-BE49-F238E27FC236}">
                  <a16:creationId xmlns:a16="http://schemas.microsoft.com/office/drawing/2014/main" id="{40A6C34A-3D85-4083-8FB9-E9FC9310BBBC}"/>
                </a:ext>
              </a:extLst>
            </p:cNvPr>
            <p:cNvSpPr>
              <a:spLocks noEditPoints="1"/>
            </p:cNvSpPr>
            <p:nvPr/>
          </p:nvSpPr>
          <p:spPr bwMode="gray">
            <a:xfrm>
              <a:off x="13556625" y="2468431"/>
              <a:ext cx="229435" cy="356426"/>
            </a:xfrm>
            <a:custGeom>
              <a:avLst/>
              <a:gdLst>
                <a:gd name="T0" fmla="*/ 494 w 701"/>
                <a:gd name="T1" fmla="*/ 38 h 1089"/>
                <a:gd name="T2" fmla="*/ 494 w 701"/>
                <a:gd name="T3" fmla="*/ 71 h 1089"/>
                <a:gd name="T4" fmla="*/ 472 w 701"/>
                <a:gd name="T5" fmla="*/ 71 h 1089"/>
                <a:gd name="T6" fmla="*/ 489 w 701"/>
                <a:gd name="T7" fmla="*/ 62 h 1089"/>
                <a:gd name="T8" fmla="*/ 375 w 701"/>
                <a:gd name="T9" fmla="*/ 206 h 1089"/>
                <a:gd name="T10" fmla="*/ 347 w 701"/>
                <a:gd name="T11" fmla="*/ 222 h 1089"/>
                <a:gd name="T12" fmla="*/ 375 w 701"/>
                <a:gd name="T13" fmla="*/ 215 h 1089"/>
                <a:gd name="T14" fmla="*/ 201 w 701"/>
                <a:gd name="T15" fmla="*/ 907 h 1089"/>
                <a:gd name="T16" fmla="*/ 342 w 701"/>
                <a:gd name="T17" fmla="*/ 770 h 1089"/>
                <a:gd name="T18" fmla="*/ 375 w 701"/>
                <a:gd name="T19" fmla="*/ 737 h 1089"/>
                <a:gd name="T20" fmla="*/ 359 w 701"/>
                <a:gd name="T21" fmla="*/ 610 h 1089"/>
                <a:gd name="T22" fmla="*/ 234 w 701"/>
                <a:gd name="T23" fmla="*/ 643 h 1089"/>
                <a:gd name="T24" fmla="*/ 234 w 701"/>
                <a:gd name="T25" fmla="*/ 503 h 1089"/>
                <a:gd name="T26" fmla="*/ 217 w 701"/>
                <a:gd name="T27" fmla="*/ 482 h 1089"/>
                <a:gd name="T28" fmla="*/ 179 w 701"/>
                <a:gd name="T29" fmla="*/ 499 h 1089"/>
                <a:gd name="T30" fmla="*/ 196 w 701"/>
                <a:gd name="T31" fmla="*/ 459 h 1089"/>
                <a:gd name="T32" fmla="*/ 163 w 701"/>
                <a:gd name="T33" fmla="*/ 425 h 1089"/>
                <a:gd name="T34" fmla="*/ 170 w 701"/>
                <a:gd name="T35" fmla="*/ 392 h 1089"/>
                <a:gd name="T36" fmla="*/ 163 w 701"/>
                <a:gd name="T37" fmla="*/ 350 h 1089"/>
                <a:gd name="T38" fmla="*/ 184 w 701"/>
                <a:gd name="T39" fmla="*/ 293 h 1089"/>
                <a:gd name="T40" fmla="*/ 250 w 701"/>
                <a:gd name="T41" fmla="*/ 239 h 1089"/>
                <a:gd name="T42" fmla="*/ 288 w 701"/>
                <a:gd name="T43" fmla="*/ 317 h 1089"/>
                <a:gd name="T44" fmla="*/ 430 w 701"/>
                <a:gd name="T45" fmla="*/ 333 h 1089"/>
                <a:gd name="T46" fmla="*/ 375 w 701"/>
                <a:gd name="T47" fmla="*/ 459 h 1089"/>
                <a:gd name="T48" fmla="*/ 456 w 701"/>
                <a:gd name="T49" fmla="*/ 548 h 1089"/>
                <a:gd name="T50" fmla="*/ 581 w 701"/>
                <a:gd name="T51" fmla="*/ 754 h 1089"/>
                <a:gd name="T52" fmla="*/ 614 w 701"/>
                <a:gd name="T53" fmla="*/ 808 h 1089"/>
                <a:gd name="T54" fmla="*/ 668 w 701"/>
                <a:gd name="T55" fmla="*/ 907 h 1089"/>
                <a:gd name="T56" fmla="*/ 614 w 701"/>
                <a:gd name="T57" fmla="*/ 957 h 1089"/>
                <a:gd name="T58" fmla="*/ 522 w 701"/>
                <a:gd name="T59" fmla="*/ 1018 h 1089"/>
                <a:gd name="T60" fmla="*/ 364 w 701"/>
                <a:gd name="T61" fmla="*/ 1018 h 1089"/>
                <a:gd name="T62" fmla="*/ 212 w 701"/>
                <a:gd name="T63" fmla="*/ 1089 h 1089"/>
                <a:gd name="T64" fmla="*/ 255 w 701"/>
                <a:gd name="T65" fmla="*/ 1018 h 1089"/>
                <a:gd name="T66" fmla="*/ 342 w 701"/>
                <a:gd name="T67" fmla="*/ 957 h 1089"/>
                <a:gd name="T68" fmla="*/ 217 w 701"/>
                <a:gd name="T69" fmla="*/ 936 h 1089"/>
                <a:gd name="T70" fmla="*/ 104 w 701"/>
                <a:gd name="T71" fmla="*/ 317 h 1089"/>
                <a:gd name="T72" fmla="*/ 87 w 701"/>
                <a:gd name="T73" fmla="*/ 277 h 1089"/>
                <a:gd name="T74" fmla="*/ 142 w 701"/>
                <a:gd name="T75" fmla="*/ 277 h 1089"/>
                <a:gd name="T76" fmla="*/ 38 w 701"/>
                <a:gd name="T77" fmla="*/ 338 h 1089"/>
                <a:gd name="T78" fmla="*/ 146 w 701"/>
                <a:gd name="T79" fmla="*/ 388 h 1089"/>
                <a:gd name="T80" fmla="*/ 108 w 701"/>
                <a:gd name="T81" fmla="*/ 338 h 1089"/>
                <a:gd name="T82" fmla="*/ 163 w 701"/>
                <a:gd name="T83" fmla="*/ 392 h 1089"/>
                <a:gd name="T84" fmla="*/ 61 w 701"/>
                <a:gd name="T85" fmla="*/ 392 h 1089"/>
                <a:gd name="T86" fmla="*/ 49 w 701"/>
                <a:gd name="T87" fmla="*/ 409 h 1089"/>
                <a:gd name="T88" fmla="*/ 116 w 701"/>
                <a:gd name="T89" fmla="*/ 404 h 1089"/>
                <a:gd name="T90" fmla="*/ 142 w 701"/>
                <a:gd name="T91" fmla="*/ 421 h 1089"/>
                <a:gd name="T92" fmla="*/ 146 w 701"/>
                <a:gd name="T93" fmla="*/ 466 h 1089"/>
                <a:gd name="T94" fmla="*/ 78 w 701"/>
                <a:gd name="T95" fmla="*/ 459 h 1089"/>
                <a:gd name="T96" fmla="*/ 170 w 701"/>
                <a:gd name="T97" fmla="*/ 492 h 1089"/>
                <a:gd name="T98" fmla="*/ 142 w 701"/>
                <a:gd name="T99" fmla="*/ 503 h 1089"/>
                <a:gd name="T100" fmla="*/ 130 w 701"/>
                <a:gd name="T101" fmla="*/ 548 h 1089"/>
                <a:gd name="T102" fmla="*/ 217 w 701"/>
                <a:gd name="T103" fmla="*/ 536 h 1089"/>
                <a:gd name="T104" fmla="*/ 212 w 701"/>
                <a:gd name="T105" fmla="*/ 560 h 1089"/>
                <a:gd name="T106" fmla="*/ 38 w 701"/>
                <a:gd name="T107" fmla="*/ 631 h 1089"/>
                <a:gd name="T108" fmla="*/ 158 w 701"/>
                <a:gd name="T109" fmla="*/ 647 h 1089"/>
                <a:gd name="T110" fmla="*/ 158 w 701"/>
                <a:gd name="T111" fmla="*/ 697 h 1089"/>
                <a:gd name="T112" fmla="*/ 250 w 701"/>
                <a:gd name="T113" fmla="*/ 770 h 1089"/>
                <a:gd name="T114" fmla="*/ 635 w 701"/>
                <a:gd name="T115" fmla="*/ 957 h 1089"/>
                <a:gd name="T116" fmla="*/ 484 w 701"/>
                <a:gd name="T117" fmla="*/ 1035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1" h="1089">
                  <a:moveTo>
                    <a:pt x="510" y="17"/>
                  </a:moveTo>
                  <a:lnTo>
                    <a:pt x="505" y="17"/>
                  </a:lnTo>
                  <a:lnTo>
                    <a:pt x="510" y="0"/>
                  </a:lnTo>
                  <a:lnTo>
                    <a:pt x="522" y="0"/>
                  </a:lnTo>
                  <a:lnTo>
                    <a:pt x="510" y="17"/>
                  </a:lnTo>
                  <a:lnTo>
                    <a:pt x="510" y="17"/>
                  </a:lnTo>
                  <a:lnTo>
                    <a:pt x="510" y="17"/>
                  </a:lnTo>
                  <a:close/>
                  <a:moveTo>
                    <a:pt x="494" y="38"/>
                  </a:moveTo>
                  <a:lnTo>
                    <a:pt x="489" y="22"/>
                  </a:lnTo>
                  <a:lnTo>
                    <a:pt x="505" y="5"/>
                  </a:lnTo>
                  <a:lnTo>
                    <a:pt x="505" y="33"/>
                  </a:lnTo>
                  <a:lnTo>
                    <a:pt x="494" y="38"/>
                  </a:lnTo>
                  <a:lnTo>
                    <a:pt x="494" y="38"/>
                  </a:lnTo>
                  <a:lnTo>
                    <a:pt x="494" y="38"/>
                  </a:lnTo>
                  <a:close/>
                  <a:moveTo>
                    <a:pt x="489" y="62"/>
                  </a:moveTo>
                  <a:lnTo>
                    <a:pt x="494" y="71"/>
                  </a:lnTo>
                  <a:lnTo>
                    <a:pt x="489" y="78"/>
                  </a:lnTo>
                  <a:lnTo>
                    <a:pt x="484" y="99"/>
                  </a:lnTo>
                  <a:lnTo>
                    <a:pt x="472" y="99"/>
                  </a:lnTo>
                  <a:lnTo>
                    <a:pt x="489" y="78"/>
                  </a:lnTo>
                  <a:lnTo>
                    <a:pt x="484" y="62"/>
                  </a:lnTo>
                  <a:lnTo>
                    <a:pt x="472" y="62"/>
                  </a:lnTo>
                  <a:lnTo>
                    <a:pt x="484" y="71"/>
                  </a:lnTo>
                  <a:lnTo>
                    <a:pt x="472" y="71"/>
                  </a:lnTo>
                  <a:lnTo>
                    <a:pt x="456" y="55"/>
                  </a:lnTo>
                  <a:lnTo>
                    <a:pt x="484" y="45"/>
                  </a:lnTo>
                  <a:lnTo>
                    <a:pt x="456" y="38"/>
                  </a:lnTo>
                  <a:lnTo>
                    <a:pt x="484" y="22"/>
                  </a:lnTo>
                  <a:lnTo>
                    <a:pt x="484" y="38"/>
                  </a:lnTo>
                  <a:lnTo>
                    <a:pt x="505" y="38"/>
                  </a:lnTo>
                  <a:lnTo>
                    <a:pt x="489" y="62"/>
                  </a:lnTo>
                  <a:lnTo>
                    <a:pt x="489" y="62"/>
                  </a:lnTo>
                  <a:lnTo>
                    <a:pt x="489" y="62"/>
                  </a:lnTo>
                  <a:close/>
                  <a:moveTo>
                    <a:pt x="385" y="173"/>
                  </a:moveTo>
                  <a:lnTo>
                    <a:pt x="385" y="166"/>
                  </a:lnTo>
                  <a:lnTo>
                    <a:pt x="401" y="166"/>
                  </a:lnTo>
                  <a:lnTo>
                    <a:pt x="385" y="173"/>
                  </a:lnTo>
                  <a:lnTo>
                    <a:pt x="385" y="173"/>
                  </a:lnTo>
                  <a:lnTo>
                    <a:pt x="385" y="173"/>
                  </a:lnTo>
                  <a:close/>
                  <a:moveTo>
                    <a:pt x="375" y="206"/>
                  </a:moveTo>
                  <a:lnTo>
                    <a:pt x="342" y="199"/>
                  </a:lnTo>
                  <a:lnTo>
                    <a:pt x="342" y="182"/>
                  </a:lnTo>
                  <a:lnTo>
                    <a:pt x="359" y="182"/>
                  </a:lnTo>
                  <a:lnTo>
                    <a:pt x="380" y="206"/>
                  </a:lnTo>
                  <a:lnTo>
                    <a:pt x="375" y="206"/>
                  </a:lnTo>
                  <a:lnTo>
                    <a:pt x="375" y="206"/>
                  </a:lnTo>
                  <a:lnTo>
                    <a:pt x="375" y="206"/>
                  </a:lnTo>
                  <a:close/>
                  <a:moveTo>
                    <a:pt x="347" y="222"/>
                  </a:moveTo>
                  <a:lnTo>
                    <a:pt x="331" y="206"/>
                  </a:lnTo>
                  <a:lnTo>
                    <a:pt x="347" y="215"/>
                  </a:lnTo>
                  <a:lnTo>
                    <a:pt x="347" y="222"/>
                  </a:lnTo>
                  <a:lnTo>
                    <a:pt x="347" y="222"/>
                  </a:lnTo>
                  <a:lnTo>
                    <a:pt x="347" y="222"/>
                  </a:lnTo>
                  <a:close/>
                  <a:moveTo>
                    <a:pt x="364" y="222"/>
                  </a:moveTo>
                  <a:lnTo>
                    <a:pt x="359" y="215"/>
                  </a:lnTo>
                  <a:lnTo>
                    <a:pt x="375" y="215"/>
                  </a:lnTo>
                  <a:lnTo>
                    <a:pt x="364" y="222"/>
                  </a:lnTo>
                  <a:lnTo>
                    <a:pt x="364" y="222"/>
                  </a:lnTo>
                  <a:lnTo>
                    <a:pt x="364" y="222"/>
                  </a:lnTo>
                  <a:close/>
                  <a:moveTo>
                    <a:pt x="217" y="936"/>
                  </a:moveTo>
                  <a:lnTo>
                    <a:pt x="234" y="924"/>
                  </a:lnTo>
                  <a:lnTo>
                    <a:pt x="201" y="924"/>
                  </a:lnTo>
                  <a:lnTo>
                    <a:pt x="217" y="924"/>
                  </a:lnTo>
                  <a:lnTo>
                    <a:pt x="201" y="907"/>
                  </a:lnTo>
                  <a:lnTo>
                    <a:pt x="276" y="879"/>
                  </a:lnTo>
                  <a:lnTo>
                    <a:pt x="288" y="853"/>
                  </a:lnTo>
                  <a:lnTo>
                    <a:pt x="276" y="813"/>
                  </a:lnTo>
                  <a:lnTo>
                    <a:pt x="255" y="825"/>
                  </a:lnTo>
                  <a:lnTo>
                    <a:pt x="238" y="825"/>
                  </a:lnTo>
                  <a:lnTo>
                    <a:pt x="238" y="825"/>
                  </a:lnTo>
                  <a:lnTo>
                    <a:pt x="276" y="780"/>
                  </a:lnTo>
                  <a:lnTo>
                    <a:pt x="342" y="770"/>
                  </a:lnTo>
                  <a:lnTo>
                    <a:pt x="359" y="780"/>
                  </a:lnTo>
                  <a:lnTo>
                    <a:pt x="347" y="770"/>
                  </a:lnTo>
                  <a:lnTo>
                    <a:pt x="359" y="770"/>
                  </a:lnTo>
                  <a:lnTo>
                    <a:pt x="375" y="775"/>
                  </a:lnTo>
                  <a:lnTo>
                    <a:pt x="380" y="770"/>
                  </a:lnTo>
                  <a:lnTo>
                    <a:pt x="364" y="770"/>
                  </a:lnTo>
                  <a:lnTo>
                    <a:pt x="359" y="754"/>
                  </a:lnTo>
                  <a:lnTo>
                    <a:pt x="375" y="737"/>
                  </a:lnTo>
                  <a:lnTo>
                    <a:pt x="359" y="725"/>
                  </a:lnTo>
                  <a:lnTo>
                    <a:pt x="359" y="714"/>
                  </a:lnTo>
                  <a:lnTo>
                    <a:pt x="364" y="714"/>
                  </a:lnTo>
                  <a:lnTo>
                    <a:pt x="375" y="681"/>
                  </a:lnTo>
                  <a:lnTo>
                    <a:pt x="347" y="697"/>
                  </a:lnTo>
                  <a:lnTo>
                    <a:pt x="321" y="659"/>
                  </a:lnTo>
                  <a:lnTo>
                    <a:pt x="331" y="614"/>
                  </a:lnTo>
                  <a:lnTo>
                    <a:pt x="359" y="610"/>
                  </a:lnTo>
                  <a:lnTo>
                    <a:pt x="326" y="610"/>
                  </a:lnTo>
                  <a:lnTo>
                    <a:pt x="321" y="614"/>
                  </a:lnTo>
                  <a:lnTo>
                    <a:pt x="293" y="631"/>
                  </a:lnTo>
                  <a:lnTo>
                    <a:pt x="267" y="614"/>
                  </a:lnTo>
                  <a:lnTo>
                    <a:pt x="267" y="643"/>
                  </a:lnTo>
                  <a:lnTo>
                    <a:pt x="234" y="614"/>
                  </a:lnTo>
                  <a:lnTo>
                    <a:pt x="222" y="626"/>
                  </a:lnTo>
                  <a:lnTo>
                    <a:pt x="234" y="643"/>
                  </a:lnTo>
                  <a:lnTo>
                    <a:pt x="222" y="643"/>
                  </a:lnTo>
                  <a:lnTo>
                    <a:pt x="212" y="614"/>
                  </a:lnTo>
                  <a:lnTo>
                    <a:pt x="212" y="610"/>
                  </a:lnTo>
                  <a:lnTo>
                    <a:pt x="250" y="553"/>
                  </a:lnTo>
                  <a:lnTo>
                    <a:pt x="222" y="536"/>
                  </a:lnTo>
                  <a:lnTo>
                    <a:pt x="234" y="515"/>
                  </a:lnTo>
                  <a:lnTo>
                    <a:pt x="255" y="515"/>
                  </a:lnTo>
                  <a:lnTo>
                    <a:pt x="234" y="503"/>
                  </a:lnTo>
                  <a:lnTo>
                    <a:pt x="234" y="492"/>
                  </a:lnTo>
                  <a:lnTo>
                    <a:pt x="222" y="520"/>
                  </a:lnTo>
                  <a:lnTo>
                    <a:pt x="212" y="515"/>
                  </a:lnTo>
                  <a:lnTo>
                    <a:pt x="212" y="520"/>
                  </a:lnTo>
                  <a:lnTo>
                    <a:pt x="201" y="520"/>
                  </a:lnTo>
                  <a:lnTo>
                    <a:pt x="201" y="503"/>
                  </a:lnTo>
                  <a:lnTo>
                    <a:pt x="222" y="482"/>
                  </a:lnTo>
                  <a:lnTo>
                    <a:pt x="217" y="482"/>
                  </a:lnTo>
                  <a:lnTo>
                    <a:pt x="196" y="503"/>
                  </a:lnTo>
                  <a:lnTo>
                    <a:pt x="196" y="532"/>
                  </a:lnTo>
                  <a:lnTo>
                    <a:pt x="184" y="548"/>
                  </a:lnTo>
                  <a:lnTo>
                    <a:pt x="184" y="570"/>
                  </a:lnTo>
                  <a:lnTo>
                    <a:pt x="163" y="577"/>
                  </a:lnTo>
                  <a:lnTo>
                    <a:pt x="179" y="532"/>
                  </a:lnTo>
                  <a:lnTo>
                    <a:pt x="170" y="515"/>
                  </a:lnTo>
                  <a:lnTo>
                    <a:pt x="179" y="499"/>
                  </a:lnTo>
                  <a:lnTo>
                    <a:pt x="170" y="503"/>
                  </a:lnTo>
                  <a:lnTo>
                    <a:pt x="184" y="492"/>
                  </a:lnTo>
                  <a:lnTo>
                    <a:pt x="179" y="492"/>
                  </a:lnTo>
                  <a:lnTo>
                    <a:pt x="179" y="475"/>
                  </a:lnTo>
                  <a:lnTo>
                    <a:pt x="217" y="449"/>
                  </a:lnTo>
                  <a:lnTo>
                    <a:pt x="217" y="449"/>
                  </a:lnTo>
                  <a:lnTo>
                    <a:pt x="212" y="459"/>
                  </a:lnTo>
                  <a:lnTo>
                    <a:pt x="196" y="459"/>
                  </a:lnTo>
                  <a:lnTo>
                    <a:pt x="201" y="449"/>
                  </a:lnTo>
                  <a:lnTo>
                    <a:pt x="196" y="442"/>
                  </a:lnTo>
                  <a:lnTo>
                    <a:pt x="212" y="421"/>
                  </a:lnTo>
                  <a:lnTo>
                    <a:pt x="170" y="459"/>
                  </a:lnTo>
                  <a:lnTo>
                    <a:pt x="146" y="442"/>
                  </a:lnTo>
                  <a:lnTo>
                    <a:pt x="184" y="437"/>
                  </a:lnTo>
                  <a:lnTo>
                    <a:pt x="130" y="437"/>
                  </a:lnTo>
                  <a:lnTo>
                    <a:pt x="163" y="425"/>
                  </a:lnTo>
                  <a:lnTo>
                    <a:pt x="163" y="425"/>
                  </a:lnTo>
                  <a:lnTo>
                    <a:pt x="163" y="421"/>
                  </a:lnTo>
                  <a:lnTo>
                    <a:pt x="179" y="421"/>
                  </a:lnTo>
                  <a:lnTo>
                    <a:pt x="158" y="409"/>
                  </a:lnTo>
                  <a:lnTo>
                    <a:pt x="163" y="404"/>
                  </a:lnTo>
                  <a:lnTo>
                    <a:pt x="184" y="404"/>
                  </a:lnTo>
                  <a:lnTo>
                    <a:pt x="163" y="392"/>
                  </a:lnTo>
                  <a:lnTo>
                    <a:pt x="170" y="392"/>
                  </a:lnTo>
                  <a:lnTo>
                    <a:pt x="196" y="392"/>
                  </a:lnTo>
                  <a:lnTo>
                    <a:pt x="179" y="388"/>
                  </a:lnTo>
                  <a:lnTo>
                    <a:pt x="179" y="383"/>
                  </a:lnTo>
                  <a:lnTo>
                    <a:pt x="196" y="383"/>
                  </a:lnTo>
                  <a:lnTo>
                    <a:pt x="179" y="371"/>
                  </a:lnTo>
                  <a:lnTo>
                    <a:pt x="184" y="366"/>
                  </a:lnTo>
                  <a:lnTo>
                    <a:pt x="163" y="366"/>
                  </a:lnTo>
                  <a:lnTo>
                    <a:pt x="163" y="350"/>
                  </a:lnTo>
                  <a:lnTo>
                    <a:pt x="184" y="350"/>
                  </a:lnTo>
                  <a:lnTo>
                    <a:pt x="163" y="338"/>
                  </a:lnTo>
                  <a:lnTo>
                    <a:pt x="163" y="317"/>
                  </a:lnTo>
                  <a:lnTo>
                    <a:pt x="170" y="317"/>
                  </a:lnTo>
                  <a:lnTo>
                    <a:pt x="179" y="326"/>
                  </a:lnTo>
                  <a:lnTo>
                    <a:pt x="179" y="310"/>
                  </a:lnTo>
                  <a:lnTo>
                    <a:pt x="217" y="317"/>
                  </a:lnTo>
                  <a:lnTo>
                    <a:pt x="184" y="293"/>
                  </a:lnTo>
                  <a:lnTo>
                    <a:pt x="201" y="293"/>
                  </a:lnTo>
                  <a:lnTo>
                    <a:pt x="196" y="277"/>
                  </a:lnTo>
                  <a:lnTo>
                    <a:pt x="217" y="277"/>
                  </a:lnTo>
                  <a:lnTo>
                    <a:pt x="212" y="260"/>
                  </a:lnTo>
                  <a:lnTo>
                    <a:pt x="222" y="239"/>
                  </a:lnTo>
                  <a:lnTo>
                    <a:pt x="238" y="244"/>
                  </a:lnTo>
                  <a:lnTo>
                    <a:pt x="238" y="255"/>
                  </a:lnTo>
                  <a:lnTo>
                    <a:pt x="250" y="239"/>
                  </a:lnTo>
                  <a:lnTo>
                    <a:pt x="271" y="244"/>
                  </a:lnTo>
                  <a:lnTo>
                    <a:pt x="359" y="227"/>
                  </a:lnTo>
                  <a:lnTo>
                    <a:pt x="359" y="255"/>
                  </a:lnTo>
                  <a:lnTo>
                    <a:pt x="347" y="272"/>
                  </a:lnTo>
                  <a:lnTo>
                    <a:pt x="293" y="310"/>
                  </a:lnTo>
                  <a:lnTo>
                    <a:pt x="288" y="317"/>
                  </a:lnTo>
                  <a:lnTo>
                    <a:pt x="267" y="310"/>
                  </a:lnTo>
                  <a:lnTo>
                    <a:pt x="288" y="317"/>
                  </a:lnTo>
                  <a:lnTo>
                    <a:pt x="309" y="317"/>
                  </a:lnTo>
                  <a:lnTo>
                    <a:pt x="293" y="333"/>
                  </a:lnTo>
                  <a:lnTo>
                    <a:pt x="271" y="333"/>
                  </a:lnTo>
                  <a:lnTo>
                    <a:pt x="267" y="350"/>
                  </a:lnTo>
                  <a:lnTo>
                    <a:pt x="288" y="338"/>
                  </a:lnTo>
                  <a:lnTo>
                    <a:pt x="276" y="355"/>
                  </a:lnTo>
                  <a:lnTo>
                    <a:pt x="326" y="333"/>
                  </a:lnTo>
                  <a:lnTo>
                    <a:pt x="430" y="333"/>
                  </a:lnTo>
                  <a:lnTo>
                    <a:pt x="439" y="333"/>
                  </a:lnTo>
                  <a:lnTo>
                    <a:pt x="451" y="355"/>
                  </a:lnTo>
                  <a:lnTo>
                    <a:pt x="434" y="371"/>
                  </a:lnTo>
                  <a:lnTo>
                    <a:pt x="418" y="421"/>
                  </a:lnTo>
                  <a:lnTo>
                    <a:pt x="397" y="437"/>
                  </a:lnTo>
                  <a:lnTo>
                    <a:pt x="397" y="449"/>
                  </a:lnTo>
                  <a:lnTo>
                    <a:pt x="342" y="466"/>
                  </a:lnTo>
                  <a:lnTo>
                    <a:pt x="375" y="459"/>
                  </a:lnTo>
                  <a:lnTo>
                    <a:pt x="397" y="482"/>
                  </a:lnTo>
                  <a:lnTo>
                    <a:pt x="331" y="503"/>
                  </a:lnTo>
                  <a:lnTo>
                    <a:pt x="309" y="503"/>
                  </a:lnTo>
                  <a:lnTo>
                    <a:pt x="359" y="515"/>
                  </a:lnTo>
                  <a:lnTo>
                    <a:pt x="385" y="499"/>
                  </a:lnTo>
                  <a:lnTo>
                    <a:pt x="430" y="520"/>
                  </a:lnTo>
                  <a:lnTo>
                    <a:pt x="439" y="548"/>
                  </a:lnTo>
                  <a:lnTo>
                    <a:pt x="456" y="548"/>
                  </a:lnTo>
                  <a:lnTo>
                    <a:pt x="484" y="631"/>
                  </a:lnTo>
                  <a:lnTo>
                    <a:pt x="489" y="643"/>
                  </a:lnTo>
                  <a:lnTo>
                    <a:pt x="538" y="659"/>
                  </a:lnTo>
                  <a:lnTo>
                    <a:pt x="548" y="681"/>
                  </a:lnTo>
                  <a:lnTo>
                    <a:pt x="564" y="697"/>
                  </a:lnTo>
                  <a:lnTo>
                    <a:pt x="560" y="702"/>
                  </a:lnTo>
                  <a:lnTo>
                    <a:pt x="581" y="742"/>
                  </a:lnTo>
                  <a:lnTo>
                    <a:pt x="581" y="754"/>
                  </a:lnTo>
                  <a:lnTo>
                    <a:pt x="560" y="737"/>
                  </a:lnTo>
                  <a:lnTo>
                    <a:pt x="522" y="737"/>
                  </a:lnTo>
                  <a:lnTo>
                    <a:pt x="548" y="737"/>
                  </a:lnTo>
                  <a:lnTo>
                    <a:pt x="593" y="770"/>
                  </a:lnTo>
                  <a:lnTo>
                    <a:pt x="597" y="792"/>
                  </a:lnTo>
                  <a:lnTo>
                    <a:pt x="576" y="813"/>
                  </a:lnTo>
                  <a:lnTo>
                    <a:pt x="597" y="825"/>
                  </a:lnTo>
                  <a:lnTo>
                    <a:pt x="614" y="808"/>
                  </a:lnTo>
                  <a:lnTo>
                    <a:pt x="635" y="808"/>
                  </a:lnTo>
                  <a:lnTo>
                    <a:pt x="668" y="813"/>
                  </a:lnTo>
                  <a:lnTo>
                    <a:pt x="690" y="829"/>
                  </a:lnTo>
                  <a:lnTo>
                    <a:pt x="701" y="853"/>
                  </a:lnTo>
                  <a:lnTo>
                    <a:pt x="685" y="891"/>
                  </a:lnTo>
                  <a:lnTo>
                    <a:pt x="668" y="907"/>
                  </a:lnTo>
                  <a:lnTo>
                    <a:pt x="657" y="903"/>
                  </a:lnTo>
                  <a:lnTo>
                    <a:pt x="668" y="907"/>
                  </a:lnTo>
                  <a:lnTo>
                    <a:pt x="657" y="919"/>
                  </a:lnTo>
                  <a:lnTo>
                    <a:pt x="647" y="919"/>
                  </a:lnTo>
                  <a:lnTo>
                    <a:pt x="619" y="924"/>
                  </a:lnTo>
                  <a:lnTo>
                    <a:pt x="635" y="924"/>
                  </a:lnTo>
                  <a:lnTo>
                    <a:pt x="647" y="940"/>
                  </a:lnTo>
                  <a:lnTo>
                    <a:pt x="597" y="957"/>
                  </a:lnTo>
                  <a:lnTo>
                    <a:pt x="619" y="947"/>
                  </a:lnTo>
                  <a:lnTo>
                    <a:pt x="614" y="957"/>
                  </a:lnTo>
                  <a:lnTo>
                    <a:pt x="635" y="964"/>
                  </a:lnTo>
                  <a:lnTo>
                    <a:pt x="673" y="957"/>
                  </a:lnTo>
                  <a:lnTo>
                    <a:pt x="673" y="981"/>
                  </a:lnTo>
                  <a:lnTo>
                    <a:pt x="647" y="990"/>
                  </a:lnTo>
                  <a:lnTo>
                    <a:pt x="647" y="1002"/>
                  </a:lnTo>
                  <a:lnTo>
                    <a:pt x="593" y="1018"/>
                  </a:lnTo>
                  <a:lnTo>
                    <a:pt x="560" y="1014"/>
                  </a:lnTo>
                  <a:lnTo>
                    <a:pt x="522" y="1018"/>
                  </a:lnTo>
                  <a:lnTo>
                    <a:pt x="510" y="1014"/>
                  </a:lnTo>
                  <a:lnTo>
                    <a:pt x="494" y="1014"/>
                  </a:lnTo>
                  <a:lnTo>
                    <a:pt x="494" y="1018"/>
                  </a:lnTo>
                  <a:lnTo>
                    <a:pt x="430" y="1018"/>
                  </a:lnTo>
                  <a:lnTo>
                    <a:pt x="434" y="1035"/>
                  </a:lnTo>
                  <a:lnTo>
                    <a:pt x="401" y="1030"/>
                  </a:lnTo>
                  <a:lnTo>
                    <a:pt x="401" y="1035"/>
                  </a:lnTo>
                  <a:lnTo>
                    <a:pt x="364" y="1018"/>
                  </a:lnTo>
                  <a:lnTo>
                    <a:pt x="331" y="1035"/>
                  </a:lnTo>
                  <a:lnTo>
                    <a:pt x="309" y="1068"/>
                  </a:lnTo>
                  <a:lnTo>
                    <a:pt x="276" y="1051"/>
                  </a:lnTo>
                  <a:lnTo>
                    <a:pt x="267" y="1056"/>
                  </a:lnTo>
                  <a:lnTo>
                    <a:pt x="238" y="1056"/>
                  </a:lnTo>
                  <a:lnTo>
                    <a:pt x="217" y="1073"/>
                  </a:lnTo>
                  <a:lnTo>
                    <a:pt x="217" y="1084"/>
                  </a:lnTo>
                  <a:lnTo>
                    <a:pt x="212" y="1089"/>
                  </a:lnTo>
                  <a:lnTo>
                    <a:pt x="184" y="1073"/>
                  </a:lnTo>
                  <a:lnTo>
                    <a:pt x="170" y="1084"/>
                  </a:lnTo>
                  <a:lnTo>
                    <a:pt x="170" y="1073"/>
                  </a:lnTo>
                  <a:lnTo>
                    <a:pt x="196" y="1073"/>
                  </a:lnTo>
                  <a:lnTo>
                    <a:pt x="217" y="1051"/>
                  </a:lnTo>
                  <a:lnTo>
                    <a:pt x="217" y="1035"/>
                  </a:lnTo>
                  <a:lnTo>
                    <a:pt x="238" y="1035"/>
                  </a:lnTo>
                  <a:lnTo>
                    <a:pt x="255" y="1018"/>
                  </a:lnTo>
                  <a:lnTo>
                    <a:pt x="255" y="997"/>
                  </a:lnTo>
                  <a:lnTo>
                    <a:pt x="271" y="997"/>
                  </a:lnTo>
                  <a:lnTo>
                    <a:pt x="276" y="990"/>
                  </a:lnTo>
                  <a:lnTo>
                    <a:pt x="276" y="981"/>
                  </a:lnTo>
                  <a:lnTo>
                    <a:pt x="359" y="973"/>
                  </a:lnTo>
                  <a:lnTo>
                    <a:pt x="364" y="957"/>
                  </a:lnTo>
                  <a:lnTo>
                    <a:pt x="401" y="924"/>
                  </a:lnTo>
                  <a:lnTo>
                    <a:pt x="342" y="957"/>
                  </a:lnTo>
                  <a:lnTo>
                    <a:pt x="326" y="957"/>
                  </a:lnTo>
                  <a:lnTo>
                    <a:pt x="305" y="936"/>
                  </a:lnTo>
                  <a:lnTo>
                    <a:pt x="276" y="947"/>
                  </a:lnTo>
                  <a:lnTo>
                    <a:pt x="271" y="940"/>
                  </a:lnTo>
                  <a:lnTo>
                    <a:pt x="288" y="936"/>
                  </a:lnTo>
                  <a:lnTo>
                    <a:pt x="267" y="924"/>
                  </a:lnTo>
                  <a:lnTo>
                    <a:pt x="217" y="936"/>
                  </a:lnTo>
                  <a:lnTo>
                    <a:pt x="217" y="936"/>
                  </a:lnTo>
                  <a:lnTo>
                    <a:pt x="217" y="936"/>
                  </a:lnTo>
                  <a:close/>
                  <a:moveTo>
                    <a:pt x="116" y="310"/>
                  </a:moveTo>
                  <a:lnTo>
                    <a:pt x="104" y="310"/>
                  </a:lnTo>
                  <a:lnTo>
                    <a:pt x="104" y="298"/>
                  </a:lnTo>
                  <a:lnTo>
                    <a:pt x="108" y="293"/>
                  </a:lnTo>
                  <a:lnTo>
                    <a:pt x="104" y="293"/>
                  </a:lnTo>
                  <a:lnTo>
                    <a:pt x="104" y="298"/>
                  </a:lnTo>
                  <a:lnTo>
                    <a:pt x="104" y="317"/>
                  </a:lnTo>
                  <a:lnTo>
                    <a:pt x="87" y="333"/>
                  </a:lnTo>
                  <a:lnTo>
                    <a:pt x="71" y="317"/>
                  </a:lnTo>
                  <a:lnTo>
                    <a:pt x="92" y="310"/>
                  </a:lnTo>
                  <a:lnTo>
                    <a:pt x="71" y="298"/>
                  </a:lnTo>
                  <a:lnTo>
                    <a:pt x="78" y="298"/>
                  </a:lnTo>
                  <a:lnTo>
                    <a:pt x="71" y="281"/>
                  </a:lnTo>
                  <a:lnTo>
                    <a:pt x="78" y="277"/>
                  </a:lnTo>
                  <a:lnTo>
                    <a:pt x="87" y="277"/>
                  </a:lnTo>
                  <a:lnTo>
                    <a:pt x="92" y="293"/>
                  </a:lnTo>
                  <a:lnTo>
                    <a:pt x="92" y="281"/>
                  </a:lnTo>
                  <a:lnTo>
                    <a:pt x="104" y="277"/>
                  </a:lnTo>
                  <a:lnTo>
                    <a:pt x="92" y="272"/>
                  </a:lnTo>
                  <a:lnTo>
                    <a:pt x="130" y="244"/>
                  </a:lnTo>
                  <a:lnTo>
                    <a:pt x="142" y="255"/>
                  </a:lnTo>
                  <a:lnTo>
                    <a:pt x="125" y="277"/>
                  </a:lnTo>
                  <a:lnTo>
                    <a:pt x="142" y="277"/>
                  </a:lnTo>
                  <a:lnTo>
                    <a:pt x="108" y="293"/>
                  </a:lnTo>
                  <a:lnTo>
                    <a:pt x="125" y="293"/>
                  </a:lnTo>
                  <a:lnTo>
                    <a:pt x="125" y="298"/>
                  </a:lnTo>
                  <a:lnTo>
                    <a:pt x="116" y="310"/>
                  </a:lnTo>
                  <a:lnTo>
                    <a:pt x="116" y="310"/>
                  </a:lnTo>
                  <a:lnTo>
                    <a:pt x="116" y="310"/>
                  </a:lnTo>
                  <a:close/>
                  <a:moveTo>
                    <a:pt x="61" y="350"/>
                  </a:moveTo>
                  <a:lnTo>
                    <a:pt x="38" y="338"/>
                  </a:lnTo>
                  <a:lnTo>
                    <a:pt x="71" y="333"/>
                  </a:lnTo>
                  <a:lnTo>
                    <a:pt x="78" y="338"/>
                  </a:lnTo>
                  <a:lnTo>
                    <a:pt x="61" y="350"/>
                  </a:lnTo>
                  <a:lnTo>
                    <a:pt x="61" y="350"/>
                  </a:lnTo>
                  <a:lnTo>
                    <a:pt x="61" y="350"/>
                  </a:lnTo>
                  <a:close/>
                  <a:moveTo>
                    <a:pt x="163" y="392"/>
                  </a:moveTo>
                  <a:lnTo>
                    <a:pt x="146" y="404"/>
                  </a:lnTo>
                  <a:lnTo>
                    <a:pt x="146" y="388"/>
                  </a:lnTo>
                  <a:lnTo>
                    <a:pt x="130" y="388"/>
                  </a:lnTo>
                  <a:lnTo>
                    <a:pt x="116" y="371"/>
                  </a:lnTo>
                  <a:lnTo>
                    <a:pt x="130" y="371"/>
                  </a:lnTo>
                  <a:lnTo>
                    <a:pt x="116" y="366"/>
                  </a:lnTo>
                  <a:lnTo>
                    <a:pt x="108" y="371"/>
                  </a:lnTo>
                  <a:lnTo>
                    <a:pt x="104" y="366"/>
                  </a:lnTo>
                  <a:lnTo>
                    <a:pt x="92" y="355"/>
                  </a:lnTo>
                  <a:lnTo>
                    <a:pt x="108" y="338"/>
                  </a:lnTo>
                  <a:lnTo>
                    <a:pt x="125" y="350"/>
                  </a:lnTo>
                  <a:lnTo>
                    <a:pt x="125" y="338"/>
                  </a:lnTo>
                  <a:lnTo>
                    <a:pt x="130" y="333"/>
                  </a:lnTo>
                  <a:lnTo>
                    <a:pt x="142" y="350"/>
                  </a:lnTo>
                  <a:lnTo>
                    <a:pt x="142" y="371"/>
                  </a:lnTo>
                  <a:lnTo>
                    <a:pt x="179" y="383"/>
                  </a:lnTo>
                  <a:lnTo>
                    <a:pt x="163" y="392"/>
                  </a:lnTo>
                  <a:lnTo>
                    <a:pt x="163" y="392"/>
                  </a:lnTo>
                  <a:lnTo>
                    <a:pt x="163" y="392"/>
                  </a:lnTo>
                  <a:close/>
                  <a:moveTo>
                    <a:pt x="61" y="366"/>
                  </a:moveTo>
                  <a:lnTo>
                    <a:pt x="54" y="355"/>
                  </a:lnTo>
                  <a:lnTo>
                    <a:pt x="61" y="355"/>
                  </a:lnTo>
                  <a:lnTo>
                    <a:pt x="61" y="366"/>
                  </a:lnTo>
                  <a:lnTo>
                    <a:pt x="61" y="366"/>
                  </a:lnTo>
                  <a:lnTo>
                    <a:pt x="61" y="366"/>
                  </a:lnTo>
                  <a:close/>
                  <a:moveTo>
                    <a:pt x="61" y="392"/>
                  </a:moveTo>
                  <a:lnTo>
                    <a:pt x="54" y="392"/>
                  </a:lnTo>
                  <a:lnTo>
                    <a:pt x="54" y="366"/>
                  </a:lnTo>
                  <a:lnTo>
                    <a:pt x="61" y="371"/>
                  </a:lnTo>
                  <a:lnTo>
                    <a:pt x="61" y="371"/>
                  </a:lnTo>
                  <a:lnTo>
                    <a:pt x="61" y="392"/>
                  </a:lnTo>
                  <a:lnTo>
                    <a:pt x="61" y="392"/>
                  </a:lnTo>
                  <a:lnTo>
                    <a:pt x="61" y="392"/>
                  </a:lnTo>
                  <a:close/>
                  <a:moveTo>
                    <a:pt x="49" y="409"/>
                  </a:moveTo>
                  <a:lnTo>
                    <a:pt x="38" y="409"/>
                  </a:lnTo>
                  <a:lnTo>
                    <a:pt x="49" y="392"/>
                  </a:lnTo>
                  <a:lnTo>
                    <a:pt x="54" y="404"/>
                  </a:lnTo>
                  <a:lnTo>
                    <a:pt x="49" y="409"/>
                  </a:lnTo>
                  <a:lnTo>
                    <a:pt x="49" y="409"/>
                  </a:lnTo>
                  <a:lnTo>
                    <a:pt x="49" y="409"/>
                  </a:lnTo>
                  <a:close/>
                  <a:moveTo>
                    <a:pt x="130" y="409"/>
                  </a:moveTo>
                  <a:lnTo>
                    <a:pt x="116" y="404"/>
                  </a:lnTo>
                  <a:lnTo>
                    <a:pt x="130" y="404"/>
                  </a:lnTo>
                  <a:lnTo>
                    <a:pt x="130" y="409"/>
                  </a:lnTo>
                  <a:lnTo>
                    <a:pt x="130" y="409"/>
                  </a:lnTo>
                  <a:lnTo>
                    <a:pt x="130" y="409"/>
                  </a:lnTo>
                  <a:close/>
                  <a:moveTo>
                    <a:pt x="142" y="421"/>
                  </a:moveTo>
                  <a:lnTo>
                    <a:pt x="142" y="409"/>
                  </a:lnTo>
                  <a:lnTo>
                    <a:pt x="142" y="409"/>
                  </a:lnTo>
                  <a:lnTo>
                    <a:pt x="142" y="421"/>
                  </a:lnTo>
                  <a:lnTo>
                    <a:pt x="142" y="421"/>
                  </a:lnTo>
                  <a:lnTo>
                    <a:pt x="142" y="421"/>
                  </a:lnTo>
                  <a:close/>
                  <a:moveTo>
                    <a:pt x="142" y="442"/>
                  </a:moveTo>
                  <a:lnTo>
                    <a:pt x="179" y="466"/>
                  </a:lnTo>
                  <a:lnTo>
                    <a:pt x="163" y="475"/>
                  </a:lnTo>
                  <a:lnTo>
                    <a:pt x="130" y="482"/>
                  </a:lnTo>
                  <a:lnTo>
                    <a:pt x="125" y="475"/>
                  </a:lnTo>
                  <a:lnTo>
                    <a:pt x="146" y="466"/>
                  </a:lnTo>
                  <a:lnTo>
                    <a:pt x="142" y="466"/>
                  </a:lnTo>
                  <a:lnTo>
                    <a:pt x="146" y="459"/>
                  </a:lnTo>
                  <a:lnTo>
                    <a:pt x="125" y="449"/>
                  </a:lnTo>
                  <a:lnTo>
                    <a:pt x="142" y="442"/>
                  </a:lnTo>
                  <a:lnTo>
                    <a:pt x="142" y="442"/>
                  </a:lnTo>
                  <a:lnTo>
                    <a:pt x="142" y="442"/>
                  </a:lnTo>
                  <a:close/>
                  <a:moveTo>
                    <a:pt x="87" y="459"/>
                  </a:moveTo>
                  <a:lnTo>
                    <a:pt x="78" y="459"/>
                  </a:lnTo>
                  <a:lnTo>
                    <a:pt x="104" y="449"/>
                  </a:lnTo>
                  <a:lnTo>
                    <a:pt x="87" y="459"/>
                  </a:lnTo>
                  <a:lnTo>
                    <a:pt x="87" y="459"/>
                  </a:lnTo>
                  <a:lnTo>
                    <a:pt x="87" y="459"/>
                  </a:lnTo>
                  <a:close/>
                  <a:moveTo>
                    <a:pt x="158" y="532"/>
                  </a:moveTo>
                  <a:lnTo>
                    <a:pt x="146" y="520"/>
                  </a:lnTo>
                  <a:lnTo>
                    <a:pt x="146" y="515"/>
                  </a:lnTo>
                  <a:lnTo>
                    <a:pt x="170" y="492"/>
                  </a:lnTo>
                  <a:lnTo>
                    <a:pt x="158" y="532"/>
                  </a:lnTo>
                  <a:lnTo>
                    <a:pt x="158" y="532"/>
                  </a:lnTo>
                  <a:lnTo>
                    <a:pt x="158" y="532"/>
                  </a:lnTo>
                  <a:close/>
                  <a:moveTo>
                    <a:pt x="142" y="503"/>
                  </a:moveTo>
                  <a:lnTo>
                    <a:pt x="130" y="499"/>
                  </a:lnTo>
                  <a:lnTo>
                    <a:pt x="142" y="492"/>
                  </a:lnTo>
                  <a:lnTo>
                    <a:pt x="142" y="503"/>
                  </a:lnTo>
                  <a:lnTo>
                    <a:pt x="142" y="503"/>
                  </a:lnTo>
                  <a:lnTo>
                    <a:pt x="142" y="503"/>
                  </a:lnTo>
                  <a:close/>
                  <a:moveTo>
                    <a:pt x="130" y="548"/>
                  </a:moveTo>
                  <a:lnTo>
                    <a:pt x="130" y="532"/>
                  </a:lnTo>
                  <a:lnTo>
                    <a:pt x="116" y="536"/>
                  </a:lnTo>
                  <a:lnTo>
                    <a:pt x="116" y="520"/>
                  </a:lnTo>
                  <a:lnTo>
                    <a:pt x="142" y="515"/>
                  </a:lnTo>
                  <a:lnTo>
                    <a:pt x="146" y="536"/>
                  </a:lnTo>
                  <a:lnTo>
                    <a:pt x="130" y="548"/>
                  </a:lnTo>
                  <a:lnTo>
                    <a:pt x="130" y="548"/>
                  </a:lnTo>
                  <a:lnTo>
                    <a:pt x="130" y="548"/>
                  </a:lnTo>
                  <a:close/>
                  <a:moveTo>
                    <a:pt x="217" y="536"/>
                  </a:moveTo>
                  <a:lnTo>
                    <a:pt x="212" y="515"/>
                  </a:lnTo>
                  <a:lnTo>
                    <a:pt x="217" y="520"/>
                  </a:lnTo>
                  <a:lnTo>
                    <a:pt x="217" y="536"/>
                  </a:lnTo>
                  <a:lnTo>
                    <a:pt x="217" y="536"/>
                  </a:lnTo>
                  <a:lnTo>
                    <a:pt x="217" y="536"/>
                  </a:lnTo>
                  <a:close/>
                  <a:moveTo>
                    <a:pt x="212" y="560"/>
                  </a:moveTo>
                  <a:lnTo>
                    <a:pt x="196" y="560"/>
                  </a:lnTo>
                  <a:lnTo>
                    <a:pt x="196" y="536"/>
                  </a:lnTo>
                  <a:lnTo>
                    <a:pt x="212" y="536"/>
                  </a:lnTo>
                  <a:lnTo>
                    <a:pt x="217" y="560"/>
                  </a:lnTo>
                  <a:lnTo>
                    <a:pt x="212" y="560"/>
                  </a:lnTo>
                  <a:lnTo>
                    <a:pt x="212" y="560"/>
                  </a:lnTo>
                  <a:lnTo>
                    <a:pt x="212" y="560"/>
                  </a:lnTo>
                  <a:close/>
                  <a:moveTo>
                    <a:pt x="108" y="702"/>
                  </a:moveTo>
                  <a:lnTo>
                    <a:pt x="78" y="664"/>
                  </a:lnTo>
                  <a:lnTo>
                    <a:pt x="61" y="697"/>
                  </a:lnTo>
                  <a:lnTo>
                    <a:pt x="23" y="685"/>
                  </a:lnTo>
                  <a:lnTo>
                    <a:pt x="0" y="664"/>
                  </a:lnTo>
                  <a:lnTo>
                    <a:pt x="33" y="647"/>
                  </a:lnTo>
                  <a:lnTo>
                    <a:pt x="16" y="643"/>
                  </a:lnTo>
                  <a:lnTo>
                    <a:pt x="38" y="631"/>
                  </a:lnTo>
                  <a:lnTo>
                    <a:pt x="61" y="603"/>
                  </a:lnTo>
                  <a:lnTo>
                    <a:pt x="78" y="603"/>
                  </a:lnTo>
                  <a:lnTo>
                    <a:pt x="87" y="593"/>
                  </a:lnTo>
                  <a:lnTo>
                    <a:pt x="116" y="586"/>
                  </a:lnTo>
                  <a:lnTo>
                    <a:pt x="146" y="586"/>
                  </a:lnTo>
                  <a:lnTo>
                    <a:pt x="146" y="603"/>
                  </a:lnTo>
                  <a:lnTo>
                    <a:pt x="170" y="626"/>
                  </a:lnTo>
                  <a:lnTo>
                    <a:pt x="158" y="647"/>
                  </a:lnTo>
                  <a:lnTo>
                    <a:pt x="179" y="643"/>
                  </a:lnTo>
                  <a:lnTo>
                    <a:pt x="196" y="659"/>
                  </a:lnTo>
                  <a:lnTo>
                    <a:pt x="184" y="669"/>
                  </a:lnTo>
                  <a:lnTo>
                    <a:pt x="179" y="659"/>
                  </a:lnTo>
                  <a:lnTo>
                    <a:pt x="170" y="647"/>
                  </a:lnTo>
                  <a:lnTo>
                    <a:pt x="179" y="681"/>
                  </a:lnTo>
                  <a:lnTo>
                    <a:pt x="163" y="681"/>
                  </a:lnTo>
                  <a:lnTo>
                    <a:pt x="158" y="697"/>
                  </a:lnTo>
                  <a:lnTo>
                    <a:pt x="146" y="702"/>
                  </a:lnTo>
                  <a:lnTo>
                    <a:pt x="130" y="697"/>
                  </a:lnTo>
                  <a:lnTo>
                    <a:pt x="108" y="702"/>
                  </a:lnTo>
                  <a:lnTo>
                    <a:pt x="108" y="702"/>
                  </a:lnTo>
                  <a:lnTo>
                    <a:pt x="108" y="702"/>
                  </a:lnTo>
                  <a:close/>
                  <a:moveTo>
                    <a:pt x="267" y="792"/>
                  </a:moveTo>
                  <a:lnTo>
                    <a:pt x="250" y="775"/>
                  </a:lnTo>
                  <a:lnTo>
                    <a:pt x="250" y="770"/>
                  </a:lnTo>
                  <a:lnTo>
                    <a:pt x="271" y="770"/>
                  </a:lnTo>
                  <a:lnTo>
                    <a:pt x="288" y="775"/>
                  </a:lnTo>
                  <a:lnTo>
                    <a:pt x="267" y="792"/>
                  </a:lnTo>
                  <a:lnTo>
                    <a:pt x="267" y="792"/>
                  </a:lnTo>
                  <a:lnTo>
                    <a:pt x="267" y="792"/>
                  </a:lnTo>
                  <a:close/>
                  <a:moveTo>
                    <a:pt x="635" y="964"/>
                  </a:moveTo>
                  <a:lnTo>
                    <a:pt x="631" y="957"/>
                  </a:lnTo>
                  <a:lnTo>
                    <a:pt x="635" y="957"/>
                  </a:lnTo>
                  <a:lnTo>
                    <a:pt x="635" y="964"/>
                  </a:lnTo>
                  <a:lnTo>
                    <a:pt x="635" y="964"/>
                  </a:lnTo>
                  <a:lnTo>
                    <a:pt x="635" y="964"/>
                  </a:lnTo>
                  <a:close/>
                  <a:moveTo>
                    <a:pt x="484" y="1035"/>
                  </a:moveTo>
                  <a:lnTo>
                    <a:pt x="468" y="1030"/>
                  </a:lnTo>
                  <a:lnTo>
                    <a:pt x="484" y="1018"/>
                  </a:lnTo>
                  <a:lnTo>
                    <a:pt x="494" y="1030"/>
                  </a:lnTo>
                  <a:lnTo>
                    <a:pt x="484" y="1035"/>
                  </a:lnTo>
                  <a:lnTo>
                    <a:pt x="484" y="1035"/>
                  </a:lnTo>
                  <a:lnTo>
                    <a:pt x="484" y="1035"/>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9" name="Freeform 581">
              <a:extLst>
                <a:ext uri="{FF2B5EF4-FFF2-40B4-BE49-F238E27FC236}">
                  <a16:creationId xmlns:a16="http://schemas.microsoft.com/office/drawing/2014/main" id="{E2A65B76-246A-455A-8EF8-393B4F1873D9}"/>
                </a:ext>
              </a:extLst>
            </p:cNvPr>
            <p:cNvSpPr>
              <a:spLocks noEditPoints="1"/>
            </p:cNvSpPr>
            <p:nvPr/>
          </p:nvSpPr>
          <p:spPr bwMode="gray">
            <a:xfrm>
              <a:off x="14252457" y="2750561"/>
              <a:ext cx="412721" cy="244491"/>
            </a:xfrm>
            <a:custGeom>
              <a:avLst/>
              <a:gdLst>
                <a:gd name="T0" fmla="*/ 463 w 1261"/>
                <a:gd name="T1" fmla="*/ 669 h 747"/>
                <a:gd name="T2" fmla="*/ 446 w 1261"/>
                <a:gd name="T3" fmla="*/ 641 h 747"/>
                <a:gd name="T4" fmla="*/ 479 w 1261"/>
                <a:gd name="T5" fmla="*/ 598 h 747"/>
                <a:gd name="T6" fmla="*/ 489 w 1261"/>
                <a:gd name="T7" fmla="*/ 546 h 747"/>
                <a:gd name="T8" fmla="*/ 534 w 1261"/>
                <a:gd name="T9" fmla="*/ 558 h 747"/>
                <a:gd name="T10" fmla="*/ 543 w 1261"/>
                <a:gd name="T11" fmla="*/ 546 h 747"/>
                <a:gd name="T12" fmla="*/ 505 w 1261"/>
                <a:gd name="T13" fmla="*/ 485 h 747"/>
                <a:gd name="T14" fmla="*/ 489 w 1261"/>
                <a:gd name="T15" fmla="*/ 419 h 747"/>
                <a:gd name="T16" fmla="*/ 413 w 1261"/>
                <a:gd name="T17" fmla="*/ 390 h 747"/>
                <a:gd name="T18" fmla="*/ 290 w 1261"/>
                <a:gd name="T19" fmla="*/ 397 h 747"/>
                <a:gd name="T20" fmla="*/ 165 w 1261"/>
                <a:gd name="T21" fmla="*/ 419 h 747"/>
                <a:gd name="T22" fmla="*/ 52 w 1261"/>
                <a:gd name="T23" fmla="*/ 419 h 747"/>
                <a:gd name="T24" fmla="*/ 0 w 1261"/>
                <a:gd name="T25" fmla="*/ 381 h 747"/>
                <a:gd name="T26" fmla="*/ 52 w 1261"/>
                <a:gd name="T27" fmla="*/ 324 h 747"/>
                <a:gd name="T28" fmla="*/ 38 w 1261"/>
                <a:gd name="T29" fmla="*/ 267 h 747"/>
                <a:gd name="T30" fmla="*/ 139 w 1261"/>
                <a:gd name="T31" fmla="*/ 173 h 747"/>
                <a:gd name="T32" fmla="*/ 106 w 1261"/>
                <a:gd name="T33" fmla="*/ 85 h 747"/>
                <a:gd name="T34" fmla="*/ 253 w 1261"/>
                <a:gd name="T35" fmla="*/ 45 h 747"/>
                <a:gd name="T36" fmla="*/ 392 w 1261"/>
                <a:gd name="T37" fmla="*/ 85 h 747"/>
                <a:gd name="T38" fmla="*/ 430 w 1261"/>
                <a:gd name="T39" fmla="*/ 74 h 747"/>
                <a:gd name="T40" fmla="*/ 468 w 1261"/>
                <a:gd name="T41" fmla="*/ 78 h 747"/>
                <a:gd name="T42" fmla="*/ 538 w 1261"/>
                <a:gd name="T43" fmla="*/ 95 h 747"/>
                <a:gd name="T44" fmla="*/ 593 w 1261"/>
                <a:gd name="T45" fmla="*/ 74 h 747"/>
                <a:gd name="T46" fmla="*/ 678 w 1261"/>
                <a:gd name="T47" fmla="*/ 29 h 747"/>
                <a:gd name="T48" fmla="*/ 775 w 1261"/>
                <a:gd name="T49" fmla="*/ 0 h 747"/>
                <a:gd name="T50" fmla="*/ 862 w 1261"/>
                <a:gd name="T51" fmla="*/ 57 h 747"/>
                <a:gd name="T52" fmla="*/ 883 w 1261"/>
                <a:gd name="T53" fmla="*/ 119 h 747"/>
                <a:gd name="T54" fmla="*/ 921 w 1261"/>
                <a:gd name="T55" fmla="*/ 135 h 747"/>
                <a:gd name="T56" fmla="*/ 985 w 1261"/>
                <a:gd name="T57" fmla="*/ 189 h 747"/>
                <a:gd name="T58" fmla="*/ 1093 w 1261"/>
                <a:gd name="T59" fmla="*/ 225 h 747"/>
                <a:gd name="T60" fmla="*/ 1179 w 1261"/>
                <a:gd name="T61" fmla="*/ 246 h 747"/>
                <a:gd name="T62" fmla="*/ 1240 w 1261"/>
                <a:gd name="T63" fmla="*/ 267 h 747"/>
                <a:gd name="T64" fmla="*/ 1245 w 1261"/>
                <a:gd name="T65" fmla="*/ 319 h 747"/>
                <a:gd name="T66" fmla="*/ 1254 w 1261"/>
                <a:gd name="T67" fmla="*/ 341 h 747"/>
                <a:gd name="T68" fmla="*/ 1254 w 1261"/>
                <a:gd name="T69" fmla="*/ 390 h 747"/>
                <a:gd name="T70" fmla="*/ 1164 w 1261"/>
                <a:gd name="T71" fmla="*/ 447 h 747"/>
                <a:gd name="T72" fmla="*/ 1060 w 1261"/>
                <a:gd name="T73" fmla="*/ 520 h 747"/>
                <a:gd name="T74" fmla="*/ 900 w 1261"/>
                <a:gd name="T75" fmla="*/ 586 h 747"/>
                <a:gd name="T76" fmla="*/ 879 w 1261"/>
                <a:gd name="T77" fmla="*/ 579 h 747"/>
                <a:gd name="T78" fmla="*/ 867 w 1261"/>
                <a:gd name="T79" fmla="*/ 579 h 747"/>
                <a:gd name="T80" fmla="*/ 829 w 1261"/>
                <a:gd name="T81" fmla="*/ 579 h 747"/>
                <a:gd name="T82" fmla="*/ 824 w 1261"/>
                <a:gd name="T83" fmla="*/ 598 h 747"/>
                <a:gd name="T84" fmla="*/ 857 w 1261"/>
                <a:gd name="T85" fmla="*/ 598 h 747"/>
                <a:gd name="T86" fmla="*/ 862 w 1261"/>
                <a:gd name="T87" fmla="*/ 619 h 747"/>
                <a:gd name="T88" fmla="*/ 900 w 1261"/>
                <a:gd name="T89" fmla="*/ 652 h 747"/>
                <a:gd name="T90" fmla="*/ 895 w 1261"/>
                <a:gd name="T91" fmla="*/ 598 h 747"/>
                <a:gd name="T92" fmla="*/ 968 w 1261"/>
                <a:gd name="T93" fmla="*/ 659 h 747"/>
                <a:gd name="T94" fmla="*/ 1001 w 1261"/>
                <a:gd name="T95" fmla="*/ 685 h 747"/>
                <a:gd name="T96" fmla="*/ 900 w 1261"/>
                <a:gd name="T97" fmla="*/ 697 h 747"/>
                <a:gd name="T98" fmla="*/ 808 w 1261"/>
                <a:gd name="T99" fmla="*/ 742 h 747"/>
                <a:gd name="T100" fmla="*/ 808 w 1261"/>
                <a:gd name="T101" fmla="*/ 697 h 747"/>
                <a:gd name="T102" fmla="*/ 732 w 1261"/>
                <a:gd name="T103" fmla="*/ 659 h 747"/>
                <a:gd name="T104" fmla="*/ 808 w 1261"/>
                <a:gd name="T105" fmla="*/ 598 h 747"/>
                <a:gd name="T106" fmla="*/ 732 w 1261"/>
                <a:gd name="T107" fmla="*/ 586 h 747"/>
                <a:gd name="T108" fmla="*/ 652 w 1261"/>
                <a:gd name="T109" fmla="*/ 546 h 747"/>
                <a:gd name="T110" fmla="*/ 694 w 1261"/>
                <a:gd name="T111" fmla="*/ 541 h 747"/>
                <a:gd name="T112" fmla="*/ 685 w 1261"/>
                <a:gd name="T113" fmla="*/ 501 h 747"/>
                <a:gd name="T114" fmla="*/ 685 w 1261"/>
                <a:gd name="T115" fmla="*/ 541 h 747"/>
                <a:gd name="T116" fmla="*/ 609 w 1261"/>
                <a:gd name="T117" fmla="*/ 546 h 747"/>
                <a:gd name="T118" fmla="*/ 534 w 1261"/>
                <a:gd name="T119" fmla="*/ 636 h 747"/>
                <a:gd name="T120" fmla="*/ 534 w 1261"/>
                <a:gd name="T121" fmla="*/ 669 h 747"/>
                <a:gd name="T122" fmla="*/ 699 w 1261"/>
                <a:gd name="T123" fmla="*/ 586 h 747"/>
                <a:gd name="T124" fmla="*/ 699 w 1261"/>
                <a:gd name="T125" fmla="*/ 586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1" h="747">
                  <a:moveTo>
                    <a:pt x="534" y="669"/>
                  </a:moveTo>
                  <a:lnTo>
                    <a:pt x="522" y="659"/>
                  </a:lnTo>
                  <a:lnTo>
                    <a:pt x="505" y="652"/>
                  </a:lnTo>
                  <a:lnTo>
                    <a:pt x="463" y="669"/>
                  </a:lnTo>
                  <a:lnTo>
                    <a:pt x="437" y="659"/>
                  </a:lnTo>
                  <a:lnTo>
                    <a:pt x="425" y="652"/>
                  </a:lnTo>
                  <a:lnTo>
                    <a:pt x="430" y="641"/>
                  </a:lnTo>
                  <a:lnTo>
                    <a:pt x="446" y="641"/>
                  </a:lnTo>
                  <a:lnTo>
                    <a:pt x="446" y="631"/>
                  </a:lnTo>
                  <a:lnTo>
                    <a:pt x="463" y="615"/>
                  </a:lnTo>
                  <a:lnTo>
                    <a:pt x="463" y="603"/>
                  </a:lnTo>
                  <a:lnTo>
                    <a:pt x="479" y="598"/>
                  </a:lnTo>
                  <a:lnTo>
                    <a:pt x="484" y="579"/>
                  </a:lnTo>
                  <a:lnTo>
                    <a:pt x="479" y="574"/>
                  </a:lnTo>
                  <a:lnTo>
                    <a:pt x="484" y="558"/>
                  </a:lnTo>
                  <a:lnTo>
                    <a:pt x="489" y="546"/>
                  </a:lnTo>
                  <a:lnTo>
                    <a:pt x="501" y="563"/>
                  </a:lnTo>
                  <a:lnTo>
                    <a:pt x="517" y="558"/>
                  </a:lnTo>
                  <a:lnTo>
                    <a:pt x="522" y="563"/>
                  </a:lnTo>
                  <a:lnTo>
                    <a:pt x="534" y="558"/>
                  </a:lnTo>
                  <a:lnTo>
                    <a:pt x="543" y="563"/>
                  </a:lnTo>
                  <a:lnTo>
                    <a:pt x="560" y="563"/>
                  </a:lnTo>
                  <a:lnTo>
                    <a:pt x="543" y="546"/>
                  </a:lnTo>
                  <a:lnTo>
                    <a:pt x="543" y="546"/>
                  </a:lnTo>
                  <a:lnTo>
                    <a:pt x="543" y="525"/>
                  </a:lnTo>
                  <a:lnTo>
                    <a:pt x="522" y="520"/>
                  </a:lnTo>
                  <a:lnTo>
                    <a:pt x="522" y="475"/>
                  </a:lnTo>
                  <a:lnTo>
                    <a:pt x="505" y="485"/>
                  </a:lnTo>
                  <a:lnTo>
                    <a:pt x="489" y="468"/>
                  </a:lnTo>
                  <a:lnTo>
                    <a:pt x="489" y="463"/>
                  </a:lnTo>
                  <a:lnTo>
                    <a:pt x="501" y="435"/>
                  </a:lnTo>
                  <a:lnTo>
                    <a:pt x="489" y="419"/>
                  </a:lnTo>
                  <a:lnTo>
                    <a:pt x="484" y="419"/>
                  </a:lnTo>
                  <a:lnTo>
                    <a:pt x="468" y="407"/>
                  </a:lnTo>
                  <a:lnTo>
                    <a:pt x="413" y="397"/>
                  </a:lnTo>
                  <a:lnTo>
                    <a:pt x="413" y="390"/>
                  </a:lnTo>
                  <a:lnTo>
                    <a:pt x="392" y="374"/>
                  </a:lnTo>
                  <a:lnTo>
                    <a:pt x="323" y="381"/>
                  </a:lnTo>
                  <a:lnTo>
                    <a:pt x="316" y="390"/>
                  </a:lnTo>
                  <a:lnTo>
                    <a:pt x="290" y="397"/>
                  </a:lnTo>
                  <a:lnTo>
                    <a:pt x="286" y="419"/>
                  </a:lnTo>
                  <a:lnTo>
                    <a:pt x="219" y="419"/>
                  </a:lnTo>
                  <a:lnTo>
                    <a:pt x="198" y="447"/>
                  </a:lnTo>
                  <a:lnTo>
                    <a:pt x="165" y="419"/>
                  </a:lnTo>
                  <a:lnTo>
                    <a:pt x="144" y="419"/>
                  </a:lnTo>
                  <a:lnTo>
                    <a:pt x="90" y="419"/>
                  </a:lnTo>
                  <a:lnTo>
                    <a:pt x="75" y="407"/>
                  </a:lnTo>
                  <a:lnTo>
                    <a:pt x="52" y="419"/>
                  </a:lnTo>
                  <a:lnTo>
                    <a:pt x="47" y="407"/>
                  </a:lnTo>
                  <a:lnTo>
                    <a:pt x="38" y="407"/>
                  </a:lnTo>
                  <a:lnTo>
                    <a:pt x="5" y="381"/>
                  </a:lnTo>
                  <a:lnTo>
                    <a:pt x="0" y="381"/>
                  </a:lnTo>
                  <a:lnTo>
                    <a:pt x="0" y="362"/>
                  </a:lnTo>
                  <a:lnTo>
                    <a:pt x="14" y="352"/>
                  </a:lnTo>
                  <a:lnTo>
                    <a:pt x="31" y="319"/>
                  </a:lnTo>
                  <a:lnTo>
                    <a:pt x="52" y="324"/>
                  </a:lnTo>
                  <a:lnTo>
                    <a:pt x="52" y="319"/>
                  </a:lnTo>
                  <a:lnTo>
                    <a:pt x="38" y="308"/>
                  </a:lnTo>
                  <a:lnTo>
                    <a:pt x="47" y="296"/>
                  </a:lnTo>
                  <a:lnTo>
                    <a:pt x="38" y="267"/>
                  </a:lnTo>
                  <a:lnTo>
                    <a:pt x="85" y="225"/>
                  </a:lnTo>
                  <a:lnTo>
                    <a:pt x="113" y="189"/>
                  </a:lnTo>
                  <a:lnTo>
                    <a:pt x="127" y="189"/>
                  </a:lnTo>
                  <a:lnTo>
                    <a:pt x="139" y="173"/>
                  </a:lnTo>
                  <a:lnTo>
                    <a:pt x="127" y="152"/>
                  </a:lnTo>
                  <a:lnTo>
                    <a:pt x="139" y="152"/>
                  </a:lnTo>
                  <a:lnTo>
                    <a:pt x="113" y="111"/>
                  </a:lnTo>
                  <a:lnTo>
                    <a:pt x="106" y="85"/>
                  </a:lnTo>
                  <a:lnTo>
                    <a:pt x="106" y="74"/>
                  </a:lnTo>
                  <a:lnTo>
                    <a:pt x="139" y="78"/>
                  </a:lnTo>
                  <a:lnTo>
                    <a:pt x="160" y="45"/>
                  </a:lnTo>
                  <a:lnTo>
                    <a:pt x="253" y="45"/>
                  </a:lnTo>
                  <a:lnTo>
                    <a:pt x="354" y="62"/>
                  </a:lnTo>
                  <a:lnTo>
                    <a:pt x="361" y="78"/>
                  </a:lnTo>
                  <a:lnTo>
                    <a:pt x="392" y="78"/>
                  </a:lnTo>
                  <a:lnTo>
                    <a:pt x="392" y="85"/>
                  </a:lnTo>
                  <a:lnTo>
                    <a:pt x="392" y="85"/>
                  </a:lnTo>
                  <a:lnTo>
                    <a:pt x="399" y="74"/>
                  </a:lnTo>
                  <a:lnTo>
                    <a:pt x="413" y="78"/>
                  </a:lnTo>
                  <a:lnTo>
                    <a:pt x="430" y="74"/>
                  </a:lnTo>
                  <a:lnTo>
                    <a:pt x="430" y="78"/>
                  </a:lnTo>
                  <a:lnTo>
                    <a:pt x="451" y="78"/>
                  </a:lnTo>
                  <a:lnTo>
                    <a:pt x="463" y="95"/>
                  </a:lnTo>
                  <a:lnTo>
                    <a:pt x="468" y="78"/>
                  </a:lnTo>
                  <a:lnTo>
                    <a:pt x="489" y="74"/>
                  </a:lnTo>
                  <a:lnTo>
                    <a:pt x="505" y="95"/>
                  </a:lnTo>
                  <a:lnTo>
                    <a:pt x="534" y="85"/>
                  </a:lnTo>
                  <a:lnTo>
                    <a:pt x="538" y="95"/>
                  </a:lnTo>
                  <a:lnTo>
                    <a:pt x="560" y="85"/>
                  </a:lnTo>
                  <a:lnTo>
                    <a:pt x="593" y="111"/>
                  </a:lnTo>
                  <a:lnTo>
                    <a:pt x="597" y="102"/>
                  </a:lnTo>
                  <a:lnTo>
                    <a:pt x="593" y="74"/>
                  </a:lnTo>
                  <a:lnTo>
                    <a:pt x="597" y="57"/>
                  </a:lnTo>
                  <a:lnTo>
                    <a:pt x="614" y="41"/>
                  </a:lnTo>
                  <a:lnTo>
                    <a:pt x="614" y="29"/>
                  </a:lnTo>
                  <a:lnTo>
                    <a:pt x="678" y="29"/>
                  </a:lnTo>
                  <a:lnTo>
                    <a:pt x="706" y="29"/>
                  </a:lnTo>
                  <a:lnTo>
                    <a:pt x="716" y="8"/>
                  </a:lnTo>
                  <a:lnTo>
                    <a:pt x="753" y="17"/>
                  </a:lnTo>
                  <a:lnTo>
                    <a:pt x="775" y="0"/>
                  </a:lnTo>
                  <a:lnTo>
                    <a:pt x="824" y="0"/>
                  </a:lnTo>
                  <a:lnTo>
                    <a:pt x="841" y="24"/>
                  </a:lnTo>
                  <a:lnTo>
                    <a:pt x="841" y="41"/>
                  </a:lnTo>
                  <a:lnTo>
                    <a:pt x="862" y="57"/>
                  </a:lnTo>
                  <a:lnTo>
                    <a:pt x="862" y="62"/>
                  </a:lnTo>
                  <a:lnTo>
                    <a:pt x="841" y="74"/>
                  </a:lnTo>
                  <a:lnTo>
                    <a:pt x="862" y="111"/>
                  </a:lnTo>
                  <a:lnTo>
                    <a:pt x="883" y="119"/>
                  </a:lnTo>
                  <a:lnTo>
                    <a:pt x="909" y="111"/>
                  </a:lnTo>
                  <a:lnTo>
                    <a:pt x="916" y="128"/>
                  </a:lnTo>
                  <a:lnTo>
                    <a:pt x="933" y="128"/>
                  </a:lnTo>
                  <a:lnTo>
                    <a:pt x="921" y="135"/>
                  </a:lnTo>
                  <a:lnTo>
                    <a:pt x="938" y="168"/>
                  </a:lnTo>
                  <a:lnTo>
                    <a:pt x="933" y="168"/>
                  </a:lnTo>
                  <a:lnTo>
                    <a:pt x="947" y="189"/>
                  </a:lnTo>
                  <a:lnTo>
                    <a:pt x="985" y="189"/>
                  </a:lnTo>
                  <a:lnTo>
                    <a:pt x="992" y="197"/>
                  </a:lnTo>
                  <a:lnTo>
                    <a:pt x="1018" y="206"/>
                  </a:lnTo>
                  <a:lnTo>
                    <a:pt x="1077" y="189"/>
                  </a:lnTo>
                  <a:lnTo>
                    <a:pt x="1093" y="225"/>
                  </a:lnTo>
                  <a:lnTo>
                    <a:pt x="1115" y="241"/>
                  </a:lnTo>
                  <a:lnTo>
                    <a:pt x="1127" y="225"/>
                  </a:lnTo>
                  <a:lnTo>
                    <a:pt x="1131" y="225"/>
                  </a:lnTo>
                  <a:lnTo>
                    <a:pt x="1179" y="246"/>
                  </a:lnTo>
                  <a:lnTo>
                    <a:pt x="1190" y="241"/>
                  </a:lnTo>
                  <a:lnTo>
                    <a:pt x="1202" y="251"/>
                  </a:lnTo>
                  <a:lnTo>
                    <a:pt x="1223" y="251"/>
                  </a:lnTo>
                  <a:lnTo>
                    <a:pt x="1240" y="267"/>
                  </a:lnTo>
                  <a:lnTo>
                    <a:pt x="1261" y="267"/>
                  </a:lnTo>
                  <a:lnTo>
                    <a:pt x="1254" y="279"/>
                  </a:lnTo>
                  <a:lnTo>
                    <a:pt x="1261" y="303"/>
                  </a:lnTo>
                  <a:lnTo>
                    <a:pt x="1245" y="319"/>
                  </a:lnTo>
                  <a:lnTo>
                    <a:pt x="1233" y="324"/>
                  </a:lnTo>
                  <a:lnTo>
                    <a:pt x="1240" y="336"/>
                  </a:lnTo>
                  <a:lnTo>
                    <a:pt x="1254" y="336"/>
                  </a:lnTo>
                  <a:lnTo>
                    <a:pt x="1254" y="341"/>
                  </a:lnTo>
                  <a:lnTo>
                    <a:pt x="1240" y="341"/>
                  </a:lnTo>
                  <a:lnTo>
                    <a:pt x="1233" y="357"/>
                  </a:lnTo>
                  <a:lnTo>
                    <a:pt x="1240" y="362"/>
                  </a:lnTo>
                  <a:lnTo>
                    <a:pt x="1254" y="390"/>
                  </a:lnTo>
                  <a:lnTo>
                    <a:pt x="1240" y="414"/>
                  </a:lnTo>
                  <a:lnTo>
                    <a:pt x="1240" y="430"/>
                  </a:lnTo>
                  <a:lnTo>
                    <a:pt x="1169" y="430"/>
                  </a:lnTo>
                  <a:lnTo>
                    <a:pt x="1164" y="447"/>
                  </a:lnTo>
                  <a:lnTo>
                    <a:pt x="1131" y="452"/>
                  </a:lnTo>
                  <a:lnTo>
                    <a:pt x="1131" y="501"/>
                  </a:lnTo>
                  <a:lnTo>
                    <a:pt x="1077" y="501"/>
                  </a:lnTo>
                  <a:lnTo>
                    <a:pt x="1060" y="520"/>
                  </a:lnTo>
                  <a:lnTo>
                    <a:pt x="1056" y="520"/>
                  </a:lnTo>
                  <a:lnTo>
                    <a:pt x="985" y="541"/>
                  </a:lnTo>
                  <a:lnTo>
                    <a:pt x="964" y="541"/>
                  </a:lnTo>
                  <a:lnTo>
                    <a:pt x="900" y="586"/>
                  </a:lnTo>
                  <a:lnTo>
                    <a:pt x="921" y="574"/>
                  </a:lnTo>
                  <a:lnTo>
                    <a:pt x="916" y="558"/>
                  </a:lnTo>
                  <a:lnTo>
                    <a:pt x="909" y="574"/>
                  </a:lnTo>
                  <a:lnTo>
                    <a:pt x="879" y="579"/>
                  </a:lnTo>
                  <a:lnTo>
                    <a:pt x="867" y="598"/>
                  </a:lnTo>
                  <a:lnTo>
                    <a:pt x="862" y="598"/>
                  </a:lnTo>
                  <a:lnTo>
                    <a:pt x="867" y="586"/>
                  </a:lnTo>
                  <a:lnTo>
                    <a:pt x="867" y="579"/>
                  </a:lnTo>
                  <a:lnTo>
                    <a:pt x="857" y="579"/>
                  </a:lnTo>
                  <a:lnTo>
                    <a:pt x="845" y="574"/>
                  </a:lnTo>
                  <a:lnTo>
                    <a:pt x="841" y="586"/>
                  </a:lnTo>
                  <a:lnTo>
                    <a:pt x="829" y="579"/>
                  </a:lnTo>
                  <a:lnTo>
                    <a:pt x="808" y="579"/>
                  </a:lnTo>
                  <a:lnTo>
                    <a:pt x="812" y="586"/>
                  </a:lnTo>
                  <a:lnTo>
                    <a:pt x="824" y="579"/>
                  </a:lnTo>
                  <a:lnTo>
                    <a:pt x="824" y="598"/>
                  </a:lnTo>
                  <a:lnTo>
                    <a:pt x="829" y="586"/>
                  </a:lnTo>
                  <a:lnTo>
                    <a:pt x="841" y="603"/>
                  </a:lnTo>
                  <a:lnTo>
                    <a:pt x="845" y="598"/>
                  </a:lnTo>
                  <a:lnTo>
                    <a:pt x="857" y="598"/>
                  </a:lnTo>
                  <a:lnTo>
                    <a:pt x="862" y="603"/>
                  </a:lnTo>
                  <a:lnTo>
                    <a:pt x="857" y="615"/>
                  </a:lnTo>
                  <a:lnTo>
                    <a:pt x="879" y="603"/>
                  </a:lnTo>
                  <a:lnTo>
                    <a:pt x="862" y="619"/>
                  </a:lnTo>
                  <a:lnTo>
                    <a:pt x="879" y="619"/>
                  </a:lnTo>
                  <a:lnTo>
                    <a:pt x="900" y="631"/>
                  </a:lnTo>
                  <a:lnTo>
                    <a:pt x="909" y="641"/>
                  </a:lnTo>
                  <a:lnTo>
                    <a:pt x="900" y="652"/>
                  </a:lnTo>
                  <a:lnTo>
                    <a:pt x="909" y="659"/>
                  </a:lnTo>
                  <a:lnTo>
                    <a:pt x="921" y="659"/>
                  </a:lnTo>
                  <a:lnTo>
                    <a:pt x="879" y="586"/>
                  </a:lnTo>
                  <a:lnTo>
                    <a:pt x="895" y="598"/>
                  </a:lnTo>
                  <a:lnTo>
                    <a:pt x="909" y="631"/>
                  </a:lnTo>
                  <a:lnTo>
                    <a:pt x="938" y="659"/>
                  </a:lnTo>
                  <a:lnTo>
                    <a:pt x="964" y="652"/>
                  </a:lnTo>
                  <a:lnTo>
                    <a:pt x="968" y="659"/>
                  </a:lnTo>
                  <a:lnTo>
                    <a:pt x="985" y="641"/>
                  </a:lnTo>
                  <a:lnTo>
                    <a:pt x="1018" y="652"/>
                  </a:lnTo>
                  <a:lnTo>
                    <a:pt x="1001" y="659"/>
                  </a:lnTo>
                  <a:lnTo>
                    <a:pt x="1001" y="685"/>
                  </a:lnTo>
                  <a:lnTo>
                    <a:pt x="964" y="693"/>
                  </a:lnTo>
                  <a:lnTo>
                    <a:pt x="938" y="676"/>
                  </a:lnTo>
                  <a:lnTo>
                    <a:pt x="909" y="709"/>
                  </a:lnTo>
                  <a:lnTo>
                    <a:pt x="900" y="697"/>
                  </a:lnTo>
                  <a:lnTo>
                    <a:pt x="867" y="709"/>
                  </a:lnTo>
                  <a:lnTo>
                    <a:pt x="857" y="730"/>
                  </a:lnTo>
                  <a:lnTo>
                    <a:pt x="829" y="747"/>
                  </a:lnTo>
                  <a:lnTo>
                    <a:pt x="808" y="742"/>
                  </a:lnTo>
                  <a:lnTo>
                    <a:pt x="786" y="726"/>
                  </a:lnTo>
                  <a:lnTo>
                    <a:pt x="803" y="726"/>
                  </a:lnTo>
                  <a:lnTo>
                    <a:pt x="803" y="709"/>
                  </a:lnTo>
                  <a:lnTo>
                    <a:pt x="808" y="697"/>
                  </a:lnTo>
                  <a:lnTo>
                    <a:pt x="803" y="676"/>
                  </a:lnTo>
                  <a:lnTo>
                    <a:pt x="775" y="676"/>
                  </a:lnTo>
                  <a:lnTo>
                    <a:pt x="753" y="659"/>
                  </a:lnTo>
                  <a:lnTo>
                    <a:pt x="732" y="659"/>
                  </a:lnTo>
                  <a:lnTo>
                    <a:pt x="720" y="652"/>
                  </a:lnTo>
                  <a:lnTo>
                    <a:pt x="753" y="631"/>
                  </a:lnTo>
                  <a:lnTo>
                    <a:pt x="812" y="603"/>
                  </a:lnTo>
                  <a:lnTo>
                    <a:pt x="808" y="598"/>
                  </a:lnTo>
                  <a:lnTo>
                    <a:pt x="808" y="586"/>
                  </a:lnTo>
                  <a:lnTo>
                    <a:pt x="791" y="598"/>
                  </a:lnTo>
                  <a:lnTo>
                    <a:pt x="775" y="579"/>
                  </a:lnTo>
                  <a:lnTo>
                    <a:pt x="732" y="586"/>
                  </a:lnTo>
                  <a:lnTo>
                    <a:pt x="678" y="574"/>
                  </a:lnTo>
                  <a:lnTo>
                    <a:pt x="694" y="563"/>
                  </a:lnTo>
                  <a:lnTo>
                    <a:pt x="668" y="558"/>
                  </a:lnTo>
                  <a:lnTo>
                    <a:pt x="652" y="546"/>
                  </a:lnTo>
                  <a:lnTo>
                    <a:pt x="716" y="558"/>
                  </a:lnTo>
                  <a:lnTo>
                    <a:pt x="737" y="541"/>
                  </a:lnTo>
                  <a:lnTo>
                    <a:pt x="716" y="546"/>
                  </a:lnTo>
                  <a:lnTo>
                    <a:pt x="694" y="541"/>
                  </a:lnTo>
                  <a:lnTo>
                    <a:pt x="685" y="530"/>
                  </a:lnTo>
                  <a:lnTo>
                    <a:pt x="694" y="508"/>
                  </a:lnTo>
                  <a:lnTo>
                    <a:pt x="678" y="485"/>
                  </a:lnTo>
                  <a:lnTo>
                    <a:pt x="685" y="501"/>
                  </a:lnTo>
                  <a:lnTo>
                    <a:pt x="685" y="508"/>
                  </a:lnTo>
                  <a:lnTo>
                    <a:pt x="694" y="520"/>
                  </a:lnTo>
                  <a:lnTo>
                    <a:pt x="685" y="525"/>
                  </a:lnTo>
                  <a:lnTo>
                    <a:pt x="685" y="541"/>
                  </a:lnTo>
                  <a:lnTo>
                    <a:pt x="652" y="541"/>
                  </a:lnTo>
                  <a:lnTo>
                    <a:pt x="661" y="525"/>
                  </a:lnTo>
                  <a:lnTo>
                    <a:pt x="652" y="541"/>
                  </a:lnTo>
                  <a:lnTo>
                    <a:pt x="609" y="546"/>
                  </a:lnTo>
                  <a:lnTo>
                    <a:pt x="609" y="563"/>
                  </a:lnTo>
                  <a:lnTo>
                    <a:pt x="571" y="615"/>
                  </a:lnTo>
                  <a:lnTo>
                    <a:pt x="543" y="615"/>
                  </a:lnTo>
                  <a:lnTo>
                    <a:pt x="534" y="636"/>
                  </a:lnTo>
                  <a:lnTo>
                    <a:pt x="522" y="615"/>
                  </a:lnTo>
                  <a:lnTo>
                    <a:pt x="522" y="636"/>
                  </a:lnTo>
                  <a:lnTo>
                    <a:pt x="538" y="652"/>
                  </a:lnTo>
                  <a:lnTo>
                    <a:pt x="534" y="669"/>
                  </a:lnTo>
                  <a:lnTo>
                    <a:pt x="534" y="669"/>
                  </a:lnTo>
                  <a:lnTo>
                    <a:pt x="534" y="669"/>
                  </a:lnTo>
                  <a:lnTo>
                    <a:pt x="534" y="669"/>
                  </a:lnTo>
                  <a:close/>
                  <a:moveTo>
                    <a:pt x="699" y="586"/>
                  </a:moveTo>
                  <a:lnTo>
                    <a:pt x="661" y="574"/>
                  </a:lnTo>
                  <a:lnTo>
                    <a:pt x="652" y="563"/>
                  </a:lnTo>
                  <a:lnTo>
                    <a:pt x="661" y="574"/>
                  </a:lnTo>
                  <a:lnTo>
                    <a:pt x="699" y="586"/>
                  </a:lnTo>
                  <a:lnTo>
                    <a:pt x="699" y="586"/>
                  </a:lnTo>
                  <a:lnTo>
                    <a:pt x="699" y="586"/>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0" name="Freeform 582">
              <a:extLst>
                <a:ext uri="{FF2B5EF4-FFF2-40B4-BE49-F238E27FC236}">
                  <a16:creationId xmlns:a16="http://schemas.microsoft.com/office/drawing/2014/main" id="{66734188-265A-4051-8DB6-508F346FCB95}"/>
                </a:ext>
              </a:extLst>
            </p:cNvPr>
            <p:cNvSpPr>
              <a:spLocks noEditPoints="1"/>
            </p:cNvSpPr>
            <p:nvPr/>
          </p:nvSpPr>
          <p:spPr bwMode="gray">
            <a:xfrm>
              <a:off x="9635283" y="2057347"/>
              <a:ext cx="8236093" cy="1606372"/>
            </a:xfrm>
            <a:custGeom>
              <a:avLst/>
              <a:gdLst>
                <a:gd name="T0" fmla="*/ 3387 w 25164"/>
                <a:gd name="T1" fmla="*/ 1889 h 4908"/>
                <a:gd name="T2" fmla="*/ 3186 w 25164"/>
                <a:gd name="T3" fmla="*/ 1606 h 4908"/>
                <a:gd name="T4" fmla="*/ 2948 w 25164"/>
                <a:gd name="T5" fmla="*/ 1462 h 4908"/>
                <a:gd name="T6" fmla="*/ 2615 w 25164"/>
                <a:gd name="T7" fmla="*/ 1351 h 4908"/>
                <a:gd name="T8" fmla="*/ 2154 w 25164"/>
                <a:gd name="T9" fmla="*/ 1263 h 4908"/>
                <a:gd name="T10" fmla="*/ 1939 w 25164"/>
                <a:gd name="T11" fmla="*/ 1301 h 4908"/>
                <a:gd name="T12" fmla="*/ 1734 w 25164"/>
                <a:gd name="T13" fmla="*/ 1445 h 4908"/>
                <a:gd name="T14" fmla="*/ 1427 w 25164"/>
                <a:gd name="T15" fmla="*/ 1755 h 4908"/>
                <a:gd name="T16" fmla="*/ 1103 w 25164"/>
                <a:gd name="T17" fmla="*/ 1866 h 4908"/>
                <a:gd name="T18" fmla="*/ 1420 w 25164"/>
                <a:gd name="T19" fmla="*/ 1462 h 4908"/>
                <a:gd name="T20" fmla="*/ 978 w 25164"/>
                <a:gd name="T21" fmla="*/ 1289 h 4908"/>
                <a:gd name="T22" fmla="*/ 935 w 25164"/>
                <a:gd name="T23" fmla="*/ 1145 h 4908"/>
                <a:gd name="T24" fmla="*/ 1117 w 25164"/>
                <a:gd name="T25" fmla="*/ 848 h 4908"/>
                <a:gd name="T26" fmla="*/ 1205 w 25164"/>
                <a:gd name="T27" fmla="*/ 670 h 4908"/>
                <a:gd name="T28" fmla="*/ 1103 w 25164"/>
                <a:gd name="T29" fmla="*/ 243 h 4908"/>
                <a:gd name="T30" fmla="*/ 1696 w 25164"/>
                <a:gd name="T31" fmla="*/ 26 h 4908"/>
                <a:gd name="T32" fmla="*/ 520 w 25164"/>
                <a:gd name="T33" fmla="*/ 980 h 4908"/>
                <a:gd name="T34" fmla="*/ 2183 w 25164"/>
                <a:gd name="T35" fmla="*/ 1263 h 4908"/>
                <a:gd name="T36" fmla="*/ 2268 w 25164"/>
                <a:gd name="T37" fmla="*/ 1296 h 4908"/>
                <a:gd name="T38" fmla="*/ 2154 w 25164"/>
                <a:gd name="T39" fmla="*/ 1346 h 4908"/>
                <a:gd name="T40" fmla="*/ 1868 w 25164"/>
                <a:gd name="T41" fmla="*/ 1533 h 4908"/>
                <a:gd name="T42" fmla="*/ 3061 w 25164"/>
                <a:gd name="T43" fmla="*/ 1589 h 4908"/>
                <a:gd name="T44" fmla="*/ 2993 w 25164"/>
                <a:gd name="T45" fmla="*/ 1556 h 4908"/>
                <a:gd name="T46" fmla="*/ 1724 w 25164"/>
                <a:gd name="T47" fmla="*/ 1651 h 4908"/>
                <a:gd name="T48" fmla="*/ 3085 w 25164"/>
                <a:gd name="T49" fmla="*/ 1622 h 4908"/>
                <a:gd name="T50" fmla="*/ 3182 w 25164"/>
                <a:gd name="T51" fmla="*/ 1677 h 4908"/>
                <a:gd name="T52" fmla="*/ 3241 w 25164"/>
                <a:gd name="T53" fmla="*/ 1684 h 4908"/>
                <a:gd name="T54" fmla="*/ 3262 w 25164"/>
                <a:gd name="T55" fmla="*/ 1722 h 4908"/>
                <a:gd name="T56" fmla="*/ 3203 w 25164"/>
                <a:gd name="T57" fmla="*/ 1804 h 4908"/>
                <a:gd name="T58" fmla="*/ 3342 w 25164"/>
                <a:gd name="T59" fmla="*/ 1833 h 4908"/>
                <a:gd name="T60" fmla="*/ 3203 w 25164"/>
                <a:gd name="T61" fmla="*/ 1811 h 4908"/>
                <a:gd name="T62" fmla="*/ 1301 w 25164"/>
                <a:gd name="T63" fmla="*/ 1828 h 4908"/>
                <a:gd name="T64" fmla="*/ 3246 w 25164"/>
                <a:gd name="T65" fmla="*/ 1861 h 4908"/>
                <a:gd name="T66" fmla="*/ 3349 w 25164"/>
                <a:gd name="T67" fmla="*/ 1866 h 4908"/>
                <a:gd name="T68" fmla="*/ 957 w 25164"/>
                <a:gd name="T69" fmla="*/ 1960 h 4908"/>
                <a:gd name="T70" fmla="*/ 789 w 25164"/>
                <a:gd name="T71" fmla="*/ 2017 h 4908"/>
                <a:gd name="T72" fmla="*/ 324 w 25164"/>
                <a:gd name="T73" fmla="*/ 2149 h 4908"/>
                <a:gd name="T74" fmla="*/ 201 w 25164"/>
                <a:gd name="T75" fmla="*/ 2161 h 4908"/>
                <a:gd name="T76" fmla="*/ 75 w 25164"/>
                <a:gd name="T77" fmla="*/ 2199 h 4908"/>
                <a:gd name="T78" fmla="*/ 5882 w 25164"/>
                <a:gd name="T79" fmla="*/ 2404 h 4908"/>
                <a:gd name="T80" fmla="*/ 7004 w 25164"/>
                <a:gd name="T81" fmla="*/ 2974 h 4908"/>
                <a:gd name="T82" fmla="*/ 7743 w 25164"/>
                <a:gd name="T83" fmla="*/ 2863 h 4908"/>
                <a:gd name="T84" fmla="*/ 7561 w 25164"/>
                <a:gd name="T85" fmla="*/ 3118 h 4908"/>
                <a:gd name="T86" fmla="*/ 7231 w 25164"/>
                <a:gd name="T87" fmla="*/ 3413 h 4908"/>
                <a:gd name="T88" fmla="*/ 7150 w 25164"/>
                <a:gd name="T89" fmla="*/ 3373 h 4908"/>
                <a:gd name="T90" fmla="*/ 7200 w 25164"/>
                <a:gd name="T91" fmla="*/ 3562 h 4908"/>
                <a:gd name="T92" fmla="*/ 7086 w 25164"/>
                <a:gd name="T93" fmla="*/ 3727 h 4908"/>
                <a:gd name="T94" fmla="*/ 6890 w 25164"/>
                <a:gd name="T95" fmla="*/ 4155 h 4908"/>
                <a:gd name="T96" fmla="*/ 6638 w 25164"/>
                <a:gd name="T97" fmla="*/ 4065 h 4908"/>
                <a:gd name="T98" fmla="*/ 6281 w 25164"/>
                <a:gd name="T99" fmla="*/ 4077 h 4908"/>
                <a:gd name="T100" fmla="*/ 5908 w 25164"/>
                <a:gd name="T101" fmla="*/ 4077 h 4908"/>
                <a:gd name="T102" fmla="*/ 5530 w 25164"/>
                <a:gd name="T103" fmla="*/ 4204 h 4908"/>
                <a:gd name="T104" fmla="*/ 4013 w 25164"/>
                <a:gd name="T105" fmla="*/ 3496 h 4908"/>
                <a:gd name="T106" fmla="*/ 3841 w 25164"/>
                <a:gd name="T107" fmla="*/ 2940 h 4908"/>
                <a:gd name="T108" fmla="*/ 3947 w 25164"/>
                <a:gd name="T109" fmla="*/ 2581 h 4908"/>
                <a:gd name="T110" fmla="*/ 3938 w 25164"/>
                <a:gd name="T111" fmla="*/ 2492 h 4908"/>
                <a:gd name="T112" fmla="*/ 7738 w 25164"/>
                <a:gd name="T113" fmla="*/ 2870 h 4908"/>
                <a:gd name="T114" fmla="*/ 7344 w 25164"/>
                <a:gd name="T115" fmla="*/ 3196 h 4908"/>
                <a:gd name="T116" fmla="*/ 4245 w 25164"/>
                <a:gd name="T117" fmla="*/ 3784 h 4908"/>
                <a:gd name="T118" fmla="*/ 5903 w 25164"/>
                <a:gd name="T119" fmla="*/ 4117 h 4908"/>
                <a:gd name="T120" fmla="*/ 1356 w 25164"/>
                <a:gd name="T121" fmla="*/ 4653 h 4908"/>
                <a:gd name="T122" fmla="*/ 1549 w 25164"/>
                <a:gd name="T123" fmla="*/ 4764 h 4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164" h="4908">
                  <a:moveTo>
                    <a:pt x="2662" y="222"/>
                  </a:moveTo>
                  <a:lnTo>
                    <a:pt x="2662" y="1313"/>
                  </a:lnTo>
                  <a:lnTo>
                    <a:pt x="2700" y="1318"/>
                  </a:lnTo>
                  <a:lnTo>
                    <a:pt x="2700" y="1313"/>
                  </a:lnTo>
                  <a:lnTo>
                    <a:pt x="2733" y="1329"/>
                  </a:lnTo>
                  <a:lnTo>
                    <a:pt x="2754" y="1313"/>
                  </a:lnTo>
                  <a:lnTo>
                    <a:pt x="2804" y="1301"/>
                  </a:lnTo>
                  <a:lnTo>
                    <a:pt x="2792" y="1334"/>
                  </a:lnTo>
                  <a:lnTo>
                    <a:pt x="2825" y="1351"/>
                  </a:lnTo>
                  <a:lnTo>
                    <a:pt x="2830" y="1367"/>
                  </a:lnTo>
                  <a:lnTo>
                    <a:pt x="2901" y="1424"/>
                  </a:lnTo>
                  <a:lnTo>
                    <a:pt x="2910" y="1462"/>
                  </a:lnTo>
                  <a:lnTo>
                    <a:pt x="2955" y="1429"/>
                  </a:lnTo>
                  <a:lnTo>
                    <a:pt x="2972" y="1429"/>
                  </a:lnTo>
                  <a:lnTo>
                    <a:pt x="2976" y="1424"/>
                  </a:lnTo>
                  <a:lnTo>
                    <a:pt x="2976" y="1400"/>
                  </a:lnTo>
                  <a:lnTo>
                    <a:pt x="2993" y="1400"/>
                  </a:lnTo>
                  <a:lnTo>
                    <a:pt x="2986" y="1389"/>
                  </a:lnTo>
                  <a:lnTo>
                    <a:pt x="3047" y="1367"/>
                  </a:lnTo>
                  <a:lnTo>
                    <a:pt x="3085" y="1389"/>
                  </a:lnTo>
                  <a:lnTo>
                    <a:pt x="3078" y="1407"/>
                  </a:lnTo>
                  <a:lnTo>
                    <a:pt x="3085" y="1424"/>
                  </a:lnTo>
                  <a:lnTo>
                    <a:pt x="3127" y="1441"/>
                  </a:lnTo>
                  <a:lnTo>
                    <a:pt x="3137" y="1474"/>
                  </a:lnTo>
                  <a:lnTo>
                    <a:pt x="3165" y="1478"/>
                  </a:lnTo>
                  <a:lnTo>
                    <a:pt x="3191" y="1511"/>
                  </a:lnTo>
                  <a:lnTo>
                    <a:pt x="3203" y="1528"/>
                  </a:lnTo>
                  <a:lnTo>
                    <a:pt x="3279" y="1639"/>
                  </a:lnTo>
                  <a:lnTo>
                    <a:pt x="3274" y="1651"/>
                  </a:lnTo>
                  <a:lnTo>
                    <a:pt x="3295" y="1660"/>
                  </a:lnTo>
                  <a:lnTo>
                    <a:pt x="3288" y="1677"/>
                  </a:lnTo>
                  <a:lnTo>
                    <a:pt x="3300" y="1684"/>
                  </a:lnTo>
                  <a:lnTo>
                    <a:pt x="3312" y="1700"/>
                  </a:lnTo>
                  <a:lnTo>
                    <a:pt x="3326" y="1700"/>
                  </a:lnTo>
                  <a:lnTo>
                    <a:pt x="3380" y="1722"/>
                  </a:lnTo>
                  <a:lnTo>
                    <a:pt x="3409" y="1750"/>
                  </a:lnTo>
                  <a:lnTo>
                    <a:pt x="3425" y="1750"/>
                  </a:lnTo>
                  <a:lnTo>
                    <a:pt x="3434" y="1771"/>
                  </a:lnTo>
                  <a:lnTo>
                    <a:pt x="3425" y="1788"/>
                  </a:lnTo>
                  <a:lnTo>
                    <a:pt x="3434" y="1833"/>
                  </a:lnTo>
                  <a:lnTo>
                    <a:pt x="3409" y="1873"/>
                  </a:lnTo>
                  <a:lnTo>
                    <a:pt x="3387" y="1889"/>
                  </a:lnTo>
                  <a:lnTo>
                    <a:pt x="3380" y="1866"/>
                  </a:lnTo>
                  <a:lnTo>
                    <a:pt x="3380" y="1882"/>
                  </a:lnTo>
                  <a:lnTo>
                    <a:pt x="3371" y="1889"/>
                  </a:lnTo>
                  <a:lnTo>
                    <a:pt x="3364" y="1866"/>
                  </a:lnTo>
                  <a:lnTo>
                    <a:pt x="3387" y="1849"/>
                  </a:lnTo>
                  <a:lnTo>
                    <a:pt x="3401" y="1833"/>
                  </a:lnTo>
                  <a:lnTo>
                    <a:pt x="3387" y="1849"/>
                  </a:lnTo>
                  <a:lnTo>
                    <a:pt x="3364" y="1849"/>
                  </a:lnTo>
                  <a:lnTo>
                    <a:pt x="3371" y="1833"/>
                  </a:lnTo>
                  <a:lnTo>
                    <a:pt x="3397" y="1833"/>
                  </a:lnTo>
                  <a:lnTo>
                    <a:pt x="3371" y="1833"/>
                  </a:lnTo>
                  <a:lnTo>
                    <a:pt x="3371" y="1795"/>
                  </a:lnTo>
                  <a:lnTo>
                    <a:pt x="3354" y="1771"/>
                  </a:lnTo>
                  <a:lnTo>
                    <a:pt x="3364" y="1755"/>
                  </a:lnTo>
                  <a:lnTo>
                    <a:pt x="3300" y="1778"/>
                  </a:lnTo>
                  <a:lnTo>
                    <a:pt x="3312" y="1778"/>
                  </a:lnTo>
                  <a:lnTo>
                    <a:pt x="3295" y="1811"/>
                  </a:lnTo>
                  <a:lnTo>
                    <a:pt x="3288" y="1804"/>
                  </a:lnTo>
                  <a:lnTo>
                    <a:pt x="3279" y="1788"/>
                  </a:lnTo>
                  <a:lnTo>
                    <a:pt x="3295" y="1762"/>
                  </a:lnTo>
                  <a:lnTo>
                    <a:pt x="3295" y="1750"/>
                  </a:lnTo>
                  <a:lnTo>
                    <a:pt x="3312" y="1738"/>
                  </a:lnTo>
                  <a:lnTo>
                    <a:pt x="3274" y="1705"/>
                  </a:lnTo>
                  <a:lnTo>
                    <a:pt x="3274" y="1700"/>
                  </a:lnTo>
                  <a:lnTo>
                    <a:pt x="3257" y="1700"/>
                  </a:lnTo>
                  <a:lnTo>
                    <a:pt x="3274" y="1677"/>
                  </a:lnTo>
                  <a:lnTo>
                    <a:pt x="3257" y="1684"/>
                  </a:lnTo>
                  <a:lnTo>
                    <a:pt x="3241" y="1677"/>
                  </a:lnTo>
                  <a:lnTo>
                    <a:pt x="3236" y="1667"/>
                  </a:lnTo>
                  <a:lnTo>
                    <a:pt x="3241" y="1660"/>
                  </a:lnTo>
                  <a:lnTo>
                    <a:pt x="3241" y="1651"/>
                  </a:lnTo>
                  <a:lnTo>
                    <a:pt x="3236" y="1660"/>
                  </a:lnTo>
                  <a:lnTo>
                    <a:pt x="3220" y="1651"/>
                  </a:lnTo>
                  <a:lnTo>
                    <a:pt x="3208" y="1644"/>
                  </a:lnTo>
                  <a:lnTo>
                    <a:pt x="3203" y="1651"/>
                  </a:lnTo>
                  <a:lnTo>
                    <a:pt x="3186" y="1644"/>
                  </a:lnTo>
                  <a:lnTo>
                    <a:pt x="3191" y="1627"/>
                  </a:lnTo>
                  <a:lnTo>
                    <a:pt x="3220" y="1622"/>
                  </a:lnTo>
                  <a:lnTo>
                    <a:pt x="3191" y="1627"/>
                  </a:lnTo>
                  <a:lnTo>
                    <a:pt x="3186" y="1611"/>
                  </a:lnTo>
                  <a:lnTo>
                    <a:pt x="3203" y="1594"/>
                  </a:lnTo>
                  <a:lnTo>
                    <a:pt x="3186" y="1606"/>
                  </a:lnTo>
                  <a:lnTo>
                    <a:pt x="3182" y="1589"/>
                  </a:lnTo>
                  <a:lnTo>
                    <a:pt x="3224" y="1606"/>
                  </a:lnTo>
                  <a:lnTo>
                    <a:pt x="3186" y="1585"/>
                  </a:lnTo>
                  <a:lnTo>
                    <a:pt x="3186" y="1568"/>
                  </a:lnTo>
                  <a:lnTo>
                    <a:pt x="3220" y="1573"/>
                  </a:lnTo>
                  <a:lnTo>
                    <a:pt x="3186" y="1568"/>
                  </a:lnTo>
                  <a:lnTo>
                    <a:pt x="3182" y="1585"/>
                  </a:lnTo>
                  <a:lnTo>
                    <a:pt x="3170" y="1556"/>
                  </a:lnTo>
                  <a:lnTo>
                    <a:pt x="3182" y="1540"/>
                  </a:lnTo>
                  <a:lnTo>
                    <a:pt x="3165" y="1556"/>
                  </a:lnTo>
                  <a:lnTo>
                    <a:pt x="3149" y="1552"/>
                  </a:lnTo>
                  <a:lnTo>
                    <a:pt x="3153" y="1516"/>
                  </a:lnTo>
                  <a:lnTo>
                    <a:pt x="3170" y="1500"/>
                  </a:lnTo>
                  <a:lnTo>
                    <a:pt x="3153" y="1500"/>
                  </a:lnTo>
                  <a:lnTo>
                    <a:pt x="3137" y="1533"/>
                  </a:lnTo>
                  <a:lnTo>
                    <a:pt x="3099" y="1516"/>
                  </a:lnTo>
                  <a:lnTo>
                    <a:pt x="3085" y="1483"/>
                  </a:lnTo>
                  <a:lnTo>
                    <a:pt x="3085" y="1474"/>
                  </a:lnTo>
                  <a:lnTo>
                    <a:pt x="3078" y="1478"/>
                  </a:lnTo>
                  <a:lnTo>
                    <a:pt x="3073" y="1474"/>
                  </a:lnTo>
                  <a:lnTo>
                    <a:pt x="3057" y="1424"/>
                  </a:lnTo>
                  <a:lnTo>
                    <a:pt x="3061" y="1400"/>
                  </a:lnTo>
                  <a:lnTo>
                    <a:pt x="3057" y="1424"/>
                  </a:lnTo>
                  <a:lnTo>
                    <a:pt x="3061" y="1445"/>
                  </a:lnTo>
                  <a:lnTo>
                    <a:pt x="3047" y="1429"/>
                  </a:lnTo>
                  <a:lnTo>
                    <a:pt x="3073" y="1483"/>
                  </a:lnTo>
                  <a:lnTo>
                    <a:pt x="3078" y="1516"/>
                  </a:lnTo>
                  <a:lnTo>
                    <a:pt x="3078" y="1533"/>
                  </a:lnTo>
                  <a:lnTo>
                    <a:pt x="3061" y="1533"/>
                  </a:lnTo>
                  <a:lnTo>
                    <a:pt x="3047" y="1511"/>
                  </a:lnTo>
                  <a:lnTo>
                    <a:pt x="3019" y="1516"/>
                  </a:lnTo>
                  <a:lnTo>
                    <a:pt x="3023" y="1500"/>
                  </a:lnTo>
                  <a:lnTo>
                    <a:pt x="3009" y="1474"/>
                  </a:lnTo>
                  <a:lnTo>
                    <a:pt x="3031" y="1462"/>
                  </a:lnTo>
                  <a:lnTo>
                    <a:pt x="3009" y="1462"/>
                  </a:lnTo>
                  <a:lnTo>
                    <a:pt x="3002" y="1445"/>
                  </a:lnTo>
                  <a:lnTo>
                    <a:pt x="3009" y="1474"/>
                  </a:lnTo>
                  <a:lnTo>
                    <a:pt x="2993" y="1478"/>
                  </a:lnTo>
                  <a:lnTo>
                    <a:pt x="2972" y="1457"/>
                  </a:lnTo>
                  <a:lnTo>
                    <a:pt x="2964" y="1462"/>
                  </a:lnTo>
                  <a:lnTo>
                    <a:pt x="2938" y="1445"/>
                  </a:lnTo>
                  <a:lnTo>
                    <a:pt x="2948" y="1462"/>
                  </a:lnTo>
                  <a:lnTo>
                    <a:pt x="2934" y="1474"/>
                  </a:lnTo>
                  <a:lnTo>
                    <a:pt x="2948" y="1462"/>
                  </a:lnTo>
                  <a:lnTo>
                    <a:pt x="2972" y="1474"/>
                  </a:lnTo>
                  <a:lnTo>
                    <a:pt x="2976" y="1474"/>
                  </a:lnTo>
                  <a:lnTo>
                    <a:pt x="2972" y="1474"/>
                  </a:lnTo>
                  <a:lnTo>
                    <a:pt x="2993" y="1483"/>
                  </a:lnTo>
                  <a:lnTo>
                    <a:pt x="2976" y="1495"/>
                  </a:lnTo>
                  <a:lnTo>
                    <a:pt x="2993" y="1483"/>
                  </a:lnTo>
                  <a:lnTo>
                    <a:pt x="3009" y="1516"/>
                  </a:lnTo>
                  <a:lnTo>
                    <a:pt x="2993" y="1528"/>
                  </a:lnTo>
                  <a:lnTo>
                    <a:pt x="2976" y="1511"/>
                  </a:lnTo>
                  <a:lnTo>
                    <a:pt x="2976" y="1516"/>
                  </a:lnTo>
                  <a:lnTo>
                    <a:pt x="2986" y="1528"/>
                  </a:lnTo>
                  <a:lnTo>
                    <a:pt x="2972" y="1516"/>
                  </a:lnTo>
                  <a:lnTo>
                    <a:pt x="2976" y="1528"/>
                  </a:lnTo>
                  <a:lnTo>
                    <a:pt x="2972" y="1533"/>
                  </a:lnTo>
                  <a:lnTo>
                    <a:pt x="2955" y="1516"/>
                  </a:lnTo>
                  <a:lnTo>
                    <a:pt x="2901" y="1495"/>
                  </a:lnTo>
                  <a:lnTo>
                    <a:pt x="2910" y="1483"/>
                  </a:lnTo>
                  <a:lnTo>
                    <a:pt x="2896" y="1483"/>
                  </a:lnTo>
                  <a:lnTo>
                    <a:pt x="2863" y="1445"/>
                  </a:lnTo>
                  <a:lnTo>
                    <a:pt x="2830" y="1441"/>
                  </a:lnTo>
                  <a:lnTo>
                    <a:pt x="2842" y="1429"/>
                  </a:lnTo>
                  <a:lnTo>
                    <a:pt x="2830" y="1441"/>
                  </a:lnTo>
                  <a:lnTo>
                    <a:pt x="2754" y="1400"/>
                  </a:lnTo>
                  <a:lnTo>
                    <a:pt x="2771" y="1384"/>
                  </a:lnTo>
                  <a:lnTo>
                    <a:pt x="2759" y="1355"/>
                  </a:lnTo>
                  <a:lnTo>
                    <a:pt x="2771" y="1346"/>
                  </a:lnTo>
                  <a:lnTo>
                    <a:pt x="2775" y="1355"/>
                  </a:lnTo>
                  <a:lnTo>
                    <a:pt x="2787" y="1389"/>
                  </a:lnTo>
                  <a:lnTo>
                    <a:pt x="2787" y="1384"/>
                  </a:lnTo>
                  <a:lnTo>
                    <a:pt x="2787" y="1367"/>
                  </a:lnTo>
                  <a:lnTo>
                    <a:pt x="2809" y="1367"/>
                  </a:lnTo>
                  <a:lnTo>
                    <a:pt x="2771" y="1346"/>
                  </a:lnTo>
                  <a:lnTo>
                    <a:pt x="2738" y="1367"/>
                  </a:lnTo>
                  <a:lnTo>
                    <a:pt x="2707" y="1372"/>
                  </a:lnTo>
                  <a:lnTo>
                    <a:pt x="2641" y="1355"/>
                  </a:lnTo>
                  <a:lnTo>
                    <a:pt x="2646" y="1346"/>
                  </a:lnTo>
                  <a:lnTo>
                    <a:pt x="2641" y="1329"/>
                  </a:lnTo>
                  <a:lnTo>
                    <a:pt x="2631" y="1334"/>
                  </a:lnTo>
                  <a:lnTo>
                    <a:pt x="2641" y="1346"/>
                  </a:lnTo>
                  <a:lnTo>
                    <a:pt x="2615" y="1351"/>
                  </a:lnTo>
                  <a:lnTo>
                    <a:pt x="2544" y="1334"/>
                  </a:lnTo>
                  <a:lnTo>
                    <a:pt x="2464" y="1346"/>
                  </a:lnTo>
                  <a:lnTo>
                    <a:pt x="2435" y="1329"/>
                  </a:lnTo>
                  <a:lnTo>
                    <a:pt x="2414" y="1329"/>
                  </a:lnTo>
                  <a:lnTo>
                    <a:pt x="2381" y="1313"/>
                  </a:lnTo>
                  <a:lnTo>
                    <a:pt x="2398" y="1280"/>
                  </a:lnTo>
                  <a:lnTo>
                    <a:pt x="2409" y="1263"/>
                  </a:lnTo>
                  <a:lnTo>
                    <a:pt x="2360" y="1301"/>
                  </a:lnTo>
                  <a:lnTo>
                    <a:pt x="2322" y="1289"/>
                  </a:lnTo>
                  <a:lnTo>
                    <a:pt x="2338" y="1273"/>
                  </a:lnTo>
                  <a:lnTo>
                    <a:pt x="2291" y="1273"/>
                  </a:lnTo>
                  <a:lnTo>
                    <a:pt x="2317" y="1263"/>
                  </a:lnTo>
                  <a:lnTo>
                    <a:pt x="2305" y="1256"/>
                  </a:lnTo>
                  <a:lnTo>
                    <a:pt x="2268" y="1273"/>
                  </a:lnTo>
                  <a:lnTo>
                    <a:pt x="2263" y="1263"/>
                  </a:lnTo>
                  <a:lnTo>
                    <a:pt x="2305" y="1256"/>
                  </a:lnTo>
                  <a:lnTo>
                    <a:pt x="2301" y="1244"/>
                  </a:lnTo>
                  <a:lnTo>
                    <a:pt x="2275" y="1256"/>
                  </a:lnTo>
                  <a:lnTo>
                    <a:pt x="2263" y="1240"/>
                  </a:lnTo>
                  <a:lnTo>
                    <a:pt x="2268" y="1223"/>
                  </a:lnTo>
                  <a:lnTo>
                    <a:pt x="2301" y="1223"/>
                  </a:lnTo>
                  <a:lnTo>
                    <a:pt x="2291" y="1223"/>
                  </a:lnTo>
                  <a:lnTo>
                    <a:pt x="2268" y="1223"/>
                  </a:lnTo>
                  <a:lnTo>
                    <a:pt x="2246" y="1240"/>
                  </a:lnTo>
                  <a:lnTo>
                    <a:pt x="2237" y="1235"/>
                  </a:lnTo>
                  <a:lnTo>
                    <a:pt x="2216" y="1244"/>
                  </a:lnTo>
                  <a:lnTo>
                    <a:pt x="2209" y="1244"/>
                  </a:lnTo>
                  <a:lnTo>
                    <a:pt x="2209" y="1218"/>
                  </a:lnTo>
                  <a:lnTo>
                    <a:pt x="2199" y="1244"/>
                  </a:lnTo>
                  <a:lnTo>
                    <a:pt x="2183" y="1256"/>
                  </a:lnTo>
                  <a:lnTo>
                    <a:pt x="2166" y="1240"/>
                  </a:lnTo>
                  <a:lnTo>
                    <a:pt x="2192" y="1207"/>
                  </a:lnTo>
                  <a:lnTo>
                    <a:pt x="2166" y="1235"/>
                  </a:lnTo>
                  <a:lnTo>
                    <a:pt x="2161" y="1223"/>
                  </a:lnTo>
                  <a:lnTo>
                    <a:pt x="2145" y="1235"/>
                  </a:lnTo>
                  <a:lnTo>
                    <a:pt x="2140" y="1240"/>
                  </a:lnTo>
                  <a:lnTo>
                    <a:pt x="2161" y="1235"/>
                  </a:lnTo>
                  <a:lnTo>
                    <a:pt x="2145" y="1256"/>
                  </a:lnTo>
                  <a:lnTo>
                    <a:pt x="2123" y="1256"/>
                  </a:lnTo>
                  <a:lnTo>
                    <a:pt x="2140" y="1256"/>
                  </a:lnTo>
                  <a:lnTo>
                    <a:pt x="2123" y="1273"/>
                  </a:lnTo>
                  <a:lnTo>
                    <a:pt x="2154" y="1263"/>
                  </a:lnTo>
                  <a:lnTo>
                    <a:pt x="2161" y="1280"/>
                  </a:lnTo>
                  <a:lnTo>
                    <a:pt x="2123" y="1296"/>
                  </a:lnTo>
                  <a:lnTo>
                    <a:pt x="2140" y="1289"/>
                  </a:lnTo>
                  <a:lnTo>
                    <a:pt x="2154" y="1296"/>
                  </a:lnTo>
                  <a:lnTo>
                    <a:pt x="2166" y="1280"/>
                  </a:lnTo>
                  <a:lnTo>
                    <a:pt x="2178" y="1296"/>
                  </a:lnTo>
                  <a:lnTo>
                    <a:pt x="2145" y="1329"/>
                  </a:lnTo>
                  <a:lnTo>
                    <a:pt x="2166" y="1318"/>
                  </a:lnTo>
                  <a:lnTo>
                    <a:pt x="2154" y="1334"/>
                  </a:lnTo>
                  <a:lnTo>
                    <a:pt x="2154" y="1329"/>
                  </a:lnTo>
                  <a:lnTo>
                    <a:pt x="2145" y="1351"/>
                  </a:lnTo>
                  <a:lnTo>
                    <a:pt x="2102" y="1351"/>
                  </a:lnTo>
                  <a:lnTo>
                    <a:pt x="2102" y="1334"/>
                  </a:lnTo>
                  <a:lnTo>
                    <a:pt x="2086" y="1355"/>
                  </a:lnTo>
                  <a:lnTo>
                    <a:pt x="2086" y="1346"/>
                  </a:lnTo>
                  <a:lnTo>
                    <a:pt x="2074" y="1334"/>
                  </a:lnTo>
                  <a:lnTo>
                    <a:pt x="2057" y="1367"/>
                  </a:lnTo>
                  <a:lnTo>
                    <a:pt x="2069" y="1372"/>
                  </a:lnTo>
                  <a:lnTo>
                    <a:pt x="2053" y="1351"/>
                  </a:lnTo>
                  <a:lnTo>
                    <a:pt x="2053" y="1384"/>
                  </a:lnTo>
                  <a:lnTo>
                    <a:pt x="2031" y="1367"/>
                  </a:lnTo>
                  <a:lnTo>
                    <a:pt x="2036" y="1372"/>
                  </a:lnTo>
                  <a:lnTo>
                    <a:pt x="2031" y="1384"/>
                  </a:lnTo>
                  <a:lnTo>
                    <a:pt x="2003" y="1400"/>
                  </a:lnTo>
                  <a:lnTo>
                    <a:pt x="2015" y="1372"/>
                  </a:lnTo>
                  <a:lnTo>
                    <a:pt x="1998" y="1400"/>
                  </a:lnTo>
                  <a:lnTo>
                    <a:pt x="1994" y="1389"/>
                  </a:lnTo>
                  <a:lnTo>
                    <a:pt x="1994" y="1400"/>
                  </a:lnTo>
                  <a:lnTo>
                    <a:pt x="1994" y="1407"/>
                  </a:lnTo>
                  <a:lnTo>
                    <a:pt x="1965" y="1424"/>
                  </a:lnTo>
                  <a:lnTo>
                    <a:pt x="1951" y="1424"/>
                  </a:lnTo>
                  <a:lnTo>
                    <a:pt x="1951" y="1429"/>
                  </a:lnTo>
                  <a:lnTo>
                    <a:pt x="1927" y="1424"/>
                  </a:lnTo>
                  <a:lnTo>
                    <a:pt x="1913" y="1441"/>
                  </a:lnTo>
                  <a:lnTo>
                    <a:pt x="1890" y="1424"/>
                  </a:lnTo>
                  <a:lnTo>
                    <a:pt x="1897" y="1407"/>
                  </a:lnTo>
                  <a:lnTo>
                    <a:pt x="1927" y="1400"/>
                  </a:lnTo>
                  <a:lnTo>
                    <a:pt x="1961" y="1367"/>
                  </a:lnTo>
                  <a:lnTo>
                    <a:pt x="1927" y="1384"/>
                  </a:lnTo>
                  <a:lnTo>
                    <a:pt x="1897" y="1372"/>
                  </a:lnTo>
                  <a:lnTo>
                    <a:pt x="1913" y="1346"/>
                  </a:lnTo>
                  <a:lnTo>
                    <a:pt x="1939" y="1301"/>
                  </a:lnTo>
                  <a:lnTo>
                    <a:pt x="1944" y="1289"/>
                  </a:lnTo>
                  <a:lnTo>
                    <a:pt x="1939" y="1263"/>
                  </a:lnTo>
                  <a:lnTo>
                    <a:pt x="2003" y="1235"/>
                  </a:lnTo>
                  <a:lnTo>
                    <a:pt x="2015" y="1240"/>
                  </a:lnTo>
                  <a:lnTo>
                    <a:pt x="2048" y="1240"/>
                  </a:lnTo>
                  <a:lnTo>
                    <a:pt x="2102" y="1256"/>
                  </a:lnTo>
                  <a:lnTo>
                    <a:pt x="2090" y="1240"/>
                  </a:lnTo>
                  <a:lnTo>
                    <a:pt x="2057" y="1240"/>
                  </a:lnTo>
                  <a:lnTo>
                    <a:pt x="2031" y="1218"/>
                  </a:lnTo>
                  <a:lnTo>
                    <a:pt x="2053" y="1190"/>
                  </a:lnTo>
                  <a:lnTo>
                    <a:pt x="2086" y="1185"/>
                  </a:lnTo>
                  <a:lnTo>
                    <a:pt x="2074" y="1178"/>
                  </a:lnTo>
                  <a:lnTo>
                    <a:pt x="2053" y="1185"/>
                  </a:lnTo>
                  <a:lnTo>
                    <a:pt x="2031" y="1207"/>
                  </a:lnTo>
                  <a:lnTo>
                    <a:pt x="1994" y="1207"/>
                  </a:lnTo>
                  <a:lnTo>
                    <a:pt x="1961" y="1218"/>
                  </a:lnTo>
                  <a:lnTo>
                    <a:pt x="1951" y="1235"/>
                  </a:lnTo>
                  <a:lnTo>
                    <a:pt x="1923" y="1240"/>
                  </a:lnTo>
                  <a:lnTo>
                    <a:pt x="1906" y="1256"/>
                  </a:lnTo>
                  <a:lnTo>
                    <a:pt x="1913" y="1263"/>
                  </a:lnTo>
                  <a:lnTo>
                    <a:pt x="1897" y="1263"/>
                  </a:lnTo>
                  <a:lnTo>
                    <a:pt x="1875" y="1289"/>
                  </a:lnTo>
                  <a:lnTo>
                    <a:pt x="1859" y="1313"/>
                  </a:lnTo>
                  <a:lnTo>
                    <a:pt x="1842" y="1318"/>
                  </a:lnTo>
                  <a:lnTo>
                    <a:pt x="1814" y="1313"/>
                  </a:lnTo>
                  <a:lnTo>
                    <a:pt x="1831" y="1313"/>
                  </a:lnTo>
                  <a:lnTo>
                    <a:pt x="1852" y="1334"/>
                  </a:lnTo>
                  <a:lnTo>
                    <a:pt x="1842" y="1351"/>
                  </a:lnTo>
                  <a:lnTo>
                    <a:pt x="1805" y="1367"/>
                  </a:lnTo>
                  <a:lnTo>
                    <a:pt x="1821" y="1367"/>
                  </a:lnTo>
                  <a:lnTo>
                    <a:pt x="1821" y="1372"/>
                  </a:lnTo>
                  <a:lnTo>
                    <a:pt x="1800" y="1384"/>
                  </a:lnTo>
                  <a:lnTo>
                    <a:pt x="1788" y="1384"/>
                  </a:lnTo>
                  <a:lnTo>
                    <a:pt x="1800" y="1372"/>
                  </a:lnTo>
                  <a:lnTo>
                    <a:pt x="1788" y="1367"/>
                  </a:lnTo>
                  <a:lnTo>
                    <a:pt x="1783" y="1389"/>
                  </a:lnTo>
                  <a:lnTo>
                    <a:pt x="1767" y="1400"/>
                  </a:lnTo>
                  <a:lnTo>
                    <a:pt x="1767" y="1407"/>
                  </a:lnTo>
                  <a:lnTo>
                    <a:pt x="1746" y="1412"/>
                  </a:lnTo>
                  <a:lnTo>
                    <a:pt x="1750" y="1412"/>
                  </a:lnTo>
                  <a:lnTo>
                    <a:pt x="1734" y="1441"/>
                  </a:lnTo>
                  <a:lnTo>
                    <a:pt x="1734" y="1445"/>
                  </a:lnTo>
                  <a:lnTo>
                    <a:pt x="1776" y="1445"/>
                  </a:lnTo>
                  <a:lnTo>
                    <a:pt x="1805" y="1474"/>
                  </a:lnTo>
                  <a:lnTo>
                    <a:pt x="1783" y="1495"/>
                  </a:lnTo>
                  <a:lnTo>
                    <a:pt x="1746" y="1511"/>
                  </a:lnTo>
                  <a:lnTo>
                    <a:pt x="1750" y="1516"/>
                  </a:lnTo>
                  <a:lnTo>
                    <a:pt x="1729" y="1528"/>
                  </a:lnTo>
                  <a:lnTo>
                    <a:pt x="1746" y="1528"/>
                  </a:lnTo>
                  <a:lnTo>
                    <a:pt x="1734" y="1540"/>
                  </a:lnTo>
                  <a:lnTo>
                    <a:pt x="1724" y="1540"/>
                  </a:lnTo>
                  <a:lnTo>
                    <a:pt x="1712" y="1556"/>
                  </a:lnTo>
                  <a:lnTo>
                    <a:pt x="1679" y="1556"/>
                  </a:lnTo>
                  <a:lnTo>
                    <a:pt x="1675" y="1568"/>
                  </a:lnTo>
                  <a:lnTo>
                    <a:pt x="1658" y="1585"/>
                  </a:lnTo>
                  <a:lnTo>
                    <a:pt x="1637" y="1585"/>
                  </a:lnTo>
                  <a:lnTo>
                    <a:pt x="1625" y="1606"/>
                  </a:lnTo>
                  <a:lnTo>
                    <a:pt x="1604" y="1606"/>
                  </a:lnTo>
                  <a:lnTo>
                    <a:pt x="1604" y="1611"/>
                  </a:lnTo>
                  <a:lnTo>
                    <a:pt x="1599" y="1611"/>
                  </a:lnTo>
                  <a:lnTo>
                    <a:pt x="1571" y="1627"/>
                  </a:lnTo>
                  <a:lnTo>
                    <a:pt x="1587" y="1627"/>
                  </a:lnTo>
                  <a:lnTo>
                    <a:pt x="1587" y="1644"/>
                  </a:lnTo>
                  <a:lnTo>
                    <a:pt x="1571" y="1660"/>
                  </a:lnTo>
                  <a:lnTo>
                    <a:pt x="1545" y="1660"/>
                  </a:lnTo>
                  <a:lnTo>
                    <a:pt x="1528" y="1684"/>
                  </a:lnTo>
                  <a:lnTo>
                    <a:pt x="1512" y="1677"/>
                  </a:lnTo>
                  <a:lnTo>
                    <a:pt x="1495" y="1693"/>
                  </a:lnTo>
                  <a:lnTo>
                    <a:pt x="1502" y="1700"/>
                  </a:lnTo>
                  <a:lnTo>
                    <a:pt x="1490" y="1693"/>
                  </a:lnTo>
                  <a:lnTo>
                    <a:pt x="1457" y="1705"/>
                  </a:lnTo>
                  <a:lnTo>
                    <a:pt x="1481" y="1705"/>
                  </a:lnTo>
                  <a:lnTo>
                    <a:pt x="1481" y="1717"/>
                  </a:lnTo>
                  <a:lnTo>
                    <a:pt x="1457" y="1705"/>
                  </a:lnTo>
                  <a:lnTo>
                    <a:pt x="1443" y="1717"/>
                  </a:lnTo>
                  <a:lnTo>
                    <a:pt x="1427" y="1738"/>
                  </a:lnTo>
                  <a:lnTo>
                    <a:pt x="1436" y="1738"/>
                  </a:lnTo>
                  <a:lnTo>
                    <a:pt x="1443" y="1733"/>
                  </a:lnTo>
                  <a:lnTo>
                    <a:pt x="1457" y="1733"/>
                  </a:lnTo>
                  <a:lnTo>
                    <a:pt x="1448" y="1750"/>
                  </a:lnTo>
                  <a:lnTo>
                    <a:pt x="1464" y="1738"/>
                  </a:lnTo>
                  <a:lnTo>
                    <a:pt x="1443" y="1750"/>
                  </a:lnTo>
                  <a:lnTo>
                    <a:pt x="1436" y="1762"/>
                  </a:lnTo>
                  <a:lnTo>
                    <a:pt x="1427" y="1755"/>
                  </a:lnTo>
                  <a:lnTo>
                    <a:pt x="1436" y="1750"/>
                  </a:lnTo>
                  <a:lnTo>
                    <a:pt x="1427" y="1750"/>
                  </a:lnTo>
                  <a:lnTo>
                    <a:pt x="1427" y="1771"/>
                  </a:lnTo>
                  <a:lnTo>
                    <a:pt x="1410" y="1762"/>
                  </a:lnTo>
                  <a:lnTo>
                    <a:pt x="1405" y="1771"/>
                  </a:lnTo>
                  <a:lnTo>
                    <a:pt x="1372" y="1778"/>
                  </a:lnTo>
                  <a:lnTo>
                    <a:pt x="1351" y="1804"/>
                  </a:lnTo>
                  <a:lnTo>
                    <a:pt x="1356" y="1778"/>
                  </a:lnTo>
                  <a:lnTo>
                    <a:pt x="1339" y="1778"/>
                  </a:lnTo>
                  <a:lnTo>
                    <a:pt x="1318" y="1795"/>
                  </a:lnTo>
                  <a:lnTo>
                    <a:pt x="1301" y="1804"/>
                  </a:lnTo>
                  <a:lnTo>
                    <a:pt x="1297" y="1816"/>
                  </a:lnTo>
                  <a:lnTo>
                    <a:pt x="1285" y="1811"/>
                  </a:lnTo>
                  <a:lnTo>
                    <a:pt x="1280" y="1811"/>
                  </a:lnTo>
                  <a:lnTo>
                    <a:pt x="1280" y="1816"/>
                  </a:lnTo>
                  <a:lnTo>
                    <a:pt x="1264" y="1811"/>
                  </a:lnTo>
                  <a:lnTo>
                    <a:pt x="1242" y="1828"/>
                  </a:lnTo>
                  <a:lnTo>
                    <a:pt x="1226" y="1828"/>
                  </a:lnTo>
                  <a:lnTo>
                    <a:pt x="1226" y="1816"/>
                  </a:lnTo>
                  <a:lnTo>
                    <a:pt x="1231" y="1804"/>
                  </a:lnTo>
                  <a:lnTo>
                    <a:pt x="1247" y="1811"/>
                  </a:lnTo>
                  <a:lnTo>
                    <a:pt x="1221" y="1804"/>
                  </a:lnTo>
                  <a:lnTo>
                    <a:pt x="1205" y="1833"/>
                  </a:lnTo>
                  <a:lnTo>
                    <a:pt x="1188" y="1844"/>
                  </a:lnTo>
                  <a:lnTo>
                    <a:pt x="1193" y="1849"/>
                  </a:lnTo>
                  <a:lnTo>
                    <a:pt x="1179" y="1861"/>
                  </a:lnTo>
                  <a:lnTo>
                    <a:pt x="1179" y="1849"/>
                  </a:lnTo>
                  <a:lnTo>
                    <a:pt x="1172" y="1849"/>
                  </a:lnTo>
                  <a:lnTo>
                    <a:pt x="1172" y="1861"/>
                  </a:lnTo>
                  <a:lnTo>
                    <a:pt x="1155" y="1861"/>
                  </a:lnTo>
                  <a:lnTo>
                    <a:pt x="1150" y="1833"/>
                  </a:lnTo>
                  <a:lnTo>
                    <a:pt x="1141" y="1844"/>
                  </a:lnTo>
                  <a:lnTo>
                    <a:pt x="1150" y="1849"/>
                  </a:lnTo>
                  <a:lnTo>
                    <a:pt x="1150" y="1866"/>
                  </a:lnTo>
                  <a:lnTo>
                    <a:pt x="1141" y="1866"/>
                  </a:lnTo>
                  <a:lnTo>
                    <a:pt x="1124" y="1873"/>
                  </a:lnTo>
                  <a:lnTo>
                    <a:pt x="1103" y="1849"/>
                  </a:lnTo>
                  <a:lnTo>
                    <a:pt x="1103" y="1861"/>
                  </a:lnTo>
                  <a:lnTo>
                    <a:pt x="1117" y="1866"/>
                  </a:lnTo>
                  <a:lnTo>
                    <a:pt x="1096" y="1882"/>
                  </a:lnTo>
                  <a:lnTo>
                    <a:pt x="1096" y="1873"/>
                  </a:lnTo>
                  <a:lnTo>
                    <a:pt x="1103" y="1866"/>
                  </a:lnTo>
                  <a:lnTo>
                    <a:pt x="1096" y="1849"/>
                  </a:lnTo>
                  <a:lnTo>
                    <a:pt x="1117" y="1849"/>
                  </a:lnTo>
                  <a:lnTo>
                    <a:pt x="1124" y="1833"/>
                  </a:lnTo>
                  <a:lnTo>
                    <a:pt x="1150" y="1828"/>
                  </a:lnTo>
                  <a:lnTo>
                    <a:pt x="1155" y="1828"/>
                  </a:lnTo>
                  <a:lnTo>
                    <a:pt x="1150" y="1816"/>
                  </a:lnTo>
                  <a:lnTo>
                    <a:pt x="1172" y="1795"/>
                  </a:lnTo>
                  <a:lnTo>
                    <a:pt x="1205" y="1771"/>
                  </a:lnTo>
                  <a:lnTo>
                    <a:pt x="1259" y="1771"/>
                  </a:lnTo>
                  <a:lnTo>
                    <a:pt x="1280" y="1795"/>
                  </a:lnTo>
                  <a:lnTo>
                    <a:pt x="1275" y="1778"/>
                  </a:lnTo>
                  <a:lnTo>
                    <a:pt x="1313" y="1788"/>
                  </a:lnTo>
                  <a:lnTo>
                    <a:pt x="1313" y="1778"/>
                  </a:lnTo>
                  <a:lnTo>
                    <a:pt x="1285" y="1762"/>
                  </a:lnTo>
                  <a:lnTo>
                    <a:pt x="1301" y="1733"/>
                  </a:lnTo>
                  <a:lnTo>
                    <a:pt x="1394" y="1684"/>
                  </a:lnTo>
                  <a:lnTo>
                    <a:pt x="1427" y="1684"/>
                  </a:lnTo>
                  <a:lnTo>
                    <a:pt x="1427" y="1651"/>
                  </a:lnTo>
                  <a:lnTo>
                    <a:pt x="1474" y="1611"/>
                  </a:lnTo>
                  <a:lnTo>
                    <a:pt x="1490" y="1606"/>
                  </a:lnTo>
                  <a:lnTo>
                    <a:pt x="1495" y="1611"/>
                  </a:lnTo>
                  <a:lnTo>
                    <a:pt x="1512" y="1611"/>
                  </a:lnTo>
                  <a:lnTo>
                    <a:pt x="1512" y="1606"/>
                  </a:lnTo>
                  <a:lnTo>
                    <a:pt x="1502" y="1611"/>
                  </a:lnTo>
                  <a:lnTo>
                    <a:pt x="1490" y="1594"/>
                  </a:lnTo>
                  <a:lnTo>
                    <a:pt x="1495" y="1552"/>
                  </a:lnTo>
                  <a:lnTo>
                    <a:pt x="1512" y="1533"/>
                  </a:lnTo>
                  <a:lnTo>
                    <a:pt x="1528" y="1540"/>
                  </a:lnTo>
                  <a:lnTo>
                    <a:pt x="1502" y="1533"/>
                  </a:lnTo>
                  <a:lnTo>
                    <a:pt x="1502" y="1516"/>
                  </a:lnTo>
                  <a:lnTo>
                    <a:pt x="1533" y="1478"/>
                  </a:lnTo>
                  <a:lnTo>
                    <a:pt x="1557" y="1441"/>
                  </a:lnTo>
                  <a:lnTo>
                    <a:pt x="1533" y="1462"/>
                  </a:lnTo>
                  <a:lnTo>
                    <a:pt x="1457" y="1495"/>
                  </a:lnTo>
                  <a:lnTo>
                    <a:pt x="1427" y="1474"/>
                  </a:lnTo>
                  <a:lnTo>
                    <a:pt x="1436" y="1457"/>
                  </a:lnTo>
                  <a:lnTo>
                    <a:pt x="1457" y="1457"/>
                  </a:lnTo>
                  <a:lnTo>
                    <a:pt x="1474" y="1462"/>
                  </a:lnTo>
                  <a:lnTo>
                    <a:pt x="1436" y="1429"/>
                  </a:lnTo>
                  <a:lnTo>
                    <a:pt x="1436" y="1445"/>
                  </a:lnTo>
                  <a:lnTo>
                    <a:pt x="1427" y="1462"/>
                  </a:lnTo>
                  <a:lnTo>
                    <a:pt x="1420" y="1462"/>
                  </a:lnTo>
                  <a:lnTo>
                    <a:pt x="1420" y="1457"/>
                  </a:lnTo>
                  <a:lnTo>
                    <a:pt x="1410" y="1457"/>
                  </a:lnTo>
                  <a:lnTo>
                    <a:pt x="1420" y="1478"/>
                  </a:lnTo>
                  <a:lnTo>
                    <a:pt x="1410" y="1478"/>
                  </a:lnTo>
                  <a:lnTo>
                    <a:pt x="1410" y="1474"/>
                  </a:lnTo>
                  <a:lnTo>
                    <a:pt x="1405" y="1478"/>
                  </a:lnTo>
                  <a:lnTo>
                    <a:pt x="1420" y="1500"/>
                  </a:lnTo>
                  <a:lnTo>
                    <a:pt x="1405" y="1516"/>
                  </a:lnTo>
                  <a:lnTo>
                    <a:pt x="1394" y="1511"/>
                  </a:lnTo>
                  <a:lnTo>
                    <a:pt x="1356" y="1457"/>
                  </a:lnTo>
                  <a:lnTo>
                    <a:pt x="1335" y="1478"/>
                  </a:lnTo>
                  <a:lnTo>
                    <a:pt x="1313" y="1457"/>
                  </a:lnTo>
                  <a:lnTo>
                    <a:pt x="1301" y="1445"/>
                  </a:lnTo>
                  <a:lnTo>
                    <a:pt x="1221" y="1495"/>
                  </a:lnTo>
                  <a:lnTo>
                    <a:pt x="1179" y="1483"/>
                  </a:lnTo>
                  <a:lnTo>
                    <a:pt x="1193" y="1483"/>
                  </a:lnTo>
                  <a:lnTo>
                    <a:pt x="1209" y="1478"/>
                  </a:lnTo>
                  <a:lnTo>
                    <a:pt x="1205" y="1462"/>
                  </a:lnTo>
                  <a:lnTo>
                    <a:pt x="1205" y="1445"/>
                  </a:lnTo>
                  <a:lnTo>
                    <a:pt x="1221" y="1441"/>
                  </a:lnTo>
                  <a:lnTo>
                    <a:pt x="1193" y="1445"/>
                  </a:lnTo>
                  <a:lnTo>
                    <a:pt x="1188" y="1441"/>
                  </a:lnTo>
                  <a:lnTo>
                    <a:pt x="1193" y="1412"/>
                  </a:lnTo>
                  <a:lnTo>
                    <a:pt x="1209" y="1400"/>
                  </a:lnTo>
                  <a:lnTo>
                    <a:pt x="1172" y="1334"/>
                  </a:lnTo>
                  <a:lnTo>
                    <a:pt x="1179" y="1318"/>
                  </a:lnTo>
                  <a:lnTo>
                    <a:pt x="1167" y="1329"/>
                  </a:lnTo>
                  <a:lnTo>
                    <a:pt x="1167" y="1313"/>
                  </a:lnTo>
                  <a:lnTo>
                    <a:pt x="1172" y="1280"/>
                  </a:lnTo>
                  <a:lnTo>
                    <a:pt x="1193" y="1273"/>
                  </a:lnTo>
                  <a:lnTo>
                    <a:pt x="1172" y="1280"/>
                  </a:lnTo>
                  <a:lnTo>
                    <a:pt x="1150" y="1313"/>
                  </a:lnTo>
                  <a:lnTo>
                    <a:pt x="1155" y="1329"/>
                  </a:lnTo>
                  <a:lnTo>
                    <a:pt x="1155" y="1346"/>
                  </a:lnTo>
                  <a:lnTo>
                    <a:pt x="1096" y="1367"/>
                  </a:lnTo>
                  <a:lnTo>
                    <a:pt x="1042" y="1367"/>
                  </a:lnTo>
                  <a:lnTo>
                    <a:pt x="1032" y="1351"/>
                  </a:lnTo>
                  <a:lnTo>
                    <a:pt x="1042" y="1346"/>
                  </a:lnTo>
                  <a:lnTo>
                    <a:pt x="1016" y="1334"/>
                  </a:lnTo>
                  <a:lnTo>
                    <a:pt x="1004" y="1313"/>
                  </a:lnTo>
                  <a:lnTo>
                    <a:pt x="973" y="1296"/>
                  </a:lnTo>
                  <a:lnTo>
                    <a:pt x="978" y="1289"/>
                  </a:lnTo>
                  <a:lnTo>
                    <a:pt x="952" y="1289"/>
                  </a:lnTo>
                  <a:lnTo>
                    <a:pt x="1004" y="1244"/>
                  </a:lnTo>
                  <a:lnTo>
                    <a:pt x="1004" y="1256"/>
                  </a:lnTo>
                  <a:lnTo>
                    <a:pt x="1032" y="1263"/>
                  </a:lnTo>
                  <a:lnTo>
                    <a:pt x="1032" y="1273"/>
                  </a:lnTo>
                  <a:lnTo>
                    <a:pt x="1016" y="1289"/>
                  </a:lnTo>
                  <a:lnTo>
                    <a:pt x="1049" y="1263"/>
                  </a:lnTo>
                  <a:lnTo>
                    <a:pt x="1065" y="1263"/>
                  </a:lnTo>
                  <a:lnTo>
                    <a:pt x="1065" y="1280"/>
                  </a:lnTo>
                  <a:lnTo>
                    <a:pt x="1070" y="1280"/>
                  </a:lnTo>
                  <a:lnTo>
                    <a:pt x="1086" y="1263"/>
                  </a:lnTo>
                  <a:lnTo>
                    <a:pt x="1058" y="1256"/>
                  </a:lnTo>
                  <a:lnTo>
                    <a:pt x="1079" y="1244"/>
                  </a:lnTo>
                  <a:lnTo>
                    <a:pt x="1065" y="1240"/>
                  </a:lnTo>
                  <a:lnTo>
                    <a:pt x="1049" y="1256"/>
                  </a:lnTo>
                  <a:lnTo>
                    <a:pt x="973" y="1244"/>
                  </a:lnTo>
                  <a:lnTo>
                    <a:pt x="961" y="1240"/>
                  </a:lnTo>
                  <a:lnTo>
                    <a:pt x="994" y="1223"/>
                  </a:lnTo>
                  <a:lnTo>
                    <a:pt x="973" y="1223"/>
                  </a:lnTo>
                  <a:lnTo>
                    <a:pt x="973" y="1207"/>
                  </a:lnTo>
                  <a:lnTo>
                    <a:pt x="961" y="1218"/>
                  </a:lnTo>
                  <a:lnTo>
                    <a:pt x="957" y="1218"/>
                  </a:lnTo>
                  <a:lnTo>
                    <a:pt x="973" y="1190"/>
                  </a:lnTo>
                  <a:lnTo>
                    <a:pt x="990" y="1185"/>
                  </a:lnTo>
                  <a:lnTo>
                    <a:pt x="1004" y="1169"/>
                  </a:lnTo>
                  <a:lnTo>
                    <a:pt x="957" y="1202"/>
                  </a:lnTo>
                  <a:lnTo>
                    <a:pt x="952" y="1218"/>
                  </a:lnTo>
                  <a:lnTo>
                    <a:pt x="957" y="1218"/>
                  </a:lnTo>
                  <a:lnTo>
                    <a:pt x="952" y="1235"/>
                  </a:lnTo>
                  <a:lnTo>
                    <a:pt x="935" y="1223"/>
                  </a:lnTo>
                  <a:lnTo>
                    <a:pt x="935" y="1207"/>
                  </a:lnTo>
                  <a:lnTo>
                    <a:pt x="919" y="1202"/>
                  </a:lnTo>
                  <a:lnTo>
                    <a:pt x="919" y="1190"/>
                  </a:lnTo>
                  <a:lnTo>
                    <a:pt x="924" y="1185"/>
                  </a:lnTo>
                  <a:lnTo>
                    <a:pt x="924" y="1178"/>
                  </a:lnTo>
                  <a:lnTo>
                    <a:pt x="902" y="1185"/>
                  </a:lnTo>
                  <a:lnTo>
                    <a:pt x="898" y="1169"/>
                  </a:lnTo>
                  <a:lnTo>
                    <a:pt x="898" y="1162"/>
                  </a:lnTo>
                  <a:lnTo>
                    <a:pt x="902" y="1169"/>
                  </a:lnTo>
                  <a:lnTo>
                    <a:pt x="924" y="1162"/>
                  </a:lnTo>
                  <a:lnTo>
                    <a:pt x="902" y="1145"/>
                  </a:lnTo>
                  <a:lnTo>
                    <a:pt x="935" y="1145"/>
                  </a:lnTo>
                  <a:lnTo>
                    <a:pt x="924" y="1129"/>
                  </a:lnTo>
                  <a:lnTo>
                    <a:pt x="935" y="1112"/>
                  </a:lnTo>
                  <a:lnTo>
                    <a:pt x="961" y="1074"/>
                  </a:lnTo>
                  <a:lnTo>
                    <a:pt x="978" y="1067"/>
                  </a:lnTo>
                  <a:lnTo>
                    <a:pt x="1004" y="1079"/>
                  </a:lnTo>
                  <a:lnTo>
                    <a:pt x="990" y="1067"/>
                  </a:lnTo>
                  <a:lnTo>
                    <a:pt x="1016" y="1041"/>
                  </a:lnTo>
                  <a:lnTo>
                    <a:pt x="994" y="1051"/>
                  </a:lnTo>
                  <a:lnTo>
                    <a:pt x="990" y="1034"/>
                  </a:lnTo>
                  <a:lnTo>
                    <a:pt x="1004" y="1013"/>
                  </a:lnTo>
                  <a:lnTo>
                    <a:pt x="1027" y="1013"/>
                  </a:lnTo>
                  <a:lnTo>
                    <a:pt x="1011" y="1001"/>
                  </a:lnTo>
                  <a:lnTo>
                    <a:pt x="1016" y="985"/>
                  </a:lnTo>
                  <a:lnTo>
                    <a:pt x="1049" y="985"/>
                  </a:lnTo>
                  <a:lnTo>
                    <a:pt x="1096" y="1013"/>
                  </a:lnTo>
                  <a:lnTo>
                    <a:pt x="1112" y="1013"/>
                  </a:lnTo>
                  <a:lnTo>
                    <a:pt x="1150" y="985"/>
                  </a:lnTo>
                  <a:lnTo>
                    <a:pt x="1167" y="959"/>
                  </a:lnTo>
                  <a:lnTo>
                    <a:pt x="1188" y="959"/>
                  </a:lnTo>
                  <a:lnTo>
                    <a:pt x="1179" y="963"/>
                  </a:lnTo>
                  <a:lnTo>
                    <a:pt x="1247" y="959"/>
                  </a:lnTo>
                  <a:lnTo>
                    <a:pt x="1275" y="930"/>
                  </a:lnTo>
                  <a:lnTo>
                    <a:pt x="1275" y="914"/>
                  </a:lnTo>
                  <a:lnTo>
                    <a:pt x="1264" y="874"/>
                  </a:lnTo>
                  <a:lnTo>
                    <a:pt x="1247" y="852"/>
                  </a:lnTo>
                  <a:lnTo>
                    <a:pt x="1226" y="852"/>
                  </a:lnTo>
                  <a:lnTo>
                    <a:pt x="1231" y="836"/>
                  </a:lnTo>
                  <a:lnTo>
                    <a:pt x="1259" y="848"/>
                  </a:lnTo>
                  <a:lnTo>
                    <a:pt x="1275" y="831"/>
                  </a:lnTo>
                  <a:lnTo>
                    <a:pt x="1275" y="819"/>
                  </a:lnTo>
                  <a:lnTo>
                    <a:pt x="1247" y="796"/>
                  </a:lnTo>
                  <a:lnTo>
                    <a:pt x="1259" y="791"/>
                  </a:lnTo>
                  <a:lnTo>
                    <a:pt x="1247" y="791"/>
                  </a:lnTo>
                  <a:lnTo>
                    <a:pt x="1226" y="815"/>
                  </a:lnTo>
                  <a:lnTo>
                    <a:pt x="1179" y="819"/>
                  </a:lnTo>
                  <a:lnTo>
                    <a:pt x="1150" y="848"/>
                  </a:lnTo>
                  <a:lnTo>
                    <a:pt x="1150" y="852"/>
                  </a:lnTo>
                  <a:lnTo>
                    <a:pt x="1134" y="857"/>
                  </a:lnTo>
                  <a:lnTo>
                    <a:pt x="1124" y="848"/>
                  </a:lnTo>
                  <a:lnTo>
                    <a:pt x="1112" y="819"/>
                  </a:lnTo>
                  <a:lnTo>
                    <a:pt x="1096" y="836"/>
                  </a:lnTo>
                  <a:lnTo>
                    <a:pt x="1117" y="848"/>
                  </a:lnTo>
                  <a:lnTo>
                    <a:pt x="1112" y="852"/>
                  </a:lnTo>
                  <a:lnTo>
                    <a:pt x="1086" y="836"/>
                  </a:lnTo>
                  <a:lnTo>
                    <a:pt x="1065" y="831"/>
                  </a:lnTo>
                  <a:lnTo>
                    <a:pt x="990" y="836"/>
                  </a:lnTo>
                  <a:lnTo>
                    <a:pt x="990" y="848"/>
                  </a:lnTo>
                  <a:lnTo>
                    <a:pt x="994" y="848"/>
                  </a:lnTo>
                  <a:lnTo>
                    <a:pt x="978" y="852"/>
                  </a:lnTo>
                  <a:lnTo>
                    <a:pt x="902" y="836"/>
                  </a:lnTo>
                  <a:lnTo>
                    <a:pt x="881" y="819"/>
                  </a:lnTo>
                  <a:lnTo>
                    <a:pt x="869" y="815"/>
                  </a:lnTo>
                  <a:lnTo>
                    <a:pt x="881" y="796"/>
                  </a:lnTo>
                  <a:lnTo>
                    <a:pt x="843" y="763"/>
                  </a:lnTo>
                  <a:lnTo>
                    <a:pt x="848" y="746"/>
                  </a:lnTo>
                  <a:lnTo>
                    <a:pt x="843" y="763"/>
                  </a:lnTo>
                  <a:lnTo>
                    <a:pt x="864" y="774"/>
                  </a:lnTo>
                  <a:lnTo>
                    <a:pt x="881" y="746"/>
                  </a:lnTo>
                  <a:lnTo>
                    <a:pt x="902" y="758"/>
                  </a:lnTo>
                  <a:lnTo>
                    <a:pt x="810" y="737"/>
                  </a:lnTo>
                  <a:lnTo>
                    <a:pt x="756" y="708"/>
                  </a:lnTo>
                  <a:lnTo>
                    <a:pt x="777" y="692"/>
                  </a:lnTo>
                  <a:lnTo>
                    <a:pt x="763" y="708"/>
                  </a:lnTo>
                  <a:lnTo>
                    <a:pt x="801" y="704"/>
                  </a:lnTo>
                  <a:lnTo>
                    <a:pt x="801" y="692"/>
                  </a:lnTo>
                  <a:lnTo>
                    <a:pt x="801" y="687"/>
                  </a:lnTo>
                  <a:lnTo>
                    <a:pt x="831" y="680"/>
                  </a:lnTo>
                  <a:lnTo>
                    <a:pt x="848" y="680"/>
                  </a:lnTo>
                  <a:lnTo>
                    <a:pt x="843" y="670"/>
                  </a:lnTo>
                  <a:lnTo>
                    <a:pt x="886" y="647"/>
                  </a:lnTo>
                  <a:lnTo>
                    <a:pt x="924" y="654"/>
                  </a:lnTo>
                  <a:lnTo>
                    <a:pt x="940" y="647"/>
                  </a:lnTo>
                  <a:lnTo>
                    <a:pt x="919" y="635"/>
                  </a:lnTo>
                  <a:lnTo>
                    <a:pt x="935" y="626"/>
                  </a:lnTo>
                  <a:lnTo>
                    <a:pt x="1027" y="597"/>
                  </a:lnTo>
                  <a:lnTo>
                    <a:pt x="1070" y="597"/>
                  </a:lnTo>
                  <a:lnTo>
                    <a:pt x="1058" y="597"/>
                  </a:lnTo>
                  <a:lnTo>
                    <a:pt x="1065" y="609"/>
                  </a:lnTo>
                  <a:lnTo>
                    <a:pt x="1058" y="626"/>
                  </a:lnTo>
                  <a:lnTo>
                    <a:pt x="1058" y="630"/>
                  </a:lnTo>
                  <a:lnTo>
                    <a:pt x="1032" y="647"/>
                  </a:lnTo>
                  <a:lnTo>
                    <a:pt x="1070" y="663"/>
                  </a:lnTo>
                  <a:lnTo>
                    <a:pt x="1188" y="663"/>
                  </a:lnTo>
                  <a:lnTo>
                    <a:pt x="1205" y="670"/>
                  </a:lnTo>
                  <a:lnTo>
                    <a:pt x="1226" y="635"/>
                  </a:lnTo>
                  <a:lnTo>
                    <a:pt x="1259" y="635"/>
                  </a:lnTo>
                  <a:lnTo>
                    <a:pt x="1247" y="654"/>
                  </a:lnTo>
                  <a:lnTo>
                    <a:pt x="1259" y="635"/>
                  </a:lnTo>
                  <a:lnTo>
                    <a:pt x="1247" y="626"/>
                  </a:lnTo>
                  <a:lnTo>
                    <a:pt x="1226" y="614"/>
                  </a:lnTo>
                  <a:lnTo>
                    <a:pt x="1193" y="626"/>
                  </a:lnTo>
                  <a:lnTo>
                    <a:pt x="1193" y="630"/>
                  </a:lnTo>
                  <a:lnTo>
                    <a:pt x="1193" y="597"/>
                  </a:lnTo>
                  <a:lnTo>
                    <a:pt x="1172" y="581"/>
                  </a:lnTo>
                  <a:lnTo>
                    <a:pt x="1155" y="576"/>
                  </a:lnTo>
                  <a:lnTo>
                    <a:pt x="1141" y="559"/>
                  </a:lnTo>
                  <a:lnTo>
                    <a:pt x="1167" y="552"/>
                  </a:lnTo>
                  <a:lnTo>
                    <a:pt x="1179" y="569"/>
                  </a:lnTo>
                  <a:lnTo>
                    <a:pt x="1188" y="593"/>
                  </a:lnTo>
                  <a:lnTo>
                    <a:pt x="1221" y="614"/>
                  </a:lnTo>
                  <a:lnTo>
                    <a:pt x="1247" y="597"/>
                  </a:lnTo>
                  <a:lnTo>
                    <a:pt x="1275" y="626"/>
                  </a:lnTo>
                  <a:lnTo>
                    <a:pt x="1313" y="626"/>
                  </a:lnTo>
                  <a:lnTo>
                    <a:pt x="1313" y="593"/>
                  </a:lnTo>
                  <a:lnTo>
                    <a:pt x="1285" y="597"/>
                  </a:lnTo>
                  <a:lnTo>
                    <a:pt x="1247" y="593"/>
                  </a:lnTo>
                  <a:lnTo>
                    <a:pt x="1242" y="597"/>
                  </a:lnTo>
                  <a:lnTo>
                    <a:pt x="1226" y="597"/>
                  </a:lnTo>
                  <a:lnTo>
                    <a:pt x="1193" y="581"/>
                  </a:lnTo>
                  <a:lnTo>
                    <a:pt x="1209" y="552"/>
                  </a:lnTo>
                  <a:lnTo>
                    <a:pt x="1226" y="552"/>
                  </a:lnTo>
                  <a:lnTo>
                    <a:pt x="1193" y="543"/>
                  </a:lnTo>
                  <a:lnTo>
                    <a:pt x="1155" y="543"/>
                  </a:lnTo>
                  <a:lnTo>
                    <a:pt x="1167" y="526"/>
                  </a:lnTo>
                  <a:lnTo>
                    <a:pt x="1150" y="543"/>
                  </a:lnTo>
                  <a:lnTo>
                    <a:pt x="1065" y="536"/>
                  </a:lnTo>
                  <a:lnTo>
                    <a:pt x="1065" y="503"/>
                  </a:lnTo>
                  <a:lnTo>
                    <a:pt x="1042" y="470"/>
                  </a:lnTo>
                  <a:lnTo>
                    <a:pt x="952" y="415"/>
                  </a:lnTo>
                  <a:lnTo>
                    <a:pt x="848" y="375"/>
                  </a:lnTo>
                  <a:lnTo>
                    <a:pt x="886" y="370"/>
                  </a:lnTo>
                  <a:lnTo>
                    <a:pt x="898" y="354"/>
                  </a:lnTo>
                  <a:lnTo>
                    <a:pt x="898" y="314"/>
                  </a:lnTo>
                  <a:lnTo>
                    <a:pt x="1027" y="304"/>
                  </a:lnTo>
                  <a:lnTo>
                    <a:pt x="1070" y="281"/>
                  </a:lnTo>
                  <a:lnTo>
                    <a:pt x="1103" y="243"/>
                  </a:lnTo>
                  <a:lnTo>
                    <a:pt x="1103" y="259"/>
                  </a:lnTo>
                  <a:lnTo>
                    <a:pt x="1112" y="248"/>
                  </a:lnTo>
                  <a:lnTo>
                    <a:pt x="1124" y="210"/>
                  </a:lnTo>
                  <a:lnTo>
                    <a:pt x="1117" y="205"/>
                  </a:lnTo>
                  <a:lnTo>
                    <a:pt x="1193" y="132"/>
                  </a:lnTo>
                  <a:lnTo>
                    <a:pt x="1205" y="137"/>
                  </a:lnTo>
                  <a:lnTo>
                    <a:pt x="1179" y="153"/>
                  </a:lnTo>
                  <a:lnTo>
                    <a:pt x="1247" y="137"/>
                  </a:lnTo>
                  <a:lnTo>
                    <a:pt x="1335" y="94"/>
                  </a:lnTo>
                  <a:lnTo>
                    <a:pt x="1335" y="111"/>
                  </a:lnTo>
                  <a:lnTo>
                    <a:pt x="1318" y="111"/>
                  </a:lnTo>
                  <a:lnTo>
                    <a:pt x="1330" y="111"/>
                  </a:lnTo>
                  <a:lnTo>
                    <a:pt x="1339" y="137"/>
                  </a:lnTo>
                  <a:lnTo>
                    <a:pt x="1335" y="127"/>
                  </a:lnTo>
                  <a:lnTo>
                    <a:pt x="1339" y="111"/>
                  </a:lnTo>
                  <a:lnTo>
                    <a:pt x="1382" y="99"/>
                  </a:lnTo>
                  <a:lnTo>
                    <a:pt x="1351" y="111"/>
                  </a:lnTo>
                  <a:lnTo>
                    <a:pt x="1335" y="94"/>
                  </a:lnTo>
                  <a:lnTo>
                    <a:pt x="1318" y="94"/>
                  </a:lnTo>
                  <a:lnTo>
                    <a:pt x="1389" y="61"/>
                  </a:lnTo>
                  <a:lnTo>
                    <a:pt x="1372" y="61"/>
                  </a:lnTo>
                  <a:lnTo>
                    <a:pt x="1389" y="61"/>
                  </a:lnTo>
                  <a:lnTo>
                    <a:pt x="1368" y="70"/>
                  </a:lnTo>
                  <a:lnTo>
                    <a:pt x="1382" y="78"/>
                  </a:lnTo>
                  <a:lnTo>
                    <a:pt x="1405" y="70"/>
                  </a:lnTo>
                  <a:lnTo>
                    <a:pt x="1481" y="61"/>
                  </a:lnTo>
                  <a:lnTo>
                    <a:pt x="1566" y="0"/>
                  </a:lnTo>
                  <a:lnTo>
                    <a:pt x="1583" y="4"/>
                  </a:lnTo>
                  <a:lnTo>
                    <a:pt x="1637" y="21"/>
                  </a:lnTo>
                  <a:lnTo>
                    <a:pt x="1642" y="26"/>
                  </a:lnTo>
                  <a:lnTo>
                    <a:pt x="1625" y="42"/>
                  </a:lnTo>
                  <a:lnTo>
                    <a:pt x="1599" y="54"/>
                  </a:lnTo>
                  <a:lnTo>
                    <a:pt x="1611" y="54"/>
                  </a:lnTo>
                  <a:lnTo>
                    <a:pt x="1611" y="78"/>
                  </a:lnTo>
                  <a:lnTo>
                    <a:pt x="1637" y="61"/>
                  </a:lnTo>
                  <a:lnTo>
                    <a:pt x="1653" y="42"/>
                  </a:lnTo>
                  <a:lnTo>
                    <a:pt x="1670" y="42"/>
                  </a:lnTo>
                  <a:lnTo>
                    <a:pt x="1658" y="26"/>
                  </a:lnTo>
                  <a:lnTo>
                    <a:pt x="1675" y="21"/>
                  </a:lnTo>
                  <a:lnTo>
                    <a:pt x="1675" y="37"/>
                  </a:lnTo>
                  <a:lnTo>
                    <a:pt x="1679" y="26"/>
                  </a:lnTo>
                  <a:lnTo>
                    <a:pt x="1696" y="26"/>
                  </a:lnTo>
                  <a:lnTo>
                    <a:pt x="1712" y="42"/>
                  </a:lnTo>
                  <a:lnTo>
                    <a:pt x="1708" y="54"/>
                  </a:lnTo>
                  <a:lnTo>
                    <a:pt x="1708" y="61"/>
                  </a:lnTo>
                  <a:lnTo>
                    <a:pt x="1734" y="70"/>
                  </a:lnTo>
                  <a:lnTo>
                    <a:pt x="1762" y="54"/>
                  </a:lnTo>
                  <a:lnTo>
                    <a:pt x="1805" y="54"/>
                  </a:lnTo>
                  <a:lnTo>
                    <a:pt x="1875" y="61"/>
                  </a:lnTo>
                  <a:lnTo>
                    <a:pt x="1859" y="82"/>
                  </a:lnTo>
                  <a:lnTo>
                    <a:pt x="1885" y="99"/>
                  </a:lnTo>
                  <a:lnTo>
                    <a:pt x="1842" y="99"/>
                  </a:lnTo>
                  <a:lnTo>
                    <a:pt x="1913" y="99"/>
                  </a:lnTo>
                  <a:lnTo>
                    <a:pt x="1890" y="115"/>
                  </a:lnTo>
                  <a:lnTo>
                    <a:pt x="1944" y="127"/>
                  </a:lnTo>
                  <a:lnTo>
                    <a:pt x="1951" y="115"/>
                  </a:lnTo>
                  <a:lnTo>
                    <a:pt x="1977" y="111"/>
                  </a:lnTo>
                  <a:lnTo>
                    <a:pt x="2003" y="111"/>
                  </a:lnTo>
                  <a:lnTo>
                    <a:pt x="2003" y="115"/>
                  </a:lnTo>
                  <a:lnTo>
                    <a:pt x="2036" y="111"/>
                  </a:lnTo>
                  <a:lnTo>
                    <a:pt x="2090" y="111"/>
                  </a:lnTo>
                  <a:lnTo>
                    <a:pt x="2140" y="132"/>
                  </a:lnTo>
                  <a:lnTo>
                    <a:pt x="2161" y="127"/>
                  </a:lnTo>
                  <a:lnTo>
                    <a:pt x="2192" y="148"/>
                  </a:lnTo>
                  <a:lnTo>
                    <a:pt x="2322" y="153"/>
                  </a:lnTo>
                  <a:lnTo>
                    <a:pt x="2381" y="181"/>
                  </a:lnTo>
                  <a:lnTo>
                    <a:pt x="2501" y="153"/>
                  </a:lnTo>
                  <a:lnTo>
                    <a:pt x="2544" y="170"/>
                  </a:lnTo>
                  <a:lnTo>
                    <a:pt x="2641" y="222"/>
                  </a:lnTo>
                  <a:lnTo>
                    <a:pt x="2662" y="222"/>
                  </a:lnTo>
                  <a:lnTo>
                    <a:pt x="2662" y="222"/>
                  </a:lnTo>
                  <a:lnTo>
                    <a:pt x="2662" y="222"/>
                  </a:lnTo>
                  <a:close/>
                  <a:moveTo>
                    <a:pt x="709" y="996"/>
                  </a:moveTo>
                  <a:lnTo>
                    <a:pt x="680" y="996"/>
                  </a:lnTo>
                  <a:lnTo>
                    <a:pt x="654" y="1018"/>
                  </a:lnTo>
                  <a:lnTo>
                    <a:pt x="649" y="1018"/>
                  </a:lnTo>
                  <a:lnTo>
                    <a:pt x="638" y="1001"/>
                  </a:lnTo>
                  <a:lnTo>
                    <a:pt x="612" y="996"/>
                  </a:lnTo>
                  <a:lnTo>
                    <a:pt x="612" y="980"/>
                  </a:lnTo>
                  <a:lnTo>
                    <a:pt x="595" y="968"/>
                  </a:lnTo>
                  <a:lnTo>
                    <a:pt x="557" y="963"/>
                  </a:lnTo>
                  <a:lnTo>
                    <a:pt x="612" y="985"/>
                  </a:lnTo>
                  <a:lnTo>
                    <a:pt x="562" y="963"/>
                  </a:lnTo>
                  <a:lnTo>
                    <a:pt x="520" y="980"/>
                  </a:lnTo>
                  <a:lnTo>
                    <a:pt x="503" y="968"/>
                  </a:lnTo>
                  <a:lnTo>
                    <a:pt x="503" y="959"/>
                  </a:lnTo>
                  <a:lnTo>
                    <a:pt x="508" y="923"/>
                  </a:lnTo>
                  <a:lnTo>
                    <a:pt x="524" y="947"/>
                  </a:lnTo>
                  <a:lnTo>
                    <a:pt x="562" y="947"/>
                  </a:lnTo>
                  <a:lnTo>
                    <a:pt x="612" y="930"/>
                  </a:lnTo>
                  <a:lnTo>
                    <a:pt x="664" y="968"/>
                  </a:lnTo>
                  <a:lnTo>
                    <a:pt x="718" y="980"/>
                  </a:lnTo>
                  <a:lnTo>
                    <a:pt x="709" y="996"/>
                  </a:lnTo>
                  <a:lnTo>
                    <a:pt x="709" y="996"/>
                  </a:lnTo>
                  <a:lnTo>
                    <a:pt x="709" y="996"/>
                  </a:lnTo>
                  <a:close/>
                  <a:moveTo>
                    <a:pt x="1167" y="947"/>
                  </a:moveTo>
                  <a:lnTo>
                    <a:pt x="1141" y="947"/>
                  </a:lnTo>
                  <a:lnTo>
                    <a:pt x="1150" y="940"/>
                  </a:lnTo>
                  <a:lnTo>
                    <a:pt x="1167" y="947"/>
                  </a:lnTo>
                  <a:lnTo>
                    <a:pt x="1167" y="947"/>
                  </a:lnTo>
                  <a:lnTo>
                    <a:pt x="1167" y="947"/>
                  </a:lnTo>
                  <a:close/>
                  <a:moveTo>
                    <a:pt x="2166" y="1244"/>
                  </a:moveTo>
                  <a:lnTo>
                    <a:pt x="2178" y="1256"/>
                  </a:lnTo>
                  <a:lnTo>
                    <a:pt x="2161" y="1256"/>
                  </a:lnTo>
                  <a:lnTo>
                    <a:pt x="2166" y="1244"/>
                  </a:lnTo>
                  <a:lnTo>
                    <a:pt x="2166" y="1244"/>
                  </a:lnTo>
                  <a:lnTo>
                    <a:pt x="2166" y="1244"/>
                  </a:lnTo>
                  <a:close/>
                  <a:moveTo>
                    <a:pt x="2263" y="1244"/>
                  </a:moveTo>
                  <a:lnTo>
                    <a:pt x="2263" y="1256"/>
                  </a:lnTo>
                  <a:lnTo>
                    <a:pt x="2253" y="1256"/>
                  </a:lnTo>
                  <a:lnTo>
                    <a:pt x="2263" y="1244"/>
                  </a:lnTo>
                  <a:lnTo>
                    <a:pt x="2263" y="1244"/>
                  </a:lnTo>
                  <a:lnTo>
                    <a:pt x="2263" y="1244"/>
                  </a:lnTo>
                  <a:close/>
                  <a:moveTo>
                    <a:pt x="978" y="1244"/>
                  </a:moveTo>
                  <a:lnTo>
                    <a:pt x="990" y="1256"/>
                  </a:lnTo>
                  <a:lnTo>
                    <a:pt x="978" y="1256"/>
                  </a:lnTo>
                  <a:lnTo>
                    <a:pt x="978" y="1244"/>
                  </a:lnTo>
                  <a:lnTo>
                    <a:pt x="978" y="1244"/>
                  </a:lnTo>
                  <a:lnTo>
                    <a:pt x="978" y="1244"/>
                  </a:lnTo>
                  <a:close/>
                  <a:moveTo>
                    <a:pt x="2161" y="1263"/>
                  </a:moveTo>
                  <a:lnTo>
                    <a:pt x="2161" y="1273"/>
                  </a:lnTo>
                  <a:lnTo>
                    <a:pt x="2154" y="1263"/>
                  </a:lnTo>
                  <a:lnTo>
                    <a:pt x="2161" y="1263"/>
                  </a:lnTo>
                  <a:lnTo>
                    <a:pt x="2161" y="1263"/>
                  </a:lnTo>
                  <a:lnTo>
                    <a:pt x="2161" y="1263"/>
                  </a:lnTo>
                  <a:close/>
                  <a:moveTo>
                    <a:pt x="2183" y="1263"/>
                  </a:moveTo>
                  <a:lnTo>
                    <a:pt x="2183" y="1273"/>
                  </a:lnTo>
                  <a:lnTo>
                    <a:pt x="2178" y="1273"/>
                  </a:lnTo>
                  <a:lnTo>
                    <a:pt x="2166" y="1263"/>
                  </a:lnTo>
                  <a:lnTo>
                    <a:pt x="2183" y="1263"/>
                  </a:lnTo>
                  <a:lnTo>
                    <a:pt x="2183" y="1263"/>
                  </a:lnTo>
                  <a:lnTo>
                    <a:pt x="2183" y="1263"/>
                  </a:lnTo>
                  <a:close/>
                  <a:moveTo>
                    <a:pt x="2216" y="1273"/>
                  </a:moveTo>
                  <a:lnTo>
                    <a:pt x="2220" y="1273"/>
                  </a:lnTo>
                  <a:lnTo>
                    <a:pt x="2209" y="1280"/>
                  </a:lnTo>
                  <a:lnTo>
                    <a:pt x="2216" y="1273"/>
                  </a:lnTo>
                  <a:lnTo>
                    <a:pt x="2216" y="1273"/>
                  </a:lnTo>
                  <a:lnTo>
                    <a:pt x="2216" y="1273"/>
                  </a:lnTo>
                  <a:close/>
                  <a:moveTo>
                    <a:pt x="470" y="1313"/>
                  </a:moveTo>
                  <a:lnTo>
                    <a:pt x="449" y="1313"/>
                  </a:lnTo>
                  <a:lnTo>
                    <a:pt x="416" y="1289"/>
                  </a:lnTo>
                  <a:lnTo>
                    <a:pt x="423" y="1280"/>
                  </a:lnTo>
                  <a:lnTo>
                    <a:pt x="432" y="1296"/>
                  </a:lnTo>
                  <a:lnTo>
                    <a:pt x="470" y="1313"/>
                  </a:lnTo>
                  <a:lnTo>
                    <a:pt x="470" y="1313"/>
                  </a:lnTo>
                  <a:lnTo>
                    <a:pt x="470" y="1313"/>
                  </a:lnTo>
                  <a:close/>
                  <a:moveTo>
                    <a:pt x="1897" y="1296"/>
                  </a:moveTo>
                  <a:lnTo>
                    <a:pt x="1890" y="1301"/>
                  </a:lnTo>
                  <a:lnTo>
                    <a:pt x="1897" y="1289"/>
                  </a:lnTo>
                  <a:lnTo>
                    <a:pt x="1897" y="1296"/>
                  </a:lnTo>
                  <a:lnTo>
                    <a:pt x="1897" y="1296"/>
                  </a:lnTo>
                  <a:lnTo>
                    <a:pt x="1897" y="1296"/>
                  </a:lnTo>
                  <a:close/>
                  <a:moveTo>
                    <a:pt x="2199" y="1296"/>
                  </a:moveTo>
                  <a:lnTo>
                    <a:pt x="2192" y="1301"/>
                  </a:lnTo>
                  <a:lnTo>
                    <a:pt x="2199" y="1301"/>
                  </a:lnTo>
                  <a:lnTo>
                    <a:pt x="2192" y="1329"/>
                  </a:lnTo>
                  <a:lnTo>
                    <a:pt x="2178" y="1318"/>
                  </a:lnTo>
                  <a:lnTo>
                    <a:pt x="2192" y="1296"/>
                  </a:lnTo>
                  <a:lnTo>
                    <a:pt x="2192" y="1289"/>
                  </a:lnTo>
                  <a:lnTo>
                    <a:pt x="2199" y="1296"/>
                  </a:lnTo>
                  <a:lnTo>
                    <a:pt x="2199" y="1296"/>
                  </a:lnTo>
                  <a:lnTo>
                    <a:pt x="2199" y="1296"/>
                  </a:lnTo>
                  <a:close/>
                  <a:moveTo>
                    <a:pt x="2305" y="1301"/>
                  </a:moveTo>
                  <a:lnTo>
                    <a:pt x="2268" y="1318"/>
                  </a:lnTo>
                  <a:lnTo>
                    <a:pt x="2268" y="1313"/>
                  </a:lnTo>
                  <a:lnTo>
                    <a:pt x="2275" y="1301"/>
                  </a:lnTo>
                  <a:lnTo>
                    <a:pt x="2263" y="1301"/>
                  </a:lnTo>
                  <a:lnTo>
                    <a:pt x="2268" y="1296"/>
                  </a:lnTo>
                  <a:lnTo>
                    <a:pt x="2305" y="1301"/>
                  </a:lnTo>
                  <a:lnTo>
                    <a:pt x="2305" y="1301"/>
                  </a:lnTo>
                  <a:lnTo>
                    <a:pt x="2305" y="1301"/>
                  </a:lnTo>
                  <a:close/>
                  <a:moveTo>
                    <a:pt x="902" y="1301"/>
                  </a:moveTo>
                  <a:lnTo>
                    <a:pt x="902" y="1313"/>
                  </a:lnTo>
                  <a:lnTo>
                    <a:pt x="935" y="1313"/>
                  </a:lnTo>
                  <a:lnTo>
                    <a:pt x="935" y="1334"/>
                  </a:lnTo>
                  <a:lnTo>
                    <a:pt x="940" y="1351"/>
                  </a:lnTo>
                  <a:lnTo>
                    <a:pt x="898" y="1355"/>
                  </a:lnTo>
                  <a:lnTo>
                    <a:pt x="902" y="1367"/>
                  </a:lnTo>
                  <a:lnTo>
                    <a:pt x="898" y="1372"/>
                  </a:lnTo>
                  <a:lnTo>
                    <a:pt x="831" y="1346"/>
                  </a:lnTo>
                  <a:lnTo>
                    <a:pt x="810" y="1329"/>
                  </a:lnTo>
                  <a:lnTo>
                    <a:pt x="848" y="1318"/>
                  </a:lnTo>
                  <a:lnTo>
                    <a:pt x="869" y="1301"/>
                  </a:lnTo>
                  <a:lnTo>
                    <a:pt x="902" y="1301"/>
                  </a:lnTo>
                  <a:lnTo>
                    <a:pt x="902" y="1301"/>
                  </a:lnTo>
                  <a:lnTo>
                    <a:pt x="902" y="1301"/>
                  </a:lnTo>
                  <a:close/>
                  <a:moveTo>
                    <a:pt x="2376" y="1301"/>
                  </a:moveTo>
                  <a:lnTo>
                    <a:pt x="2376" y="1313"/>
                  </a:lnTo>
                  <a:lnTo>
                    <a:pt x="2360" y="1313"/>
                  </a:lnTo>
                  <a:lnTo>
                    <a:pt x="2376" y="1301"/>
                  </a:lnTo>
                  <a:lnTo>
                    <a:pt x="2376" y="1301"/>
                  </a:lnTo>
                  <a:lnTo>
                    <a:pt x="2376" y="1301"/>
                  </a:lnTo>
                  <a:close/>
                  <a:moveTo>
                    <a:pt x="2178" y="1301"/>
                  </a:moveTo>
                  <a:lnTo>
                    <a:pt x="2166" y="1313"/>
                  </a:lnTo>
                  <a:lnTo>
                    <a:pt x="2161" y="1313"/>
                  </a:lnTo>
                  <a:lnTo>
                    <a:pt x="2178" y="1301"/>
                  </a:lnTo>
                  <a:lnTo>
                    <a:pt x="2178" y="1301"/>
                  </a:lnTo>
                  <a:lnTo>
                    <a:pt x="2178" y="1301"/>
                  </a:lnTo>
                  <a:close/>
                  <a:moveTo>
                    <a:pt x="2246" y="1313"/>
                  </a:moveTo>
                  <a:lnTo>
                    <a:pt x="2209" y="1355"/>
                  </a:lnTo>
                  <a:lnTo>
                    <a:pt x="2178" y="1367"/>
                  </a:lnTo>
                  <a:lnTo>
                    <a:pt x="2183" y="1351"/>
                  </a:lnTo>
                  <a:lnTo>
                    <a:pt x="2216" y="1334"/>
                  </a:lnTo>
                  <a:lnTo>
                    <a:pt x="2230" y="1301"/>
                  </a:lnTo>
                  <a:lnTo>
                    <a:pt x="2246" y="1313"/>
                  </a:lnTo>
                  <a:lnTo>
                    <a:pt x="2246" y="1313"/>
                  </a:lnTo>
                  <a:lnTo>
                    <a:pt x="2246" y="1313"/>
                  </a:lnTo>
                  <a:close/>
                  <a:moveTo>
                    <a:pt x="2166" y="1329"/>
                  </a:moveTo>
                  <a:lnTo>
                    <a:pt x="2161" y="1346"/>
                  </a:lnTo>
                  <a:lnTo>
                    <a:pt x="2154" y="1346"/>
                  </a:lnTo>
                  <a:lnTo>
                    <a:pt x="2166" y="1329"/>
                  </a:lnTo>
                  <a:lnTo>
                    <a:pt x="2166" y="1329"/>
                  </a:lnTo>
                  <a:lnTo>
                    <a:pt x="2166" y="1329"/>
                  </a:lnTo>
                  <a:close/>
                  <a:moveTo>
                    <a:pt x="2183" y="1334"/>
                  </a:moveTo>
                  <a:lnTo>
                    <a:pt x="2161" y="1346"/>
                  </a:lnTo>
                  <a:lnTo>
                    <a:pt x="2178" y="1329"/>
                  </a:lnTo>
                  <a:lnTo>
                    <a:pt x="2183" y="1334"/>
                  </a:lnTo>
                  <a:lnTo>
                    <a:pt x="2183" y="1334"/>
                  </a:lnTo>
                  <a:lnTo>
                    <a:pt x="2183" y="1334"/>
                  </a:lnTo>
                  <a:close/>
                  <a:moveTo>
                    <a:pt x="1788" y="1407"/>
                  </a:moveTo>
                  <a:lnTo>
                    <a:pt x="1800" y="1412"/>
                  </a:lnTo>
                  <a:lnTo>
                    <a:pt x="1783" y="1412"/>
                  </a:lnTo>
                  <a:lnTo>
                    <a:pt x="1788" y="1407"/>
                  </a:lnTo>
                  <a:lnTo>
                    <a:pt x="1788" y="1407"/>
                  </a:lnTo>
                  <a:lnTo>
                    <a:pt x="1788" y="1407"/>
                  </a:lnTo>
                  <a:close/>
                  <a:moveTo>
                    <a:pt x="1247" y="1483"/>
                  </a:moveTo>
                  <a:lnTo>
                    <a:pt x="1280" y="1474"/>
                  </a:lnTo>
                  <a:lnTo>
                    <a:pt x="1264" y="1495"/>
                  </a:lnTo>
                  <a:lnTo>
                    <a:pt x="1259" y="1500"/>
                  </a:lnTo>
                  <a:lnTo>
                    <a:pt x="1247" y="1483"/>
                  </a:lnTo>
                  <a:lnTo>
                    <a:pt x="1247" y="1483"/>
                  </a:lnTo>
                  <a:lnTo>
                    <a:pt x="1247" y="1483"/>
                  </a:lnTo>
                  <a:close/>
                  <a:moveTo>
                    <a:pt x="1868" y="1495"/>
                  </a:moveTo>
                  <a:lnTo>
                    <a:pt x="1859" y="1511"/>
                  </a:lnTo>
                  <a:lnTo>
                    <a:pt x="1842" y="1500"/>
                  </a:lnTo>
                  <a:lnTo>
                    <a:pt x="1868" y="1495"/>
                  </a:lnTo>
                  <a:lnTo>
                    <a:pt x="1868" y="1495"/>
                  </a:lnTo>
                  <a:lnTo>
                    <a:pt x="1868" y="1495"/>
                  </a:lnTo>
                  <a:close/>
                  <a:moveTo>
                    <a:pt x="1842" y="1552"/>
                  </a:moveTo>
                  <a:lnTo>
                    <a:pt x="1831" y="1556"/>
                  </a:lnTo>
                  <a:lnTo>
                    <a:pt x="1805" y="1540"/>
                  </a:lnTo>
                  <a:lnTo>
                    <a:pt x="1831" y="1540"/>
                  </a:lnTo>
                  <a:lnTo>
                    <a:pt x="1814" y="1533"/>
                  </a:lnTo>
                  <a:lnTo>
                    <a:pt x="1838" y="1528"/>
                  </a:lnTo>
                  <a:lnTo>
                    <a:pt x="1838" y="1516"/>
                  </a:lnTo>
                  <a:lnTo>
                    <a:pt x="1842" y="1511"/>
                  </a:lnTo>
                  <a:lnTo>
                    <a:pt x="1859" y="1516"/>
                  </a:lnTo>
                  <a:lnTo>
                    <a:pt x="1868" y="1511"/>
                  </a:lnTo>
                  <a:lnTo>
                    <a:pt x="1890" y="1528"/>
                  </a:lnTo>
                  <a:lnTo>
                    <a:pt x="1885" y="1540"/>
                  </a:lnTo>
                  <a:lnTo>
                    <a:pt x="1875" y="1528"/>
                  </a:lnTo>
                  <a:lnTo>
                    <a:pt x="1868" y="1533"/>
                  </a:lnTo>
                  <a:lnTo>
                    <a:pt x="1875" y="1540"/>
                  </a:lnTo>
                  <a:lnTo>
                    <a:pt x="1852" y="1540"/>
                  </a:lnTo>
                  <a:lnTo>
                    <a:pt x="1842" y="1552"/>
                  </a:lnTo>
                  <a:lnTo>
                    <a:pt x="1842" y="1552"/>
                  </a:lnTo>
                  <a:lnTo>
                    <a:pt x="1842" y="1552"/>
                  </a:lnTo>
                  <a:close/>
                  <a:moveTo>
                    <a:pt x="3116" y="1606"/>
                  </a:moveTo>
                  <a:lnTo>
                    <a:pt x="3085" y="1516"/>
                  </a:lnTo>
                  <a:lnTo>
                    <a:pt x="3111" y="1540"/>
                  </a:lnTo>
                  <a:lnTo>
                    <a:pt x="3137" y="1540"/>
                  </a:lnTo>
                  <a:lnTo>
                    <a:pt x="3165" y="1589"/>
                  </a:lnTo>
                  <a:lnTo>
                    <a:pt x="3132" y="1552"/>
                  </a:lnTo>
                  <a:lnTo>
                    <a:pt x="3132" y="1573"/>
                  </a:lnTo>
                  <a:lnTo>
                    <a:pt x="3165" y="1611"/>
                  </a:lnTo>
                  <a:lnTo>
                    <a:pt x="3149" y="1611"/>
                  </a:lnTo>
                  <a:lnTo>
                    <a:pt x="3165" y="1622"/>
                  </a:lnTo>
                  <a:lnTo>
                    <a:pt x="3153" y="1627"/>
                  </a:lnTo>
                  <a:lnTo>
                    <a:pt x="3137" y="1622"/>
                  </a:lnTo>
                  <a:lnTo>
                    <a:pt x="3149" y="1639"/>
                  </a:lnTo>
                  <a:lnTo>
                    <a:pt x="3116" y="1660"/>
                  </a:lnTo>
                  <a:lnTo>
                    <a:pt x="3111" y="1639"/>
                  </a:lnTo>
                  <a:lnTo>
                    <a:pt x="3116" y="1622"/>
                  </a:lnTo>
                  <a:lnTo>
                    <a:pt x="3132" y="1627"/>
                  </a:lnTo>
                  <a:lnTo>
                    <a:pt x="3116" y="1611"/>
                  </a:lnTo>
                  <a:lnTo>
                    <a:pt x="3132" y="1606"/>
                  </a:lnTo>
                  <a:lnTo>
                    <a:pt x="3116" y="1606"/>
                  </a:lnTo>
                  <a:lnTo>
                    <a:pt x="3116" y="1606"/>
                  </a:lnTo>
                  <a:lnTo>
                    <a:pt x="3116" y="1606"/>
                  </a:lnTo>
                  <a:close/>
                  <a:moveTo>
                    <a:pt x="3040" y="1516"/>
                  </a:moveTo>
                  <a:lnTo>
                    <a:pt x="3047" y="1516"/>
                  </a:lnTo>
                  <a:lnTo>
                    <a:pt x="3031" y="1516"/>
                  </a:lnTo>
                  <a:lnTo>
                    <a:pt x="3040" y="1516"/>
                  </a:lnTo>
                  <a:lnTo>
                    <a:pt x="3040" y="1516"/>
                  </a:lnTo>
                  <a:lnTo>
                    <a:pt x="3040" y="1516"/>
                  </a:lnTo>
                  <a:close/>
                  <a:moveTo>
                    <a:pt x="3116" y="1516"/>
                  </a:moveTo>
                  <a:lnTo>
                    <a:pt x="3132" y="1533"/>
                  </a:lnTo>
                  <a:lnTo>
                    <a:pt x="3111" y="1528"/>
                  </a:lnTo>
                  <a:lnTo>
                    <a:pt x="3116" y="1516"/>
                  </a:lnTo>
                  <a:lnTo>
                    <a:pt x="3116" y="1516"/>
                  </a:lnTo>
                  <a:lnTo>
                    <a:pt x="3116" y="1516"/>
                  </a:lnTo>
                  <a:close/>
                  <a:moveTo>
                    <a:pt x="3078" y="1585"/>
                  </a:moveTo>
                  <a:lnTo>
                    <a:pt x="3023" y="1556"/>
                  </a:lnTo>
                  <a:lnTo>
                    <a:pt x="3061" y="1589"/>
                  </a:lnTo>
                  <a:lnTo>
                    <a:pt x="3085" y="1585"/>
                  </a:lnTo>
                  <a:lnTo>
                    <a:pt x="3094" y="1594"/>
                  </a:lnTo>
                  <a:lnTo>
                    <a:pt x="3094" y="1611"/>
                  </a:lnTo>
                  <a:lnTo>
                    <a:pt x="3078" y="1611"/>
                  </a:lnTo>
                  <a:lnTo>
                    <a:pt x="3023" y="1585"/>
                  </a:lnTo>
                  <a:lnTo>
                    <a:pt x="3047" y="1594"/>
                  </a:lnTo>
                  <a:lnTo>
                    <a:pt x="3047" y="1611"/>
                  </a:lnTo>
                  <a:lnTo>
                    <a:pt x="3031" y="1622"/>
                  </a:lnTo>
                  <a:lnTo>
                    <a:pt x="3023" y="1622"/>
                  </a:lnTo>
                  <a:lnTo>
                    <a:pt x="3019" y="1606"/>
                  </a:lnTo>
                  <a:lnTo>
                    <a:pt x="3031" y="1611"/>
                  </a:lnTo>
                  <a:lnTo>
                    <a:pt x="3009" y="1594"/>
                  </a:lnTo>
                  <a:lnTo>
                    <a:pt x="3019" y="1594"/>
                  </a:lnTo>
                  <a:lnTo>
                    <a:pt x="2986" y="1573"/>
                  </a:lnTo>
                  <a:lnTo>
                    <a:pt x="2993" y="1556"/>
                  </a:lnTo>
                  <a:lnTo>
                    <a:pt x="3009" y="1573"/>
                  </a:lnTo>
                  <a:lnTo>
                    <a:pt x="2986" y="1540"/>
                  </a:lnTo>
                  <a:lnTo>
                    <a:pt x="2986" y="1533"/>
                  </a:lnTo>
                  <a:lnTo>
                    <a:pt x="3002" y="1552"/>
                  </a:lnTo>
                  <a:lnTo>
                    <a:pt x="3002" y="1533"/>
                  </a:lnTo>
                  <a:lnTo>
                    <a:pt x="3031" y="1528"/>
                  </a:lnTo>
                  <a:lnTo>
                    <a:pt x="3047" y="1540"/>
                  </a:lnTo>
                  <a:lnTo>
                    <a:pt x="3040" y="1552"/>
                  </a:lnTo>
                  <a:lnTo>
                    <a:pt x="3031" y="1552"/>
                  </a:lnTo>
                  <a:lnTo>
                    <a:pt x="3031" y="1556"/>
                  </a:lnTo>
                  <a:lnTo>
                    <a:pt x="3040" y="1556"/>
                  </a:lnTo>
                  <a:lnTo>
                    <a:pt x="3057" y="1540"/>
                  </a:lnTo>
                  <a:lnTo>
                    <a:pt x="3085" y="1556"/>
                  </a:lnTo>
                  <a:lnTo>
                    <a:pt x="3085" y="1573"/>
                  </a:lnTo>
                  <a:lnTo>
                    <a:pt x="3073" y="1568"/>
                  </a:lnTo>
                  <a:lnTo>
                    <a:pt x="3085" y="1573"/>
                  </a:lnTo>
                  <a:lnTo>
                    <a:pt x="3078" y="1585"/>
                  </a:lnTo>
                  <a:lnTo>
                    <a:pt x="3078" y="1585"/>
                  </a:lnTo>
                  <a:lnTo>
                    <a:pt x="3078" y="1585"/>
                  </a:lnTo>
                  <a:close/>
                  <a:moveTo>
                    <a:pt x="1805" y="1540"/>
                  </a:moveTo>
                  <a:lnTo>
                    <a:pt x="1831" y="1556"/>
                  </a:lnTo>
                  <a:lnTo>
                    <a:pt x="1788" y="1552"/>
                  </a:lnTo>
                  <a:lnTo>
                    <a:pt x="1805" y="1540"/>
                  </a:lnTo>
                  <a:lnTo>
                    <a:pt x="1805" y="1540"/>
                  </a:lnTo>
                  <a:lnTo>
                    <a:pt x="1805" y="1540"/>
                  </a:lnTo>
                  <a:close/>
                  <a:moveTo>
                    <a:pt x="2976" y="1552"/>
                  </a:moveTo>
                  <a:lnTo>
                    <a:pt x="2993" y="1556"/>
                  </a:lnTo>
                  <a:lnTo>
                    <a:pt x="2986" y="1573"/>
                  </a:lnTo>
                  <a:lnTo>
                    <a:pt x="2976" y="1556"/>
                  </a:lnTo>
                  <a:lnTo>
                    <a:pt x="2976" y="1552"/>
                  </a:lnTo>
                  <a:lnTo>
                    <a:pt x="2976" y="1552"/>
                  </a:lnTo>
                  <a:lnTo>
                    <a:pt x="2976" y="1552"/>
                  </a:lnTo>
                  <a:close/>
                  <a:moveTo>
                    <a:pt x="1783" y="1594"/>
                  </a:moveTo>
                  <a:lnTo>
                    <a:pt x="1762" y="1589"/>
                  </a:lnTo>
                  <a:lnTo>
                    <a:pt x="1762" y="1573"/>
                  </a:lnTo>
                  <a:lnTo>
                    <a:pt x="1767" y="1568"/>
                  </a:lnTo>
                  <a:lnTo>
                    <a:pt x="1783" y="1573"/>
                  </a:lnTo>
                  <a:lnTo>
                    <a:pt x="1788" y="1594"/>
                  </a:lnTo>
                  <a:lnTo>
                    <a:pt x="1800" y="1589"/>
                  </a:lnTo>
                  <a:lnTo>
                    <a:pt x="1788" y="1573"/>
                  </a:lnTo>
                  <a:lnTo>
                    <a:pt x="1821" y="1573"/>
                  </a:lnTo>
                  <a:lnTo>
                    <a:pt x="1805" y="1556"/>
                  </a:lnTo>
                  <a:lnTo>
                    <a:pt x="1838" y="1568"/>
                  </a:lnTo>
                  <a:lnTo>
                    <a:pt x="1831" y="1573"/>
                  </a:lnTo>
                  <a:lnTo>
                    <a:pt x="1831" y="1589"/>
                  </a:lnTo>
                  <a:lnTo>
                    <a:pt x="1838" y="1573"/>
                  </a:lnTo>
                  <a:lnTo>
                    <a:pt x="1859" y="1568"/>
                  </a:lnTo>
                  <a:lnTo>
                    <a:pt x="1868" y="1573"/>
                  </a:lnTo>
                  <a:lnTo>
                    <a:pt x="1852" y="1589"/>
                  </a:lnTo>
                  <a:lnTo>
                    <a:pt x="1859" y="1594"/>
                  </a:lnTo>
                  <a:lnTo>
                    <a:pt x="1885" y="1594"/>
                  </a:lnTo>
                  <a:lnTo>
                    <a:pt x="1868" y="1622"/>
                  </a:lnTo>
                  <a:lnTo>
                    <a:pt x="1838" y="1606"/>
                  </a:lnTo>
                  <a:lnTo>
                    <a:pt x="1821" y="1611"/>
                  </a:lnTo>
                  <a:lnTo>
                    <a:pt x="1852" y="1622"/>
                  </a:lnTo>
                  <a:lnTo>
                    <a:pt x="1842" y="1627"/>
                  </a:lnTo>
                  <a:lnTo>
                    <a:pt x="1814" y="1627"/>
                  </a:lnTo>
                  <a:lnTo>
                    <a:pt x="1821" y="1639"/>
                  </a:lnTo>
                  <a:lnTo>
                    <a:pt x="1767" y="1651"/>
                  </a:lnTo>
                  <a:lnTo>
                    <a:pt x="1783" y="1660"/>
                  </a:lnTo>
                  <a:lnTo>
                    <a:pt x="1750" y="1684"/>
                  </a:lnTo>
                  <a:lnTo>
                    <a:pt x="1746" y="1684"/>
                  </a:lnTo>
                  <a:lnTo>
                    <a:pt x="1767" y="1660"/>
                  </a:lnTo>
                  <a:lnTo>
                    <a:pt x="1750" y="1667"/>
                  </a:lnTo>
                  <a:lnTo>
                    <a:pt x="1767" y="1644"/>
                  </a:lnTo>
                  <a:lnTo>
                    <a:pt x="1746" y="1667"/>
                  </a:lnTo>
                  <a:lnTo>
                    <a:pt x="1750" y="1651"/>
                  </a:lnTo>
                  <a:lnTo>
                    <a:pt x="1724" y="1644"/>
                  </a:lnTo>
                  <a:lnTo>
                    <a:pt x="1724" y="1651"/>
                  </a:lnTo>
                  <a:lnTo>
                    <a:pt x="1746" y="1651"/>
                  </a:lnTo>
                  <a:lnTo>
                    <a:pt x="1729" y="1677"/>
                  </a:lnTo>
                  <a:lnTo>
                    <a:pt x="1712" y="1660"/>
                  </a:lnTo>
                  <a:lnTo>
                    <a:pt x="1708" y="1639"/>
                  </a:lnTo>
                  <a:lnTo>
                    <a:pt x="1696" y="1627"/>
                  </a:lnTo>
                  <a:lnTo>
                    <a:pt x="1708" y="1606"/>
                  </a:lnTo>
                  <a:lnTo>
                    <a:pt x="1734" y="1589"/>
                  </a:lnTo>
                  <a:lnTo>
                    <a:pt x="1750" y="1594"/>
                  </a:lnTo>
                  <a:lnTo>
                    <a:pt x="1762" y="1622"/>
                  </a:lnTo>
                  <a:lnTo>
                    <a:pt x="1776" y="1639"/>
                  </a:lnTo>
                  <a:lnTo>
                    <a:pt x="1767" y="1622"/>
                  </a:lnTo>
                  <a:lnTo>
                    <a:pt x="1762" y="1594"/>
                  </a:lnTo>
                  <a:lnTo>
                    <a:pt x="1783" y="1594"/>
                  </a:lnTo>
                  <a:lnTo>
                    <a:pt x="1783" y="1594"/>
                  </a:lnTo>
                  <a:lnTo>
                    <a:pt x="1783" y="1594"/>
                  </a:lnTo>
                  <a:close/>
                  <a:moveTo>
                    <a:pt x="1868" y="1568"/>
                  </a:moveTo>
                  <a:lnTo>
                    <a:pt x="1859" y="1568"/>
                  </a:lnTo>
                  <a:lnTo>
                    <a:pt x="1868" y="1568"/>
                  </a:lnTo>
                  <a:lnTo>
                    <a:pt x="1868" y="1568"/>
                  </a:lnTo>
                  <a:lnTo>
                    <a:pt x="1868" y="1568"/>
                  </a:lnTo>
                  <a:close/>
                  <a:moveTo>
                    <a:pt x="1788" y="1556"/>
                  </a:moveTo>
                  <a:lnTo>
                    <a:pt x="1805" y="1573"/>
                  </a:lnTo>
                  <a:lnTo>
                    <a:pt x="1783" y="1568"/>
                  </a:lnTo>
                  <a:lnTo>
                    <a:pt x="1788" y="1556"/>
                  </a:lnTo>
                  <a:lnTo>
                    <a:pt x="1788" y="1556"/>
                  </a:lnTo>
                  <a:lnTo>
                    <a:pt x="1788" y="1556"/>
                  </a:lnTo>
                  <a:close/>
                  <a:moveTo>
                    <a:pt x="3111" y="1705"/>
                  </a:moveTo>
                  <a:lnTo>
                    <a:pt x="3111" y="1750"/>
                  </a:lnTo>
                  <a:lnTo>
                    <a:pt x="3078" y="1705"/>
                  </a:lnTo>
                  <a:lnTo>
                    <a:pt x="3094" y="1693"/>
                  </a:lnTo>
                  <a:lnTo>
                    <a:pt x="3078" y="1700"/>
                  </a:lnTo>
                  <a:lnTo>
                    <a:pt x="3073" y="1693"/>
                  </a:lnTo>
                  <a:lnTo>
                    <a:pt x="3078" y="1677"/>
                  </a:lnTo>
                  <a:lnTo>
                    <a:pt x="3057" y="1677"/>
                  </a:lnTo>
                  <a:lnTo>
                    <a:pt x="3057" y="1644"/>
                  </a:lnTo>
                  <a:lnTo>
                    <a:pt x="3061" y="1639"/>
                  </a:lnTo>
                  <a:lnTo>
                    <a:pt x="3047" y="1639"/>
                  </a:lnTo>
                  <a:lnTo>
                    <a:pt x="3040" y="1622"/>
                  </a:lnTo>
                  <a:lnTo>
                    <a:pt x="3047" y="1622"/>
                  </a:lnTo>
                  <a:lnTo>
                    <a:pt x="3047" y="1606"/>
                  </a:lnTo>
                  <a:lnTo>
                    <a:pt x="3057" y="1606"/>
                  </a:lnTo>
                  <a:lnTo>
                    <a:pt x="3085" y="1622"/>
                  </a:lnTo>
                  <a:lnTo>
                    <a:pt x="3099" y="1644"/>
                  </a:lnTo>
                  <a:lnTo>
                    <a:pt x="3111" y="1705"/>
                  </a:lnTo>
                  <a:lnTo>
                    <a:pt x="3111" y="1705"/>
                  </a:lnTo>
                  <a:lnTo>
                    <a:pt x="3111" y="1705"/>
                  </a:lnTo>
                  <a:close/>
                  <a:moveTo>
                    <a:pt x="3094" y="1622"/>
                  </a:moveTo>
                  <a:lnTo>
                    <a:pt x="3099" y="1627"/>
                  </a:lnTo>
                  <a:lnTo>
                    <a:pt x="3085" y="1622"/>
                  </a:lnTo>
                  <a:lnTo>
                    <a:pt x="3094" y="1622"/>
                  </a:lnTo>
                  <a:lnTo>
                    <a:pt x="3094" y="1622"/>
                  </a:lnTo>
                  <a:lnTo>
                    <a:pt x="3094" y="1622"/>
                  </a:lnTo>
                  <a:close/>
                  <a:moveTo>
                    <a:pt x="3031" y="1627"/>
                  </a:moveTo>
                  <a:lnTo>
                    <a:pt x="3047" y="1639"/>
                  </a:lnTo>
                  <a:lnTo>
                    <a:pt x="3047" y="1644"/>
                  </a:lnTo>
                  <a:lnTo>
                    <a:pt x="3040" y="1660"/>
                  </a:lnTo>
                  <a:lnTo>
                    <a:pt x="3023" y="1660"/>
                  </a:lnTo>
                  <a:lnTo>
                    <a:pt x="3031" y="1644"/>
                  </a:lnTo>
                  <a:lnTo>
                    <a:pt x="3023" y="1644"/>
                  </a:lnTo>
                  <a:lnTo>
                    <a:pt x="3023" y="1627"/>
                  </a:lnTo>
                  <a:lnTo>
                    <a:pt x="3031" y="1627"/>
                  </a:lnTo>
                  <a:lnTo>
                    <a:pt x="3031" y="1627"/>
                  </a:lnTo>
                  <a:lnTo>
                    <a:pt x="3031" y="1627"/>
                  </a:lnTo>
                  <a:close/>
                  <a:moveTo>
                    <a:pt x="612" y="1651"/>
                  </a:moveTo>
                  <a:lnTo>
                    <a:pt x="600" y="1644"/>
                  </a:lnTo>
                  <a:lnTo>
                    <a:pt x="616" y="1639"/>
                  </a:lnTo>
                  <a:lnTo>
                    <a:pt x="612" y="1651"/>
                  </a:lnTo>
                  <a:lnTo>
                    <a:pt x="612" y="1651"/>
                  </a:lnTo>
                  <a:lnTo>
                    <a:pt x="612" y="1651"/>
                  </a:lnTo>
                  <a:close/>
                  <a:moveTo>
                    <a:pt x="1831" y="1644"/>
                  </a:moveTo>
                  <a:lnTo>
                    <a:pt x="1800" y="1660"/>
                  </a:lnTo>
                  <a:lnTo>
                    <a:pt x="1788" y="1651"/>
                  </a:lnTo>
                  <a:lnTo>
                    <a:pt x="1805" y="1639"/>
                  </a:lnTo>
                  <a:lnTo>
                    <a:pt x="1831" y="1644"/>
                  </a:lnTo>
                  <a:lnTo>
                    <a:pt x="1831" y="1644"/>
                  </a:lnTo>
                  <a:lnTo>
                    <a:pt x="1831" y="1644"/>
                  </a:lnTo>
                  <a:close/>
                  <a:moveTo>
                    <a:pt x="3220" y="1660"/>
                  </a:moveTo>
                  <a:lnTo>
                    <a:pt x="3236" y="1677"/>
                  </a:lnTo>
                  <a:lnTo>
                    <a:pt x="3224" y="1700"/>
                  </a:lnTo>
                  <a:lnTo>
                    <a:pt x="3203" y="1677"/>
                  </a:lnTo>
                  <a:lnTo>
                    <a:pt x="3220" y="1705"/>
                  </a:lnTo>
                  <a:lnTo>
                    <a:pt x="3186" y="1717"/>
                  </a:lnTo>
                  <a:lnTo>
                    <a:pt x="3182" y="1717"/>
                  </a:lnTo>
                  <a:lnTo>
                    <a:pt x="3182" y="1677"/>
                  </a:lnTo>
                  <a:lnTo>
                    <a:pt x="3165" y="1667"/>
                  </a:lnTo>
                  <a:lnTo>
                    <a:pt x="3170" y="1667"/>
                  </a:lnTo>
                  <a:lnTo>
                    <a:pt x="3153" y="1660"/>
                  </a:lnTo>
                  <a:lnTo>
                    <a:pt x="3165" y="1651"/>
                  </a:lnTo>
                  <a:lnTo>
                    <a:pt x="3220" y="1660"/>
                  </a:lnTo>
                  <a:lnTo>
                    <a:pt x="3220" y="1660"/>
                  </a:lnTo>
                  <a:lnTo>
                    <a:pt x="3220" y="1660"/>
                  </a:lnTo>
                  <a:close/>
                  <a:moveTo>
                    <a:pt x="3137" y="1733"/>
                  </a:moveTo>
                  <a:lnTo>
                    <a:pt x="3132" y="1722"/>
                  </a:lnTo>
                  <a:lnTo>
                    <a:pt x="3137" y="1722"/>
                  </a:lnTo>
                  <a:lnTo>
                    <a:pt x="3149" y="1722"/>
                  </a:lnTo>
                  <a:lnTo>
                    <a:pt x="3149" y="1705"/>
                  </a:lnTo>
                  <a:lnTo>
                    <a:pt x="3132" y="1705"/>
                  </a:lnTo>
                  <a:lnTo>
                    <a:pt x="3127" y="1677"/>
                  </a:lnTo>
                  <a:lnTo>
                    <a:pt x="3149" y="1677"/>
                  </a:lnTo>
                  <a:lnTo>
                    <a:pt x="3132" y="1667"/>
                  </a:lnTo>
                  <a:lnTo>
                    <a:pt x="3153" y="1677"/>
                  </a:lnTo>
                  <a:lnTo>
                    <a:pt x="3165" y="1684"/>
                  </a:lnTo>
                  <a:lnTo>
                    <a:pt x="3153" y="1700"/>
                  </a:lnTo>
                  <a:lnTo>
                    <a:pt x="3165" y="1684"/>
                  </a:lnTo>
                  <a:lnTo>
                    <a:pt x="3170" y="1684"/>
                  </a:lnTo>
                  <a:lnTo>
                    <a:pt x="3182" y="1700"/>
                  </a:lnTo>
                  <a:lnTo>
                    <a:pt x="3165" y="1700"/>
                  </a:lnTo>
                  <a:lnTo>
                    <a:pt x="3165" y="1733"/>
                  </a:lnTo>
                  <a:lnTo>
                    <a:pt x="3153" y="1722"/>
                  </a:lnTo>
                  <a:lnTo>
                    <a:pt x="3153" y="1738"/>
                  </a:lnTo>
                  <a:lnTo>
                    <a:pt x="3165" y="1738"/>
                  </a:lnTo>
                  <a:lnTo>
                    <a:pt x="3153" y="1755"/>
                  </a:lnTo>
                  <a:lnTo>
                    <a:pt x="3149" y="1755"/>
                  </a:lnTo>
                  <a:lnTo>
                    <a:pt x="3149" y="1733"/>
                  </a:lnTo>
                  <a:lnTo>
                    <a:pt x="3149" y="1762"/>
                  </a:lnTo>
                  <a:lnTo>
                    <a:pt x="3137" y="1762"/>
                  </a:lnTo>
                  <a:lnTo>
                    <a:pt x="3137" y="1733"/>
                  </a:lnTo>
                  <a:lnTo>
                    <a:pt x="3137" y="1733"/>
                  </a:lnTo>
                  <a:lnTo>
                    <a:pt x="3137" y="1733"/>
                  </a:lnTo>
                  <a:close/>
                  <a:moveTo>
                    <a:pt x="3241" y="1684"/>
                  </a:moveTo>
                  <a:lnTo>
                    <a:pt x="3257" y="1705"/>
                  </a:lnTo>
                  <a:lnTo>
                    <a:pt x="3224" y="1705"/>
                  </a:lnTo>
                  <a:lnTo>
                    <a:pt x="3236" y="1684"/>
                  </a:lnTo>
                  <a:lnTo>
                    <a:pt x="3241" y="1684"/>
                  </a:lnTo>
                  <a:lnTo>
                    <a:pt x="3241" y="1684"/>
                  </a:lnTo>
                  <a:lnTo>
                    <a:pt x="3241" y="1684"/>
                  </a:lnTo>
                  <a:close/>
                  <a:moveTo>
                    <a:pt x="654" y="1705"/>
                  </a:moveTo>
                  <a:lnTo>
                    <a:pt x="638" y="1700"/>
                  </a:lnTo>
                  <a:lnTo>
                    <a:pt x="664" y="1700"/>
                  </a:lnTo>
                  <a:lnTo>
                    <a:pt x="654" y="1705"/>
                  </a:lnTo>
                  <a:lnTo>
                    <a:pt x="654" y="1705"/>
                  </a:lnTo>
                  <a:lnTo>
                    <a:pt x="654" y="1705"/>
                  </a:lnTo>
                  <a:close/>
                  <a:moveTo>
                    <a:pt x="1746" y="1700"/>
                  </a:moveTo>
                  <a:lnTo>
                    <a:pt x="1734" y="1717"/>
                  </a:lnTo>
                  <a:lnTo>
                    <a:pt x="1729" y="1705"/>
                  </a:lnTo>
                  <a:lnTo>
                    <a:pt x="1746" y="1700"/>
                  </a:lnTo>
                  <a:lnTo>
                    <a:pt x="1746" y="1700"/>
                  </a:lnTo>
                  <a:lnTo>
                    <a:pt x="1746" y="1700"/>
                  </a:lnTo>
                  <a:close/>
                  <a:moveTo>
                    <a:pt x="1724" y="1700"/>
                  </a:moveTo>
                  <a:lnTo>
                    <a:pt x="1696" y="1722"/>
                  </a:lnTo>
                  <a:lnTo>
                    <a:pt x="1696" y="1705"/>
                  </a:lnTo>
                  <a:lnTo>
                    <a:pt x="1724" y="1700"/>
                  </a:lnTo>
                  <a:lnTo>
                    <a:pt x="1724" y="1700"/>
                  </a:lnTo>
                  <a:lnTo>
                    <a:pt x="1724" y="1700"/>
                  </a:lnTo>
                  <a:close/>
                  <a:moveTo>
                    <a:pt x="1528" y="1700"/>
                  </a:moveTo>
                  <a:lnTo>
                    <a:pt x="1545" y="1705"/>
                  </a:lnTo>
                  <a:lnTo>
                    <a:pt x="1519" y="1705"/>
                  </a:lnTo>
                  <a:lnTo>
                    <a:pt x="1528" y="1700"/>
                  </a:lnTo>
                  <a:lnTo>
                    <a:pt x="1528" y="1700"/>
                  </a:lnTo>
                  <a:lnTo>
                    <a:pt x="1528" y="1700"/>
                  </a:lnTo>
                  <a:close/>
                  <a:moveTo>
                    <a:pt x="3288" y="1755"/>
                  </a:moveTo>
                  <a:lnTo>
                    <a:pt x="3274" y="1733"/>
                  </a:lnTo>
                  <a:lnTo>
                    <a:pt x="3274" y="1717"/>
                  </a:lnTo>
                  <a:lnTo>
                    <a:pt x="3295" y="1733"/>
                  </a:lnTo>
                  <a:lnTo>
                    <a:pt x="3295" y="1738"/>
                  </a:lnTo>
                  <a:lnTo>
                    <a:pt x="3288" y="1755"/>
                  </a:lnTo>
                  <a:lnTo>
                    <a:pt x="3288" y="1755"/>
                  </a:lnTo>
                  <a:lnTo>
                    <a:pt x="3288" y="1755"/>
                  </a:lnTo>
                  <a:close/>
                  <a:moveTo>
                    <a:pt x="3236" y="1738"/>
                  </a:moveTo>
                  <a:lnTo>
                    <a:pt x="3220" y="1733"/>
                  </a:lnTo>
                  <a:lnTo>
                    <a:pt x="3236" y="1717"/>
                  </a:lnTo>
                  <a:lnTo>
                    <a:pt x="3246" y="1717"/>
                  </a:lnTo>
                  <a:lnTo>
                    <a:pt x="3246" y="1733"/>
                  </a:lnTo>
                  <a:lnTo>
                    <a:pt x="3236" y="1738"/>
                  </a:lnTo>
                  <a:lnTo>
                    <a:pt x="3236" y="1738"/>
                  </a:lnTo>
                  <a:lnTo>
                    <a:pt x="3236" y="1738"/>
                  </a:lnTo>
                  <a:close/>
                  <a:moveTo>
                    <a:pt x="3262" y="1717"/>
                  </a:moveTo>
                  <a:lnTo>
                    <a:pt x="3262" y="1722"/>
                  </a:lnTo>
                  <a:lnTo>
                    <a:pt x="3257" y="1722"/>
                  </a:lnTo>
                  <a:lnTo>
                    <a:pt x="3262" y="1717"/>
                  </a:lnTo>
                  <a:lnTo>
                    <a:pt x="3262" y="1717"/>
                  </a:lnTo>
                  <a:lnTo>
                    <a:pt x="3262" y="1717"/>
                  </a:lnTo>
                  <a:close/>
                  <a:moveTo>
                    <a:pt x="3274" y="1771"/>
                  </a:moveTo>
                  <a:lnTo>
                    <a:pt x="3262" y="1755"/>
                  </a:lnTo>
                  <a:lnTo>
                    <a:pt x="3246" y="1755"/>
                  </a:lnTo>
                  <a:lnTo>
                    <a:pt x="3246" y="1738"/>
                  </a:lnTo>
                  <a:lnTo>
                    <a:pt x="3262" y="1722"/>
                  </a:lnTo>
                  <a:lnTo>
                    <a:pt x="3262" y="1738"/>
                  </a:lnTo>
                  <a:lnTo>
                    <a:pt x="3288" y="1755"/>
                  </a:lnTo>
                  <a:lnTo>
                    <a:pt x="3288" y="1771"/>
                  </a:lnTo>
                  <a:lnTo>
                    <a:pt x="3274" y="1771"/>
                  </a:lnTo>
                  <a:lnTo>
                    <a:pt x="3274" y="1771"/>
                  </a:lnTo>
                  <a:lnTo>
                    <a:pt x="3274" y="1771"/>
                  </a:lnTo>
                  <a:close/>
                  <a:moveTo>
                    <a:pt x="3288" y="1816"/>
                  </a:moveTo>
                  <a:lnTo>
                    <a:pt x="3257" y="1804"/>
                  </a:lnTo>
                  <a:lnTo>
                    <a:pt x="3257" y="1811"/>
                  </a:lnTo>
                  <a:lnTo>
                    <a:pt x="3279" y="1816"/>
                  </a:lnTo>
                  <a:lnTo>
                    <a:pt x="3288" y="1833"/>
                  </a:lnTo>
                  <a:lnTo>
                    <a:pt x="3279" y="1844"/>
                  </a:lnTo>
                  <a:lnTo>
                    <a:pt x="3295" y="1833"/>
                  </a:lnTo>
                  <a:lnTo>
                    <a:pt x="3295" y="1849"/>
                  </a:lnTo>
                  <a:lnTo>
                    <a:pt x="3279" y="1866"/>
                  </a:lnTo>
                  <a:lnTo>
                    <a:pt x="3295" y="1861"/>
                  </a:lnTo>
                  <a:lnTo>
                    <a:pt x="3295" y="1899"/>
                  </a:lnTo>
                  <a:lnTo>
                    <a:pt x="3274" y="1889"/>
                  </a:lnTo>
                  <a:lnTo>
                    <a:pt x="3279" y="1882"/>
                  </a:lnTo>
                  <a:lnTo>
                    <a:pt x="3262" y="1866"/>
                  </a:lnTo>
                  <a:lnTo>
                    <a:pt x="3257" y="1866"/>
                  </a:lnTo>
                  <a:lnTo>
                    <a:pt x="3257" y="1849"/>
                  </a:lnTo>
                  <a:lnTo>
                    <a:pt x="3246" y="1833"/>
                  </a:lnTo>
                  <a:lnTo>
                    <a:pt x="3246" y="1849"/>
                  </a:lnTo>
                  <a:lnTo>
                    <a:pt x="3241" y="1844"/>
                  </a:lnTo>
                  <a:lnTo>
                    <a:pt x="3224" y="1844"/>
                  </a:lnTo>
                  <a:lnTo>
                    <a:pt x="3236" y="1833"/>
                  </a:lnTo>
                  <a:lnTo>
                    <a:pt x="3208" y="1833"/>
                  </a:lnTo>
                  <a:lnTo>
                    <a:pt x="3208" y="1828"/>
                  </a:lnTo>
                  <a:lnTo>
                    <a:pt x="3236" y="1828"/>
                  </a:lnTo>
                  <a:lnTo>
                    <a:pt x="3220" y="1811"/>
                  </a:lnTo>
                  <a:lnTo>
                    <a:pt x="3236" y="1804"/>
                  </a:lnTo>
                  <a:lnTo>
                    <a:pt x="3203" y="1804"/>
                  </a:lnTo>
                  <a:lnTo>
                    <a:pt x="3203" y="1788"/>
                  </a:lnTo>
                  <a:lnTo>
                    <a:pt x="3208" y="1788"/>
                  </a:lnTo>
                  <a:lnTo>
                    <a:pt x="3220" y="1771"/>
                  </a:lnTo>
                  <a:lnTo>
                    <a:pt x="3208" y="1771"/>
                  </a:lnTo>
                  <a:lnTo>
                    <a:pt x="3208" y="1750"/>
                  </a:lnTo>
                  <a:lnTo>
                    <a:pt x="3182" y="1738"/>
                  </a:lnTo>
                  <a:lnTo>
                    <a:pt x="3182" y="1733"/>
                  </a:lnTo>
                  <a:lnTo>
                    <a:pt x="3208" y="1733"/>
                  </a:lnTo>
                  <a:lnTo>
                    <a:pt x="3224" y="1750"/>
                  </a:lnTo>
                  <a:lnTo>
                    <a:pt x="3220" y="1750"/>
                  </a:lnTo>
                  <a:lnTo>
                    <a:pt x="3220" y="1755"/>
                  </a:lnTo>
                  <a:lnTo>
                    <a:pt x="3246" y="1771"/>
                  </a:lnTo>
                  <a:lnTo>
                    <a:pt x="3288" y="1816"/>
                  </a:lnTo>
                  <a:lnTo>
                    <a:pt x="3288" y="1816"/>
                  </a:lnTo>
                  <a:lnTo>
                    <a:pt x="3288" y="1816"/>
                  </a:lnTo>
                  <a:close/>
                  <a:moveTo>
                    <a:pt x="3203" y="1750"/>
                  </a:moveTo>
                  <a:lnTo>
                    <a:pt x="3203" y="1762"/>
                  </a:lnTo>
                  <a:lnTo>
                    <a:pt x="3170" y="1771"/>
                  </a:lnTo>
                  <a:lnTo>
                    <a:pt x="3186" y="1750"/>
                  </a:lnTo>
                  <a:lnTo>
                    <a:pt x="3203" y="1750"/>
                  </a:lnTo>
                  <a:lnTo>
                    <a:pt x="3203" y="1750"/>
                  </a:lnTo>
                  <a:lnTo>
                    <a:pt x="3203" y="1750"/>
                  </a:lnTo>
                  <a:close/>
                  <a:moveTo>
                    <a:pt x="3342" y="1833"/>
                  </a:moveTo>
                  <a:lnTo>
                    <a:pt x="3333" y="1833"/>
                  </a:lnTo>
                  <a:lnTo>
                    <a:pt x="3349" y="1816"/>
                  </a:lnTo>
                  <a:lnTo>
                    <a:pt x="3342" y="1804"/>
                  </a:lnTo>
                  <a:lnTo>
                    <a:pt x="3342" y="1816"/>
                  </a:lnTo>
                  <a:lnTo>
                    <a:pt x="3333" y="1833"/>
                  </a:lnTo>
                  <a:lnTo>
                    <a:pt x="3333" y="1811"/>
                  </a:lnTo>
                  <a:lnTo>
                    <a:pt x="3326" y="1833"/>
                  </a:lnTo>
                  <a:lnTo>
                    <a:pt x="3312" y="1816"/>
                  </a:lnTo>
                  <a:lnTo>
                    <a:pt x="3316" y="1811"/>
                  </a:lnTo>
                  <a:lnTo>
                    <a:pt x="3316" y="1788"/>
                  </a:lnTo>
                  <a:lnTo>
                    <a:pt x="3316" y="1778"/>
                  </a:lnTo>
                  <a:lnTo>
                    <a:pt x="3349" y="1762"/>
                  </a:lnTo>
                  <a:lnTo>
                    <a:pt x="3371" y="1804"/>
                  </a:lnTo>
                  <a:lnTo>
                    <a:pt x="3364" y="1828"/>
                  </a:lnTo>
                  <a:lnTo>
                    <a:pt x="3354" y="1844"/>
                  </a:lnTo>
                  <a:lnTo>
                    <a:pt x="3349" y="1844"/>
                  </a:lnTo>
                  <a:lnTo>
                    <a:pt x="3349" y="1828"/>
                  </a:lnTo>
                  <a:lnTo>
                    <a:pt x="3342" y="1833"/>
                  </a:lnTo>
                  <a:lnTo>
                    <a:pt x="3342" y="1833"/>
                  </a:lnTo>
                  <a:lnTo>
                    <a:pt x="3342" y="1833"/>
                  </a:lnTo>
                  <a:close/>
                  <a:moveTo>
                    <a:pt x="3165" y="1771"/>
                  </a:moveTo>
                  <a:lnTo>
                    <a:pt x="3165" y="1778"/>
                  </a:lnTo>
                  <a:lnTo>
                    <a:pt x="3153" y="1778"/>
                  </a:lnTo>
                  <a:lnTo>
                    <a:pt x="3165" y="1771"/>
                  </a:lnTo>
                  <a:lnTo>
                    <a:pt x="3165" y="1771"/>
                  </a:lnTo>
                  <a:lnTo>
                    <a:pt x="3165" y="1771"/>
                  </a:lnTo>
                  <a:close/>
                  <a:moveTo>
                    <a:pt x="3149" y="1771"/>
                  </a:moveTo>
                  <a:lnTo>
                    <a:pt x="3132" y="1778"/>
                  </a:lnTo>
                  <a:lnTo>
                    <a:pt x="3132" y="1771"/>
                  </a:lnTo>
                  <a:lnTo>
                    <a:pt x="3149" y="1771"/>
                  </a:lnTo>
                  <a:lnTo>
                    <a:pt x="3149" y="1771"/>
                  </a:lnTo>
                  <a:lnTo>
                    <a:pt x="3149" y="1771"/>
                  </a:lnTo>
                  <a:close/>
                  <a:moveTo>
                    <a:pt x="1642" y="1771"/>
                  </a:moveTo>
                  <a:lnTo>
                    <a:pt x="1642" y="1788"/>
                  </a:lnTo>
                  <a:lnTo>
                    <a:pt x="1625" y="1788"/>
                  </a:lnTo>
                  <a:lnTo>
                    <a:pt x="1642" y="1771"/>
                  </a:lnTo>
                  <a:lnTo>
                    <a:pt x="1642" y="1771"/>
                  </a:lnTo>
                  <a:lnTo>
                    <a:pt x="1642" y="1771"/>
                  </a:lnTo>
                  <a:close/>
                  <a:moveTo>
                    <a:pt x="3208" y="1778"/>
                  </a:moveTo>
                  <a:lnTo>
                    <a:pt x="3208" y="1788"/>
                  </a:lnTo>
                  <a:lnTo>
                    <a:pt x="3203" y="1778"/>
                  </a:lnTo>
                  <a:lnTo>
                    <a:pt x="3208" y="1778"/>
                  </a:lnTo>
                  <a:lnTo>
                    <a:pt x="3208" y="1778"/>
                  </a:lnTo>
                  <a:lnTo>
                    <a:pt x="3208" y="1778"/>
                  </a:lnTo>
                  <a:close/>
                  <a:moveTo>
                    <a:pt x="1410" y="1771"/>
                  </a:moveTo>
                  <a:lnTo>
                    <a:pt x="1420" y="1778"/>
                  </a:lnTo>
                  <a:lnTo>
                    <a:pt x="1405" y="1778"/>
                  </a:lnTo>
                  <a:lnTo>
                    <a:pt x="1410" y="1771"/>
                  </a:lnTo>
                  <a:lnTo>
                    <a:pt x="1410" y="1771"/>
                  </a:lnTo>
                  <a:lnTo>
                    <a:pt x="1410" y="1771"/>
                  </a:lnTo>
                  <a:close/>
                  <a:moveTo>
                    <a:pt x="3203" y="1788"/>
                  </a:moveTo>
                  <a:lnTo>
                    <a:pt x="3186" y="1795"/>
                  </a:lnTo>
                  <a:lnTo>
                    <a:pt x="3182" y="1788"/>
                  </a:lnTo>
                  <a:lnTo>
                    <a:pt x="3203" y="1788"/>
                  </a:lnTo>
                  <a:lnTo>
                    <a:pt x="3203" y="1788"/>
                  </a:lnTo>
                  <a:lnTo>
                    <a:pt x="3203" y="1788"/>
                  </a:lnTo>
                  <a:close/>
                  <a:moveTo>
                    <a:pt x="3203" y="1811"/>
                  </a:moveTo>
                  <a:lnTo>
                    <a:pt x="3203" y="1816"/>
                  </a:lnTo>
                  <a:lnTo>
                    <a:pt x="3191" y="1811"/>
                  </a:lnTo>
                  <a:lnTo>
                    <a:pt x="3203" y="1811"/>
                  </a:lnTo>
                  <a:lnTo>
                    <a:pt x="3203" y="1811"/>
                  </a:lnTo>
                  <a:lnTo>
                    <a:pt x="3203" y="1811"/>
                  </a:lnTo>
                  <a:close/>
                  <a:moveTo>
                    <a:pt x="3182" y="1816"/>
                  </a:moveTo>
                  <a:lnTo>
                    <a:pt x="3170" y="1816"/>
                  </a:lnTo>
                  <a:lnTo>
                    <a:pt x="3170" y="1811"/>
                  </a:lnTo>
                  <a:lnTo>
                    <a:pt x="3186" y="1811"/>
                  </a:lnTo>
                  <a:lnTo>
                    <a:pt x="3182" y="1816"/>
                  </a:lnTo>
                  <a:lnTo>
                    <a:pt x="3182" y="1816"/>
                  </a:lnTo>
                  <a:lnTo>
                    <a:pt x="3182" y="1816"/>
                  </a:lnTo>
                  <a:close/>
                  <a:moveTo>
                    <a:pt x="3191" y="1811"/>
                  </a:moveTo>
                  <a:lnTo>
                    <a:pt x="3191" y="1816"/>
                  </a:lnTo>
                  <a:lnTo>
                    <a:pt x="3182" y="1816"/>
                  </a:lnTo>
                  <a:lnTo>
                    <a:pt x="3191" y="1811"/>
                  </a:lnTo>
                  <a:lnTo>
                    <a:pt x="3191" y="1811"/>
                  </a:lnTo>
                  <a:lnTo>
                    <a:pt x="3191" y="1811"/>
                  </a:lnTo>
                  <a:close/>
                  <a:moveTo>
                    <a:pt x="3312" y="1816"/>
                  </a:moveTo>
                  <a:lnTo>
                    <a:pt x="3316" y="1833"/>
                  </a:lnTo>
                  <a:lnTo>
                    <a:pt x="3312" y="1849"/>
                  </a:lnTo>
                  <a:lnTo>
                    <a:pt x="3312" y="1844"/>
                  </a:lnTo>
                  <a:lnTo>
                    <a:pt x="3312" y="1816"/>
                  </a:lnTo>
                  <a:lnTo>
                    <a:pt x="3312" y="1816"/>
                  </a:lnTo>
                  <a:lnTo>
                    <a:pt x="3312" y="1816"/>
                  </a:lnTo>
                  <a:close/>
                  <a:moveTo>
                    <a:pt x="3191" y="1828"/>
                  </a:moveTo>
                  <a:lnTo>
                    <a:pt x="3182" y="1844"/>
                  </a:lnTo>
                  <a:lnTo>
                    <a:pt x="3182" y="1833"/>
                  </a:lnTo>
                  <a:lnTo>
                    <a:pt x="3186" y="1816"/>
                  </a:lnTo>
                  <a:lnTo>
                    <a:pt x="3191" y="1828"/>
                  </a:lnTo>
                  <a:lnTo>
                    <a:pt x="3191" y="1828"/>
                  </a:lnTo>
                  <a:lnTo>
                    <a:pt x="3191" y="1828"/>
                  </a:lnTo>
                  <a:close/>
                  <a:moveTo>
                    <a:pt x="1280" y="1828"/>
                  </a:moveTo>
                  <a:lnTo>
                    <a:pt x="1285" y="1828"/>
                  </a:lnTo>
                  <a:lnTo>
                    <a:pt x="1285" y="1844"/>
                  </a:lnTo>
                  <a:lnTo>
                    <a:pt x="1297" y="1844"/>
                  </a:lnTo>
                  <a:lnTo>
                    <a:pt x="1275" y="1849"/>
                  </a:lnTo>
                  <a:lnTo>
                    <a:pt x="1275" y="1833"/>
                  </a:lnTo>
                  <a:lnTo>
                    <a:pt x="1280" y="1828"/>
                  </a:lnTo>
                  <a:lnTo>
                    <a:pt x="1280" y="1828"/>
                  </a:lnTo>
                  <a:lnTo>
                    <a:pt x="1280" y="1828"/>
                  </a:lnTo>
                  <a:close/>
                  <a:moveTo>
                    <a:pt x="1301" y="1828"/>
                  </a:moveTo>
                  <a:lnTo>
                    <a:pt x="1301" y="1844"/>
                  </a:lnTo>
                  <a:lnTo>
                    <a:pt x="1297" y="1833"/>
                  </a:lnTo>
                  <a:lnTo>
                    <a:pt x="1301" y="1828"/>
                  </a:lnTo>
                  <a:lnTo>
                    <a:pt x="1301" y="1828"/>
                  </a:lnTo>
                  <a:lnTo>
                    <a:pt x="1301" y="1828"/>
                  </a:lnTo>
                  <a:close/>
                  <a:moveTo>
                    <a:pt x="3203" y="1833"/>
                  </a:moveTo>
                  <a:lnTo>
                    <a:pt x="3208" y="1844"/>
                  </a:lnTo>
                  <a:lnTo>
                    <a:pt x="3191" y="1844"/>
                  </a:lnTo>
                  <a:lnTo>
                    <a:pt x="3191" y="1833"/>
                  </a:lnTo>
                  <a:lnTo>
                    <a:pt x="3203" y="1833"/>
                  </a:lnTo>
                  <a:lnTo>
                    <a:pt x="3203" y="1833"/>
                  </a:lnTo>
                  <a:lnTo>
                    <a:pt x="3203" y="1833"/>
                  </a:lnTo>
                  <a:close/>
                  <a:moveTo>
                    <a:pt x="1339" y="1833"/>
                  </a:moveTo>
                  <a:lnTo>
                    <a:pt x="1339" y="1849"/>
                  </a:lnTo>
                  <a:lnTo>
                    <a:pt x="1313" y="1873"/>
                  </a:lnTo>
                  <a:lnTo>
                    <a:pt x="1318" y="1861"/>
                  </a:lnTo>
                  <a:lnTo>
                    <a:pt x="1318" y="1849"/>
                  </a:lnTo>
                  <a:lnTo>
                    <a:pt x="1330" y="1849"/>
                  </a:lnTo>
                  <a:lnTo>
                    <a:pt x="1339" y="1833"/>
                  </a:lnTo>
                  <a:lnTo>
                    <a:pt x="1339" y="1833"/>
                  </a:lnTo>
                  <a:lnTo>
                    <a:pt x="1339" y="1833"/>
                  </a:lnTo>
                  <a:close/>
                  <a:moveTo>
                    <a:pt x="3333" y="1844"/>
                  </a:moveTo>
                  <a:lnTo>
                    <a:pt x="3342" y="1844"/>
                  </a:lnTo>
                  <a:lnTo>
                    <a:pt x="3342" y="1861"/>
                  </a:lnTo>
                  <a:lnTo>
                    <a:pt x="3326" y="1866"/>
                  </a:lnTo>
                  <a:lnTo>
                    <a:pt x="3326" y="1833"/>
                  </a:lnTo>
                  <a:lnTo>
                    <a:pt x="3333" y="1844"/>
                  </a:lnTo>
                  <a:lnTo>
                    <a:pt x="3333" y="1844"/>
                  </a:lnTo>
                  <a:lnTo>
                    <a:pt x="3333" y="1844"/>
                  </a:lnTo>
                  <a:close/>
                  <a:moveTo>
                    <a:pt x="3220" y="1844"/>
                  </a:moveTo>
                  <a:lnTo>
                    <a:pt x="3246" y="1899"/>
                  </a:lnTo>
                  <a:lnTo>
                    <a:pt x="3236" y="1899"/>
                  </a:lnTo>
                  <a:lnTo>
                    <a:pt x="3220" y="1866"/>
                  </a:lnTo>
                  <a:lnTo>
                    <a:pt x="3208" y="1861"/>
                  </a:lnTo>
                  <a:lnTo>
                    <a:pt x="3208" y="1844"/>
                  </a:lnTo>
                  <a:lnTo>
                    <a:pt x="3220" y="1844"/>
                  </a:lnTo>
                  <a:lnTo>
                    <a:pt x="3220" y="1844"/>
                  </a:lnTo>
                  <a:lnTo>
                    <a:pt x="3220" y="1844"/>
                  </a:lnTo>
                  <a:close/>
                  <a:moveTo>
                    <a:pt x="1368" y="1844"/>
                  </a:moveTo>
                  <a:lnTo>
                    <a:pt x="1368" y="1861"/>
                  </a:lnTo>
                  <a:lnTo>
                    <a:pt x="1356" y="1861"/>
                  </a:lnTo>
                  <a:lnTo>
                    <a:pt x="1368" y="1844"/>
                  </a:lnTo>
                  <a:lnTo>
                    <a:pt x="1368" y="1844"/>
                  </a:lnTo>
                  <a:lnTo>
                    <a:pt x="1368" y="1844"/>
                  </a:lnTo>
                  <a:close/>
                  <a:moveTo>
                    <a:pt x="3241" y="1844"/>
                  </a:moveTo>
                  <a:lnTo>
                    <a:pt x="3246" y="1861"/>
                  </a:lnTo>
                  <a:lnTo>
                    <a:pt x="3236" y="1861"/>
                  </a:lnTo>
                  <a:lnTo>
                    <a:pt x="3241" y="1844"/>
                  </a:lnTo>
                  <a:lnTo>
                    <a:pt x="3241" y="1844"/>
                  </a:lnTo>
                  <a:lnTo>
                    <a:pt x="3241" y="1844"/>
                  </a:lnTo>
                  <a:close/>
                  <a:moveTo>
                    <a:pt x="1209" y="1849"/>
                  </a:moveTo>
                  <a:lnTo>
                    <a:pt x="1221" y="1849"/>
                  </a:lnTo>
                  <a:lnTo>
                    <a:pt x="1205" y="1861"/>
                  </a:lnTo>
                  <a:lnTo>
                    <a:pt x="1193" y="1849"/>
                  </a:lnTo>
                  <a:lnTo>
                    <a:pt x="1209" y="1849"/>
                  </a:lnTo>
                  <a:lnTo>
                    <a:pt x="1209" y="1849"/>
                  </a:lnTo>
                  <a:lnTo>
                    <a:pt x="1209" y="1849"/>
                  </a:lnTo>
                  <a:close/>
                  <a:moveTo>
                    <a:pt x="1032" y="1906"/>
                  </a:moveTo>
                  <a:lnTo>
                    <a:pt x="1027" y="1922"/>
                  </a:lnTo>
                  <a:lnTo>
                    <a:pt x="1004" y="1922"/>
                  </a:lnTo>
                  <a:lnTo>
                    <a:pt x="990" y="1922"/>
                  </a:lnTo>
                  <a:lnTo>
                    <a:pt x="978" y="1906"/>
                  </a:lnTo>
                  <a:lnTo>
                    <a:pt x="1004" y="1899"/>
                  </a:lnTo>
                  <a:lnTo>
                    <a:pt x="1016" y="1873"/>
                  </a:lnTo>
                  <a:lnTo>
                    <a:pt x="1032" y="1873"/>
                  </a:lnTo>
                  <a:lnTo>
                    <a:pt x="1065" y="1861"/>
                  </a:lnTo>
                  <a:lnTo>
                    <a:pt x="1079" y="1861"/>
                  </a:lnTo>
                  <a:lnTo>
                    <a:pt x="1096" y="1882"/>
                  </a:lnTo>
                  <a:lnTo>
                    <a:pt x="1112" y="1889"/>
                  </a:lnTo>
                  <a:lnTo>
                    <a:pt x="1117" y="1899"/>
                  </a:lnTo>
                  <a:lnTo>
                    <a:pt x="1096" y="1889"/>
                  </a:lnTo>
                  <a:lnTo>
                    <a:pt x="1079" y="1906"/>
                  </a:lnTo>
                  <a:lnTo>
                    <a:pt x="1032" y="1906"/>
                  </a:lnTo>
                  <a:lnTo>
                    <a:pt x="1032" y="1906"/>
                  </a:lnTo>
                  <a:lnTo>
                    <a:pt x="1032" y="1906"/>
                  </a:lnTo>
                  <a:close/>
                  <a:moveTo>
                    <a:pt x="1372" y="1861"/>
                  </a:moveTo>
                  <a:lnTo>
                    <a:pt x="1372" y="1866"/>
                  </a:lnTo>
                  <a:lnTo>
                    <a:pt x="1368" y="1866"/>
                  </a:lnTo>
                  <a:lnTo>
                    <a:pt x="1368" y="1861"/>
                  </a:lnTo>
                  <a:lnTo>
                    <a:pt x="1372" y="1861"/>
                  </a:lnTo>
                  <a:lnTo>
                    <a:pt x="1372" y="1861"/>
                  </a:lnTo>
                  <a:lnTo>
                    <a:pt x="1372" y="1861"/>
                  </a:lnTo>
                  <a:close/>
                  <a:moveTo>
                    <a:pt x="3349" y="1866"/>
                  </a:moveTo>
                  <a:lnTo>
                    <a:pt x="3349" y="1873"/>
                  </a:lnTo>
                  <a:lnTo>
                    <a:pt x="3333" y="1873"/>
                  </a:lnTo>
                  <a:lnTo>
                    <a:pt x="3349" y="1866"/>
                  </a:lnTo>
                  <a:lnTo>
                    <a:pt x="3349" y="1866"/>
                  </a:lnTo>
                  <a:lnTo>
                    <a:pt x="3349" y="1866"/>
                  </a:lnTo>
                  <a:close/>
                  <a:moveTo>
                    <a:pt x="1172" y="1866"/>
                  </a:moveTo>
                  <a:lnTo>
                    <a:pt x="1167" y="1882"/>
                  </a:lnTo>
                  <a:lnTo>
                    <a:pt x="1155" y="1873"/>
                  </a:lnTo>
                  <a:lnTo>
                    <a:pt x="1172" y="1866"/>
                  </a:lnTo>
                  <a:lnTo>
                    <a:pt x="1172" y="1866"/>
                  </a:lnTo>
                  <a:lnTo>
                    <a:pt x="1172" y="1866"/>
                  </a:lnTo>
                  <a:close/>
                  <a:moveTo>
                    <a:pt x="1382" y="1866"/>
                  </a:moveTo>
                  <a:lnTo>
                    <a:pt x="1389" y="1873"/>
                  </a:lnTo>
                  <a:lnTo>
                    <a:pt x="1382" y="1873"/>
                  </a:lnTo>
                  <a:lnTo>
                    <a:pt x="1382" y="1866"/>
                  </a:lnTo>
                  <a:lnTo>
                    <a:pt x="1382" y="1866"/>
                  </a:lnTo>
                  <a:lnTo>
                    <a:pt x="1382" y="1866"/>
                  </a:lnTo>
                  <a:close/>
                  <a:moveTo>
                    <a:pt x="3246" y="1873"/>
                  </a:moveTo>
                  <a:lnTo>
                    <a:pt x="3246" y="1889"/>
                  </a:lnTo>
                  <a:lnTo>
                    <a:pt x="3241" y="1873"/>
                  </a:lnTo>
                  <a:lnTo>
                    <a:pt x="3246" y="1873"/>
                  </a:lnTo>
                  <a:lnTo>
                    <a:pt x="3246" y="1873"/>
                  </a:lnTo>
                  <a:lnTo>
                    <a:pt x="3246" y="1873"/>
                  </a:lnTo>
                  <a:close/>
                  <a:moveTo>
                    <a:pt x="1134" y="1915"/>
                  </a:moveTo>
                  <a:lnTo>
                    <a:pt x="1150" y="1927"/>
                  </a:lnTo>
                  <a:lnTo>
                    <a:pt x="1134" y="1922"/>
                  </a:lnTo>
                  <a:lnTo>
                    <a:pt x="1134" y="1915"/>
                  </a:lnTo>
                  <a:lnTo>
                    <a:pt x="1134" y="1915"/>
                  </a:lnTo>
                  <a:lnTo>
                    <a:pt x="1134" y="1915"/>
                  </a:lnTo>
                  <a:close/>
                  <a:moveTo>
                    <a:pt x="940" y="1955"/>
                  </a:moveTo>
                  <a:lnTo>
                    <a:pt x="935" y="1939"/>
                  </a:lnTo>
                  <a:lnTo>
                    <a:pt x="952" y="1939"/>
                  </a:lnTo>
                  <a:lnTo>
                    <a:pt x="940" y="1955"/>
                  </a:lnTo>
                  <a:lnTo>
                    <a:pt x="940" y="1955"/>
                  </a:lnTo>
                  <a:lnTo>
                    <a:pt x="940" y="1955"/>
                  </a:lnTo>
                  <a:close/>
                  <a:moveTo>
                    <a:pt x="919" y="1960"/>
                  </a:moveTo>
                  <a:lnTo>
                    <a:pt x="902" y="1955"/>
                  </a:lnTo>
                  <a:lnTo>
                    <a:pt x="907" y="1939"/>
                  </a:lnTo>
                  <a:lnTo>
                    <a:pt x="935" y="1955"/>
                  </a:lnTo>
                  <a:lnTo>
                    <a:pt x="919" y="1960"/>
                  </a:lnTo>
                  <a:lnTo>
                    <a:pt x="919" y="1960"/>
                  </a:lnTo>
                  <a:lnTo>
                    <a:pt x="919" y="1960"/>
                  </a:lnTo>
                  <a:close/>
                  <a:moveTo>
                    <a:pt x="957" y="1960"/>
                  </a:moveTo>
                  <a:lnTo>
                    <a:pt x="952" y="1955"/>
                  </a:lnTo>
                  <a:lnTo>
                    <a:pt x="961" y="1955"/>
                  </a:lnTo>
                  <a:lnTo>
                    <a:pt x="957" y="1960"/>
                  </a:lnTo>
                  <a:lnTo>
                    <a:pt x="957" y="1960"/>
                  </a:lnTo>
                  <a:lnTo>
                    <a:pt x="957" y="1960"/>
                  </a:lnTo>
                  <a:close/>
                  <a:moveTo>
                    <a:pt x="831" y="2000"/>
                  </a:moveTo>
                  <a:lnTo>
                    <a:pt x="843" y="1993"/>
                  </a:lnTo>
                  <a:lnTo>
                    <a:pt x="853" y="1993"/>
                  </a:lnTo>
                  <a:lnTo>
                    <a:pt x="827" y="1981"/>
                  </a:lnTo>
                  <a:lnTo>
                    <a:pt x="843" y="1972"/>
                  </a:lnTo>
                  <a:lnTo>
                    <a:pt x="864" y="1960"/>
                  </a:lnTo>
                  <a:lnTo>
                    <a:pt x="864" y="1977"/>
                  </a:lnTo>
                  <a:lnTo>
                    <a:pt x="886" y="1960"/>
                  </a:lnTo>
                  <a:lnTo>
                    <a:pt x="898" y="1972"/>
                  </a:lnTo>
                  <a:lnTo>
                    <a:pt x="869" y="1993"/>
                  </a:lnTo>
                  <a:lnTo>
                    <a:pt x="886" y="1981"/>
                  </a:lnTo>
                  <a:lnTo>
                    <a:pt x="886" y="1993"/>
                  </a:lnTo>
                  <a:lnTo>
                    <a:pt x="869" y="2000"/>
                  </a:lnTo>
                  <a:lnTo>
                    <a:pt x="853" y="2017"/>
                  </a:lnTo>
                  <a:lnTo>
                    <a:pt x="794" y="2038"/>
                  </a:lnTo>
                  <a:lnTo>
                    <a:pt x="777" y="2033"/>
                  </a:lnTo>
                  <a:lnTo>
                    <a:pt x="827" y="2017"/>
                  </a:lnTo>
                  <a:lnTo>
                    <a:pt x="831" y="2010"/>
                  </a:lnTo>
                  <a:lnTo>
                    <a:pt x="827" y="2000"/>
                  </a:lnTo>
                  <a:lnTo>
                    <a:pt x="831" y="2000"/>
                  </a:lnTo>
                  <a:lnTo>
                    <a:pt x="831" y="2000"/>
                  </a:lnTo>
                  <a:lnTo>
                    <a:pt x="831" y="2000"/>
                  </a:lnTo>
                  <a:close/>
                  <a:moveTo>
                    <a:pt x="898" y="1993"/>
                  </a:moveTo>
                  <a:lnTo>
                    <a:pt x="886" y="1981"/>
                  </a:lnTo>
                  <a:lnTo>
                    <a:pt x="902" y="1977"/>
                  </a:lnTo>
                  <a:lnTo>
                    <a:pt x="898" y="1993"/>
                  </a:lnTo>
                  <a:lnTo>
                    <a:pt x="898" y="1993"/>
                  </a:lnTo>
                  <a:lnTo>
                    <a:pt x="898" y="1993"/>
                  </a:lnTo>
                  <a:close/>
                  <a:moveTo>
                    <a:pt x="789" y="2017"/>
                  </a:moveTo>
                  <a:lnTo>
                    <a:pt x="777" y="2026"/>
                  </a:lnTo>
                  <a:lnTo>
                    <a:pt x="746" y="2038"/>
                  </a:lnTo>
                  <a:lnTo>
                    <a:pt x="735" y="2055"/>
                  </a:lnTo>
                  <a:lnTo>
                    <a:pt x="692" y="2083"/>
                  </a:lnTo>
                  <a:lnTo>
                    <a:pt x="709" y="2066"/>
                  </a:lnTo>
                  <a:lnTo>
                    <a:pt x="709" y="2050"/>
                  </a:lnTo>
                  <a:lnTo>
                    <a:pt x="725" y="2033"/>
                  </a:lnTo>
                  <a:lnTo>
                    <a:pt x="739" y="2033"/>
                  </a:lnTo>
                  <a:lnTo>
                    <a:pt x="739" y="2026"/>
                  </a:lnTo>
                  <a:lnTo>
                    <a:pt x="739" y="2017"/>
                  </a:lnTo>
                  <a:lnTo>
                    <a:pt x="772" y="2010"/>
                  </a:lnTo>
                  <a:lnTo>
                    <a:pt x="789" y="2017"/>
                  </a:lnTo>
                  <a:lnTo>
                    <a:pt x="789" y="2017"/>
                  </a:lnTo>
                  <a:lnTo>
                    <a:pt x="789" y="2017"/>
                  </a:lnTo>
                  <a:close/>
                  <a:moveTo>
                    <a:pt x="649" y="2066"/>
                  </a:moveTo>
                  <a:lnTo>
                    <a:pt x="649" y="2055"/>
                  </a:lnTo>
                  <a:lnTo>
                    <a:pt x="649" y="2066"/>
                  </a:lnTo>
                  <a:lnTo>
                    <a:pt x="649" y="2066"/>
                  </a:lnTo>
                  <a:lnTo>
                    <a:pt x="649" y="2066"/>
                  </a:lnTo>
                  <a:close/>
                  <a:moveTo>
                    <a:pt x="24685" y="2088"/>
                  </a:moveTo>
                  <a:lnTo>
                    <a:pt x="24678" y="2071"/>
                  </a:lnTo>
                  <a:lnTo>
                    <a:pt x="24652" y="2071"/>
                  </a:lnTo>
                  <a:lnTo>
                    <a:pt x="24668" y="2066"/>
                  </a:lnTo>
                  <a:lnTo>
                    <a:pt x="24701" y="2066"/>
                  </a:lnTo>
                  <a:lnTo>
                    <a:pt x="24722" y="2071"/>
                  </a:lnTo>
                  <a:lnTo>
                    <a:pt x="24685" y="2088"/>
                  </a:lnTo>
                  <a:lnTo>
                    <a:pt x="24685" y="2088"/>
                  </a:lnTo>
                  <a:lnTo>
                    <a:pt x="24685" y="2088"/>
                  </a:lnTo>
                  <a:close/>
                  <a:moveTo>
                    <a:pt x="633" y="2083"/>
                  </a:moveTo>
                  <a:lnTo>
                    <a:pt x="649" y="2071"/>
                  </a:lnTo>
                  <a:lnTo>
                    <a:pt x="649" y="2083"/>
                  </a:lnTo>
                  <a:lnTo>
                    <a:pt x="633" y="2083"/>
                  </a:lnTo>
                  <a:lnTo>
                    <a:pt x="633" y="2083"/>
                  </a:lnTo>
                  <a:lnTo>
                    <a:pt x="633" y="2083"/>
                  </a:lnTo>
                  <a:close/>
                  <a:moveTo>
                    <a:pt x="616" y="2088"/>
                  </a:moveTo>
                  <a:lnTo>
                    <a:pt x="616" y="2083"/>
                  </a:lnTo>
                  <a:lnTo>
                    <a:pt x="626" y="2088"/>
                  </a:lnTo>
                  <a:lnTo>
                    <a:pt x="616" y="2088"/>
                  </a:lnTo>
                  <a:lnTo>
                    <a:pt x="616" y="2088"/>
                  </a:lnTo>
                  <a:lnTo>
                    <a:pt x="616" y="2088"/>
                  </a:lnTo>
                  <a:close/>
                  <a:moveTo>
                    <a:pt x="574" y="2104"/>
                  </a:moveTo>
                  <a:lnTo>
                    <a:pt x="579" y="2092"/>
                  </a:lnTo>
                  <a:lnTo>
                    <a:pt x="583" y="2092"/>
                  </a:lnTo>
                  <a:lnTo>
                    <a:pt x="574" y="2104"/>
                  </a:lnTo>
                  <a:lnTo>
                    <a:pt x="574" y="2104"/>
                  </a:lnTo>
                  <a:lnTo>
                    <a:pt x="574" y="2104"/>
                  </a:lnTo>
                  <a:close/>
                  <a:moveTo>
                    <a:pt x="24739" y="2126"/>
                  </a:moveTo>
                  <a:lnTo>
                    <a:pt x="24715" y="2121"/>
                  </a:lnTo>
                  <a:lnTo>
                    <a:pt x="24744" y="2109"/>
                  </a:lnTo>
                  <a:lnTo>
                    <a:pt x="24744" y="2126"/>
                  </a:lnTo>
                  <a:lnTo>
                    <a:pt x="24739" y="2126"/>
                  </a:lnTo>
                  <a:lnTo>
                    <a:pt x="24739" y="2126"/>
                  </a:lnTo>
                  <a:lnTo>
                    <a:pt x="24739" y="2126"/>
                  </a:lnTo>
                  <a:close/>
                  <a:moveTo>
                    <a:pt x="324" y="2149"/>
                  </a:moveTo>
                  <a:lnTo>
                    <a:pt x="255" y="2161"/>
                  </a:lnTo>
                  <a:lnTo>
                    <a:pt x="331" y="2137"/>
                  </a:lnTo>
                  <a:lnTo>
                    <a:pt x="314" y="2126"/>
                  </a:lnTo>
                  <a:lnTo>
                    <a:pt x="331" y="2121"/>
                  </a:lnTo>
                  <a:lnTo>
                    <a:pt x="347" y="2126"/>
                  </a:lnTo>
                  <a:lnTo>
                    <a:pt x="340" y="2142"/>
                  </a:lnTo>
                  <a:lnTo>
                    <a:pt x="324" y="2149"/>
                  </a:lnTo>
                  <a:lnTo>
                    <a:pt x="324" y="2149"/>
                  </a:lnTo>
                  <a:lnTo>
                    <a:pt x="324" y="2149"/>
                  </a:lnTo>
                  <a:close/>
                  <a:moveTo>
                    <a:pt x="453" y="2137"/>
                  </a:moveTo>
                  <a:lnTo>
                    <a:pt x="449" y="2137"/>
                  </a:lnTo>
                  <a:lnTo>
                    <a:pt x="453" y="2121"/>
                  </a:lnTo>
                  <a:lnTo>
                    <a:pt x="470" y="2126"/>
                  </a:lnTo>
                  <a:lnTo>
                    <a:pt x="453" y="2137"/>
                  </a:lnTo>
                  <a:lnTo>
                    <a:pt x="453" y="2137"/>
                  </a:lnTo>
                  <a:lnTo>
                    <a:pt x="453" y="2137"/>
                  </a:lnTo>
                  <a:close/>
                  <a:moveTo>
                    <a:pt x="24895" y="2126"/>
                  </a:moveTo>
                  <a:lnTo>
                    <a:pt x="24895" y="2121"/>
                  </a:lnTo>
                  <a:lnTo>
                    <a:pt x="24900" y="2126"/>
                  </a:lnTo>
                  <a:lnTo>
                    <a:pt x="24895" y="2126"/>
                  </a:lnTo>
                  <a:lnTo>
                    <a:pt x="24895" y="2126"/>
                  </a:lnTo>
                  <a:lnTo>
                    <a:pt x="24895" y="2126"/>
                  </a:lnTo>
                  <a:close/>
                  <a:moveTo>
                    <a:pt x="385" y="2161"/>
                  </a:moveTo>
                  <a:lnTo>
                    <a:pt x="347" y="2142"/>
                  </a:lnTo>
                  <a:lnTo>
                    <a:pt x="423" y="2149"/>
                  </a:lnTo>
                  <a:lnTo>
                    <a:pt x="385" y="2161"/>
                  </a:lnTo>
                  <a:lnTo>
                    <a:pt x="385" y="2161"/>
                  </a:lnTo>
                  <a:lnTo>
                    <a:pt x="385" y="2161"/>
                  </a:lnTo>
                  <a:close/>
                  <a:moveTo>
                    <a:pt x="24992" y="2178"/>
                  </a:moveTo>
                  <a:lnTo>
                    <a:pt x="24987" y="2166"/>
                  </a:lnTo>
                  <a:lnTo>
                    <a:pt x="25008" y="2149"/>
                  </a:lnTo>
                  <a:lnTo>
                    <a:pt x="25013" y="2149"/>
                  </a:lnTo>
                  <a:lnTo>
                    <a:pt x="25013" y="2166"/>
                  </a:lnTo>
                  <a:lnTo>
                    <a:pt x="25003" y="2166"/>
                  </a:lnTo>
                  <a:lnTo>
                    <a:pt x="24992" y="2178"/>
                  </a:lnTo>
                  <a:lnTo>
                    <a:pt x="24992" y="2178"/>
                  </a:lnTo>
                  <a:lnTo>
                    <a:pt x="24992" y="2178"/>
                  </a:lnTo>
                  <a:close/>
                  <a:moveTo>
                    <a:pt x="201" y="2161"/>
                  </a:moveTo>
                  <a:lnTo>
                    <a:pt x="196" y="2161"/>
                  </a:lnTo>
                  <a:lnTo>
                    <a:pt x="201" y="2149"/>
                  </a:lnTo>
                  <a:lnTo>
                    <a:pt x="205" y="2149"/>
                  </a:lnTo>
                  <a:lnTo>
                    <a:pt x="201" y="2161"/>
                  </a:lnTo>
                  <a:lnTo>
                    <a:pt x="201" y="2161"/>
                  </a:lnTo>
                  <a:lnTo>
                    <a:pt x="201" y="2161"/>
                  </a:lnTo>
                  <a:close/>
                  <a:moveTo>
                    <a:pt x="25155" y="2166"/>
                  </a:moveTo>
                  <a:lnTo>
                    <a:pt x="25148" y="2161"/>
                  </a:lnTo>
                  <a:lnTo>
                    <a:pt x="25155" y="2161"/>
                  </a:lnTo>
                  <a:lnTo>
                    <a:pt x="25164" y="2161"/>
                  </a:lnTo>
                  <a:lnTo>
                    <a:pt x="25155" y="2166"/>
                  </a:lnTo>
                  <a:lnTo>
                    <a:pt x="25155" y="2166"/>
                  </a:lnTo>
                  <a:lnTo>
                    <a:pt x="25155" y="2166"/>
                  </a:lnTo>
                  <a:close/>
                  <a:moveTo>
                    <a:pt x="217" y="2161"/>
                  </a:moveTo>
                  <a:lnTo>
                    <a:pt x="205" y="2161"/>
                  </a:lnTo>
                  <a:lnTo>
                    <a:pt x="222" y="2161"/>
                  </a:lnTo>
                  <a:lnTo>
                    <a:pt x="217" y="2161"/>
                  </a:lnTo>
                  <a:lnTo>
                    <a:pt x="217" y="2161"/>
                  </a:lnTo>
                  <a:lnTo>
                    <a:pt x="217" y="2161"/>
                  </a:lnTo>
                  <a:close/>
                  <a:moveTo>
                    <a:pt x="25079" y="2166"/>
                  </a:moveTo>
                  <a:lnTo>
                    <a:pt x="25067" y="2161"/>
                  </a:lnTo>
                  <a:lnTo>
                    <a:pt x="25084" y="2166"/>
                  </a:lnTo>
                  <a:lnTo>
                    <a:pt x="25079" y="2166"/>
                  </a:lnTo>
                  <a:lnTo>
                    <a:pt x="25079" y="2166"/>
                  </a:lnTo>
                  <a:lnTo>
                    <a:pt x="25079" y="2166"/>
                  </a:lnTo>
                  <a:close/>
                  <a:moveTo>
                    <a:pt x="142" y="2199"/>
                  </a:moveTo>
                  <a:lnTo>
                    <a:pt x="142" y="2194"/>
                  </a:lnTo>
                  <a:lnTo>
                    <a:pt x="151" y="2178"/>
                  </a:lnTo>
                  <a:lnTo>
                    <a:pt x="151" y="2166"/>
                  </a:lnTo>
                  <a:lnTo>
                    <a:pt x="168" y="2161"/>
                  </a:lnTo>
                  <a:lnTo>
                    <a:pt x="163" y="2178"/>
                  </a:lnTo>
                  <a:lnTo>
                    <a:pt x="179" y="2178"/>
                  </a:lnTo>
                  <a:lnTo>
                    <a:pt x="179" y="2182"/>
                  </a:lnTo>
                  <a:lnTo>
                    <a:pt x="142" y="2199"/>
                  </a:lnTo>
                  <a:lnTo>
                    <a:pt x="142" y="2199"/>
                  </a:lnTo>
                  <a:lnTo>
                    <a:pt x="142" y="2199"/>
                  </a:lnTo>
                  <a:close/>
                  <a:moveTo>
                    <a:pt x="92" y="2194"/>
                  </a:moveTo>
                  <a:lnTo>
                    <a:pt x="87" y="2194"/>
                  </a:lnTo>
                  <a:lnTo>
                    <a:pt x="125" y="2178"/>
                  </a:lnTo>
                  <a:lnTo>
                    <a:pt x="125" y="2166"/>
                  </a:lnTo>
                  <a:lnTo>
                    <a:pt x="130" y="2166"/>
                  </a:lnTo>
                  <a:lnTo>
                    <a:pt x="125" y="2194"/>
                  </a:lnTo>
                  <a:lnTo>
                    <a:pt x="92" y="2194"/>
                  </a:lnTo>
                  <a:lnTo>
                    <a:pt x="92" y="2194"/>
                  </a:lnTo>
                  <a:lnTo>
                    <a:pt x="92" y="2194"/>
                  </a:lnTo>
                  <a:close/>
                  <a:moveTo>
                    <a:pt x="75" y="2199"/>
                  </a:moveTo>
                  <a:lnTo>
                    <a:pt x="59" y="2194"/>
                  </a:lnTo>
                  <a:lnTo>
                    <a:pt x="71" y="2182"/>
                  </a:lnTo>
                  <a:lnTo>
                    <a:pt x="54" y="2166"/>
                  </a:lnTo>
                  <a:lnTo>
                    <a:pt x="71" y="2166"/>
                  </a:lnTo>
                  <a:lnTo>
                    <a:pt x="75" y="2178"/>
                  </a:lnTo>
                  <a:lnTo>
                    <a:pt x="75" y="2199"/>
                  </a:lnTo>
                  <a:lnTo>
                    <a:pt x="75" y="2199"/>
                  </a:lnTo>
                  <a:lnTo>
                    <a:pt x="75" y="2199"/>
                  </a:lnTo>
                  <a:close/>
                  <a:moveTo>
                    <a:pt x="201" y="2182"/>
                  </a:moveTo>
                  <a:lnTo>
                    <a:pt x="196" y="2166"/>
                  </a:lnTo>
                  <a:lnTo>
                    <a:pt x="205" y="2178"/>
                  </a:lnTo>
                  <a:lnTo>
                    <a:pt x="201" y="2182"/>
                  </a:lnTo>
                  <a:lnTo>
                    <a:pt x="201" y="2182"/>
                  </a:lnTo>
                  <a:lnTo>
                    <a:pt x="201" y="2182"/>
                  </a:lnTo>
                  <a:close/>
                  <a:moveTo>
                    <a:pt x="184" y="2182"/>
                  </a:moveTo>
                  <a:lnTo>
                    <a:pt x="179" y="2178"/>
                  </a:lnTo>
                  <a:lnTo>
                    <a:pt x="184" y="2178"/>
                  </a:lnTo>
                  <a:lnTo>
                    <a:pt x="184" y="2182"/>
                  </a:lnTo>
                  <a:lnTo>
                    <a:pt x="184" y="2182"/>
                  </a:lnTo>
                  <a:lnTo>
                    <a:pt x="184" y="2182"/>
                  </a:lnTo>
                  <a:close/>
                  <a:moveTo>
                    <a:pt x="16" y="2182"/>
                  </a:moveTo>
                  <a:lnTo>
                    <a:pt x="7" y="2178"/>
                  </a:lnTo>
                  <a:lnTo>
                    <a:pt x="16" y="2182"/>
                  </a:lnTo>
                  <a:lnTo>
                    <a:pt x="16" y="2182"/>
                  </a:lnTo>
                  <a:lnTo>
                    <a:pt x="16" y="2182"/>
                  </a:lnTo>
                  <a:close/>
                  <a:moveTo>
                    <a:pt x="25131" y="2220"/>
                  </a:moveTo>
                  <a:lnTo>
                    <a:pt x="25084" y="2194"/>
                  </a:lnTo>
                  <a:lnTo>
                    <a:pt x="25100" y="2199"/>
                  </a:lnTo>
                  <a:lnTo>
                    <a:pt x="25131" y="2215"/>
                  </a:lnTo>
                  <a:lnTo>
                    <a:pt x="25148" y="2215"/>
                  </a:lnTo>
                  <a:lnTo>
                    <a:pt x="25131" y="2220"/>
                  </a:lnTo>
                  <a:lnTo>
                    <a:pt x="25131" y="2220"/>
                  </a:lnTo>
                  <a:lnTo>
                    <a:pt x="25131" y="2220"/>
                  </a:lnTo>
                  <a:close/>
                  <a:moveTo>
                    <a:pt x="0" y="2220"/>
                  </a:moveTo>
                  <a:lnTo>
                    <a:pt x="0" y="2215"/>
                  </a:lnTo>
                  <a:lnTo>
                    <a:pt x="7" y="2220"/>
                  </a:lnTo>
                  <a:lnTo>
                    <a:pt x="0" y="2220"/>
                  </a:lnTo>
                  <a:lnTo>
                    <a:pt x="0" y="2220"/>
                  </a:lnTo>
                  <a:lnTo>
                    <a:pt x="0" y="2220"/>
                  </a:lnTo>
                  <a:close/>
                  <a:moveTo>
                    <a:pt x="3942" y="2442"/>
                  </a:moveTo>
                  <a:lnTo>
                    <a:pt x="5882" y="2442"/>
                  </a:lnTo>
                  <a:lnTo>
                    <a:pt x="5882" y="2404"/>
                  </a:lnTo>
                  <a:lnTo>
                    <a:pt x="5903" y="2414"/>
                  </a:lnTo>
                  <a:lnTo>
                    <a:pt x="5908" y="2459"/>
                  </a:lnTo>
                  <a:lnTo>
                    <a:pt x="5920" y="2470"/>
                  </a:lnTo>
                  <a:lnTo>
                    <a:pt x="5974" y="2475"/>
                  </a:lnTo>
                  <a:lnTo>
                    <a:pt x="5974" y="2482"/>
                  </a:lnTo>
                  <a:lnTo>
                    <a:pt x="6012" y="2475"/>
                  </a:lnTo>
                  <a:lnTo>
                    <a:pt x="6033" y="2475"/>
                  </a:lnTo>
                  <a:lnTo>
                    <a:pt x="6071" y="2499"/>
                  </a:lnTo>
                  <a:lnTo>
                    <a:pt x="6071" y="2515"/>
                  </a:lnTo>
                  <a:lnTo>
                    <a:pt x="6080" y="2499"/>
                  </a:lnTo>
                  <a:lnTo>
                    <a:pt x="6097" y="2499"/>
                  </a:lnTo>
                  <a:lnTo>
                    <a:pt x="6101" y="2515"/>
                  </a:lnTo>
                  <a:lnTo>
                    <a:pt x="6139" y="2532"/>
                  </a:lnTo>
                  <a:lnTo>
                    <a:pt x="6177" y="2515"/>
                  </a:lnTo>
                  <a:lnTo>
                    <a:pt x="6189" y="2525"/>
                  </a:lnTo>
                  <a:lnTo>
                    <a:pt x="6227" y="2525"/>
                  </a:lnTo>
                  <a:lnTo>
                    <a:pt x="6248" y="2532"/>
                  </a:lnTo>
                  <a:lnTo>
                    <a:pt x="6286" y="2537"/>
                  </a:lnTo>
                  <a:lnTo>
                    <a:pt x="6357" y="2508"/>
                  </a:lnTo>
                  <a:lnTo>
                    <a:pt x="6605" y="2636"/>
                  </a:lnTo>
                  <a:lnTo>
                    <a:pt x="6605" y="2659"/>
                  </a:lnTo>
                  <a:lnTo>
                    <a:pt x="6621" y="2676"/>
                  </a:lnTo>
                  <a:lnTo>
                    <a:pt x="6654" y="2664"/>
                  </a:lnTo>
                  <a:lnTo>
                    <a:pt x="6654" y="2692"/>
                  </a:lnTo>
                  <a:lnTo>
                    <a:pt x="6664" y="2702"/>
                  </a:lnTo>
                  <a:lnTo>
                    <a:pt x="6692" y="2702"/>
                  </a:lnTo>
                  <a:lnTo>
                    <a:pt x="6697" y="2714"/>
                  </a:lnTo>
                  <a:lnTo>
                    <a:pt x="6692" y="2730"/>
                  </a:lnTo>
                  <a:lnTo>
                    <a:pt x="6768" y="2775"/>
                  </a:lnTo>
                  <a:lnTo>
                    <a:pt x="6789" y="2924"/>
                  </a:lnTo>
                  <a:lnTo>
                    <a:pt x="6772" y="2981"/>
                  </a:lnTo>
                  <a:lnTo>
                    <a:pt x="6768" y="3014"/>
                  </a:lnTo>
                  <a:lnTo>
                    <a:pt x="6730" y="3047"/>
                  </a:lnTo>
                  <a:lnTo>
                    <a:pt x="6718" y="3063"/>
                  </a:lnTo>
                  <a:lnTo>
                    <a:pt x="6730" y="3080"/>
                  </a:lnTo>
                  <a:lnTo>
                    <a:pt x="6751" y="3096"/>
                  </a:lnTo>
                  <a:lnTo>
                    <a:pt x="6772" y="3096"/>
                  </a:lnTo>
                  <a:lnTo>
                    <a:pt x="6853" y="3047"/>
                  </a:lnTo>
                  <a:lnTo>
                    <a:pt x="6935" y="3030"/>
                  </a:lnTo>
                  <a:lnTo>
                    <a:pt x="7016" y="2997"/>
                  </a:lnTo>
                  <a:lnTo>
                    <a:pt x="7020" y="2990"/>
                  </a:lnTo>
                  <a:lnTo>
                    <a:pt x="7004" y="2974"/>
                  </a:lnTo>
                  <a:lnTo>
                    <a:pt x="7004" y="2957"/>
                  </a:lnTo>
                  <a:lnTo>
                    <a:pt x="6999" y="2940"/>
                  </a:lnTo>
                  <a:lnTo>
                    <a:pt x="7032" y="2924"/>
                  </a:lnTo>
                  <a:lnTo>
                    <a:pt x="7167" y="2924"/>
                  </a:lnTo>
                  <a:lnTo>
                    <a:pt x="7193" y="2886"/>
                  </a:lnTo>
                  <a:lnTo>
                    <a:pt x="7290" y="2808"/>
                  </a:lnTo>
                  <a:lnTo>
                    <a:pt x="7540" y="2803"/>
                  </a:lnTo>
                  <a:lnTo>
                    <a:pt x="7545" y="2787"/>
                  </a:lnTo>
                  <a:lnTo>
                    <a:pt x="7554" y="2775"/>
                  </a:lnTo>
                  <a:lnTo>
                    <a:pt x="7561" y="2787"/>
                  </a:lnTo>
                  <a:lnTo>
                    <a:pt x="7571" y="2775"/>
                  </a:lnTo>
                  <a:lnTo>
                    <a:pt x="7582" y="2787"/>
                  </a:lnTo>
                  <a:lnTo>
                    <a:pt x="7592" y="2759"/>
                  </a:lnTo>
                  <a:lnTo>
                    <a:pt x="7592" y="2754"/>
                  </a:lnTo>
                  <a:lnTo>
                    <a:pt x="7625" y="2718"/>
                  </a:lnTo>
                  <a:lnTo>
                    <a:pt x="7625" y="2697"/>
                  </a:lnTo>
                  <a:lnTo>
                    <a:pt x="7637" y="2676"/>
                  </a:lnTo>
                  <a:lnTo>
                    <a:pt x="7646" y="2648"/>
                  </a:lnTo>
                  <a:lnTo>
                    <a:pt x="7701" y="2581"/>
                  </a:lnTo>
                  <a:lnTo>
                    <a:pt x="7705" y="2586"/>
                  </a:lnTo>
                  <a:lnTo>
                    <a:pt x="7705" y="2603"/>
                  </a:lnTo>
                  <a:lnTo>
                    <a:pt x="7722" y="2610"/>
                  </a:lnTo>
                  <a:lnTo>
                    <a:pt x="7760" y="2591"/>
                  </a:lnTo>
                  <a:lnTo>
                    <a:pt x="7805" y="2619"/>
                  </a:lnTo>
                  <a:lnTo>
                    <a:pt x="7805" y="2747"/>
                  </a:lnTo>
                  <a:lnTo>
                    <a:pt x="7826" y="2754"/>
                  </a:lnTo>
                  <a:lnTo>
                    <a:pt x="7814" y="2759"/>
                  </a:lnTo>
                  <a:lnTo>
                    <a:pt x="7826" y="2775"/>
                  </a:lnTo>
                  <a:lnTo>
                    <a:pt x="7831" y="2792"/>
                  </a:lnTo>
                  <a:lnTo>
                    <a:pt x="7842" y="2792"/>
                  </a:lnTo>
                  <a:lnTo>
                    <a:pt x="7856" y="2808"/>
                  </a:lnTo>
                  <a:lnTo>
                    <a:pt x="7842" y="2813"/>
                  </a:lnTo>
                  <a:lnTo>
                    <a:pt x="7856" y="2813"/>
                  </a:lnTo>
                  <a:lnTo>
                    <a:pt x="7842" y="2829"/>
                  </a:lnTo>
                  <a:lnTo>
                    <a:pt x="7814" y="2829"/>
                  </a:lnTo>
                  <a:lnTo>
                    <a:pt x="7814" y="2846"/>
                  </a:lnTo>
                  <a:lnTo>
                    <a:pt x="7805" y="2846"/>
                  </a:lnTo>
                  <a:lnTo>
                    <a:pt x="7776" y="2863"/>
                  </a:lnTo>
                  <a:lnTo>
                    <a:pt x="7776" y="2858"/>
                  </a:lnTo>
                  <a:lnTo>
                    <a:pt x="7760" y="2858"/>
                  </a:lnTo>
                  <a:lnTo>
                    <a:pt x="7743" y="2858"/>
                  </a:lnTo>
                  <a:lnTo>
                    <a:pt x="7743" y="2863"/>
                  </a:lnTo>
                  <a:lnTo>
                    <a:pt x="7738" y="2863"/>
                  </a:lnTo>
                  <a:lnTo>
                    <a:pt x="7722" y="2863"/>
                  </a:lnTo>
                  <a:lnTo>
                    <a:pt x="7734" y="2841"/>
                  </a:lnTo>
                  <a:lnTo>
                    <a:pt x="7717" y="2858"/>
                  </a:lnTo>
                  <a:lnTo>
                    <a:pt x="7705" y="2886"/>
                  </a:lnTo>
                  <a:lnTo>
                    <a:pt x="7691" y="2898"/>
                  </a:lnTo>
                  <a:lnTo>
                    <a:pt x="7684" y="2886"/>
                  </a:lnTo>
                  <a:lnTo>
                    <a:pt x="7679" y="2903"/>
                  </a:lnTo>
                  <a:lnTo>
                    <a:pt x="7679" y="2886"/>
                  </a:lnTo>
                  <a:lnTo>
                    <a:pt x="7668" y="2903"/>
                  </a:lnTo>
                  <a:lnTo>
                    <a:pt x="7668" y="2886"/>
                  </a:lnTo>
                  <a:lnTo>
                    <a:pt x="7663" y="2914"/>
                  </a:lnTo>
                  <a:lnTo>
                    <a:pt x="7663" y="2886"/>
                  </a:lnTo>
                  <a:lnTo>
                    <a:pt x="7653" y="2898"/>
                  </a:lnTo>
                  <a:lnTo>
                    <a:pt x="7653" y="2919"/>
                  </a:lnTo>
                  <a:lnTo>
                    <a:pt x="7646" y="2903"/>
                  </a:lnTo>
                  <a:lnTo>
                    <a:pt x="7630" y="2914"/>
                  </a:lnTo>
                  <a:lnTo>
                    <a:pt x="7625" y="2924"/>
                  </a:lnTo>
                  <a:lnTo>
                    <a:pt x="7630" y="2936"/>
                  </a:lnTo>
                  <a:lnTo>
                    <a:pt x="7608" y="2952"/>
                  </a:lnTo>
                  <a:lnTo>
                    <a:pt x="7599" y="2974"/>
                  </a:lnTo>
                  <a:lnTo>
                    <a:pt x="7592" y="2969"/>
                  </a:lnTo>
                  <a:lnTo>
                    <a:pt x="7582" y="3007"/>
                  </a:lnTo>
                  <a:lnTo>
                    <a:pt x="7599" y="3014"/>
                  </a:lnTo>
                  <a:lnTo>
                    <a:pt x="7582" y="3023"/>
                  </a:lnTo>
                  <a:lnTo>
                    <a:pt x="7571" y="3035"/>
                  </a:lnTo>
                  <a:lnTo>
                    <a:pt x="7592" y="3047"/>
                  </a:lnTo>
                  <a:lnTo>
                    <a:pt x="7592" y="3068"/>
                  </a:lnTo>
                  <a:lnTo>
                    <a:pt x="7608" y="3080"/>
                  </a:lnTo>
                  <a:lnTo>
                    <a:pt x="7608" y="3085"/>
                  </a:lnTo>
                  <a:lnTo>
                    <a:pt x="7625" y="3096"/>
                  </a:lnTo>
                  <a:lnTo>
                    <a:pt x="7646" y="3085"/>
                  </a:lnTo>
                  <a:lnTo>
                    <a:pt x="7646" y="3080"/>
                  </a:lnTo>
                  <a:lnTo>
                    <a:pt x="7625" y="3063"/>
                  </a:lnTo>
                  <a:lnTo>
                    <a:pt x="7637" y="3063"/>
                  </a:lnTo>
                  <a:lnTo>
                    <a:pt x="7646" y="3080"/>
                  </a:lnTo>
                  <a:lnTo>
                    <a:pt x="7646" y="3096"/>
                  </a:lnTo>
                  <a:lnTo>
                    <a:pt x="7616" y="3101"/>
                  </a:lnTo>
                  <a:lnTo>
                    <a:pt x="7599" y="3108"/>
                  </a:lnTo>
                  <a:lnTo>
                    <a:pt x="7599" y="3096"/>
                  </a:lnTo>
                  <a:lnTo>
                    <a:pt x="7592" y="3096"/>
                  </a:lnTo>
                  <a:lnTo>
                    <a:pt x="7561" y="3118"/>
                  </a:lnTo>
                  <a:lnTo>
                    <a:pt x="7561" y="3101"/>
                  </a:lnTo>
                  <a:lnTo>
                    <a:pt x="7571" y="3085"/>
                  </a:lnTo>
                  <a:lnTo>
                    <a:pt x="7554" y="3101"/>
                  </a:lnTo>
                  <a:lnTo>
                    <a:pt x="7545" y="3085"/>
                  </a:lnTo>
                  <a:lnTo>
                    <a:pt x="7540" y="3125"/>
                  </a:lnTo>
                  <a:lnTo>
                    <a:pt x="7436" y="3134"/>
                  </a:lnTo>
                  <a:lnTo>
                    <a:pt x="7393" y="3158"/>
                  </a:lnTo>
                  <a:lnTo>
                    <a:pt x="7360" y="3179"/>
                  </a:lnTo>
                  <a:lnTo>
                    <a:pt x="7377" y="3151"/>
                  </a:lnTo>
                  <a:lnTo>
                    <a:pt x="7365" y="3125"/>
                  </a:lnTo>
                  <a:lnTo>
                    <a:pt x="7365" y="3158"/>
                  </a:lnTo>
                  <a:lnTo>
                    <a:pt x="7344" y="3196"/>
                  </a:lnTo>
                  <a:lnTo>
                    <a:pt x="7360" y="3196"/>
                  </a:lnTo>
                  <a:lnTo>
                    <a:pt x="7365" y="3212"/>
                  </a:lnTo>
                  <a:lnTo>
                    <a:pt x="7360" y="3262"/>
                  </a:lnTo>
                  <a:lnTo>
                    <a:pt x="7360" y="3236"/>
                  </a:lnTo>
                  <a:lnTo>
                    <a:pt x="7356" y="3269"/>
                  </a:lnTo>
                  <a:lnTo>
                    <a:pt x="7339" y="3285"/>
                  </a:lnTo>
                  <a:lnTo>
                    <a:pt x="7327" y="3290"/>
                  </a:lnTo>
                  <a:lnTo>
                    <a:pt x="7313" y="3302"/>
                  </a:lnTo>
                  <a:lnTo>
                    <a:pt x="7323" y="3302"/>
                  </a:lnTo>
                  <a:lnTo>
                    <a:pt x="7313" y="3318"/>
                  </a:lnTo>
                  <a:lnTo>
                    <a:pt x="7301" y="3328"/>
                  </a:lnTo>
                  <a:lnTo>
                    <a:pt x="7301" y="3307"/>
                  </a:lnTo>
                  <a:lnTo>
                    <a:pt x="7259" y="3290"/>
                  </a:lnTo>
                  <a:lnTo>
                    <a:pt x="7252" y="3274"/>
                  </a:lnTo>
                  <a:lnTo>
                    <a:pt x="7290" y="3236"/>
                  </a:lnTo>
                  <a:lnTo>
                    <a:pt x="7252" y="3269"/>
                  </a:lnTo>
                  <a:lnTo>
                    <a:pt x="7252" y="3285"/>
                  </a:lnTo>
                  <a:lnTo>
                    <a:pt x="7285" y="3347"/>
                  </a:lnTo>
                  <a:lnTo>
                    <a:pt x="7275" y="3356"/>
                  </a:lnTo>
                  <a:lnTo>
                    <a:pt x="7290" y="3363"/>
                  </a:lnTo>
                  <a:lnTo>
                    <a:pt x="7290" y="3373"/>
                  </a:lnTo>
                  <a:lnTo>
                    <a:pt x="7268" y="3401"/>
                  </a:lnTo>
                  <a:lnTo>
                    <a:pt x="7252" y="3439"/>
                  </a:lnTo>
                  <a:lnTo>
                    <a:pt x="7247" y="3451"/>
                  </a:lnTo>
                  <a:lnTo>
                    <a:pt x="7221" y="3484"/>
                  </a:lnTo>
                  <a:lnTo>
                    <a:pt x="7221" y="3467"/>
                  </a:lnTo>
                  <a:lnTo>
                    <a:pt x="7231" y="3439"/>
                  </a:lnTo>
                  <a:lnTo>
                    <a:pt x="7247" y="3418"/>
                  </a:lnTo>
                  <a:lnTo>
                    <a:pt x="7247" y="3413"/>
                  </a:lnTo>
                  <a:lnTo>
                    <a:pt x="7231" y="3413"/>
                  </a:lnTo>
                  <a:lnTo>
                    <a:pt x="7238" y="3373"/>
                  </a:lnTo>
                  <a:lnTo>
                    <a:pt x="7221" y="3385"/>
                  </a:lnTo>
                  <a:lnTo>
                    <a:pt x="7205" y="3380"/>
                  </a:lnTo>
                  <a:lnTo>
                    <a:pt x="7200" y="3373"/>
                  </a:lnTo>
                  <a:lnTo>
                    <a:pt x="7214" y="3363"/>
                  </a:lnTo>
                  <a:lnTo>
                    <a:pt x="7205" y="3363"/>
                  </a:lnTo>
                  <a:lnTo>
                    <a:pt x="7205" y="3356"/>
                  </a:lnTo>
                  <a:lnTo>
                    <a:pt x="7221" y="3363"/>
                  </a:lnTo>
                  <a:lnTo>
                    <a:pt x="7221" y="3356"/>
                  </a:lnTo>
                  <a:lnTo>
                    <a:pt x="7205" y="3347"/>
                  </a:lnTo>
                  <a:lnTo>
                    <a:pt x="7200" y="3347"/>
                  </a:lnTo>
                  <a:lnTo>
                    <a:pt x="7205" y="3340"/>
                  </a:lnTo>
                  <a:lnTo>
                    <a:pt x="7214" y="3340"/>
                  </a:lnTo>
                  <a:lnTo>
                    <a:pt x="7205" y="3323"/>
                  </a:lnTo>
                  <a:lnTo>
                    <a:pt x="7200" y="3340"/>
                  </a:lnTo>
                  <a:lnTo>
                    <a:pt x="7200" y="3323"/>
                  </a:lnTo>
                  <a:lnTo>
                    <a:pt x="7205" y="3323"/>
                  </a:lnTo>
                  <a:lnTo>
                    <a:pt x="7221" y="3318"/>
                  </a:lnTo>
                  <a:lnTo>
                    <a:pt x="7205" y="3323"/>
                  </a:lnTo>
                  <a:lnTo>
                    <a:pt x="7205" y="3307"/>
                  </a:lnTo>
                  <a:lnTo>
                    <a:pt x="7214" y="3302"/>
                  </a:lnTo>
                  <a:lnTo>
                    <a:pt x="7221" y="3290"/>
                  </a:lnTo>
                  <a:lnTo>
                    <a:pt x="7238" y="3274"/>
                  </a:lnTo>
                  <a:lnTo>
                    <a:pt x="7214" y="3274"/>
                  </a:lnTo>
                  <a:lnTo>
                    <a:pt x="7221" y="3285"/>
                  </a:lnTo>
                  <a:lnTo>
                    <a:pt x="7205" y="3290"/>
                  </a:lnTo>
                  <a:lnTo>
                    <a:pt x="7205" y="3285"/>
                  </a:lnTo>
                  <a:lnTo>
                    <a:pt x="7200" y="3290"/>
                  </a:lnTo>
                  <a:lnTo>
                    <a:pt x="7193" y="3302"/>
                  </a:lnTo>
                  <a:lnTo>
                    <a:pt x="7193" y="3307"/>
                  </a:lnTo>
                  <a:lnTo>
                    <a:pt x="7176" y="3302"/>
                  </a:lnTo>
                  <a:lnTo>
                    <a:pt x="7193" y="3323"/>
                  </a:lnTo>
                  <a:lnTo>
                    <a:pt x="7183" y="3347"/>
                  </a:lnTo>
                  <a:lnTo>
                    <a:pt x="7200" y="3380"/>
                  </a:lnTo>
                  <a:lnTo>
                    <a:pt x="7176" y="3373"/>
                  </a:lnTo>
                  <a:lnTo>
                    <a:pt x="7176" y="3356"/>
                  </a:lnTo>
                  <a:lnTo>
                    <a:pt x="7176" y="3373"/>
                  </a:lnTo>
                  <a:lnTo>
                    <a:pt x="7200" y="3385"/>
                  </a:lnTo>
                  <a:lnTo>
                    <a:pt x="7200" y="3401"/>
                  </a:lnTo>
                  <a:lnTo>
                    <a:pt x="7183" y="3385"/>
                  </a:lnTo>
                  <a:lnTo>
                    <a:pt x="7162" y="3385"/>
                  </a:lnTo>
                  <a:lnTo>
                    <a:pt x="7150" y="3373"/>
                  </a:lnTo>
                  <a:lnTo>
                    <a:pt x="7138" y="3373"/>
                  </a:lnTo>
                  <a:lnTo>
                    <a:pt x="7138" y="3363"/>
                  </a:lnTo>
                  <a:lnTo>
                    <a:pt x="7150" y="3347"/>
                  </a:lnTo>
                  <a:lnTo>
                    <a:pt x="7145" y="3328"/>
                  </a:lnTo>
                  <a:lnTo>
                    <a:pt x="7150" y="3347"/>
                  </a:lnTo>
                  <a:lnTo>
                    <a:pt x="7138" y="3356"/>
                  </a:lnTo>
                  <a:lnTo>
                    <a:pt x="7129" y="3380"/>
                  </a:lnTo>
                  <a:lnTo>
                    <a:pt x="7145" y="3380"/>
                  </a:lnTo>
                  <a:lnTo>
                    <a:pt x="7162" y="3396"/>
                  </a:lnTo>
                  <a:lnTo>
                    <a:pt x="7183" y="3396"/>
                  </a:lnTo>
                  <a:lnTo>
                    <a:pt x="7205" y="3418"/>
                  </a:lnTo>
                  <a:lnTo>
                    <a:pt x="7200" y="3439"/>
                  </a:lnTo>
                  <a:lnTo>
                    <a:pt x="7145" y="3396"/>
                  </a:lnTo>
                  <a:lnTo>
                    <a:pt x="7162" y="3401"/>
                  </a:lnTo>
                  <a:lnTo>
                    <a:pt x="7183" y="3439"/>
                  </a:lnTo>
                  <a:lnTo>
                    <a:pt x="7200" y="3439"/>
                  </a:lnTo>
                  <a:lnTo>
                    <a:pt x="7205" y="3455"/>
                  </a:lnTo>
                  <a:lnTo>
                    <a:pt x="7200" y="3455"/>
                  </a:lnTo>
                  <a:lnTo>
                    <a:pt x="7200" y="3467"/>
                  </a:lnTo>
                  <a:lnTo>
                    <a:pt x="7176" y="3455"/>
                  </a:lnTo>
                  <a:lnTo>
                    <a:pt x="7205" y="3484"/>
                  </a:lnTo>
                  <a:lnTo>
                    <a:pt x="7200" y="3496"/>
                  </a:lnTo>
                  <a:lnTo>
                    <a:pt x="7176" y="3472"/>
                  </a:lnTo>
                  <a:lnTo>
                    <a:pt x="7138" y="3467"/>
                  </a:lnTo>
                  <a:lnTo>
                    <a:pt x="7176" y="3484"/>
                  </a:lnTo>
                  <a:lnTo>
                    <a:pt x="7193" y="3496"/>
                  </a:lnTo>
                  <a:lnTo>
                    <a:pt x="7200" y="3507"/>
                  </a:lnTo>
                  <a:lnTo>
                    <a:pt x="7200" y="3496"/>
                  </a:lnTo>
                  <a:lnTo>
                    <a:pt x="7221" y="3496"/>
                  </a:lnTo>
                  <a:lnTo>
                    <a:pt x="7252" y="3595"/>
                  </a:lnTo>
                  <a:lnTo>
                    <a:pt x="7247" y="3566"/>
                  </a:lnTo>
                  <a:lnTo>
                    <a:pt x="7231" y="3512"/>
                  </a:lnTo>
                  <a:lnTo>
                    <a:pt x="7221" y="3529"/>
                  </a:lnTo>
                  <a:lnTo>
                    <a:pt x="7231" y="3540"/>
                  </a:lnTo>
                  <a:lnTo>
                    <a:pt x="7221" y="3529"/>
                  </a:lnTo>
                  <a:lnTo>
                    <a:pt x="7238" y="3566"/>
                  </a:lnTo>
                  <a:lnTo>
                    <a:pt x="7221" y="3545"/>
                  </a:lnTo>
                  <a:lnTo>
                    <a:pt x="7231" y="3562"/>
                  </a:lnTo>
                  <a:lnTo>
                    <a:pt x="7205" y="3545"/>
                  </a:lnTo>
                  <a:lnTo>
                    <a:pt x="7221" y="3562"/>
                  </a:lnTo>
                  <a:lnTo>
                    <a:pt x="7205" y="3566"/>
                  </a:lnTo>
                  <a:lnTo>
                    <a:pt x="7200" y="3562"/>
                  </a:lnTo>
                  <a:lnTo>
                    <a:pt x="7193" y="3578"/>
                  </a:lnTo>
                  <a:lnTo>
                    <a:pt x="7176" y="3566"/>
                  </a:lnTo>
                  <a:lnTo>
                    <a:pt x="7176" y="3550"/>
                  </a:lnTo>
                  <a:lnTo>
                    <a:pt x="7167" y="3578"/>
                  </a:lnTo>
                  <a:lnTo>
                    <a:pt x="7193" y="3578"/>
                  </a:lnTo>
                  <a:lnTo>
                    <a:pt x="7205" y="3578"/>
                  </a:lnTo>
                  <a:lnTo>
                    <a:pt x="7214" y="3578"/>
                  </a:lnTo>
                  <a:lnTo>
                    <a:pt x="7221" y="3600"/>
                  </a:lnTo>
                  <a:lnTo>
                    <a:pt x="7214" y="3600"/>
                  </a:lnTo>
                  <a:lnTo>
                    <a:pt x="7221" y="3600"/>
                  </a:lnTo>
                  <a:lnTo>
                    <a:pt x="7221" y="3583"/>
                  </a:lnTo>
                  <a:lnTo>
                    <a:pt x="7231" y="3578"/>
                  </a:lnTo>
                  <a:lnTo>
                    <a:pt x="7247" y="3595"/>
                  </a:lnTo>
                  <a:lnTo>
                    <a:pt x="7238" y="3607"/>
                  </a:lnTo>
                  <a:lnTo>
                    <a:pt x="7221" y="3616"/>
                  </a:lnTo>
                  <a:lnTo>
                    <a:pt x="7214" y="3623"/>
                  </a:lnTo>
                  <a:lnTo>
                    <a:pt x="7193" y="3623"/>
                  </a:lnTo>
                  <a:lnTo>
                    <a:pt x="7183" y="3607"/>
                  </a:lnTo>
                  <a:lnTo>
                    <a:pt x="7176" y="3623"/>
                  </a:lnTo>
                  <a:lnTo>
                    <a:pt x="7150" y="3607"/>
                  </a:lnTo>
                  <a:lnTo>
                    <a:pt x="7193" y="3633"/>
                  </a:lnTo>
                  <a:lnTo>
                    <a:pt x="7176" y="3640"/>
                  </a:lnTo>
                  <a:lnTo>
                    <a:pt x="7183" y="3651"/>
                  </a:lnTo>
                  <a:lnTo>
                    <a:pt x="7167" y="3656"/>
                  </a:lnTo>
                  <a:lnTo>
                    <a:pt x="7145" y="3640"/>
                  </a:lnTo>
                  <a:lnTo>
                    <a:pt x="7150" y="3656"/>
                  </a:lnTo>
                  <a:lnTo>
                    <a:pt x="7167" y="3661"/>
                  </a:lnTo>
                  <a:lnTo>
                    <a:pt x="7193" y="3651"/>
                  </a:lnTo>
                  <a:lnTo>
                    <a:pt x="7193" y="3661"/>
                  </a:lnTo>
                  <a:lnTo>
                    <a:pt x="7200" y="3656"/>
                  </a:lnTo>
                  <a:lnTo>
                    <a:pt x="7205" y="3656"/>
                  </a:lnTo>
                  <a:lnTo>
                    <a:pt x="7200" y="3661"/>
                  </a:lnTo>
                  <a:lnTo>
                    <a:pt x="7183" y="3677"/>
                  </a:lnTo>
                  <a:lnTo>
                    <a:pt x="7176" y="3677"/>
                  </a:lnTo>
                  <a:lnTo>
                    <a:pt x="7176" y="3673"/>
                  </a:lnTo>
                  <a:lnTo>
                    <a:pt x="7145" y="3677"/>
                  </a:lnTo>
                  <a:lnTo>
                    <a:pt x="7129" y="3689"/>
                  </a:lnTo>
                  <a:lnTo>
                    <a:pt x="7124" y="3677"/>
                  </a:lnTo>
                  <a:lnTo>
                    <a:pt x="7129" y="3694"/>
                  </a:lnTo>
                  <a:lnTo>
                    <a:pt x="7108" y="3711"/>
                  </a:lnTo>
                  <a:lnTo>
                    <a:pt x="7091" y="3744"/>
                  </a:lnTo>
                  <a:lnTo>
                    <a:pt x="7086" y="3727"/>
                  </a:lnTo>
                  <a:lnTo>
                    <a:pt x="7086" y="3744"/>
                  </a:lnTo>
                  <a:lnTo>
                    <a:pt x="7042" y="3744"/>
                  </a:lnTo>
                  <a:lnTo>
                    <a:pt x="7020" y="3760"/>
                  </a:lnTo>
                  <a:lnTo>
                    <a:pt x="6999" y="3800"/>
                  </a:lnTo>
                  <a:lnTo>
                    <a:pt x="6987" y="3788"/>
                  </a:lnTo>
                  <a:lnTo>
                    <a:pt x="6999" y="3784"/>
                  </a:lnTo>
                  <a:lnTo>
                    <a:pt x="6987" y="3788"/>
                  </a:lnTo>
                  <a:lnTo>
                    <a:pt x="6999" y="3805"/>
                  </a:lnTo>
                  <a:lnTo>
                    <a:pt x="6982" y="3817"/>
                  </a:lnTo>
                  <a:lnTo>
                    <a:pt x="6978" y="3817"/>
                  </a:lnTo>
                  <a:lnTo>
                    <a:pt x="6949" y="3838"/>
                  </a:lnTo>
                  <a:lnTo>
                    <a:pt x="6945" y="3829"/>
                  </a:lnTo>
                  <a:lnTo>
                    <a:pt x="6949" y="3845"/>
                  </a:lnTo>
                  <a:lnTo>
                    <a:pt x="6923" y="3862"/>
                  </a:lnTo>
                  <a:lnTo>
                    <a:pt x="6897" y="3855"/>
                  </a:lnTo>
                  <a:lnTo>
                    <a:pt x="6907" y="3862"/>
                  </a:lnTo>
                  <a:lnTo>
                    <a:pt x="6907" y="3871"/>
                  </a:lnTo>
                  <a:lnTo>
                    <a:pt x="6897" y="3878"/>
                  </a:lnTo>
                  <a:lnTo>
                    <a:pt x="6897" y="3862"/>
                  </a:lnTo>
                  <a:lnTo>
                    <a:pt x="6890" y="3871"/>
                  </a:lnTo>
                  <a:lnTo>
                    <a:pt x="6881" y="3855"/>
                  </a:lnTo>
                  <a:lnTo>
                    <a:pt x="6897" y="3878"/>
                  </a:lnTo>
                  <a:lnTo>
                    <a:pt x="6881" y="3883"/>
                  </a:lnTo>
                  <a:lnTo>
                    <a:pt x="6881" y="3895"/>
                  </a:lnTo>
                  <a:lnTo>
                    <a:pt x="6881" y="3900"/>
                  </a:lnTo>
                  <a:lnTo>
                    <a:pt x="6869" y="3916"/>
                  </a:lnTo>
                  <a:lnTo>
                    <a:pt x="6860" y="3933"/>
                  </a:lnTo>
                  <a:lnTo>
                    <a:pt x="6853" y="3933"/>
                  </a:lnTo>
                  <a:lnTo>
                    <a:pt x="6860" y="3937"/>
                  </a:lnTo>
                  <a:lnTo>
                    <a:pt x="6853" y="3956"/>
                  </a:lnTo>
                  <a:lnTo>
                    <a:pt x="6836" y="3966"/>
                  </a:lnTo>
                  <a:lnTo>
                    <a:pt x="6843" y="3973"/>
                  </a:lnTo>
                  <a:lnTo>
                    <a:pt x="6836" y="3989"/>
                  </a:lnTo>
                  <a:lnTo>
                    <a:pt x="6853" y="4077"/>
                  </a:lnTo>
                  <a:lnTo>
                    <a:pt x="6874" y="4122"/>
                  </a:lnTo>
                  <a:lnTo>
                    <a:pt x="6907" y="4171"/>
                  </a:lnTo>
                  <a:lnTo>
                    <a:pt x="6897" y="4192"/>
                  </a:lnTo>
                  <a:lnTo>
                    <a:pt x="6912" y="4225"/>
                  </a:lnTo>
                  <a:lnTo>
                    <a:pt x="6897" y="4192"/>
                  </a:lnTo>
                  <a:lnTo>
                    <a:pt x="6897" y="4159"/>
                  </a:lnTo>
                  <a:lnTo>
                    <a:pt x="6890" y="4159"/>
                  </a:lnTo>
                  <a:lnTo>
                    <a:pt x="6890" y="4155"/>
                  </a:lnTo>
                  <a:lnTo>
                    <a:pt x="6881" y="4155"/>
                  </a:lnTo>
                  <a:lnTo>
                    <a:pt x="6890" y="4176"/>
                  </a:lnTo>
                  <a:lnTo>
                    <a:pt x="6935" y="4303"/>
                  </a:lnTo>
                  <a:lnTo>
                    <a:pt x="6928" y="4377"/>
                  </a:lnTo>
                  <a:lnTo>
                    <a:pt x="6923" y="4398"/>
                  </a:lnTo>
                  <a:lnTo>
                    <a:pt x="6912" y="4431"/>
                  </a:lnTo>
                  <a:lnTo>
                    <a:pt x="6907" y="4426"/>
                  </a:lnTo>
                  <a:lnTo>
                    <a:pt x="6869" y="4431"/>
                  </a:lnTo>
                  <a:lnTo>
                    <a:pt x="6860" y="4426"/>
                  </a:lnTo>
                  <a:lnTo>
                    <a:pt x="6874" y="4431"/>
                  </a:lnTo>
                  <a:lnTo>
                    <a:pt x="6874" y="4426"/>
                  </a:lnTo>
                  <a:lnTo>
                    <a:pt x="6860" y="4414"/>
                  </a:lnTo>
                  <a:lnTo>
                    <a:pt x="6853" y="4381"/>
                  </a:lnTo>
                  <a:lnTo>
                    <a:pt x="6822" y="4370"/>
                  </a:lnTo>
                  <a:lnTo>
                    <a:pt x="6815" y="4327"/>
                  </a:lnTo>
                  <a:lnTo>
                    <a:pt x="6805" y="4327"/>
                  </a:lnTo>
                  <a:lnTo>
                    <a:pt x="6822" y="4315"/>
                  </a:lnTo>
                  <a:lnTo>
                    <a:pt x="6805" y="4327"/>
                  </a:lnTo>
                  <a:lnTo>
                    <a:pt x="6798" y="4327"/>
                  </a:lnTo>
                  <a:lnTo>
                    <a:pt x="6798" y="4299"/>
                  </a:lnTo>
                  <a:lnTo>
                    <a:pt x="6789" y="4299"/>
                  </a:lnTo>
                  <a:lnTo>
                    <a:pt x="6789" y="4303"/>
                  </a:lnTo>
                  <a:lnTo>
                    <a:pt x="6784" y="4303"/>
                  </a:lnTo>
                  <a:lnTo>
                    <a:pt x="6760" y="4261"/>
                  </a:lnTo>
                  <a:lnTo>
                    <a:pt x="6772" y="4225"/>
                  </a:lnTo>
                  <a:lnTo>
                    <a:pt x="6772" y="4216"/>
                  </a:lnTo>
                  <a:lnTo>
                    <a:pt x="6751" y="4209"/>
                  </a:lnTo>
                  <a:lnTo>
                    <a:pt x="6751" y="4216"/>
                  </a:lnTo>
                  <a:lnTo>
                    <a:pt x="6760" y="4225"/>
                  </a:lnTo>
                  <a:lnTo>
                    <a:pt x="6751" y="4244"/>
                  </a:lnTo>
                  <a:lnTo>
                    <a:pt x="6746" y="4225"/>
                  </a:lnTo>
                  <a:lnTo>
                    <a:pt x="6760" y="4176"/>
                  </a:lnTo>
                  <a:lnTo>
                    <a:pt x="6760" y="4150"/>
                  </a:lnTo>
                  <a:lnTo>
                    <a:pt x="6746" y="4122"/>
                  </a:lnTo>
                  <a:lnTo>
                    <a:pt x="6730" y="4117"/>
                  </a:lnTo>
                  <a:lnTo>
                    <a:pt x="6708" y="4093"/>
                  </a:lnTo>
                  <a:lnTo>
                    <a:pt x="6708" y="4081"/>
                  </a:lnTo>
                  <a:lnTo>
                    <a:pt x="6680" y="4060"/>
                  </a:lnTo>
                  <a:lnTo>
                    <a:pt x="6659" y="4048"/>
                  </a:lnTo>
                  <a:lnTo>
                    <a:pt x="6642" y="4048"/>
                  </a:lnTo>
                  <a:lnTo>
                    <a:pt x="6626" y="4060"/>
                  </a:lnTo>
                  <a:lnTo>
                    <a:pt x="6638" y="4065"/>
                  </a:lnTo>
                  <a:lnTo>
                    <a:pt x="6626" y="4060"/>
                  </a:lnTo>
                  <a:lnTo>
                    <a:pt x="6600" y="4077"/>
                  </a:lnTo>
                  <a:lnTo>
                    <a:pt x="6567" y="4081"/>
                  </a:lnTo>
                  <a:lnTo>
                    <a:pt x="6567" y="4065"/>
                  </a:lnTo>
                  <a:lnTo>
                    <a:pt x="6567" y="4081"/>
                  </a:lnTo>
                  <a:lnTo>
                    <a:pt x="6567" y="4065"/>
                  </a:lnTo>
                  <a:lnTo>
                    <a:pt x="6545" y="4048"/>
                  </a:lnTo>
                  <a:lnTo>
                    <a:pt x="6567" y="4048"/>
                  </a:lnTo>
                  <a:lnTo>
                    <a:pt x="6545" y="4044"/>
                  </a:lnTo>
                  <a:lnTo>
                    <a:pt x="6534" y="4039"/>
                  </a:lnTo>
                  <a:lnTo>
                    <a:pt x="6545" y="4044"/>
                  </a:lnTo>
                  <a:lnTo>
                    <a:pt x="6496" y="4027"/>
                  </a:lnTo>
                  <a:lnTo>
                    <a:pt x="6512" y="4027"/>
                  </a:lnTo>
                  <a:lnTo>
                    <a:pt x="6503" y="4022"/>
                  </a:lnTo>
                  <a:lnTo>
                    <a:pt x="6437" y="4027"/>
                  </a:lnTo>
                  <a:lnTo>
                    <a:pt x="6458" y="4022"/>
                  </a:lnTo>
                  <a:lnTo>
                    <a:pt x="6442" y="4011"/>
                  </a:lnTo>
                  <a:lnTo>
                    <a:pt x="6427" y="4027"/>
                  </a:lnTo>
                  <a:lnTo>
                    <a:pt x="6411" y="4039"/>
                  </a:lnTo>
                  <a:lnTo>
                    <a:pt x="6427" y="4022"/>
                  </a:lnTo>
                  <a:lnTo>
                    <a:pt x="6420" y="4022"/>
                  </a:lnTo>
                  <a:lnTo>
                    <a:pt x="6411" y="4039"/>
                  </a:lnTo>
                  <a:lnTo>
                    <a:pt x="6382" y="4039"/>
                  </a:lnTo>
                  <a:lnTo>
                    <a:pt x="6394" y="4039"/>
                  </a:lnTo>
                  <a:lnTo>
                    <a:pt x="6390" y="4022"/>
                  </a:lnTo>
                  <a:lnTo>
                    <a:pt x="6390" y="4006"/>
                  </a:lnTo>
                  <a:lnTo>
                    <a:pt x="6382" y="4006"/>
                  </a:lnTo>
                  <a:lnTo>
                    <a:pt x="6373" y="4027"/>
                  </a:lnTo>
                  <a:lnTo>
                    <a:pt x="6357" y="4027"/>
                  </a:lnTo>
                  <a:lnTo>
                    <a:pt x="6352" y="4027"/>
                  </a:lnTo>
                  <a:lnTo>
                    <a:pt x="6314" y="4022"/>
                  </a:lnTo>
                  <a:lnTo>
                    <a:pt x="6276" y="4044"/>
                  </a:lnTo>
                  <a:lnTo>
                    <a:pt x="6227" y="4027"/>
                  </a:lnTo>
                  <a:lnTo>
                    <a:pt x="6210" y="4044"/>
                  </a:lnTo>
                  <a:lnTo>
                    <a:pt x="6210" y="4048"/>
                  </a:lnTo>
                  <a:lnTo>
                    <a:pt x="6227" y="4048"/>
                  </a:lnTo>
                  <a:lnTo>
                    <a:pt x="6264" y="4044"/>
                  </a:lnTo>
                  <a:lnTo>
                    <a:pt x="6248" y="4048"/>
                  </a:lnTo>
                  <a:lnTo>
                    <a:pt x="6264" y="4065"/>
                  </a:lnTo>
                  <a:lnTo>
                    <a:pt x="6281" y="4048"/>
                  </a:lnTo>
                  <a:lnTo>
                    <a:pt x="6286" y="4065"/>
                  </a:lnTo>
                  <a:lnTo>
                    <a:pt x="6281" y="4077"/>
                  </a:lnTo>
                  <a:lnTo>
                    <a:pt x="6281" y="4065"/>
                  </a:lnTo>
                  <a:lnTo>
                    <a:pt x="6260" y="4081"/>
                  </a:lnTo>
                  <a:lnTo>
                    <a:pt x="6314" y="4122"/>
                  </a:lnTo>
                  <a:lnTo>
                    <a:pt x="6302" y="4133"/>
                  </a:lnTo>
                  <a:lnTo>
                    <a:pt x="6297" y="4133"/>
                  </a:lnTo>
                  <a:lnTo>
                    <a:pt x="6281" y="4138"/>
                  </a:lnTo>
                  <a:lnTo>
                    <a:pt x="6286" y="4122"/>
                  </a:lnTo>
                  <a:lnTo>
                    <a:pt x="6281" y="4133"/>
                  </a:lnTo>
                  <a:lnTo>
                    <a:pt x="6281" y="4117"/>
                  </a:lnTo>
                  <a:lnTo>
                    <a:pt x="6260" y="4105"/>
                  </a:lnTo>
                  <a:lnTo>
                    <a:pt x="6260" y="4100"/>
                  </a:lnTo>
                  <a:lnTo>
                    <a:pt x="6227" y="4093"/>
                  </a:lnTo>
                  <a:lnTo>
                    <a:pt x="6227" y="4100"/>
                  </a:lnTo>
                  <a:lnTo>
                    <a:pt x="6243" y="4100"/>
                  </a:lnTo>
                  <a:lnTo>
                    <a:pt x="6231" y="4122"/>
                  </a:lnTo>
                  <a:lnTo>
                    <a:pt x="6227" y="4133"/>
                  </a:lnTo>
                  <a:lnTo>
                    <a:pt x="6222" y="4117"/>
                  </a:lnTo>
                  <a:lnTo>
                    <a:pt x="6210" y="4105"/>
                  </a:lnTo>
                  <a:lnTo>
                    <a:pt x="6189" y="4122"/>
                  </a:lnTo>
                  <a:lnTo>
                    <a:pt x="6151" y="4117"/>
                  </a:lnTo>
                  <a:lnTo>
                    <a:pt x="6151" y="4105"/>
                  </a:lnTo>
                  <a:lnTo>
                    <a:pt x="6156" y="4105"/>
                  </a:lnTo>
                  <a:lnTo>
                    <a:pt x="6156" y="4117"/>
                  </a:lnTo>
                  <a:lnTo>
                    <a:pt x="6168" y="4105"/>
                  </a:lnTo>
                  <a:lnTo>
                    <a:pt x="6134" y="4093"/>
                  </a:lnTo>
                  <a:lnTo>
                    <a:pt x="6125" y="4077"/>
                  </a:lnTo>
                  <a:lnTo>
                    <a:pt x="6113" y="4065"/>
                  </a:lnTo>
                  <a:lnTo>
                    <a:pt x="6087" y="4077"/>
                  </a:lnTo>
                  <a:lnTo>
                    <a:pt x="6097" y="4081"/>
                  </a:lnTo>
                  <a:lnTo>
                    <a:pt x="6080" y="4093"/>
                  </a:lnTo>
                  <a:lnTo>
                    <a:pt x="6012" y="4077"/>
                  </a:lnTo>
                  <a:lnTo>
                    <a:pt x="5974" y="4077"/>
                  </a:lnTo>
                  <a:lnTo>
                    <a:pt x="5962" y="4065"/>
                  </a:lnTo>
                  <a:lnTo>
                    <a:pt x="5979" y="4060"/>
                  </a:lnTo>
                  <a:lnTo>
                    <a:pt x="5974" y="4060"/>
                  </a:lnTo>
                  <a:lnTo>
                    <a:pt x="5962" y="4065"/>
                  </a:lnTo>
                  <a:lnTo>
                    <a:pt x="5974" y="4081"/>
                  </a:lnTo>
                  <a:lnTo>
                    <a:pt x="5950" y="4081"/>
                  </a:lnTo>
                  <a:lnTo>
                    <a:pt x="5903" y="4105"/>
                  </a:lnTo>
                  <a:lnTo>
                    <a:pt x="5924" y="4093"/>
                  </a:lnTo>
                  <a:lnTo>
                    <a:pt x="5903" y="4093"/>
                  </a:lnTo>
                  <a:lnTo>
                    <a:pt x="5908" y="4077"/>
                  </a:lnTo>
                  <a:lnTo>
                    <a:pt x="5886" y="4077"/>
                  </a:lnTo>
                  <a:lnTo>
                    <a:pt x="5898" y="4105"/>
                  </a:lnTo>
                  <a:lnTo>
                    <a:pt x="5882" y="4133"/>
                  </a:lnTo>
                  <a:lnTo>
                    <a:pt x="5799" y="4176"/>
                  </a:lnTo>
                  <a:lnTo>
                    <a:pt x="5816" y="4159"/>
                  </a:lnTo>
                  <a:lnTo>
                    <a:pt x="5799" y="4171"/>
                  </a:lnTo>
                  <a:lnTo>
                    <a:pt x="5811" y="4159"/>
                  </a:lnTo>
                  <a:lnTo>
                    <a:pt x="5790" y="4155"/>
                  </a:lnTo>
                  <a:lnTo>
                    <a:pt x="5794" y="4159"/>
                  </a:lnTo>
                  <a:lnTo>
                    <a:pt x="5790" y="4159"/>
                  </a:lnTo>
                  <a:lnTo>
                    <a:pt x="5773" y="4155"/>
                  </a:lnTo>
                  <a:lnTo>
                    <a:pt x="5778" y="4171"/>
                  </a:lnTo>
                  <a:lnTo>
                    <a:pt x="5794" y="4176"/>
                  </a:lnTo>
                  <a:lnTo>
                    <a:pt x="5773" y="4188"/>
                  </a:lnTo>
                  <a:lnTo>
                    <a:pt x="5761" y="4176"/>
                  </a:lnTo>
                  <a:lnTo>
                    <a:pt x="5761" y="4192"/>
                  </a:lnTo>
                  <a:lnTo>
                    <a:pt x="5757" y="4204"/>
                  </a:lnTo>
                  <a:lnTo>
                    <a:pt x="5740" y="4204"/>
                  </a:lnTo>
                  <a:lnTo>
                    <a:pt x="5735" y="4209"/>
                  </a:lnTo>
                  <a:lnTo>
                    <a:pt x="5747" y="4209"/>
                  </a:lnTo>
                  <a:lnTo>
                    <a:pt x="5740" y="4225"/>
                  </a:lnTo>
                  <a:lnTo>
                    <a:pt x="5709" y="4225"/>
                  </a:lnTo>
                  <a:lnTo>
                    <a:pt x="5735" y="4244"/>
                  </a:lnTo>
                  <a:lnTo>
                    <a:pt x="5719" y="4266"/>
                  </a:lnTo>
                  <a:lnTo>
                    <a:pt x="5709" y="4266"/>
                  </a:lnTo>
                  <a:lnTo>
                    <a:pt x="5693" y="4261"/>
                  </a:lnTo>
                  <a:lnTo>
                    <a:pt x="5702" y="4270"/>
                  </a:lnTo>
                  <a:lnTo>
                    <a:pt x="5719" y="4266"/>
                  </a:lnTo>
                  <a:lnTo>
                    <a:pt x="5709" y="4303"/>
                  </a:lnTo>
                  <a:lnTo>
                    <a:pt x="5735" y="4370"/>
                  </a:lnTo>
                  <a:lnTo>
                    <a:pt x="5740" y="4360"/>
                  </a:lnTo>
                  <a:lnTo>
                    <a:pt x="5740" y="4370"/>
                  </a:lnTo>
                  <a:lnTo>
                    <a:pt x="5719" y="4377"/>
                  </a:lnTo>
                  <a:lnTo>
                    <a:pt x="5702" y="4370"/>
                  </a:lnTo>
                  <a:lnTo>
                    <a:pt x="5664" y="4360"/>
                  </a:lnTo>
                  <a:lnTo>
                    <a:pt x="5648" y="4353"/>
                  </a:lnTo>
                  <a:lnTo>
                    <a:pt x="5601" y="4337"/>
                  </a:lnTo>
                  <a:lnTo>
                    <a:pt x="5596" y="4303"/>
                  </a:lnTo>
                  <a:lnTo>
                    <a:pt x="5579" y="4287"/>
                  </a:lnTo>
                  <a:lnTo>
                    <a:pt x="5572" y="4249"/>
                  </a:lnTo>
                  <a:lnTo>
                    <a:pt x="5546" y="4233"/>
                  </a:lnTo>
                  <a:lnTo>
                    <a:pt x="5530" y="4204"/>
                  </a:lnTo>
                  <a:lnTo>
                    <a:pt x="5520" y="4192"/>
                  </a:lnTo>
                  <a:lnTo>
                    <a:pt x="5492" y="4122"/>
                  </a:lnTo>
                  <a:lnTo>
                    <a:pt x="5449" y="4081"/>
                  </a:lnTo>
                  <a:lnTo>
                    <a:pt x="5438" y="4077"/>
                  </a:lnTo>
                  <a:lnTo>
                    <a:pt x="5395" y="4077"/>
                  </a:lnTo>
                  <a:lnTo>
                    <a:pt x="5379" y="4065"/>
                  </a:lnTo>
                  <a:lnTo>
                    <a:pt x="5357" y="4077"/>
                  </a:lnTo>
                  <a:lnTo>
                    <a:pt x="5341" y="4117"/>
                  </a:lnTo>
                  <a:lnTo>
                    <a:pt x="5315" y="4138"/>
                  </a:lnTo>
                  <a:lnTo>
                    <a:pt x="5303" y="4133"/>
                  </a:lnTo>
                  <a:lnTo>
                    <a:pt x="5256" y="4105"/>
                  </a:lnTo>
                  <a:lnTo>
                    <a:pt x="5223" y="4081"/>
                  </a:lnTo>
                  <a:lnTo>
                    <a:pt x="5206" y="4060"/>
                  </a:lnTo>
                  <a:lnTo>
                    <a:pt x="5206" y="4044"/>
                  </a:lnTo>
                  <a:lnTo>
                    <a:pt x="5194" y="4011"/>
                  </a:lnTo>
                  <a:lnTo>
                    <a:pt x="5097" y="3937"/>
                  </a:lnTo>
                  <a:lnTo>
                    <a:pt x="5093" y="3916"/>
                  </a:lnTo>
                  <a:lnTo>
                    <a:pt x="4963" y="3916"/>
                  </a:lnTo>
                  <a:lnTo>
                    <a:pt x="4963" y="3949"/>
                  </a:lnTo>
                  <a:lnTo>
                    <a:pt x="4764" y="3949"/>
                  </a:lnTo>
                  <a:lnTo>
                    <a:pt x="4500" y="3855"/>
                  </a:lnTo>
                  <a:lnTo>
                    <a:pt x="4505" y="3838"/>
                  </a:lnTo>
                  <a:lnTo>
                    <a:pt x="4337" y="3855"/>
                  </a:lnTo>
                  <a:lnTo>
                    <a:pt x="4325" y="3838"/>
                  </a:lnTo>
                  <a:lnTo>
                    <a:pt x="4337" y="3845"/>
                  </a:lnTo>
                  <a:lnTo>
                    <a:pt x="4325" y="3845"/>
                  </a:lnTo>
                  <a:lnTo>
                    <a:pt x="4325" y="3822"/>
                  </a:lnTo>
                  <a:lnTo>
                    <a:pt x="4316" y="3788"/>
                  </a:lnTo>
                  <a:lnTo>
                    <a:pt x="4266" y="3760"/>
                  </a:lnTo>
                  <a:lnTo>
                    <a:pt x="4249" y="3760"/>
                  </a:lnTo>
                  <a:lnTo>
                    <a:pt x="4235" y="3734"/>
                  </a:lnTo>
                  <a:lnTo>
                    <a:pt x="4197" y="3727"/>
                  </a:lnTo>
                  <a:lnTo>
                    <a:pt x="4164" y="3706"/>
                  </a:lnTo>
                  <a:lnTo>
                    <a:pt x="4105" y="3706"/>
                  </a:lnTo>
                  <a:lnTo>
                    <a:pt x="4089" y="3689"/>
                  </a:lnTo>
                  <a:lnTo>
                    <a:pt x="4098" y="3651"/>
                  </a:lnTo>
                  <a:lnTo>
                    <a:pt x="4072" y="3640"/>
                  </a:lnTo>
                  <a:lnTo>
                    <a:pt x="4072" y="3616"/>
                  </a:lnTo>
                  <a:lnTo>
                    <a:pt x="4001" y="3545"/>
                  </a:lnTo>
                  <a:lnTo>
                    <a:pt x="3997" y="3524"/>
                  </a:lnTo>
                  <a:lnTo>
                    <a:pt x="4013" y="3524"/>
                  </a:lnTo>
                  <a:lnTo>
                    <a:pt x="4013" y="3496"/>
                  </a:lnTo>
                  <a:lnTo>
                    <a:pt x="4001" y="3488"/>
                  </a:lnTo>
                  <a:lnTo>
                    <a:pt x="3980" y="3488"/>
                  </a:lnTo>
                  <a:lnTo>
                    <a:pt x="3964" y="3472"/>
                  </a:lnTo>
                  <a:lnTo>
                    <a:pt x="3964" y="3455"/>
                  </a:lnTo>
                  <a:lnTo>
                    <a:pt x="3959" y="3451"/>
                  </a:lnTo>
                  <a:lnTo>
                    <a:pt x="3959" y="3429"/>
                  </a:lnTo>
                  <a:lnTo>
                    <a:pt x="3964" y="3429"/>
                  </a:lnTo>
                  <a:lnTo>
                    <a:pt x="3975" y="3439"/>
                  </a:lnTo>
                  <a:lnTo>
                    <a:pt x="3997" y="3451"/>
                  </a:lnTo>
                  <a:lnTo>
                    <a:pt x="3964" y="3413"/>
                  </a:lnTo>
                  <a:lnTo>
                    <a:pt x="3980" y="3401"/>
                  </a:lnTo>
                  <a:lnTo>
                    <a:pt x="4018" y="3413"/>
                  </a:lnTo>
                  <a:lnTo>
                    <a:pt x="4030" y="3401"/>
                  </a:lnTo>
                  <a:lnTo>
                    <a:pt x="4034" y="3413"/>
                  </a:lnTo>
                  <a:lnTo>
                    <a:pt x="4030" y="3401"/>
                  </a:lnTo>
                  <a:lnTo>
                    <a:pt x="4013" y="3401"/>
                  </a:lnTo>
                  <a:lnTo>
                    <a:pt x="3997" y="3396"/>
                  </a:lnTo>
                  <a:lnTo>
                    <a:pt x="3992" y="3401"/>
                  </a:lnTo>
                  <a:lnTo>
                    <a:pt x="3975" y="3396"/>
                  </a:lnTo>
                  <a:lnTo>
                    <a:pt x="3964" y="3396"/>
                  </a:lnTo>
                  <a:lnTo>
                    <a:pt x="3964" y="3418"/>
                  </a:lnTo>
                  <a:lnTo>
                    <a:pt x="3959" y="3429"/>
                  </a:lnTo>
                  <a:lnTo>
                    <a:pt x="3938" y="3401"/>
                  </a:lnTo>
                  <a:lnTo>
                    <a:pt x="3926" y="3413"/>
                  </a:lnTo>
                  <a:lnTo>
                    <a:pt x="3926" y="3385"/>
                  </a:lnTo>
                  <a:lnTo>
                    <a:pt x="3942" y="3401"/>
                  </a:lnTo>
                  <a:lnTo>
                    <a:pt x="3921" y="3373"/>
                  </a:lnTo>
                  <a:lnTo>
                    <a:pt x="3871" y="3328"/>
                  </a:lnTo>
                  <a:lnTo>
                    <a:pt x="3871" y="3262"/>
                  </a:lnTo>
                  <a:lnTo>
                    <a:pt x="3850" y="3229"/>
                  </a:lnTo>
                  <a:lnTo>
                    <a:pt x="3834" y="3219"/>
                  </a:lnTo>
                  <a:lnTo>
                    <a:pt x="3829" y="3207"/>
                  </a:lnTo>
                  <a:lnTo>
                    <a:pt x="3841" y="3174"/>
                  </a:lnTo>
                  <a:lnTo>
                    <a:pt x="3850" y="3118"/>
                  </a:lnTo>
                  <a:lnTo>
                    <a:pt x="3841" y="3085"/>
                  </a:lnTo>
                  <a:lnTo>
                    <a:pt x="3841" y="3068"/>
                  </a:lnTo>
                  <a:lnTo>
                    <a:pt x="3829" y="3047"/>
                  </a:lnTo>
                  <a:lnTo>
                    <a:pt x="3829" y="3014"/>
                  </a:lnTo>
                  <a:lnTo>
                    <a:pt x="3817" y="2990"/>
                  </a:lnTo>
                  <a:lnTo>
                    <a:pt x="3829" y="2952"/>
                  </a:lnTo>
                  <a:lnTo>
                    <a:pt x="3841" y="2952"/>
                  </a:lnTo>
                  <a:lnTo>
                    <a:pt x="3841" y="2940"/>
                  </a:lnTo>
                  <a:lnTo>
                    <a:pt x="3834" y="2940"/>
                  </a:lnTo>
                  <a:lnTo>
                    <a:pt x="3850" y="2919"/>
                  </a:lnTo>
                  <a:lnTo>
                    <a:pt x="3850" y="2813"/>
                  </a:lnTo>
                  <a:lnTo>
                    <a:pt x="3855" y="2792"/>
                  </a:lnTo>
                  <a:lnTo>
                    <a:pt x="3855" y="2759"/>
                  </a:lnTo>
                  <a:lnTo>
                    <a:pt x="3867" y="2759"/>
                  </a:lnTo>
                  <a:lnTo>
                    <a:pt x="3855" y="2697"/>
                  </a:lnTo>
                  <a:lnTo>
                    <a:pt x="3888" y="2692"/>
                  </a:lnTo>
                  <a:lnTo>
                    <a:pt x="3905" y="2702"/>
                  </a:lnTo>
                  <a:lnTo>
                    <a:pt x="3909" y="2697"/>
                  </a:lnTo>
                  <a:lnTo>
                    <a:pt x="3855" y="2692"/>
                  </a:lnTo>
                  <a:lnTo>
                    <a:pt x="3850" y="2659"/>
                  </a:lnTo>
                  <a:lnTo>
                    <a:pt x="3855" y="2681"/>
                  </a:lnTo>
                  <a:lnTo>
                    <a:pt x="3867" y="2664"/>
                  </a:lnTo>
                  <a:lnTo>
                    <a:pt x="3855" y="2659"/>
                  </a:lnTo>
                  <a:lnTo>
                    <a:pt x="3871" y="2648"/>
                  </a:lnTo>
                  <a:lnTo>
                    <a:pt x="3850" y="2648"/>
                  </a:lnTo>
                  <a:lnTo>
                    <a:pt x="3850" y="2643"/>
                  </a:lnTo>
                  <a:lnTo>
                    <a:pt x="3871" y="2626"/>
                  </a:lnTo>
                  <a:lnTo>
                    <a:pt x="3850" y="2619"/>
                  </a:lnTo>
                  <a:lnTo>
                    <a:pt x="3841" y="2636"/>
                  </a:lnTo>
                  <a:lnTo>
                    <a:pt x="3829" y="2565"/>
                  </a:lnTo>
                  <a:lnTo>
                    <a:pt x="3812" y="2532"/>
                  </a:lnTo>
                  <a:lnTo>
                    <a:pt x="3803" y="2499"/>
                  </a:lnTo>
                  <a:lnTo>
                    <a:pt x="3855" y="2515"/>
                  </a:lnTo>
                  <a:lnTo>
                    <a:pt x="3905" y="2525"/>
                  </a:lnTo>
                  <a:lnTo>
                    <a:pt x="3921" y="2515"/>
                  </a:lnTo>
                  <a:lnTo>
                    <a:pt x="3938" y="2525"/>
                  </a:lnTo>
                  <a:lnTo>
                    <a:pt x="3942" y="2515"/>
                  </a:lnTo>
                  <a:lnTo>
                    <a:pt x="3942" y="2525"/>
                  </a:lnTo>
                  <a:lnTo>
                    <a:pt x="3947" y="2537"/>
                  </a:lnTo>
                  <a:lnTo>
                    <a:pt x="3942" y="2553"/>
                  </a:lnTo>
                  <a:lnTo>
                    <a:pt x="3938" y="2548"/>
                  </a:lnTo>
                  <a:lnTo>
                    <a:pt x="3909" y="2591"/>
                  </a:lnTo>
                  <a:lnTo>
                    <a:pt x="3938" y="2586"/>
                  </a:lnTo>
                  <a:lnTo>
                    <a:pt x="3921" y="2586"/>
                  </a:lnTo>
                  <a:lnTo>
                    <a:pt x="3959" y="2537"/>
                  </a:lnTo>
                  <a:lnTo>
                    <a:pt x="3964" y="2553"/>
                  </a:lnTo>
                  <a:lnTo>
                    <a:pt x="3947" y="2565"/>
                  </a:lnTo>
                  <a:lnTo>
                    <a:pt x="3947" y="2570"/>
                  </a:lnTo>
                  <a:lnTo>
                    <a:pt x="3947" y="2565"/>
                  </a:lnTo>
                  <a:lnTo>
                    <a:pt x="3947" y="2581"/>
                  </a:lnTo>
                  <a:lnTo>
                    <a:pt x="3959" y="2570"/>
                  </a:lnTo>
                  <a:lnTo>
                    <a:pt x="3959" y="2603"/>
                  </a:lnTo>
                  <a:lnTo>
                    <a:pt x="3947" y="2591"/>
                  </a:lnTo>
                  <a:lnTo>
                    <a:pt x="3947" y="2586"/>
                  </a:lnTo>
                  <a:lnTo>
                    <a:pt x="3942" y="2610"/>
                  </a:lnTo>
                  <a:lnTo>
                    <a:pt x="3942" y="2586"/>
                  </a:lnTo>
                  <a:lnTo>
                    <a:pt x="3921" y="2610"/>
                  </a:lnTo>
                  <a:lnTo>
                    <a:pt x="3938" y="2619"/>
                  </a:lnTo>
                  <a:lnTo>
                    <a:pt x="3938" y="2610"/>
                  </a:lnTo>
                  <a:lnTo>
                    <a:pt x="3942" y="2619"/>
                  </a:lnTo>
                  <a:lnTo>
                    <a:pt x="3975" y="2586"/>
                  </a:lnTo>
                  <a:lnTo>
                    <a:pt x="3964" y="2565"/>
                  </a:lnTo>
                  <a:lnTo>
                    <a:pt x="3975" y="2537"/>
                  </a:lnTo>
                  <a:lnTo>
                    <a:pt x="3975" y="2532"/>
                  </a:lnTo>
                  <a:lnTo>
                    <a:pt x="3964" y="2515"/>
                  </a:lnTo>
                  <a:lnTo>
                    <a:pt x="3964" y="2525"/>
                  </a:lnTo>
                  <a:lnTo>
                    <a:pt x="3959" y="2515"/>
                  </a:lnTo>
                  <a:lnTo>
                    <a:pt x="3964" y="2508"/>
                  </a:lnTo>
                  <a:lnTo>
                    <a:pt x="3942" y="2492"/>
                  </a:lnTo>
                  <a:lnTo>
                    <a:pt x="3959" y="2492"/>
                  </a:lnTo>
                  <a:lnTo>
                    <a:pt x="3964" y="2475"/>
                  </a:lnTo>
                  <a:lnTo>
                    <a:pt x="3959" y="2470"/>
                  </a:lnTo>
                  <a:lnTo>
                    <a:pt x="3947" y="2459"/>
                  </a:lnTo>
                  <a:lnTo>
                    <a:pt x="3942" y="2454"/>
                  </a:lnTo>
                  <a:lnTo>
                    <a:pt x="3942" y="2442"/>
                  </a:lnTo>
                  <a:lnTo>
                    <a:pt x="3942" y="2442"/>
                  </a:lnTo>
                  <a:lnTo>
                    <a:pt x="3942" y="2442"/>
                  </a:lnTo>
                  <a:close/>
                  <a:moveTo>
                    <a:pt x="3938" y="2470"/>
                  </a:moveTo>
                  <a:lnTo>
                    <a:pt x="3942" y="2475"/>
                  </a:lnTo>
                  <a:lnTo>
                    <a:pt x="3926" y="2475"/>
                  </a:lnTo>
                  <a:lnTo>
                    <a:pt x="3938" y="2470"/>
                  </a:lnTo>
                  <a:lnTo>
                    <a:pt x="3938" y="2470"/>
                  </a:lnTo>
                  <a:lnTo>
                    <a:pt x="3938" y="2470"/>
                  </a:lnTo>
                  <a:close/>
                  <a:moveTo>
                    <a:pt x="3921" y="2475"/>
                  </a:moveTo>
                  <a:lnTo>
                    <a:pt x="3926" y="2492"/>
                  </a:lnTo>
                  <a:lnTo>
                    <a:pt x="3909" y="2492"/>
                  </a:lnTo>
                  <a:lnTo>
                    <a:pt x="3909" y="2475"/>
                  </a:lnTo>
                  <a:lnTo>
                    <a:pt x="3921" y="2475"/>
                  </a:lnTo>
                  <a:lnTo>
                    <a:pt x="3921" y="2475"/>
                  </a:lnTo>
                  <a:lnTo>
                    <a:pt x="3921" y="2475"/>
                  </a:lnTo>
                  <a:close/>
                  <a:moveTo>
                    <a:pt x="3938" y="2482"/>
                  </a:moveTo>
                  <a:lnTo>
                    <a:pt x="3938" y="2492"/>
                  </a:lnTo>
                  <a:lnTo>
                    <a:pt x="3926" y="2492"/>
                  </a:lnTo>
                  <a:lnTo>
                    <a:pt x="3938" y="2482"/>
                  </a:lnTo>
                  <a:lnTo>
                    <a:pt x="3938" y="2482"/>
                  </a:lnTo>
                  <a:lnTo>
                    <a:pt x="3938" y="2482"/>
                  </a:lnTo>
                  <a:close/>
                  <a:moveTo>
                    <a:pt x="3959" y="2499"/>
                  </a:moveTo>
                  <a:lnTo>
                    <a:pt x="3959" y="2508"/>
                  </a:lnTo>
                  <a:lnTo>
                    <a:pt x="3947" y="2515"/>
                  </a:lnTo>
                  <a:lnTo>
                    <a:pt x="3975" y="2532"/>
                  </a:lnTo>
                  <a:lnTo>
                    <a:pt x="3964" y="2537"/>
                  </a:lnTo>
                  <a:lnTo>
                    <a:pt x="3942" y="2515"/>
                  </a:lnTo>
                  <a:lnTo>
                    <a:pt x="3959" y="2499"/>
                  </a:lnTo>
                  <a:lnTo>
                    <a:pt x="3959" y="2499"/>
                  </a:lnTo>
                  <a:lnTo>
                    <a:pt x="3959" y="2499"/>
                  </a:lnTo>
                  <a:close/>
                  <a:moveTo>
                    <a:pt x="3959" y="2565"/>
                  </a:moveTo>
                  <a:lnTo>
                    <a:pt x="3959" y="2570"/>
                  </a:lnTo>
                  <a:lnTo>
                    <a:pt x="3959" y="2565"/>
                  </a:lnTo>
                  <a:lnTo>
                    <a:pt x="3959" y="2565"/>
                  </a:lnTo>
                  <a:lnTo>
                    <a:pt x="3959" y="2565"/>
                  </a:lnTo>
                  <a:close/>
                  <a:moveTo>
                    <a:pt x="3964" y="2586"/>
                  </a:moveTo>
                  <a:lnTo>
                    <a:pt x="3959" y="2591"/>
                  </a:lnTo>
                  <a:lnTo>
                    <a:pt x="3964" y="2581"/>
                  </a:lnTo>
                  <a:lnTo>
                    <a:pt x="3964" y="2586"/>
                  </a:lnTo>
                  <a:lnTo>
                    <a:pt x="3964" y="2586"/>
                  </a:lnTo>
                  <a:lnTo>
                    <a:pt x="3964" y="2586"/>
                  </a:lnTo>
                  <a:close/>
                  <a:moveTo>
                    <a:pt x="3938" y="2603"/>
                  </a:moveTo>
                  <a:lnTo>
                    <a:pt x="3938" y="2610"/>
                  </a:lnTo>
                  <a:lnTo>
                    <a:pt x="3938" y="2603"/>
                  </a:lnTo>
                  <a:lnTo>
                    <a:pt x="3938" y="2603"/>
                  </a:lnTo>
                  <a:lnTo>
                    <a:pt x="3938" y="2603"/>
                  </a:lnTo>
                  <a:close/>
                  <a:moveTo>
                    <a:pt x="7771" y="2858"/>
                  </a:moveTo>
                  <a:lnTo>
                    <a:pt x="7771" y="2863"/>
                  </a:lnTo>
                  <a:lnTo>
                    <a:pt x="7760" y="2870"/>
                  </a:lnTo>
                  <a:lnTo>
                    <a:pt x="7755" y="2870"/>
                  </a:lnTo>
                  <a:lnTo>
                    <a:pt x="7755" y="2858"/>
                  </a:lnTo>
                  <a:lnTo>
                    <a:pt x="7771" y="2858"/>
                  </a:lnTo>
                  <a:lnTo>
                    <a:pt x="7771" y="2858"/>
                  </a:lnTo>
                  <a:lnTo>
                    <a:pt x="7771" y="2858"/>
                  </a:lnTo>
                  <a:close/>
                  <a:moveTo>
                    <a:pt x="7738" y="2870"/>
                  </a:moveTo>
                  <a:lnTo>
                    <a:pt x="7738" y="2879"/>
                  </a:lnTo>
                  <a:lnTo>
                    <a:pt x="7734" y="2879"/>
                  </a:lnTo>
                  <a:lnTo>
                    <a:pt x="7738" y="2870"/>
                  </a:lnTo>
                  <a:lnTo>
                    <a:pt x="7738" y="2870"/>
                  </a:lnTo>
                  <a:lnTo>
                    <a:pt x="7738" y="2870"/>
                  </a:lnTo>
                  <a:close/>
                  <a:moveTo>
                    <a:pt x="7734" y="2886"/>
                  </a:moveTo>
                  <a:lnTo>
                    <a:pt x="7722" y="2886"/>
                  </a:lnTo>
                  <a:lnTo>
                    <a:pt x="7722" y="2879"/>
                  </a:lnTo>
                  <a:lnTo>
                    <a:pt x="7734" y="2886"/>
                  </a:lnTo>
                  <a:lnTo>
                    <a:pt x="7734" y="2886"/>
                  </a:lnTo>
                  <a:lnTo>
                    <a:pt x="7734" y="2886"/>
                  </a:lnTo>
                  <a:close/>
                  <a:moveTo>
                    <a:pt x="7561" y="3101"/>
                  </a:moveTo>
                  <a:lnTo>
                    <a:pt x="7554" y="3108"/>
                  </a:lnTo>
                  <a:lnTo>
                    <a:pt x="7545" y="3118"/>
                  </a:lnTo>
                  <a:lnTo>
                    <a:pt x="7561" y="3101"/>
                  </a:lnTo>
                  <a:lnTo>
                    <a:pt x="7561" y="3101"/>
                  </a:lnTo>
                  <a:lnTo>
                    <a:pt x="7561" y="3101"/>
                  </a:lnTo>
                  <a:close/>
                  <a:moveTo>
                    <a:pt x="7608" y="3118"/>
                  </a:moveTo>
                  <a:lnTo>
                    <a:pt x="7608" y="3125"/>
                  </a:lnTo>
                  <a:lnTo>
                    <a:pt x="7582" y="3125"/>
                  </a:lnTo>
                  <a:lnTo>
                    <a:pt x="7608" y="3118"/>
                  </a:lnTo>
                  <a:lnTo>
                    <a:pt x="7608" y="3118"/>
                  </a:lnTo>
                  <a:lnTo>
                    <a:pt x="7608" y="3118"/>
                  </a:lnTo>
                  <a:close/>
                  <a:moveTo>
                    <a:pt x="7637" y="3125"/>
                  </a:moveTo>
                  <a:lnTo>
                    <a:pt x="7646" y="3134"/>
                  </a:lnTo>
                  <a:lnTo>
                    <a:pt x="7630" y="3134"/>
                  </a:lnTo>
                  <a:lnTo>
                    <a:pt x="7637" y="3125"/>
                  </a:lnTo>
                  <a:lnTo>
                    <a:pt x="7637" y="3125"/>
                  </a:lnTo>
                  <a:lnTo>
                    <a:pt x="7637" y="3125"/>
                  </a:lnTo>
                  <a:close/>
                  <a:moveTo>
                    <a:pt x="7448" y="3174"/>
                  </a:moveTo>
                  <a:lnTo>
                    <a:pt x="7382" y="3191"/>
                  </a:lnTo>
                  <a:lnTo>
                    <a:pt x="7393" y="3191"/>
                  </a:lnTo>
                  <a:lnTo>
                    <a:pt x="7365" y="3191"/>
                  </a:lnTo>
                  <a:lnTo>
                    <a:pt x="7377" y="3191"/>
                  </a:lnTo>
                  <a:lnTo>
                    <a:pt x="7360" y="3191"/>
                  </a:lnTo>
                  <a:lnTo>
                    <a:pt x="7365" y="3174"/>
                  </a:lnTo>
                  <a:lnTo>
                    <a:pt x="7393" y="3163"/>
                  </a:lnTo>
                  <a:lnTo>
                    <a:pt x="7464" y="3158"/>
                  </a:lnTo>
                  <a:lnTo>
                    <a:pt x="7486" y="3141"/>
                  </a:lnTo>
                  <a:lnTo>
                    <a:pt x="7464" y="3163"/>
                  </a:lnTo>
                  <a:lnTo>
                    <a:pt x="7516" y="3151"/>
                  </a:lnTo>
                  <a:lnTo>
                    <a:pt x="7448" y="3174"/>
                  </a:lnTo>
                  <a:lnTo>
                    <a:pt x="7448" y="3174"/>
                  </a:lnTo>
                  <a:lnTo>
                    <a:pt x="7448" y="3174"/>
                  </a:lnTo>
                  <a:close/>
                  <a:moveTo>
                    <a:pt x="7360" y="3191"/>
                  </a:moveTo>
                  <a:lnTo>
                    <a:pt x="7344" y="3196"/>
                  </a:lnTo>
                  <a:lnTo>
                    <a:pt x="7356" y="3191"/>
                  </a:lnTo>
                  <a:lnTo>
                    <a:pt x="7360" y="3191"/>
                  </a:lnTo>
                  <a:lnTo>
                    <a:pt x="7360" y="3191"/>
                  </a:lnTo>
                  <a:lnTo>
                    <a:pt x="7360" y="3191"/>
                  </a:lnTo>
                  <a:close/>
                  <a:moveTo>
                    <a:pt x="7339" y="3290"/>
                  </a:moveTo>
                  <a:lnTo>
                    <a:pt x="7327" y="3290"/>
                  </a:lnTo>
                  <a:lnTo>
                    <a:pt x="7344" y="3285"/>
                  </a:lnTo>
                  <a:lnTo>
                    <a:pt x="7339" y="3290"/>
                  </a:lnTo>
                  <a:lnTo>
                    <a:pt x="7339" y="3290"/>
                  </a:lnTo>
                  <a:lnTo>
                    <a:pt x="7339" y="3290"/>
                  </a:lnTo>
                  <a:close/>
                  <a:moveTo>
                    <a:pt x="7275" y="3401"/>
                  </a:moveTo>
                  <a:lnTo>
                    <a:pt x="7268" y="3418"/>
                  </a:lnTo>
                  <a:lnTo>
                    <a:pt x="7285" y="3385"/>
                  </a:lnTo>
                  <a:lnTo>
                    <a:pt x="7275" y="3401"/>
                  </a:lnTo>
                  <a:lnTo>
                    <a:pt x="7275" y="3401"/>
                  </a:lnTo>
                  <a:lnTo>
                    <a:pt x="7275" y="3401"/>
                  </a:lnTo>
                  <a:close/>
                  <a:moveTo>
                    <a:pt x="7252" y="3640"/>
                  </a:moveTo>
                  <a:lnTo>
                    <a:pt x="7247" y="3640"/>
                  </a:lnTo>
                  <a:lnTo>
                    <a:pt x="7259" y="3633"/>
                  </a:lnTo>
                  <a:lnTo>
                    <a:pt x="7259" y="3595"/>
                  </a:lnTo>
                  <a:lnTo>
                    <a:pt x="7259" y="3607"/>
                  </a:lnTo>
                  <a:lnTo>
                    <a:pt x="7252" y="3640"/>
                  </a:lnTo>
                  <a:lnTo>
                    <a:pt x="7252" y="3640"/>
                  </a:lnTo>
                  <a:lnTo>
                    <a:pt x="7252" y="3640"/>
                  </a:lnTo>
                  <a:close/>
                  <a:moveTo>
                    <a:pt x="4143" y="3727"/>
                  </a:moveTo>
                  <a:lnTo>
                    <a:pt x="4174" y="3734"/>
                  </a:lnTo>
                  <a:lnTo>
                    <a:pt x="4153" y="3744"/>
                  </a:lnTo>
                  <a:lnTo>
                    <a:pt x="4143" y="3734"/>
                  </a:lnTo>
                  <a:lnTo>
                    <a:pt x="4143" y="3727"/>
                  </a:lnTo>
                  <a:lnTo>
                    <a:pt x="4143" y="3727"/>
                  </a:lnTo>
                  <a:lnTo>
                    <a:pt x="4143" y="3727"/>
                  </a:lnTo>
                  <a:close/>
                  <a:moveTo>
                    <a:pt x="4136" y="3734"/>
                  </a:moveTo>
                  <a:lnTo>
                    <a:pt x="4127" y="3744"/>
                  </a:lnTo>
                  <a:lnTo>
                    <a:pt x="4122" y="3734"/>
                  </a:lnTo>
                  <a:lnTo>
                    <a:pt x="4136" y="3734"/>
                  </a:lnTo>
                  <a:lnTo>
                    <a:pt x="4136" y="3734"/>
                  </a:lnTo>
                  <a:lnTo>
                    <a:pt x="4136" y="3734"/>
                  </a:lnTo>
                  <a:close/>
                  <a:moveTo>
                    <a:pt x="4245" y="3784"/>
                  </a:moveTo>
                  <a:lnTo>
                    <a:pt x="4261" y="3788"/>
                  </a:lnTo>
                  <a:lnTo>
                    <a:pt x="4245" y="3788"/>
                  </a:lnTo>
                  <a:lnTo>
                    <a:pt x="4235" y="3772"/>
                  </a:lnTo>
                  <a:lnTo>
                    <a:pt x="4245" y="3784"/>
                  </a:lnTo>
                  <a:lnTo>
                    <a:pt x="4245" y="3784"/>
                  </a:lnTo>
                  <a:lnTo>
                    <a:pt x="4245" y="3784"/>
                  </a:lnTo>
                  <a:close/>
                  <a:moveTo>
                    <a:pt x="4174" y="3800"/>
                  </a:moveTo>
                  <a:lnTo>
                    <a:pt x="4164" y="3800"/>
                  </a:lnTo>
                  <a:lnTo>
                    <a:pt x="4174" y="3800"/>
                  </a:lnTo>
                  <a:lnTo>
                    <a:pt x="4174" y="3800"/>
                  </a:lnTo>
                  <a:lnTo>
                    <a:pt x="4174" y="3800"/>
                  </a:lnTo>
                  <a:close/>
                  <a:moveTo>
                    <a:pt x="4235" y="3817"/>
                  </a:moveTo>
                  <a:lnTo>
                    <a:pt x="4249" y="3829"/>
                  </a:lnTo>
                  <a:lnTo>
                    <a:pt x="4245" y="3829"/>
                  </a:lnTo>
                  <a:lnTo>
                    <a:pt x="4235" y="3817"/>
                  </a:lnTo>
                  <a:lnTo>
                    <a:pt x="4235" y="3817"/>
                  </a:lnTo>
                  <a:lnTo>
                    <a:pt x="4235" y="3817"/>
                  </a:lnTo>
                  <a:close/>
                  <a:moveTo>
                    <a:pt x="6843" y="3982"/>
                  </a:moveTo>
                  <a:lnTo>
                    <a:pt x="6836" y="3994"/>
                  </a:lnTo>
                  <a:lnTo>
                    <a:pt x="6836" y="3989"/>
                  </a:lnTo>
                  <a:lnTo>
                    <a:pt x="6843" y="3982"/>
                  </a:lnTo>
                  <a:lnTo>
                    <a:pt x="6843" y="3982"/>
                  </a:lnTo>
                  <a:lnTo>
                    <a:pt x="6843" y="3982"/>
                  </a:lnTo>
                  <a:close/>
                  <a:moveTo>
                    <a:pt x="6297" y="4044"/>
                  </a:moveTo>
                  <a:lnTo>
                    <a:pt x="6286" y="4048"/>
                  </a:lnTo>
                  <a:lnTo>
                    <a:pt x="6297" y="4044"/>
                  </a:lnTo>
                  <a:lnTo>
                    <a:pt x="6297" y="4044"/>
                  </a:lnTo>
                  <a:lnTo>
                    <a:pt x="6297" y="4044"/>
                  </a:lnTo>
                  <a:close/>
                  <a:moveTo>
                    <a:pt x="6319" y="4077"/>
                  </a:moveTo>
                  <a:lnTo>
                    <a:pt x="6319" y="4048"/>
                  </a:lnTo>
                  <a:lnTo>
                    <a:pt x="6328" y="4060"/>
                  </a:lnTo>
                  <a:lnTo>
                    <a:pt x="6319" y="4077"/>
                  </a:lnTo>
                  <a:lnTo>
                    <a:pt x="6319" y="4077"/>
                  </a:lnTo>
                  <a:lnTo>
                    <a:pt x="6319" y="4077"/>
                  </a:lnTo>
                  <a:close/>
                  <a:moveTo>
                    <a:pt x="6118" y="4093"/>
                  </a:moveTo>
                  <a:lnTo>
                    <a:pt x="6113" y="4100"/>
                  </a:lnTo>
                  <a:lnTo>
                    <a:pt x="6097" y="4093"/>
                  </a:lnTo>
                  <a:lnTo>
                    <a:pt x="6101" y="4081"/>
                  </a:lnTo>
                  <a:lnTo>
                    <a:pt x="6118" y="4093"/>
                  </a:lnTo>
                  <a:lnTo>
                    <a:pt x="6118" y="4093"/>
                  </a:lnTo>
                  <a:lnTo>
                    <a:pt x="6118" y="4093"/>
                  </a:lnTo>
                  <a:close/>
                  <a:moveTo>
                    <a:pt x="5903" y="4117"/>
                  </a:moveTo>
                  <a:lnTo>
                    <a:pt x="5882" y="4122"/>
                  </a:lnTo>
                  <a:lnTo>
                    <a:pt x="5903" y="4105"/>
                  </a:lnTo>
                  <a:lnTo>
                    <a:pt x="5903" y="4117"/>
                  </a:lnTo>
                  <a:lnTo>
                    <a:pt x="5903" y="4117"/>
                  </a:lnTo>
                  <a:lnTo>
                    <a:pt x="5903" y="4117"/>
                  </a:lnTo>
                  <a:close/>
                  <a:moveTo>
                    <a:pt x="6897" y="4188"/>
                  </a:moveTo>
                  <a:lnTo>
                    <a:pt x="6897" y="4192"/>
                  </a:lnTo>
                  <a:lnTo>
                    <a:pt x="6890" y="4176"/>
                  </a:lnTo>
                  <a:lnTo>
                    <a:pt x="6897" y="4159"/>
                  </a:lnTo>
                  <a:lnTo>
                    <a:pt x="6897" y="4188"/>
                  </a:lnTo>
                  <a:lnTo>
                    <a:pt x="6897" y="4188"/>
                  </a:lnTo>
                  <a:lnTo>
                    <a:pt x="6897" y="4188"/>
                  </a:lnTo>
                  <a:close/>
                  <a:moveTo>
                    <a:pt x="5761" y="4192"/>
                  </a:moveTo>
                  <a:lnTo>
                    <a:pt x="5794" y="4176"/>
                  </a:lnTo>
                  <a:lnTo>
                    <a:pt x="5761" y="4204"/>
                  </a:lnTo>
                  <a:lnTo>
                    <a:pt x="5761" y="4192"/>
                  </a:lnTo>
                  <a:lnTo>
                    <a:pt x="5761" y="4192"/>
                  </a:lnTo>
                  <a:lnTo>
                    <a:pt x="5761" y="4192"/>
                  </a:lnTo>
                  <a:close/>
                  <a:moveTo>
                    <a:pt x="5735" y="4249"/>
                  </a:moveTo>
                  <a:lnTo>
                    <a:pt x="5723" y="4270"/>
                  </a:lnTo>
                  <a:lnTo>
                    <a:pt x="5723" y="4249"/>
                  </a:lnTo>
                  <a:lnTo>
                    <a:pt x="5747" y="4225"/>
                  </a:lnTo>
                  <a:lnTo>
                    <a:pt x="5735" y="4249"/>
                  </a:lnTo>
                  <a:lnTo>
                    <a:pt x="5735" y="4249"/>
                  </a:lnTo>
                  <a:lnTo>
                    <a:pt x="5735" y="4249"/>
                  </a:lnTo>
                  <a:close/>
                  <a:moveTo>
                    <a:pt x="5723" y="4315"/>
                  </a:moveTo>
                  <a:lnTo>
                    <a:pt x="5723" y="4270"/>
                  </a:lnTo>
                  <a:lnTo>
                    <a:pt x="5740" y="4360"/>
                  </a:lnTo>
                  <a:lnTo>
                    <a:pt x="5723" y="4315"/>
                  </a:lnTo>
                  <a:lnTo>
                    <a:pt x="5723" y="4315"/>
                  </a:lnTo>
                  <a:lnTo>
                    <a:pt x="5723" y="4315"/>
                  </a:lnTo>
                  <a:close/>
                  <a:moveTo>
                    <a:pt x="6912" y="4431"/>
                  </a:moveTo>
                  <a:lnTo>
                    <a:pt x="6923" y="4414"/>
                  </a:lnTo>
                  <a:lnTo>
                    <a:pt x="6897" y="4448"/>
                  </a:lnTo>
                  <a:lnTo>
                    <a:pt x="6912" y="4431"/>
                  </a:lnTo>
                  <a:lnTo>
                    <a:pt x="6912" y="4431"/>
                  </a:lnTo>
                  <a:lnTo>
                    <a:pt x="6912" y="4431"/>
                  </a:lnTo>
                  <a:close/>
                  <a:moveTo>
                    <a:pt x="6836" y="4471"/>
                  </a:moveTo>
                  <a:lnTo>
                    <a:pt x="6827" y="4481"/>
                  </a:lnTo>
                  <a:lnTo>
                    <a:pt x="6836" y="4471"/>
                  </a:lnTo>
                  <a:lnTo>
                    <a:pt x="6836" y="4471"/>
                  </a:lnTo>
                  <a:lnTo>
                    <a:pt x="6836" y="4471"/>
                  </a:lnTo>
                  <a:close/>
                  <a:moveTo>
                    <a:pt x="1368" y="4686"/>
                  </a:moveTo>
                  <a:lnTo>
                    <a:pt x="1351" y="4674"/>
                  </a:lnTo>
                  <a:lnTo>
                    <a:pt x="1351" y="4665"/>
                  </a:lnTo>
                  <a:lnTo>
                    <a:pt x="1356" y="4653"/>
                  </a:lnTo>
                  <a:lnTo>
                    <a:pt x="1382" y="4653"/>
                  </a:lnTo>
                  <a:lnTo>
                    <a:pt x="1372" y="4674"/>
                  </a:lnTo>
                  <a:lnTo>
                    <a:pt x="1368" y="4686"/>
                  </a:lnTo>
                  <a:lnTo>
                    <a:pt x="1368" y="4686"/>
                  </a:lnTo>
                  <a:lnTo>
                    <a:pt x="1368" y="4686"/>
                  </a:lnTo>
                  <a:close/>
                  <a:moveTo>
                    <a:pt x="1318" y="4686"/>
                  </a:moveTo>
                  <a:lnTo>
                    <a:pt x="1313" y="4674"/>
                  </a:lnTo>
                  <a:lnTo>
                    <a:pt x="1330" y="4670"/>
                  </a:lnTo>
                  <a:lnTo>
                    <a:pt x="1318" y="4686"/>
                  </a:lnTo>
                  <a:lnTo>
                    <a:pt x="1318" y="4686"/>
                  </a:lnTo>
                  <a:lnTo>
                    <a:pt x="1318" y="4686"/>
                  </a:lnTo>
                  <a:close/>
                  <a:moveTo>
                    <a:pt x="1481" y="4726"/>
                  </a:moveTo>
                  <a:lnTo>
                    <a:pt x="1464" y="4726"/>
                  </a:lnTo>
                  <a:lnTo>
                    <a:pt x="1448" y="4703"/>
                  </a:lnTo>
                  <a:lnTo>
                    <a:pt x="1474" y="4693"/>
                  </a:lnTo>
                  <a:lnTo>
                    <a:pt x="1495" y="4726"/>
                  </a:lnTo>
                  <a:lnTo>
                    <a:pt x="1481" y="4726"/>
                  </a:lnTo>
                  <a:lnTo>
                    <a:pt x="1481" y="4726"/>
                  </a:lnTo>
                  <a:lnTo>
                    <a:pt x="1481" y="4726"/>
                  </a:lnTo>
                  <a:close/>
                  <a:moveTo>
                    <a:pt x="1549" y="4743"/>
                  </a:moveTo>
                  <a:lnTo>
                    <a:pt x="1519" y="4743"/>
                  </a:lnTo>
                  <a:lnTo>
                    <a:pt x="1528" y="4731"/>
                  </a:lnTo>
                  <a:lnTo>
                    <a:pt x="1557" y="4731"/>
                  </a:lnTo>
                  <a:lnTo>
                    <a:pt x="1549" y="4743"/>
                  </a:lnTo>
                  <a:lnTo>
                    <a:pt x="1549" y="4743"/>
                  </a:lnTo>
                  <a:lnTo>
                    <a:pt x="1549" y="4743"/>
                  </a:lnTo>
                  <a:close/>
                  <a:moveTo>
                    <a:pt x="1583" y="4781"/>
                  </a:moveTo>
                  <a:lnTo>
                    <a:pt x="1571" y="4764"/>
                  </a:lnTo>
                  <a:lnTo>
                    <a:pt x="1566" y="4759"/>
                  </a:lnTo>
                  <a:lnTo>
                    <a:pt x="1566" y="4743"/>
                  </a:lnTo>
                  <a:lnTo>
                    <a:pt x="1583" y="4759"/>
                  </a:lnTo>
                  <a:lnTo>
                    <a:pt x="1599" y="4748"/>
                  </a:lnTo>
                  <a:lnTo>
                    <a:pt x="1611" y="4764"/>
                  </a:lnTo>
                  <a:lnTo>
                    <a:pt x="1604" y="4776"/>
                  </a:lnTo>
                  <a:lnTo>
                    <a:pt x="1583" y="4781"/>
                  </a:lnTo>
                  <a:lnTo>
                    <a:pt x="1583" y="4781"/>
                  </a:lnTo>
                  <a:lnTo>
                    <a:pt x="1583" y="4781"/>
                  </a:lnTo>
                  <a:close/>
                  <a:moveTo>
                    <a:pt x="1549" y="4764"/>
                  </a:moveTo>
                  <a:lnTo>
                    <a:pt x="1533" y="4759"/>
                  </a:lnTo>
                  <a:lnTo>
                    <a:pt x="1549" y="4759"/>
                  </a:lnTo>
                  <a:lnTo>
                    <a:pt x="1549" y="4764"/>
                  </a:lnTo>
                  <a:lnTo>
                    <a:pt x="1549" y="4764"/>
                  </a:lnTo>
                  <a:lnTo>
                    <a:pt x="1549" y="4764"/>
                  </a:lnTo>
                  <a:close/>
                  <a:moveTo>
                    <a:pt x="1566" y="4785"/>
                  </a:moveTo>
                  <a:lnTo>
                    <a:pt x="1571" y="4781"/>
                  </a:lnTo>
                  <a:lnTo>
                    <a:pt x="1566" y="4785"/>
                  </a:lnTo>
                  <a:lnTo>
                    <a:pt x="1566" y="4785"/>
                  </a:lnTo>
                  <a:lnTo>
                    <a:pt x="1566" y="4785"/>
                  </a:lnTo>
                  <a:close/>
                  <a:moveTo>
                    <a:pt x="1620" y="4802"/>
                  </a:moveTo>
                  <a:lnTo>
                    <a:pt x="1670" y="4818"/>
                  </a:lnTo>
                  <a:lnTo>
                    <a:pt x="1679" y="4854"/>
                  </a:lnTo>
                  <a:lnTo>
                    <a:pt x="1696" y="4859"/>
                  </a:lnTo>
                  <a:lnTo>
                    <a:pt x="1679" y="4875"/>
                  </a:lnTo>
                  <a:lnTo>
                    <a:pt x="1658" y="4875"/>
                  </a:lnTo>
                  <a:lnTo>
                    <a:pt x="1642" y="4892"/>
                  </a:lnTo>
                  <a:lnTo>
                    <a:pt x="1637" y="4908"/>
                  </a:lnTo>
                  <a:lnTo>
                    <a:pt x="1620" y="4892"/>
                  </a:lnTo>
                  <a:lnTo>
                    <a:pt x="1620" y="4870"/>
                  </a:lnTo>
                  <a:lnTo>
                    <a:pt x="1604" y="4842"/>
                  </a:lnTo>
                  <a:lnTo>
                    <a:pt x="1620" y="4818"/>
                  </a:lnTo>
                  <a:lnTo>
                    <a:pt x="1620" y="4814"/>
                  </a:lnTo>
                  <a:lnTo>
                    <a:pt x="1620" y="4802"/>
                  </a:lnTo>
                  <a:lnTo>
                    <a:pt x="1620" y="4802"/>
                  </a:lnTo>
                  <a:lnTo>
                    <a:pt x="1620" y="4802"/>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1" name="Freeform 583">
              <a:extLst>
                <a:ext uri="{FF2B5EF4-FFF2-40B4-BE49-F238E27FC236}">
                  <a16:creationId xmlns:a16="http://schemas.microsoft.com/office/drawing/2014/main" id="{B67F347B-6156-4D83-9BAD-DBF2044AB0E5}"/>
                </a:ext>
              </a:extLst>
            </p:cNvPr>
            <p:cNvSpPr>
              <a:spLocks/>
            </p:cNvSpPr>
            <p:nvPr/>
          </p:nvSpPr>
          <p:spPr bwMode="gray">
            <a:xfrm>
              <a:off x="13617502" y="3756671"/>
              <a:ext cx="182632" cy="135828"/>
            </a:xfrm>
            <a:custGeom>
              <a:avLst/>
              <a:gdLst>
                <a:gd name="T0" fmla="*/ 428 w 558"/>
                <a:gd name="T1" fmla="*/ 304 h 415"/>
                <a:gd name="T2" fmla="*/ 378 w 558"/>
                <a:gd name="T3" fmla="*/ 288 h 415"/>
                <a:gd name="T4" fmla="*/ 341 w 558"/>
                <a:gd name="T5" fmla="*/ 304 h 415"/>
                <a:gd name="T6" fmla="*/ 319 w 558"/>
                <a:gd name="T7" fmla="*/ 293 h 415"/>
                <a:gd name="T8" fmla="*/ 178 w 558"/>
                <a:gd name="T9" fmla="*/ 316 h 415"/>
                <a:gd name="T10" fmla="*/ 194 w 558"/>
                <a:gd name="T11" fmla="*/ 399 h 415"/>
                <a:gd name="T12" fmla="*/ 194 w 558"/>
                <a:gd name="T13" fmla="*/ 415 h 415"/>
                <a:gd name="T14" fmla="*/ 135 w 558"/>
                <a:gd name="T15" fmla="*/ 370 h 415"/>
                <a:gd name="T16" fmla="*/ 85 w 558"/>
                <a:gd name="T17" fmla="*/ 399 h 415"/>
                <a:gd name="T18" fmla="*/ 38 w 558"/>
                <a:gd name="T19" fmla="*/ 370 h 415"/>
                <a:gd name="T20" fmla="*/ 10 w 558"/>
                <a:gd name="T21" fmla="*/ 349 h 415"/>
                <a:gd name="T22" fmla="*/ 10 w 558"/>
                <a:gd name="T23" fmla="*/ 309 h 415"/>
                <a:gd name="T24" fmla="*/ 15 w 558"/>
                <a:gd name="T25" fmla="*/ 288 h 415"/>
                <a:gd name="T26" fmla="*/ 15 w 558"/>
                <a:gd name="T27" fmla="*/ 233 h 415"/>
                <a:gd name="T28" fmla="*/ 64 w 558"/>
                <a:gd name="T29" fmla="*/ 217 h 415"/>
                <a:gd name="T30" fmla="*/ 81 w 558"/>
                <a:gd name="T31" fmla="*/ 181 h 415"/>
                <a:gd name="T32" fmla="*/ 85 w 558"/>
                <a:gd name="T33" fmla="*/ 165 h 415"/>
                <a:gd name="T34" fmla="*/ 85 w 558"/>
                <a:gd name="T35" fmla="*/ 144 h 415"/>
                <a:gd name="T36" fmla="*/ 145 w 558"/>
                <a:gd name="T37" fmla="*/ 139 h 415"/>
                <a:gd name="T38" fmla="*/ 161 w 558"/>
                <a:gd name="T39" fmla="*/ 127 h 415"/>
                <a:gd name="T40" fmla="*/ 189 w 558"/>
                <a:gd name="T41" fmla="*/ 106 h 415"/>
                <a:gd name="T42" fmla="*/ 215 w 558"/>
                <a:gd name="T43" fmla="*/ 54 h 415"/>
                <a:gd name="T44" fmla="*/ 248 w 558"/>
                <a:gd name="T45" fmla="*/ 66 h 415"/>
                <a:gd name="T46" fmla="*/ 270 w 558"/>
                <a:gd name="T47" fmla="*/ 37 h 415"/>
                <a:gd name="T48" fmla="*/ 308 w 558"/>
                <a:gd name="T49" fmla="*/ 16 h 415"/>
                <a:gd name="T50" fmla="*/ 357 w 558"/>
                <a:gd name="T51" fmla="*/ 0 h 415"/>
                <a:gd name="T52" fmla="*/ 374 w 558"/>
                <a:gd name="T53" fmla="*/ 0 h 415"/>
                <a:gd name="T54" fmla="*/ 395 w 558"/>
                <a:gd name="T55" fmla="*/ 37 h 415"/>
                <a:gd name="T56" fmla="*/ 411 w 558"/>
                <a:gd name="T57" fmla="*/ 66 h 415"/>
                <a:gd name="T58" fmla="*/ 459 w 558"/>
                <a:gd name="T59" fmla="*/ 111 h 415"/>
                <a:gd name="T60" fmla="*/ 482 w 558"/>
                <a:gd name="T61" fmla="*/ 127 h 415"/>
                <a:gd name="T62" fmla="*/ 459 w 558"/>
                <a:gd name="T63" fmla="*/ 144 h 415"/>
                <a:gd name="T64" fmla="*/ 534 w 558"/>
                <a:gd name="T65" fmla="*/ 177 h 415"/>
                <a:gd name="T66" fmla="*/ 534 w 558"/>
                <a:gd name="T67" fmla="*/ 198 h 415"/>
                <a:gd name="T68" fmla="*/ 551 w 558"/>
                <a:gd name="T69" fmla="*/ 250 h 415"/>
                <a:gd name="T70" fmla="*/ 504 w 558"/>
                <a:gd name="T71" fmla="*/ 271 h 415"/>
                <a:gd name="T72" fmla="*/ 482 w 558"/>
                <a:gd name="T73" fmla="*/ 271 h 415"/>
                <a:gd name="T74" fmla="*/ 449 w 558"/>
                <a:gd name="T75" fmla="*/ 293 h 415"/>
                <a:gd name="T76" fmla="*/ 449 w 558"/>
                <a:gd name="T77" fmla="*/ 293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8" h="415">
                  <a:moveTo>
                    <a:pt x="449" y="293"/>
                  </a:moveTo>
                  <a:lnTo>
                    <a:pt x="428" y="304"/>
                  </a:lnTo>
                  <a:lnTo>
                    <a:pt x="428" y="293"/>
                  </a:lnTo>
                  <a:lnTo>
                    <a:pt x="378" y="288"/>
                  </a:lnTo>
                  <a:lnTo>
                    <a:pt x="362" y="288"/>
                  </a:lnTo>
                  <a:lnTo>
                    <a:pt x="341" y="304"/>
                  </a:lnTo>
                  <a:lnTo>
                    <a:pt x="341" y="293"/>
                  </a:lnTo>
                  <a:lnTo>
                    <a:pt x="319" y="293"/>
                  </a:lnTo>
                  <a:lnTo>
                    <a:pt x="189" y="293"/>
                  </a:lnTo>
                  <a:lnTo>
                    <a:pt x="178" y="316"/>
                  </a:lnTo>
                  <a:lnTo>
                    <a:pt x="194" y="349"/>
                  </a:lnTo>
                  <a:lnTo>
                    <a:pt x="194" y="399"/>
                  </a:lnTo>
                  <a:lnTo>
                    <a:pt x="199" y="404"/>
                  </a:lnTo>
                  <a:lnTo>
                    <a:pt x="194" y="415"/>
                  </a:lnTo>
                  <a:lnTo>
                    <a:pt x="161" y="370"/>
                  </a:lnTo>
                  <a:lnTo>
                    <a:pt x="135" y="370"/>
                  </a:lnTo>
                  <a:lnTo>
                    <a:pt x="90" y="382"/>
                  </a:lnTo>
                  <a:lnTo>
                    <a:pt x="85" y="399"/>
                  </a:lnTo>
                  <a:lnTo>
                    <a:pt x="52" y="387"/>
                  </a:lnTo>
                  <a:lnTo>
                    <a:pt x="38" y="370"/>
                  </a:lnTo>
                  <a:lnTo>
                    <a:pt x="26" y="349"/>
                  </a:lnTo>
                  <a:lnTo>
                    <a:pt x="10" y="349"/>
                  </a:lnTo>
                  <a:lnTo>
                    <a:pt x="0" y="333"/>
                  </a:lnTo>
                  <a:lnTo>
                    <a:pt x="10" y="309"/>
                  </a:lnTo>
                  <a:lnTo>
                    <a:pt x="0" y="293"/>
                  </a:lnTo>
                  <a:lnTo>
                    <a:pt x="15" y="288"/>
                  </a:lnTo>
                  <a:lnTo>
                    <a:pt x="26" y="259"/>
                  </a:lnTo>
                  <a:lnTo>
                    <a:pt x="15" y="233"/>
                  </a:lnTo>
                  <a:lnTo>
                    <a:pt x="26" y="222"/>
                  </a:lnTo>
                  <a:lnTo>
                    <a:pt x="64" y="217"/>
                  </a:lnTo>
                  <a:lnTo>
                    <a:pt x="81" y="198"/>
                  </a:lnTo>
                  <a:lnTo>
                    <a:pt x="81" y="181"/>
                  </a:lnTo>
                  <a:lnTo>
                    <a:pt x="69" y="165"/>
                  </a:lnTo>
                  <a:lnTo>
                    <a:pt x="85" y="165"/>
                  </a:lnTo>
                  <a:lnTo>
                    <a:pt x="90" y="160"/>
                  </a:lnTo>
                  <a:lnTo>
                    <a:pt x="85" y="144"/>
                  </a:lnTo>
                  <a:lnTo>
                    <a:pt x="107" y="111"/>
                  </a:lnTo>
                  <a:lnTo>
                    <a:pt x="145" y="139"/>
                  </a:lnTo>
                  <a:lnTo>
                    <a:pt x="145" y="127"/>
                  </a:lnTo>
                  <a:lnTo>
                    <a:pt x="161" y="127"/>
                  </a:lnTo>
                  <a:lnTo>
                    <a:pt x="156" y="94"/>
                  </a:lnTo>
                  <a:lnTo>
                    <a:pt x="189" y="106"/>
                  </a:lnTo>
                  <a:lnTo>
                    <a:pt x="189" y="70"/>
                  </a:lnTo>
                  <a:lnTo>
                    <a:pt x="215" y="54"/>
                  </a:lnTo>
                  <a:lnTo>
                    <a:pt x="244" y="66"/>
                  </a:lnTo>
                  <a:lnTo>
                    <a:pt x="248" y="66"/>
                  </a:lnTo>
                  <a:lnTo>
                    <a:pt x="248" y="37"/>
                  </a:lnTo>
                  <a:lnTo>
                    <a:pt x="270" y="37"/>
                  </a:lnTo>
                  <a:lnTo>
                    <a:pt x="298" y="28"/>
                  </a:lnTo>
                  <a:lnTo>
                    <a:pt x="308" y="16"/>
                  </a:lnTo>
                  <a:lnTo>
                    <a:pt x="336" y="0"/>
                  </a:lnTo>
                  <a:lnTo>
                    <a:pt x="357" y="0"/>
                  </a:lnTo>
                  <a:lnTo>
                    <a:pt x="362" y="0"/>
                  </a:lnTo>
                  <a:lnTo>
                    <a:pt x="374" y="0"/>
                  </a:lnTo>
                  <a:lnTo>
                    <a:pt x="404" y="11"/>
                  </a:lnTo>
                  <a:lnTo>
                    <a:pt x="395" y="37"/>
                  </a:lnTo>
                  <a:lnTo>
                    <a:pt x="416" y="54"/>
                  </a:lnTo>
                  <a:lnTo>
                    <a:pt x="411" y="66"/>
                  </a:lnTo>
                  <a:lnTo>
                    <a:pt x="428" y="94"/>
                  </a:lnTo>
                  <a:lnTo>
                    <a:pt x="459" y="111"/>
                  </a:lnTo>
                  <a:lnTo>
                    <a:pt x="459" y="111"/>
                  </a:lnTo>
                  <a:lnTo>
                    <a:pt x="482" y="127"/>
                  </a:lnTo>
                  <a:lnTo>
                    <a:pt x="459" y="122"/>
                  </a:lnTo>
                  <a:lnTo>
                    <a:pt x="459" y="144"/>
                  </a:lnTo>
                  <a:lnTo>
                    <a:pt x="497" y="177"/>
                  </a:lnTo>
                  <a:lnTo>
                    <a:pt x="534" y="177"/>
                  </a:lnTo>
                  <a:lnTo>
                    <a:pt x="541" y="193"/>
                  </a:lnTo>
                  <a:lnTo>
                    <a:pt x="534" y="198"/>
                  </a:lnTo>
                  <a:lnTo>
                    <a:pt x="558" y="233"/>
                  </a:lnTo>
                  <a:lnTo>
                    <a:pt x="551" y="250"/>
                  </a:lnTo>
                  <a:lnTo>
                    <a:pt x="525" y="259"/>
                  </a:lnTo>
                  <a:lnTo>
                    <a:pt x="504" y="271"/>
                  </a:lnTo>
                  <a:lnTo>
                    <a:pt x="487" y="259"/>
                  </a:lnTo>
                  <a:lnTo>
                    <a:pt x="482" y="271"/>
                  </a:lnTo>
                  <a:lnTo>
                    <a:pt x="471" y="276"/>
                  </a:lnTo>
                  <a:lnTo>
                    <a:pt x="449" y="293"/>
                  </a:lnTo>
                  <a:lnTo>
                    <a:pt x="449" y="293"/>
                  </a:lnTo>
                  <a:lnTo>
                    <a:pt x="449" y="293"/>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2" name="Freeform 584">
              <a:extLst>
                <a:ext uri="{FF2B5EF4-FFF2-40B4-BE49-F238E27FC236}">
                  <a16:creationId xmlns:a16="http://schemas.microsoft.com/office/drawing/2014/main" id="{FAD453B8-F9DF-4C3B-89DA-416C3AE4A28E}"/>
                </a:ext>
              </a:extLst>
            </p:cNvPr>
            <p:cNvSpPr>
              <a:spLocks/>
            </p:cNvSpPr>
            <p:nvPr/>
          </p:nvSpPr>
          <p:spPr bwMode="gray">
            <a:xfrm>
              <a:off x="12403886" y="4847550"/>
              <a:ext cx="122082" cy="126664"/>
            </a:xfrm>
            <a:custGeom>
              <a:avLst/>
              <a:gdLst>
                <a:gd name="T0" fmla="*/ 16 w 373"/>
                <a:gd name="T1" fmla="*/ 177 h 387"/>
                <a:gd name="T2" fmla="*/ 21 w 373"/>
                <a:gd name="T3" fmla="*/ 172 h 387"/>
                <a:gd name="T4" fmla="*/ 16 w 373"/>
                <a:gd name="T5" fmla="*/ 139 h 387"/>
                <a:gd name="T6" fmla="*/ 21 w 373"/>
                <a:gd name="T7" fmla="*/ 122 h 387"/>
                <a:gd name="T8" fmla="*/ 33 w 373"/>
                <a:gd name="T9" fmla="*/ 111 h 387"/>
                <a:gd name="T10" fmla="*/ 21 w 373"/>
                <a:gd name="T11" fmla="*/ 99 h 387"/>
                <a:gd name="T12" fmla="*/ 33 w 373"/>
                <a:gd name="T13" fmla="*/ 82 h 387"/>
                <a:gd name="T14" fmla="*/ 49 w 373"/>
                <a:gd name="T15" fmla="*/ 56 h 387"/>
                <a:gd name="T16" fmla="*/ 38 w 373"/>
                <a:gd name="T17" fmla="*/ 28 h 387"/>
                <a:gd name="T18" fmla="*/ 54 w 373"/>
                <a:gd name="T19" fmla="*/ 11 h 387"/>
                <a:gd name="T20" fmla="*/ 54 w 373"/>
                <a:gd name="T21" fmla="*/ 7 h 387"/>
                <a:gd name="T22" fmla="*/ 59 w 373"/>
                <a:gd name="T23" fmla="*/ 7 h 387"/>
                <a:gd name="T24" fmla="*/ 87 w 373"/>
                <a:gd name="T25" fmla="*/ 11 h 387"/>
                <a:gd name="T26" fmla="*/ 92 w 373"/>
                <a:gd name="T27" fmla="*/ 0 h 387"/>
                <a:gd name="T28" fmla="*/ 113 w 373"/>
                <a:gd name="T29" fmla="*/ 0 h 387"/>
                <a:gd name="T30" fmla="*/ 168 w 373"/>
                <a:gd name="T31" fmla="*/ 56 h 387"/>
                <a:gd name="T32" fmla="*/ 168 w 373"/>
                <a:gd name="T33" fmla="*/ 66 h 387"/>
                <a:gd name="T34" fmla="*/ 177 w 373"/>
                <a:gd name="T35" fmla="*/ 66 h 387"/>
                <a:gd name="T36" fmla="*/ 201 w 373"/>
                <a:gd name="T37" fmla="*/ 56 h 387"/>
                <a:gd name="T38" fmla="*/ 222 w 373"/>
                <a:gd name="T39" fmla="*/ 82 h 387"/>
                <a:gd name="T40" fmla="*/ 269 w 373"/>
                <a:gd name="T41" fmla="*/ 99 h 387"/>
                <a:gd name="T42" fmla="*/ 286 w 373"/>
                <a:gd name="T43" fmla="*/ 132 h 387"/>
                <a:gd name="T44" fmla="*/ 319 w 373"/>
                <a:gd name="T45" fmla="*/ 139 h 387"/>
                <a:gd name="T46" fmla="*/ 340 w 373"/>
                <a:gd name="T47" fmla="*/ 177 h 387"/>
                <a:gd name="T48" fmla="*/ 373 w 373"/>
                <a:gd name="T49" fmla="*/ 205 h 387"/>
                <a:gd name="T50" fmla="*/ 340 w 373"/>
                <a:gd name="T51" fmla="*/ 233 h 387"/>
                <a:gd name="T52" fmla="*/ 340 w 373"/>
                <a:gd name="T53" fmla="*/ 283 h 387"/>
                <a:gd name="T54" fmla="*/ 357 w 373"/>
                <a:gd name="T55" fmla="*/ 283 h 387"/>
                <a:gd name="T56" fmla="*/ 340 w 373"/>
                <a:gd name="T57" fmla="*/ 316 h 387"/>
                <a:gd name="T58" fmla="*/ 302 w 373"/>
                <a:gd name="T59" fmla="*/ 359 h 387"/>
                <a:gd name="T60" fmla="*/ 286 w 373"/>
                <a:gd name="T61" fmla="*/ 354 h 387"/>
                <a:gd name="T62" fmla="*/ 286 w 373"/>
                <a:gd name="T63" fmla="*/ 359 h 387"/>
                <a:gd name="T64" fmla="*/ 248 w 373"/>
                <a:gd name="T65" fmla="*/ 387 h 387"/>
                <a:gd name="T66" fmla="*/ 194 w 373"/>
                <a:gd name="T67" fmla="*/ 370 h 387"/>
                <a:gd name="T68" fmla="*/ 146 w 373"/>
                <a:gd name="T69" fmla="*/ 375 h 387"/>
                <a:gd name="T70" fmla="*/ 139 w 373"/>
                <a:gd name="T71" fmla="*/ 375 h 387"/>
                <a:gd name="T72" fmla="*/ 146 w 373"/>
                <a:gd name="T73" fmla="*/ 370 h 387"/>
                <a:gd name="T74" fmla="*/ 108 w 373"/>
                <a:gd name="T75" fmla="*/ 359 h 387"/>
                <a:gd name="T76" fmla="*/ 92 w 373"/>
                <a:gd name="T77" fmla="*/ 342 h 387"/>
                <a:gd name="T78" fmla="*/ 38 w 373"/>
                <a:gd name="T79" fmla="*/ 342 h 387"/>
                <a:gd name="T80" fmla="*/ 0 w 373"/>
                <a:gd name="T81" fmla="*/ 300 h 387"/>
                <a:gd name="T82" fmla="*/ 0 w 373"/>
                <a:gd name="T83" fmla="*/ 267 h 387"/>
                <a:gd name="T84" fmla="*/ 0 w 373"/>
                <a:gd name="T85" fmla="*/ 233 h 387"/>
                <a:gd name="T86" fmla="*/ 16 w 373"/>
                <a:gd name="T87" fmla="*/ 233 h 387"/>
                <a:gd name="T88" fmla="*/ 21 w 373"/>
                <a:gd name="T89" fmla="*/ 222 h 387"/>
                <a:gd name="T90" fmla="*/ 16 w 373"/>
                <a:gd name="T91" fmla="*/ 177 h 387"/>
                <a:gd name="T92" fmla="*/ 16 w 373"/>
                <a:gd name="T93" fmla="*/ 177 h 387"/>
                <a:gd name="T94" fmla="*/ 16 w 373"/>
                <a:gd name="T95" fmla="*/ 17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87">
                  <a:moveTo>
                    <a:pt x="16" y="177"/>
                  </a:moveTo>
                  <a:lnTo>
                    <a:pt x="21" y="172"/>
                  </a:lnTo>
                  <a:lnTo>
                    <a:pt x="16" y="139"/>
                  </a:lnTo>
                  <a:lnTo>
                    <a:pt x="21" y="122"/>
                  </a:lnTo>
                  <a:lnTo>
                    <a:pt x="33" y="111"/>
                  </a:lnTo>
                  <a:lnTo>
                    <a:pt x="21" y="99"/>
                  </a:lnTo>
                  <a:lnTo>
                    <a:pt x="33" y="82"/>
                  </a:lnTo>
                  <a:lnTo>
                    <a:pt x="49" y="56"/>
                  </a:lnTo>
                  <a:lnTo>
                    <a:pt x="38" y="28"/>
                  </a:lnTo>
                  <a:lnTo>
                    <a:pt x="54" y="11"/>
                  </a:lnTo>
                  <a:lnTo>
                    <a:pt x="54" y="7"/>
                  </a:lnTo>
                  <a:lnTo>
                    <a:pt x="59" y="7"/>
                  </a:lnTo>
                  <a:lnTo>
                    <a:pt x="87" y="11"/>
                  </a:lnTo>
                  <a:lnTo>
                    <a:pt x="92" y="0"/>
                  </a:lnTo>
                  <a:lnTo>
                    <a:pt x="113" y="0"/>
                  </a:lnTo>
                  <a:lnTo>
                    <a:pt x="168" y="56"/>
                  </a:lnTo>
                  <a:lnTo>
                    <a:pt x="168" y="66"/>
                  </a:lnTo>
                  <a:lnTo>
                    <a:pt x="177" y="66"/>
                  </a:lnTo>
                  <a:lnTo>
                    <a:pt x="201" y="56"/>
                  </a:lnTo>
                  <a:lnTo>
                    <a:pt x="222" y="82"/>
                  </a:lnTo>
                  <a:lnTo>
                    <a:pt x="269" y="99"/>
                  </a:lnTo>
                  <a:lnTo>
                    <a:pt x="286" y="132"/>
                  </a:lnTo>
                  <a:lnTo>
                    <a:pt x="319" y="139"/>
                  </a:lnTo>
                  <a:lnTo>
                    <a:pt x="340" y="177"/>
                  </a:lnTo>
                  <a:lnTo>
                    <a:pt x="373" y="205"/>
                  </a:lnTo>
                  <a:lnTo>
                    <a:pt x="340" y="233"/>
                  </a:lnTo>
                  <a:lnTo>
                    <a:pt x="340" y="283"/>
                  </a:lnTo>
                  <a:lnTo>
                    <a:pt x="357" y="283"/>
                  </a:lnTo>
                  <a:lnTo>
                    <a:pt x="340" y="316"/>
                  </a:lnTo>
                  <a:lnTo>
                    <a:pt x="302" y="359"/>
                  </a:lnTo>
                  <a:lnTo>
                    <a:pt x="286" y="354"/>
                  </a:lnTo>
                  <a:lnTo>
                    <a:pt x="286" y="359"/>
                  </a:lnTo>
                  <a:lnTo>
                    <a:pt x="248" y="387"/>
                  </a:lnTo>
                  <a:lnTo>
                    <a:pt x="194" y="370"/>
                  </a:lnTo>
                  <a:lnTo>
                    <a:pt x="146" y="375"/>
                  </a:lnTo>
                  <a:lnTo>
                    <a:pt x="139" y="375"/>
                  </a:lnTo>
                  <a:lnTo>
                    <a:pt x="146" y="370"/>
                  </a:lnTo>
                  <a:lnTo>
                    <a:pt x="108" y="359"/>
                  </a:lnTo>
                  <a:lnTo>
                    <a:pt x="92" y="342"/>
                  </a:lnTo>
                  <a:lnTo>
                    <a:pt x="38" y="342"/>
                  </a:lnTo>
                  <a:lnTo>
                    <a:pt x="0" y="300"/>
                  </a:lnTo>
                  <a:lnTo>
                    <a:pt x="0" y="267"/>
                  </a:lnTo>
                  <a:lnTo>
                    <a:pt x="0" y="233"/>
                  </a:lnTo>
                  <a:lnTo>
                    <a:pt x="16" y="233"/>
                  </a:lnTo>
                  <a:lnTo>
                    <a:pt x="21" y="222"/>
                  </a:lnTo>
                  <a:lnTo>
                    <a:pt x="16" y="177"/>
                  </a:lnTo>
                  <a:lnTo>
                    <a:pt x="16" y="177"/>
                  </a:lnTo>
                  <a:lnTo>
                    <a:pt x="16" y="17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3" name="Freeform 585">
              <a:extLst>
                <a:ext uri="{FF2B5EF4-FFF2-40B4-BE49-F238E27FC236}">
                  <a16:creationId xmlns:a16="http://schemas.microsoft.com/office/drawing/2014/main" id="{A3089DB8-350F-4979-B40C-76C782B61DC4}"/>
                </a:ext>
              </a:extLst>
            </p:cNvPr>
            <p:cNvSpPr>
              <a:spLocks/>
            </p:cNvSpPr>
            <p:nvPr/>
          </p:nvSpPr>
          <p:spPr bwMode="gray">
            <a:xfrm>
              <a:off x="15028477" y="2958721"/>
              <a:ext cx="395047" cy="235654"/>
            </a:xfrm>
            <a:custGeom>
              <a:avLst/>
              <a:gdLst>
                <a:gd name="T0" fmla="*/ 827 w 1207"/>
                <a:gd name="T1" fmla="*/ 515 h 720"/>
                <a:gd name="T2" fmla="*/ 806 w 1207"/>
                <a:gd name="T3" fmla="*/ 555 h 720"/>
                <a:gd name="T4" fmla="*/ 851 w 1207"/>
                <a:gd name="T5" fmla="*/ 572 h 720"/>
                <a:gd name="T6" fmla="*/ 851 w 1207"/>
                <a:gd name="T7" fmla="*/ 609 h 720"/>
                <a:gd name="T8" fmla="*/ 860 w 1207"/>
                <a:gd name="T9" fmla="*/ 659 h 720"/>
                <a:gd name="T10" fmla="*/ 813 w 1207"/>
                <a:gd name="T11" fmla="*/ 716 h 720"/>
                <a:gd name="T12" fmla="*/ 742 w 1207"/>
                <a:gd name="T13" fmla="*/ 704 h 720"/>
                <a:gd name="T14" fmla="*/ 700 w 1207"/>
                <a:gd name="T15" fmla="*/ 633 h 720"/>
                <a:gd name="T16" fmla="*/ 574 w 1207"/>
                <a:gd name="T17" fmla="*/ 576 h 720"/>
                <a:gd name="T18" fmla="*/ 456 w 1207"/>
                <a:gd name="T19" fmla="*/ 482 h 720"/>
                <a:gd name="T20" fmla="*/ 419 w 1207"/>
                <a:gd name="T21" fmla="*/ 387 h 720"/>
                <a:gd name="T22" fmla="*/ 348 w 1207"/>
                <a:gd name="T23" fmla="*/ 383 h 720"/>
                <a:gd name="T24" fmla="*/ 289 w 1207"/>
                <a:gd name="T25" fmla="*/ 366 h 720"/>
                <a:gd name="T26" fmla="*/ 303 w 1207"/>
                <a:gd name="T27" fmla="*/ 333 h 720"/>
                <a:gd name="T28" fmla="*/ 272 w 1207"/>
                <a:gd name="T29" fmla="*/ 283 h 720"/>
                <a:gd name="T30" fmla="*/ 213 w 1207"/>
                <a:gd name="T31" fmla="*/ 272 h 720"/>
                <a:gd name="T32" fmla="*/ 163 w 1207"/>
                <a:gd name="T33" fmla="*/ 255 h 720"/>
                <a:gd name="T34" fmla="*/ 168 w 1207"/>
                <a:gd name="T35" fmla="*/ 293 h 720"/>
                <a:gd name="T36" fmla="*/ 130 w 1207"/>
                <a:gd name="T37" fmla="*/ 300 h 720"/>
                <a:gd name="T38" fmla="*/ 71 w 1207"/>
                <a:gd name="T39" fmla="*/ 345 h 720"/>
                <a:gd name="T40" fmla="*/ 0 w 1207"/>
                <a:gd name="T41" fmla="*/ 371 h 720"/>
                <a:gd name="T42" fmla="*/ 364 w 1207"/>
                <a:gd name="T43" fmla="*/ 116 h 720"/>
                <a:gd name="T44" fmla="*/ 596 w 1207"/>
                <a:gd name="T45" fmla="*/ 182 h 720"/>
                <a:gd name="T46" fmla="*/ 671 w 1207"/>
                <a:gd name="T47" fmla="*/ 201 h 720"/>
                <a:gd name="T48" fmla="*/ 704 w 1207"/>
                <a:gd name="T49" fmla="*/ 316 h 720"/>
                <a:gd name="T50" fmla="*/ 844 w 1207"/>
                <a:gd name="T51" fmla="*/ 387 h 720"/>
                <a:gd name="T52" fmla="*/ 877 w 1207"/>
                <a:gd name="T53" fmla="*/ 437 h 720"/>
                <a:gd name="T54" fmla="*/ 919 w 1207"/>
                <a:gd name="T55" fmla="*/ 383 h 720"/>
                <a:gd name="T56" fmla="*/ 985 w 1207"/>
                <a:gd name="T57" fmla="*/ 345 h 720"/>
                <a:gd name="T58" fmla="*/ 1040 w 1207"/>
                <a:gd name="T59" fmla="*/ 300 h 720"/>
                <a:gd name="T60" fmla="*/ 1078 w 1207"/>
                <a:gd name="T61" fmla="*/ 300 h 720"/>
                <a:gd name="T62" fmla="*/ 1040 w 1207"/>
                <a:gd name="T63" fmla="*/ 328 h 720"/>
                <a:gd name="T64" fmla="*/ 1040 w 1207"/>
                <a:gd name="T65" fmla="*/ 366 h 720"/>
                <a:gd name="T66" fmla="*/ 1082 w 1207"/>
                <a:gd name="T67" fmla="*/ 371 h 720"/>
                <a:gd name="T68" fmla="*/ 1120 w 1207"/>
                <a:gd name="T69" fmla="*/ 371 h 720"/>
                <a:gd name="T70" fmla="*/ 1137 w 1207"/>
                <a:gd name="T71" fmla="*/ 404 h 720"/>
                <a:gd name="T72" fmla="*/ 1207 w 1207"/>
                <a:gd name="T73" fmla="*/ 420 h 720"/>
                <a:gd name="T74" fmla="*/ 1153 w 1207"/>
                <a:gd name="T75" fmla="*/ 437 h 720"/>
                <a:gd name="T76" fmla="*/ 1132 w 1207"/>
                <a:gd name="T77" fmla="*/ 460 h 720"/>
                <a:gd name="T78" fmla="*/ 1082 w 1207"/>
                <a:gd name="T79" fmla="*/ 460 h 720"/>
                <a:gd name="T80" fmla="*/ 1011 w 1207"/>
                <a:gd name="T81" fmla="*/ 456 h 720"/>
                <a:gd name="T82" fmla="*/ 1011 w 1207"/>
                <a:gd name="T83" fmla="*/ 399 h 720"/>
                <a:gd name="T84" fmla="*/ 943 w 1207"/>
                <a:gd name="T85" fmla="*/ 420 h 720"/>
                <a:gd name="T86" fmla="*/ 936 w 1207"/>
                <a:gd name="T87" fmla="*/ 465 h 720"/>
                <a:gd name="T88" fmla="*/ 898 w 1207"/>
                <a:gd name="T89" fmla="*/ 482 h 720"/>
                <a:gd name="T90" fmla="*/ 889 w 1207"/>
                <a:gd name="T91" fmla="*/ 49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07" h="720">
                  <a:moveTo>
                    <a:pt x="889" y="498"/>
                  </a:moveTo>
                  <a:lnTo>
                    <a:pt x="882" y="522"/>
                  </a:lnTo>
                  <a:lnTo>
                    <a:pt x="827" y="515"/>
                  </a:lnTo>
                  <a:lnTo>
                    <a:pt x="806" y="531"/>
                  </a:lnTo>
                  <a:lnTo>
                    <a:pt x="796" y="548"/>
                  </a:lnTo>
                  <a:lnTo>
                    <a:pt x="806" y="555"/>
                  </a:lnTo>
                  <a:lnTo>
                    <a:pt x="822" y="564"/>
                  </a:lnTo>
                  <a:lnTo>
                    <a:pt x="827" y="572"/>
                  </a:lnTo>
                  <a:lnTo>
                    <a:pt x="851" y="572"/>
                  </a:lnTo>
                  <a:lnTo>
                    <a:pt x="860" y="588"/>
                  </a:lnTo>
                  <a:lnTo>
                    <a:pt x="851" y="588"/>
                  </a:lnTo>
                  <a:lnTo>
                    <a:pt x="851" y="609"/>
                  </a:lnTo>
                  <a:lnTo>
                    <a:pt x="877" y="642"/>
                  </a:lnTo>
                  <a:lnTo>
                    <a:pt x="867" y="659"/>
                  </a:lnTo>
                  <a:lnTo>
                    <a:pt x="860" y="659"/>
                  </a:lnTo>
                  <a:lnTo>
                    <a:pt x="834" y="699"/>
                  </a:lnTo>
                  <a:lnTo>
                    <a:pt x="827" y="720"/>
                  </a:lnTo>
                  <a:lnTo>
                    <a:pt x="813" y="716"/>
                  </a:lnTo>
                  <a:lnTo>
                    <a:pt x="789" y="720"/>
                  </a:lnTo>
                  <a:lnTo>
                    <a:pt x="775" y="704"/>
                  </a:lnTo>
                  <a:lnTo>
                    <a:pt x="742" y="704"/>
                  </a:lnTo>
                  <a:lnTo>
                    <a:pt x="742" y="675"/>
                  </a:lnTo>
                  <a:lnTo>
                    <a:pt x="752" y="659"/>
                  </a:lnTo>
                  <a:lnTo>
                    <a:pt x="700" y="633"/>
                  </a:lnTo>
                  <a:lnTo>
                    <a:pt x="671" y="633"/>
                  </a:lnTo>
                  <a:lnTo>
                    <a:pt x="591" y="572"/>
                  </a:lnTo>
                  <a:lnTo>
                    <a:pt x="574" y="576"/>
                  </a:lnTo>
                  <a:lnTo>
                    <a:pt x="541" y="555"/>
                  </a:lnTo>
                  <a:lnTo>
                    <a:pt x="537" y="538"/>
                  </a:lnTo>
                  <a:lnTo>
                    <a:pt x="456" y="482"/>
                  </a:lnTo>
                  <a:lnTo>
                    <a:pt x="449" y="456"/>
                  </a:lnTo>
                  <a:lnTo>
                    <a:pt x="433" y="437"/>
                  </a:lnTo>
                  <a:lnTo>
                    <a:pt x="419" y="387"/>
                  </a:lnTo>
                  <a:lnTo>
                    <a:pt x="385" y="371"/>
                  </a:lnTo>
                  <a:lnTo>
                    <a:pt x="374" y="387"/>
                  </a:lnTo>
                  <a:lnTo>
                    <a:pt x="348" y="383"/>
                  </a:lnTo>
                  <a:lnTo>
                    <a:pt x="319" y="383"/>
                  </a:lnTo>
                  <a:lnTo>
                    <a:pt x="293" y="371"/>
                  </a:lnTo>
                  <a:lnTo>
                    <a:pt x="289" y="366"/>
                  </a:lnTo>
                  <a:lnTo>
                    <a:pt x="293" y="349"/>
                  </a:lnTo>
                  <a:lnTo>
                    <a:pt x="289" y="333"/>
                  </a:lnTo>
                  <a:lnTo>
                    <a:pt x="303" y="333"/>
                  </a:lnTo>
                  <a:lnTo>
                    <a:pt x="289" y="309"/>
                  </a:lnTo>
                  <a:lnTo>
                    <a:pt x="289" y="293"/>
                  </a:lnTo>
                  <a:lnTo>
                    <a:pt x="272" y="283"/>
                  </a:lnTo>
                  <a:lnTo>
                    <a:pt x="234" y="283"/>
                  </a:lnTo>
                  <a:lnTo>
                    <a:pt x="222" y="272"/>
                  </a:lnTo>
                  <a:lnTo>
                    <a:pt x="213" y="272"/>
                  </a:lnTo>
                  <a:lnTo>
                    <a:pt x="185" y="243"/>
                  </a:lnTo>
                  <a:lnTo>
                    <a:pt x="180" y="260"/>
                  </a:lnTo>
                  <a:lnTo>
                    <a:pt x="163" y="255"/>
                  </a:lnTo>
                  <a:lnTo>
                    <a:pt x="159" y="260"/>
                  </a:lnTo>
                  <a:lnTo>
                    <a:pt x="180" y="293"/>
                  </a:lnTo>
                  <a:lnTo>
                    <a:pt x="168" y="293"/>
                  </a:lnTo>
                  <a:lnTo>
                    <a:pt x="163" y="276"/>
                  </a:lnTo>
                  <a:lnTo>
                    <a:pt x="147" y="272"/>
                  </a:lnTo>
                  <a:lnTo>
                    <a:pt x="130" y="300"/>
                  </a:lnTo>
                  <a:lnTo>
                    <a:pt x="104" y="300"/>
                  </a:lnTo>
                  <a:lnTo>
                    <a:pt x="71" y="328"/>
                  </a:lnTo>
                  <a:lnTo>
                    <a:pt x="71" y="345"/>
                  </a:lnTo>
                  <a:lnTo>
                    <a:pt x="76" y="371"/>
                  </a:lnTo>
                  <a:lnTo>
                    <a:pt x="76" y="383"/>
                  </a:lnTo>
                  <a:lnTo>
                    <a:pt x="0" y="371"/>
                  </a:lnTo>
                  <a:lnTo>
                    <a:pt x="0" y="54"/>
                  </a:lnTo>
                  <a:lnTo>
                    <a:pt x="180" y="0"/>
                  </a:lnTo>
                  <a:lnTo>
                    <a:pt x="364" y="116"/>
                  </a:lnTo>
                  <a:lnTo>
                    <a:pt x="428" y="182"/>
                  </a:lnTo>
                  <a:lnTo>
                    <a:pt x="508" y="172"/>
                  </a:lnTo>
                  <a:lnTo>
                    <a:pt x="596" y="182"/>
                  </a:lnTo>
                  <a:lnTo>
                    <a:pt x="629" y="165"/>
                  </a:lnTo>
                  <a:lnTo>
                    <a:pt x="650" y="189"/>
                  </a:lnTo>
                  <a:lnTo>
                    <a:pt x="671" y="201"/>
                  </a:lnTo>
                  <a:lnTo>
                    <a:pt x="688" y="238"/>
                  </a:lnTo>
                  <a:lnTo>
                    <a:pt x="714" y="227"/>
                  </a:lnTo>
                  <a:lnTo>
                    <a:pt x="704" y="316"/>
                  </a:lnTo>
                  <a:lnTo>
                    <a:pt x="742" y="316"/>
                  </a:lnTo>
                  <a:lnTo>
                    <a:pt x="759" y="387"/>
                  </a:lnTo>
                  <a:lnTo>
                    <a:pt x="844" y="387"/>
                  </a:lnTo>
                  <a:lnTo>
                    <a:pt x="860" y="399"/>
                  </a:lnTo>
                  <a:lnTo>
                    <a:pt x="851" y="420"/>
                  </a:lnTo>
                  <a:lnTo>
                    <a:pt x="877" y="437"/>
                  </a:lnTo>
                  <a:lnTo>
                    <a:pt x="889" y="437"/>
                  </a:lnTo>
                  <a:lnTo>
                    <a:pt x="889" y="411"/>
                  </a:lnTo>
                  <a:lnTo>
                    <a:pt x="919" y="383"/>
                  </a:lnTo>
                  <a:lnTo>
                    <a:pt x="919" y="371"/>
                  </a:lnTo>
                  <a:lnTo>
                    <a:pt x="957" y="345"/>
                  </a:lnTo>
                  <a:lnTo>
                    <a:pt x="985" y="345"/>
                  </a:lnTo>
                  <a:lnTo>
                    <a:pt x="1011" y="309"/>
                  </a:lnTo>
                  <a:lnTo>
                    <a:pt x="1028" y="316"/>
                  </a:lnTo>
                  <a:lnTo>
                    <a:pt x="1040" y="300"/>
                  </a:lnTo>
                  <a:lnTo>
                    <a:pt x="1049" y="293"/>
                  </a:lnTo>
                  <a:lnTo>
                    <a:pt x="1061" y="283"/>
                  </a:lnTo>
                  <a:lnTo>
                    <a:pt x="1078" y="300"/>
                  </a:lnTo>
                  <a:lnTo>
                    <a:pt x="1044" y="309"/>
                  </a:lnTo>
                  <a:lnTo>
                    <a:pt x="1044" y="328"/>
                  </a:lnTo>
                  <a:lnTo>
                    <a:pt x="1040" y="328"/>
                  </a:lnTo>
                  <a:lnTo>
                    <a:pt x="995" y="354"/>
                  </a:lnTo>
                  <a:lnTo>
                    <a:pt x="1023" y="366"/>
                  </a:lnTo>
                  <a:lnTo>
                    <a:pt x="1040" y="366"/>
                  </a:lnTo>
                  <a:lnTo>
                    <a:pt x="1044" y="383"/>
                  </a:lnTo>
                  <a:lnTo>
                    <a:pt x="1082" y="387"/>
                  </a:lnTo>
                  <a:lnTo>
                    <a:pt x="1082" y="371"/>
                  </a:lnTo>
                  <a:lnTo>
                    <a:pt x="1099" y="371"/>
                  </a:lnTo>
                  <a:lnTo>
                    <a:pt x="1104" y="354"/>
                  </a:lnTo>
                  <a:lnTo>
                    <a:pt x="1120" y="371"/>
                  </a:lnTo>
                  <a:lnTo>
                    <a:pt x="1120" y="387"/>
                  </a:lnTo>
                  <a:lnTo>
                    <a:pt x="1137" y="387"/>
                  </a:lnTo>
                  <a:lnTo>
                    <a:pt x="1137" y="404"/>
                  </a:lnTo>
                  <a:lnTo>
                    <a:pt x="1153" y="399"/>
                  </a:lnTo>
                  <a:lnTo>
                    <a:pt x="1170" y="411"/>
                  </a:lnTo>
                  <a:lnTo>
                    <a:pt x="1207" y="420"/>
                  </a:lnTo>
                  <a:lnTo>
                    <a:pt x="1186" y="427"/>
                  </a:lnTo>
                  <a:lnTo>
                    <a:pt x="1170" y="444"/>
                  </a:lnTo>
                  <a:lnTo>
                    <a:pt x="1153" y="437"/>
                  </a:lnTo>
                  <a:lnTo>
                    <a:pt x="1153" y="456"/>
                  </a:lnTo>
                  <a:lnTo>
                    <a:pt x="1137" y="456"/>
                  </a:lnTo>
                  <a:lnTo>
                    <a:pt x="1132" y="460"/>
                  </a:lnTo>
                  <a:lnTo>
                    <a:pt x="1132" y="465"/>
                  </a:lnTo>
                  <a:lnTo>
                    <a:pt x="1104" y="477"/>
                  </a:lnTo>
                  <a:lnTo>
                    <a:pt x="1082" y="460"/>
                  </a:lnTo>
                  <a:lnTo>
                    <a:pt x="1049" y="465"/>
                  </a:lnTo>
                  <a:lnTo>
                    <a:pt x="1028" y="465"/>
                  </a:lnTo>
                  <a:lnTo>
                    <a:pt x="1011" y="456"/>
                  </a:lnTo>
                  <a:lnTo>
                    <a:pt x="1011" y="456"/>
                  </a:lnTo>
                  <a:lnTo>
                    <a:pt x="1044" y="427"/>
                  </a:lnTo>
                  <a:lnTo>
                    <a:pt x="1011" y="399"/>
                  </a:lnTo>
                  <a:lnTo>
                    <a:pt x="1007" y="411"/>
                  </a:lnTo>
                  <a:lnTo>
                    <a:pt x="969" y="437"/>
                  </a:lnTo>
                  <a:lnTo>
                    <a:pt x="943" y="420"/>
                  </a:lnTo>
                  <a:lnTo>
                    <a:pt x="943" y="420"/>
                  </a:lnTo>
                  <a:lnTo>
                    <a:pt x="936" y="444"/>
                  </a:lnTo>
                  <a:lnTo>
                    <a:pt x="936" y="465"/>
                  </a:lnTo>
                  <a:lnTo>
                    <a:pt x="889" y="477"/>
                  </a:lnTo>
                  <a:lnTo>
                    <a:pt x="915" y="477"/>
                  </a:lnTo>
                  <a:lnTo>
                    <a:pt x="898" y="482"/>
                  </a:lnTo>
                  <a:lnTo>
                    <a:pt x="905" y="498"/>
                  </a:lnTo>
                  <a:lnTo>
                    <a:pt x="889" y="498"/>
                  </a:lnTo>
                  <a:lnTo>
                    <a:pt x="889" y="498"/>
                  </a:lnTo>
                  <a:lnTo>
                    <a:pt x="889" y="498"/>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4" name="Freeform 586">
              <a:extLst>
                <a:ext uri="{FF2B5EF4-FFF2-40B4-BE49-F238E27FC236}">
                  <a16:creationId xmlns:a16="http://schemas.microsoft.com/office/drawing/2014/main" id="{D301722F-3DF0-4CA4-991B-30AE2741E3D0}"/>
                </a:ext>
              </a:extLst>
            </p:cNvPr>
            <p:cNvSpPr>
              <a:spLocks/>
            </p:cNvSpPr>
            <p:nvPr/>
          </p:nvSpPr>
          <p:spPr bwMode="gray">
            <a:xfrm>
              <a:off x="12338099" y="3797583"/>
              <a:ext cx="655" cy="6873"/>
            </a:xfrm>
            <a:custGeom>
              <a:avLst/>
              <a:gdLst>
                <a:gd name="T0" fmla="*/ 2 w 2"/>
                <a:gd name="T1" fmla="*/ 21 h 21"/>
                <a:gd name="T2" fmla="*/ 0 w 2"/>
                <a:gd name="T3" fmla="*/ 14 h 21"/>
                <a:gd name="T4" fmla="*/ 2 w 2"/>
                <a:gd name="T5" fmla="*/ 0 h 21"/>
                <a:gd name="T6" fmla="*/ 2 w 2"/>
                <a:gd name="T7" fmla="*/ 5 h 21"/>
                <a:gd name="T8" fmla="*/ 2 w 2"/>
                <a:gd name="T9" fmla="*/ 21 h 21"/>
                <a:gd name="T10" fmla="*/ 2 w 2"/>
                <a:gd name="T11" fmla="*/ 21 h 21"/>
                <a:gd name="T12" fmla="*/ 2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2" y="21"/>
                  </a:moveTo>
                  <a:lnTo>
                    <a:pt x="0" y="14"/>
                  </a:lnTo>
                  <a:lnTo>
                    <a:pt x="2" y="0"/>
                  </a:lnTo>
                  <a:lnTo>
                    <a:pt x="2" y="5"/>
                  </a:lnTo>
                  <a:lnTo>
                    <a:pt x="2" y="21"/>
                  </a:lnTo>
                  <a:lnTo>
                    <a:pt x="2" y="21"/>
                  </a:lnTo>
                  <a:lnTo>
                    <a:pt x="2" y="21"/>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5" name="Freeform 587">
              <a:extLst>
                <a:ext uri="{FF2B5EF4-FFF2-40B4-BE49-F238E27FC236}">
                  <a16:creationId xmlns:a16="http://schemas.microsoft.com/office/drawing/2014/main" id="{E073A62F-D116-43B9-8166-792F8B5E765F}"/>
                </a:ext>
              </a:extLst>
            </p:cNvPr>
            <p:cNvSpPr>
              <a:spLocks noEditPoints="1"/>
            </p:cNvSpPr>
            <p:nvPr/>
          </p:nvSpPr>
          <p:spPr bwMode="gray">
            <a:xfrm>
              <a:off x="12061206" y="3823767"/>
              <a:ext cx="308641" cy="276893"/>
            </a:xfrm>
            <a:custGeom>
              <a:avLst/>
              <a:gdLst>
                <a:gd name="T0" fmla="*/ 900 w 943"/>
                <a:gd name="T1" fmla="*/ 324 h 846"/>
                <a:gd name="T2" fmla="*/ 905 w 943"/>
                <a:gd name="T3" fmla="*/ 366 h 846"/>
                <a:gd name="T4" fmla="*/ 851 w 943"/>
                <a:gd name="T5" fmla="*/ 439 h 846"/>
                <a:gd name="T6" fmla="*/ 879 w 943"/>
                <a:gd name="T7" fmla="*/ 550 h 846"/>
                <a:gd name="T8" fmla="*/ 813 w 943"/>
                <a:gd name="T9" fmla="*/ 584 h 846"/>
                <a:gd name="T10" fmla="*/ 744 w 943"/>
                <a:gd name="T11" fmla="*/ 600 h 846"/>
                <a:gd name="T12" fmla="*/ 669 w 943"/>
                <a:gd name="T13" fmla="*/ 607 h 846"/>
                <a:gd name="T14" fmla="*/ 610 w 943"/>
                <a:gd name="T15" fmla="*/ 600 h 846"/>
                <a:gd name="T16" fmla="*/ 702 w 943"/>
                <a:gd name="T17" fmla="*/ 718 h 846"/>
                <a:gd name="T18" fmla="*/ 631 w 943"/>
                <a:gd name="T19" fmla="*/ 780 h 846"/>
                <a:gd name="T20" fmla="*/ 560 w 943"/>
                <a:gd name="T21" fmla="*/ 824 h 846"/>
                <a:gd name="T22" fmla="*/ 527 w 943"/>
                <a:gd name="T23" fmla="*/ 824 h 846"/>
                <a:gd name="T24" fmla="*/ 430 w 943"/>
                <a:gd name="T25" fmla="*/ 718 h 846"/>
                <a:gd name="T26" fmla="*/ 400 w 943"/>
                <a:gd name="T27" fmla="*/ 612 h 846"/>
                <a:gd name="T28" fmla="*/ 414 w 943"/>
                <a:gd name="T29" fmla="*/ 456 h 846"/>
                <a:gd name="T30" fmla="*/ 296 w 943"/>
                <a:gd name="T31" fmla="*/ 439 h 846"/>
                <a:gd name="T32" fmla="*/ 215 w 943"/>
                <a:gd name="T33" fmla="*/ 385 h 846"/>
                <a:gd name="T34" fmla="*/ 81 w 943"/>
                <a:gd name="T35" fmla="*/ 362 h 846"/>
                <a:gd name="T36" fmla="*/ 43 w 943"/>
                <a:gd name="T37" fmla="*/ 267 h 846"/>
                <a:gd name="T38" fmla="*/ 22 w 943"/>
                <a:gd name="T39" fmla="*/ 184 h 846"/>
                <a:gd name="T40" fmla="*/ 144 w 943"/>
                <a:gd name="T41" fmla="*/ 28 h 846"/>
                <a:gd name="T42" fmla="*/ 81 w 943"/>
                <a:gd name="T43" fmla="*/ 177 h 846"/>
                <a:gd name="T44" fmla="*/ 161 w 943"/>
                <a:gd name="T45" fmla="*/ 213 h 846"/>
                <a:gd name="T46" fmla="*/ 199 w 943"/>
                <a:gd name="T47" fmla="*/ 73 h 846"/>
                <a:gd name="T48" fmla="*/ 241 w 943"/>
                <a:gd name="T49" fmla="*/ 45 h 846"/>
                <a:gd name="T50" fmla="*/ 241 w 943"/>
                <a:gd name="T51" fmla="*/ 12 h 846"/>
                <a:gd name="T52" fmla="*/ 362 w 943"/>
                <a:gd name="T53" fmla="*/ 99 h 846"/>
                <a:gd name="T54" fmla="*/ 506 w 943"/>
                <a:gd name="T55" fmla="*/ 123 h 846"/>
                <a:gd name="T56" fmla="*/ 636 w 943"/>
                <a:gd name="T57" fmla="*/ 128 h 846"/>
                <a:gd name="T58" fmla="*/ 685 w 943"/>
                <a:gd name="T59" fmla="*/ 123 h 846"/>
                <a:gd name="T60" fmla="*/ 770 w 943"/>
                <a:gd name="T61" fmla="*/ 128 h 846"/>
                <a:gd name="T62" fmla="*/ 723 w 943"/>
                <a:gd name="T63" fmla="*/ 139 h 846"/>
                <a:gd name="T64" fmla="*/ 754 w 943"/>
                <a:gd name="T65" fmla="*/ 156 h 846"/>
                <a:gd name="T66" fmla="*/ 770 w 943"/>
                <a:gd name="T67" fmla="*/ 184 h 846"/>
                <a:gd name="T68" fmla="*/ 792 w 943"/>
                <a:gd name="T69" fmla="*/ 177 h 846"/>
                <a:gd name="T70" fmla="*/ 808 w 943"/>
                <a:gd name="T71" fmla="*/ 177 h 846"/>
                <a:gd name="T72" fmla="*/ 879 w 943"/>
                <a:gd name="T73" fmla="*/ 213 h 846"/>
                <a:gd name="T74" fmla="*/ 851 w 943"/>
                <a:gd name="T75" fmla="*/ 267 h 846"/>
                <a:gd name="T76" fmla="*/ 863 w 943"/>
                <a:gd name="T77" fmla="*/ 279 h 846"/>
                <a:gd name="T78" fmla="*/ 938 w 943"/>
                <a:gd name="T79" fmla="*/ 272 h 846"/>
                <a:gd name="T80" fmla="*/ 506 w 943"/>
                <a:gd name="T81" fmla="*/ 33 h 846"/>
                <a:gd name="T82" fmla="*/ 648 w 943"/>
                <a:gd name="T83" fmla="*/ 99 h 846"/>
                <a:gd name="T84" fmla="*/ 664 w 943"/>
                <a:gd name="T85" fmla="*/ 83 h 846"/>
                <a:gd name="T86" fmla="*/ 565 w 943"/>
                <a:gd name="T87" fmla="*/ 99 h 846"/>
                <a:gd name="T88" fmla="*/ 565 w 943"/>
                <a:gd name="T89" fmla="*/ 99 h 846"/>
                <a:gd name="T90" fmla="*/ 879 w 943"/>
                <a:gd name="T91" fmla="*/ 234 h 846"/>
                <a:gd name="T92" fmla="*/ 867 w 943"/>
                <a:gd name="T93" fmla="*/ 250 h 846"/>
                <a:gd name="T94" fmla="*/ 879 w 943"/>
                <a:gd name="T95" fmla="*/ 250 h 846"/>
                <a:gd name="T96" fmla="*/ 867 w 943"/>
                <a:gd name="T97" fmla="*/ 267 h 846"/>
                <a:gd name="T98" fmla="*/ 867 w 943"/>
                <a:gd name="T99" fmla="*/ 267 h 846"/>
                <a:gd name="T100" fmla="*/ 863 w 943"/>
                <a:gd name="T101" fmla="*/ 267 h 846"/>
                <a:gd name="T102" fmla="*/ 851 w 943"/>
                <a:gd name="T103" fmla="*/ 272 h 846"/>
                <a:gd name="T104" fmla="*/ 867 w 943"/>
                <a:gd name="T105" fmla="*/ 267 h 846"/>
                <a:gd name="T106" fmla="*/ 825 w 943"/>
                <a:gd name="T107" fmla="*/ 272 h 846"/>
                <a:gd name="T108" fmla="*/ 846 w 943"/>
                <a:gd name="T109" fmla="*/ 272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3" h="846">
                  <a:moveTo>
                    <a:pt x="938" y="272"/>
                  </a:moveTo>
                  <a:lnTo>
                    <a:pt x="943" y="295"/>
                  </a:lnTo>
                  <a:lnTo>
                    <a:pt x="938" y="295"/>
                  </a:lnTo>
                  <a:lnTo>
                    <a:pt x="933" y="307"/>
                  </a:lnTo>
                  <a:lnTo>
                    <a:pt x="900" y="324"/>
                  </a:lnTo>
                  <a:lnTo>
                    <a:pt x="884" y="345"/>
                  </a:lnTo>
                  <a:lnTo>
                    <a:pt x="889" y="362"/>
                  </a:lnTo>
                  <a:lnTo>
                    <a:pt x="889" y="366"/>
                  </a:lnTo>
                  <a:lnTo>
                    <a:pt x="900" y="378"/>
                  </a:lnTo>
                  <a:lnTo>
                    <a:pt x="905" y="366"/>
                  </a:lnTo>
                  <a:lnTo>
                    <a:pt x="917" y="378"/>
                  </a:lnTo>
                  <a:lnTo>
                    <a:pt x="884" y="402"/>
                  </a:lnTo>
                  <a:lnTo>
                    <a:pt x="851" y="402"/>
                  </a:lnTo>
                  <a:lnTo>
                    <a:pt x="851" y="418"/>
                  </a:lnTo>
                  <a:lnTo>
                    <a:pt x="851" y="439"/>
                  </a:lnTo>
                  <a:lnTo>
                    <a:pt x="837" y="463"/>
                  </a:lnTo>
                  <a:lnTo>
                    <a:pt x="884" y="513"/>
                  </a:lnTo>
                  <a:lnTo>
                    <a:pt x="889" y="517"/>
                  </a:lnTo>
                  <a:lnTo>
                    <a:pt x="889" y="534"/>
                  </a:lnTo>
                  <a:lnTo>
                    <a:pt x="879" y="550"/>
                  </a:lnTo>
                  <a:lnTo>
                    <a:pt x="867" y="558"/>
                  </a:lnTo>
                  <a:lnTo>
                    <a:pt x="846" y="567"/>
                  </a:lnTo>
                  <a:lnTo>
                    <a:pt x="830" y="574"/>
                  </a:lnTo>
                  <a:lnTo>
                    <a:pt x="825" y="584"/>
                  </a:lnTo>
                  <a:lnTo>
                    <a:pt x="813" y="584"/>
                  </a:lnTo>
                  <a:lnTo>
                    <a:pt x="808" y="591"/>
                  </a:lnTo>
                  <a:lnTo>
                    <a:pt x="782" y="591"/>
                  </a:lnTo>
                  <a:lnTo>
                    <a:pt x="761" y="591"/>
                  </a:lnTo>
                  <a:lnTo>
                    <a:pt x="754" y="600"/>
                  </a:lnTo>
                  <a:lnTo>
                    <a:pt x="744" y="600"/>
                  </a:lnTo>
                  <a:lnTo>
                    <a:pt x="744" y="624"/>
                  </a:lnTo>
                  <a:lnTo>
                    <a:pt x="728" y="628"/>
                  </a:lnTo>
                  <a:lnTo>
                    <a:pt x="702" y="607"/>
                  </a:lnTo>
                  <a:lnTo>
                    <a:pt x="690" y="612"/>
                  </a:lnTo>
                  <a:lnTo>
                    <a:pt x="669" y="607"/>
                  </a:lnTo>
                  <a:lnTo>
                    <a:pt x="652" y="607"/>
                  </a:lnTo>
                  <a:lnTo>
                    <a:pt x="648" y="591"/>
                  </a:lnTo>
                  <a:lnTo>
                    <a:pt x="615" y="591"/>
                  </a:lnTo>
                  <a:lnTo>
                    <a:pt x="598" y="584"/>
                  </a:lnTo>
                  <a:lnTo>
                    <a:pt x="610" y="600"/>
                  </a:lnTo>
                  <a:lnTo>
                    <a:pt x="636" y="628"/>
                  </a:lnTo>
                  <a:lnTo>
                    <a:pt x="636" y="662"/>
                  </a:lnTo>
                  <a:lnTo>
                    <a:pt x="652" y="695"/>
                  </a:lnTo>
                  <a:lnTo>
                    <a:pt x="652" y="711"/>
                  </a:lnTo>
                  <a:lnTo>
                    <a:pt x="702" y="718"/>
                  </a:lnTo>
                  <a:lnTo>
                    <a:pt x="702" y="735"/>
                  </a:lnTo>
                  <a:lnTo>
                    <a:pt x="652" y="751"/>
                  </a:lnTo>
                  <a:lnTo>
                    <a:pt x="648" y="773"/>
                  </a:lnTo>
                  <a:lnTo>
                    <a:pt x="636" y="780"/>
                  </a:lnTo>
                  <a:lnTo>
                    <a:pt x="631" y="780"/>
                  </a:lnTo>
                  <a:lnTo>
                    <a:pt x="610" y="796"/>
                  </a:lnTo>
                  <a:lnTo>
                    <a:pt x="598" y="796"/>
                  </a:lnTo>
                  <a:lnTo>
                    <a:pt x="577" y="806"/>
                  </a:lnTo>
                  <a:lnTo>
                    <a:pt x="565" y="824"/>
                  </a:lnTo>
                  <a:lnTo>
                    <a:pt x="560" y="824"/>
                  </a:lnTo>
                  <a:lnTo>
                    <a:pt x="544" y="846"/>
                  </a:lnTo>
                  <a:lnTo>
                    <a:pt x="544" y="841"/>
                  </a:lnTo>
                  <a:lnTo>
                    <a:pt x="544" y="824"/>
                  </a:lnTo>
                  <a:lnTo>
                    <a:pt x="544" y="824"/>
                  </a:lnTo>
                  <a:lnTo>
                    <a:pt x="527" y="824"/>
                  </a:lnTo>
                  <a:lnTo>
                    <a:pt x="506" y="841"/>
                  </a:lnTo>
                  <a:lnTo>
                    <a:pt x="489" y="841"/>
                  </a:lnTo>
                  <a:lnTo>
                    <a:pt x="452" y="806"/>
                  </a:lnTo>
                  <a:lnTo>
                    <a:pt x="430" y="723"/>
                  </a:lnTo>
                  <a:lnTo>
                    <a:pt x="430" y="718"/>
                  </a:lnTo>
                  <a:lnTo>
                    <a:pt x="400" y="685"/>
                  </a:lnTo>
                  <a:lnTo>
                    <a:pt x="383" y="685"/>
                  </a:lnTo>
                  <a:lnTo>
                    <a:pt x="421" y="645"/>
                  </a:lnTo>
                  <a:lnTo>
                    <a:pt x="404" y="624"/>
                  </a:lnTo>
                  <a:lnTo>
                    <a:pt x="400" y="612"/>
                  </a:lnTo>
                  <a:lnTo>
                    <a:pt x="383" y="558"/>
                  </a:lnTo>
                  <a:lnTo>
                    <a:pt x="383" y="501"/>
                  </a:lnTo>
                  <a:lnTo>
                    <a:pt x="400" y="489"/>
                  </a:lnTo>
                  <a:lnTo>
                    <a:pt x="400" y="473"/>
                  </a:lnTo>
                  <a:lnTo>
                    <a:pt x="414" y="456"/>
                  </a:lnTo>
                  <a:lnTo>
                    <a:pt x="414" y="439"/>
                  </a:lnTo>
                  <a:lnTo>
                    <a:pt x="383" y="435"/>
                  </a:lnTo>
                  <a:lnTo>
                    <a:pt x="378" y="439"/>
                  </a:lnTo>
                  <a:lnTo>
                    <a:pt x="329" y="444"/>
                  </a:lnTo>
                  <a:lnTo>
                    <a:pt x="296" y="439"/>
                  </a:lnTo>
                  <a:lnTo>
                    <a:pt x="291" y="444"/>
                  </a:lnTo>
                  <a:lnTo>
                    <a:pt x="279" y="444"/>
                  </a:lnTo>
                  <a:lnTo>
                    <a:pt x="274" y="444"/>
                  </a:lnTo>
                  <a:lnTo>
                    <a:pt x="227" y="385"/>
                  </a:lnTo>
                  <a:lnTo>
                    <a:pt x="215" y="385"/>
                  </a:lnTo>
                  <a:lnTo>
                    <a:pt x="182" y="378"/>
                  </a:lnTo>
                  <a:lnTo>
                    <a:pt x="152" y="385"/>
                  </a:lnTo>
                  <a:lnTo>
                    <a:pt x="119" y="378"/>
                  </a:lnTo>
                  <a:lnTo>
                    <a:pt x="90" y="385"/>
                  </a:lnTo>
                  <a:lnTo>
                    <a:pt x="81" y="362"/>
                  </a:lnTo>
                  <a:lnTo>
                    <a:pt x="59" y="345"/>
                  </a:lnTo>
                  <a:lnTo>
                    <a:pt x="59" y="312"/>
                  </a:lnTo>
                  <a:lnTo>
                    <a:pt x="64" y="307"/>
                  </a:lnTo>
                  <a:lnTo>
                    <a:pt x="64" y="279"/>
                  </a:lnTo>
                  <a:lnTo>
                    <a:pt x="43" y="267"/>
                  </a:lnTo>
                  <a:lnTo>
                    <a:pt x="38" y="234"/>
                  </a:lnTo>
                  <a:lnTo>
                    <a:pt x="26" y="222"/>
                  </a:lnTo>
                  <a:lnTo>
                    <a:pt x="22" y="217"/>
                  </a:lnTo>
                  <a:lnTo>
                    <a:pt x="0" y="222"/>
                  </a:lnTo>
                  <a:lnTo>
                    <a:pt x="22" y="184"/>
                  </a:lnTo>
                  <a:lnTo>
                    <a:pt x="26" y="128"/>
                  </a:lnTo>
                  <a:lnTo>
                    <a:pt x="59" y="83"/>
                  </a:lnTo>
                  <a:lnTo>
                    <a:pt x="81" y="73"/>
                  </a:lnTo>
                  <a:lnTo>
                    <a:pt x="97" y="45"/>
                  </a:lnTo>
                  <a:lnTo>
                    <a:pt x="144" y="28"/>
                  </a:lnTo>
                  <a:lnTo>
                    <a:pt x="135" y="33"/>
                  </a:lnTo>
                  <a:lnTo>
                    <a:pt x="97" y="50"/>
                  </a:lnTo>
                  <a:lnTo>
                    <a:pt x="119" y="111"/>
                  </a:lnTo>
                  <a:lnTo>
                    <a:pt x="119" y="128"/>
                  </a:lnTo>
                  <a:lnTo>
                    <a:pt x="81" y="177"/>
                  </a:lnTo>
                  <a:lnTo>
                    <a:pt x="114" y="213"/>
                  </a:lnTo>
                  <a:lnTo>
                    <a:pt x="114" y="222"/>
                  </a:lnTo>
                  <a:lnTo>
                    <a:pt x="119" y="234"/>
                  </a:lnTo>
                  <a:lnTo>
                    <a:pt x="144" y="222"/>
                  </a:lnTo>
                  <a:lnTo>
                    <a:pt x="161" y="213"/>
                  </a:lnTo>
                  <a:lnTo>
                    <a:pt x="161" y="177"/>
                  </a:lnTo>
                  <a:lnTo>
                    <a:pt x="128" y="123"/>
                  </a:lnTo>
                  <a:lnTo>
                    <a:pt x="128" y="106"/>
                  </a:lnTo>
                  <a:lnTo>
                    <a:pt x="128" y="99"/>
                  </a:lnTo>
                  <a:lnTo>
                    <a:pt x="199" y="73"/>
                  </a:lnTo>
                  <a:lnTo>
                    <a:pt x="227" y="57"/>
                  </a:lnTo>
                  <a:lnTo>
                    <a:pt x="227" y="50"/>
                  </a:lnTo>
                  <a:lnTo>
                    <a:pt x="241" y="57"/>
                  </a:lnTo>
                  <a:lnTo>
                    <a:pt x="253" y="57"/>
                  </a:lnTo>
                  <a:lnTo>
                    <a:pt x="241" y="45"/>
                  </a:lnTo>
                  <a:lnTo>
                    <a:pt x="215" y="45"/>
                  </a:lnTo>
                  <a:lnTo>
                    <a:pt x="215" y="28"/>
                  </a:lnTo>
                  <a:lnTo>
                    <a:pt x="220" y="12"/>
                  </a:lnTo>
                  <a:lnTo>
                    <a:pt x="237" y="0"/>
                  </a:lnTo>
                  <a:lnTo>
                    <a:pt x="241" y="12"/>
                  </a:lnTo>
                  <a:lnTo>
                    <a:pt x="258" y="57"/>
                  </a:lnTo>
                  <a:lnTo>
                    <a:pt x="279" y="50"/>
                  </a:lnTo>
                  <a:lnTo>
                    <a:pt x="312" y="57"/>
                  </a:lnTo>
                  <a:lnTo>
                    <a:pt x="345" y="83"/>
                  </a:lnTo>
                  <a:lnTo>
                    <a:pt x="362" y="99"/>
                  </a:lnTo>
                  <a:lnTo>
                    <a:pt x="350" y="106"/>
                  </a:lnTo>
                  <a:lnTo>
                    <a:pt x="350" y="123"/>
                  </a:lnTo>
                  <a:lnTo>
                    <a:pt x="367" y="128"/>
                  </a:lnTo>
                  <a:lnTo>
                    <a:pt x="501" y="123"/>
                  </a:lnTo>
                  <a:lnTo>
                    <a:pt x="506" y="123"/>
                  </a:lnTo>
                  <a:lnTo>
                    <a:pt x="506" y="128"/>
                  </a:lnTo>
                  <a:lnTo>
                    <a:pt x="527" y="144"/>
                  </a:lnTo>
                  <a:lnTo>
                    <a:pt x="577" y="161"/>
                  </a:lnTo>
                  <a:lnTo>
                    <a:pt x="598" y="161"/>
                  </a:lnTo>
                  <a:lnTo>
                    <a:pt x="636" y="128"/>
                  </a:lnTo>
                  <a:lnTo>
                    <a:pt x="674" y="128"/>
                  </a:lnTo>
                  <a:lnTo>
                    <a:pt x="652" y="123"/>
                  </a:lnTo>
                  <a:lnTo>
                    <a:pt x="636" y="128"/>
                  </a:lnTo>
                  <a:lnTo>
                    <a:pt x="636" y="111"/>
                  </a:lnTo>
                  <a:lnTo>
                    <a:pt x="685" y="123"/>
                  </a:lnTo>
                  <a:lnTo>
                    <a:pt x="716" y="111"/>
                  </a:lnTo>
                  <a:lnTo>
                    <a:pt x="799" y="111"/>
                  </a:lnTo>
                  <a:lnTo>
                    <a:pt x="799" y="111"/>
                  </a:lnTo>
                  <a:lnTo>
                    <a:pt x="778" y="123"/>
                  </a:lnTo>
                  <a:lnTo>
                    <a:pt x="770" y="128"/>
                  </a:lnTo>
                  <a:lnTo>
                    <a:pt x="728" y="128"/>
                  </a:lnTo>
                  <a:lnTo>
                    <a:pt x="723" y="128"/>
                  </a:lnTo>
                  <a:lnTo>
                    <a:pt x="740" y="128"/>
                  </a:lnTo>
                  <a:lnTo>
                    <a:pt x="740" y="139"/>
                  </a:lnTo>
                  <a:lnTo>
                    <a:pt x="723" y="139"/>
                  </a:lnTo>
                  <a:lnTo>
                    <a:pt x="723" y="144"/>
                  </a:lnTo>
                  <a:lnTo>
                    <a:pt x="728" y="144"/>
                  </a:lnTo>
                  <a:lnTo>
                    <a:pt x="728" y="139"/>
                  </a:lnTo>
                  <a:lnTo>
                    <a:pt x="740" y="139"/>
                  </a:lnTo>
                  <a:lnTo>
                    <a:pt x="754" y="156"/>
                  </a:lnTo>
                  <a:lnTo>
                    <a:pt x="723" y="161"/>
                  </a:lnTo>
                  <a:lnTo>
                    <a:pt x="740" y="161"/>
                  </a:lnTo>
                  <a:lnTo>
                    <a:pt x="754" y="161"/>
                  </a:lnTo>
                  <a:lnTo>
                    <a:pt x="754" y="144"/>
                  </a:lnTo>
                  <a:lnTo>
                    <a:pt x="770" y="184"/>
                  </a:lnTo>
                  <a:lnTo>
                    <a:pt x="778" y="168"/>
                  </a:lnTo>
                  <a:lnTo>
                    <a:pt x="778" y="168"/>
                  </a:lnTo>
                  <a:lnTo>
                    <a:pt x="778" y="194"/>
                  </a:lnTo>
                  <a:lnTo>
                    <a:pt x="782" y="177"/>
                  </a:lnTo>
                  <a:lnTo>
                    <a:pt x="792" y="177"/>
                  </a:lnTo>
                  <a:lnTo>
                    <a:pt x="778" y="168"/>
                  </a:lnTo>
                  <a:lnTo>
                    <a:pt x="782" y="161"/>
                  </a:lnTo>
                  <a:lnTo>
                    <a:pt x="799" y="168"/>
                  </a:lnTo>
                  <a:lnTo>
                    <a:pt x="813" y="194"/>
                  </a:lnTo>
                  <a:lnTo>
                    <a:pt x="808" y="177"/>
                  </a:lnTo>
                  <a:lnTo>
                    <a:pt x="825" y="177"/>
                  </a:lnTo>
                  <a:lnTo>
                    <a:pt x="825" y="168"/>
                  </a:lnTo>
                  <a:lnTo>
                    <a:pt x="846" y="194"/>
                  </a:lnTo>
                  <a:lnTo>
                    <a:pt x="863" y="194"/>
                  </a:lnTo>
                  <a:lnTo>
                    <a:pt x="879" y="213"/>
                  </a:lnTo>
                  <a:lnTo>
                    <a:pt x="879" y="217"/>
                  </a:lnTo>
                  <a:lnTo>
                    <a:pt x="863" y="234"/>
                  </a:lnTo>
                  <a:lnTo>
                    <a:pt x="863" y="234"/>
                  </a:lnTo>
                  <a:lnTo>
                    <a:pt x="867" y="222"/>
                  </a:lnTo>
                  <a:lnTo>
                    <a:pt x="851" y="267"/>
                  </a:lnTo>
                  <a:lnTo>
                    <a:pt x="825" y="267"/>
                  </a:lnTo>
                  <a:lnTo>
                    <a:pt x="825" y="272"/>
                  </a:lnTo>
                  <a:lnTo>
                    <a:pt x="837" y="279"/>
                  </a:lnTo>
                  <a:lnTo>
                    <a:pt x="863" y="272"/>
                  </a:lnTo>
                  <a:lnTo>
                    <a:pt x="863" y="279"/>
                  </a:lnTo>
                  <a:lnTo>
                    <a:pt x="867" y="267"/>
                  </a:lnTo>
                  <a:lnTo>
                    <a:pt x="900" y="272"/>
                  </a:lnTo>
                  <a:lnTo>
                    <a:pt x="905" y="267"/>
                  </a:lnTo>
                  <a:lnTo>
                    <a:pt x="917" y="267"/>
                  </a:lnTo>
                  <a:lnTo>
                    <a:pt x="938" y="272"/>
                  </a:lnTo>
                  <a:lnTo>
                    <a:pt x="938" y="272"/>
                  </a:lnTo>
                  <a:lnTo>
                    <a:pt x="938" y="272"/>
                  </a:lnTo>
                  <a:close/>
                  <a:moveTo>
                    <a:pt x="506" y="33"/>
                  </a:moveTo>
                  <a:lnTo>
                    <a:pt x="501" y="33"/>
                  </a:lnTo>
                  <a:lnTo>
                    <a:pt x="506" y="33"/>
                  </a:lnTo>
                  <a:lnTo>
                    <a:pt x="506" y="33"/>
                  </a:lnTo>
                  <a:lnTo>
                    <a:pt x="506" y="33"/>
                  </a:lnTo>
                  <a:lnTo>
                    <a:pt x="506" y="33"/>
                  </a:lnTo>
                  <a:close/>
                  <a:moveTo>
                    <a:pt x="652" y="106"/>
                  </a:moveTo>
                  <a:lnTo>
                    <a:pt x="648" y="99"/>
                  </a:lnTo>
                  <a:lnTo>
                    <a:pt x="631" y="99"/>
                  </a:lnTo>
                  <a:lnTo>
                    <a:pt x="631" y="90"/>
                  </a:lnTo>
                  <a:lnTo>
                    <a:pt x="636" y="83"/>
                  </a:lnTo>
                  <a:lnTo>
                    <a:pt x="652" y="90"/>
                  </a:lnTo>
                  <a:lnTo>
                    <a:pt x="664" y="83"/>
                  </a:lnTo>
                  <a:lnTo>
                    <a:pt x="669" y="90"/>
                  </a:lnTo>
                  <a:lnTo>
                    <a:pt x="652" y="106"/>
                  </a:lnTo>
                  <a:lnTo>
                    <a:pt x="652" y="106"/>
                  </a:lnTo>
                  <a:lnTo>
                    <a:pt x="652" y="106"/>
                  </a:lnTo>
                  <a:close/>
                  <a:moveTo>
                    <a:pt x="565" y="99"/>
                  </a:moveTo>
                  <a:lnTo>
                    <a:pt x="556" y="99"/>
                  </a:lnTo>
                  <a:lnTo>
                    <a:pt x="565" y="99"/>
                  </a:lnTo>
                  <a:lnTo>
                    <a:pt x="565" y="99"/>
                  </a:lnTo>
                  <a:lnTo>
                    <a:pt x="565" y="99"/>
                  </a:lnTo>
                  <a:lnTo>
                    <a:pt x="565" y="99"/>
                  </a:lnTo>
                  <a:close/>
                  <a:moveTo>
                    <a:pt x="879" y="234"/>
                  </a:moveTo>
                  <a:lnTo>
                    <a:pt x="867" y="234"/>
                  </a:lnTo>
                  <a:lnTo>
                    <a:pt x="879" y="222"/>
                  </a:lnTo>
                  <a:lnTo>
                    <a:pt x="879" y="234"/>
                  </a:lnTo>
                  <a:lnTo>
                    <a:pt x="879" y="234"/>
                  </a:lnTo>
                  <a:lnTo>
                    <a:pt x="879" y="234"/>
                  </a:lnTo>
                  <a:close/>
                  <a:moveTo>
                    <a:pt x="867" y="250"/>
                  </a:moveTo>
                  <a:lnTo>
                    <a:pt x="863" y="250"/>
                  </a:lnTo>
                  <a:lnTo>
                    <a:pt x="879" y="234"/>
                  </a:lnTo>
                  <a:lnTo>
                    <a:pt x="867" y="250"/>
                  </a:lnTo>
                  <a:lnTo>
                    <a:pt x="867" y="250"/>
                  </a:lnTo>
                  <a:lnTo>
                    <a:pt x="867" y="250"/>
                  </a:lnTo>
                  <a:close/>
                  <a:moveTo>
                    <a:pt x="851" y="255"/>
                  </a:moveTo>
                  <a:lnTo>
                    <a:pt x="863" y="250"/>
                  </a:lnTo>
                  <a:lnTo>
                    <a:pt x="879" y="250"/>
                  </a:lnTo>
                  <a:lnTo>
                    <a:pt x="867" y="255"/>
                  </a:lnTo>
                  <a:lnTo>
                    <a:pt x="851" y="255"/>
                  </a:lnTo>
                  <a:lnTo>
                    <a:pt x="851" y="255"/>
                  </a:lnTo>
                  <a:lnTo>
                    <a:pt x="851" y="255"/>
                  </a:lnTo>
                  <a:close/>
                  <a:moveTo>
                    <a:pt x="867" y="267"/>
                  </a:moveTo>
                  <a:lnTo>
                    <a:pt x="867" y="267"/>
                  </a:lnTo>
                  <a:lnTo>
                    <a:pt x="879" y="255"/>
                  </a:lnTo>
                  <a:lnTo>
                    <a:pt x="867" y="267"/>
                  </a:lnTo>
                  <a:lnTo>
                    <a:pt x="867" y="267"/>
                  </a:lnTo>
                  <a:lnTo>
                    <a:pt x="867" y="267"/>
                  </a:lnTo>
                  <a:close/>
                  <a:moveTo>
                    <a:pt x="863" y="267"/>
                  </a:moveTo>
                  <a:lnTo>
                    <a:pt x="851" y="267"/>
                  </a:lnTo>
                  <a:lnTo>
                    <a:pt x="867" y="255"/>
                  </a:lnTo>
                  <a:lnTo>
                    <a:pt x="863" y="267"/>
                  </a:lnTo>
                  <a:lnTo>
                    <a:pt x="863" y="267"/>
                  </a:lnTo>
                  <a:lnTo>
                    <a:pt x="863" y="267"/>
                  </a:lnTo>
                  <a:close/>
                  <a:moveTo>
                    <a:pt x="851" y="272"/>
                  </a:moveTo>
                  <a:lnTo>
                    <a:pt x="851" y="267"/>
                  </a:lnTo>
                  <a:lnTo>
                    <a:pt x="863" y="267"/>
                  </a:lnTo>
                  <a:lnTo>
                    <a:pt x="851" y="272"/>
                  </a:lnTo>
                  <a:lnTo>
                    <a:pt x="851" y="272"/>
                  </a:lnTo>
                  <a:lnTo>
                    <a:pt x="851" y="272"/>
                  </a:lnTo>
                  <a:close/>
                  <a:moveTo>
                    <a:pt x="851" y="272"/>
                  </a:moveTo>
                  <a:lnTo>
                    <a:pt x="846" y="272"/>
                  </a:lnTo>
                  <a:lnTo>
                    <a:pt x="867" y="267"/>
                  </a:lnTo>
                  <a:lnTo>
                    <a:pt x="851" y="272"/>
                  </a:lnTo>
                  <a:lnTo>
                    <a:pt x="851" y="272"/>
                  </a:lnTo>
                  <a:lnTo>
                    <a:pt x="851" y="272"/>
                  </a:lnTo>
                  <a:close/>
                  <a:moveTo>
                    <a:pt x="846" y="272"/>
                  </a:moveTo>
                  <a:lnTo>
                    <a:pt x="825" y="272"/>
                  </a:lnTo>
                  <a:lnTo>
                    <a:pt x="846" y="272"/>
                  </a:lnTo>
                  <a:lnTo>
                    <a:pt x="851" y="272"/>
                  </a:lnTo>
                  <a:lnTo>
                    <a:pt x="846" y="272"/>
                  </a:lnTo>
                  <a:lnTo>
                    <a:pt x="846" y="272"/>
                  </a:lnTo>
                  <a:lnTo>
                    <a:pt x="846" y="272"/>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6" name="Freeform 588">
              <a:extLst>
                <a:ext uri="{FF2B5EF4-FFF2-40B4-BE49-F238E27FC236}">
                  <a16:creationId xmlns:a16="http://schemas.microsoft.com/office/drawing/2014/main" id="{3C948BCA-A8AF-427B-BDE4-3E9FED90A1F1}"/>
                </a:ext>
              </a:extLst>
            </p:cNvPr>
            <p:cNvSpPr>
              <a:spLocks noEditPoints="1"/>
            </p:cNvSpPr>
            <p:nvPr/>
          </p:nvSpPr>
          <p:spPr bwMode="gray">
            <a:xfrm>
              <a:off x="16089246" y="3555383"/>
              <a:ext cx="168558" cy="355772"/>
            </a:xfrm>
            <a:custGeom>
              <a:avLst/>
              <a:gdLst>
                <a:gd name="T0" fmla="*/ 374 w 515"/>
                <a:gd name="T1" fmla="*/ 615 h 1087"/>
                <a:gd name="T2" fmla="*/ 364 w 515"/>
                <a:gd name="T3" fmla="*/ 556 h 1087"/>
                <a:gd name="T4" fmla="*/ 340 w 515"/>
                <a:gd name="T5" fmla="*/ 522 h 1087"/>
                <a:gd name="T6" fmla="*/ 310 w 515"/>
                <a:gd name="T7" fmla="*/ 499 h 1087"/>
                <a:gd name="T8" fmla="*/ 248 w 515"/>
                <a:gd name="T9" fmla="*/ 421 h 1087"/>
                <a:gd name="T10" fmla="*/ 211 w 515"/>
                <a:gd name="T11" fmla="*/ 367 h 1087"/>
                <a:gd name="T12" fmla="*/ 118 w 515"/>
                <a:gd name="T13" fmla="*/ 300 h 1087"/>
                <a:gd name="T14" fmla="*/ 185 w 515"/>
                <a:gd name="T15" fmla="*/ 260 h 1087"/>
                <a:gd name="T16" fmla="*/ 173 w 515"/>
                <a:gd name="T17" fmla="*/ 211 h 1087"/>
                <a:gd name="T18" fmla="*/ 118 w 515"/>
                <a:gd name="T19" fmla="*/ 182 h 1087"/>
                <a:gd name="T20" fmla="*/ 55 w 515"/>
                <a:gd name="T21" fmla="*/ 116 h 1087"/>
                <a:gd name="T22" fmla="*/ 22 w 515"/>
                <a:gd name="T23" fmla="*/ 41 h 1087"/>
                <a:gd name="T24" fmla="*/ 102 w 515"/>
                <a:gd name="T25" fmla="*/ 41 h 1087"/>
                <a:gd name="T26" fmla="*/ 147 w 515"/>
                <a:gd name="T27" fmla="*/ 41 h 1087"/>
                <a:gd name="T28" fmla="*/ 194 w 515"/>
                <a:gd name="T29" fmla="*/ 5 h 1087"/>
                <a:gd name="T30" fmla="*/ 281 w 515"/>
                <a:gd name="T31" fmla="*/ 22 h 1087"/>
                <a:gd name="T32" fmla="*/ 326 w 515"/>
                <a:gd name="T33" fmla="*/ 41 h 1087"/>
                <a:gd name="T34" fmla="*/ 340 w 515"/>
                <a:gd name="T35" fmla="*/ 100 h 1087"/>
                <a:gd name="T36" fmla="*/ 395 w 515"/>
                <a:gd name="T37" fmla="*/ 128 h 1087"/>
                <a:gd name="T38" fmla="*/ 395 w 515"/>
                <a:gd name="T39" fmla="*/ 133 h 1087"/>
                <a:gd name="T40" fmla="*/ 348 w 515"/>
                <a:gd name="T41" fmla="*/ 182 h 1087"/>
                <a:gd name="T42" fmla="*/ 336 w 515"/>
                <a:gd name="T43" fmla="*/ 173 h 1087"/>
                <a:gd name="T44" fmla="*/ 310 w 515"/>
                <a:gd name="T45" fmla="*/ 173 h 1087"/>
                <a:gd name="T46" fmla="*/ 310 w 515"/>
                <a:gd name="T47" fmla="*/ 201 h 1087"/>
                <a:gd name="T48" fmla="*/ 265 w 515"/>
                <a:gd name="T49" fmla="*/ 256 h 1087"/>
                <a:gd name="T50" fmla="*/ 265 w 515"/>
                <a:gd name="T51" fmla="*/ 367 h 1087"/>
                <a:gd name="T52" fmla="*/ 348 w 515"/>
                <a:gd name="T53" fmla="*/ 466 h 1087"/>
                <a:gd name="T54" fmla="*/ 390 w 515"/>
                <a:gd name="T55" fmla="*/ 504 h 1087"/>
                <a:gd name="T56" fmla="*/ 418 w 515"/>
                <a:gd name="T57" fmla="*/ 539 h 1087"/>
                <a:gd name="T58" fmla="*/ 428 w 515"/>
                <a:gd name="T59" fmla="*/ 539 h 1087"/>
                <a:gd name="T60" fmla="*/ 503 w 515"/>
                <a:gd name="T61" fmla="*/ 704 h 1087"/>
                <a:gd name="T62" fmla="*/ 499 w 515"/>
                <a:gd name="T63" fmla="*/ 737 h 1087"/>
                <a:gd name="T64" fmla="*/ 487 w 515"/>
                <a:gd name="T65" fmla="*/ 808 h 1087"/>
                <a:gd name="T66" fmla="*/ 487 w 515"/>
                <a:gd name="T67" fmla="*/ 848 h 1087"/>
                <a:gd name="T68" fmla="*/ 482 w 515"/>
                <a:gd name="T69" fmla="*/ 886 h 1087"/>
                <a:gd name="T70" fmla="*/ 395 w 515"/>
                <a:gd name="T71" fmla="*/ 931 h 1087"/>
                <a:gd name="T72" fmla="*/ 336 w 515"/>
                <a:gd name="T73" fmla="*/ 948 h 1087"/>
                <a:gd name="T74" fmla="*/ 310 w 515"/>
                <a:gd name="T75" fmla="*/ 948 h 1087"/>
                <a:gd name="T76" fmla="*/ 326 w 515"/>
                <a:gd name="T77" fmla="*/ 976 h 1087"/>
                <a:gd name="T78" fmla="*/ 319 w 515"/>
                <a:gd name="T79" fmla="*/ 988 h 1087"/>
                <a:gd name="T80" fmla="*/ 310 w 515"/>
                <a:gd name="T81" fmla="*/ 1014 h 1087"/>
                <a:gd name="T82" fmla="*/ 281 w 515"/>
                <a:gd name="T83" fmla="*/ 1030 h 1087"/>
                <a:gd name="T84" fmla="*/ 180 w 515"/>
                <a:gd name="T85" fmla="*/ 1087 h 1087"/>
                <a:gd name="T86" fmla="*/ 201 w 515"/>
                <a:gd name="T87" fmla="*/ 988 h 1087"/>
                <a:gd name="T88" fmla="*/ 173 w 515"/>
                <a:gd name="T89" fmla="*/ 976 h 1087"/>
                <a:gd name="T90" fmla="*/ 201 w 515"/>
                <a:gd name="T91" fmla="*/ 931 h 1087"/>
                <a:gd name="T92" fmla="*/ 234 w 515"/>
                <a:gd name="T93" fmla="*/ 919 h 1087"/>
                <a:gd name="T94" fmla="*/ 255 w 515"/>
                <a:gd name="T95" fmla="*/ 893 h 1087"/>
                <a:gd name="T96" fmla="*/ 303 w 515"/>
                <a:gd name="T97" fmla="*/ 865 h 1087"/>
                <a:gd name="T98" fmla="*/ 364 w 515"/>
                <a:gd name="T99" fmla="*/ 815 h 1087"/>
                <a:gd name="T100" fmla="*/ 374 w 515"/>
                <a:gd name="T101" fmla="*/ 766 h 1087"/>
                <a:gd name="T102" fmla="*/ 374 w 515"/>
                <a:gd name="T103" fmla="*/ 700 h 1087"/>
                <a:gd name="T104" fmla="*/ 364 w 515"/>
                <a:gd name="T105" fmla="*/ 166 h 1087"/>
                <a:gd name="T106" fmla="*/ 378 w 515"/>
                <a:gd name="T107" fmla="*/ 173 h 1087"/>
                <a:gd name="T108" fmla="*/ 378 w 515"/>
                <a:gd name="T109" fmla="*/ 173 h 1087"/>
                <a:gd name="T110" fmla="*/ 336 w 515"/>
                <a:gd name="T111" fmla="*/ 189 h 1087"/>
                <a:gd name="T112" fmla="*/ 336 w 515"/>
                <a:gd name="T113" fmla="*/ 182 h 1087"/>
                <a:gd name="T114" fmla="*/ 336 w 515"/>
                <a:gd name="T115" fmla="*/ 182 h 1087"/>
                <a:gd name="T116" fmla="*/ 326 w 515"/>
                <a:gd name="T117" fmla="*/ 959 h 1087"/>
                <a:gd name="T118" fmla="*/ 326 w 515"/>
                <a:gd name="T119" fmla="*/ 931 h 1087"/>
                <a:gd name="T120" fmla="*/ 336 w 515"/>
                <a:gd name="T121" fmla="*/ 948 h 1087"/>
                <a:gd name="T122" fmla="*/ 130 w 515"/>
                <a:gd name="T123" fmla="*/ 959 h 1087"/>
                <a:gd name="T124" fmla="*/ 130 w 515"/>
                <a:gd name="T125" fmla="*/ 948 h 1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5" h="1087">
                  <a:moveTo>
                    <a:pt x="374" y="700"/>
                  </a:moveTo>
                  <a:lnTo>
                    <a:pt x="364" y="683"/>
                  </a:lnTo>
                  <a:lnTo>
                    <a:pt x="378" y="643"/>
                  </a:lnTo>
                  <a:lnTo>
                    <a:pt x="374" y="615"/>
                  </a:lnTo>
                  <a:lnTo>
                    <a:pt x="378" y="615"/>
                  </a:lnTo>
                  <a:lnTo>
                    <a:pt x="390" y="598"/>
                  </a:lnTo>
                  <a:lnTo>
                    <a:pt x="348" y="560"/>
                  </a:lnTo>
                  <a:lnTo>
                    <a:pt x="364" y="556"/>
                  </a:lnTo>
                  <a:lnTo>
                    <a:pt x="374" y="539"/>
                  </a:lnTo>
                  <a:lnTo>
                    <a:pt x="364" y="539"/>
                  </a:lnTo>
                  <a:lnTo>
                    <a:pt x="348" y="522"/>
                  </a:lnTo>
                  <a:lnTo>
                    <a:pt x="340" y="522"/>
                  </a:lnTo>
                  <a:lnTo>
                    <a:pt x="336" y="504"/>
                  </a:lnTo>
                  <a:lnTo>
                    <a:pt x="326" y="515"/>
                  </a:lnTo>
                  <a:lnTo>
                    <a:pt x="319" y="515"/>
                  </a:lnTo>
                  <a:lnTo>
                    <a:pt x="310" y="499"/>
                  </a:lnTo>
                  <a:lnTo>
                    <a:pt x="310" y="478"/>
                  </a:lnTo>
                  <a:lnTo>
                    <a:pt x="303" y="478"/>
                  </a:lnTo>
                  <a:lnTo>
                    <a:pt x="293" y="461"/>
                  </a:lnTo>
                  <a:lnTo>
                    <a:pt x="248" y="421"/>
                  </a:lnTo>
                  <a:lnTo>
                    <a:pt x="234" y="388"/>
                  </a:lnTo>
                  <a:lnTo>
                    <a:pt x="227" y="388"/>
                  </a:lnTo>
                  <a:lnTo>
                    <a:pt x="211" y="371"/>
                  </a:lnTo>
                  <a:lnTo>
                    <a:pt x="211" y="367"/>
                  </a:lnTo>
                  <a:lnTo>
                    <a:pt x="211" y="350"/>
                  </a:lnTo>
                  <a:lnTo>
                    <a:pt x="180" y="338"/>
                  </a:lnTo>
                  <a:lnTo>
                    <a:pt x="140" y="310"/>
                  </a:lnTo>
                  <a:lnTo>
                    <a:pt x="118" y="300"/>
                  </a:lnTo>
                  <a:lnTo>
                    <a:pt x="130" y="284"/>
                  </a:lnTo>
                  <a:lnTo>
                    <a:pt x="130" y="267"/>
                  </a:lnTo>
                  <a:lnTo>
                    <a:pt x="173" y="277"/>
                  </a:lnTo>
                  <a:lnTo>
                    <a:pt x="185" y="260"/>
                  </a:lnTo>
                  <a:lnTo>
                    <a:pt x="185" y="256"/>
                  </a:lnTo>
                  <a:lnTo>
                    <a:pt x="194" y="244"/>
                  </a:lnTo>
                  <a:lnTo>
                    <a:pt x="194" y="239"/>
                  </a:lnTo>
                  <a:lnTo>
                    <a:pt x="173" y="211"/>
                  </a:lnTo>
                  <a:lnTo>
                    <a:pt x="156" y="211"/>
                  </a:lnTo>
                  <a:lnTo>
                    <a:pt x="173" y="201"/>
                  </a:lnTo>
                  <a:lnTo>
                    <a:pt x="130" y="173"/>
                  </a:lnTo>
                  <a:lnTo>
                    <a:pt x="118" y="182"/>
                  </a:lnTo>
                  <a:lnTo>
                    <a:pt x="109" y="201"/>
                  </a:lnTo>
                  <a:lnTo>
                    <a:pt x="71" y="182"/>
                  </a:lnTo>
                  <a:lnTo>
                    <a:pt x="48" y="149"/>
                  </a:lnTo>
                  <a:lnTo>
                    <a:pt x="55" y="116"/>
                  </a:lnTo>
                  <a:lnTo>
                    <a:pt x="33" y="128"/>
                  </a:lnTo>
                  <a:lnTo>
                    <a:pt x="33" y="100"/>
                  </a:lnTo>
                  <a:lnTo>
                    <a:pt x="0" y="74"/>
                  </a:lnTo>
                  <a:lnTo>
                    <a:pt x="22" y="41"/>
                  </a:lnTo>
                  <a:lnTo>
                    <a:pt x="64" y="62"/>
                  </a:lnTo>
                  <a:lnTo>
                    <a:pt x="76" y="41"/>
                  </a:lnTo>
                  <a:lnTo>
                    <a:pt x="92" y="57"/>
                  </a:lnTo>
                  <a:lnTo>
                    <a:pt x="102" y="41"/>
                  </a:lnTo>
                  <a:lnTo>
                    <a:pt x="126" y="62"/>
                  </a:lnTo>
                  <a:lnTo>
                    <a:pt x="130" y="41"/>
                  </a:lnTo>
                  <a:lnTo>
                    <a:pt x="147" y="29"/>
                  </a:lnTo>
                  <a:lnTo>
                    <a:pt x="147" y="41"/>
                  </a:lnTo>
                  <a:lnTo>
                    <a:pt x="156" y="45"/>
                  </a:lnTo>
                  <a:lnTo>
                    <a:pt x="173" y="29"/>
                  </a:lnTo>
                  <a:lnTo>
                    <a:pt x="180" y="41"/>
                  </a:lnTo>
                  <a:lnTo>
                    <a:pt x="194" y="5"/>
                  </a:lnTo>
                  <a:lnTo>
                    <a:pt x="227" y="0"/>
                  </a:lnTo>
                  <a:lnTo>
                    <a:pt x="239" y="17"/>
                  </a:lnTo>
                  <a:lnTo>
                    <a:pt x="255" y="29"/>
                  </a:lnTo>
                  <a:lnTo>
                    <a:pt x="281" y="22"/>
                  </a:lnTo>
                  <a:lnTo>
                    <a:pt x="286" y="29"/>
                  </a:lnTo>
                  <a:lnTo>
                    <a:pt x="303" y="22"/>
                  </a:lnTo>
                  <a:lnTo>
                    <a:pt x="319" y="29"/>
                  </a:lnTo>
                  <a:lnTo>
                    <a:pt x="326" y="41"/>
                  </a:lnTo>
                  <a:lnTo>
                    <a:pt x="310" y="62"/>
                  </a:lnTo>
                  <a:lnTo>
                    <a:pt x="319" y="78"/>
                  </a:lnTo>
                  <a:lnTo>
                    <a:pt x="319" y="95"/>
                  </a:lnTo>
                  <a:lnTo>
                    <a:pt x="340" y="100"/>
                  </a:lnTo>
                  <a:lnTo>
                    <a:pt x="340" y="111"/>
                  </a:lnTo>
                  <a:lnTo>
                    <a:pt x="357" y="116"/>
                  </a:lnTo>
                  <a:lnTo>
                    <a:pt x="364" y="128"/>
                  </a:lnTo>
                  <a:lnTo>
                    <a:pt x="395" y="128"/>
                  </a:lnTo>
                  <a:lnTo>
                    <a:pt x="411" y="133"/>
                  </a:lnTo>
                  <a:lnTo>
                    <a:pt x="411" y="133"/>
                  </a:lnTo>
                  <a:lnTo>
                    <a:pt x="407" y="145"/>
                  </a:lnTo>
                  <a:lnTo>
                    <a:pt x="395" y="133"/>
                  </a:lnTo>
                  <a:lnTo>
                    <a:pt x="378" y="149"/>
                  </a:lnTo>
                  <a:lnTo>
                    <a:pt x="374" y="149"/>
                  </a:lnTo>
                  <a:lnTo>
                    <a:pt x="364" y="173"/>
                  </a:lnTo>
                  <a:lnTo>
                    <a:pt x="348" y="182"/>
                  </a:lnTo>
                  <a:lnTo>
                    <a:pt x="340" y="173"/>
                  </a:lnTo>
                  <a:lnTo>
                    <a:pt x="348" y="173"/>
                  </a:lnTo>
                  <a:lnTo>
                    <a:pt x="340" y="173"/>
                  </a:lnTo>
                  <a:lnTo>
                    <a:pt x="336" y="173"/>
                  </a:lnTo>
                  <a:lnTo>
                    <a:pt x="336" y="182"/>
                  </a:lnTo>
                  <a:lnTo>
                    <a:pt x="326" y="182"/>
                  </a:lnTo>
                  <a:lnTo>
                    <a:pt x="326" y="173"/>
                  </a:lnTo>
                  <a:lnTo>
                    <a:pt x="310" y="173"/>
                  </a:lnTo>
                  <a:lnTo>
                    <a:pt x="326" y="182"/>
                  </a:lnTo>
                  <a:lnTo>
                    <a:pt x="319" y="182"/>
                  </a:lnTo>
                  <a:lnTo>
                    <a:pt x="326" y="201"/>
                  </a:lnTo>
                  <a:lnTo>
                    <a:pt x="310" y="201"/>
                  </a:lnTo>
                  <a:lnTo>
                    <a:pt x="310" y="227"/>
                  </a:lnTo>
                  <a:lnTo>
                    <a:pt x="303" y="227"/>
                  </a:lnTo>
                  <a:lnTo>
                    <a:pt x="310" y="227"/>
                  </a:lnTo>
                  <a:lnTo>
                    <a:pt x="265" y="256"/>
                  </a:lnTo>
                  <a:lnTo>
                    <a:pt x="255" y="277"/>
                  </a:lnTo>
                  <a:lnTo>
                    <a:pt x="255" y="300"/>
                  </a:lnTo>
                  <a:lnTo>
                    <a:pt x="239" y="322"/>
                  </a:lnTo>
                  <a:lnTo>
                    <a:pt x="265" y="367"/>
                  </a:lnTo>
                  <a:lnTo>
                    <a:pt x="303" y="404"/>
                  </a:lnTo>
                  <a:lnTo>
                    <a:pt x="293" y="421"/>
                  </a:lnTo>
                  <a:lnTo>
                    <a:pt x="319" y="445"/>
                  </a:lnTo>
                  <a:lnTo>
                    <a:pt x="348" y="466"/>
                  </a:lnTo>
                  <a:lnTo>
                    <a:pt x="348" y="482"/>
                  </a:lnTo>
                  <a:lnTo>
                    <a:pt x="378" y="499"/>
                  </a:lnTo>
                  <a:lnTo>
                    <a:pt x="374" y="499"/>
                  </a:lnTo>
                  <a:lnTo>
                    <a:pt x="390" y="504"/>
                  </a:lnTo>
                  <a:lnTo>
                    <a:pt x="395" y="522"/>
                  </a:lnTo>
                  <a:lnTo>
                    <a:pt x="411" y="522"/>
                  </a:lnTo>
                  <a:lnTo>
                    <a:pt x="428" y="532"/>
                  </a:lnTo>
                  <a:lnTo>
                    <a:pt x="418" y="539"/>
                  </a:lnTo>
                  <a:lnTo>
                    <a:pt x="428" y="544"/>
                  </a:lnTo>
                  <a:lnTo>
                    <a:pt x="428" y="532"/>
                  </a:lnTo>
                  <a:lnTo>
                    <a:pt x="433" y="539"/>
                  </a:lnTo>
                  <a:lnTo>
                    <a:pt x="428" y="539"/>
                  </a:lnTo>
                  <a:lnTo>
                    <a:pt x="433" y="544"/>
                  </a:lnTo>
                  <a:lnTo>
                    <a:pt x="461" y="589"/>
                  </a:lnTo>
                  <a:lnTo>
                    <a:pt x="466" y="589"/>
                  </a:lnTo>
                  <a:lnTo>
                    <a:pt x="503" y="704"/>
                  </a:lnTo>
                  <a:lnTo>
                    <a:pt x="503" y="709"/>
                  </a:lnTo>
                  <a:lnTo>
                    <a:pt x="499" y="704"/>
                  </a:lnTo>
                  <a:lnTo>
                    <a:pt x="499" y="704"/>
                  </a:lnTo>
                  <a:lnTo>
                    <a:pt x="499" y="737"/>
                  </a:lnTo>
                  <a:lnTo>
                    <a:pt x="515" y="775"/>
                  </a:lnTo>
                  <a:lnTo>
                    <a:pt x="499" y="792"/>
                  </a:lnTo>
                  <a:lnTo>
                    <a:pt x="503" y="815"/>
                  </a:lnTo>
                  <a:lnTo>
                    <a:pt x="487" y="808"/>
                  </a:lnTo>
                  <a:lnTo>
                    <a:pt x="499" y="848"/>
                  </a:lnTo>
                  <a:lnTo>
                    <a:pt x="499" y="832"/>
                  </a:lnTo>
                  <a:lnTo>
                    <a:pt x="499" y="837"/>
                  </a:lnTo>
                  <a:lnTo>
                    <a:pt x="487" y="848"/>
                  </a:lnTo>
                  <a:lnTo>
                    <a:pt x="499" y="853"/>
                  </a:lnTo>
                  <a:lnTo>
                    <a:pt x="487" y="870"/>
                  </a:lnTo>
                  <a:lnTo>
                    <a:pt x="482" y="870"/>
                  </a:lnTo>
                  <a:lnTo>
                    <a:pt x="482" y="886"/>
                  </a:lnTo>
                  <a:lnTo>
                    <a:pt x="466" y="886"/>
                  </a:lnTo>
                  <a:lnTo>
                    <a:pt x="418" y="919"/>
                  </a:lnTo>
                  <a:lnTo>
                    <a:pt x="411" y="931"/>
                  </a:lnTo>
                  <a:lnTo>
                    <a:pt x="395" y="931"/>
                  </a:lnTo>
                  <a:lnTo>
                    <a:pt x="357" y="959"/>
                  </a:lnTo>
                  <a:lnTo>
                    <a:pt x="340" y="948"/>
                  </a:lnTo>
                  <a:lnTo>
                    <a:pt x="340" y="931"/>
                  </a:lnTo>
                  <a:lnTo>
                    <a:pt x="336" y="948"/>
                  </a:lnTo>
                  <a:lnTo>
                    <a:pt x="336" y="943"/>
                  </a:lnTo>
                  <a:lnTo>
                    <a:pt x="319" y="931"/>
                  </a:lnTo>
                  <a:lnTo>
                    <a:pt x="319" y="948"/>
                  </a:lnTo>
                  <a:lnTo>
                    <a:pt x="310" y="948"/>
                  </a:lnTo>
                  <a:lnTo>
                    <a:pt x="319" y="948"/>
                  </a:lnTo>
                  <a:lnTo>
                    <a:pt x="326" y="964"/>
                  </a:lnTo>
                  <a:lnTo>
                    <a:pt x="293" y="964"/>
                  </a:lnTo>
                  <a:lnTo>
                    <a:pt x="326" y="976"/>
                  </a:lnTo>
                  <a:lnTo>
                    <a:pt x="326" y="981"/>
                  </a:lnTo>
                  <a:lnTo>
                    <a:pt x="310" y="988"/>
                  </a:lnTo>
                  <a:lnTo>
                    <a:pt x="286" y="964"/>
                  </a:lnTo>
                  <a:lnTo>
                    <a:pt x="319" y="988"/>
                  </a:lnTo>
                  <a:lnTo>
                    <a:pt x="310" y="997"/>
                  </a:lnTo>
                  <a:lnTo>
                    <a:pt x="281" y="964"/>
                  </a:lnTo>
                  <a:lnTo>
                    <a:pt x="310" y="1004"/>
                  </a:lnTo>
                  <a:lnTo>
                    <a:pt x="310" y="1014"/>
                  </a:lnTo>
                  <a:lnTo>
                    <a:pt x="293" y="1021"/>
                  </a:lnTo>
                  <a:lnTo>
                    <a:pt x="255" y="981"/>
                  </a:lnTo>
                  <a:lnTo>
                    <a:pt x="281" y="1014"/>
                  </a:lnTo>
                  <a:lnTo>
                    <a:pt x="281" y="1030"/>
                  </a:lnTo>
                  <a:lnTo>
                    <a:pt x="234" y="1042"/>
                  </a:lnTo>
                  <a:lnTo>
                    <a:pt x="218" y="1075"/>
                  </a:lnTo>
                  <a:lnTo>
                    <a:pt x="201" y="1087"/>
                  </a:lnTo>
                  <a:lnTo>
                    <a:pt x="180" y="1087"/>
                  </a:lnTo>
                  <a:lnTo>
                    <a:pt x="194" y="1075"/>
                  </a:lnTo>
                  <a:lnTo>
                    <a:pt x="185" y="1070"/>
                  </a:lnTo>
                  <a:lnTo>
                    <a:pt x="185" y="1004"/>
                  </a:lnTo>
                  <a:lnTo>
                    <a:pt x="201" y="988"/>
                  </a:lnTo>
                  <a:lnTo>
                    <a:pt x="211" y="997"/>
                  </a:lnTo>
                  <a:lnTo>
                    <a:pt x="211" y="988"/>
                  </a:lnTo>
                  <a:lnTo>
                    <a:pt x="185" y="964"/>
                  </a:lnTo>
                  <a:lnTo>
                    <a:pt x="173" y="976"/>
                  </a:lnTo>
                  <a:lnTo>
                    <a:pt x="163" y="959"/>
                  </a:lnTo>
                  <a:lnTo>
                    <a:pt x="173" y="948"/>
                  </a:lnTo>
                  <a:lnTo>
                    <a:pt x="194" y="943"/>
                  </a:lnTo>
                  <a:lnTo>
                    <a:pt x="201" y="931"/>
                  </a:lnTo>
                  <a:lnTo>
                    <a:pt x="201" y="919"/>
                  </a:lnTo>
                  <a:lnTo>
                    <a:pt x="211" y="919"/>
                  </a:lnTo>
                  <a:lnTo>
                    <a:pt x="227" y="919"/>
                  </a:lnTo>
                  <a:lnTo>
                    <a:pt x="234" y="919"/>
                  </a:lnTo>
                  <a:lnTo>
                    <a:pt x="255" y="910"/>
                  </a:lnTo>
                  <a:lnTo>
                    <a:pt x="281" y="926"/>
                  </a:lnTo>
                  <a:lnTo>
                    <a:pt x="281" y="910"/>
                  </a:lnTo>
                  <a:lnTo>
                    <a:pt x="255" y="893"/>
                  </a:lnTo>
                  <a:lnTo>
                    <a:pt x="255" y="870"/>
                  </a:lnTo>
                  <a:lnTo>
                    <a:pt x="265" y="865"/>
                  </a:lnTo>
                  <a:lnTo>
                    <a:pt x="272" y="853"/>
                  </a:lnTo>
                  <a:lnTo>
                    <a:pt x="303" y="865"/>
                  </a:lnTo>
                  <a:lnTo>
                    <a:pt x="293" y="837"/>
                  </a:lnTo>
                  <a:lnTo>
                    <a:pt x="319" y="837"/>
                  </a:lnTo>
                  <a:lnTo>
                    <a:pt x="348" y="815"/>
                  </a:lnTo>
                  <a:lnTo>
                    <a:pt x="364" y="815"/>
                  </a:lnTo>
                  <a:lnTo>
                    <a:pt x="374" y="820"/>
                  </a:lnTo>
                  <a:lnTo>
                    <a:pt x="378" y="815"/>
                  </a:lnTo>
                  <a:lnTo>
                    <a:pt x="378" y="792"/>
                  </a:lnTo>
                  <a:lnTo>
                    <a:pt x="374" y="766"/>
                  </a:lnTo>
                  <a:lnTo>
                    <a:pt x="378" y="726"/>
                  </a:lnTo>
                  <a:lnTo>
                    <a:pt x="374" y="704"/>
                  </a:lnTo>
                  <a:lnTo>
                    <a:pt x="374" y="700"/>
                  </a:lnTo>
                  <a:lnTo>
                    <a:pt x="374" y="700"/>
                  </a:lnTo>
                  <a:lnTo>
                    <a:pt x="374" y="700"/>
                  </a:lnTo>
                  <a:close/>
                  <a:moveTo>
                    <a:pt x="374" y="149"/>
                  </a:moveTo>
                  <a:lnTo>
                    <a:pt x="378" y="156"/>
                  </a:lnTo>
                  <a:lnTo>
                    <a:pt x="364" y="166"/>
                  </a:lnTo>
                  <a:lnTo>
                    <a:pt x="374" y="149"/>
                  </a:lnTo>
                  <a:lnTo>
                    <a:pt x="374" y="149"/>
                  </a:lnTo>
                  <a:lnTo>
                    <a:pt x="374" y="149"/>
                  </a:lnTo>
                  <a:close/>
                  <a:moveTo>
                    <a:pt x="378" y="173"/>
                  </a:moveTo>
                  <a:lnTo>
                    <a:pt x="374" y="182"/>
                  </a:lnTo>
                  <a:lnTo>
                    <a:pt x="364" y="182"/>
                  </a:lnTo>
                  <a:lnTo>
                    <a:pt x="378" y="173"/>
                  </a:lnTo>
                  <a:lnTo>
                    <a:pt x="378" y="173"/>
                  </a:lnTo>
                  <a:lnTo>
                    <a:pt x="378" y="173"/>
                  </a:lnTo>
                  <a:close/>
                  <a:moveTo>
                    <a:pt x="326" y="182"/>
                  </a:moveTo>
                  <a:lnTo>
                    <a:pt x="326" y="182"/>
                  </a:lnTo>
                  <a:lnTo>
                    <a:pt x="336" y="189"/>
                  </a:lnTo>
                  <a:lnTo>
                    <a:pt x="326" y="182"/>
                  </a:lnTo>
                  <a:lnTo>
                    <a:pt x="326" y="182"/>
                  </a:lnTo>
                  <a:lnTo>
                    <a:pt x="326" y="182"/>
                  </a:lnTo>
                  <a:close/>
                  <a:moveTo>
                    <a:pt x="336" y="182"/>
                  </a:moveTo>
                  <a:lnTo>
                    <a:pt x="348" y="189"/>
                  </a:lnTo>
                  <a:lnTo>
                    <a:pt x="340" y="201"/>
                  </a:lnTo>
                  <a:lnTo>
                    <a:pt x="336" y="182"/>
                  </a:lnTo>
                  <a:lnTo>
                    <a:pt x="336" y="182"/>
                  </a:lnTo>
                  <a:lnTo>
                    <a:pt x="336" y="182"/>
                  </a:lnTo>
                  <a:close/>
                  <a:moveTo>
                    <a:pt x="326" y="931"/>
                  </a:moveTo>
                  <a:lnTo>
                    <a:pt x="326" y="943"/>
                  </a:lnTo>
                  <a:lnTo>
                    <a:pt x="326" y="959"/>
                  </a:lnTo>
                  <a:lnTo>
                    <a:pt x="326" y="948"/>
                  </a:lnTo>
                  <a:lnTo>
                    <a:pt x="326" y="931"/>
                  </a:lnTo>
                  <a:lnTo>
                    <a:pt x="326" y="931"/>
                  </a:lnTo>
                  <a:lnTo>
                    <a:pt x="326" y="931"/>
                  </a:lnTo>
                  <a:close/>
                  <a:moveTo>
                    <a:pt x="336" y="948"/>
                  </a:moveTo>
                  <a:lnTo>
                    <a:pt x="340" y="959"/>
                  </a:lnTo>
                  <a:lnTo>
                    <a:pt x="336" y="959"/>
                  </a:lnTo>
                  <a:lnTo>
                    <a:pt x="336" y="948"/>
                  </a:lnTo>
                  <a:lnTo>
                    <a:pt x="336" y="948"/>
                  </a:lnTo>
                  <a:lnTo>
                    <a:pt x="336" y="948"/>
                  </a:lnTo>
                  <a:close/>
                  <a:moveTo>
                    <a:pt x="130" y="948"/>
                  </a:moveTo>
                  <a:lnTo>
                    <a:pt x="130" y="959"/>
                  </a:lnTo>
                  <a:lnTo>
                    <a:pt x="130" y="981"/>
                  </a:lnTo>
                  <a:lnTo>
                    <a:pt x="118" y="959"/>
                  </a:lnTo>
                  <a:lnTo>
                    <a:pt x="130" y="948"/>
                  </a:lnTo>
                  <a:lnTo>
                    <a:pt x="130" y="948"/>
                  </a:lnTo>
                  <a:lnTo>
                    <a:pt x="130" y="948"/>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7" name="Freeform 589">
              <a:extLst>
                <a:ext uri="{FF2B5EF4-FFF2-40B4-BE49-F238E27FC236}">
                  <a16:creationId xmlns:a16="http://schemas.microsoft.com/office/drawing/2014/main" id="{EC7640CA-BB1A-4D80-8803-8EDEBC93A902}"/>
                </a:ext>
              </a:extLst>
            </p:cNvPr>
            <p:cNvSpPr>
              <a:spLocks noEditPoints="1"/>
            </p:cNvSpPr>
            <p:nvPr/>
          </p:nvSpPr>
          <p:spPr bwMode="gray">
            <a:xfrm>
              <a:off x="12254638" y="3676156"/>
              <a:ext cx="6873" cy="17019"/>
            </a:xfrm>
            <a:custGeom>
              <a:avLst/>
              <a:gdLst>
                <a:gd name="T0" fmla="*/ 16 w 21"/>
                <a:gd name="T1" fmla="*/ 0 h 52"/>
                <a:gd name="T2" fmla="*/ 7 w 21"/>
                <a:gd name="T3" fmla="*/ 0 h 52"/>
                <a:gd name="T4" fmla="*/ 16 w 21"/>
                <a:gd name="T5" fmla="*/ 0 h 52"/>
                <a:gd name="T6" fmla="*/ 16 w 21"/>
                <a:gd name="T7" fmla="*/ 0 h 52"/>
                <a:gd name="T8" fmla="*/ 16 w 21"/>
                <a:gd name="T9" fmla="*/ 0 h 52"/>
                <a:gd name="T10" fmla="*/ 16 w 21"/>
                <a:gd name="T11" fmla="*/ 0 h 52"/>
                <a:gd name="T12" fmla="*/ 0 w 21"/>
                <a:gd name="T13" fmla="*/ 52 h 52"/>
                <a:gd name="T14" fmla="*/ 0 w 21"/>
                <a:gd name="T15" fmla="*/ 40 h 52"/>
                <a:gd name="T16" fmla="*/ 21 w 21"/>
                <a:gd name="T17" fmla="*/ 52 h 52"/>
                <a:gd name="T18" fmla="*/ 0 w 21"/>
                <a:gd name="T19" fmla="*/ 52 h 52"/>
                <a:gd name="T20" fmla="*/ 0 w 21"/>
                <a:gd name="T21" fmla="*/ 52 h 52"/>
                <a:gd name="T22" fmla="*/ 0 w 21"/>
                <a:gd name="T23"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2">
                  <a:moveTo>
                    <a:pt x="16" y="0"/>
                  </a:moveTo>
                  <a:lnTo>
                    <a:pt x="7" y="0"/>
                  </a:lnTo>
                  <a:lnTo>
                    <a:pt x="16" y="0"/>
                  </a:lnTo>
                  <a:lnTo>
                    <a:pt x="16" y="0"/>
                  </a:lnTo>
                  <a:lnTo>
                    <a:pt x="16" y="0"/>
                  </a:lnTo>
                  <a:lnTo>
                    <a:pt x="16" y="0"/>
                  </a:lnTo>
                  <a:close/>
                  <a:moveTo>
                    <a:pt x="0" y="52"/>
                  </a:moveTo>
                  <a:lnTo>
                    <a:pt x="0" y="40"/>
                  </a:lnTo>
                  <a:lnTo>
                    <a:pt x="21" y="52"/>
                  </a:lnTo>
                  <a:lnTo>
                    <a:pt x="0" y="52"/>
                  </a:lnTo>
                  <a:lnTo>
                    <a:pt x="0" y="52"/>
                  </a:lnTo>
                  <a:lnTo>
                    <a:pt x="0" y="52"/>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8" name="Freeform 590">
              <a:extLst>
                <a:ext uri="{FF2B5EF4-FFF2-40B4-BE49-F238E27FC236}">
                  <a16:creationId xmlns:a16="http://schemas.microsoft.com/office/drawing/2014/main" id="{8DA6B6AC-FF12-4E19-9FC3-9D925489D7A8}"/>
                </a:ext>
              </a:extLst>
            </p:cNvPr>
            <p:cNvSpPr>
              <a:spLocks/>
            </p:cNvSpPr>
            <p:nvPr/>
          </p:nvSpPr>
          <p:spPr bwMode="gray">
            <a:xfrm>
              <a:off x="14015167" y="4517963"/>
              <a:ext cx="308313" cy="297840"/>
            </a:xfrm>
            <a:custGeom>
              <a:avLst/>
              <a:gdLst>
                <a:gd name="T0" fmla="*/ 21 w 942"/>
                <a:gd name="T1" fmla="*/ 17 h 910"/>
                <a:gd name="T2" fmla="*/ 96 w 942"/>
                <a:gd name="T3" fmla="*/ 0 h 910"/>
                <a:gd name="T4" fmla="*/ 151 w 942"/>
                <a:gd name="T5" fmla="*/ 38 h 910"/>
                <a:gd name="T6" fmla="*/ 474 w 942"/>
                <a:gd name="T7" fmla="*/ 55 h 910"/>
                <a:gd name="T8" fmla="*/ 597 w 942"/>
                <a:gd name="T9" fmla="*/ 71 h 910"/>
                <a:gd name="T10" fmla="*/ 635 w 942"/>
                <a:gd name="T11" fmla="*/ 76 h 910"/>
                <a:gd name="T12" fmla="*/ 668 w 942"/>
                <a:gd name="T13" fmla="*/ 76 h 910"/>
                <a:gd name="T14" fmla="*/ 867 w 942"/>
                <a:gd name="T15" fmla="*/ 38 h 910"/>
                <a:gd name="T16" fmla="*/ 921 w 942"/>
                <a:gd name="T17" fmla="*/ 50 h 910"/>
                <a:gd name="T18" fmla="*/ 916 w 942"/>
                <a:gd name="T19" fmla="*/ 59 h 910"/>
                <a:gd name="T20" fmla="*/ 878 w 942"/>
                <a:gd name="T21" fmla="*/ 76 h 910"/>
                <a:gd name="T22" fmla="*/ 807 w 942"/>
                <a:gd name="T23" fmla="*/ 76 h 910"/>
                <a:gd name="T24" fmla="*/ 647 w 942"/>
                <a:gd name="T25" fmla="*/ 383 h 910"/>
                <a:gd name="T26" fmla="*/ 576 w 942"/>
                <a:gd name="T27" fmla="*/ 586 h 910"/>
                <a:gd name="T28" fmla="*/ 543 w 942"/>
                <a:gd name="T29" fmla="*/ 881 h 910"/>
                <a:gd name="T30" fmla="*/ 522 w 942"/>
                <a:gd name="T31" fmla="*/ 898 h 910"/>
                <a:gd name="T32" fmla="*/ 512 w 942"/>
                <a:gd name="T33" fmla="*/ 910 h 910"/>
                <a:gd name="T34" fmla="*/ 441 w 942"/>
                <a:gd name="T35" fmla="*/ 910 h 910"/>
                <a:gd name="T36" fmla="*/ 404 w 942"/>
                <a:gd name="T37" fmla="*/ 903 h 910"/>
                <a:gd name="T38" fmla="*/ 387 w 942"/>
                <a:gd name="T39" fmla="*/ 898 h 910"/>
                <a:gd name="T40" fmla="*/ 382 w 942"/>
                <a:gd name="T41" fmla="*/ 853 h 910"/>
                <a:gd name="T42" fmla="*/ 349 w 942"/>
                <a:gd name="T43" fmla="*/ 848 h 910"/>
                <a:gd name="T44" fmla="*/ 328 w 942"/>
                <a:gd name="T45" fmla="*/ 886 h 910"/>
                <a:gd name="T46" fmla="*/ 274 w 942"/>
                <a:gd name="T47" fmla="*/ 841 h 910"/>
                <a:gd name="T48" fmla="*/ 236 w 942"/>
                <a:gd name="T49" fmla="*/ 759 h 910"/>
                <a:gd name="T50" fmla="*/ 236 w 942"/>
                <a:gd name="T51" fmla="*/ 730 h 910"/>
                <a:gd name="T52" fmla="*/ 219 w 942"/>
                <a:gd name="T53" fmla="*/ 714 h 910"/>
                <a:gd name="T54" fmla="*/ 215 w 942"/>
                <a:gd name="T55" fmla="*/ 664 h 910"/>
                <a:gd name="T56" fmla="*/ 181 w 942"/>
                <a:gd name="T57" fmla="*/ 537 h 910"/>
                <a:gd name="T58" fmla="*/ 203 w 942"/>
                <a:gd name="T59" fmla="*/ 466 h 910"/>
                <a:gd name="T60" fmla="*/ 189 w 942"/>
                <a:gd name="T61" fmla="*/ 425 h 910"/>
                <a:gd name="T62" fmla="*/ 151 w 942"/>
                <a:gd name="T63" fmla="*/ 366 h 910"/>
                <a:gd name="T64" fmla="*/ 113 w 942"/>
                <a:gd name="T65" fmla="*/ 293 h 910"/>
                <a:gd name="T66" fmla="*/ 42 w 942"/>
                <a:gd name="T67" fmla="*/ 149 h 910"/>
                <a:gd name="T68" fmla="*/ 0 w 942"/>
                <a:gd name="T69" fmla="*/ 88 h 910"/>
                <a:gd name="T70" fmla="*/ 0 w 942"/>
                <a:gd name="T71" fmla="*/ 22 h 910"/>
                <a:gd name="T72" fmla="*/ 0 w 942"/>
                <a:gd name="T73" fmla="*/ 22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2" h="910">
                  <a:moveTo>
                    <a:pt x="0" y="22"/>
                  </a:moveTo>
                  <a:lnTo>
                    <a:pt x="21" y="17"/>
                  </a:lnTo>
                  <a:lnTo>
                    <a:pt x="52" y="22"/>
                  </a:lnTo>
                  <a:lnTo>
                    <a:pt x="96" y="0"/>
                  </a:lnTo>
                  <a:lnTo>
                    <a:pt x="118" y="5"/>
                  </a:lnTo>
                  <a:lnTo>
                    <a:pt x="151" y="38"/>
                  </a:lnTo>
                  <a:lnTo>
                    <a:pt x="467" y="33"/>
                  </a:lnTo>
                  <a:lnTo>
                    <a:pt x="474" y="55"/>
                  </a:lnTo>
                  <a:lnTo>
                    <a:pt x="496" y="59"/>
                  </a:lnTo>
                  <a:lnTo>
                    <a:pt x="597" y="71"/>
                  </a:lnTo>
                  <a:lnTo>
                    <a:pt x="614" y="76"/>
                  </a:lnTo>
                  <a:lnTo>
                    <a:pt x="635" y="76"/>
                  </a:lnTo>
                  <a:lnTo>
                    <a:pt x="652" y="71"/>
                  </a:lnTo>
                  <a:lnTo>
                    <a:pt x="668" y="76"/>
                  </a:lnTo>
                  <a:lnTo>
                    <a:pt x="812" y="55"/>
                  </a:lnTo>
                  <a:lnTo>
                    <a:pt x="867" y="38"/>
                  </a:lnTo>
                  <a:lnTo>
                    <a:pt x="900" y="38"/>
                  </a:lnTo>
                  <a:lnTo>
                    <a:pt x="921" y="50"/>
                  </a:lnTo>
                  <a:lnTo>
                    <a:pt x="942" y="59"/>
                  </a:lnTo>
                  <a:lnTo>
                    <a:pt x="916" y="59"/>
                  </a:lnTo>
                  <a:lnTo>
                    <a:pt x="888" y="88"/>
                  </a:lnTo>
                  <a:lnTo>
                    <a:pt x="878" y="76"/>
                  </a:lnTo>
                  <a:lnTo>
                    <a:pt x="829" y="116"/>
                  </a:lnTo>
                  <a:lnTo>
                    <a:pt x="807" y="76"/>
                  </a:lnTo>
                  <a:lnTo>
                    <a:pt x="647" y="104"/>
                  </a:lnTo>
                  <a:lnTo>
                    <a:pt x="647" y="383"/>
                  </a:lnTo>
                  <a:lnTo>
                    <a:pt x="576" y="383"/>
                  </a:lnTo>
                  <a:lnTo>
                    <a:pt x="576" y="586"/>
                  </a:lnTo>
                  <a:lnTo>
                    <a:pt x="576" y="870"/>
                  </a:lnTo>
                  <a:lnTo>
                    <a:pt x="543" y="881"/>
                  </a:lnTo>
                  <a:lnTo>
                    <a:pt x="538" y="898"/>
                  </a:lnTo>
                  <a:lnTo>
                    <a:pt x="522" y="898"/>
                  </a:lnTo>
                  <a:lnTo>
                    <a:pt x="522" y="910"/>
                  </a:lnTo>
                  <a:lnTo>
                    <a:pt x="512" y="910"/>
                  </a:lnTo>
                  <a:lnTo>
                    <a:pt x="484" y="903"/>
                  </a:lnTo>
                  <a:lnTo>
                    <a:pt x="441" y="910"/>
                  </a:lnTo>
                  <a:lnTo>
                    <a:pt x="430" y="903"/>
                  </a:lnTo>
                  <a:lnTo>
                    <a:pt x="404" y="903"/>
                  </a:lnTo>
                  <a:lnTo>
                    <a:pt x="404" y="898"/>
                  </a:lnTo>
                  <a:lnTo>
                    <a:pt x="387" y="898"/>
                  </a:lnTo>
                  <a:lnTo>
                    <a:pt x="387" y="853"/>
                  </a:lnTo>
                  <a:lnTo>
                    <a:pt x="382" y="853"/>
                  </a:lnTo>
                  <a:lnTo>
                    <a:pt x="366" y="841"/>
                  </a:lnTo>
                  <a:lnTo>
                    <a:pt x="349" y="848"/>
                  </a:lnTo>
                  <a:lnTo>
                    <a:pt x="344" y="881"/>
                  </a:lnTo>
                  <a:lnTo>
                    <a:pt x="328" y="886"/>
                  </a:lnTo>
                  <a:lnTo>
                    <a:pt x="323" y="881"/>
                  </a:lnTo>
                  <a:lnTo>
                    <a:pt x="274" y="841"/>
                  </a:lnTo>
                  <a:lnTo>
                    <a:pt x="241" y="787"/>
                  </a:lnTo>
                  <a:lnTo>
                    <a:pt x="236" y="759"/>
                  </a:lnTo>
                  <a:lnTo>
                    <a:pt x="226" y="737"/>
                  </a:lnTo>
                  <a:lnTo>
                    <a:pt x="236" y="730"/>
                  </a:lnTo>
                  <a:lnTo>
                    <a:pt x="226" y="714"/>
                  </a:lnTo>
                  <a:lnTo>
                    <a:pt x="219" y="714"/>
                  </a:lnTo>
                  <a:lnTo>
                    <a:pt x="219" y="688"/>
                  </a:lnTo>
                  <a:lnTo>
                    <a:pt x="215" y="664"/>
                  </a:lnTo>
                  <a:lnTo>
                    <a:pt x="215" y="610"/>
                  </a:lnTo>
                  <a:lnTo>
                    <a:pt x="181" y="537"/>
                  </a:lnTo>
                  <a:lnTo>
                    <a:pt x="181" y="466"/>
                  </a:lnTo>
                  <a:lnTo>
                    <a:pt x="203" y="466"/>
                  </a:lnTo>
                  <a:lnTo>
                    <a:pt x="198" y="425"/>
                  </a:lnTo>
                  <a:lnTo>
                    <a:pt x="189" y="425"/>
                  </a:lnTo>
                  <a:lnTo>
                    <a:pt x="181" y="404"/>
                  </a:lnTo>
                  <a:lnTo>
                    <a:pt x="151" y="366"/>
                  </a:lnTo>
                  <a:lnTo>
                    <a:pt x="144" y="343"/>
                  </a:lnTo>
                  <a:lnTo>
                    <a:pt x="113" y="293"/>
                  </a:lnTo>
                  <a:lnTo>
                    <a:pt x="96" y="244"/>
                  </a:lnTo>
                  <a:lnTo>
                    <a:pt x="42" y="149"/>
                  </a:lnTo>
                  <a:lnTo>
                    <a:pt x="9" y="109"/>
                  </a:lnTo>
                  <a:lnTo>
                    <a:pt x="0" y="88"/>
                  </a:lnTo>
                  <a:lnTo>
                    <a:pt x="0" y="50"/>
                  </a:lnTo>
                  <a:lnTo>
                    <a:pt x="0" y="22"/>
                  </a:lnTo>
                  <a:lnTo>
                    <a:pt x="0" y="22"/>
                  </a:lnTo>
                  <a:lnTo>
                    <a:pt x="0" y="22"/>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9" name="Freeform 591">
              <a:extLst>
                <a:ext uri="{FF2B5EF4-FFF2-40B4-BE49-F238E27FC236}">
                  <a16:creationId xmlns:a16="http://schemas.microsoft.com/office/drawing/2014/main" id="{392B6BBA-624A-4BF4-81F3-C8A5460DB14E}"/>
                </a:ext>
              </a:extLst>
            </p:cNvPr>
            <p:cNvSpPr>
              <a:spLocks/>
            </p:cNvSpPr>
            <p:nvPr/>
          </p:nvSpPr>
          <p:spPr bwMode="gray">
            <a:xfrm>
              <a:off x="14545388" y="3319730"/>
              <a:ext cx="14074" cy="30766"/>
            </a:xfrm>
            <a:custGeom>
              <a:avLst/>
              <a:gdLst>
                <a:gd name="T0" fmla="*/ 43 w 43"/>
                <a:gd name="T1" fmla="*/ 21 h 94"/>
                <a:gd name="T2" fmla="*/ 43 w 43"/>
                <a:gd name="T3" fmla="*/ 83 h 94"/>
                <a:gd name="T4" fmla="*/ 17 w 43"/>
                <a:gd name="T5" fmla="*/ 94 h 94"/>
                <a:gd name="T6" fmla="*/ 0 w 43"/>
                <a:gd name="T7" fmla="*/ 94 h 94"/>
                <a:gd name="T8" fmla="*/ 7 w 43"/>
                <a:gd name="T9" fmla="*/ 71 h 94"/>
                <a:gd name="T10" fmla="*/ 21 w 43"/>
                <a:gd name="T11" fmla="*/ 61 h 94"/>
                <a:gd name="T12" fmla="*/ 7 w 43"/>
                <a:gd name="T13" fmla="*/ 54 h 94"/>
                <a:gd name="T14" fmla="*/ 17 w 43"/>
                <a:gd name="T15" fmla="*/ 5 h 94"/>
                <a:gd name="T16" fmla="*/ 21 w 43"/>
                <a:gd name="T17" fmla="*/ 0 h 94"/>
                <a:gd name="T18" fmla="*/ 43 w 43"/>
                <a:gd name="T19" fmla="*/ 17 h 94"/>
                <a:gd name="T20" fmla="*/ 43 w 43"/>
                <a:gd name="T21" fmla="*/ 21 h 94"/>
                <a:gd name="T22" fmla="*/ 43 w 43"/>
                <a:gd name="T23" fmla="*/ 21 h 94"/>
                <a:gd name="T24" fmla="*/ 43 w 43"/>
                <a:gd name="T25" fmla="*/ 2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94">
                  <a:moveTo>
                    <a:pt x="43" y="21"/>
                  </a:moveTo>
                  <a:lnTo>
                    <a:pt x="43" y="83"/>
                  </a:lnTo>
                  <a:lnTo>
                    <a:pt x="17" y="94"/>
                  </a:lnTo>
                  <a:lnTo>
                    <a:pt x="0" y="94"/>
                  </a:lnTo>
                  <a:lnTo>
                    <a:pt x="7" y="71"/>
                  </a:lnTo>
                  <a:lnTo>
                    <a:pt x="21" y="61"/>
                  </a:lnTo>
                  <a:lnTo>
                    <a:pt x="7" y="54"/>
                  </a:lnTo>
                  <a:lnTo>
                    <a:pt x="17" y="5"/>
                  </a:lnTo>
                  <a:lnTo>
                    <a:pt x="21" y="0"/>
                  </a:lnTo>
                  <a:lnTo>
                    <a:pt x="43" y="17"/>
                  </a:lnTo>
                  <a:lnTo>
                    <a:pt x="43" y="21"/>
                  </a:lnTo>
                  <a:lnTo>
                    <a:pt x="43" y="21"/>
                  </a:lnTo>
                  <a:lnTo>
                    <a:pt x="43" y="21"/>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0" name="Freeform 592">
              <a:extLst>
                <a:ext uri="{FF2B5EF4-FFF2-40B4-BE49-F238E27FC236}">
                  <a16:creationId xmlns:a16="http://schemas.microsoft.com/office/drawing/2014/main" id="{BF92C1AF-0FEB-4284-85D1-F0E0148B6840}"/>
                </a:ext>
              </a:extLst>
            </p:cNvPr>
            <p:cNvSpPr>
              <a:spLocks/>
            </p:cNvSpPr>
            <p:nvPr/>
          </p:nvSpPr>
          <p:spPr bwMode="gray">
            <a:xfrm>
              <a:off x="13351737" y="3445739"/>
              <a:ext cx="194087" cy="171503"/>
            </a:xfrm>
            <a:custGeom>
              <a:avLst/>
              <a:gdLst>
                <a:gd name="T0" fmla="*/ 196 w 593"/>
                <a:gd name="T1" fmla="*/ 487 h 524"/>
                <a:gd name="T2" fmla="*/ 12 w 593"/>
                <a:gd name="T3" fmla="*/ 487 h 524"/>
                <a:gd name="T4" fmla="*/ 0 w 593"/>
                <a:gd name="T5" fmla="*/ 524 h 524"/>
                <a:gd name="T6" fmla="*/ 0 w 593"/>
                <a:gd name="T7" fmla="*/ 508 h 524"/>
                <a:gd name="T8" fmla="*/ 12 w 593"/>
                <a:gd name="T9" fmla="*/ 435 h 524"/>
                <a:gd name="T10" fmla="*/ 28 w 593"/>
                <a:gd name="T11" fmla="*/ 413 h 524"/>
                <a:gd name="T12" fmla="*/ 38 w 593"/>
                <a:gd name="T13" fmla="*/ 409 h 524"/>
                <a:gd name="T14" fmla="*/ 71 w 593"/>
                <a:gd name="T15" fmla="*/ 335 h 524"/>
                <a:gd name="T16" fmla="*/ 92 w 593"/>
                <a:gd name="T17" fmla="*/ 295 h 524"/>
                <a:gd name="T18" fmla="*/ 92 w 593"/>
                <a:gd name="T19" fmla="*/ 286 h 524"/>
                <a:gd name="T20" fmla="*/ 71 w 593"/>
                <a:gd name="T21" fmla="*/ 302 h 524"/>
                <a:gd name="T22" fmla="*/ 158 w 593"/>
                <a:gd name="T23" fmla="*/ 229 h 524"/>
                <a:gd name="T24" fmla="*/ 163 w 593"/>
                <a:gd name="T25" fmla="*/ 168 h 524"/>
                <a:gd name="T26" fmla="*/ 179 w 593"/>
                <a:gd name="T27" fmla="*/ 135 h 524"/>
                <a:gd name="T28" fmla="*/ 179 w 593"/>
                <a:gd name="T29" fmla="*/ 113 h 524"/>
                <a:gd name="T30" fmla="*/ 250 w 593"/>
                <a:gd name="T31" fmla="*/ 73 h 524"/>
                <a:gd name="T32" fmla="*/ 272 w 593"/>
                <a:gd name="T33" fmla="*/ 0 h 524"/>
                <a:gd name="T34" fmla="*/ 593 w 593"/>
                <a:gd name="T35" fmla="*/ 0 h 524"/>
                <a:gd name="T36" fmla="*/ 593 w 593"/>
                <a:gd name="T37" fmla="*/ 24 h 524"/>
                <a:gd name="T38" fmla="*/ 593 w 593"/>
                <a:gd name="T39" fmla="*/ 130 h 524"/>
                <a:gd name="T40" fmla="*/ 359 w 593"/>
                <a:gd name="T41" fmla="*/ 130 h 524"/>
                <a:gd name="T42" fmla="*/ 359 w 593"/>
                <a:gd name="T43" fmla="*/ 324 h 524"/>
                <a:gd name="T44" fmla="*/ 321 w 593"/>
                <a:gd name="T45" fmla="*/ 335 h 524"/>
                <a:gd name="T46" fmla="*/ 283 w 593"/>
                <a:gd name="T47" fmla="*/ 364 h 524"/>
                <a:gd name="T48" fmla="*/ 288 w 593"/>
                <a:gd name="T49" fmla="*/ 487 h 524"/>
                <a:gd name="T50" fmla="*/ 196 w 593"/>
                <a:gd name="T51" fmla="*/ 487 h 524"/>
                <a:gd name="T52" fmla="*/ 196 w 593"/>
                <a:gd name="T53" fmla="*/ 487 h 524"/>
                <a:gd name="T54" fmla="*/ 196 w 593"/>
                <a:gd name="T55" fmla="*/ 48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93" h="524">
                  <a:moveTo>
                    <a:pt x="196" y="487"/>
                  </a:moveTo>
                  <a:lnTo>
                    <a:pt x="12" y="487"/>
                  </a:lnTo>
                  <a:lnTo>
                    <a:pt x="0" y="524"/>
                  </a:lnTo>
                  <a:lnTo>
                    <a:pt x="0" y="508"/>
                  </a:lnTo>
                  <a:lnTo>
                    <a:pt x="12" y="435"/>
                  </a:lnTo>
                  <a:lnTo>
                    <a:pt x="28" y="413"/>
                  </a:lnTo>
                  <a:lnTo>
                    <a:pt x="38" y="409"/>
                  </a:lnTo>
                  <a:lnTo>
                    <a:pt x="71" y="335"/>
                  </a:lnTo>
                  <a:lnTo>
                    <a:pt x="92" y="295"/>
                  </a:lnTo>
                  <a:lnTo>
                    <a:pt x="92" y="286"/>
                  </a:lnTo>
                  <a:lnTo>
                    <a:pt x="71" y="302"/>
                  </a:lnTo>
                  <a:lnTo>
                    <a:pt x="158" y="229"/>
                  </a:lnTo>
                  <a:lnTo>
                    <a:pt x="163" y="168"/>
                  </a:lnTo>
                  <a:lnTo>
                    <a:pt x="179" y="135"/>
                  </a:lnTo>
                  <a:lnTo>
                    <a:pt x="179" y="113"/>
                  </a:lnTo>
                  <a:lnTo>
                    <a:pt x="250" y="73"/>
                  </a:lnTo>
                  <a:lnTo>
                    <a:pt x="272" y="0"/>
                  </a:lnTo>
                  <a:lnTo>
                    <a:pt x="593" y="0"/>
                  </a:lnTo>
                  <a:lnTo>
                    <a:pt x="593" y="24"/>
                  </a:lnTo>
                  <a:lnTo>
                    <a:pt x="593" y="130"/>
                  </a:lnTo>
                  <a:lnTo>
                    <a:pt x="359" y="130"/>
                  </a:lnTo>
                  <a:lnTo>
                    <a:pt x="359" y="324"/>
                  </a:lnTo>
                  <a:lnTo>
                    <a:pt x="321" y="335"/>
                  </a:lnTo>
                  <a:lnTo>
                    <a:pt x="283" y="364"/>
                  </a:lnTo>
                  <a:lnTo>
                    <a:pt x="288" y="487"/>
                  </a:lnTo>
                  <a:lnTo>
                    <a:pt x="196" y="487"/>
                  </a:lnTo>
                  <a:lnTo>
                    <a:pt x="196" y="487"/>
                  </a:lnTo>
                  <a:lnTo>
                    <a:pt x="196" y="48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1" name="Freeform 593">
              <a:extLst>
                <a:ext uri="{FF2B5EF4-FFF2-40B4-BE49-F238E27FC236}">
                  <a16:creationId xmlns:a16="http://schemas.microsoft.com/office/drawing/2014/main" id="{E7F86BE8-BD18-4764-B7F5-D462E19188A7}"/>
                </a:ext>
              </a:extLst>
            </p:cNvPr>
            <p:cNvSpPr>
              <a:spLocks noEditPoints="1"/>
            </p:cNvSpPr>
            <p:nvPr/>
          </p:nvSpPr>
          <p:spPr bwMode="gray">
            <a:xfrm>
              <a:off x="9777658" y="4433847"/>
              <a:ext cx="29129" cy="12437"/>
            </a:xfrm>
            <a:custGeom>
              <a:avLst/>
              <a:gdLst>
                <a:gd name="T0" fmla="*/ 14 w 89"/>
                <a:gd name="T1" fmla="*/ 0 h 38"/>
                <a:gd name="T2" fmla="*/ 35 w 89"/>
                <a:gd name="T3" fmla="*/ 0 h 38"/>
                <a:gd name="T4" fmla="*/ 42 w 89"/>
                <a:gd name="T5" fmla="*/ 16 h 38"/>
                <a:gd name="T6" fmla="*/ 35 w 89"/>
                <a:gd name="T7" fmla="*/ 26 h 38"/>
                <a:gd name="T8" fmla="*/ 14 w 89"/>
                <a:gd name="T9" fmla="*/ 26 h 38"/>
                <a:gd name="T10" fmla="*/ 0 w 89"/>
                <a:gd name="T11" fmla="*/ 0 h 38"/>
                <a:gd name="T12" fmla="*/ 14 w 89"/>
                <a:gd name="T13" fmla="*/ 0 h 38"/>
                <a:gd name="T14" fmla="*/ 14 w 89"/>
                <a:gd name="T15" fmla="*/ 0 h 38"/>
                <a:gd name="T16" fmla="*/ 14 w 89"/>
                <a:gd name="T17" fmla="*/ 0 h 38"/>
                <a:gd name="T18" fmla="*/ 89 w 89"/>
                <a:gd name="T19" fmla="*/ 38 h 38"/>
                <a:gd name="T20" fmla="*/ 56 w 89"/>
                <a:gd name="T21" fmla="*/ 38 h 38"/>
                <a:gd name="T22" fmla="*/ 52 w 89"/>
                <a:gd name="T23" fmla="*/ 33 h 38"/>
                <a:gd name="T24" fmla="*/ 68 w 89"/>
                <a:gd name="T25" fmla="*/ 26 h 38"/>
                <a:gd name="T26" fmla="*/ 89 w 89"/>
                <a:gd name="T27" fmla="*/ 38 h 38"/>
                <a:gd name="T28" fmla="*/ 89 w 89"/>
                <a:gd name="T29" fmla="*/ 38 h 38"/>
                <a:gd name="T30" fmla="*/ 89 w 89"/>
                <a:gd name="T31" fmla="*/ 38 h 38"/>
                <a:gd name="T32" fmla="*/ 89 w 89"/>
                <a:gd name="T3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38">
                  <a:moveTo>
                    <a:pt x="14" y="0"/>
                  </a:moveTo>
                  <a:lnTo>
                    <a:pt x="35" y="0"/>
                  </a:lnTo>
                  <a:lnTo>
                    <a:pt x="42" y="16"/>
                  </a:lnTo>
                  <a:lnTo>
                    <a:pt x="35" y="26"/>
                  </a:lnTo>
                  <a:lnTo>
                    <a:pt x="14" y="26"/>
                  </a:lnTo>
                  <a:lnTo>
                    <a:pt x="0" y="0"/>
                  </a:lnTo>
                  <a:lnTo>
                    <a:pt x="14" y="0"/>
                  </a:lnTo>
                  <a:lnTo>
                    <a:pt x="14" y="0"/>
                  </a:lnTo>
                  <a:lnTo>
                    <a:pt x="14" y="0"/>
                  </a:lnTo>
                  <a:close/>
                  <a:moveTo>
                    <a:pt x="89" y="38"/>
                  </a:moveTo>
                  <a:lnTo>
                    <a:pt x="56" y="38"/>
                  </a:lnTo>
                  <a:lnTo>
                    <a:pt x="52" y="33"/>
                  </a:lnTo>
                  <a:lnTo>
                    <a:pt x="68" y="26"/>
                  </a:lnTo>
                  <a:lnTo>
                    <a:pt x="89" y="38"/>
                  </a:lnTo>
                  <a:lnTo>
                    <a:pt x="89" y="38"/>
                  </a:lnTo>
                  <a:lnTo>
                    <a:pt x="89" y="38"/>
                  </a:lnTo>
                  <a:lnTo>
                    <a:pt x="89" y="38"/>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2" name="Freeform 594">
              <a:extLst>
                <a:ext uri="{FF2B5EF4-FFF2-40B4-BE49-F238E27FC236}">
                  <a16:creationId xmlns:a16="http://schemas.microsoft.com/office/drawing/2014/main" id="{1747C5D2-42A2-4A87-81E2-6A950F602B5F}"/>
                </a:ext>
              </a:extLst>
            </p:cNvPr>
            <p:cNvSpPr>
              <a:spLocks/>
            </p:cNvSpPr>
            <p:nvPr/>
          </p:nvSpPr>
          <p:spPr bwMode="gray">
            <a:xfrm>
              <a:off x="14451781" y="4735288"/>
              <a:ext cx="29457" cy="39603"/>
            </a:xfrm>
            <a:custGeom>
              <a:avLst/>
              <a:gdLst>
                <a:gd name="T0" fmla="*/ 5 w 90"/>
                <a:gd name="T1" fmla="*/ 76 h 121"/>
                <a:gd name="T2" fmla="*/ 0 w 90"/>
                <a:gd name="T3" fmla="*/ 76 h 121"/>
                <a:gd name="T4" fmla="*/ 0 w 90"/>
                <a:gd name="T5" fmla="*/ 50 h 121"/>
                <a:gd name="T6" fmla="*/ 21 w 90"/>
                <a:gd name="T7" fmla="*/ 17 h 121"/>
                <a:gd name="T8" fmla="*/ 36 w 90"/>
                <a:gd name="T9" fmla="*/ 0 h 121"/>
                <a:gd name="T10" fmla="*/ 43 w 90"/>
                <a:gd name="T11" fmla="*/ 0 h 121"/>
                <a:gd name="T12" fmla="*/ 73 w 90"/>
                <a:gd name="T13" fmla="*/ 17 h 121"/>
                <a:gd name="T14" fmla="*/ 85 w 90"/>
                <a:gd name="T15" fmla="*/ 17 h 121"/>
                <a:gd name="T16" fmla="*/ 90 w 90"/>
                <a:gd name="T17" fmla="*/ 33 h 121"/>
                <a:gd name="T18" fmla="*/ 90 w 90"/>
                <a:gd name="T19" fmla="*/ 87 h 121"/>
                <a:gd name="T20" fmla="*/ 85 w 90"/>
                <a:gd name="T21" fmla="*/ 76 h 121"/>
                <a:gd name="T22" fmla="*/ 85 w 90"/>
                <a:gd name="T23" fmla="*/ 121 h 121"/>
                <a:gd name="T24" fmla="*/ 52 w 90"/>
                <a:gd name="T25" fmla="*/ 121 h 121"/>
                <a:gd name="T26" fmla="*/ 21 w 90"/>
                <a:gd name="T27" fmla="*/ 109 h 121"/>
                <a:gd name="T28" fmla="*/ 5 w 90"/>
                <a:gd name="T29" fmla="*/ 76 h 121"/>
                <a:gd name="T30" fmla="*/ 5 w 90"/>
                <a:gd name="T31" fmla="*/ 76 h 121"/>
                <a:gd name="T32" fmla="*/ 5 w 90"/>
                <a:gd name="T33" fmla="*/ 7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21">
                  <a:moveTo>
                    <a:pt x="5" y="76"/>
                  </a:moveTo>
                  <a:lnTo>
                    <a:pt x="0" y="76"/>
                  </a:lnTo>
                  <a:lnTo>
                    <a:pt x="0" y="50"/>
                  </a:lnTo>
                  <a:lnTo>
                    <a:pt x="21" y="17"/>
                  </a:lnTo>
                  <a:lnTo>
                    <a:pt x="36" y="0"/>
                  </a:lnTo>
                  <a:lnTo>
                    <a:pt x="43" y="0"/>
                  </a:lnTo>
                  <a:lnTo>
                    <a:pt x="73" y="17"/>
                  </a:lnTo>
                  <a:lnTo>
                    <a:pt x="85" y="17"/>
                  </a:lnTo>
                  <a:lnTo>
                    <a:pt x="90" y="33"/>
                  </a:lnTo>
                  <a:lnTo>
                    <a:pt x="90" y="87"/>
                  </a:lnTo>
                  <a:lnTo>
                    <a:pt x="85" y="76"/>
                  </a:lnTo>
                  <a:lnTo>
                    <a:pt x="85" y="121"/>
                  </a:lnTo>
                  <a:lnTo>
                    <a:pt x="52" y="121"/>
                  </a:lnTo>
                  <a:lnTo>
                    <a:pt x="21" y="109"/>
                  </a:lnTo>
                  <a:lnTo>
                    <a:pt x="5" y="76"/>
                  </a:lnTo>
                  <a:lnTo>
                    <a:pt x="5" y="76"/>
                  </a:lnTo>
                  <a:lnTo>
                    <a:pt x="5" y="76"/>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3" name="Freeform 595">
              <a:extLst>
                <a:ext uri="{FF2B5EF4-FFF2-40B4-BE49-F238E27FC236}">
                  <a16:creationId xmlns:a16="http://schemas.microsoft.com/office/drawing/2014/main" id="{06C8A191-1C52-4C1B-947C-4F751A0FBDBB}"/>
                </a:ext>
              </a:extLst>
            </p:cNvPr>
            <p:cNvSpPr>
              <a:spLocks noEditPoints="1"/>
            </p:cNvSpPr>
            <p:nvPr/>
          </p:nvSpPr>
          <p:spPr bwMode="gray">
            <a:xfrm>
              <a:off x="14724092" y="3660773"/>
              <a:ext cx="269692" cy="167576"/>
            </a:xfrm>
            <a:custGeom>
              <a:avLst/>
              <a:gdLst>
                <a:gd name="T0" fmla="*/ 21 w 824"/>
                <a:gd name="T1" fmla="*/ 184 h 512"/>
                <a:gd name="T2" fmla="*/ 38 w 824"/>
                <a:gd name="T3" fmla="*/ 179 h 512"/>
                <a:gd name="T4" fmla="*/ 38 w 824"/>
                <a:gd name="T5" fmla="*/ 123 h 512"/>
                <a:gd name="T6" fmla="*/ 63 w 824"/>
                <a:gd name="T7" fmla="*/ 111 h 512"/>
                <a:gd name="T8" fmla="*/ 123 w 824"/>
                <a:gd name="T9" fmla="*/ 123 h 512"/>
                <a:gd name="T10" fmla="*/ 252 w 824"/>
                <a:gd name="T11" fmla="*/ 250 h 512"/>
                <a:gd name="T12" fmla="*/ 656 w 824"/>
                <a:gd name="T13" fmla="*/ 0 h 512"/>
                <a:gd name="T14" fmla="*/ 694 w 824"/>
                <a:gd name="T15" fmla="*/ 196 h 512"/>
                <a:gd name="T16" fmla="*/ 661 w 824"/>
                <a:gd name="T17" fmla="*/ 222 h 512"/>
                <a:gd name="T18" fmla="*/ 602 w 824"/>
                <a:gd name="T19" fmla="*/ 278 h 512"/>
                <a:gd name="T20" fmla="*/ 522 w 824"/>
                <a:gd name="T21" fmla="*/ 311 h 512"/>
                <a:gd name="T22" fmla="*/ 446 w 824"/>
                <a:gd name="T23" fmla="*/ 333 h 512"/>
                <a:gd name="T24" fmla="*/ 425 w 824"/>
                <a:gd name="T25" fmla="*/ 366 h 512"/>
                <a:gd name="T26" fmla="*/ 371 w 824"/>
                <a:gd name="T27" fmla="*/ 366 h 512"/>
                <a:gd name="T28" fmla="*/ 281 w 824"/>
                <a:gd name="T29" fmla="*/ 418 h 512"/>
                <a:gd name="T30" fmla="*/ 193 w 824"/>
                <a:gd name="T31" fmla="*/ 439 h 512"/>
                <a:gd name="T32" fmla="*/ 172 w 824"/>
                <a:gd name="T33" fmla="*/ 460 h 512"/>
                <a:gd name="T34" fmla="*/ 160 w 824"/>
                <a:gd name="T35" fmla="*/ 456 h 512"/>
                <a:gd name="T36" fmla="*/ 156 w 824"/>
                <a:gd name="T37" fmla="*/ 460 h 512"/>
                <a:gd name="T38" fmla="*/ 118 w 824"/>
                <a:gd name="T39" fmla="*/ 472 h 512"/>
                <a:gd name="T40" fmla="*/ 63 w 824"/>
                <a:gd name="T41" fmla="*/ 460 h 512"/>
                <a:gd name="T42" fmla="*/ 54 w 824"/>
                <a:gd name="T43" fmla="*/ 456 h 512"/>
                <a:gd name="T44" fmla="*/ 38 w 824"/>
                <a:gd name="T45" fmla="*/ 389 h 512"/>
                <a:gd name="T46" fmla="*/ 16 w 824"/>
                <a:gd name="T47" fmla="*/ 307 h 512"/>
                <a:gd name="T48" fmla="*/ 0 w 824"/>
                <a:gd name="T49" fmla="*/ 278 h 512"/>
                <a:gd name="T50" fmla="*/ 12 w 824"/>
                <a:gd name="T51" fmla="*/ 278 h 512"/>
                <a:gd name="T52" fmla="*/ 12 w 824"/>
                <a:gd name="T53" fmla="*/ 234 h 512"/>
                <a:gd name="T54" fmla="*/ 12 w 824"/>
                <a:gd name="T55" fmla="*/ 196 h 512"/>
                <a:gd name="T56" fmla="*/ 12 w 824"/>
                <a:gd name="T57" fmla="*/ 378 h 512"/>
                <a:gd name="T58" fmla="*/ 12 w 824"/>
                <a:gd name="T59" fmla="*/ 366 h 512"/>
                <a:gd name="T60" fmla="*/ 12 w 824"/>
                <a:gd name="T61" fmla="*/ 378 h 512"/>
                <a:gd name="T62" fmla="*/ 808 w 824"/>
                <a:gd name="T63" fmla="*/ 472 h 512"/>
                <a:gd name="T64" fmla="*/ 803 w 824"/>
                <a:gd name="T65" fmla="*/ 493 h 512"/>
                <a:gd name="T66" fmla="*/ 749 w 824"/>
                <a:gd name="T67" fmla="*/ 477 h 512"/>
                <a:gd name="T68" fmla="*/ 775 w 824"/>
                <a:gd name="T69" fmla="*/ 472 h 512"/>
                <a:gd name="T70" fmla="*/ 808 w 824"/>
                <a:gd name="T71" fmla="*/ 472 h 512"/>
                <a:gd name="T72" fmla="*/ 808 w 824"/>
                <a:gd name="T73" fmla="*/ 472 h 512"/>
                <a:gd name="T74" fmla="*/ 656 w 824"/>
                <a:gd name="T75" fmla="*/ 500 h 512"/>
                <a:gd name="T76" fmla="*/ 678 w 824"/>
                <a:gd name="T77" fmla="*/ 512 h 512"/>
                <a:gd name="T78" fmla="*/ 678 w 824"/>
                <a:gd name="T79"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24" h="512">
                  <a:moveTo>
                    <a:pt x="12" y="196"/>
                  </a:moveTo>
                  <a:lnTo>
                    <a:pt x="21" y="184"/>
                  </a:lnTo>
                  <a:lnTo>
                    <a:pt x="33" y="179"/>
                  </a:lnTo>
                  <a:lnTo>
                    <a:pt x="38" y="179"/>
                  </a:lnTo>
                  <a:lnTo>
                    <a:pt x="33" y="156"/>
                  </a:lnTo>
                  <a:lnTo>
                    <a:pt x="38" y="123"/>
                  </a:lnTo>
                  <a:lnTo>
                    <a:pt x="49" y="111"/>
                  </a:lnTo>
                  <a:lnTo>
                    <a:pt x="63" y="111"/>
                  </a:lnTo>
                  <a:lnTo>
                    <a:pt x="87" y="127"/>
                  </a:lnTo>
                  <a:lnTo>
                    <a:pt x="123" y="123"/>
                  </a:lnTo>
                  <a:lnTo>
                    <a:pt x="252" y="179"/>
                  </a:lnTo>
                  <a:lnTo>
                    <a:pt x="252" y="250"/>
                  </a:lnTo>
                  <a:lnTo>
                    <a:pt x="425" y="56"/>
                  </a:lnTo>
                  <a:lnTo>
                    <a:pt x="656" y="0"/>
                  </a:lnTo>
                  <a:lnTo>
                    <a:pt x="732" y="179"/>
                  </a:lnTo>
                  <a:lnTo>
                    <a:pt x="694" y="196"/>
                  </a:lnTo>
                  <a:lnTo>
                    <a:pt x="668" y="200"/>
                  </a:lnTo>
                  <a:lnTo>
                    <a:pt x="661" y="222"/>
                  </a:lnTo>
                  <a:lnTo>
                    <a:pt x="661" y="255"/>
                  </a:lnTo>
                  <a:lnTo>
                    <a:pt x="602" y="278"/>
                  </a:lnTo>
                  <a:lnTo>
                    <a:pt x="550" y="295"/>
                  </a:lnTo>
                  <a:lnTo>
                    <a:pt x="522" y="311"/>
                  </a:lnTo>
                  <a:lnTo>
                    <a:pt x="505" y="311"/>
                  </a:lnTo>
                  <a:lnTo>
                    <a:pt x="446" y="333"/>
                  </a:lnTo>
                  <a:lnTo>
                    <a:pt x="441" y="349"/>
                  </a:lnTo>
                  <a:lnTo>
                    <a:pt x="425" y="366"/>
                  </a:lnTo>
                  <a:lnTo>
                    <a:pt x="392" y="378"/>
                  </a:lnTo>
                  <a:lnTo>
                    <a:pt x="371" y="366"/>
                  </a:lnTo>
                  <a:lnTo>
                    <a:pt x="333" y="401"/>
                  </a:lnTo>
                  <a:lnTo>
                    <a:pt x="281" y="418"/>
                  </a:lnTo>
                  <a:lnTo>
                    <a:pt x="210" y="423"/>
                  </a:lnTo>
                  <a:lnTo>
                    <a:pt x="193" y="439"/>
                  </a:lnTo>
                  <a:lnTo>
                    <a:pt x="172" y="444"/>
                  </a:lnTo>
                  <a:lnTo>
                    <a:pt x="172" y="460"/>
                  </a:lnTo>
                  <a:lnTo>
                    <a:pt x="160" y="460"/>
                  </a:lnTo>
                  <a:lnTo>
                    <a:pt x="160" y="456"/>
                  </a:lnTo>
                  <a:lnTo>
                    <a:pt x="156" y="460"/>
                  </a:lnTo>
                  <a:lnTo>
                    <a:pt x="156" y="460"/>
                  </a:lnTo>
                  <a:lnTo>
                    <a:pt x="130" y="456"/>
                  </a:lnTo>
                  <a:lnTo>
                    <a:pt x="118" y="472"/>
                  </a:lnTo>
                  <a:lnTo>
                    <a:pt x="92" y="477"/>
                  </a:lnTo>
                  <a:lnTo>
                    <a:pt x="63" y="460"/>
                  </a:lnTo>
                  <a:lnTo>
                    <a:pt x="54" y="472"/>
                  </a:lnTo>
                  <a:lnTo>
                    <a:pt x="54" y="456"/>
                  </a:lnTo>
                  <a:lnTo>
                    <a:pt x="38" y="434"/>
                  </a:lnTo>
                  <a:lnTo>
                    <a:pt x="38" y="389"/>
                  </a:lnTo>
                  <a:lnTo>
                    <a:pt x="33" y="378"/>
                  </a:lnTo>
                  <a:lnTo>
                    <a:pt x="16" y="307"/>
                  </a:lnTo>
                  <a:lnTo>
                    <a:pt x="16" y="290"/>
                  </a:lnTo>
                  <a:lnTo>
                    <a:pt x="0" y="278"/>
                  </a:lnTo>
                  <a:lnTo>
                    <a:pt x="0" y="271"/>
                  </a:lnTo>
                  <a:lnTo>
                    <a:pt x="12" y="278"/>
                  </a:lnTo>
                  <a:lnTo>
                    <a:pt x="0" y="250"/>
                  </a:lnTo>
                  <a:lnTo>
                    <a:pt x="12" y="234"/>
                  </a:lnTo>
                  <a:lnTo>
                    <a:pt x="12" y="196"/>
                  </a:lnTo>
                  <a:lnTo>
                    <a:pt x="12" y="196"/>
                  </a:lnTo>
                  <a:lnTo>
                    <a:pt x="12" y="196"/>
                  </a:lnTo>
                  <a:close/>
                  <a:moveTo>
                    <a:pt x="12" y="378"/>
                  </a:moveTo>
                  <a:lnTo>
                    <a:pt x="0" y="366"/>
                  </a:lnTo>
                  <a:lnTo>
                    <a:pt x="12" y="366"/>
                  </a:lnTo>
                  <a:lnTo>
                    <a:pt x="12" y="378"/>
                  </a:lnTo>
                  <a:lnTo>
                    <a:pt x="12" y="378"/>
                  </a:lnTo>
                  <a:lnTo>
                    <a:pt x="12" y="378"/>
                  </a:lnTo>
                  <a:close/>
                  <a:moveTo>
                    <a:pt x="808" y="472"/>
                  </a:moveTo>
                  <a:lnTo>
                    <a:pt x="824" y="477"/>
                  </a:lnTo>
                  <a:lnTo>
                    <a:pt x="803" y="493"/>
                  </a:lnTo>
                  <a:lnTo>
                    <a:pt x="770" y="493"/>
                  </a:lnTo>
                  <a:lnTo>
                    <a:pt x="749" y="477"/>
                  </a:lnTo>
                  <a:lnTo>
                    <a:pt x="753" y="460"/>
                  </a:lnTo>
                  <a:lnTo>
                    <a:pt x="775" y="472"/>
                  </a:lnTo>
                  <a:lnTo>
                    <a:pt x="803" y="472"/>
                  </a:lnTo>
                  <a:lnTo>
                    <a:pt x="808" y="472"/>
                  </a:lnTo>
                  <a:lnTo>
                    <a:pt x="808" y="472"/>
                  </a:lnTo>
                  <a:lnTo>
                    <a:pt x="808" y="472"/>
                  </a:lnTo>
                  <a:close/>
                  <a:moveTo>
                    <a:pt x="678" y="512"/>
                  </a:moveTo>
                  <a:lnTo>
                    <a:pt x="656" y="500"/>
                  </a:lnTo>
                  <a:lnTo>
                    <a:pt x="678" y="500"/>
                  </a:lnTo>
                  <a:lnTo>
                    <a:pt x="678" y="512"/>
                  </a:lnTo>
                  <a:lnTo>
                    <a:pt x="678" y="512"/>
                  </a:lnTo>
                  <a:lnTo>
                    <a:pt x="678" y="512"/>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4" name="Freeform 596">
              <a:extLst>
                <a:ext uri="{FF2B5EF4-FFF2-40B4-BE49-F238E27FC236}">
                  <a16:creationId xmlns:a16="http://schemas.microsoft.com/office/drawing/2014/main" id="{FFEE57CE-63CD-4577-8E7E-B0DD219753D8}"/>
                </a:ext>
              </a:extLst>
            </p:cNvPr>
            <p:cNvSpPr>
              <a:spLocks/>
            </p:cNvSpPr>
            <p:nvPr/>
          </p:nvSpPr>
          <p:spPr bwMode="gray">
            <a:xfrm>
              <a:off x="14250821" y="4306856"/>
              <a:ext cx="266747" cy="238927"/>
            </a:xfrm>
            <a:custGeom>
              <a:avLst/>
              <a:gdLst>
                <a:gd name="T0" fmla="*/ 593 w 815"/>
                <a:gd name="T1" fmla="*/ 548 h 730"/>
                <a:gd name="T2" fmla="*/ 487 w 815"/>
                <a:gd name="T3" fmla="*/ 570 h 730"/>
                <a:gd name="T4" fmla="*/ 404 w 815"/>
                <a:gd name="T5" fmla="*/ 641 h 730"/>
                <a:gd name="T6" fmla="*/ 350 w 815"/>
                <a:gd name="T7" fmla="*/ 719 h 730"/>
                <a:gd name="T8" fmla="*/ 291 w 815"/>
                <a:gd name="T9" fmla="*/ 714 h 730"/>
                <a:gd name="T10" fmla="*/ 260 w 815"/>
                <a:gd name="T11" fmla="*/ 702 h 730"/>
                <a:gd name="T12" fmla="*/ 227 w 815"/>
                <a:gd name="T13" fmla="*/ 702 h 730"/>
                <a:gd name="T14" fmla="*/ 184 w 815"/>
                <a:gd name="T15" fmla="*/ 681 h 730"/>
                <a:gd name="T16" fmla="*/ 97 w 815"/>
                <a:gd name="T17" fmla="*/ 697 h 730"/>
                <a:gd name="T18" fmla="*/ 5 w 815"/>
                <a:gd name="T19" fmla="*/ 608 h 730"/>
                <a:gd name="T20" fmla="*/ 0 w 815"/>
                <a:gd name="T21" fmla="*/ 348 h 730"/>
                <a:gd name="T22" fmla="*/ 130 w 815"/>
                <a:gd name="T23" fmla="*/ 331 h 730"/>
                <a:gd name="T24" fmla="*/ 135 w 815"/>
                <a:gd name="T25" fmla="*/ 293 h 730"/>
                <a:gd name="T26" fmla="*/ 147 w 815"/>
                <a:gd name="T27" fmla="*/ 239 h 730"/>
                <a:gd name="T28" fmla="*/ 168 w 815"/>
                <a:gd name="T29" fmla="*/ 215 h 730"/>
                <a:gd name="T30" fmla="*/ 168 w 815"/>
                <a:gd name="T31" fmla="*/ 239 h 730"/>
                <a:gd name="T32" fmla="*/ 227 w 815"/>
                <a:gd name="T33" fmla="*/ 222 h 730"/>
                <a:gd name="T34" fmla="*/ 236 w 815"/>
                <a:gd name="T35" fmla="*/ 256 h 730"/>
                <a:gd name="T36" fmla="*/ 335 w 815"/>
                <a:gd name="T37" fmla="*/ 277 h 730"/>
                <a:gd name="T38" fmla="*/ 350 w 815"/>
                <a:gd name="T39" fmla="*/ 256 h 730"/>
                <a:gd name="T40" fmla="*/ 366 w 815"/>
                <a:gd name="T41" fmla="*/ 260 h 730"/>
                <a:gd name="T42" fmla="*/ 387 w 815"/>
                <a:gd name="T43" fmla="*/ 305 h 730"/>
                <a:gd name="T44" fmla="*/ 454 w 815"/>
                <a:gd name="T45" fmla="*/ 315 h 730"/>
                <a:gd name="T46" fmla="*/ 470 w 815"/>
                <a:gd name="T47" fmla="*/ 348 h 730"/>
                <a:gd name="T48" fmla="*/ 496 w 815"/>
                <a:gd name="T49" fmla="*/ 381 h 730"/>
                <a:gd name="T50" fmla="*/ 539 w 815"/>
                <a:gd name="T51" fmla="*/ 371 h 730"/>
                <a:gd name="T52" fmla="*/ 546 w 815"/>
                <a:gd name="T53" fmla="*/ 388 h 730"/>
                <a:gd name="T54" fmla="*/ 524 w 815"/>
                <a:gd name="T55" fmla="*/ 293 h 730"/>
                <a:gd name="T56" fmla="*/ 508 w 815"/>
                <a:gd name="T57" fmla="*/ 310 h 730"/>
                <a:gd name="T58" fmla="*/ 475 w 815"/>
                <a:gd name="T59" fmla="*/ 289 h 730"/>
                <a:gd name="T60" fmla="*/ 442 w 815"/>
                <a:gd name="T61" fmla="*/ 248 h 730"/>
                <a:gd name="T62" fmla="*/ 470 w 815"/>
                <a:gd name="T63" fmla="*/ 182 h 730"/>
                <a:gd name="T64" fmla="*/ 470 w 815"/>
                <a:gd name="T65" fmla="*/ 121 h 730"/>
                <a:gd name="T66" fmla="*/ 442 w 815"/>
                <a:gd name="T67" fmla="*/ 83 h 730"/>
                <a:gd name="T68" fmla="*/ 487 w 815"/>
                <a:gd name="T69" fmla="*/ 38 h 730"/>
                <a:gd name="T70" fmla="*/ 614 w 815"/>
                <a:gd name="T71" fmla="*/ 0 h 730"/>
                <a:gd name="T72" fmla="*/ 659 w 815"/>
                <a:gd name="T73" fmla="*/ 34 h 730"/>
                <a:gd name="T74" fmla="*/ 702 w 815"/>
                <a:gd name="T75" fmla="*/ 55 h 730"/>
                <a:gd name="T76" fmla="*/ 728 w 815"/>
                <a:gd name="T77" fmla="*/ 71 h 730"/>
                <a:gd name="T78" fmla="*/ 761 w 815"/>
                <a:gd name="T79" fmla="*/ 88 h 730"/>
                <a:gd name="T80" fmla="*/ 782 w 815"/>
                <a:gd name="T81" fmla="*/ 104 h 730"/>
                <a:gd name="T82" fmla="*/ 794 w 815"/>
                <a:gd name="T83" fmla="*/ 140 h 730"/>
                <a:gd name="T84" fmla="*/ 810 w 815"/>
                <a:gd name="T85" fmla="*/ 161 h 730"/>
                <a:gd name="T86" fmla="*/ 810 w 815"/>
                <a:gd name="T87" fmla="*/ 194 h 730"/>
                <a:gd name="T88" fmla="*/ 798 w 815"/>
                <a:gd name="T89" fmla="*/ 215 h 730"/>
                <a:gd name="T90" fmla="*/ 794 w 815"/>
                <a:gd name="T91" fmla="*/ 260 h 730"/>
                <a:gd name="T92" fmla="*/ 794 w 815"/>
                <a:gd name="T93" fmla="*/ 305 h 730"/>
                <a:gd name="T94" fmla="*/ 794 w 815"/>
                <a:gd name="T95" fmla="*/ 315 h 730"/>
                <a:gd name="T96" fmla="*/ 765 w 815"/>
                <a:gd name="T97" fmla="*/ 331 h 730"/>
                <a:gd name="T98" fmla="*/ 761 w 815"/>
                <a:gd name="T99" fmla="*/ 381 h 730"/>
                <a:gd name="T100" fmla="*/ 765 w 815"/>
                <a:gd name="T101" fmla="*/ 421 h 730"/>
                <a:gd name="T102" fmla="*/ 777 w 815"/>
                <a:gd name="T103" fmla="*/ 421 h 730"/>
                <a:gd name="T104" fmla="*/ 576 w 815"/>
                <a:gd name="T105" fmla="*/ 499 h 730"/>
                <a:gd name="T106" fmla="*/ 576 w 815"/>
                <a:gd name="T107" fmla="*/ 499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5" h="730">
                  <a:moveTo>
                    <a:pt x="576" y="499"/>
                  </a:moveTo>
                  <a:lnTo>
                    <a:pt x="593" y="548"/>
                  </a:lnTo>
                  <a:lnTo>
                    <a:pt x="529" y="548"/>
                  </a:lnTo>
                  <a:lnTo>
                    <a:pt x="487" y="570"/>
                  </a:lnTo>
                  <a:lnTo>
                    <a:pt x="470" y="608"/>
                  </a:lnTo>
                  <a:lnTo>
                    <a:pt x="404" y="641"/>
                  </a:lnTo>
                  <a:lnTo>
                    <a:pt x="387" y="674"/>
                  </a:lnTo>
                  <a:lnTo>
                    <a:pt x="350" y="719"/>
                  </a:lnTo>
                  <a:lnTo>
                    <a:pt x="328" y="730"/>
                  </a:lnTo>
                  <a:lnTo>
                    <a:pt x="291" y="714"/>
                  </a:lnTo>
                  <a:lnTo>
                    <a:pt x="274" y="719"/>
                  </a:lnTo>
                  <a:lnTo>
                    <a:pt x="260" y="702"/>
                  </a:lnTo>
                  <a:lnTo>
                    <a:pt x="243" y="714"/>
                  </a:lnTo>
                  <a:lnTo>
                    <a:pt x="227" y="702"/>
                  </a:lnTo>
                  <a:lnTo>
                    <a:pt x="206" y="690"/>
                  </a:lnTo>
                  <a:lnTo>
                    <a:pt x="184" y="681"/>
                  </a:lnTo>
                  <a:lnTo>
                    <a:pt x="151" y="681"/>
                  </a:lnTo>
                  <a:lnTo>
                    <a:pt x="97" y="697"/>
                  </a:lnTo>
                  <a:lnTo>
                    <a:pt x="80" y="681"/>
                  </a:lnTo>
                  <a:lnTo>
                    <a:pt x="5" y="608"/>
                  </a:lnTo>
                  <a:lnTo>
                    <a:pt x="0" y="586"/>
                  </a:lnTo>
                  <a:lnTo>
                    <a:pt x="0" y="348"/>
                  </a:lnTo>
                  <a:lnTo>
                    <a:pt x="135" y="359"/>
                  </a:lnTo>
                  <a:lnTo>
                    <a:pt x="130" y="331"/>
                  </a:lnTo>
                  <a:lnTo>
                    <a:pt x="147" y="310"/>
                  </a:lnTo>
                  <a:lnTo>
                    <a:pt x="135" y="293"/>
                  </a:lnTo>
                  <a:lnTo>
                    <a:pt x="135" y="256"/>
                  </a:lnTo>
                  <a:lnTo>
                    <a:pt x="147" y="239"/>
                  </a:lnTo>
                  <a:lnTo>
                    <a:pt x="135" y="199"/>
                  </a:lnTo>
                  <a:lnTo>
                    <a:pt x="168" y="215"/>
                  </a:lnTo>
                  <a:lnTo>
                    <a:pt x="161" y="232"/>
                  </a:lnTo>
                  <a:lnTo>
                    <a:pt x="168" y="239"/>
                  </a:lnTo>
                  <a:lnTo>
                    <a:pt x="189" y="232"/>
                  </a:lnTo>
                  <a:lnTo>
                    <a:pt x="227" y="222"/>
                  </a:lnTo>
                  <a:lnTo>
                    <a:pt x="227" y="232"/>
                  </a:lnTo>
                  <a:lnTo>
                    <a:pt x="236" y="256"/>
                  </a:lnTo>
                  <a:lnTo>
                    <a:pt x="274" y="272"/>
                  </a:lnTo>
                  <a:lnTo>
                    <a:pt x="335" y="277"/>
                  </a:lnTo>
                  <a:lnTo>
                    <a:pt x="345" y="272"/>
                  </a:lnTo>
                  <a:lnTo>
                    <a:pt x="350" y="256"/>
                  </a:lnTo>
                  <a:lnTo>
                    <a:pt x="361" y="248"/>
                  </a:lnTo>
                  <a:lnTo>
                    <a:pt x="366" y="260"/>
                  </a:lnTo>
                  <a:lnTo>
                    <a:pt x="383" y="277"/>
                  </a:lnTo>
                  <a:lnTo>
                    <a:pt x="387" y="305"/>
                  </a:lnTo>
                  <a:lnTo>
                    <a:pt x="404" y="305"/>
                  </a:lnTo>
                  <a:lnTo>
                    <a:pt x="454" y="315"/>
                  </a:lnTo>
                  <a:lnTo>
                    <a:pt x="458" y="343"/>
                  </a:lnTo>
                  <a:lnTo>
                    <a:pt x="470" y="348"/>
                  </a:lnTo>
                  <a:lnTo>
                    <a:pt x="491" y="381"/>
                  </a:lnTo>
                  <a:lnTo>
                    <a:pt x="496" y="381"/>
                  </a:lnTo>
                  <a:lnTo>
                    <a:pt x="529" y="371"/>
                  </a:lnTo>
                  <a:lnTo>
                    <a:pt x="539" y="371"/>
                  </a:lnTo>
                  <a:lnTo>
                    <a:pt x="529" y="381"/>
                  </a:lnTo>
                  <a:lnTo>
                    <a:pt x="546" y="388"/>
                  </a:lnTo>
                  <a:lnTo>
                    <a:pt x="546" y="293"/>
                  </a:lnTo>
                  <a:lnTo>
                    <a:pt x="524" y="293"/>
                  </a:lnTo>
                  <a:lnTo>
                    <a:pt x="524" y="310"/>
                  </a:lnTo>
                  <a:lnTo>
                    <a:pt x="508" y="310"/>
                  </a:lnTo>
                  <a:lnTo>
                    <a:pt x="491" y="310"/>
                  </a:lnTo>
                  <a:lnTo>
                    <a:pt x="475" y="289"/>
                  </a:lnTo>
                  <a:lnTo>
                    <a:pt x="454" y="272"/>
                  </a:lnTo>
                  <a:lnTo>
                    <a:pt x="442" y="248"/>
                  </a:lnTo>
                  <a:lnTo>
                    <a:pt x="458" y="199"/>
                  </a:lnTo>
                  <a:lnTo>
                    <a:pt x="470" y="182"/>
                  </a:lnTo>
                  <a:lnTo>
                    <a:pt x="458" y="149"/>
                  </a:lnTo>
                  <a:lnTo>
                    <a:pt x="470" y="121"/>
                  </a:lnTo>
                  <a:lnTo>
                    <a:pt x="454" y="88"/>
                  </a:lnTo>
                  <a:lnTo>
                    <a:pt x="442" y="83"/>
                  </a:lnTo>
                  <a:lnTo>
                    <a:pt x="475" y="50"/>
                  </a:lnTo>
                  <a:lnTo>
                    <a:pt x="487" y="38"/>
                  </a:lnTo>
                  <a:lnTo>
                    <a:pt x="487" y="29"/>
                  </a:lnTo>
                  <a:lnTo>
                    <a:pt x="614" y="0"/>
                  </a:lnTo>
                  <a:lnTo>
                    <a:pt x="631" y="34"/>
                  </a:lnTo>
                  <a:lnTo>
                    <a:pt x="659" y="34"/>
                  </a:lnTo>
                  <a:lnTo>
                    <a:pt x="676" y="55"/>
                  </a:lnTo>
                  <a:lnTo>
                    <a:pt x="702" y="55"/>
                  </a:lnTo>
                  <a:lnTo>
                    <a:pt x="702" y="67"/>
                  </a:lnTo>
                  <a:lnTo>
                    <a:pt x="728" y="71"/>
                  </a:lnTo>
                  <a:lnTo>
                    <a:pt x="739" y="83"/>
                  </a:lnTo>
                  <a:lnTo>
                    <a:pt x="761" y="88"/>
                  </a:lnTo>
                  <a:lnTo>
                    <a:pt x="765" y="104"/>
                  </a:lnTo>
                  <a:lnTo>
                    <a:pt x="782" y="104"/>
                  </a:lnTo>
                  <a:lnTo>
                    <a:pt x="794" y="128"/>
                  </a:lnTo>
                  <a:lnTo>
                    <a:pt x="794" y="140"/>
                  </a:lnTo>
                  <a:lnTo>
                    <a:pt x="810" y="149"/>
                  </a:lnTo>
                  <a:lnTo>
                    <a:pt x="810" y="161"/>
                  </a:lnTo>
                  <a:lnTo>
                    <a:pt x="815" y="178"/>
                  </a:lnTo>
                  <a:lnTo>
                    <a:pt x="810" y="194"/>
                  </a:lnTo>
                  <a:lnTo>
                    <a:pt x="782" y="199"/>
                  </a:lnTo>
                  <a:lnTo>
                    <a:pt x="798" y="215"/>
                  </a:lnTo>
                  <a:lnTo>
                    <a:pt x="782" y="239"/>
                  </a:lnTo>
                  <a:lnTo>
                    <a:pt x="794" y="260"/>
                  </a:lnTo>
                  <a:lnTo>
                    <a:pt x="782" y="293"/>
                  </a:lnTo>
                  <a:lnTo>
                    <a:pt x="794" y="305"/>
                  </a:lnTo>
                  <a:lnTo>
                    <a:pt x="810" y="310"/>
                  </a:lnTo>
                  <a:lnTo>
                    <a:pt x="794" y="315"/>
                  </a:lnTo>
                  <a:lnTo>
                    <a:pt x="765" y="326"/>
                  </a:lnTo>
                  <a:lnTo>
                    <a:pt x="765" y="331"/>
                  </a:lnTo>
                  <a:lnTo>
                    <a:pt x="765" y="348"/>
                  </a:lnTo>
                  <a:lnTo>
                    <a:pt x="761" y="381"/>
                  </a:lnTo>
                  <a:lnTo>
                    <a:pt x="744" y="397"/>
                  </a:lnTo>
                  <a:lnTo>
                    <a:pt x="765" y="421"/>
                  </a:lnTo>
                  <a:lnTo>
                    <a:pt x="777" y="426"/>
                  </a:lnTo>
                  <a:lnTo>
                    <a:pt x="777" y="421"/>
                  </a:lnTo>
                  <a:lnTo>
                    <a:pt x="782" y="426"/>
                  </a:lnTo>
                  <a:lnTo>
                    <a:pt x="576" y="499"/>
                  </a:lnTo>
                  <a:lnTo>
                    <a:pt x="576" y="499"/>
                  </a:lnTo>
                  <a:lnTo>
                    <a:pt x="576" y="49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5" name="Freeform 597">
              <a:extLst>
                <a:ext uri="{FF2B5EF4-FFF2-40B4-BE49-F238E27FC236}">
                  <a16:creationId xmlns:a16="http://schemas.microsoft.com/office/drawing/2014/main" id="{65FA9528-7E83-4335-AA8D-2CF1028C335F}"/>
                </a:ext>
              </a:extLst>
            </p:cNvPr>
            <p:cNvSpPr>
              <a:spLocks/>
            </p:cNvSpPr>
            <p:nvPr/>
          </p:nvSpPr>
          <p:spPr bwMode="gray">
            <a:xfrm>
              <a:off x="14323480" y="4487197"/>
              <a:ext cx="181650" cy="163976"/>
            </a:xfrm>
            <a:custGeom>
              <a:avLst/>
              <a:gdLst>
                <a:gd name="T0" fmla="*/ 506 w 555"/>
                <a:gd name="T1" fmla="*/ 418 h 501"/>
                <a:gd name="T2" fmla="*/ 397 w 555"/>
                <a:gd name="T3" fmla="*/ 496 h 501"/>
                <a:gd name="T4" fmla="*/ 317 w 555"/>
                <a:gd name="T5" fmla="*/ 479 h 501"/>
                <a:gd name="T6" fmla="*/ 284 w 555"/>
                <a:gd name="T7" fmla="*/ 472 h 501"/>
                <a:gd name="T8" fmla="*/ 267 w 555"/>
                <a:gd name="T9" fmla="*/ 456 h 501"/>
                <a:gd name="T10" fmla="*/ 196 w 555"/>
                <a:gd name="T11" fmla="*/ 439 h 501"/>
                <a:gd name="T12" fmla="*/ 175 w 555"/>
                <a:gd name="T13" fmla="*/ 364 h 501"/>
                <a:gd name="T14" fmla="*/ 137 w 555"/>
                <a:gd name="T15" fmla="*/ 331 h 501"/>
                <a:gd name="T16" fmla="*/ 66 w 555"/>
                <a:gd name="T17" fmla="*/ 281 h 501"/>
                <a:gd name="T18" fmla="*/ 50 w 555"/>
                <a:gd name="T19" fmla="*/ 241 h 501"/>
                <a:gd name="T20" fmla="*/ 0 w 555"/>
                <a:gd name="T21" fmla="*/ 153 h 501"/>
                <a:gd name="T22" fmla="*/ 33 w 555"/>
                <a:gd name="T23" fmla="*/ 153 h 501"/>
                <a:gd name="T24" fmla="*/ 66 w 555"/>
                <a:gd name="T25" fmla="*/ 165 h 501"/>
                <a:gd name="T26" fmla="*/ 125 w 555"/>
                <a:gd name="T27" fmla="*/ 170 h 501"/>
                <a:gd name="T28" fmla="*/ 180 w 555"/>
                <a:gd name="T29" fmla="*/ 92 h 501"/>
                <a:gd name="T30" fmla="*/ 262 w 555"/>
                <a:gd name="T31" fmla="*/ 21 h 501"/>
                <a:gd name="T32" fmla="*/ 371 w 555"/>
                <a:gd name="T33" fmla="*/ 0 h 501"/>
                <a:gd name="T34" fmla="*/ 423 w 555"/>
                <a:gd name="T35" fmla="*/ 21 h 501"/>
                <a:gd name="T36" fmla="*/ 451 w 555"/>
                <a:gd name="T37" fmla="*/ 38 h 501"/>
                <a:gd name="T38" fmla="*/ 501 w 555"/>
                <a:gd name="T39" fmla="*/ 59 h 501"/>
                <a:gd name="T40" fmla="*/ 532 w 555"/>
                <a:gd name="T41" fmla="*/ 75 h 501"/>
                <a:gd name="T42" fmla="*/ 539 w 555"/>
                <a:gd name="T43" fmla="*/ 92 h 501"/>
                <a:gd name="T44" fmla="*/ 543 w 555"/>
                <a:gd name="T45" fmla="*/ 132 h 501"/>
                <a:gd name="T46" fmla="*/ 539 w 555"/>
                <a:gd name="T47" fmla="*/ 170 h 501"/>
                <a:gd name="T48" fmla="*/ 555 w 555"/>
                <a:gd name="T49" fmla="*/ 198 h 501"/>
                <a:gd name="T50" fmla="*/ 539 w 555"/>
                <a:gd name="T51" fmla="*/ 224 h 501"/>
                <a:gd name="T52" fmla="*/ 522 w 555"/>
                <a:gd name="T53" fmla="*/ 241 h 501"/>
                <a:gd name="T54" fmla="*/ 532 w 555"/>
                <a:gd name="T55" fmla="*/ 281 h 501"/>
                <a:gd name="T56" fmla="*/ 539 w 555"/>
                <a:gd name="T57" fmla="*/ 347 h 501"/>
                <a:gd name="T58" fmla="*/ 506 w 555"/>
                <a:gd name="T59" fmla="*/ 368 h 501"/>
                <a:gd name="T60" fmla="*/ 501 w 555"/>
                <a:gd name="T61" fmla="*/ 406 h 501"/>
                <a:gd name="T62" fmla="*/ 506 w 555"/>
                <a:gd name="T63" fmla="*/ 423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5" h="501">
                  <a:moveTo>
                    <a:pt x="506" y="423"/>
                  </a:moveTo>
                  <a:lnTo>
                    <a:pt x="506" y="418"/>
                  </a:lnTo>
                  <a:lnTo>
                    <a:pt x="430" y="501"/>
                  </a:lnTo>
                  <a:lnTo>
                    <a:pt x="397" y="496"/>
                  </a:lnTo>
                  <a:lnTo>
                    <a:pt x="359" y="496"/>
                  </a:lnTo>
                  <a:lnTo>
                    <a:pt x="317" y="479"/>
                  </a:lnTo>
                  <a:lnTo>
                    <a:pt x="288" y="489"/>
                  </a:lnTo>
                  <a:lnTo>
                    <a:pt x="284" y="472"/>
                  </a:lnTo>
                  <a:lnTo>
                    <a:pt x="267" y="472"/>
                  </a:lnTo>
                  <a:lnTo>
                    <a:pt x="267" y="456"/>
                  </a:lnTo>
                  <a:lnTo>
                    <a:pt x="234" y="439"/>
                  </a:lnTo>
                  <a:lnTo>
                    <a:pt x="196" y="439"/>
                  </a:lnTo>
                  <a:lnTo>
                    <a:pt x="175" y="401"/>
                  </a:lnTo>
                  <a:lnTo>
                    <a:pt x="175" y="364"/>
                  </a:lnTo>
                  <a:lnTo>
                    <a:pt x="142" y="364"/>
                  </a:lnTo>
                  <a:lnTo>
                    <a:pt x="137" y="331"/>
                  </a:lnTo>
                  <a:lnTo>
                    <a:pt x="104" y="314"/>
                  </a:lnTo>
                  <a:lnTo>
                    <a:pt x="66" y="281"/>
                  </a:lnTo>
                  <a:lnTo>
                    <a:pt x="50" y="253"/>
                  </a:lnTo>
                  <a:lnTo>
                    <a:pt x="50" y="241"/>
                  </a:lnTo>
                  <a:lnTo>
                    <a:pt x="0" y="182"/>
                  </a:lnTo>
                  <a:lnTo>
                    <a:pt x="0" y="153"/>
                  </a:lnTo>
                  <a:lnTo>
                    <a:pt x="17" y="165"/>
                  </a:lnTo>
                  <a:lnTo>
                    <a:pt x="33" y="153"/>
                  </a:lnTo>
                  <a:lnTo>
                    <a:pt x="50" y="170"/>
                  </a:lnTo>
                  <a:lnTo>
                    <a:pt x="66" y="165"/>
                  </a:lnTo>
                  <a:lnTo>
                    <a:pt x="104" y="182"/>
                  </a:lnTo>
                  <a:lnTo>
                    <a:pt x="125" y="170"/>
                  </a:lnTo>
                  <a:lnTo>
                    <a:pt x="163" y="125"/>
                  </a:lnTo>
                  <a:lnTo>
                    <a:pt x="180" y="92"/>
                  </a:lnTo>
                  <a:lnTo>
                    <a:pt x="246" y="59"/>
                  </a:lnTo>
                  <a:lnTo>
                    <a:pt x="262" y="21"/>
                  </a:lnTo>
                  <a:lnTo>
                    <a:pt x="305" y="0"/>
                  </a:lnTo>
                  <a:lnTo>
                    <a:pt x="371" y="0"/>
                  </a:lnTo>
                  <a:lnTo>
                    <a:pt x="371" y="21"/>
                  </a:lnTo>
                  <a:lnTo>
                    <a:pt x="423" y="21"/>
                  </a:lnTo>
                  <a:lnTo>
                    <a:pt x="435" y="38"/>
                  </a:lnTo>
                  <a:lnTo>
                    <a:pt x="451" y="38"/>
                  </a:lnTo>
                  <a:lnTo>
                    <a:pt x="468" y="54"/>
                  </a:lnTo>
                  <a:lnTo>
                    <a:pt x="501" y="59"/>
                  </a:lnTo>
                  <a:lnTo>
                    <a:pt x="522" y="71"/>
                  </a:lnTo>
                  <a:lnTo>
                    <a:pt x="532" y="75"/>
                  </a:lnTo>
                  <a:lnTo>
                    <a:pt x="543" y="75"/>
                  </a:lnTo>
                  <a:lnTo>
                    <a:pt x="539" y="92"/>
                  </a:lnTo>
                  <a:lnTo>
                    <a:pt x="543" y="125"/>
                  </a:lnTo>
                  <a:lnTo>
                    <a:pt x="543" y="132"/>
                  </a:lnTo>
                  <a:lnTo>
                    <a:pt x="543" y="142"/>
                  </a:lnTo>
                  <a:lnTo>
                    <a:pt x="539" y="170"/>
                  </a:lnTo>
                  <a:lnTo>
                    <a:pt x="543" y="186"/>
                  </a:lnTo>
                  <a:lnTo>
                    <a:pt x="555" y="198"/>
                  </a:lnTo>
                  <a:lnTo>
                    <a:pt x="539" y="208"/>
                  </a:lnTo>
                  <a:lnTo>
                    <a:pt x="539" y="224"/>
                  </a:lnTo>
                  <a:lnTo>
                    <a:pt x="522" y="236"/>
                  </a:lnTo>
                  <a:lnTo>
                    <a:pt x="522" y="241"/>
                  </a:lnTo>
                  <a:lnTo>
                    <a:pt x="539" y="253"/>
                  </a:lnTo>
                  <a:lnTo>
                    <a:pt x="532" y="281"/>
                  </a:lnTo>
                  <a:lnTo>
                    <a:pt x="555" y="307"/>
                  </a:lnTo>
                  <a:lnTo>
                    <a:pt x="539" y="347"/>
                  </a:lnTo>
                  <a:lnTo>
                    <a:pt x="522" y="364"/>
                  </a:lnTo>
                  <a:lnTo>
                    <a:pt x="506" y="368"/>
                  </a:lnTo>
                  <a:lnTo>
                    <a:pt x="517" y="385"/>
                  </a:lnTo>
                  <a:lnTo>
                    <a:pt x="501" y="406"/>
                  </a:lnTo>
                  <a:lnTo>
                    <a:pt x="506" y="423"/>
                  </a:lnTo>
                  <a:lnTo>
                    <a:pt x="506" y="423"/>
                  </a:lnTo>
                  <a:lnTo>
                    <a:pt x="506" y="423"/>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6" name="Freeform 598">
              <a:extLst>
                <a:ext uri="{FF2B5EF4-FFF2-40B4-BE49-F238E27FC236}">
                  <a16:creationId xmlns:a16="http://schemas.microsoft.com/office/drawing/2014/main" id="{E65A3272-5EDB-40B0-B2AB-E41835F1CE61}"/>
                </a:ext>
              </a:extLst>
            </p:cNvPr>
            <p:cNvSpPr>
              <a:spLocks/>
            </p:cNvSpPr>
            <p:nvPr/>
          </p:nvSpPr>
          <p:spPr bwMode="gray">
            <a:xfrm>
              <a:off x="14245584" y="3580912"/>
              <a:ext cx="384246" cy="327297"/>
            </a:xfrm>
            <a:custGeom>
              <a:avLst/>
              <a:gdLst>
                <a:gd name="T0" fmla="*/ 67 w 497"/>
                <a:gd name="T1" fmla="*/ 423 h 423"/>
                <a:gd name="T2" fmla="*/ 119 w 497"/>
                <a:gd name="T3" fmla="*/ 370 h 423"/>
                <a:gd name="T4" fmla="*/ 186 w 497"/>
                <a:gd name="T5" fmla="*/ 384 h 423"/>
                <a:gd name="T6" fmla="*/ 210 w 497"/>
                <a:gd name="T7" fmla="*/ 395 h 423"/>
                <a:gd name="T8" fmla="*/ 238 w 497"/>
                <a:gd name="T9" fmla="*/ 384 h 423"/>
                <a:gd name="T10" fmla="*/ 257 w 497"/>
                <a:gd name="T11" fmla="*/ 363 h 423"/>
                <a:gd name="T12" fmla="*/ 289 w 497"/>
                <a:gd name="T13" fmla="*/ 384 h 423"/>
                <a:gd name="T14" fmla="*/ 325 w 497"/>
                <a:gd name="T15" fmla="*/ 314 h 423"/>
                <a:gd name="T16" fmla="*/ 337 w 497"/>
                <a:gd name="T17" fmla="*/ 311 h 423"/>
                <a:gd name="T18" fmla="*/ 352 w 497"/>
                <a:gd name="T19" fmla="*/ 297 h 423"/>
                <a:gd name="T20" fmla="*/ 372 w 497"/>
                <a:gd name="T21" fmla="*/ 363 h 423"/>
                <a:gd name="T22" fmla="*/ 375 w 497"/>
                <a:gd name="T23" fmla="*/ 363 h 423"/>
                <a:gd name="T24" fmla="*/ 388 w 497"/>
                <a:gd name="T25" fmla="*/ 362 h 423"/>
                <a:gd name="T26" fmla="*/ 390 w 497"/>
                <a:gd name="T27" fmla="*/ 345 h 423"/>
                <a:gd name="T28" fmla="*/ 395 w 497"/>
                <a:gd name="T29" fmla="*/ 329 h 423"/>
                <a:gd name="T30" fmla="*/ 413 w 497"/>
                <a:gd name="T31" fmla="*/ 303 h 423"/>
                <a:gd name="T32" fmla="*/ 427 w 497"/>
                <a:gd name="T33" fmla="*/ 289 h 423"/>
                <a:gd name="T34" fmla="*/ 433 w 497"/>
                <a:gd name="T35" fmla="*/ 263 h 423"/>
                <a:gd name="T36" fmla="*/ 433 w 497"/>
                <a:gd name="T37" fmla="*/ 225 h 423"/>
                <a:gd name="T38" fmla="*/ 445 w 497"/>
                <a:gd name="T39" fmla="*/ 181 h 423"/>
                <a:gd name="T40" fmla="*/ 449 w 497"/>
                <a:gd name="T41" fmla="*/ 164 h 423"/>
                <a:gd name="T42" fmla="*/ 465 w 497"/>
                <a:gd name="T43" fmla="*/ 157 h 423"/>
                <a:gd name="T44" fmla="*/ 488 w 497"/>
                <a:gd name="T45" fmla="*/ 150 h 423"/>
                <a:gd name="T46" fmla="*/ 495 w 497"/>
                <a:gd name="T47" fmla="*/ 131 h 423"/>
                <a:gd name="T48" fmla="*/ 472 w 497"/>
                <a:gd name="T49" fmla="*/ 115 h 423"/>
                <a:gd name="T50" fmla="*/ 463 w 497"/>
                <a:gd name="T51" fmla="*/ 108 h 423"/>
                <a:gd name="T52" fmla="*/ 456 w 497"/>
                <a:gd name="T53" fmla="*/ 63 h 423"/>
                <a:gd name="T54" fmla="*/ 452 w 497"/>
                <a:gd name="T55" fmla="*/ 33 h 423"/>
                <a:gd name="T56" fmla="*/ 458 w 497"/>
                <a:gd name="T57" fmla="*/ 40 h 423"/>
                <a:gd name="T58" fmla="*/ 449 w 497"/>
                <a:gd name="T59" fmla="*/ 21 h 423"/>
                <a:gd name="T60" fmla="*/ 285 w 497"/>
                <a:gd name="T61" fmla="*/ 7 h 423"/>
                <a:gd name="T62" fmla="*/ 285 w 497"/>
                <a:gd name="T63" fmla="*/ 0 h 423"/>
                <a:gd name="T64" fmla="*/ 93 w 497"/>
                <a:gd name="T65" fmla="*/ 7 h 423"/>
                <a:gd name="T66" fmla="*/ 63 w 497"/>
                <a:gd name="T67" fmla="*/ 70 h 423"/>
                <a:gd name="T68" fmla="*/ 63 w 497"/>
                <a:gd name="T69" fmla="*/ 209 h 423"/>
                <a:gd name="T70" fmla="*/ 34 w 497"/>
                <a:gd name="T71" fmla="*/ 211 h 423"/>
                <a:gd name="T72" fmla="*/ 34 w 497"/>
                <a:gd name="T73" fmla="*/ 225 h 423"/>
                <a:gd name="T74" fmla="*/ 25 w 497"/>
                <a:gd name="T75" fmla="*/ 239 h 423"/>
                <a:gd name="T76" fmla="*/ 22 w 497"/>
                <a:gd name="T77" fmla="*/ 256 h 423"/>
                <a:gd name="T78" fmla="*/ 9 w 497"/>
                <a:gd name="T79" fmla="*/ 268 h 423"/>
                <a:gd name="T80" fmla="*/ 6 w 497"/>
                <a:gd name="T81" fmla="*/ 289 h 423"/>
                <a:gd name="T82" fmla="*/ 6 w 497"/>
                <a:gd name="T83" fmla="*/ 303 h 423"/>
                <a:gd name="T84" fmla="*/ 11 w 497"/>
                <a:gd name="T85" fmla="*/ 298 h 423"/>
                <a:gd name="T86" fmla="*/ 18 w 497"/>
                <a:gd name="T87" fmla="*/ 310 h 423"/>
                <a:gd name="T88" fmla="*/ 22 w 497"/>
                <a:gd name="T89" fmla="*/ 336 h 423"/>
                <a:gd name="T90" fmla="*/ 32 w 497"/>
                <a:gd name="T91" fmla="*/ 338 h 423"/>
                <a:gd name="T92" fmla="*/ 32 w 497"/>
                <a:gd name="T93" fmla="*/ 357 h 423"/>
                <a:gd name="T94" fmla="*/ 54 w 497"/>
                <a:gd name="T95" fmla="*/ 390 h 423"/>
                <a:gd name="T96" fmla="*/ 52 w 497"/>
                <a:gd name="T97" fmla="*/ 409 h 423"/>
                <a:gd name="T98" fmla="*/ 52 w 497"/>
                <a:gd name="T99" fmla="*/ 416 h 423"/>
                <a:gd name="T100" fmla="*/ 67 w 497"/>
                <a:gd name="T101"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7" h="423">
                  <a:moveTo>
                    <a:pt x="67" y="423"/>
                  </a:moveTo>
                  <a:cubicBezTo>
                    <a:pt x="67" y="423"/>
                    <a:pt x="67" y="423"/>
                    <a:pt x="67" y="423"/>
                  </a:cubicBezTo>
                  <a:cubicBezTo>
                    <a:pt x="67" y="423"/>
                    <a:pt x="67" y="423"/>
                    <a:pt x="95" y="367"/>
                  </a:cubicBezTo>
                  <a:cubicBezTo>
                    <a:pt x="95" y="367"/>
                    <a:pt x="95" y="367"/>
                    <a:pt x="119" y="370"/>
                  </a:cubicBezTo>
                  <a:cubicBezTo>
                    <a:pt x="119" y="370"/>
                    <a:pt x="119" y="370"/>
                    <a:pt x="135" y="391"/>
                  </a:cubicBezTo>
                  <a:cubicBezTo>
                    <a:pt x="135" y="391"/>
                    <a:pt x="135" y="391"/>
                    <a:pt x="186" y="384"/>
                  </a:cubicBezTo>
                  <a:cubicBezTo>
                    <a:pt x="186" y="384"/>
                    <a:pt x="186" y="384"/>
                    <a:pt x="186" y="395"/>
                  </a:cubicBezTo>
                  <a:cubicBezTo>
                    <a:pt x="186" y="395"/>
                    <a:pt x="186" y="395"/>
                    <a:pt x="210" y="395"/>
                  </a:cubicBezTo>
                  <a:cubicBezTo>
                    <a:pt x="210" y="395"/>
                    <a:pt x="210" y="395"/>
                    <a:pt x="222" y="384"/>
                  </a:cubicBezTo>
                  <a:cubicBezTo>
                    <a:pt x="222" y="384"/>
                    <a:pt x="222" y="384"/>
                    <a:pt x="238" y="384"/>
                  </a:cubicBezTo>
                  <a:cubicBezTo>
                    <a:pt x="238" y="384"/>
                    <a:pt x="238" y="384"/>
                    <a:pt x="238" y="370"/>
                  </a:cubicBezTo>
                  <a:cubicBezTo>
                    <a:pt x="238" y="370"/>
                    <a:pt x="238" y="370"/>
                    <a:pt x="257" y="363"/>
                  </a:cubicBezTo>
                  <a:cubicBezTo>
                    <a:pt x="257" y="363"/>
                    <a:pt x="257" y="363"/>
                    <a:pt x="281" y="384"/>
                  </a:cubicBezTo>
                  <a:cubicBezTo>
                    <a:pt x="281" y="384"/>
                    <a:pt x="281" y="384"/>
                    <a:pt x="289" y="384"/>
                  </a:cubicBezTo>
                  <a:cubicBezTo>
                    <a:pt x="289" y="384"/>
                    <a:pt x="289" y="384"/>
                    <a:pt x="325" y="342"/>
                  </a:cubicBezTo>
                  <a:cubicBezTo>
                    <a:pt x="325" y="342"/>
                    <a:pt x="325" y="342"/>
                    <a:pt x="325" y="314"/>
                  </a:cubicBezTo>
                  <a:cubicBezTo>
                    <a:pt x="325" y="314"/>
                    <a:pt x="325" y="314"/>
                    <a:pt x="321" y="314"/>
                  </a:cubicBezTo>
                  <a:cubicBezTo>
                    <a:pt x="321" y="314"/>
                    <a:pt x="321" y="314"/>
                    <a:pt x="337" y="311"/>
                  </a:cubicBezTo>
                  <a:cubicBezTo>
                    <a:pt x="337" y="311"/>
                    <a:pt x="337" y="311"/>
                    <a:pt x="337" y="297"/>
                  </a:cubicBezTo>
                  <a:cubicBezTo>
                    <a:pt x="337" y="297"/>
                    <a:pt x="337" y="297"/>
                    <a:pt x="352" y="297"/>
                  </a:cubicBezTo>
                  <a:cubicBezTo>
                    <a:pt x="352" y="297"/>
                    <a:pt x="352" y="297"/>
                    <a:pt x="352" y="360"/>
                  </a:cubicBezTo>
                  <a:cubicBezTo>
                    <a:pt x="372" y="363"/>
                    <a:pt x="372" y="363"/>
                    <a:pt x="372" y="363"/>
                  </a:cubicBezTo>
                  <a:cubicBezTo>
                    <a:pt x="372" y="363"/>
                    <a:pt x="372" y="363"/>
                    <a:pt x="372" y="364"/>
                  </a:cubicBezTo>
                  <a:cubicBezTo>
                    <a:pt x="375" y="363"/>
                    <a:pt x="375" y="363"/>
                    <a:pt x="375" y="363"/>
                  </a:cubicBezTo>
                  <a:cubicBezTo>
                    <a:pt x="381" y="357"/>
                    <a:pt x="381" y="357"/>
                    <a:pt x="381" y="357"/>
                  </a:cubicBezTo>
                  <a:cubicBezTo>
                    <a:pt x="388" y="362"/>
                    <a:pt x="388" y="362"/>
                    <a:pt x="388" y="362"/>
                  </a:cubicBezTo>
                  <a:cubicBezTo>
                    <a:pt x="390" y="357"/>
                    <a:pt x="390" y="357"/>
                    <a:pt x="390" y="357"/>
                  </a:cubicBezTo>
                  <a:cubicBezTo>
                    <a:pt x="390" y="345"/>
                    <a:pt x="390" y="345"/>
                    <a:pt x="390" y="345"/>
                  </a:cubicBezTo>
                  <a:cubicBezTo>
                    <a:pt x="395" y="336"/>
                    <a:pt x="395" y="336"/>
                    <a:pt x="395" y="336"/>
                  </a:cubicBezTo>
                  <a:cubicBezTo>
                    <a:pt x="395" y="329"/>
                    <a:pt x="395" y="329"/>
                    <a:pt x="395" y="329"/>
                  </a:cubicBezTo>
                  <a:cubicBezTo>
                    <a:pt x="399" y="326"/>
                    <a:pt x="399" y="326"/>
                    <a:pt x="399" y="326"/>
                  </a:cubicBezTo>
                  <a:cubicBezTo>
                    <a:pt x="413" y="303"/>
                    <a:pt x="413" y="303"/>
                    <a:pt x="413" y="303"/>
                  </a:cubicBezTo>
                  <a:cubicBezTo>
                    <a:pt x="427" y="298"/>
                    <a:pt x="427" y="298"/>
                    <a:pt x="427" y="298"/>
                  </a:cubicBezTo>
                  <a:cubicBezTo>
                    <a:pt x="427" y="289"/>
                    <a:pt x="427" y="289"/>
                    <a:pt x="427" y="289"/>
                  </a:cubicBezTo>
                  <a:cubicBezTo>
                    <a:pt x="436" y="265"/>
                    <a:pt x="436" y="265"/>
                    <a:pt x="436" y="265"/>
                  </a:cubicBezTo>
                  <a:cubicBezTo>
                    <a:pt x="433" y="263"/>
                    <a:pt x="433" y="263"/>
                    <a:pt x="433" y="263"/>
                  </a:cubicBezTo>
                  <a:cubicBezTo>
                    <a:pt x="436" y="251"/>
                    <a:pt x="436" y="251"/>
                    <a:pt x="436" y="251"/>
                  </a:cubicBezTo>
                  <a:cubicBezTo>
                    <a:pt x="433" y="225"/>
                    <a:pt x="433" y="225"/>
                    <a:pt x="433" y="225"/>
                  </a:cubicBezTo>
                  <a:cubicBezTo>
                    <a:pt x="449" y="188"/>
                    <a:pt x="449" y="188"/>
                    <a:pt x="449" y="188"/>
                  </a:cubicBezTo>
                  <a:cubicBezTo>
                    <a:pt x="445" y="181"/>
                    <a:pt x="445" y="181"/>
                    <a:pt x="445" y="181"/>
                  </a:cubicBezTo>
                  <a:cubicBezTo>
                    <a:pt x="449" y="174"/>
                    <a:pt x="449" y="174"/>
                    <a:pt x="449" y="174"/>
                  </a:cubicBezTo>
                  <a:cubicBezTo>
                    <a:pt x="449" y="164"/>
                    <a:pt x="449" y="164"/>
                    <a:pt x="449" y="164"/>
                  </a:cubicBezTo>
                  <a:cubicBezTo>
                    <a:pt x="463" y="164"/>
                    <a:pt x="463" y="164"/>
                    <a:pt x="463" y="164"/>
                  </a:cubicBezTo>
                  <a:cubicBezTo>
                    <a:pt x="465" y="157"/>
                    <a:pt x="465" y="157"/>
                    <a:pt x="465" y="157"/>
                  </a:cubicBezTo>
                  <a:cubicBezTo>
                    <a:pt x="481" y="148"/>
                    <a:pt x="481" y="148"/>
                    <a:pt x="481" y="148"/>
                  </a:cubicBezTo>
                  <a:cubicBezTo>
                    <a:pt x="488" y="150"/>
                    <a:pt x="488" y="150"/>
                    <a:pt x="488" y="150"/>
                  </a:cubicBezTo>
                  <a:cubicBezTo>
                    <a:pt x="497" y="134"/>
                    <a:pt x="497" y="134"/>
                    <a:pt x="497" y="134"/>
                  </a:cubicBezTo>
                  <a:cubicBezTo>
                    <a:pt x="495" y="131"/>
                    <a:pt x="495" y="131"/>
                    <a:pt x="495" y="131"/>
                  </a:cubicBezTo>
                  <a:cubicBezTo>
                    <a:pt x="481" y="124"/>
                    <a:pt x="481" y="124"/>
                    <a:pt x="481" y="124"/>
                  </a:cubicBezTo>
                  <a:cubicBezTo>
                    <a:pt x="472" y="115"/>
                    <a:pt x="472" y="115"/>
                    <a:pt x="472" y="115"/>
                  </a:cubicBezTo>
                  <a:cubicBezTo>
                    <a:pt x="465" y="110"/>
                    <a:pt x="465" y="110"/>
                    <a:pt x="465" y="110"/>
                  </a:cubicBezTo>
                  <a:cubicBezTo>
                    <a:pt x="463" y="108"/>
                    <a:pt x="463" y="108"/>
                    <a:pt x="463" y="108"/>
                  </a:cubicBezTo>
                  <a:cubicBezTo>
                    <a:pt x="458" y="84"/>
                    <a:pt x="458" y="84"/>
                    <a:pt x="458" y="84"/>
                  </a:cubicBezTo>
                  <a:cubicBezTo>
                    <a:pt x="456" y="63"/>
                    <a:pt x="456" y="63"/>
                    <a:pt x="456" y="63"/>
                  </a:cubicBezTo>
                  <a:cubicBezTo>
                    <a:pt x="456" y="54"/>
                    <a:pt x="456" y="54"/>
                    <a:pt x="456" y="54"/>
                  </a:cubicBezTo>
                  <a:cubicBezTo>
                    <a:pt x="452" y="33"/>
                    <a:pt x="452" y="33"/>
                    <a:pt x="452" y="33"/>
                  </a:cubicBezTo>
                  <a:cubicBezTo>
                    <a:pt x="456" y="37"/>
                    <a:pt x="456" y="37"/>
                    <a:pt x="456" y="37"/>
                  </a:cubicBezTo>
                  <a:cubicBezTo>
                    <a:pt x="458" y="40"/>
                    <a:pt x="458" y="40"/>
                    <a:pt x="458" y="40"/>
                  </a:cubicBezTo>
                  <a:cubicBezTo>
                    <a:pt x="458" y="37"/>
                    <a:pt x="458" y="37"/>
                    <a:pt x="458" y="37"/>
                  </a:cubicBezTo>
                  <a:cubicBezTo>
                    <a:pt x="449" y="21"/>
                    <a:pt x="449" y="21"/>
                    <a:pt x="449" y="21"/>
                  </a:cubicBezTo>
                  <a:cubicBezTo>
                    <a:pt x="445" y="7"/>
                    <a:pt x="445" y="7"/>
                    <a:pt x="445" y="7"/>
                  </a:cubicBezTo>
                  <a:cubicBezTo>
                    <a:pt x="285" y="7"/>
                    <a:pt x="285" y="7"/>
                    <a:pt x="285" y="7"/>
                  </a:cubicBezTo>
                  <a:cubicBezTo>
                    <a:pt x="290" y="4"/>
                    <a:pt x="290" y="4"/>
                    <a:pt x="290" y="4"/>
                  </a:cubicBezTo>
                  <a:cubicBezTo>
                    <a:pt x="285" y="0"/>
                    <a:pt x="285" y="0"/>
                    <a:pt x="285" y="0"/>
                  </a:cubicBezTo>
                  <a:cubicBezTo>
                    <a:pt x="280" y="7"/>
                    <a:pt x="280" y="7"/>
                    <a:pt x="280" y="7"/>
                  </a:cubicBezTo>
                  <a:cubicBezTo>
                    <a:pt x="93" y="7"/>
                    <a:pt x="93" y="7"/>
                    <a:pt x="93" y="7"/>
                  </a:cubicBezTo>
                  <a:cubicBezTo>
                    <a:pt x="93" y="70"/>
                    <a:pt x="93" y="70"/>
                    <a:pt x="93" y="70"/>
                  </a:cubicBezTo>
                  <a:cubicBezTo>
                    <a:pt x="63" y="70"/>
                    <a:pt x="63" y="70"/>
                    <a:pt x="63" y="70"/>
                  </a:cubicBezTo>
                  <a:cubicBezTo>
                    <a:pt x="63" y="87"/>
                    <a:pt x="63" y="87"/>
                    <a:pt x="63" y="87"/>
                  </a:cubicBezTo>
                  <a:cubicBezTo>
                    <a:pt x="63" y="209"/>
                    <a:pt x="63" y="209"/>
                    <a:pt x="63" y="209"/>
                  </a:cubicBezTo>
                  <a:cubicBezTo>
                    <a:pt x="38" y="209"/>
                    <a:pt x="38" y="209"/>
                    <a:pt x="38" y="209"/>
                  </a:cubicBezTo>
                  <a:cubicBezTo>
                    <a:pt x="34" y="211"/>
                    <a:pt x="34" y="211"/>
                    <a:pt x="34" y="211"/>
                  </a:cubicBezTo>
                  <a:cubicBezTo>
                    <a:pt x="34" y="218"/>
                    <a:pt x="34" y="218"/>
                    <a:pt x="34" y="218"/>
                  </a:cubicBezTo>
                  <a:cubicBezTo>
                    <a:pt x="34" y="225"/>
                    <a:pt x="34" y="225"/>
                    <a:pt x="34" y="225"/>
                  </a:cubicBezTo>
                  <a:cubicBezTo>
                    <a:pt x="25" y="235"/>
                    <a:pt x="25" y="235"/>
                    <a:pt x="25" y="235"/>
                  </a:cubicBezTo>
                  <a:cubicBezTo>
                    <a:pt x="25" y="239"/>
                    <a:pt x="25" y="239"/>
                    <a:pt x="25" y="239"/>
                  </a:cubicBezTo>
                  <a:cubicBezTo>
                    <a:pt x="18" y="242"/>
                    <a:pt x="18" y="242"/>
                    <a:pt x="18" y="242"/>
                  </a:cubicBezTo>
                  <a:cubicBezTo>
                    <a:pt x="22" y="256"/>
                    <a:pt x="22" y="256"/>
                    <a:pt x="22" y="256"/>
                  </a:cubicBezTo>
                  <a:cubicBezTo>
                    <a:pt x="11" y="263"/>
                    <a:pt x="11" y="263"/>
                    <a:pt x="11" y="263"/>
                  </a:cubicBezTo>
                  <a:cubicBezTo>
                    <a:pt x="9" y="268"/>
                    <a:pt x="9" y="268"/>
                    <a:pt x="9" y="268"/>
                  </a:cubicBezTo>
                  <a:cubicBezTo>
                    <a:pt x="16" y="279"/>
                    <a:pt x="16" y="279"/>
                    <a:pt x="16" y="279"/>
                  </a:cubicBezTo>
                  <a:cubicBezTo>
                    <a:pt x="6" y="289"/>
                    <a:pt x="6" y="289"/>
                    <a:pt x="6" y="289"/>
                  </a:cubicBezTo>
                  <a:cubicBezTo>
                    <a:pt x="0" y="298"/>
                    <a:pt x="0" y="298"/>
                    <a:pt x="0" y="298"/>
                  </a:cubicBezTo>
                  <a:cubicBezTo>
                    <a:pt x="6" y="303"/>
                    <a:pt x="6" y="303"/>
                    <a:pt x="6" y="303"/>
                  </a:cubicBezTo>
                  <a:cubicBezTo>
                    <a:pt x="9" y="303"/>
                    <a:pt x="9" y="303"/>
                    <a:pt x="9" y="303"/>
                  </a:cubicBezTo>
                  <a:cubicBezTo>
                    <a:pt x="11" y="298"/>
                    <a:pt x="11" y="298"/>
                    <a:pt x="11" y="298"/>
                  </a:cubicBezTo>
                  <a:cubicBezTo>
                    <a:pt x="18" y="303"/>
                    <a:pt x="18" y="303"/>
                    <a:pt x="18" y="303"/>
                  </a:cubicBezTo>
                  <a:cubicBezTo>
                    <a:pt x="18" y="310"/>
                    <a:pt x="18" y="310"/>
                    <a:pt x="18" y="310"/>
                  </a:cubicBezTo>
                  <a:cubicBezTo>
                    <a:pt x="25" y="322"/>
                    <a:pt x="25" y="322"/>
                    <a:pt x="25" y="322"/>
                  </a:cubicBezTo>
                  <a:cubicBezTo>
                    <a:pt x="22" y="336"/>
                    <a:pt x="22" y="336"/>
                    <a:pt x="22" y="336"/>
                  </a:cubicBezTo>
                  <a:cubicBezTo>
                    <a:pt x="29" y="338"/>
                    <a:pt x="29" y="338"/>
                    <a:pt x="29" y="338"/>
                  </a:cubicBezTo>
                  <a:cubicBezTo>
                    <a:pt x="32" y="338"/>
                    <a:pt x="32" y="338"/>
                    <a:pt x="32" y="338"/>
                  </a:cubicBezTo>
                  <a:cubicBezTo>
                    <a:pt x="34" y="345"/>
                    <a:pt x="34" y="345"/>
                    <a:pt x="34" y="345"/>
                  </a:cubicBezTo>
                  <a:cubicBezTo>
                    <a:pt x="32" y="357"/>
                    <a:pt x="32" y="357"/>
                    <a:pt x="32" y="357"/>
                  </a:cubicBezTo>
                  <a:cubicBezTo>
                    <a:pt x="45" y="369"/>
                    <a:pt x="45" y="369"/>
                    <a:pt x="45" y="369"/>
                  </a:cubicBezTo>
                  <a:cubicBezTo>
                    <a:pt x="54" y="390"/>
                    <a:pt x="54" y="390"/>
                    <a:pt x="54" y="390"/>
                  </a:cubicBezTo>
                  <a:cubicBezTo>
                    <a:pt x="54" y="406"/>
                    <a:pt x="54" y="406"/>
                    <a:pt x="54" y="406"/>
                  </a:cubicBezTo>
                  <a:cubicBezTo>
                    <a:pt x="52" y="409"/>
                    <a:pt x="52" y="409"/>
                    <a:pt x="52" y="409"/>
                  </a:cubicBezTo>
                  <a:cubicBezTo>
                    <a:pt x="47" y="413"/>
                    <a:pt x="47" y="413"/>
                    <a:pt x="47" y="413"/>
                  </a:cubicBezTo>
                  <a:cubicBezTo>
                    <a:pt x="52" y="416"/>
                    <a:pt x="52" y="416"/>
                    <a:pt x="52" y="416"/>
                  </a:cubicBezTo>
                  <a:cubicBezTo>
                    <a:pt x="52" y="423"/>
                    <a:pt x="52" y="423"/>
                    <a:pt x="52" y="423"/>
                  </a:cubicBezTo>
                  <a:lnTo>
                    <a:pt x="67" y="423"/>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7" name="Freeform 599">
              <a:extLst>
                <a:ext uri="{FF2B5EF4-FFF2-40B4-BE49-F238E27FC236}">
                  <a16:creationId xmlns:a16="http://schemas.microsoft.com/office/drawing/2014/main" id="{3FA0D174-838A-4DDA-9088-89366EC21C05}"/>
                </a:ext>
              </a:extLst>
            </p:cNvPr>
            <p:cNvSpPr>
              <a:spLocks/>
            </p:cNvSpPr>
            <p:nvPr/>
          </p:nvSpPr>
          <p:spPr bwMode="gray">
            <a:xfrm>
              <a:off x="14297297" y="3810675"/>
              <a:ext cx="272965" cy="222562"/>
            </a:xfrm>
            <a:custGeom>
              <a:avLst/>
              <a:gdLst>
                <a:gd name="T0" fmla="*/ 339 w 353"/>
                <a:gd name="T1" fmla="*/ 227 h 288"/>
                <a:gd name="T2" fmla="*/ 332 w 353"/>
                <a:gd name="T3" fmla="*/ 227 h 288"/>
                <a:gd name="T4" fmla="*/ 323 w 353"/>
                <a:gd name="T5" fmla="*/ 210 h 288"/>
                <a:gd name="T6" fmla="*/ 309 w 353"/>
                <a:gd name="T7" fmla="*/ 187 h 288"/>
                <a:gd name="T8" fmla="*/ 300 w 353"/>
                <a:gd name="T9" fmla="*/ 180 h 288"/>
                <a:gd name="T10" fmla="*/ 277 w 353"/>
                <a:gd name="T11" fmla="*/ 156 h 288"/>
                <a:gd name="T12" fmla="*/ 264 w 353"/>
                <a:gd name="T13" fmla="*/ 149 h 288"/>
                <a:gd name="T14" fmla="*/ 270 w 353"/>
                <a:gd name="T15" fmla="*/ 135 h 288"/>
                <a:gd name="T16" fmla="*/ 286 w 353"/>
                <a:gd name="T17" fmla="*/ 135 h 288"/>
                <a:gd name="T18" fmla="*/ 298 w 353"/>
                <a:gd name="T19" fmla="*/ 102 h 288"/>
                <a:gd name="T20" fmla="*/ 305 w 353"/>
                <a:gd name="T21" fmla="*/ 69 h 288"/>
                <a:gd name="T22" fmla="*/ 305 w 353"/>
                <a:gd name="T23" fmla="*/ 67 h 288"/>
                <a:gd name="T24" fmla="*/ 285 w 353"/>
                <a:gd name="T25" fmla="*/ 63 h 288"/>
                <a:gd name="T26" fmla="*/ 270 w 353"/>
                <a:gd name="T27" fmla="*/ 0 h 288"/>
                <a:gd name="T28" fmla="*/ 254 w 353"/>
                <a:gd name="T29" fmla="*/ 17 h 288"/>
                <a:gd name="T30" fmla="*/ 258 w 353"/>
                <a:gd name="T31" fmla="*/ 45 h 288"/>
                <a:gd name="T32" fmla="*/ 214 w 353"/>
                <a:gd name="T33" fmla="*/ 87 h 288"/>
                <a:gd name="T34" fmla="*/ 171 w 353"/>
                <a:gd name="T35" fmla="*/ 73 h 288"/>
                <a:gd name="T36" fmla="*/ 155 w 353"/>
                <a:gd name="T37" fmla="*/ 87 h 288"/>
                <a:gd name="T38" fmla="*/ 119 w 353"/>
                <a:gd name="T39" fmla="*/ 98 h 288"/>
                <a:gd name="T40" fmla="*/ 68 w 353"/>
                <a:gd name="T41" fmla="*/ 94 h 288"/>
                <a:gd name="T42" fmla="*/ 28 w 353"/>
                <a:gd name="T43" fmla="*/ 70 h 288"/>
                <a:gd name="T44" fmla="*/ 0 w 353"/>
                <a:gd name="T45" fmla="*/ 126 h 288"/>
                <a:gd name="T46" fmla="*/ 8 w 353"/>
                <a:gd name="T47" fmla="*/ 130 h 288"/>
                <a:gd name="T48" fmla="*/ 3 w 353"/>
                <a:gd name="T49" fmla="*/ 140 h 288"/>
                <a:gd name="T50" fmla="*/ 31 w 353"/>
                <a:gd name="T51" fmla="*/ 154 h 288"/>
                <a:gd name="T52" fmla="*/ 35 w 353"/>
                <a:gd name="T53" fmla="*/ 159 h 288"/>
                <a:gd name="T54" fmla="*/ 56 w 353"/>
                <a:gd name="T55" fmla="*/ 180 h 288"/>
                <a:gd name="T56" fmla="*/ 70 w 353"/>
                <a:gd name="T57" fmla="*/ 189 h 288"/>
                <a:gd name="T58" fmla="*/ 72 w 353"/>
                <a:gd name="T59" fmla="*/ 203 h 288"/>
                <a:gd name="T60" fmla="*/ 81 w 353"/>
                <a:gd name="T61" fmla="*/ 210 h 288"/>
                <a:gd name="T62" fmla="*/ 95 w 353"/>
                <a:gd name="T63" fmla="*/ 224 h 288"/>
                <a:gd name="T64" fmla="*/ 102 w 353"/>
                <a:gd name="T65" fmla="*/ 241 h 288"/>
                <a:gd name="T66" fmla="*/ 111 w 353"/>
                <a:gd name="T67" fmla="*/ 253 h 288"/>
                <a:gd name="T68" fmla="*/ 140 w 353"/>
                <a:gd name="T69" fmla="*/ 253 h 288"/>
                <a:gd name="T70" fmla="*/ 161 w 353"/>
                <a:gd name="T71" fmla="*/ 250 h 288"/>
                <a:gd name="T72" fmla="*/ 170 w 353"/>
                <a:gd name="T73" fmla="*/ 253 h 288"/>
                <a:gd name="T74" fmla="*/ 179 w 353"/>
                <a:gd name="T75" fmla="*/ 267 h 288"/>
                <a:gd name="T76" fmla="*/ 193 w 353"/>
                <a:gd name="T77" fmla="*/ 274 h 288"/>
                <a:gd name="T78" fmla="*/ 200 w 353"/>
                <a:gd name="T79" fmla="*/ 281 h 288"/>
                <a:gd name="T80" fmla="*/ 207 w 353"/>
                <a:gd name="T81" fmla="*/ 281 h 288"/>
                <a:gd name="T82" fmla="*/ 223 w 353"/>
                <a:gd name="T83" fmla="*/ 281 h 288"/>
                <a:gd name="T84" fmla="*/ 232 w 353"/>
                <a:gd name="T85" fmla="*/ 283 h 288"/>
                <a:gd name="T86" fmla="*/ 241 w 353"/>
                <a:gd name="T87" fmla="*/ 283 h 288"/>
                <a:gd name="T88" fmla="*/ 254 w 353"/>
                <a:gd name="T89" fmla="*/ 276 h 288"/>
                <a:gd name="T90" fmla="*/ 270 w 353"/>
                <a:gd name="T91" fmla="*/ 276 h 288"/>
                <a:gd name="T92" fmla="*/ 293 w 353"/>
                <a:gd name="T93" fmla="*/ 264 h 288"/>
                <a:gd name="T94" fmla="*/ 353 w 353"/>
                <a:gd name="T95" fmla="*/ 253 h 288"/>
                <a:gd name="T96" fmla="*/ 350 w 353"/>
                <a:gd name="T97" fmla="*/ 22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3" h="288">
                  <a:moveTo>
                    <a:pt x="350" y="229"/>
                  </a:moveTo>
                  <a:cubicBezTo>
                    <a:pt x="339" y="227"/>
                    <a:pt x="339" y="227"/>
                    <a:pt x="339" y="227"/>
                  </a:cubicBezTo>
                  <a:cubicBezTo>
                    <a:pt x="332" y="229"/>
                    <a:pt x="332" y="229"/>
                    <a:pt x="332" y="229"/>
                  </a:cubicBezTo>
                  <a:cubicBezTo>
                    <a:pt x="332" y="227"/>
                    <a:pt x="332" y="227"/>
                    <a:pt x="332" y="227"/>
                  </a:cubicBezTo>
                  <a:cubicBezTo>
                    <a:pt x="328" y="220"/>
                    <a:pt x="328" y="220"/>
                    <a:pt x="328" y="220"/>
                  </a:cubicBezTo>
                  <a:cubicBezTo>
                    <a:pt x="323" y="210"/>
                    <a:pt x="323" y="210"/>
                    <a:pt x="323" y="210"/>
                  </a:cubicBezTo>
                  <a:cubicBezTo>
                    <a:pt x="316" y="189"/>
                    <a:pt x="316" y="189"/>
                    <a:pt x="316" y="189"/>
                  </a:cubicBezTo>
                  <a:cubicBezTo>
                    <a:pt x="309" y="187"/>
                    <a:pt x="309" y="187"/>
                    <a:pt x="309" y="187"/>
                  </a:cubicBezTo>
                  <a:cubicBezTo>
                    <a:pt x="307" y="182"/>
                    <a:pt x="307" y="182"/>
                    <a:pt x="307" y="182"/>
                  </a:cubicBezTo>
                  <a:cubicBezTo>
                    <a:pt x="300" y="180"/>
                    <a:pt x="300" y="180"/>
                    <a:pt x="300" y="180"/>
                  </a:cubicBezTo>
                  <a:cubicBezTo>
                    <a:pt x="291" y="163"/>
                    <a:pt x="291" y="163"/>
                    <a:pt x="291" y="163"/>
                  </a:cubicBezTo>
                  <a:cubicBezTo>
                    <a:pt x="277" y="156"/>
                    <a:pt x="277" y="156"/>
                    <a:pt x="277" y="156"/>
                  </a:cubicBezTo>
                  <a:cubicBezTo>
                    <a:pt x="264" y="156"/>
                    <a:pt x="264" y="156"/>
                    <a:pt x="264" y="156"/>
                  </a:cubicBezTo>
                  <a:cubicBezTo>
                    <a:pt x="264" y="149"/>
                    <a:pt x="264" y="149"/>
                    <a:pt x="264" y="149"/>
                  </a:cubicBezTo>
                  <a:cubicBezTo>
                    <a:pt x="270" y="142"/>
                    <a:pt x="270" y="142"/>
                    <a:pt x="270" y="142"/>
                  </a:cubicBezTo>
                  <a:cubicBezTo>
                    <a:pt x="270" y="135"/>
                    <a:pt x="270" y="135"/>
                    <a:pt x="270" y="135"/>
                  </a:cubicBezTo>
                  <a:cubicBezTo>
                    <a:pt x="284" y="133"/>
                    <a:pt x="284" y="133"/>
                    <a:pt x="284" y="133"/>
                  </a:cubicBezTo>
                  <a:cubicBezTo>
                    <a:pt x="286" y="135"/>
                    <a:pt x="286" y="135"/>
                    <a:pt x="286" y="135"/>
                  </a:cubicBezTo>
                  <a:cubicBezTo>
                    <a:pt x="298" y="130"/>
                    <a:pt x="298" y="130"/>
                    <a:pt x="298" y="130"/>
                  </a:cubicBezTo>
                  <a:cubicBezTo>
                    <a:pt x="298" y="102"/>
                    <a:pt x="298" y="102"/>
                    <a:pt x="298" y="102"/>
                  </a:cubicBezTo>
                  <a:cubicBezTo>
                    <a:pt x="305" y="79"/>
                    <a:pt x="305" y="79"/>
                    <a:pt x="305" y="79"/>
                  </a:cubicBezTo>
                  <a:cubicBezTo>
                    <a:pt x="305" y="69"/>
                    <a:pt x="305" y="69"/>
                    <a:pt x="305" y="69"/>
                  </a:cubicBezTo>
                  <a:cubicBezTo>
                    <a:pt x="308" y="66"/>
                    <a:pt x="308" y="66"/>
                    <a:pt x="308" y="66"/>
                  </a:cubicBezTo>
                  <a:cubicBezTo>
                    <a:pt x="305" y="67"/>
                    <a:pt x="305" y="67"/>
                    <a:pt x="305" y="67"/>
                  </a:cubicBezTo>
                  <a:cubicBezTo>
                    <a:pt x="305" y="66"/>
                    <a:pt x="305" y="66"/>
                    <a:pt x="305" y="66"/>
                  </a:cubicBezTo>
                  <a:cubicBezTo>
                    <a:pt x="285" y="63"/>
                    <a:pt x="285" y="63"/>
                    <a:pt x="285" y="63"/>
                  </a:cubicBezTo>
                  <a:cubicBezTo>
                    <a:pt x="285" y="0"/>
                    <a:pt x="285" y="0"/>
                    <a:pt x="285" y="0"/>
                  </a:cubicBezTo>
                  <a:cubicBezTo>
                    <a:pt x="270" y="0"/>
                    <a:pt x="270" y="0"/>
                    <a:pt x="270" y="0"/>
                  </a:cubicBezTo>
                  <a:cubicBezTo>
                    <a:pt x="270" y="14"/>
                    <a:pt x="270" y="14"/>
                    <a:pt x="270" y="14"/>
                  </a:cubicBezTo>
                  <a:cubicBezTo>
                    <a:pt x="254" y="17"/>
                    <a:pt x="254" y="17"/>
                    <a:pt x="254" y="17"/>
                  </a:cubicBezTo>
                  <a:cubicBezTo>
                    <a:pt x="258" y="17"/>
                    <a:pt x="258" y="17"/>
                    <a:pt x="258" y="17"/>
                  </a:cubicBezTo>
                  <a:cubicBezTo>
                    <a:pt x="258" y="45"/>
                    <a:pt x="258" y="45"/>
                    <a:pt x="258" y="45"/>
                  </a:cubicBezTo>
                  <a:cubicBezTo>
                    <a:pt x="222" y="87"/>
                    <a:pt x="222" y="87"/>
                    <a:pt x="222" y="87"/>
                  </a:cubicBezTo>
                  <a:cubicBezTo>
                    <a:pt x="214" y="87"/>
                    <a:pt x="214" y="87"/>
                    <a:pt x="214" y="87"/>
                  </a:cubicBezTo>
                  <a:cubicBezTo>
                    <a:pt x="190" y="66"/>
                    <a:pt x="190" y="66"/>
                    <a:pt x="190" y="66"/>
                  </a:cubicBezTo>
                  <a:cubicBezTo>
                    <a:pt x="171" y="73"/>
                    <a:pt x="171" y="73"/>
                    <a:pt x="171" y="73"/>
                  </a:cubicBezTo>
                  <a:cubicBezTo>
                    <a:pt x="171" y="87"/>
                    <a:pt x="171" y="87"/>
                    <a:pt x="171" y="87"/>
                  </a:cubicBezTo>
                  <a:cubicBezTo>
                    <a:pt x="155" y="87"/>
                    <a:pt x="155" y="87"/>
                    <a:pt x="155" y="87"/>
                  </a:cubicBezTo>
                  <a:cubicBezTo>
                    <a:pt x="143" y="98"/>
                    <a:pt x="143" y="98"/>
                    <a:pt x="143" y="98"/>
                  </a:cubicBezTo>
                  <a:cubicBezTo>
                    <a:pt x="119" y="98"/>
                    <a:pt x="119" y="98"/>
                    <a:pt x="119" y="98"/>
                  </a:cubicBezTo>
                  <a:cubicBezTo>
                    <a:pt x="119" y="87"/>
                    <a:pt x="119" y="87"/>
                    <a:pt x="119" y="87"/>
                  </a:cubicBezTo>
                  <a:cubicBezTo>
                    <a:pt x="68" y="94"/>
                    <a:pt x="68" y="94"/>
                    <a:pt x="68" y="94"/>
                  </a:cubicBezTo>
                  <a:cubicBezTo>
                    <a:pt x="52" y="73"/>
                    <a:pt x="52" y="73"/>
                    <a:pt x="52" y="73"/>
                  </a:cubicBezTo>
                  <a:cubicBezTo>
                    <a:pt x="28" y="70"/>
                    <a:pt x="28" y="70"/>
                    <a:pt x="28" y="70"/>
                  </a:cubicBezTo>
                  <a:cubicBezTo>
                    <a:pt x="0" y="126"/>
                    <a:pt x="0" y="126"/>
                    <a:pt x="0" y="126"/>
                  </a:cubicBezTo>
                  <a:cubicBezTo>
                    <a:pt x="0" y="126"/>
                    <a:pt x="0" y="126"/>
                    <a:pt x="0" y="126"/>
                  </a:cubicBezTo>
                  <a:cubicBezTo>
                    <a:pt x="3" y="126"/>
                    <a:pt x="3" y="126"/>
                    <a:pt x="3" y="126"/>
                  </a:cubicBezTo>
                  <a:cubicBezTo>
                    <a:pt x="8" y="130"/>
                    <a:pt x="8" y="130"/>
                    <a:pt x="8" y="130"/>
                  </a:cubicBezTo>
                  <a:cubicBezTo>
                    <a:pt x="3" y="133"/>
                    <a:pt x="3" y="133"/>
                    <a:pt x="3" y="133"/>
                  </a:cubicBezTo>
                  <a:cubicBezTo>
                    <a:pt x="3" y="140"/>
                    <a:pt x="3" y="140"/>
                    <a:pt x="3" y="140"/>
                  </a:cubicBezTo>
                  <a:cubicBezTo>
                    <a:pt x="19" y="142"/>
                    <a:pt x="19" y="142"/>
                    <a:pt x="19" y="142"/>
                  </a:cubicBezTo>
                  <a:cubicBezTo>
                    <a:pt x="31" y="154"/>
                    <a:pt x="31" y="154"/>
                    <a:pt x="31" y="154"/>
                  </a:cubicBezTo>
                  <a:cubicBezTo>
                    <a:pt x="35" y="154"/>
                    <a:pt x="35" y="154"/>
                    <a:pt x="35" y="154"/>
                  </a:cubicBezTo>
                  <a:cubicBezTo>
                    <a:pt x="35" y="159"/>
                    <a:pt x="35" y="159"/>
                    <a:pt x="35" y="159"/>
                  </a:cubicBezTo>
                  <a:cubicBezTo>
                    <a:pt x="33" y="163"/>
                    <a:pt x="33" y="163"/>
                    <a:pt x="33" y="163"/>
                  </a:cubicBezTo>
                  <a:cubicBezTo>
                    <a:pt x="56" y="180"/>
                    <a:pt x="56" y="180"/>
                    <a:pt x="56" y="180"/>
                  </a:cubicBezTo>
                  <a:cubicBezTo>
                    <a:pt x="58" y="182"/>
                    <a:pt x="58" y="182"/>
                    <a:pt x="58" y="182"/>
                  </a:cubicBezTo>
                  <a:cubicBezTo>
                    <a:pt x="70" y="189"/>
                    <a:pt x="70" y="189"/>
                    <a:pt x="70" y="189"/>
                  </a:cubicBezTo>
                  <a:cubicBezTo>
                    <a:pt x="65" y="196"/>
                    <a:pt x="65" y="196"/>
                    <a:pt x="65" y="196"/>
                  </a:cubicBezTo>
                  <a:cubicBezTo>
                    <a:pt x="72" y="203"/>
                    <a:pt x="72" y="203"/>
                    <a:pt x="72" y="203"/>
                  </a:cubicBezTo>
                  <a:cubicBezTo>
                    <a:pt x="70" y="206"/>
                    <a:pt x="70" y="206"/>
                    <a:pt x="70" y="206"/>
                  </a:cubicBezTo>
                  <a:cubicBezTo>
                    <a:pt x="81" y="210"/>
                    <a:pt x="81" y="210"/>
                    <a:pt x="81" y="210"/>
                  </a:cubicBezTo>
                  <a:cubicBezTo>
                    <a:pt x="92" y="217"/>
                    <a:pt x="92" y="217"/>
                    <a:pt x="92" y="217"/>
                  </a:cubicBezTo>
                  <a:cubicBezTo>
                    <a:pt x="95" y="224"/>
                    <a:pt x="95" y="224"/>
                    <a:pt x="95" y="224"/>
                  </a:cubicBezTo>
                  <a:cubicBezTo>
                    <a:pt x="95" y="229"/>
                    <a:pt x="95" y="229"/>
                    <a:pt x="95" y="229"/>
                  </a:cubicBezTo>
                  <a:cubicBezTo>
                    <a:pt x="102" y="241"/>
                    <a:pt x="102" y="241"/>
                    <a:pt x="102" y="241"/>
                  </a:cubicBezTo>
                  <a:cubicBezTo>
                    <a:pt x="108" y="248"/>
                    <a:pt x="108" y="248"/>
                    <a:pt x="108" y="248"/>
                  </a:cubicBezTo>
                  <a:cubicBezTo>
                    <a:pt x="111" y="253"/>
                    <a:pt x="111" y="253"/>
                    <a:pt x="111" y="253"/>
                  </a:cubicBezTo>
                  <a:cubicBezTo>
                    <a:pt x="127" y="264"/>
                    <a:pt x="127" y="264"/>
                    <a:pt x="127" y="264"/>
                  </a:cubicBezTo>
                  <a:cubicBezTo>
                    <a:pt x="140" y="253"/>
                    <a:pt x="140" y="253"/>
                    <a:pt x="140" y="253"/>
                  </a:cubicBezTo>
                  <a:cubicBezTo>
                    <a:pt x="154" y="260"/>
                    <a:pt x="154" y="260"/>
                    <a:pt x="154" y="260"/>
                  </a:cubicBezTo>
                  <a:cubicBezTo>
                    <a:pt x="161" y="250"/>
                    <a:pt x="161" y="250"/>
                    <a:pt x="161" y="250"/>
                  </a:cubicBezTo>
                  <a:cubicBezTo>
                    <a:pt x="163" y="250"/>
                    <a:pt x="163" y="250"/>
                    <a:pt x="163" y="250"/>
                  </a:cubicBezTo>
                  <a:cubicBezTo>
                    <a:pt x="170" y="253"/>
                    <a:pt x="170" y="253"/>
                    <a:pt x="170" y="253"/>
                  </a:cubicBezTo>
                  <a:cubicBezTo>
                    <a:pt x="170" y="260"/>
                    <a:pt x="170" y="260"/>
                    <a:pt x="170" y="260"/>
                  </a:cubicBezTo>
                  <a:cubicBezTo>
                    <a:pt x="179" y="267"/>
                    <a:pt x="179" y="267"/>
                    <a:pt x="179" y="267"/>
                  </a:cubicBezTo>
                  <a:cubicBezTo>
                    <a:pt x="184" y="274"/>
                    <a:pt x="184" y="274"/>
                    <a:pt x="184" y="274"/>
                  </a:cubicBezTo>
                  <a:cubicBezTo>
                    <a:pt x="193" y="274"/>
                    <a:pt x="193" y="274"/>
                    <a:pt x="193" y="274"/>
                  </a:cubicBezTo>
                  <a:cubicBezTo>
                    <a:pt x="193" y="283"/>
                    <a:pt x="193" y="283"/>
                    <a:pt x="193" y="283"/>
                  </a:cubicBezTo>
                  <a:cubicBezTo>
                    <a:pt x="200" y="281"/>
                    <a:pt x="200" y="281"/>
                    <a:pt x="200" y="281"/>
                  </a:cubicBezTo>
                  <a:cubicBezTo>
                    <a:pt x="202" y="288"/>
                    <a:pt x="202" y="288"/>
                    <a:pt x="202" y="288"/>
                  </a:cubicBezTo>
                  <a:cubicBezTo>
                    <a:pt x="207" y="281"/>
                    <a:pt x="207" y="281"/>
                    <a:pt x="207" y="281"/>
                  </a:cubicBezTo>
                  <a:cubicBezTo>
                    <a:pt x="209" y="276"/>
                    <a:pt x="209" y="276"/>
                    <a:pt x="209" y="276"/>
                  </a:cubicBezTo>
                  <a:cubicBezTo>
                    <a:pt x="223" y="281"/>
                    <a:pt x="223" y="281"/>
                    <a:pt x="223" y="281"/>
                  </a:cubicBezTo>
                  <a:cubicBezTo>
                    <a:pt x="229" y="276"/>
                    <a:pt x="229" y="276"/>
                    <a:pt x="229" y="276"/>
                  </a:cubicBezTo>
                  <a:cubicBezTo>
                    <a:pt x="232" y="283"/>
                    <a:pt x="232" y="283"/>
                    <a:pt x="232" y="283"/>
                  </a:cubicBezTo>
                  <a:cubicBezTo>
                    <a:pt x="241" y="288"/>
                    <a:pt x="241" y="288"/>
                    <a:pt x="241" y="288"/>
                  </a:cubicBezTo>
                  <a:cubicBezTo>
                    <a:pt x="241" y="283"/>
                    <a:pt x="241" y="283"/>
                    <a:pt x="241" y="283"/>
                  </a:cubicBezTo>
                  <a:cubicBezTo>
                    <a:pt x="248" y="281"/>
                    <a:pt x="248" y="281"/>
                    <a:pt x="248" y="281"/>
                  </a:cubicBezTo>
                  <a:cubicBezTo>
                    <a:pt x="254" y="276"/>
                    <a:pt x="254" y="276"/>
                    <a:pt x="254" y="276"/>
                  </a:cubicBezTo>
                  <a:cubicBezTo>
                    <a:pt x="264" y="274"/>
                    <a:pt x="264" y="274"/>
                    <a:pt x="264" y="274"/>
                  </a:cubicBezTo>
                  <a:cubicBezTo>
                    <a:pt x="270" y="276"/>
                    <a:pt x="270" y="276"/>
                    <a:pt x="270" y="276"/>
                  </a:cubicBezTo>
                  <a:cubicBezTo>
                    <a:pt x="282" y="276"/>
                    <a:pt x="282" y="276"/>
                    <a:pt x="282" y="276"/>
                  </a:cubicBezTo>
                  <a:cubicBezTo>
                    <a:pt x="293" y="264"/>
                    <a:pt x="293" y="264"/>
                    <a:pt x="293" y="264"/>
                  </a:cubicBezTo>
                  <a:cubicBezTo>
                    <a:pt x="307" y="253"/>
                    <a:pt x="307" y="253"/>
                    <a:pt x="307" y="253"/>
                  </a:cubicBezTo>
                  <a:cubicBezTo>
                    <a:pt x="353" y="253"/>
                    <a:pt x="353" y="253"/>
                    <a:pt x="353" y="253"/>
                  </a:cubicBezTo>
                  <a:cubicBezTo>
                    <a:pt x="346" y="248"/>
                    <a:pt x="346" y="248"/>
                    <a:pt x="346" y="248"/>
                  </a:cubicBezTo>
                  <a:lnTo>
                    <a:pt x="350" y="22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dirty="0"/>
            </a:p>
          </p:txBody>
        </p:sp>
      </p:grpSp>
    </p:spTree>
    <p:custDataLst>
      <p:tags r:id="rId1"/>
    </p:custDataLst>
    <p:extLst>
      <p:ext uri="{BB962C8B-B14F-4D97-AF65-F5344CB8AC3E}">
        <p14:creationId xmlns:p14="http://schemas.microsoft.com/office/powerpoint/2010/main" val="1598473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1933315" name="Objekt 1933314" hidden="1">
            <a:extLst>
              <a:ext uri="{FF2B5EF4-FFF2-40B4-BE49-F238E27FC236}">
                <a16:creationId xmlns:a16="http://schemas.microsoft.com/office/drawing/2014/main" id="{750113A5-31E3-4B48-9BF8-DEF1D4C42ABA}"/>
              </a:ext>
            </a:extLst>
          </p:cNvPr>
          <p:cNvGraphicFramePr>
            <a:graphicFrameLocks noChangeAspect="1"/>
          </p:cNvGraphicFramePr>
          <p:nvPr>
            <p:custDataLst>
              <p:tags r:id="rId2"/>
            </p:custDataLst>
            <p:extLst>
              <p:ext uri="{D42A27DB-BD31-4B8C-83A1-F6EECF244321}">
                <p14:modId xmlns:p14="http://schemas.microsoft.com/office/powerpoint/2010/main" val="3969381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933315" name="Objekt 1933314" hidden="1">
                        <a:extLst>
                          <a:ext uri="{FF2B5EF4-FFF2-40B4-BE49-F238E27FC236}">
                            <a16:creationId xmlns:a16="http://schemas.microsoft.com/office/drawing/2014/main" id="{750113A5-31E3-4B48-9BF8-DEF1D4C42AB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933313" name="Rechteck 1933312" hidden="1">
            <a:extLst>
              <a:ext uri="{FF2B5EF4-FFF2-40B4-BE49-F238E27FC236}">
                <a16:creationId xmlns:a16="http://schemas.microsoft.com/office/drawing/2014/main" id="{F004A4BD-5F01-464A-B1D5-76402C9D503F}"/>
              </a:ext>
            </a:extLst>
          </p:cNvPr>
          <p:cNvSpPr/>
          <p:nvPr>
            <p:custDataLst>
              <p:tags r:id="rId3"/>
            </p:custDataLst>
          </p:nvPr>
        </p:nvSpPr>
        <p:spPr bwMode="gray">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e-DE" sz="3000" dirty="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sym typeface="Open Sans Extrabold" panose="020B0906030804020204" pitchFamily="34" charset="0"/>
            </a:endParaRPr>
          </a:p>
        </p:txBody>
      </p:sp>
      <p:sp>
        <p:nvSpPr>
          <p:cNvPr id="4" name="Titel 3"/>
          <p:cNvSpPr>
            <a:spLocks noGrp="1"/>
          </p:cNvSpPr>
          <p:nvPr>
            <p:ph type="title"/>
            <p:custDataLst>
              <p:tags r:id="rId4"/>
            </p:custDataLst>
          </p:nvPr>
        </p:nvSpPr>
        <p:spPr bwMode="gray"/>
        <p:txBody>
          <a:bodyPr vert="horz"/>
          <a:lstStyle/>
          <a:p>
            <a:r>
              <a:rPr lang="de-DE" dirty="0"/>
              <a:t>Karte: Welt (flach mit Ländergrenzen)</a:t>
            </a:r>
          </a:p>
        </p:txBody>
      </p:sp>
      <p:sp>
        <p:nvSpPr>
          <p:cNvPr id="2" name="Datumsplatzhalter 1">
            <a:extLst>
              <a:ext uri="{FF2B5EF4-FFF2-40B4-BE49-F238E27FC236}">
                <a16:creationId xmlns:a16="http://schemas.microsoft.com/office/drawing/2014/main" id="{B36BA0E3-F35A-44A5-92A3-7B01D3FA944A}"/>
              </a:ext>
            </a:extLst>
          </p:cNvPr>
          <p:cNvSpPr>
            <a:spLocks noGrp="1"/>
          </p:cNvSpPr>
          <p:nvPr>
            <p:ph type="dt" sz="half" idx="10"/>
          </p:nvPr>
        </p:nvSpPr>
        <p:spPr bwMode="gray"/>
        <p:txBody>
          <a:bodyPr/>
          <a:lstStyle/>
          <a:p>
            <a:fld id="{E3A3D024-FF08-4AC9-B63E-351EC561C561}" type="datetime1">
              <a:rPr lang="de-DE" smtClean="0"/>
              <a:t>29.09.25</a:t>
            </a:fld>
            <a:endParaRPr lang="de-DE" dirty="0"/>
          </a:p>
        </p:txBody>
      </p:sp>
      <p:sp>
        <p:nvSpPr>
          <p:cNvPr id="3" name="Fußzeilenplatzhalter 2">
            <a:extLst>
              <a:ext uri="{FF2B5EF4-FFF2-40B4-BE49-F238E27FC236}">
                <a16:creationId xmlns:a16="http://schemas.microsoft.com/office/drawing/2014/main" id="{0E01E921-9D71-446B-A2A2-0F7199DD5843}"/>
              </a:ext>
            </a:extLst>
          </p:cNvPr>
          <p:cNvSpPr>
            <a:spLocks noGrp="1"/>
          </p:cNvSpPr>
          <p:nvPr>
            <p:ph type="ftr" sz="quarter" idx="11"/>
          </p:nvPr>
        </p:nvSpPr>
        <p:spPr bwMode="gray"/>
        <p:txBody>
          <a:bodyPr/>
          <a:lstStyle/>
          <a:p>
            <a:r>
              <a:rPr lang="de-DE" dirty="0"/>
              <a:t>TITEL DER PRÄSENTATION | TITEL VORNAME NAME</a:t>
            </a:r>
          </a:p>
        </p:txBody>
      </p:sp>
      <p:sp>
        <p:nvSpPr>
          <p:cNvPr id="1933312" name="Foliennummernplatzhalter 1933311">
            <a:extLst>
              <a:ext uri="{FF2B5EF4-FFF2-40B4-BE49-F238E27FC236}">
                <a16:creationId xmlns:a16="http://schemas.microsoft.com/office/drawing/2014/main" id="{4B2D8CE6-4463-4996-900E-DFC115FA136B}"/>
              </a:ext>
            </a:extLst>
          </p:cNvPr>
          <p:cNvSpPr>
            <a:spLocks noGrp="1"/>
          </p:cNvSpPr>
          <p:nvPr>
            <p:ph type="sldNum" sz="quarter" idx="12"/>
          </p:nvPr>
        </p:nvSpPr>
        <p:spPr bwMode="gray"/>
        <p:txBody>
          <a:bodyPr/>
          <a:lstStyle/>
          <a:p>
            <a:fld id="{09E9C37E-8A19-4E30-BE2B-5A966AD23C7A}" type="slidenum">
              <a:rPr lang="de-DE" smtClean="0"/>
              <a:pPr/>
              <a:t>85</a:t>
            </a:fld>
            <a:endParaRPr lang="de-DE" dirty="0"/>
          </a:p>
        </p:txBody>
      </p:sp>
      <p:grpSp>
        <p:nvGrpSpPr>
          <p:cNvPr id="5" name="Gruppieren 4">
            <a:extLst>
              <a:ext uri="{FF2B5EF4-FFF2-40B4-BE49-F238E27FC236}">
                <a16:creationId xmlns:a16="http://schemas.microsoft.com/office/drawing/2014/main" id="{6BC83991-A674-4290-9C02-5C96F47A5DB5}"/>
              </a:ext>
            </a:extLst>
          </p:cNvPr>
          <p:cNvGrpSpPr>
            <a:grpSpLocks noChangeAspect="1"/>
          </p:cNvGrpSpPr>
          <p:nvPr>
            <p:custDataLst>
              <p:tags r:id="rId5"/>
            </p:custDataLst>
          </p:nvPr>
        </p:nvGrpSpPr>
        <p:grpSpPr bwMode="gray">
          <a:xfrm>
            <a:off x="2223201" y="1989000"/>
            <a:ext cx="7745598" cy="3888000"/>
            <a:chOff x="9612700" y="1433192"/>
            <a:chExt cx="8496948" cy="4264675"/>
          </a:xfrm>
          <a:solidFill>
            <a:schemeClr val="bg1"/>
          </a:solidFill>
        </p:grpSpPr>
        <p:sp>
          <p:nvSpPr>
            <p:cNvPr id="6" name="Freeform 473">
              <a:extLst>
                <a:ext uri="{FF2B5EF4-FFF2-40B4-BE49-F238E27FC236}">
                  <a16:creationId xmlns:a16="http://schemas.microsoft.com/office/drawing/2014/main" id="{2B3C8FC1-1442-46C9-9AEF-8957B6D81FA0}"/>
                </a:ext>
              </a:extLst>
            </p:cNvPr>
            <p:cNvSpPr>
              <a:spLocks noEditPoints="1"/>
            </p:cNvSpPr>
            <p:nvPr/>
          </p:nvSpPr>
          <p:spPr bwMode="gray">
            <a:xfrm>
              <a:off x="13895049" y="2915518"/>
              <a:ext cx="273947" cy="294567"/>
            </a:xfrm>
            <a:custGeom>
              <a:avLst/>
              <a:gdLst>
                <a:gd name="T0" fmla="*/ 81 w 837"/>
                <a:gd name="T1" fmla="*/ 259 h 900"/>
                <a:gd name="T2" fmla="*/ 34 w 837"/>
                <a:gd name="T3" fmla="*/ 193 h 900"/>
                <a:gd name="T4" fmla="*/ 43 w 837"/>
                <a:gd name="T5" fmla="*/ 148 h 900"/>
                <a:gd name="T6" fmla="*/ 81 w 837"/>
                <a:gd name="T7" fmla="*/ 99 h 900"/>
                <a:gd name="T8" fmla="*/ 135 w 837"/>
                <a:gd name="T9" fmla="*/ 54 h 900"/>
                <a:gd name="T10" fmla="*/ 173 w 837"/>
                <a:gd name="T11" fmla="*/ 111 h 900"/>
                <a:gd name="T12" fmla="*/ 189 w 837"/>
                <a:gd name="T13" fmla="*/ 54 h 900"/>
                <a:gd name="T14" fmla="*/ 248 w 837"/>
                <a:gd name="T15" fmla="*/ 75 h 900"/>
                <a:gd name="T16" fmla="*/ 260 w 837"/>
                <a:gd name="T17" fmla="*/ 37 h 900"/>
                <a:gd name="T18" fmla="*/ 324 w 837"/>
                <a:gd name="T19" fmla="*/ 4 h 900"/>
                <a:gd name="T20" fmla="*/ 411 w 837"/>
                <a:gd name="T21" fmla="*/ 26 h 900"/>
                <a:gd name="T22" fmla="*/ 497 w 837"/>
                <a:gd name="T23" fmla="*/ 75 h 900"/>
                <a:gd name="T24" fmla="*/ 520 w 837"/>
                <a:gd name="T25" fmla="*/ 127 h 900"/>
                <a:gd name="T26" fmla="*/ 482 w 837"/>
                <a:gd name="T27" fmla="*/ 127 h 900"/>
                <a:gd name="T28" fmla="*/ 459 w 837"/>
                <a:gd name="T29" fmla="*/ 127 h 900"/>
                <a:gd name="T30" fmla="*/ 395 w 837"/>
                <a:gd name="T31" fmla="*/ 165 h 900"/>
                <a:gd name="T32" fmla="*/ 411 w 837"/>
                <a:gd name="T33" fmla="*/ 203 h 900"/>
                <a:gd name="T34" fmla="*/ 428 w 837"/>
                <a:gd name="T35" fmla="*/ 276 h 900"/>
                <a:gd name="T36" fmla="*/ 605 w 837"/>
                <a:gd name="T37" fmla="*/ 458 h 900"/>
                <a:gd name="T38" fmla="*/ 660 w 837"/>
                <a:gd name="T39" fmla="*/ 496 h 900"/>
                <a:gd name="T40" fmla="*/ 806 w 837"/>
                <a:gd name="T41" fmla="*/ 623 h 900"/>
                <a:gd name="T42" fmla="*/ 730 w 837"/>
                <a:gd name="T43" fmla="*/ 585 h 900"/>
                <a:gd name="T44" fmla="*/ 747 w 837"/>
                <a:gd name="T45" fmla="*/ 668 h 900"/>
                <a:gd name="T46" fmla="*/ 702 w 837"/>
                <a:gd name="T47" fmla="*/ 751 h 900"/>
                <a:gd name="T48" fmla="*/ 638 w 837"/>
                <a:gd name="T49" fmla="*/ 789 h 900"/>
                <a:gd name="T50" fmla="*/ 648 w 837"/>
                <a:gd name="T51" fmla="*/ 734 h 900"/>
                <a:gd name="T52" fmla="*/ 664 w 837"/>
                <a:gd name="T53" fmla="*/ 668 h 900"/>
                <a:gd name="T54" fmla="*/ 589 w 837"/>
                <a:gd name="T55" fmla="*/ 595 h 900"/>
                <a:gd name="T56" fmla="*/ 551 w 837"/>
                <a:gd name="T57" fmla="*/ 552 h 900"/>
                <a:gd name="T58" fmla="*/ 449 w 837"/>
                <a:gd name="T59" fmla="*/ 512 h 900"/>
                <a:gd name="T60" fmla="*/ 374 w 837"/>
                <a:gd name="T61" fmla="*/ 441 h 900"/>
                <a:gd name="T62" fmla="*/ 319 w 837"/>
                <a:gd name="T63" fmla="*/ 404 h 900"/>
                <a:gd name="T64" fmla="*/ 260 w 837"/>
                <a:gd name="T65" fmla="*/ 292 h 900"/>
                <a:gd name="T66" fmla="*/ 135 w 837"/>
                <a:gd name="T67" fmla="*/ 248 h 900"/>
                <a:gd name="T68" fmla="*/ 67 w 837"/>
                <a:gd name="T69" fmla="*/ 292 h 900"/>
                <a:gd name="T70" fmla="*/ 411 w 837"/>
                <a:gd name="T71" fmla="*/ 276 h 900"/>
                <a:gd name="T72" fmla="*/ 248 w 837"/>
                <a:gd name="T73" fmla="*/ 375 h 900"/>
                <a:gd name="T74" fmla="*/ 270 w 837"/>
                <a:gd name="T75" fmla="*/ 387 h 900"/>
                <a:gd name="T76" fmla="*/ 142 w 837"/>
                <a:gd name="T77" fmla="*/ 541 h 900"/>
                <a:gd name="T78" fmla="*/ 206 w 837"/>
                <a:gd name="T79" fmla="*/ 541 h 900"/>
                <a:gd name="T80" fmla="*/ 218 w 837"/>
                <a:gd name="T81" fmla="*/ 611 h 900"/>
                <a:gd name="T82" fmla="*/ 163 w 837"/>
                <a:gd name="T83" fmla="*/ 706 h 900"/>
                <a:gd name="T84" fmla="*/ 126 w 837"/>
                <a:gd name="T85" fmla="*/ 696 h 900"/>
                <a:gd name="T86" fmla="*/ 135 w 837"/>
                <a:gd name="T87" fmla="*/ 640 h 900"/>
                <a:gd name="T88" fmla="*/ 119 w 837"/>
                <a:gd name="T89" fmla="*/ 569 h 900"/>
                <a:gd name="T90" fmla="*/ 109 w 837"/>
                <a:gd name="T91" fmla="*/ 569 h 900"/>
                <a:gd name="T92" fmla="*/ 513 w 837"/>
                <a:gd name="T93" fmla="*/ 557 h 900"/>
                <a:gd name="T94" fmla="*/ 119 w 837"/>
                <a:gd name="T95" fmla="*/ 685 h 900"/>
                <a:gd name="T96" fmla="*/ 119 w 837"/>
                <a:gd name="T97" fmla="*/ 696 h 900"/>
                <a:gd name="T98" fmla="*/ 445 w 837"/>
                <a:gd name="T99" fmla="*/ 779 h 900"/>
                <a:gd name="T100" fmla="*/ 482 w 837"/>
                <a:gd name="T101" fmla="*/ 779 h 900"/>
                <a:gd name="T102" fmla="*/ 596 w 837"/>
                <a:gd name="T103" fmla="*/ 772 h 900"/>
                <a:gd name="T104" fmla="*/ 596 w 837"/>
                <a:gd name="T105" fmla="*/ 829 h 900"/>
                <a:gd name="T106" fmla="*/ 558 w 837"/>
                <a:gd name="T107" fmla="*/ 890 h 900"/>
                <a:gd name="T108" fmla="*/ 428 w 837"/>
                <a:gd name="T109" fmla="*/ 817 h 900"/>
                <a:gd name="T110" fmla="*/ 378 w 837"/>
                <a:gd name="T111" fmla="*/ 890 h 900"/>
                <a:gd name="T112" fmla="*/ 378 w 837"/>
                <a:gd name="T113" fmla="*/ 89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7" h="900">
                  <a:moveTo>
                    <a:pt x="67" y="292"/>
                  </a:moveTo>
                  <a:lnTo>
                    <a:pt x="67" y="281"/>
                  </a:lnTo>
                  <a:lnTo>
                    <a:pt x="81" y="264"/>
                  </a:lnTo>
                  <a:lnTo>
                    <a:pt x="81" y="259"/>
                  </a:lnTo>
                  <a:lnTo>
                    <a:pt x="55" y="259"/>
                  </a:lnTo>
                  <a:lnTo>
                    <a:pt x="29" y="248"/>
                  </a:lnTo>
                  <a:lnTo>
                    <a:pt x="17" y="226"/>
                  </a:lnTo>
                  <a:lnTo>
                    <a:pt x="34" y="193"/>
                  </a:lnTo>
                  <a:lnTo>
                    <a:pt x="12" y="193"/>
                  </a:lnTo>
                  <a:lnTo>
                    <a:pt x="0" y="170"/>
                  </a:lnTo>
                  <a:lnTo>
                    <a:pt x="43" y="165"/>
                  </a:lnTo>
                  <a:lnTo>
                    <a:pt x="43" y="148"/>
                  </a:lnTo>
                  <a:lnTo>
                    <a:pt x="17" y="115"/>
                  </a:lnTo>
                  <a:lnTo>
                    <a:pt x="34" y="99"/>
                  </a:lnTo>
                  <a:lnTo>
                    <a:pt x="43" y="111"/>
                  </a:lnTo>
                  <a:lnTo>
                    <a:pt x="81" y="99"/>
                  </a:lnTo>
                  <a:lnTo>
                    <a:pt x="88" y="99"/>
                  </a:lnTo>
                  <a:lnTo>
                    <a:pt x="109" y="82"/>
                  </a:lnTo>
                  <a:lnTo>
                    <a:pt x="119" y="54"/>
                  </a:lnTo>
                  <a:lnTo>
                    <a:pt x="135" y="54"/>
                  </a:lnTo>
                  <a:lnTo>
                    <a:pt x="135" y="75"/>
                  </a:lnTo>
                  <a:lnTo>
                    <a:pt x="156" y="82"/>
                  </a:lnTo>
                  <a:lnTo>
                    <a:pt x="156" y="92"/>
                  </a:lnTo>
                  <a:lnTo>
                    <a:pt x="173" y="111"/>
                  </a:lnTo>
                  <a:lnTo>
                    <a:pt x="180" y="99"/>
                  </a:lnTo>
                  <a:lnTo>
                    <a:pt x="173" y="99"/>
                  </a:lnTo>
                  <a:lnTo>
                    <a:pt x="189" y="70"/>
                  </a:lnTo>
                  <a:lnTo>
                    <a:pt x="189" y="54"/>
                  </a:lnTo>
                  <a:lnTo>
                    <a:pt x="206" y="54"/>
                  </a:lnTo>
                  <a:lnTo>
                    <a:pt x="211" y="70"/>
                  </a:lnTo>
                  <a:lnTo>
                    <a:pt x="232" y="59"/>
                  </a:lnTo>
                  <a:lnTo>
                    <a:pt x="248" y="75"/>
                  </a:lnTo>
                  <a:lnTo>
                    <a:pt x="248" y="59"/>
                  </a:lnTo>
                  <a:lnTo>
                    <a:pt x="244" y="54"/>
                  </a:lnTo>
                  <a:lnTo>
                    <a:pt x="244" y="42"/>
                  </a:lnTo>
                  <a:lnTo>
                    <a:pt x="260" y="37"/>
                  </a:lnTo>
                  <a:lnTo>
                    <a:pt x="270" y="42"/>
                  </a:lnTo>
                  <a:lnTo>
                    <a:pt x="270" y="16"/>
                  </a:lnTo>
                  <a:lnTo>
                    <a:pt x="315" y="26"/>
                  </a:lnTo>
                  <a:lnTo>
                    <a:pt x="324" y="4"/>
                  </a:lnTo>
                  <a:lnTo>
                    <a:pt x="369" y="4"/>
                  </a:lnTo>
                  <a:lnTo>
                    <a:pt x="395" y="0"/>
                  </a:lnTo>
                  <a:lnTo>
                    <a:pt x="395" y="16"/>
                  </a:lnTo>
                  <a:lnTo>
                    <a:pt x="411" y="26"/>
                  </a:lnTo>
                  <a:lnTo>
                    <a:pt x="504" y="42"/>
                  </a:lnTo>
                  <a:lnTo>
                    <a:pt x="482" y="70"/>
                  </a:lnTo>
                  <a:lnTo>
                    <a:pt x="482" y="75"/>
                  </a:lnTo>
                  <a:lnTo>
                    <a:pt x="497" y="75"/>
                  </a:lnTo>
                  <a:lnTo>
                    <a:pt x="487" y="92"/>
                  </a:lnTo>
                  <a:lnTo>
                    <a:pt x="497" y="92"/>
                  </a:lnTo>
                  <a:lnTo>
                    <a:pt x="497" y="111"/>
                  </a:lnTo>
                  <a:lnTo>
                    <a:pt x="520" y="127"/>
                  </a:lnTo>
                  <a:lnTo>
                    <a:pt x="504" y="132"/>
                  </a:lnTo>
                  <a:lnTo>
                    <a:pt x="504" y="132"/>
                  </a:lnTo>
                  <a:lnTo>
                    <a:pt x="497" y="115"/>
                  </a:lnTo>
                  <a:lnTo>
                    <a:pt x="482" y="127"/>
                  </a:lnTo>
                  <a:lnTo>
                    <a:pt x="482" y="115"/>
                  </a:lnTo>
                  <a:lnTo>
                    <a:pt x="466" y="115"/>
                  </a:lnTo>
                  <a:lnTo>
                    <a:pt x="459" y="127"/>
                  </a:lnTo>
                  <a:lnTo>
                    <a:pt x="459" y="127"/>
                  </a:lnTo>
                  <a:lnTo>
                    <a:pt x="411" y="148"/>
                  </a:lnTo>
                  <a:lnTo>
                    <a:pt x="421" y="132"/>
                  </a:lnTo>
                  <a:lnTo>
                    <a:pt x="407" y="137"/>
                  </a:lnTo>
                  <a:lnTo>
                    <a:pt x="395" y="165"/>
                  </a:lnTo>
                  <a:lnTo>
                    <a:pt x="421" y="186"/>
                  </a:lnTo>
                  <a:lnTo>
                    <a:pt x="411" y="203"/>
                  </a:lnTo>
                  <a:lnTo>
                    <a:pt x="411" y="193"/>
                  </a:lnTo>
                  <a:lnTo>
                    <a:pt x="411" y="203"/>
                  </a:lnTo>
                  <a:lnTo>
                    <a:pt x="407" y="193"/>
                  </a:lnTo>
                  <a:lnTo>
                    <a:pt x="395" y="210"/>
                  </a:lnTo>
                  <a:lnTo>
                    <a:pt x="407" y="248"/>
                  </a:lnTo>
                  <a:lnTo>
                    <a:pt x="428" y="276"/>
                  </a:lnTo>
                  <a:lnTo>
                    <a:pt x="497" y="314"/>
                  </a:lnTo>
                  <a:lnTo>
                    <a:pt x="520" y="392"/>
                  </a:lnTo>
                  <a:lnTo>
                    <a:pt x="572" y="441"/>
                  </a:lnTo>
                  <a:lnTo>
                    <a:pt x="605" y="458"/>
                  </a:lnTo>
                  <a:lnTo>
                    <a:pt x="676" y="458"/>
                  </a:lnTo>
                  <a:lnTo>
                    <a:pt x="676" y="463"/>
                  </a:lnTo>
                  <a:lnTo>
                    <a:pt x="660" y="479"/>
                  </a:lnTo>
                  <a:lnTo>
                    <a:pt x="660" y="496"/>
                  </a:lnTo>
                  <a:lnTo>
                    <a:pt x="806" y="569"/>
                  </a:lnTo>
                  <a:lnTo>
                    <a:pt x="837" y="607"/>
                  </a:lnTo>
                  <a:lnTo>
                    <a:pt x="827" y="640"/>
                  </a:lnTo>
                  <a:lnTo>
                    <a:pt x="806" y="623"/>
                  </a:lnTo>
                  <a:lnTo>
                    <a:pt x="789" y="590"/>
                  </a:lnTo>
                  <a:lnTo>
                    <a:pt x="747" y="585"/>
                  </a:lnTo>
                  <a:lnTo>
                    <a:pt x="752" y="574"/>
                  </a:lnTo>
                  <a:lnTo>
                    <a:pt x="730" y="585"/>
                  </a:lnTo>
                  <a:lnTo>
                    <a:pt x="702" y="611"/>
                  </a:lnTo>
                  <a:lnTo>
                    <a:pt x="697" y="640"/>
                  </a:lnTo>
                  <a:lnTo>
                    <a:pt x="697" y="647"/>
                  </a:lnTo>
                  <a:lnTo>
                    <a:pt x="747" y="668"/>
                  </a:lnTo>
                  <a:lnTo>
                    <a:pt x="747" y="701"/>
                  </a:lnTo>
                  <a:lnTo>
                    <a:pt x="702" y="718"/>
                  </a:lnTo>
                  <a:lnTo>
                    <a:pt x="697" y="722"/>
                  </a:lnTo>
                  <a:lnTo>
                    <a:pt x="702" y="751"/>
                  </a:lnTo>
                  <a:lnTo>
                    <a:pt x="676" y="772"/>
                  </a:lnTo>
                  <a:lnTo>
                    <a:pt x="664" y="789"/>
                  </a:lnTo>
                  <a:lnTo>
                    <a:pt x="643" y="796"/>
                  </a:lnTo>
                  <a:lnTo>
                    <a:pt x="638" y="789"/>
                  </a:lnTo>
                  <a:lnTo>
                    <a:pt x="638" y="763"/>
                  </a:lnTo>
                  <a:lnTo>
                    <a:pt x="648" y="763"/>
                  </a:lnTo>
                  <a:lnTo>
                    <a:pt x="660" y="739"/>
                  </a:lnTo>
                  <a:lnTo>
                    <a:pt x="648" y="734"/>
                  </a:lnTo>
                  <a:lnTo>
                    <a:pt x="676" y="722"/>
                  </a:lnTo>
                  <a:lnTo>
                    <a:pt x="676" y="706"/>
                  </a:lnTo>
                  <a:lnTo>
                    <a:pt x="664" y="701"/>
                  </a:lnTo>
                  <a:lnTo>
                    <a:pt x="664" y="668"/>
                  </a:lnTo>
                  <a:lnTo>
                    <a:pt x="638" y="611"/>
                  </a:lnTo>
                  <a:lnTo>
                    <a:pt x="626" y="611"/>
                  </a:lnTo>
                  <a:lnTo>
                    <a:pt x="622" y="611"/>
                  </a:lnTo>
                  <a:lnTo>
                    <a:pt x="589" y="595"/>
                  </a:lnTo>
                  <a:lnTo>
                    <a:pt x="589" y="585"/>
                  </a:lnTo>
                  <a:lnTo>
                    <a:pt x="572" y="557"/>
                  </a:lnTo>
                  <a:lnTo>
                    <a:pt x="541" y="569"/>
                  </a:lnTo>
                  <a:lnTo>
                    <a:pt x="551" y="552"/>
                  </a:lnTo>
                  <a:lnTo>
                    <a:pt x="541" y="541"/>
                  </a:lnTo>
                  <a:lnTo>
                    <a:pt x="530" y="552"/>
                  </a:lnTo>
                  <a:lnTo>
                    <a:pt x="504" y="512"/>
                  </a:lnTo>
                  <a:lnTo>
                    <a:pt x="449" y="512"/>
                  </a:lnTo>
                  <a:lnTo>
                    <a:pt x="445" y="496"/>
                  </a:lnTo>
                  <a:lnTo>
                    <a:pt x="421" y="486"/>
                  </a:lnTo>
                  <a:lnTo>
                    <a:pt x="390" y="458"/>
                  </a:lnTo>
                  <a:lnTo>
                    <a:pt x="374" y="441"/>
                  </a:lnTo>
                  <a:lnTo>
                    <a:pt x="357" y="425"/>
                  </a:lnTo>
                  <a:lnTo>
                    <a:pt x="336" y="408"/>
                  </a:lnTo>
                  <a:lnTo>
                    <a:pt x="319" y="413"/>
                  </a:lnTo>
                  <a:lnTo>
                    <a:pt x="319" y="404"/>
                  </a:lnTo>
                  <a:lnTo>
                    <a:pt x="282" y="352"/>
                  </a:lnTo>
                  <a:lnTo>
                    <a:pt x="282" y="335"/>
                  </a:lnTo>
                  <a:lnTo>
                    <a:pt x="265" y="318"/>
                  </a:lnTo>
                  <a:lnTo>
                    <a:pt x="260" y="292"/>
                  </a:lnTo>
                  <a:lnTo>
                    <a:pt x="248" y="276"/>
                  </a:lnTo>
                  <a:lnTo>
                    <a:pt x="189" y="243"/>
                  </a:lnTo>
                  <a:lnTo>
                    <a:pt x="156" y="236"/>
                  </a:lnTo>
                  <a:lnTo>
                    <a:pt x="135" y="248"/>
                  </a:lnTo>
                  <a:lnTo>
                    <a:pt x="104" y="281"/>
                  </a:lnTo>
                  <a:lnTo>
                    <a:pt x="67" y="292"/>
                  </a:lnTo>
                  <a:lnTo>
                    <a:pt x="67" y="292"/>
                  </a:lnTo>
                  <a:lnTo>
                    <a:pt x="67" y="292"/>
                  </a:lnTo>
                  <a:close/>
                  <a:moveTo>
                    <a:pt x="411" y="276"/>
                  </a:moveTo>
                  <a:lnTo>
                    <a:pt x="411" y="281"/>
                  </a:lnTo>
                  <a:lnTo>
                    <a:pt x="421" y="276"/>
                  </a:lnTo>
                  <a:lnTo>
                    <a:pt x="411" y="276"/>
                  </a:lnTo>
                  <a:lnTo>
                    <a:pt x="411" y="276"/>
                  </a:lnTo>
                  <a:lnTo>
                    <a:pt x="411" y="276"/>
                  </a:lnTo>
                  <a:close/>
                  <a:moveTo>
                    <a:pt x="270" y="387"/>
                  </a:moveTo>
                  <a:lnTo>
                    <a:pt x="248" y="375"/>
                  </a:lnTo>
                  <a:lnTo>
                    <a:pt x="270" y="370"/>
                  </a:lnTo>
                  <a:lnTo>
                    <a:pt x="270" y="387"/>
                  </a:lnTo>
                  <a:lnTo>
                    <a:pt x="270" y="387"/>
                  </a:lnTo>
                  <a:lnTo>
                    <a:pt x="270" y="387"/>
                  </a:lnTo>
                  <a:close/>
                  <a:moveTo>
                    <a:pt x="109" y="569"/>
                  </a:moveTo>
                  <a:lnTo>
                    <a:pt x="119" y="536"/>
                  </a:lnTo>
                  <a:lnTo>
                    <a:pt x="126" y="541"/>
                  </a:lnTo>
                  <a:lnTo>
                    <a:pt x="142" y="541"/>
                  </a:lnTo>
                  <a:lnTo>
                    <a:pt x="189" y="512"/>
                  </a:lnTo>
                  <a:lnTo>
                    <a:pt x="211" y="519"/>
                  </a:lnTo>
                  <a:lnTo>
                    <a:pt x="218" y="536"/>
                  </a:lnTo>
                  <a:lnTo>
                    <a:pt x="206" y="541"/>
                  </a:lnTo>
                  <a:lnTo>
                    <a:pt x="211" y="541"/>
                  </a:lnTo>
                  <a:lnTo>
                    <a:pt x="227" y="574"/>
                  </a:lnTo>
                  <a:lnTo>
                    <a:pt x="211" y="595"/>
                  </a:lnTo>
                  <a:lnTo>
                    <a:pt x="218" y="611"/>
                  </a:lnTo>
                  <a:lnTo>
                    <a:pt x="211" y="696"/>
                  </a:lnTo>
                  <a:lnTo>
                    <a:pt x="173" y="680"/>
                  </a:lnTo>
                  <a:lnTo>
                    <a:pt x="173" y="701"/>
                  </a:lnTo>
                  <a:lnTo>
                    <a:pt x="163" y="706"/>
                  </a:lnTo>
                  <a:lnTo>
                    <a:pt x="152" y="706"/>
                  </a:lnTo>
                  <a:lnTo>
                    <a:pt x="135" y="696"/>
                  </a:lnTo>
                  <a:lnTo>
                    <a:pt x="126" y="706"/>
                  </a:lnTo>
                  <a:lnTo>
                    <a:pt x="126" y="696"/>
                  </a:lnTo>
                  <a:lnTo>
                    <a:pt x="135" y="696"/>
                  </a:lnTo>
                  <a:lnTo>
                    <a:pt x="126" y="668"/>
                  </a:lnTo>
                  <a:lnTo>
                    <a:pt x="135" y="640"/>
                  </a:lnTo>
                  <a:lnTo>
                    <a:pt x="135" y="640"/>
                  </a:lnTo>
                  <a:lnTo>
                    <a:pt x="142" y="630"/>
                  </a:lnTo>
                  <a:lnTo>
                    <a:pt x="126" y="630"/>
                  </a:lnTo>
                  <a:lnTo>
                    <a:pt x="135" y="590"/>
                  </a:lnTo>
                  <a:lnTo>
                    <a:pt x="119" y="569"/>
                  </a:lnTo>
                  <a:lnTo>
                    <a:pt x="109" y="569"/>
                  </a:lnTo>
                  <a:lnTo>
                    <a:pt x="109" y="569"/>
                  </a:lnTo>
                  <a:lnTo>
                    <a:pt x="109" y="569"/>
                  </a:lnTo>
                  <a:lnTo>
                    <a:pt x="109" y="569"/>
                  </a:lnTo>
                  <a:close/>
                  <a:moveTo>
                    <a:pt x="513" y="557"/>
                  </a:moveTo>
                  <a:lnTo>
                    <a:pt x="513" y="552"/>
                  </a:lnTo>
                  <a:lnTo>
                    <a:pt x="520" y="557"/>
                  </a:lnTo>
                  <a:lnTo>
                    <a:pt x="513" y="557"/>
                  </a:lnTo>
                  <a:lnTo>
                    <a:pt x="513" y="557"/>
                  </a:lnTo>
                  <a:lnTo>
                    <a:pt x="513" y="557"/>
                  </a:lnTo>
                  <a:close/>
                  <a:moveTo>
                    <a:pt x="119" y="696"/>
                  </a:moveTo>
                  <a:lnTo>
                    <a:pt x="119" y="685"/>
                  </a:lnTo>
                  <a:lnTo>
                    <a:pt x="119" y="685"/>
                  </a:lnTo>
                  <a:lnTo>
                    <a:pt x="119" y="696"/>
                  </a:lnTo>
                  <a:lnTo>
                    <a:pt x="119" y="696"/>
                  </a:lnTo>
                  <a:lnTo>
                    <a:pt x="119" y="696"/>
                  </a:lnTo>
                  <a:close/>
                  <a:moveTo>
                    <a:pt x="411" y="805"/>
                  </a:moveTo>
                  <a:lnTo>
                    <a:pt x="421" y="789"/>
                  </a:lnTo>
                  <a:lnTo>
                    <a:pt x="433" y="772"/>
                  </a:lnTo>
                  <a:lnTo>
                    <a:pt x="445" y="779"/>
                  </a:lnTo>
                  <a:lnTo>
                    <a:pt x="459" y="779"/>
                  </a:lnTo>
                  <a:lnTo>
                    <a:pt x="459" y="772"/>
                  </a:lnTo>
                  <a:lnTo>
                    <a:pt x="475" y="763"/>
                  </a:lnTo>
                  <a:lnTo>
                    <a:pt x="482" y="779"/>
                  </a:lnTo>
                  <a:lnTo>
                    <a:pt x="504" y="789"/>
                  </a:lnTo>
                  <a:lnTo>
                    <a:pt x="558" y="779"/>
                  </a:lnTo>
                  <a:lnTo>
                    <a:pt x="584" y="772"/>
                  </a:lnTo>
                  <a:lnTo>
                    <a:pt x="596" y="772"/>
                  </a:lnTo>
                  <a:lnTo>
                    <a:pt x="626" y="763"/>
                  </a:lnTo>
                  <a:lnTo>
                    <a:pt x="638" y="763"/>
                  </a:lnTo>
                  <a:lnTo>
                    <a:pt x="605" y="805"/>
                  </a:lnTo>
                  <a:lnTo>
                    <a:pt x="596" y="829"/>
                  </a:lnTo>
                  <a:lnTo>
                    <a:pt x="610" y="866"/>
                  </a:lnTo>
                  <a:lnTo>
                    <a:pt x="605" y="871"/>
                  </a:lnTo>
                  <a:lnTo>
                    <a:pt x="596" y="900"/>
                  </a:lnTo>
                  <a:lnTo>
                    <a:pt x="558" y="890"/>
                  </a:lnTo>
                  <a:lnTo>
                    <a:pt x="534" y="866"/>
                  </a:lnTo>
                  <a:lnTo>
                    <a:pt x="513" y="862"/>
                  </a:lnTo>
                  <a:lnTo>
                    <a:pt x="466" y="829"/>
                  </a:lnTo>
                  <a:lnTo>
                    <a:pt x="428" y="817"/>
                  </a:lnTo>
                  <a:lnTo>
                    <a:pt x="411" y="805"/>
                  </a:lnTo>
                  <a:lnTo>
                    <a:pt x="411" y="805"/>
                  </a:lnTo>
                  <a:lnTo>
                    <a:pt x="411" y="805"/>
                  </a:lnTo>
                  <a:close/>
                  <a:moveTo>
                    <a:pt x="378" y="890"/>
                  </a:moveTo>
                  <a:lnTo>
                    <a:pt x="378" y="883"/>
                  </a:lnTo>
                  <a:lnTo>
                    <a:pt x="390" y="883"/>
                  </a:lnTo>
                  <a:lnTo>
                    <a:pt x="378" y="890"/>
                  </a:lnTo>
                  <a:lnTo>
                    <a:pt x="378" y="890"/>
                  </a:lnTo>
                  <a:lnTo>
                    <a:pt x="378" y="89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 name="Freeform 376">
              <a:extLst>
                <a:ext uri="{FF2B5EF4-FFF2-40B4-BE49-F238E27FC236}">
                  <a16:creationId xmlns:a16="http://schemas.microsoft.com/office/drawing/2014/main" id="{117D3146-2DA5-468C-9E73-99E9A3BAD52F}"/>
                </a:ext>
              </a:extLst>
            </p:cNvPr>
            <p:cNvSpPr>
              <a:spLocks/>
            </p:cNvSpPr>
            <p:nvPr/>
          </p:nvSpPr>
          <p:spPr bwMode="gray">
            <a:xfrm>
              <a:off x="17600702" y="4818094"/>
              <a:ext cx="982" cy="1637"/>
            </a:xfrm>
            <a:custGeom>
              <a:avLst/>
              <a:gdLst>
                <a:gd name="T0" fmla="*/ 0 w 3"/>
                <a:gd name="T1" fmla="*/ 0 h 5"/>
                <a:gd name="T2" fmla="*/ 3 w 3"/>
                <a:gd name="T3" fmla="*/ 0 h 5"/>
                <a:gd name="T4" fmla="*/ 3 w 3"/>
                <a:gd name="T5" fmla="*/ 5 h 5"/>
                <a:gd name="T6" fmla="*/ 0 w 3"/>
                <a:gd name="T7" fmla="*/ 5 h 5"/>
                <a:gd name="T8" fmla="*/ 0 w 3"/>
                <a:gd name="T9" fmla="*/ 0 h 5"/>
                <a:gd name="T10" fmla="*/ 0 w 3"/>
                <a:gd name="T11" fmla="*/ 0 h 5"/>
              </a:gdLst>
              <a:ahLst/>
              <a:cxnLst>
                <a:cxn ang="0">
                  <a:pos x="T0" y="T1"/>
                </a:cxn>
                <a:cxn ang="0">
                  <a:pos x="T2" y="T3"/>
                </a:cxn>
                <a:cxn ang="0">
                  <a:pos x="T4" y="T5"/>
                </a:cxn>
                <a:cxn ang="0">
                  <a:pos x="T6" y="T7"/>
                </a:cxn>
                <a:cxn ang="0">
                  <a:pos x="T8" y="T9"/>
                </a:cxn>
                <a:cxn ang="0">
                  <a:pos x="T10" y="T11"/>
                </a:cxn>
              </a:cxnLst>
              <a:rect l="0" t="0" r="r" b="b"/>
              <a:pathLst>
                <a:path w="3" h="5">
                  <a:moveTo>
                    <a:pt x="0" y="0"/>
                  </a:moveTo>
                  <a:lnTo>
                    <a:pt x="3" y="0"/>
                  </a:lnTo>
                  <a:lnTo>
                    <a:pt x="3" y="5"/>
                  </a:lnTo>
                  <a:lnTo>
                    <a:pt x="0" y="5"/>
                  </a:lnTo>
                  <a:lnTo>
                    <a:pt x="0" y="0"/>
                  </a:lnTo>
                  <a:lnTo>
                    <a:pt x="0" y="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 name="Freeform 377">
              <a:extLst>
                <a:ext uri="{FF2B5EF4-FFF2-40B4-BE49-F238E27FC236}">
                  <a16:creationId xmlns:a16="http://schemas.microsoft.com/office/drawing/2014/main" id="{F115FF59-DD18-4C7F-81F0-0B334BD097B2}"/>
                </a:ext>
              </a:extLst>
            </p:cNvPr>
            <p:cNvSpPr>
              <a:spLocks/>
            </p:cNvSpPr>
            <p:nvPr/>
          </p:nvSpPr>
          <p:spPr bwMode="gray">
            <a:xfrm>
              <a:off x="12133866" y="3815257"/>
              <a:ext cx="5564" cy="5564"/>
            </a:xfrm>
            <a:custGeom>
              <a:avLst/>
              <a:gdLst>
                <a:gd name="T0" fmla="*/ 17 w 17"/>
                <a:gd name="T1" fmla="*/ 17 h 17"/>
                <a:gd name="T2" fmla="*/ 0 w 17"/>
                <a:gd name="T3" fmla="*/ 7 h 17"/>
                <a:gd name="T4" fmla="*/ 0 w 17"/>
                <a:gd name="T5" fmla="*/ 0 h 17"/>
                <a:gd name="T6" fmla="*/ 17 w 17"/>
                <a:gd name="T7" fmla="*/ 17 h 17"/>
                <a:gd name="T8" fmla="*/ 17 w 17"/>
                <a:gd name="T9" fmla="*/ 17 h 17"/>
                <a:gd name="T10" fmla="*/ 17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17" y="17"/>
                  </a:moveTo>
                  <a:lnTo>
                    <a:pt x="0" y="7"/>
                  </a:lnTo>
                  <a:lnTo>
                    <a:pt x="0" y="0"/>
                  </a:lnTo>
                  <a:lnTo>
                    <a:pt x="17" y="17"/>
                  </a:lnTo>
                  <a:lnTo>
                    <a:pt x="17" y="17"/>
                  </a:lnTo>
                  <a:lnTo>
                    <a:pt x="17" y="1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 name="Freeform 378">
              <a:extLst>
                <a:ext uri="{FF2B5EF4-FFF2-40B4-BE49-F238E27FC236}">
                  <a16:creationId xmlns:a16="http://schemas.microsoft.com/office/drawing/2014/main" id="{D3B85AE9-2B73-41DF-BEE6-CE8965A39FFC}"/>
                </a:ext>
              </a:extLst>
            </p:cNvPr>
            <p:cNvSpPr>
              <a:spLocks noEditPoints="1"/>
            </p:cNvSpPr>
            <p:nvPr/>
          </p:nvSpPr>
          <p:spPr bwMode="gray">
            <a:xfrm>
              <a:off x="12322716" y="3693175"/>
              <a:ext cx="5237" cy="18656"/>
            </a:xfrm>
            <a:custGeom>
              <a:avLst/>
              <a:gdLst>
                <a:gd name="T0" fmla="*/ 16 w 16"/>
                <a:gd name="T1" fmla="*/ 12 h 57"/>
                <a:gd name="T2" fmla="*/ 9 w 16"/>
                <a:gd name="T3" fmla="*/ 5 h 57"/>
                <a:gd name="T4" fmla="*/ 9 w 16"/>
                <a:gd name="T5" fmla="*/ 0 h 57"/>
                <a:gd name="T6" fmla="*/ 16 w 16"/>
                <a:gd name="T7" fmla="*/ 5 h 57"/>
                <a:gd name="T8" fmla="*/ 16 w 16"/>
                <a:gd name="T9" fmla="*/ 12 h 57"/>
                <a:gd name="T10" fmla="*/ 16 w 16"/>
                <a:gd name="T11" fmla="*/ 12 h 57"/>
                <a:gd name="T12" fmla="*/ 16 w 16"/>
                <a:gd name="T13" fmla="*/ 12 h 57"/>
                <a:gd name="T14" fmla="*/ 16 w 16"/>
                <a:gd name="T15" fmla="*/ 57 h 57"/>
                <a:gd name="T16" fmla="*/ 0 w 16"/>
                <a:gd name="T17" fmla="*/ 45 h 57"/>
                <a:gd name="T18" fmla="*/ 9 w 16"/>
                <a:gd name="T19" fmla="*/ 40 h 57"/>
                <a:gd name="T20" fmla="*/ 16 w 16"/>
                <a:gd name="T21" fmla="*/ 45 h 57"/>
                <a:gd name="T22" fmla="*/ 16 w 16"/>
                <a:gd name="T23" fmla="*/ 57 h 57"/>
                <a:gd name="T24" fmla="*/ 16 w 16"/>
                <a:gd name="T25" fmla="*/ 57 h 57"/>
                <a:gd name="T26" fmla="*/ 16 w 16"/>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57">
                  <a:moveTo>
                    <a:pt x="16" y="12"/>
                  </a:moveTo>
                  <a:lnTo>
                    <a:pt x="9" y="5"/>
                  </a:lnTo>
                  <a:lnTo>
                    <a:pt x="9" y="0"/>
                  </a:lnTo>
                  <a:lnTo>
                    <a:pt x="16" y="5"/>
                  </a:lnTo>
                  <a:lnTo>
                    <a:pt x="16" y="12"/>
                  </a:lnTo>
                  <a:lnTo>
                    <a:pt x="16" y="12"/>
                  </a:lnTo>
                  <a:lnTo>
                    <a:pt x="16" y="12"/>
                  </a:lnTo>
                  <a:close/>
                  <a:moveTo>
                    <a:pt x="16" y="57"/>
                  </a:moveTo>
                  <a:lnTo>
                    <a:pt x="0" y="45"/>
                  </a:lnTo>
                  <a:lnTo>
                    <a:pt x="9" y="40"/>
                  </a:lnTo>
                  <a:lnTo>
                    <a:pt x="16" y="45"/>
                  </a:lnTo>
                  <a:lnTo>
                    <a:pt x="16" y="57"/>
                  </a:lnTo>
                  <a:lnTo>
                    <a:pt x="16" y="57"/>
                  </a:lnTo>
                  <a:lnTo>
                    <a:pt x="16" y="5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 name="Freeform 379">
              <a:extLst>
                <a:ext uri="{FF2B5EF4-FFF2-40B4-BE49-F238E27FC236}">
                  <a16:creationId xmlns:a16="http://schemas.microsoft.com/office/drawing/2014/main" id="{14CF8D5B-8710-4A05-A4E4-B1A566234784}"/>
                </a:ext>
              </a:extLst>
            </p:cNvPr>
            <p:cNvSpPr>
              <a:spLocks/>
            </p:cNvSpPr>
            <p:nvPr/>
          </p:nvSpPr>
          <p:spPr bwMode="gray">
            <a:xfrm>
              <a:off x="15133867" y="3161318"/>
              <a:ext cx="329915" cy="237945"/>
            </a:xfrm>
            <a:custGeom>
              <a:avLst/>
              <a:gdLst>
                <a:gd name="T0" fmla="*/ 75 w 1008"/>
                <a:gd name="T1" fmla="*/ 243 h 727"/>
                <a:gd name="T2" fmla="*/ 137 w 1008"/>
                <a:gd name="T3" fmla="*/ 260 h 727"/>
                <a:gd name="T4" fmla="*/ 184 w 1008"/>
                <a:gd name="T5" fmla="*/ 234 h 727"/>
                <a:gd name="T6" fmla="*/ 243 w 1008"/>
                <a:gd name="T7" fmla="*/ 193 h 727"/>
                <a:gd name="T8" fmla="*/ 297 w 1008"/>
                <a:gd name="T9" fmla="*/ 111 h 727"/>
                <a:gd name="T10" fmla="*/ 361 w 1008"/>
                <a:gd name="T11" fmla="*/ 78 h 727"/>
                <a:gd name="T12" fmla="*/ 453 w 1008"/>
                <a:gd name="T13" fmla="*/ 82 h 727"/>
                <a:gd name="T14" fmla="*/ 508 w 1008"/>
                <a:gd name="T15" fmla="*/ 99 h 727"/>
                <a:gd name="T16" fmla="*/ 583 w 1008"/>
                <a:gd name="T17" fmla="*/ 94 h 727"/>
                <a:gd name="T18" fmla="*/ 621 w 1008"/>
                <a:gd name="T19" fmla="*/ 82 h 727"/>
                <a:gd name="T20" fmla="*/ 675 w 1008"/>
                <a:gd name="T21" fmla="*/ 78 h 727"/>
                <a:gd name="T22" fmla="*/ 718 w 1008"/>
                <a:gd name="T23" fmla="*/ 0 h 727"/>
                <a:gd name="T24" fmla="*/ 756 w 1008"/>
                <a:gd name="T25" fmla="*/ 42 h 727"/>
                <a:gd name="T26" fmla="*/ 777 w 1008"/>
                <a:gd name="T27" fmla="*/ 139 h 727"/>
                <a:gd name="T28" fmla="*/ 826 w 1008"/>
                <a:gd name="T29" fmla="*/ 115 h 727"/>
                <a:gd name="T30" fmla="*/ 890 w 1008"/>
                <a:gd name="T31" fmla="*/ 78 h 727"/>
                <a:gd name="T32" fmla="*/ 919 w 1008"/>
                <a:gd name="T33" fmla="*/ 94 h 727"/>
                <a:gd name="T34" fmla="*/ 994 w 1008"/>
                <a:gd name="T35" fmla="*/ 82 h 727"/>
                <a:gd name="T36" fmla="*/ 999 w 1008"/>
                <a:gd name="T37" fmla="*/ 94 h 727"/>
                <a:gd name="T38" fmla="*/ 987 w 1008"/>
                <a:gd name="T39" fmla="*/ 120 h 727"/>
                <a:gd name="T40" fmla="*/ 923 w 1008"/>
                <a:gd name="T41" fmla="*/ 120 h 727"/>
                <a:gd name="T42" fmla="*/ 784 w 1008"/>
                <a:gd name="T43" fmla="*/ 165 h 727"/>
                <a:gd name="T44" fmla="*/ 756 w 1008"/>
                <a:gd name="T45" fmla="*/ 189 h 727"/>
                <a:gd name="T46" fmla="*/ 777 w 1008"/>
                <a:gd name="T47" fmla="*/ 250 h 727"/>
                <a:gd name="T48" fmla="*/ 772 w 1008"/>
                <a:gd name="T49" fmla="*/ 283 h 727"/>
                <a:gd name="T50" fmla="*/ 730 w 1008"/>
                <a:gd name="T51" fmla="*/ 321 h 727"/>
                <a:gd name="T52" fmla="*/ 701 w 1008"/>
                <a:gd name="T53" fmla="*/ 373 h 727"/>
                <a:gd name="T54" fmla="*/ 663 w 1008"/>
                <a:gd name="T55" fmla="*/ 390 h 727"/>
                <a:gd name="T56" fmla="*/ 685 w 1008"/>
                <a:gd name="T57" fmla="*/ 415 h 727"/>
                <a:gd name="T58" fmla="*/ 633 w 1008"/>
                <a:gd name="T59" fmla="*/ 456 h 727"/>
                <a:gd name="T60" fmla="*/ 616 w 1008"/>
                <a:gd name="T61" fmla="*/ 489 h 727"/>
                <a:gd name="T62" fmla="*/ 583 w 1008"/>
                <a:gd name="T63" fmla="*/ 562 h 727"/>
                <a:gd name="T64" fmla="*/ 562 w 1008"/>
                <a:gd name="T65" fmla="*/ 545 h 727"/>
                <a:gd name="T66" fmla="*/ 491 w 1008"/>
                <a:gd name="T67" fmla="*/ 562 h 727"/>
                <a:gd name="T68" fmla="*/ 453 w 1008"/>
                <a:gd name="T69" fmla="*/ 578 h 727"/>
                <a:gd name="T70" fmla="*/ 415 w 1008"/>
                <a:gd name="T71" fmla="*/ 612 h 727"/>
                <a:gd name="T72" fmla="*/ 399 w 1008"/>
                <a:gd name="T73" fmla="*/ 678 h 727"/>
                <a:gd name="T74" fmla="*/ 314 w 1008"/>
                <a:gd name="T75" fmla="*/ 723 h 727"/>
                <a:gd name="T76" fmla="*/ 217 w 1008"/>
                <a:gd name="T77" fmla="*/ 723 h 727"/>
                <a:gd name="T78" fmla="*/ 23 w 1008"/>
                <a:gd name="T79" fmla="*/ 694 h 727"/>
                <a:gd name="T80" fmla="*/ 82 w 1008"/>
                <a:gd name="T81" fmla="*/ 578 h 727"/>
                <a:gd name="T82" fmla="*/ 23 w 1008"/>
                <a:gd name="T83" fmla="*/ 505 h 727"/>
                <a:gd name="T84" fmla="*/ 0 w 1008"/>
                <a:gd name="T85" fmla="*/ 394 h 727"/>
                <a:gd name="T86" fmla="*/ 23 w 1008"/>
                <a:gd name="T87" fmla="*/ 338 h 727"/>
                <a:gd name="T88" fmla="*/ 37 w 1008"/>
                <a:gd name="T89" fmla="*/ 300 h 727"/>
                <a:gd name="T90" fmla="*/ 54 w 1008"/>
                <a:gd name="T91" fmla="*/ 23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08" h="727">
                  <a:moveTo>
                    <a:pt x="54" y="234"/>
                  </a:moveTo>
                  <a:lnTo>
                    <a:pt x="61" y="227"/>
                  </a:lnTo>
                  <a:lnTo>
                    <a:pt x="75" y="243"/>
                  </a:lnTo>
                  <a:lnTo>
                    <a:pt x="108" y="243"/>
                  </a:lnTo>
                  <a:lnTo>
                    <a:pt x="120" y="267"/>
                  </a:lnTo>
                  <a:lnTo>
                    <a:pt x="137" y="260"/>
                  </a:lnTo>
                  <a:lnTo>
                    <a:pt x="151" y="260"/>
                  </a:lnTo>
                  <a:lnTo>
                    <a:pt x="184" y="243"/>
                  </a:lnTo>
                  <a:lnTo>
                    <a:pt x="184" y="234"/>
                  </a:lnTo>
                  <a:lnTo>
                    <a:pt x="184" y="227"/>
                  </a:lnTo>
                  <a:lnTo>
                    <a:pt x="184" y="210"/>
                  </a:lnTo>
                  <a:lnTo>
                    <a:pt x="243" y="193"/>
                  </a:lnTo>
                  <a:lnTo>
                    <a:pt x="276" y="177"/>
                  </a:lnTo>
                  <a:lnTo>
                    <a:pt x="297" y="120"/>
                  </a:lnTo>
                  <a:lnTo>
                    <a:pt x="297" y="111"/>
                  </a:lnTo>
                  <a:lnTo>
                    <a:pt x="323" y="99"/>
                  </a:lnTo>
                  <a:lnTo>
                    <a:pt x="352" y="99"/>
                  </a:lnTo>
                  <a:lnTo>
                    <a:pt x="361" y="78"/>
                  </a:lnTo>
                  <a:lnTo>
                    <a:pt x="406" y="94"/>
                  </a:lnTo>
                  <a:lnTo>
                    <a:pt x="422" y="82"/>
                  </a:lnTo>
                  <a:lnTo>
                    <a:pt x="453" y="82"/>
                  </a:lnTo>
                  <a:lnTo>
                    <a:pt x="470" y="99"/>
                  </a:lnTo>
                  <a:lnTo>
                    <a:pt x="491" y="94"/>
                  </a:lnTo>
                  <a:lnTo>
                    <a:pt x="508" y="99"/>
                  </a:lnTo>
                  <a:lnTo>
                    <a:pt x="508" y="111"/>
                  </a:lnTo>
                  <a:lnTo>
                    <a:pt x="529" y="120"/>
                  </a:lnTo>
                  <a:lnTo>
                    <a:pt x="583" y="94"/>
                  </a:lnTo>
                  <a:lnTo>
                    <a:pt x="616" y="111"/>
                  </a:lnTo>
                  <a:lnTo>
                    <a:pt x="621" y="99"/>
                  </a:lnTo>
                  <a:lnTo>
                    <a:pt x="621" y="82"/>
                  </a:lnTo>
                  <a:lnTo>
                    <a:pt x="633" y="66"/>
                  </a:lnTo>
                  <a:lnTo>
                    <a:pt x="654" y="66"/>
                  </a:lnTo>
                  <a:lnTo>
                    <a:pt x="675" y="78"/>
                  </a:lnTo>
                  <a:lnTo>
                    <a:pt x="685" y="61"/>
                  </a:lnTo>
                  <a:lnTo>
                    <a:pt x="675" y="38"/>
                  </a:lnTo>
                  <a:lnTo>
                    <a:pt x="718" y="0"/>
                  </a:lnTo>
                  <a:lnTo>
                    <a:pt x="730" y="0"/>
                  </a:lnTo>
                  <a:lnTo>
                    <a:pt x="760" y="9"/>
                  </a:lnTo>
                  <a:lnTo>
                    <a:pt x="756" y="42"/>
                  </a:lnTo>
                  <a:lnTo>
                    <a:pt x="777" y="42"/>
                  </a:lnTo>
                  <a:lnTo>
                    <a:pt x="760" y="111"/>
                  </a:lnTo>
                  <a:lnTo>
                    <a:pt x="777" y="139"/>
                  </a:lnTo>
                  <a:lnTo>
                    <a:pt x="784" y="149"/>
                  </a:lnTo>
                  <a:lnTo>
                    <a:pt x="793" y="139"/>
                  </a:lnTo>
                  <a:lnTo>
                    <a:pt x="826" y="115"/>
                  </a:lnTo>
                  <a:lnTo>
                    <a:pt x="852" y="115"/>
                  </a:lnTo>
                  <a:lnTo>
                    <a:pt x="864" y="99"/>
                  </a:lnTo>
                  <a:lnTo>
                    <a:pt x="890" y="78"/>
                  </a:lnTo>
                  <a:lnTo>
                    <a:pt x="933" y="82"/>
                  </a:lnTo>
                  <a:lnTo>
                    <a:pt x="933" y="94"/>
                  </a:lnTo>
                  <a:lnTo>
                    <a:pt x="919" y="94"/>
                  </a:lnTo>
                  <a:lnTo>
                    <a:pt x="923" y="99"/>
                  </a:lnTo>
                  <a:lnTo>
                    <a:pt x="961" y="82"/>
                  </a:lnTo>
                  <a:lnTo>
                    <a:pt x="994" y="82"/>
                  </a:lnTo>
                  <a:lnTo>
                    <a:pt x="1008" y="99"/>
                  </a:lnTo>
                  <a:lnTo>
                    <a:pt x="999" y="99"/>
                  </a:lnTo>
                  <a:lnTo>
                    <a:pt x="999" y="94"/>
                  </a:lnTo>
                  <a:lnTo>
                    <a:pt x="971" y="99"/>
                  </a:lnTo>
                  <a:lnTo>
                    <a:pt x="987" y="115"/>
                  </a:lnTo>
                  <a:lnTo>
                    <a:pt x="987" y="120"/>
                  </a:lnTo>
                  <a:lnTo>
                    <a:pt x="978" y="115"/>
                  </a:lnTo>
                  <a:lnTo>
                    <a:pt x="945" y="132"/>
                  </a:lnTo>
                  <a:lnTo>
                    <a:pt x="923" y="120"/>
                  </a:lnTo>
                  <a:lnTo>
                    <a:pt x="848" y="132"/>
                  </a:lnTo>
                  <a:lnTo>
                    <a:pt x="815" y="139"/>
                  </a:lnTo>
                  <a:lnTo>
                    <a:pt x="784" y="165"/>
                  </a:lnTo>
                  <a:lnTo>
                    <a:pt x="777" y="165"/>
                  </a:lnTo>
                  <a:lnTo>
                    <a:pt x="777" y="172"/>
                  </a:lnTo>
                  <a:lnTo>
                    <a:pt x="756" y="189"/>
                  </a:lnTo>
                  <a:lnTo>
                    <a:pt x="746" y="193"/>
                  </a:lnTo>
                  <a:lnTo>
                    <a:pt x="772" y="210"/>
                  </a:lnTo>
                  <a:lnTo>
                    <a:pt x="777" y="250"/>
                  </a:lnTo>
                  <a:lnTo>
                    <a:pt x="772" y="260"/>
                  </a:lnTo>
                  <a:lnTo>
                    <a:pt x="777" y="267"/>
                  </a:lnTo>
                  <a:lnTo>
                    <a:pt x="772" y="283"/>
                  </a:lnTo>
                  <a:lnTo>
                    <a:pt x="739" y="304"/>
                  </a:lnTo>
                  <a:lnTo>
                    <a:pt x="739" y="316"/>
                  </a:lnTo>
                  <a:lnTo>
                    <a:pt x="730" y="321"/>
                  </a:lnTo>
                  <a:lnTo>
                    <a:pt x="746" y="338"/>
                  </a:lnTo>
                  <a:lnTo>
                    <a:pt x="739" y="361"/>
                  </a:lnTo>
                  <a:lnTo>
                    <a:pt x="701" y="373"/>
                  </a:lnTo>
                  <a:lnTo>
                    <a:pt x="654" y="361"/>
                  </a:lnTo>
                  <a:lnTo>
                    <a:pt x="663" y="378"/>
                  </a:lnTo>
                  <a:lnTo>
                    <a:pt x="663" y="390"/>
                  </a:lnTo>
                  <a:lnTo>
                    <a:pt x="675" y="390"/>
                  </a:lnTo>
                  <a:lnTo>
                    <a:pt x="675" y="399"/>
                  </a:lnTo>
                  <a:lnTo>
                    <a:pt x="685" y="415"/>
                  </a:lnTo>
                  <a:lnTo>
                    <a:pt x="671" y="434"/>
                  </a:lnTo>
                  <a:lnTo>
                    <a:pt x="633" y="444"/>
                  </a:lnTo>
                  <a:lnTo>
                    <a:pt x="633" y="456"/>
                  </a:lnTo>
                  <a:lnTo>
                    <a:pt x="621" y="467"/>
                  </a:lnTo>
                  <a:lnTo>
                    <a:pt x="621" y="472"/>
                  </a:lnTo>
                  <a:lnTo>
                    <a:pt x="616" y="489"/>
                  </a:lnTo>
                  <a:lnTo>
                    <a:pt x="616" y="529"/>
                  </a:lnTo>
                  <a:lnTo>
                    <a:pt x="600" y="555"/>
                  </a:lnTo>
                  <a:lnTo>
                    <a:pt x="583" y="562"/>
                  </a:lnTo>
                  <a:lnTo>
                    <a:pt x="562" y="538"/>
                  </a:lnTo>
                  <a:lnTo>
                    <a:pt x="557" y="545"/>
                  </a:lnTo>
                  <a:lnTo>
                    <a:pt x="562" y="545"/>
                  </a:lnTo>
                  <a:lnTo>
                    <a:pt x="541" y="538"/>
                  </a:lnTo>
                  <a:lnTo>
                    <a:pt x="524" y="555"/>
                  </a:lnTo>
                  <a:lnTo>
                    <a:pt x="491" y="562"/>
                  </a:lnTo>
                  <a:lnTo>
                    <a:pt x="508" y="578"/>
                  </a:lnTo>
                  <a:lnTo>
                    <a:pt x="474" y="583"/>
                  </a:lnTo>
                  <a:lnTo>
                    <a:pt x="453" y="578"/>
                  </a:lnTo>
                  <a:lnTo>
                    <a:pt x="437" y="583"/>
                  </a:lnTo>
                  <a:lnTo>
                    <a:pt x="422" y="612"/>
                  </a:lnTo>
                  <a:lnTo>
                    <a:pt x="415" y="612"/>
                  </a:lnTo>
                  <a:lnTo>
                    <a:pt x="406" y="640"/>
                  </a:lnTo>
                  <a:lnTo>
                    <a:pt x="406" y="668"/>
                  </a:lnTo>
                  <a:lnTo>
                    <a:pt x="399" y="678"/>
                  </a:lnTo>
                  <a:lnTo>
                    <a:pt x="406" y="689"/>
                  </a:lnTo>
                  <a:lnTo>
                    <a:pt x="399" y="694"/>
                  </a:lnTo>
                  <a:lnTo>
                    <a:pt x="314" y="723"/>
                  </a:lnTo>
                  <a:lnTo>
                    <a:pt x="271" y="723"/>
                  </a:lnTo>
                  <a:lnTo>
                    <a:pt x="243" y="727"/>
                  </a:lnTo>
                  <a:lnTo>
                    <a:pt x="217" y="723"/>
                  </a:lnTo>
                  <a:lnTo>
                    <a:pt x="189" y="727"/>
                  </a:lnTo>
                  <a:lnTo>
                    <a:pt x="137" y="727"/>
                  </a:lnTo>
                  <a:lnTo>
                    <a:pt x="23" y="694"/>
                  </a:lnTo>
                  <a:lnTo>
                    <a:pt x="82" y="623"/>
                  </a:lnTo>
                  <a:lnTo>
                    <a:pt x="92" y="600"/>
                  </a:lnTo>
                  <a:lnTo>
                    <a:pt x="82" y="578"/>
                  </a:lnTo>
                  <a:lnTo>
                    <a:pt x="23" y="567"/>
                  </a:lnTo>
                  <a:lnTo>
                    <a:pt x="23" y="529"/>
                  </a:lnTo>
                  <a:lnTo>
                    <a:pt x="23" y="505"/>
                  </a:lnTo>
                  <a:lnTo>
                    <a:pt x="7" y="434"/>
                  </a:lnTo>
                  <a:lnTo>
                    <a:pt x="28" y="399"/>
                  </a:lnTo>
                  <a:lnTo>
                    <a:pt x="0" y="394"/>
                  </a:lnTo>
                  <a:lnTo>
                    <a:pt x="0" y="354"/>
                  </a:lnTo>
                  <a:lnTo>
                    <a:pt x="7" y="338"/>
                  </a:lnTo>
                  <a:lnTo>
                    <a:pt x="23" y="338"/>
                  </a:lnTo>
                  <a:lnTo>
                    <a:pt x="11" y="321"/>
                  </a:lnTo>
                  <a:lnTo>
                    <a:pt x="28" y="316"/>
                  </a:lnTo>
                  <a:lnTo>
                    <a:pt x="37" y="300"/>
                  </a:lnTo>
                  <a:lnTo>
                    <a:pt x="37" y="260"/>
                  </a:lnTo>
                  <a:lnTo>
                    <a:pt x="54" y="234"/>
                  </a:lnTo>
                  <a:lnTo>
                    <a:pt x="54" y="234"/>
                  </a:lnTo>
                  <a:lnTo>
                    <a:pt x="54" y="234"/>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 name="Freeform 380">
              <a:extLst>
                <a:ext uri="{FF2B5EF4-FFF2-40B4-BE49-F238E27FC236}">
                  <a16:creationId xmlns:a16="http://schemas.microsoft.com/office/drawing/2014/main" id="{EBA93BB4-D7BB-49BA-8EF1-EF6FD7C2D077}"/>
                </a:ext>
              </a:extLst>
            </p:cNvPr>
            <p:cNvSpPr>
              <a:spLocks/>
            </p:cNvSpPr>
            <p:nvPr/>
          </p:nvSpPr>
          <p:spPr bwMode="gray">
            <a:xfrm>
              <a:off x="13545824" y="3197648"/>
              <a:ext cx="472944" cy="463125"/>
            </a:xfrm>
            <a:custGeom>
              <a:avLst/>
              <a:gdLst>
                <a:gd name="T0" fmla="*/ 399 w 1445"/>
                <a:gd name="T1" fmla="*/ 427 h 1415"/>
                <a:gd name="T2" fmla="*/ 446 w 1445"/>
                <a:gd name="T3" fmla="*/ 399 h 1415"/>
                <a:gd name="T4" fmla="*/ 522 w 1445"/>
                <a:gd name="T5" fmla="*/ 399 h 1415"/>
                <a:gd name="T6" fmla="*/ 522 w 1445"/>
                <a:gd name="T7" fmla="*/ 387 h 1415"/>
                <a:gd name="T8" fmla="*/ 508 w 1445"/>
                <a:gd name="T9" fmla="*/ 354 h 1415"/>
                <a:gd name="T10" fmla="*/ 508 w 1445"/>
                <a:gd name="T11" fmla="*/ 333 h 1415"/>
                <a:gd name="T12" fmla="*/ 491 w 1445"/>
                <a:gd name="T13" fmla="*/ 283 h 1415"/>
                <a:gd name="T14" fmla="*/ 491 w 1445"/>
                <a:gd name="T15" fmla="*/ 243 h 1415"/>
                <a:gd name="T16" fmla="*/ 491 w 1445"/>
                <a:gd name="T17" fmla="*/ 210 h 1415"/>
                <a:gd name="T18" fmla="*/ 484 w 1445"/>
                <a:gd name="T19" fmla="*/ 193 h 1415"/>
                <a:gd name="T20" fmla="*/ 484 w 1445"/>
                <a:gd name="T21" fmla="*/ 165 h 1415"/>
                <a:gd name="T22" fmla="*/ 538 w 1445"/>
                <a:gd name="T23" fmla="*/ 116 h 1415"/>
                <a:gd name="T24" fmla="*/ 560 w 1445"/>
                <a:gd name="T25" fmla="*/ 116 h 1415"/>
                <a:gd name="T26" fmla="*/ 597 w 1445"/>
                <a:gd name="T27" fmla="*/ 111 h 1415"/>
                <a:gd name="T28" fmla="*/ 690 w 1445"/>
                <a:gd name="T29" fmla="*/ 45 h 1415"/>
                <a:gd name="T30" fmla="*/ 786 w 1445"/>
                <a:gd name="T31" fmla="*/ 45 h 1415"/>
                <a:gd name="T32" fmla="*/ 853 w 1445"/>
                <a:gd name="T33" fmla="*/ 28 h 1415"/>
                <a:gd name="T34" fmla="*/ 938 w 1445"/>
                <a:gd name="T35" fmla="*/ 12 h 1415"/>
                <a:gd name="T36" fmla="*/ 1008 w 1445"/>
                <a:gd name="T37" fmla="*/ 21 h 1415"/>
                <a:gd name="T38" fmla="*/ 1046 w 1445"/>
                <a:gd name="T39" fmla="*/ 4 h 1415"/>
                <a:gd name="T40" fmla="*/ 1067 w 1445"/>
                <a:gd name="T41" fmla="*/ 12 h 1415"/>
                <a:gd name="T42" fmla="*/ 1110 w 1445"/>
                <a:gd name="T43" fmla="*/ 12 h 1415"/>
                <a:gd name="T44" fmla="*/ 1117 w 1445"/>
                <a:gd name="T45" fmla="*/ 0 h 1415"/>
                <a:gd name="T46" fmla="*/ 1164 w 1445"/>
                <a:gd name="T47" fmla="*/ 21 h 1415"/>
                <a:gd name="T48" fmla="*/ 1209 w 1445"/>
                <a:gd name="T49" fmla="*/ 12 h 1415"/>
                <a:gd name="T50" fmla="*/ 1176 w 1445"/>
                <a:gd name="T51" fmla="*/ 45 h 1415"/>
                <a:gd name="T52" fmla="*/ 1186 w 1445"/>
                <a:gd name="T53" fmla="*/ 99 h 1415"/>
                <a:gd name="T54" fmla="*/ 1193 w 1445"/>
                <a:gd name="T55" fmla="*/ 139 h 1415"/>
                <a:gd name="T56" fmla="*/ 1186 w 1445"/>
                <a:gd name="T57" fmla="*/ 205 h 1415"/>
                <a:gd name="T58" fmla="*/ 1155 w 1445"/>
                <a:gd name="T59" fmla="*/ 234 h 1415"/>
                <a:gd name="T60" fmla="*/ 1134 w 1445"/>
                <a:gd name="T61" fmla="*/ 260 h 1415"/>
                <a:gd name="T62" fmla="*/ 1176 w 1445"/>
                <a:gd name="T63" fmla="*/ 321 h 1415"/>
                <a:gd name="T64" fmla="*/ 1193 w 1445"/>
                <a:gd name="T65" fmla="*/ 371 h 1415"/>
                <a:gd name="T66" fmla="*/ 1278 w 1445"/>
                <a:gd name="T67" fmla="*/ 555 h 1415"/>
                <a:gd name="T68" fmla="*/ 1285 w 1445"/>
                <a:gd name="T69" fmla="*/ 600 h 1415"/>
                <a:gd name="T70" fmla="*/ 1294 w 1445"/>
                <a:gd name="T71" fmla="*/ 711 h 1415"/>
                <a:gd name="T72" fmla="*/ 1285 w 1445"/>
                <a:gd name="T73" fmla="*/ 782 h 1415"/>
                <a:gd name="T74" fmla="*/ 1299 w 1445"/>
                <a:gd name="T75" fmla="*/ 822 h 1415"/>
                <a:gd name="T76" fmla="*/ 1273 w 1445"/>
                <a:gd name="T77" fmla="*/ 855 h 1415"/>
                <a:gd name="T78" fmla="*/ 1311 w 1445"/>
                <a:gd name="T79" fmla="*/ 933 h 1415"/>
                <a:gd name="T80" fmla="*/ 1327 w 1445"/>
                <a:gd name="T81" fmla="*/ 982 h 1415"/>
                <a:gd name="T82" fmla="*/ 1337 w 1445"/>
                <a:gd name="T83" fmla="*/ 1004 h 1415"/>
                <a:gd name="T84" fmla="*/ 1419 w 1445"/>
                <a:gd name="T85" fmla="*/ 1011 h 1415"/>
                <a:gd name="T86" fmla="*/ 1134 w 1445"/>
                <a:gd name="T87" fmla="*/ 1278 h 1415"/>
                <a:gd name="T88" fmla="*/ 907 w 1445"/>
                <a:gd name="T89" fmla="*/ 1405 h 1415"/>
                <a:gd name="T90" fmla="*/ 824 w 1445"/>
                <a:gd name="T91" fmla="*/ 1405 h 1415"/>
                <a:gd name="T92" fmla="*/ 831 w 1445"/>
                <a:gd name="T93" fmla="*/ 1353 h 1415"/>
                <a:gd name="T94" fmla="*/ 760 w 1445"/>
                <a:gd name="T95" fmla="*/ 1320 h 1415"/>
                <a:gd name="T96" fmla="*/ 734 w 1445"/>
                <a:gd name="T97" fmla="*/ 1315 h 1415"/>
                <a:gd name="T98" fmla="*/ 690 w 1445"/>
                <a:gd name="T99" fmla="*/ 1282 h 1415"/>
                <a:gd name="T100" fmla="*/ 269 w 1445"/>
                <a:gd name="T101" fmla="*/ 966 h 1415"/>
                <a:gd name="T102" fmla="*/ 0 w 1445"/>
                <a:gd name="T103" fmla="*/ 760 h 1415"/>
                <a:gd name="T104" fmla="*/ 108 w 1445"/>
                <a:gd name="T105" fmla="*/ 600 h 1415"/>
                <a:gd name="T106" fmla="*/ 160 w 1445"/>
                <a:gd name="T107" fmla="*/ 593 h 1415"/>
                <a:gd name="T108" fmla="*/ 236 w 1445"/>
                <a:gd name="T109" fmla="*/ 567 h 1415"/>
                <a:gd name="T110" fmla="*/ 302 w 1445"/>
                <a:gd name="T111" fmla="*/ 522 h 1415"/>
                <a:gd name="T112" fmla="*/ 356 w 1445"/>
                <a:gd name="T113" fmla="*/ 498 h 1415"/>
                <a:gd name="T114" fmla="*/ 340 w 1445"/>
                <a:gd name="T115" fmla="*/ 482 h 1415"/>
                <a:gd name="T116" fmla="*/ 366 w 1445"/>
                <a:gd name="T117" fmla="*/ 432 h 1415"/>
                <a:gd name="T118" fmla="*/ 366 w 1445"/>
                <a:gd name="T119" fmla="*/ 432 h 1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5" h="1415">
                  <a:moveTo>
                    <a:pt x="366" y="432"/>
                  </a:moveTo>
                  <a:lnTo>
                    <a:pt x="399" y="427"/>
                  </a:lnTo>
                  <a:lnTo>
                    <a:pt x="408" y="411"/>
                  </a:lnTo>
                  <a:lnTo>
                    <a:pt x="446" y="399"/>
                  </a:lnTo>
                  <a:lnTo>
                    <a:pt x="522" y="411"/>
                  </a:lnTo>
                  <a:lnTo>
                    <a:pt x="522" y="399"/>
                  </a:lnTo>
                  <a:lnTo>
                    <a:pt x="517" y="399"/>
                  </a:lnTo>
                  <a:lnTo>
                    <a:pt x="522" y="387"/>
                  </a:lnTo>
                  <a:lnTo>
                    <a:pt x="538" y="371"/>
                  </a:lnTo>
                  <a:lnTo>
                    <a:pt x="508" y="354"/>
                  </a:lnTo>
                  <a:lnTo>
                    <a:pt x="501" y="338"/>
                  </a:lnTo>
                  <a:lnTo>
                    <a:pt x="508" y="333"/>
                  </a:lnTo>
                  <a:lnTo>
                    <a:pt x="491" y="316"/>
                  </a:lnTo>
                  <a:lnTo>
                    <a:pt x="491" y="283"/>
                  </a:lnTo>
                  <a:lnTo>
                    <a:pt x="484" y="276"/>
                  </a:lnTo>
                  <a:lnTo>
                    <a:pt x="491" y="243"/>
                  </a:lnTo>
                  <a:lnTo>
                    <a:pt x="484" y="222"/>
                  </a:lnTo>
                  <a:lnTo>
                    <a:pt x="491" y="210"/>
                  </a:lnTo>
                  <a:lnTo>
                    <a:pt x="475" y="205"/>
                  </a:lnTo>
                  <a:lnTo>
                    <a:pt x="484" y="193"/>
                  </a:lnTo>
                  <a:lnTo>
                    <a:pt x="453" y="165"/>
                  </a:lnTo>
                  <a:lnTo>
                    <a:pt x="484" y="165"/>
                  </a:lnTo>
                  <a:lnTo>
                    <a:pt x="517" y="139"/>
                  </a:lnTo>
                  <a:lnTo>
                    <a:pt x="538" y="116"/>
                  </a:lnTo>
                  <a:lnTo>
                    <a:pt x="555" y="111"/>
                  </a:lnTo>
                  <a:lnTo>
                    <a:pt x="560" y="116"/>
                  </a:lnTo>
                  <a:lnTo>
                    <a:pt x="583" y="99"/>
                  </a:lnTo>
                  <a:lnTo>
                    <a:pt x="597" y="111"/>
                  </a:lnTo>
                  <a:lnTo>
                    <a:pt x="626" y="82"/>
                  </a:lnTo>
                  <a:lnTo>
                    <a:pt x="690" y="45"/>
                  </a:lnTo>
                  <a:lnTo>
                    <a:pt x="772" y="38"/>
                  </a:lnTo>
                  <a:lnTo>
                    <a:pt x="786" y="45"/>
                  </a:lnTo>
                  <a:lnTo>
                    <a:pt x="810" y="21"/>
                  </a:lnTo>
                  <a:lnTo>
                    <a:pt x="853" y="28"/>
                  </a:lnTo>
                  <a:lnTo>
                    <a:pt x="878" y="12"/>
                  </a:lnTo>
                  <a:lnTo>
                    <a:pt x="938" y="12"/>
                  </a:lnTo>
                  <a:lnTo>
                    <a:pt x="975" y="38"/>
                  </a:lnTo>
                  <a:lnTo>
                    <a:pt x="1008" y="21"/>
                  </a:lnTo>
                  <a:lnTo>
                    <a:pt x="1046" y="12"/>
                  </a:lnTo>
                  <a:lnTo>
                    <a:pt x="1046" y="4"/>
                  </a:lnTo>
                  <a:lnTo>
                    <a:pt x="1063" y="0"/>
                  </a:lnTo>
                  <a:lnTo>
                    <a:pt x="1067" y="12"/>
                  </a:lnTo>
                  <a:lnTo>
                    <a:pt x="1096" y="12"/>
                  </a:lnTo>
                  <a:lnTo>
                    <a:pt x="1110" y="12"/>
                  </a:lnTo>
                  <a:lnTo>
                    <a:pt x="1117" y="4"/>
                  </a:lnTo>
                  <a:lnTo>
                    <a:pt x="1117" y="0"/>
                  </a:lnTo>
                  <a:lnTo>
                    <a:pt x="1155" y="12"/>
                  </a:lnTo>
                  <a:lnTo>
                    <a:pt x="1164" y="21"/>
                  </a:lnTo>
                  <a:lnTo>
                    <a:pt x="1186" y="12"/>
                  </a:lnTo>
                  <a:lnTo>
                    <a:pt x="1209" y="12"/>
                  </a:lnTo>
                  <a:lnTo>
                    <a:pt x="1219" y="21"/>
                  </a:lnTo>
                  <a:lnTo>
                    <a:pt x="1176" y="45"/>
                  </a:lnTo>
                  <a:lnTo>
                    <a:pt x="1193" y="54"/>
                  </a:lnTo>
                  <a:lnTo>
                    <a:pt x="1186" y="99"/>
                  </a:lnTo>
                  <a:lnTo>
                    <a:pt x="1193" y="116"/>
                  </a:lnTo>
                  <a:lnTo>
                    <a:pt x="1193" y="139"/>
                  </a:lnTo>
                  <a:lnTo>
                    <a:pt x="1193" y="156"/>
                  </a:lnTo>
                  <a:lnTo>
                    <a:pt x="1186" y="205"/>
                  </a:lnTo>
                  <a:lnTo>
                    <a:pt x="1155" y="222"/>
                  </a:lnTo>
                  <a:lnTo>
                    <a:pt x="1155" y="234"/>
                  </a:lnTo>
                  <a:lnTo>
                    <a:pt x="1134" y="243"/>
                  </a:lnTo>
                  <a:lnTo>
                    <a:pt x="1134" y="260"/>
                  </a:lnTo>
                  <a:lnTo>
                    <a:pt x="1148" y="316"/>
                  </a:lnTo>
                  <a:lnTo>
                    <a:pt x="1176" y="321"/>
                  </a:lnTo>
                  <a:lnTo>
                    <a:pt x="1193" y="345"/>
                  </a:lnTo>
                  <a:lnTo>
                    <a:pt x="1193" y="371"/>
                  </a:lnTo>
                  <a:lnTo>
                    <a:pt x="1240" y="411"/>
                  </a:lnTo>
                  <a:lnTo>
                    <a:pt x="1278" y="555"/>
                  </a:lnTo>
                  <a:lnTo>
                    <a:pt x="1261" y="560"/>
                  </a:lnTo>
                  <a:lnTo>
                    <a:pt x="1285" y="600"/>
                  </a:lnTo>
                  <a:lnTo>
                    <a:pt x="1294" y="638"/>
                  </a:lnTo>
                  <a:lnTo>
                    <a:pt x="1294" y="711"/>
                  </a:lnTo>
                  <a:lnTo>
                    <a:pt x="1311" y="744"/>
                  </a:lnTo>
                  <a:lnTo>
                    <a:pt x="1285" y="782"/>
                  </a:lnTo>
                  <a:lnTo>
                    <a:pt x="1299" y="815"/>
                  </a:lnTo>
                  <a:lnTo>
                    <a:pt x="1299" y="822"/>
                  </a:lnTo>
                  <a:lnTo>
                    <a:pt x="1299" y="843"/>
                  </a:lnTo>
                  <a:lnTo>
                    <a:pt x="1273" y="855"/>
                  </a:lnTo>
                  <a:lnTo>
                    <a:pt x="1261" y="871"/>
                  </a:lnTo>
                  <a:lnTo>
                    <a:pt x="1311" y="933"/>
                  </a:lnTo>
                  <a:lnTo>
                    <a:pt x="1311" y="971"/>
                  </a:lnTo>
                  <a:lnTo>
                    <a:pt x="1327" y="982"/>
                  </a:lnTo>
                  <a:lnTo>
                    <a:pt x="1327" y="987"/>
                  </a:lnTo>
                  <a:lnTo>
                    <a:pt x="1337" y="1004"/>
                  </a:lnTo>
                  <a:lnTo>
                    <a:pt x="1353" y="999"/>
                  </a:lnTo>
                  <a:lnTo>
                    <a:pt x="1419" y="1011"/>
                  </a:lnTo>
                  <a:lnTo>
                    <a:pt x="1445" y="1077"/>
                  </a:lnTo>
                  <a:lnTo>
                    <a:pt x="1134" y="1278"/>
                  </a:lnTo>
                  <a:lnTo>
                    <a:pt x="1013" y="1389"/>
                  </a:lnTo>
                  <a:lnTo>
                    <a:pt x="907" y="1405"/>
                  </a:lnTo>
                  <a:lnTo>
                    <a:pt x="841" y="1415"/>
                  </a:lnTo>
                  <a:lnTo>
                    <a:pt x="824" y="1405"/>
                  </a:lnTo>
                  <a:lnTo>
                    <a:pt x="841" y="1389"/>
                  </a:lnTo>
                  <a:lnTo>
                    <a:pt x="831" y="1353"/>
                  </a:lnTo>
                  <a:lnTo>
                    <a:pt x="777" y="1337"/>
                  </a:lnTo>
                  <a:lnTo>
                    <a:pt x="760" y="1320"/>
                  </a:lnTo>
                  <a:lnTo>
                    <a:pt x="756" y="1320"/>
                  </a:lnTo>
                  <a:lnTo>
                    <a:pt x="734" y="1315"/>
                  </a:lnTo>
                  <a:lnTo>
                    <a:pt x="723" y="1299"/>
                  </a:lnTo>
                  <a:lnTo>
                    <a:pt x="690" y="1282"/>
                  </a:lnTo>
                  <a:lnTo>
                    <a:pt x="690" y="1261"/>
                  </a:lnTo>
                  <a:lnTo>
                    <a:pt x="269" y="966"/>
                  </a:lnTo>
                  <a:lnTo>
                    <a:pt x="0" y="782"/>
                  </a:lnTo>
                  <a:lnTo>
                    <a:pt x="0" y="760"/>
                  </a:lnTo>
                  <a:lnTo>
                    <a:pt x="0" y="671"/>
                  </a:lnTo>
                  <a:lnTo>
                    <a:pt x="108" y="600"/>
                  </a:lnTo>
                  <a:lnTo>
                    <a:pt x="146" y="609"/>
                  </a:lnTo>
                  <a:lnTo>
                    <a:pt x="160" y="593"/>
                  </a:lnTo>
                  <a:lnTo>
                    <a:pt x="222" y="583"/>
                  </a:lnTo>
                  <a:lnTo>
                    <a:pt x="236" y="567"/>
                  </a:lnTo>
                  <a:lnTo>
                    <a:pt x="260" y="538"/>
                  </a:lnTo>
                  <a:lnTo>
                    <a:pt x="302" y="522"/>
                  </a:lnTo>
                  <a:lnTo>
                    <a:pt x="323" y="498"/>
                  </a:lnTo>
                  <a:lnTo>
                    <a:pt x="356" y="498"/>
                  </a:lnTo>
                  <a:lnTo>
                    <a:pt x="356" y="489"/>
                  </a:lnTo>
                  <a:lnTo>
                    <a:pt x="340" y="482"/>
                  </a:lnTo>
                  <a:lnTo>
                    <a:pt x="340" y="444"/>
                  </a:lnTo>
                  <a:lnTo>
                    <a:pt x="366" y="432"/>
                  </a:lnTo>
                  <a:lnTo>
                    <a:pt x="366" y="432"/>
                  </a:lnTo>
                  <a:lnTo>
                    <a:pt x="366" y="432"/>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 name="Freeform 381">
              <a:extLst>
                <a:ext uri="{FF2B5EF4-FFF2-40B4-BE49-F238E27FC236}">
                  <a16:creationId xmlns:a16="http://schemas.microsoft.com/office/drawing/2014/main" id="{4870B9E5-9150-4C8D-A3CC-C0801BF18F5D}"/>
                </a:ext>
              </a:extLst>
            </p:cNvPr>
            <p:cNvSpPr>
              <a:spLocks noEditPoints="1"/>
            </p:cNvSpPr>
            <p:nvPr/>
          </p:nvSpPr>
          <p:spPr bwMode="gray">
            <a:xfrm>
              <a:off x="14771877" y="3065420"/>
              <a:ext cx="129282" cy="98189"/>
            </a:xfrm>
            <a:custGeom>
              <a:avLst/>
              <a:gdLst>
                <a:gd name="T0" fmla="*/ 118 w 395"/>
                <a:gd name="T1" fmla="*/ 229 h 300"/>
                <a:gd name="T2" fmla="*/ 118 w 395"/>
                <a:gd name="T3" fmla="*/ 212 h 300"/>
                <a:gd name="T4" fmla="*/ 102 w 395"/>
                <a:gd name="T5" fmla="*/ 196 h 300"/>
                <a:gd name="T6" fmla="*/ 64 w 395"/>
                <a:gd name="T7" fmla="*/ 168 h 300"/>
                <a:gd name="T8" fmla="*/ 85 w 395"/>
                <a:gd name="T9" fmla="*/ 139 h 300"/>
                <a:gd name="T10" fmla="*/ 47 w 395"/>
                <a:gd name="T11" fmla="*/ 99 h 300"/>
                <a:gd name="T12" fmla="*/ 26 w 395"/>
                <a:gd name="T13" fmla="*/ 73 h 300"/>
                <a:gd name="T14" fmla="*/ 17 w 395"/>
                <a:gd name="T15" fmla="*/ 45 h 300"/>
                <a:gd name="T16" fmla="*/ 71 w 395"/>
                <a:gd name="T17" fmla="*/ 45 h 300"/>
                <a:gd name="T18" fmla="*/ 102 w 395"/>
                <a:gd name="T19" fmla="*/ 57 h 300"/>
                <a:gd name="T20" fmla="*/ 135 w 395"/>
                <a:gd name="T21" fmla="*/ 61 h 300"/>
                <a:gd name="T22" fmla="*/ 109 w 395"/>
                <a:gd name="T23" fmla="*/ 28 h 300"/>
                <a:gd name="T24" fmla="*/ 118 w 395"/>
                <a:gd name="T25" fmla="*/ 0 h 300"/>
                <a:gd name="T26" fmla="*/ 140 w 395"/>
                <a:gd name="T27" fmla="*/ 0 h 300"/>
                <a:gd name="T28" fmla="*/ 177 w 395"/>
                <a:gd name="T29" fmla="*/ 45 h 300"/>
                <a:gd name="T30" fmla="*/ 227 w 395"/>
                <a:gd name="T31" fmla="*/ 57 h 300"/>
                <a:gd name="T32" fmla="*/ 253 w 395"/>
                <a:gd name="T33" fmla="*/ 23 h 300"/>
                <a:gd name="T34" fmla="*/ 303 w 395"/>
                <a:gd name="T35" fmla="*/ 40 h 300"/>
                <a:gd name="T36" fmla="*/ 336 w 395"/>
                <a:gd name="T37" fmla="*/ 94 h 300"/>
                <a:gd name="T38" fmla="*/ 390 w 395"/>
                <a:gd name="T39" fmla="*/ 118 h 300"/>
                <a:gd name="T40" fmla="*/ 362 w 395"/>
                <a:gd name="T41" fmla="*/ 134 h 300"/>
                <a:gd name="T42" fmla="*/ 319 w 395"/>
                <a:gd name="T43" fmla="*/ 205 h 300"/>
                <a:gd name="T44" fmla="*/ 319 w 395"/>
                <a:gd name="T45" fmla="*/ 222 h 300"/>
                <a:gd name="T46" fmla="*/ 303 w 395"/>
                <a:gd name="T47" fmla="*/ 246 h 300"/>
                <a:gd name="T48" fmla="*/ 298 w 395"/>
                <a:gd name="T49" fmla="*/ 229 h 300"/>
                <a:gd name="T50" fmla="*/ 269 w 395"/>
                <a:gd name="T51" fmla="*/ 300 h 300"/>
                <a:gd name="T52" fmla="*/ 248 w 395"/>
                <a:gd name="T53" fmla="*/ 279 h 300"/>
                <a:gd name="T54" fmla="*/ 232 w 395"/>
                <a:gd name="T55" fmla="*/ 250 h 300"/>
                <a:gd name="T56" fmla="*/ 232 w 395"/>
                <a:gd name="T57" fmla="*/ 222 h 300"/>
                <a:gd name="T58" fmla="*/ 227 w 395"/>
                <a:gd name="T59" fmla="*/ 184 h 300"/>
                <a:gd name="T60" fmla="*/ 123 w 395"/>
                <a:gd name="T61" fmla="*/ 250 h 300"/>
                <a:gd name="T62" fmla="*/ 123 w 395"/>
                <a:gd name="T63" fmla="*/ 250 h 300"/>
                <a:gd name="T64" fmla="*/ 55 w 395"/>
                <a:gd name="T65" fmla="*/ 99 h 300"/>
                <a:gd name="T66" fmla="*/ 55 w 395"/>
                <a:gd name="T67" fmla="*/ 111 h 300"/>
                <a:gd name="T68" fmla="*/ 55 w 395"/>
                <a:gd name="T69" fmla="*/ 111 h 300"/>
                <a:gd name="T70" fmla="*/ 0 w 395"/>
                <a:gd name="T71" fmla="*/ 189 h 300"/>
                <a:gd name="T72" fmla="*/ 47 w 395"/>
                <a:gd name="T73" fmla="*/ 205 h 300"/>
                <a:gd name="T74" fmla="*/ 80 w 395"/>
                <a:gd name="T75" fmla="*/ 212 h 300"/>
                <a:gd name="T76" fmla="*/ 85 w 395"/>
                <a:gd name="T77" fmla="*/ 229 h 300"/>
                <a:gd name="T78" fmla="*/ 47 w 395"/>
                <a:gd name="T79" fmla="*/ 246 h 300"/>
                <a:gd name="T80" fmla="*/ 26 w 395"/>
                <a:gd name="T81" fmla="*/ 229 h 300"/>
                <a:gd name="T82" fmla="*/ 0 w 395"/>
                <a:gd name="T83" fmla="*/ 18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5" h="300">
                  <a:moveTo>
                    <a:pt x="123" y="250"/>
                  </a:moveTo>
                  <a:lnTo>
                    <a:pt x="118" y="229"/>
                  </a:lnTo>
                  <a:lnTo>
                    <a:pt x="135" y="229"/>
                  </a:lnTo>
                  <a:lnTo>
                    <a:pt x="118" y="212"/>
                  </a:lnTo>
                  <a:lnTo>
                    <a:pt x="123" y="196"/>
                  </a:lnTo>
                  <a:lnTo>
                    <a:pt x="102" y="196"/>
                  </a:lnTo>
                  <a:lnTo>
                    <a:pt x="71" y="168"/>
                  </a:lnTo>
                  <a:lnTo>
                    <a:pt x="64" y="168"/>
                  </a:lnTo>
                  <a:lnTo>
                    <a:pt x="80" y="156"/>
                  </a:lnTo>
                  <a:lnTo>
                    <a:pt x="85" y="139"/>
                  </a:lnTo>
                  <a:lnTo>
                    <a:pt x="55" y="127"/>
                  </a:lnTo>
                  <a:lnTo>
                    <a:pt x="47" y="99"/>
                  </a:lnTo>
                  <a:lnTo>
                    <a:pt x="64" y="83"/>
                  </a:lnTo>
                  <a:lnTo>
                    <a:pt x="26" y="73"/>
                  </a:lnTo>
                  <a:lnTo>
                    <a:pt x="33" y="61"/>
                  </a:lnTo>
                  <a:lnTo>
                    <a:pt x="17" y="45"/>
                  </a:lnTo>
                  <a:lnTo>
                    <a:pt x="38" y="40"/>
                  </a:lnTo>
                  <a:lnTo>
                    <a:pt x="71" y="45"/>
                  </a:lnTo>
                  <a:lnTo>
                    <a:pt x="80" y="57"/>
                  </a:lnTo>
                  <a:lnTo>
                    <a:pt x="102" y="57"/>
                  </a:lnTo>
                  <a:lnTo>
                    <a:pt x="123" y="73"/>
                  </a:lnTo>
                  <a:lnTo>
                    <a:pt x="135" y="61"/>
                  </a:lnTo>
                  <a:lnTo>
                    <a:pt x="135" y="45"/>
                  </a:lnTo>
                  <a:lnTo>
                    <a:pt x="109" y="28"/>
                  </a:lnTo>
                  <a:lnTo>
                    <a:pt x="102" y="16"/>
                  </a:lnTo>
                  <a:lnTo>
                    <a:pt x="118" y="0"/>
                  </a:lnTo>
                  <a:lnTo>
                    <a:pt x="135" y="5"/>
                  </a:lnTo>
                  <a:lnTo>
                    <a:pt x="140" y="0"/>
                  </a:lnTo>
                  <a:lnTo>
                    <a:pt x="173" y="28"/>
                  </a:lnTo>
                  <a:lnTo>
                    <a:pt x="177" y="45"/>
                  </a:lnTo>
                  <a:lnTo>
                    <a:pt x="210" y="61"/>
                  </a:lnTo>
                  <a:lnTo>
                    <a:pt x="227" y="57"/>
                  </a:lnTo>
                  <a:lnTo>
                    <a:pt x="232" y="40"/>
                  </a:lnTo>
                  <a:lnTo>
                    <a:pt x="253" y="23"/>
                  </a:lnTo>
                  <a:lnTo>
                    <a:pt x="269" y="5"/>
                  </a:lnTo>
                  <a:lnTo>
                    <a:pt x="303" y="40"/>
                  </a:lnTo>
                  <a:lnTo>
                    <a:pt x="307" y="73"/>
                  </a:lnTo>
                  <a:lnTo>
                    <a:pt x="336" y="94"/>
                  </a:lnTo>
                  <a:lnTo>
                    <a:pt x="336" y="99"/>
                  </a:lnTo>
                  <a:lnTo>
                    <a:pt x="390" y="118"/>
                  </a:lnTo>
                  <a:lnTo>
                    <a:pt x="395" y="139"/>
                  </a:lnTo>
                  <a:lnTo>
                    <a:pt x="362" y="134"/>
                  </a:lnTo>
                  <a:lnTo>
                    <a:pt x="336" y="151"/>
                  </a:lnTo>
                  <a:lnTo>
                    <a:pt x="319" y="205"/>
                  </a:lnTo>
                  <a:lnTo>
                    <a:pt x="324" y="212"/>
                  </a:lnTo>
                  <a:lnTo>
                    <a:pt x="319" y="222"/>
                  </a:lnTo>
                  <a:lnTo>
                    <a:pt x="307" y="246"/>
                  </a:lnTo>
                  <a:lnTo>
                    <a:pt x="303" y="246"/>
                  </a:lnTo>
                  <a:lnTo>
                    <a:pt x="307" y="238"/>
                  </a:lnTo>
                  <a:lnTo>
                    <a:pt x="298" y="229"/>
                  </a:lnTo>
                  <a:lnTo>
                    <a:pt x="286" y="295"/>
                  </a:lnTo>
                  <a:lnTo>
                    <a:pt x="269" y="300"/>
                  </a:lnTo>
                  <a:lnTo>
                    <a:pt x="253" y="279"/>
                  </a:lnTo>
                  <a:lnTo>
                    <a:pt x="248" y="279"/>
                  </a:lnTo>
                  <a:lnTo>
                    <a:pt x="232" y="262"/>
                  </a:lnTo>
                  <a:lnTo>
                    <a:pt x="232" y="250"/>
                  </a:lnTo>
                  <a:lnTo>
                    <a:pt x="248" y="246"/>
                  </a:lnTo>
                  <a:lnTo>
                    <a:pt x="232" y="222"/>
                  </a:lnTo>
                  <a:lnTo>
                    <a:pt x="253" y="212"/>
                  </a:lnTo>
                  <a:lnTo>
                    <a:pt x="227" y="184"/>
                  </a:lnTo>
                  <a:lnTo>
                    <a:pt x="147" y="229"/>
                  </a:lnTo>
                  <a:lnTo>
                    <a:pt x="123" y="250"/>
                  </a:lnTo>
                  <a:lnTo>
                    <a:pt x="123" y="250"/>
                  </a:lnTo>
                  <a:lnTo>
                    <a:pt x="123" y="250"/>
                  </a:lnTo>
                  <a:close/>
                  <a:moveTo>
                    <a:pt x="55" y="111"/>
                  </a:moveTo>
                  <a:lnTo>
                    <a:pt x="55" y="99"/>
                  </a:lnTo>
                  <a:lnTo>
                    <a:pt x="55" y="99"/>
                  </a:lnTo>
                  <a:lnTo>
                    <a:pt x="55" y="111"/>
                  </a:lnTo>
                  <a:lnTo>
                    <a:pt x="55" y="111"/>
                  </a:lnTo>
                  <a:lnTo>
                    <a:pt x="55" y="111"/>
                  </a:lnTo>
                  <a:close/>
                  <a:moveTo>
                    <a:pt x="0" y="189"/>
                  </a:moveTo>
                  <a:lnTo>
                    <a:pt x="0" y="189"/>
                  </a:lnTo>
                  <a:lnTo>
                    <a:pt x="26" y="184"/>
                  </a:lnTo>
                  <a:lnTo>
                    <a:pt x="47" y="205"/>
                  </a:lnTo>
                  <a:lnTo>
                    <a:pt x="71" y="196"/>
                  </a:lnTo>
                  <a:lnTo>
                    <a:pt x="80" y="212"/>
                  </a:lnTo>
                  <a:lnTo>
                    <a:pt x="85" y="222"/>
                  </a:lnTo>
                  <a:lnTo>
                    <a:pt x="85" y="229"/>
                  </a:lnTo>
                  <a:lnTo>
                    <a:pt x="102" y="262"/>
                  </a:lnTo>
                  <a:lnTo>
                    <a:pt x="47" y="246"/>
                  </a:lnTo>
                  <a:lnTo>
                    <a:pt x="38" y="229"/>
                  </a:lnTo>
                  <a:lnTo>
                    <a:pt x="26" y="229"/>
                  </a:lnTo>
                  <a:lnTo>
                    <a:pt x="0" y="189"/>
                  </a:lnTo>
                  <a:lnTo>
                    <a:pt x="0" y="189"/>
                  </a:lnTo>
                  <a:lnTo>
                    <a:pt x="0" y="18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 name="Freeform 382">
              <a:extLst>
                <a:ext uri="{FF2B5EF4-FFF2-40B4-BE49-F238E27FC236}">
                  <a16:creationId xmlns:a16="http://schemas.microsoft.com/office/drawing/2014/main" id="{1B9B0C11-B933-462B-B415-23EAA695DCD8}"/>
                </a:ext>
              </a:extLst>
            </p:cNvPr>
            <p:cNvSpPr>
              <a:spLocks/>
            </p:cNvSpPr>
            <p:nvPr/>
          </p:nvSpPr>
          <p:spPr bwMode="gray">
            <a:xfrm>
              <a:off x="14186016" y="3042837"/>
              <a:ext cx="40912" cy="84443"/>
            </a:xfrm>
            <a:custGeom>
              <a:avLst/>
              <a:gdLst>
                <a:gd name="T0" fmla="*/ 7 w 125"/>
                <a:gd name="T1" fmla="*/ 66 h 258"/>
                <a:gd name="T2" fmla="*/ 7 w 125"/>
                <a:gd name="T3" fmla="*/ 50 h 258"/>
                <a:gd name="T4" fmla="*/ 0 w 125"/>
                <a:gd name="T5" fmla="*/ 40 h 258"/>
                <a:gd name="T6" fmla="*/ 33 w 125"/>
                <a:gd name="T7" fmla="*/ 0 h 258"/>
                <a:gd name="T8" fmla="*/ 37 w 125"/>
                <a:gd name="T9" fmla="*/ 0 h 258"/>
                <a:gd name="T10" fmla="*/ 37 w 125"/>
                <a:gd name="T11" fmla="*/ 17 h 258"/>
                <a:gd name="T12" fmla="*/ 54 w 125"/>
                <a:gd name="T13" fmla="*/ 12 h 258"/>
                <a:gd name="T14" fmla="*/ 71 w 125"/>
                <a:gd name="T15" fmla="*/ 22 h 258"/>
                <a:gd name="T16" fmla="*/ 92 w 125"/>
                <a:gd name="T17" fmla="*/ 33 h 258"/>
                <a:gd name="T18" fmla="*/ 92 w 125"/>
                <a:gd name="T19" fmla="*/ 66 h 258"/>
                <a:gd name="T20" fmla="*/ 87 w 125"/>
                <a:gd name="T21" fmla="*/ 95 h 258"/>
                <a:gd name="T22" fmla="*/ 92 w 125"/>
                <a:gd name="T23" fmla="*/ 107 h 258"/>
                <a:gd name="T24" fmla="*/ 87 w 125"/>
                <a:gd name="T25" fmla="*/ 111 h 258"/>
                <a:gd name="T26" fmla="*/ 96 w 125"/>
                <a:gd name="T27" fmla="*/ 152 h 258"/>
                <a:gd name="T28" fmla="*/ 108 w 125"/>
                <a:gd name="T29" fmla="*/ 152 h 258"/>
                <a:gd name="T30" fmla="*/ 125 w 125"/>
                <a:gd name="T31" fmla="*/ 152 h 258"/>
                <a:gd name="T32" fmla="*/ 125 w 125"/>
                <a:gd name="T33" fmla="*/ 180 h 258"/>
                <a:gd name="T34" fmla="*/ 108 w 125"/>
                <a:gd name="T35" fmla="*/ 196 h 258"/>
                <a:gd name="T36" fmla="*/ 96 w 125"/>
                <a:gd name="T37" fmla="*/ 218 h 258"/>
                <a:gd name="T38" fmla="*/ 75 w 125"/>
                <a:gd name="T39" fmla="*/ 237 h 258"/>
                <a:gd name="T40" fmla="*/ 87 w 125"/>
                <a:gd name="T41" fmla="*/ 241 h 258"/>
                <a:gd name="T42" fmla="*/ 71 w 125"/>
                <a:gd name="T43" fmla="*/ 253 h 258"/>
                <a:gd name="T44" fmla="*/ 75 w 125"/>
                <a:gd name="T45" fmla="*/ 253 h 258"/>
                <a:gd name="T46" fmla="*/ 71 w 125"/>
                <a:gd name="T47" fmla="*/ 258 h 258"/>
                <a:gd name="T48" fmla="*/ 54 w 125"/>
                <a:gd name="T49" fmla="*/ 258 h 258"/>
                <a:gd name="T50" fmla="*/ 45 w 125"/>
                <a:gd name="T51" fmla="*/ 225 h 258"/>
                <a:gd name="T52" fmla="*/ 16 w 125"/>
                <a:gd name="T53" fmla="*/ 208 h 258"/>
                <a:gd name="T54" fmla="*/ 0 w 125"/>
                <a:gd name="T55" fmla="*/ 196 h 258"/>
                <a:gd name="T56" fmla="*/ 16 w 125"/>
                <a:gd name="T57" fmla="*/ 201 h 258"/>
                <a:gd name="T58" fmla="*/ 16 w 125"/>
                <a:gd name="T59" fmla="*/ 180 h 258"/>
                <a:gd name="T60" fmla="*/ 7 w 125"/>
                <a:gd name="T61" fmla="*/ 180 h 258"/>
                <a:gd name="T62" fmla="*/ 7 w 125"/>
                <a:gd name="T63" fmla="*/ 152 h 258"/>
                <a:gd name="T64" fmla="*/ 16 w 125"/>
                <a:gd name="T65" fmla="*/ 152 h 258"/>
                <a:gd name="T66" fmla="*/ 16 w 125"/>
                <a:gd name="T67" fmla="*/ 140 h 258"/>
                <a:gd name="T68" fmla="*/ 16 w 125"/>
                <a:gd name="T69" fmla="*/ 123 h 258"/>
                <a:gd name="T70" fmla="*/ 16 w 125"/>
                <a:gd name="T71" fmla="*/ 107 h 258"/>
                <a:gd name="T72" fmla="*/ 21 w 125"/>
                <a:gd name="T73" fmla="*/ 90 h 258"/>
                <a:gd name="T74" fmla="*/ 21 w 125"/>
                <a:gd name="T75" fmla="*/ 74 h 258"/>
                <a:gd name="T76" fmla="*/ 7 w 125"/>
                <a:gd name="T77" fmla="*/ 66 h 258"/>
                <a:gd name="T78" fmla="*/ 7 w 125"/>
                <a:gd name="T79" fmla="*/ 66 h 258"/>
                <a:gd name="T80" fmla="*/ 7 w 125"/>
                <a:gd name="T81" fmla="*/ 6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5" h="258">
                  <a:moveTo>
                    <a:pt x="7" y="66"/>
                  </a:moveTo>
                  <a:lnTo>
                    <a:pt x="7" y="50"/>
                  </a:lnTo>
                  <a:lnTo>
                    <a:pt x="0" y="40"/>
                  </a:lnTo>
                  <a:lnTo>
                    <a:pt x="33" y="0"/>
                  </a:lnTo>
                  <a:lnTo>
                    <a:pt x="37" y="0"/>
                  </a:lnTo>
                  <a:lnTo>
                    <a:pt x="37" y="17"/>
                  </a:lnTo>
                  <a:lnTo>
                    <a:pt x="54" y="12"/>
                  </a:lnTo>
                  <a:lnTo>
                    <a:pt x="71" y="22"/>
                  </a:lnTo>
                  <a:lnTo>
                    <a:pt x="92" y="33"/>
                  </a:lnTo>
                  <a:lnTo>
                    <a:pt x="92" y="66"/>
                  </a:lnTo>
                  <a:lnTo>
                    <a:pt x="87" y="95"/>
                  </a:lnTo>
                  <a:lnTo>
                    <a:pt x="92" y="107"/>
                  </a:lnTo>
                  <a:lnTo>
                    <a:pt x="87" y="111"/>
                  </a:lnTo>
                  <a:lnTo>
                    <a:pt x="96" y="152"/>
                  </a:lnTo>
                  <a:lnTo>
                    <a:pt x="108" y="152"/>
                  </a:lnTo>
                  <a:lnTo>
                    <a:pt x="125" y="152"/>
                  </a:lnTo>
                  <a:lnTo>
                    <a:pt x="125" y="180"/>
                  </a:lnTo>
                  <a:lnTo>
                    <a:pt x="108" y="196"/>
                  </a:lnTo>
                  <a:lnTo>
                    <a:pt x="96" y="218"/>
                  </a:lnTo>
                  <a:lnTo>
                    <a:pt x="75" y="237"/>
                  </a:lnTo>
                  <a:lnTo>
                    <a:pt x="87" y="241"/>
                  </a:lnTo>
                  <a:lnTo>
                    <a:pt x="71" y="253"/>
                  </a:lnTo>
                  <a:lnTo>
                    <a:pt x="75" y="253"/>
                  </a:lnTo>
                  <a:lnTo>
                    <a:pt x="71" y="258"/>
                  </a:lnTo>
                  <a:lnTo>
                    <a:pt x="54" y="258"/>
                  </a:lnTo>
                  <a:lnTo>
                    <a:pt x="45" y="225"/>
                  </a:lnTo>
                  <a:lnTo>
                    <a:pt x="16" y="208"/>
                  </a:lnTo>
                  <a:lnTo>
                    <a:pt x="0" y="196"/>
                  </a:lnTo>
                  <a:lnTo>
                    <a:pt x="16" y="201"/>
                  </a:lnTo>
                  <a:lnTo>
                    <a:pt x="16" y="180"/>
                  </a:lnTo>
                  <a:lnTo>
                    <a:pt x="7" y="180"/>
                  </a:lnTo>
                  <a:lnTo>
                    <a:pt x="7" y="152"/>
                  </a:lnTo>
                  <a:lnTo>
                    <a:pt x="16" y="152"/>
                  </a:lnTo>
                  <a:lnTo>
                    <a:pt x="16" y="140"/>
                  </a:lnTo>
                  <a:lnTo>
                    <a:pt x="16" y="123"/>
                  </a:lnTo>
                  <a:lnTo>
                    <a:pt x="16" y="107"/>
                  </a:lnTo>
                  <a:lnTo>
                    <a:pt x="21" y="90"/>
                  </a:lnTo>
                  <a:lnTo>
                    <a:pt x="21" y="74"/>
                  </a:lnTo>
                  <a:lnTo>
                    <a:pt x="7" y="66"/>
                  </a:lnTo>
                  <a:lnTo>
                    <a:pt x="7" y="66"/>
                  </a:lnTo>
                  <a:lnTo>
                    <a:pt x="7" y="66"/>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 name="Freeform 383">
              <a:extLst>
                <a:ext uri="{FF2B5EF4-FFF2-40B4-BE49-F238E27FC236}">
                  <a16:creationId xmlns:a16="http://schemas.microsoft.com/office/drawing/2014/main" id="{35DADD49-53FF-4EDE-82D0-60E03544E387}"/>
                </a:ext>
              </a:extLst>
            </p:cNvPr>
            <p:cNvSpPr>
              <a:spLocks noEditPoints="1"/>
            </p:cNvSpPr>
            <p:nvPr/>
          </p:nvSpPr>
          <p:spPr bwMode="gray">
            <a:xfrm>
              <a:off x="14741111" y="3079167"/>
              <a:ext cx="73969" cy="72005"/>
            </a:xfrm>
            <a:custGeom>
              <a:avLst/>
              <a:gdLst>
                <a:gd name="T0" fmla="*/ 217 w 226"/>
                <a:gd name="T1" fmla="*/ 208 h 220"/>
                <a:gd name="T2" fmla="*/ 193 w 226"/>
                <a:gd name="T3" fmla="*/ 220 h 220"/>
                <a:gd name="T4" fmla="*/ 177 w 226"/>
                <a:gd name="T5" fmla="*/ 187 h 220"/>
                <a:gd name="T6" fmla="*/ 177 w 226"/>
                <a:gd name="T7" fmla="*/ 180 h 220"/>
                <a:gd name="T8" fmla="*/ 172 w 226"/>
                <a:gd name="T9" fmla="*/ 170 h 220"/>
                <a:gd name="T10" fmla="*/ 163 w 226"/>
                <a:gd name="T11" fmla="*/ 152 h 220"/>
                <a:gd name="T12" fmla="*/ 139 w 226"/>
                <a:gd name="T13" fmla="*/ 163 h 220"/>
                <a:gd name="T14" fmla="*/ 118 w 226"/>
                <a:gd name="T15" fmla="*/ 142 h 220"/>
                <a:gd name="T16" fmla="*/ 92 w 226"/>
                <a:gd name="T17" fmla="*/ 147 h 220"/>
                <a:gd name="T18" fmla="*/ 63 w 226"/>
                <a:gd name="T19" fmla="*/ 114 h 220"/>
                <a:gd name="T20" fmla="*/ 33 w 226"/>
                <a:gd name="T21" fmla="*/ 114 h 220"/>
                <a:gd name="T22" fmla="*/ 16 w 226"/>
                <a:gd name="T23" fmla="*/ 107 h 220"/>
                <a:gd name="T24" fmla="*/ 16 w 226"/>
                <a:gd name="T25" fmla="*/ 107 h 220"/>
                <a:gd name="T26" fmla="*/ 9 w 226"/>
                <a:gd name="T27" fmla="*/ 85 h 220"/>
                <a:gd name="T28" fmla="*/ 21 w 226"/>
                <a:gd name="T29" fmla="*/ 52 h 220"/>
                <a:gd name="T30" fmla="*/ 0 w 226"/>
                <a:gd name="T31" fmla="*/ 17 h 220"/>
                <a:gd name="T32" fmla="*/ 101 w 226"/>
                <a:gd name="T33" fmla="*/ 12 h 220"/>
                <a:gd name="T34" fmla="*/ 108 w 226"/>
                <a:gd name="T35" fmla="*/ 0 h 220"/>
                <a:gd name="T36" fmla="*/ 125 w 226"/>
                <a:gd name="T37" fmla="*/ 17 h 220"/>
                <a:gd name="T38" fmla="*/ 118 w 226"/>
                <a:gd name="T39" fmla="*/ 29 h 220"/>
                <a:gd name="T40" fmla="*/ 156 w 226"/>
                <a:gd name="T41" fmla="*/ 41 h 220"/>
                <a:gd name="T42" fmla="*/ 139 w 226"/>
                <a:gd name="T43" fmla="*/ 57 h 220"/>
                <a:gd name="T44" fmla="*/ 146 w 226"/>
                <a:gd name="T45" fmla="*/ 85 h 220"/>
                <a:gd name="T46" fmla="*/ 177 w 226"/>
                <a:gd name="T47" fmla="*/ 97 h 220"/>
                <a:gd name="T48" fmla="*/ 172 w 226"/>
                <a:gd name="T49" fmla="*/ 114 h 220"/>
                <a:gd name="T50" fmla="*/ 156 w 226"/>
                <a:gd name="T51" fmla="*/ 126 h 220"/>
                <a:gd name="T52" fmla="*/ 163 w 226"/>
                <a:gd name="T53" fmla="*/ 126 h 220"/>
                <a:gd name="T54" fmla="*/ 193 w 226"/>
                <a:gd name="T55" fmla="*/ 152 h 220"/>
                <a:gd name="T56" fmla="*/ 217 w 226"/>
                <a:gd name="T57" fmla="*/ 152 h 220"/>
                <a:gd name="T58" fmla="*/ 210 w 226"/>
                <a:gd name="T59" fmla="*/ 170 h 220"/>
                <a:gd name="T60" fmla="*/ 226 w 226"/>
                <a:gd name="T61" fmla="*/ 187 h 220"/>
                <a:gd name="T62" fmla="*/ 210 w 226"/>
                <a:gd name="T63" fmla="*/ 187 h 220"/>
                <a:gd name="T64" fmla="*/ 217 w 226"/>
                <a:gd name="T65" fmla="*/ 208 h 220"/>
                <a:gd name="T66" fmla="*/ 217 w 226"/>
                <a:gd name="T67" fmla="*/ 208 h 220"/>
                <a:gd name="T68" fmla="*/ 217 w 226"/>
                <a:gd name="T69" fmla="*/ 208 h 220"/>
                <a:gd name="T70" fmla="*/ 146 w 226"/>
                <a:gd name="T71" fmla="*/ 69 h 220"/>
                <a:gd name="T72" fmla="*/ 146 w 226"/>
                <a:gd name="T73" fmla="*/ 57 h 220"/>
                <a:gd name="T74" fmla="*/ 146 w 226"/>
                <a:gd name="T75" fmla="*/ 57 h 220"/>
                <a:gd name="T76" fmla="*/ 146 w 226"/>
                <a:gd name="T77" fmla="*/ 69 h 220"/>
                <a:gd name="T78" fmla="*/ 146 w 226"/>
                <a:gd name="T79" fmla="*/ 69 h 220"/>
                <a:gd name="T80" fmla="*/ 146 w 226"/>
                <a:gd name="T81" fmla="*/ 6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6" h="220">
                  <a:moveTo>
                    <a:pt x="217" y="208"/>
                  </a:moveTo>
                  <a:lnTo>
                    <a:pt x="193" y="220"/>
                  </a:lnTo>
                  <a:lnTo>
                    <a:pt x="177" y="187"/>
                  </a:lnTo>
                  <a:lnTo>
                    <a:pt x="177" y="180"/>
                  </a:lnTo>
                  <a:lnTo>
                    <a:pt x="172" y="170"/>
                  </a:lnTo>
                  <a:lnTo>
                    <a:pt x="163" y="152"/>
                  </a:lnTo>
                  <a:lnTo>
                    <a:pt x="139" y="163"/>
                  </a:lnTo>
                  <a:lnTo>
                    <a:pt x="118" y="142"/>
                  </a:lnTo>
                  <a:lnTo>
                    <a:pt x="92" y="147"/>
                  </a:lnTo>
                  <a:lnTo>
                    <a:pt x="63" y="114"/>
                  </a:lnTo>
                  <a:lnTo>
                    <a:pt x="33" y="114"/>
                  </a:lnTo>
                  <a:lnTo>
                    <a:pt x="16" y="107"/>
                  </a:lnTo>
                  <a:lnTo>
                    <a:pt x="16" y="107"/>
                  </a:lnTo>
                  <a:lnTo>
                    <a:pt x="9" y="85"/>
                  </a:lnTo>
                  <a:lnTo>
                    <a:pt x="21" y="52"/>
                  </a:lnTo>
                  <a:lnTo>
                    <a:pt x="0" y="17"/>
                  </a:lnTo>
                  <a:lnTo>
                    <a:pt x="101" y="12"/>
                  </a:lnTo>
                  <a:lnTo>
                    <a:pt x="108" y="0"/>
                  </a:lnTo>
                  <a:lnTo>
                    <a:pt x="125" y="17"/>
                  </a:lnTo>
                  <a:lnTo>
                    <a:pt x="118" y="29"/>
                  </a:lnTo>
                  <a:lnTo>
                    <a:pt x="156" y="41"/>
                  </a:lnTo>
                  <a:lnTo>
                    <a:pt x="139" y="57"/>
                  </a:lnTo>
                  <a:lnTo>
                    <a:pt x="146" y="85"/>
                  </a:lnTo>
                  <a:lnTo>
                    <a:pt x="177" y="97"/>
                  </a:lnTo>
                  <a:lnTo>
                    <a:pt x="172" y="114"/>
                  </a:lnTo>
                  <a:lnTo>
                    <a:pt x="156" y="126"/>
                  </a:lnTo>
                  <a:lnTo>
                    <a:pt x="163" y="126"/>
                  </a:lnTo>
                  <a:lnTo>
                    <a:pt x="193" y="152"/>
                  </a:lnTo>
                  <a:lnTo>
                    <a:pt x="217" y="152"/>
                  </a:lnTo>
                  <a:lnTo>
                    <a:pt x="210" y="170"/>
                  </a:lnTo>
                  <a:lnTo>
                    <a:pt x="226" y="187"/>
                  </a:lnTo>
                  <a:lnTo>
                    <a:pt x="210" y="187"/>
                  </a:lnTo>
                  <a:lnTo>
                    <a:pt x="217" y="208"/>
                  </a:lnTo>
                  <a:lnTo>
                    <a:pt x="217" y="208"/>
                  </a:lnTo>
                  <a:lnTo>
                    <a:pt x="217" y="208"/>
                  </a:lnTo>
                  <a:close/>
                  <a:moveTo>
                    <a:pt x="146" y="69"/>
                  </a:moveTo>
                  <a:lnTo>
                    <a:pt x="146" y="57"/>
                  </a:lnTo>
                  <a:lnTo>
                    <a:pt x="146" y="57"/>
                  </a:lnTo>
                  <a:lnTo>
                    <a:pt x="146" y="69"/>
                  </a:lnTo>
                  <a:lnTo>
                    <a:pt x="146" y="69"/>
                  </a:lnTo>
                  <a:lnTo>
                    <a:pt x="146" y="6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 name="Freeform 384">
              <a:extLst>
                <a:ext uri="{FF2B5EF4-FFF2-40B4-BE49-F238E27FC236}">
                  <a16:creationId xmlns:a16="http://schemas.microsoft.com/office/drawing/2014/main" id="{FB23D426-827C-4D59-9A6C-1B3343386922}"/>
                </a:ext>
              </a:extLst>
            </p:cNvPr>
            <p:cNvSpPr>
              <a:spLocks/>
            </p:cNvSpPr>
            <p:nvPr/>
          </p:nvSpPr>
          <p:spPr bwMode="gray">
            <a:xfrm>
              <a:off x="13776240" y="3042837"/>
              <a:ext cx="9819" cy="5564"/>
            </a:xfrm>
            <a:custGeom>
              <a:avLst/>
              <a:gdLst>
                <a:gd name="T0" fmla="*/ 0 w 30"/>
                <a:gd name="T1" fmla="*/ 0 h 17"/>
                <a:gd name="T2" fmla="*/ 30 w 30"/>
                <a:gd name="T3" fmla="*/ 0 h 17"/>
                <a:gd name="T4" fmla="*/ 30 w 30"/>
                <a:gd name="T5" fmla="*/ 12 h 17"/>
                <a:gd name="T6" fmla="*/ 0 w 30"/>
                <a:gd name="T7" fmla="*/ 17 h 17"/>
                <a:gd name="T8" fmla="*/ 0 w 30"/>
                <a:gd name="T9" fmla="*/ 0 h 17"/>
                <a:gd name="T10" fmla="*/ 0 w 30"/>
                <a:gd name="T11" fmla="*/ 0 h 17"/>
                <a:gd name="T12" fmla="*/ 0 w 3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30" h="17">
                  <a:moveTo>
                    <a:pt x="0" y="0"/>
                  </a:moveTo>
                  <a:lnTo>
                    <a:pt x="30" y="0"/>
                  </a:lnTo>
                  <a:lnTo>
                    <a:pt x="30" y="12"/>
                  </a:lnTo>
                  <a:lnTo>
                    <a:pt x="0" y="17"/>
                  </a:lnTo>
                  <a:lnTo>
                    <a:pt x="0" y="0"/>
                  </a:lnTo>
                  <a:lnTo>
                    <a:pt x="0" y="0"/>
                  </a:lnTo>
                  <a:lnTo>
                    <a:pt x="0" y="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 name="Freeform 385">
              <a:extLst>
                <a:ext uri="{FF2B5EF4-FFF2-40B4-BE49-F238E27FC236}">
                  <a16:creationId xmlns:a16="http://schemas.microsoft.com/office/drawing/2014/main" id="{A664BA42-5367-4639-86C9-10A391B5D44E}"/>
                </a:ext>
              </a:extLst>
            </p:cNvPr>
            <p:cNvSpPr>
              <a:spLocks noEditPoints="1"/>
            </p:cNvSpPr>
            <p:nvPr/>
          </p:nvSpPr>
          <p:spPr bwMode="gray">
            <a:xfrm>
              <a:off x="14015167" y="4219795"/>
              <a:ext cx="283766" cy="323042"/>
            </a:xfrm>
            <a:custGeom>
              <a:avLst/>
              <a:gdLst>
                <a:gd name="T0" fmla="*/ 75 w 867"/>
                <a:gd name="T1" fmla="*/ 23 h 987"/>
                <a:gd name="T2" fmla="*/ 54 w 867"/>
                <a:gd name="T3" fmla="*/ 94 h 987"/>
                <a:gd name="T4" fmla="*/ 21 w 867"/>
                <a:gd name="T5" fmla="*/ 85 h 987"/>
                <a:gd name="T6" fmla="*/ 9 w 867"/>
                <a:gd name="T7" fmla="*/ 40 h 987"/>
                <a:gd name="T8" fmla="*/ 37 w 867"/>
                <a:gd name="T9" fmla="*/ 23 h 987"/>
                <a:gd name="T10" fmla="*/ 59 w 867"/>
                <a:gd name="T11" fmla="*/ 7 h 987"/>
                <a:gd name="T12" fmla="*/ 75 w 867"/>
                <a:gd name="T13" fmla="*/ 0 h 987"/>
                <a:gd name="T14" fmla="*/ 92 w 867"/>
                <a:gd name="T15" fmla="*/ 16 h 987"/>
                <a:gd name="T16" fmla="*/ 817 w 867"/>
                <a:gd name="T17" fmla="*/ 966 h 987"/>
                <a:gd name="T18" fmla="*/ 654 w 867"/>
                <a:gd name="T19" fmla="*/ 982 h 987"/>
                <a:gd name="T20" fmla="*/ 616 w 867"/>
                <a:gd name="T21" fmla="*/ 987 h 987"/>
                <a:gd name="T22" fmla="*/ 498 w 867"/>
                <a:gd name="T23" fmla="*/ 970 h 987"/>
                <a:gd name="T24" fmla="*/ 470 w 867"/>
                <a:gd name="T25" fmla="*/ 942 h 987"/>
                <a:gd name="T26" fmla="*/ 118 w 867"/>
                <a:gd name="T27" fmla="*/ 916 h 987"/>
                <a:gd name="T28" fmla="*/ 54 w 867"/>
                <a:gd name="T29" fmla="*/ 933 h 987"/>
                <a:gd name="T30" fmla="*/ 0 w 867"/>
                <a:gd name="T31" fmla="*/ 933 h 987"/>
                <a:gd name="T32" fmla="*/ 0 w 867"/>
                <a:gd name="T33" fmla="*/ 838 h 987"/>
                <a:gd name="T34" fmla="*/ 9 w 867"/>
                <a:gd name="T35" fmla="*/ 814 h 987"/>
                <a:gd name="T36" fmla="*/ 37 w 867"/>
                <a:gd name="T37" fmla="*/ 748 h 987"/>
                <a:gd name="T38" fmla="*/ 54 w 867"/>
                <a:gd name="T39" fmla="*/ 682 h 987"/>
                <a:gd name="T40" fmla="*/ 80 w 867"/>
                <a:gd name="T41" fmla="*/ 616 h 987"/>
                <a:gd name="T42" fmla="*/ 113 w 867"/>
                <a:gd name="T43" fmla="*/ 583 h 987"/>
                <a:gd name="T44" fmla="*/ 146 w 867"/>
                <a:gd name="T45" fmla="*/ 472 h 987"/>
                <a:gd name="T46" fmla="*/ 134 w 867"/>
                <a:gd name="T47" fmla="*/ 451 h 987"/>
                <a:gd name="T48" fmla="*/ 80 w 867"/>
                <a:gd name="T49" fmla="*/ 333 h 987"/>
                <a:gd name="T50" fmla="*/ 80 w 867"/>
                <a:gd name="T51" fmla="*/ 333 h 987"/>
                <a:gd name="T52" fmla="*/ 113 w 867"/>
                <a:gd name="T53" fmla="*/ 283 h 987"/>
                <a:gd name="T54" fmla="*/ 75 w 867"/>
                <a:gd name="T55" fmla="*/ 184 h 987"/>
                <a:gd name="T56" fmla="*/ 26 w 867"/>
                <a:gd name="T57" fmla="*/ 118 h 987"/>
                <a:gd name="T58" fmla="*/ 96 w 867"/>
                <a:gd name="T59" fmla="*/ 101 h 987"/>
                <a:gd name="T60" fmla="*/ 335 w 867"/>
                <a:gd name="T61" fmla="*/ 111 h 987"/>
                <a:gd name="T62" fmla="*/ 344 w 867"/>
                <a:gd name="T63" fmla="*/ 139 h 987"/>
                <a:gd name="T64" fmla="*/ 361 w 867"/>
                <a:gd name="T65" fmla="*/ 196 h 987"/>
                <a:gd name="T66" fmla="*/ 432 w 867"/>
                <a:gd name="T67" fmla="*/ 262 h 987"/>
                <a:gd name="T68" fmla="*/ 444 w 867"/>
                <a:gd name="T69" fmla="*/ 262 h 987"/>
                <a:gd name="T70" fmla="*/ 470 w 867"/>
                <a:gd name="T71" fmla="*/ 250 h 987"/>
                <a:gd name="T72" fmla="*/ 529 w 867"/>
                <a:gd name="T73" fmla="*/ 229 h 987"/>
                <a:gd name="T74" fmla="*/ 545 w 867"/>
                <a:gd name="T75" fmla="*/ 184 h 987"/>
                <a:gd name="T76" fmla="*/ 600 w 867"/>
                <a:gd name="T77" fmla="*/ 184 h 987"/>
                <a:gd name="T78" fmla="*/ 616 w 867"/>
                <a:gd name="T79" fmla="*/ 205 h 987"/>
                <a:gd name="T80" fmla="*/ 708 w 867"/>
                <a:gd name="T81" fmla="*/ 222 h 987"/>
                <a:gd name="T82" fmla="*/ 708 w 867"/>
                <a:gd name="T83" fmla="*/ 295 h 987"/>
                <a:gd name="T84" fmla="*/ 708 w 867"/>
                <a:gd name="T85" fmla="*/ 377 h 987"/>
                <a:gd name="T86" fmla="*/ 741 w 867"/>
                <a:gd name="T87" fmla="*/ 427 h 987"/>
                <a:gd name="T88" fmla="*/ 730 w 867"/>
                <a:gd name="T89" fmla="*/ 467 h 987"/>
                <a:gd name="T90" fmla="*/ 758 w 867"/>
                <a:gd name="T91" fmla="*/ 472 h 987"/>
                <a:gd name="T92" fmla="*/ 817 w 867"/>
                <a:gd name="T93" fmla="*/ 472 h 987"/>
                <a:gd name="T94" fmla="*/ 855 w 867"/>
                <a:gd name="T95" fmla="*/ 467 h 987"/>
                <a:gd name="T96" fmla="*/ 855 w 867"/>
                <a:gd name="T97" fmla="*/ 522 h 987"/>
                <a:gd name="T98" fmla="*/ 867 w 867"/>
                <a:gd name="T99" fmla="*/ 578 h 987"/>
                <a:gd name="T100" fmla="*/ 855 w 867"/>
                <a:gd name="T101" fmla="*/ 628 h 987"/>
                <a:gd name="T102" fmla="*/ 720 w 867"/>
                <a:gd name="T103" fmla="*/ 855 h 987"/>
                <a:gd name="T104" fmla="*/ 800 w 867"/>
                <a:gd name="T105" fmla="*/ 949 h 987"/>
                <a:gd name="T106" fmla="*/ 817 w 867"/>
                <a:gd name="T107" fmla="*/ 966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7" h="987">
                  <a:moveTo>
                    <a:pt x="92" y="16"/>
                  </a:moveTo>
                  <a:lnTo>
                    <a:pt x="75" y="23"/>
                  </a:lnTo>
                  <a:lnTo>
                    <a:pt x="54" y="40"/>
                  </a:lnTo>
                  <a:lnTo>
                    <a:pt x="54" y="94"/>
                  </a:lnTo>
                  <a:lnTo>
                    <a:pt x="26" y="94"/>
                  </a:lnTo>
                  <a:lnTo>
                    <a:pt x="21" y="85"/>
                  </a:lnTo>
                  <a:lnTo>
                    <a:pt x="26" y="73"/>
                  </a:lnTo>
                  <a:lnTo>
                    <a:pt x="9" y="40"/>
                  </a:lnTo>
                  <a:lnTo>
                    <a:pt x="26" y="23"/>
                  </a:lnTo>
                  <a:lnTo>
                    <a:pt x="37" y="23"/>
                  </a:lnTo>
                  <a:lnTo>
                    <a:pt x="42" y="16"/>
                  </a:lnTo>
                  <a:lnTo>
                    <a:pt x="59" y="7"/>
                  </a:lnTo>
                  <a:lnTo>
                    <a:pt x="63" y="0"/>
                  </a:lnTo>
                  <a:lnTo>
                    <a:pt x="75" y="0"/>
                  </a:lnTo>
                  <a:lnTo>
                    <a:pt x="92" y="16"/>
                  </a:lnTo>
                  <a:lnTo>
                    <a:pt x="92" y="16"/>
                  </a:lnTo>
                  <a:lnTo>
                    <a:pt x="92" y="16"/>
                  </a:lnTo>
                  <a:close/>
                  <a:moveTo>
                    <a:pt x="817" y="966"/>
                  </a:moveTo>
                  <a:lnTo>
                    <a:pt x="670" y="987"/>
                  </a:lnTo>
                  <a:lnTo>
                    <a:pt x="654" y="982"/>
                  </a:lnTo>
                  <a:lnTo>
                    <a:pt x="637" y="987"/>
                  </a:lnTo>
                  <a:lnTo>
                    <a:pt x="616" y="987"/>
                  </a:lnTo>
                  <a:lnTo>
                    <a:pt x="600" y="982"/>
                  </a:lnTo>
                  <a:lnTo>
                    <a:pt x="498" y="970"/>
                  </a:lnTo>
                  <a:lnTo>
                    <a:pt x="474" y="966"/>
                  </a:lnTo>
                  <a:lnTo>
                    <a:pt x="470" y="942"/>
                  </a:lnTo>
                  <a:lnTo>
                    <a:pt x="151" y="949"/>
                  </a:lnTo>
                  <a:lnTo>
                    <a:pt x="118" y="916"/>
                  </a:lnTo>
                  <a:lnTo>
                    <a:pt x="96" y="909"/>
                  </a:lnTo>
                  <a:lnTo>
                    <a:pt x="54" y="933"/>
                  </a:lnTo>
                  <a:lnTo>
                    <a:pt x="21" y="925"/>
                  </a:lnTo>
                  <a:lnTo>
                    <a:pt x="0" y="933"/>
                  </a:lnTo>
                  <a:lnTo>
                    <a:pt x="0" y="876"/>
                  </a:lnTo>
                  <a:lnTo>
                    <a:pt x="0" y="838"/>
                  </a:lnTo>
                  <a:lnTo>
                    <a:pt x="0" y="831"/>
                  </a:lnTo>
                  <a:lnTo>
                    <a:pt x="9" y="814"/>
                  </a:lnTo>
                  <a:lnTo>
                    <a:pt x="21" y="781"/>
                  </a:lnTo>
                  <a:lnTo>
                    <a:pt x="37" y="748"/>
                  </a:lnTo>
                  <a:lnTo>
                    <a:pt x="37" y="703"/>
                  </a:lnTo>
                  <a:lnTo>
                    <a:pt x="54" y="682"/>
                  </a:lnTo>
                  <a:lnTo>
                    <a:pt x="54" y="649"/>
                  </a:lnTo>
                  <a:lnTo>
                    <a:pt x="80" y="616"/>
                  </a:lnTo>
                  <a:lnTo>
                    <a:pt x="80" y="600"/>
                  </a:lnTo>
                  <a:lnTo>
                    <a:pt x="113" y="583"/>
                  </a:lnTo>
                  <a:lnTo>
                    <a:pt x="134" y="526"/>
                  </a:lnTo>
                  <a:lnTo>
                    <a:pt x="146" y="472"/>
                  </a:lnTo>
                  <a:lnTo>
                    <a:pt x="134" y="460"/>
                  </a:lnTo>
                  <a:lnTo>
                    <a:pt x="134" y="451"/>
                  </a:lnTo>
                  <a:lnTo>
                    <a:pt x="118" y="432"/>
                  </a:lnTo>
                  <a:lnTo>
                    <a:pt x="80" y="333"/>
                  </a:lnTo>
                  <a:lnTo>
                    <a:pt x="92" y="316"/>
                  </a:lnTo>
                  <a:lnTo>
                    <a:pt x="80" y="333"/>
                  </a:lnTo>
                  <a:lnTo>
                    <a:pt x="113" y="304"/>
                  </a:lnTo>
                  <a:lnTo>
                    <a:pt x="113" y="283"/>
                  </a:lnTo>
                  <a:lnTo>
                    <a:pt x="75" y="205"/>
                  </a:lnTo>
                  <a:lnTo>
                    <a:pt x="75" y="184"/>
                  </a:lnTo>
                  <a:lnTo>
                    <a:pt x="54" y="155"/>
                  </a:lnTo>
                  <a:lnTo>
                    <a:pt x="26" y="118"/>
                  </a:lnTo>
                  <a:lnTo>
                    <a:pt x="63" y="111"/>
                  </a:lnTo>
                  <a:lnTo>
                    <a:pt x="96" y="101"/>
                  </a:lnTo>
                  <a:lnTo>
                    <a:pt x="297" y="101"/>
                  </a:lnTo>
                  <a:lnTo>
                    <a:pt x="335" y="111"/>
                  </a:lnTo>
                  <a:lnTo>
                    <a:pt x="344" y="127"/>
                  </a:lnTo>
                  <a:lnTo>
                    <a:pt x="344" y="139"/>
                  </a:lnTo>
                  <a:lnTo>
                    <a:pt x="361" y="184"/>
                  </a:lnTo>
                  <a:lnTo>
                    <a:pt x="361" y="196"/>
                  </a:lnTo>
                  <a:lnTo>
                    <a:pt x="406" y="262"/>
                  </a:lnTo>
                  <a:lnTo>
                    <a:pt x="432" y="262"/>
                  </a:lnTo>
                  <a:lnTo>
                    <a:pt x="444" y="262"/>
                  </a:lnTo>
                  <a:lnTo>
                    <a:pt x="444" y="262"/>
                  </a:lnTo>
                  <a:lnTo>
                    <a:pt x="470" y="250"/>
                  </a:lnTo>
                  <a:lnTo>
                    <a:pt x="470" y="250"/>
                  </a:lnTo>
                  <a:lnTo>
                    <a:pt x="529" y="250"/>
                  </a:lnTo>
                  <a:lnTo>
                    <a:pt x="529" y="229"/>
                  </a:lnTo>
                  <a:lnTo>
                    <a:pt x="545" y="222"/>
                  </a:lnTo>
                  <a:lnTo>
                    <a:pt x="545" y="184"/>
                  </a:lnTo>
                  <a:lnTo>
                    <a:pt x="600" y="184"/>
                  </a:lnTo>
                  <a:lnTo>
                    <a:pt x="600" y="184"/>
                  </a:lnTo>
                  <a:lnTo>
                    <a:pt x="621" y="184"/>
                  </a:lnTo>
                  <a:lnTo>
                    <a:pt x="616" y="205"/>
                  </a:lnTo>
                  <a:lnTo>
                    <a:pt x="704" y="205"/>
                  </a:lnTo>
                  <a:lnTo>
                    <a:pt x="708" y="222"/>
                  </a:lnTo>
                  <a:lnTo>
                    <a:pt x="704" y="250"/>
                  </a:lnTo>
                  <a:lnTo>
                    <a:pt x="708" y="295"/>
                  </a:lnTo>
                  <a:lnTo>
                    <a:pt x="704" y="356"/>
                  </a:lnTo>
                  <a:lnTo>
                    <a:pt x="708" y="377"/>
                  </a:lnTo>
                  <a:lnTo>
                    <a:pt x="725" y="394"/>
                  </a:lnTo>
                  <a:lnTo>
                    <a:pt x="741" y="427"/>
                  </a:lnTo>
                  <a:lnTo>
                    <a:pt x="741" y="460"/>
                  </a:lnTo>
                  <a:lnTo>
                    <a:pt x="730" y="467"/>
                  </a:lnTo>
                  <a:lnTo>
                    <a:pt x="730" y="488"/>
                  </a:lnTo>
                  <a:lnTo>
                    <a:pt x="758" y="472"/>
                  </a:lnTo>
                  <a:lnTo>
                    <a:pt x="796" y="484"/>
                  </a:lnTo>
                  <a:lnTo>
                    <a:pt x="817" y="472"/>
                  </a:lnTo>
                  <a:lnTo>
                    <a:pt x="850" y="472"/>
                  </a:lnTo>
                  <a:lnTo>
                    <a:pt x="855" y="467"/>
                  </a:lnTo>
                  <a:lnTo>
                    <a:pt x="867" y="505"/>
                  </a:lnTo>
                  <a:lnTo>
                    <a:pt x="855" y="522"/>
                  </a:lnTo>
                  <a:lnTo>
                    <a:pt x="855" y="559"/>
                  </a:lnTo>
                  <a:lnTo>
                    <a:pt x="867" y="578"/>
                  </a:lnTo>
                  <a:lnTo>
                    <a:pt x="850" y="600"/>
                  </a:lnTo>
                  <a:lnTo>
                    <a:pt x="855" y="628"/>
                  </a:lnTo>
                  <a:lnTo>
                    <a:pt x="720" y="616"/>
                  </a:lnTo>
                  <a:lnTo>
                    <a:pt x="720" y="855"/>
                  </a:lnTo>
                  <a:lnTo>
                    <a:pt x="725" y="876"/>
                  </a:lnTo>
                  <a:lnTo>
                    <a:pt x="800" y="949"/>
                  </a:lnTo>
                  <a:lnTo>
                    <a:pt x="817" y="966"/>
                  </a:lnTo>
                  <a:lnTo>
                    <a:pt x="817" y="966"/>
                  </a:lnTo>
                  <a:lnTo>
                    <a:pt x="817" y="966"/>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 name="Freeform 386">
              <a:extLst>
                <a:ext uri="{FF2B5EF4-FFF2-40B4-BE49-F238E27FC236}">
                  <a16:creationId xmlns:a16="http://schemas.microsoft.com/office/drawing/2014/main" id="{348AB842-4A14-41D6-A18C-D02C55011130}"/>
                </a:ext>
              </a:extLst>
            </p:cNvPr>
            <p:cNvSpPr>
              <a:spLocks/>
            </p:cNvSpPr>
            <p:nvPr/>
          </p:nvSpPr>
          <p:spPr bwMode="gray">
            <a:xfrm>
              <a:off x="9823806" y="4451521"/>
              <a:ext cx="2291" cy="4582"/>
            </a:xfrm>
            <a:custGeom>
              <a:avLst/>
              <a:gdLst>
                <a:gd name="T0" fmla="*/ 5 w 7"/>
                <a:gd name="T1" fmla="*/ 14 h 14"/>
                <a:gd name="T2" fmla="*/ 0 w 7"/>
                <a:gd name="T3" fmla="*/ 14 h 14"/>
                <a:gd name="T4" fmla="*/ 7 w 7"/>
                <a:gd name="T5" fmla="*/ 0 h 14"/>
                <a:gd name="T6" fmla="*/ 5 w 7"/>
                <a:gd name="T7" fmla="*/ 14 h 14"/>
                <a:gd name="T8" fmla="*/ 5 w 7"/>
                <a:gd name="T9" fmla="*/ 14 h 14"/>
                <a:gd name="T10" fmla="*/ 5 w 7"/>
                <a:gd name="T11" fmla="*/ 14 h 14"/>
              </a:gdLst>
              <a:ahLst/>
              <a:cxnLst>
                <a:cxn ang="0">
                  <a:pos x="T0" y="T1"/>
                </a:cxn>
                <a:cxn ang="0">
                  <a:pos x="T2" y="T3"/>
                </a:cxn>
                <a:cxn ang="0">
                  <a:pos x="T4" y="T5"/>
                </a:cxn>
                <a:cxn ang="0">
                  <a:pos x="T6" y="T7"/>
                </a:cxn>
                <a:cxn ang="0">
                  <a:pos x="T8" y="T9"/>
                </a:cxn>
                <a:cxn ang="0">
                  <a:pos x="T10" y="T11"/>
                </a:cxn>
              </a:cxnLst>
              <a:rect l="0" t="0" r="r" b="b"/>
              <a:pathLst>
                <a:path w="7" h="14">
                  <a:moveTo>
                    <a:pt x="5" y="14"/>
                  </a:moveTo>
                  <a:lnTo>
                    <a:pt x="0" y="14"/>
                  </a:lnTo>
                  <a:lnTo>
                    <a:pt x="7" y="0"/>
                  </a:lnTo>
                  <a:lnTo>
                    <a:pt x="5" y="14"/>
                  </a:lnTo>
                  <a:lnTo>
                    <a:pt x="5" y="14"/>
                  </a:lnTo>
                  <a:lnTo>
                    <a:pt x="5" y="14"/>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 name="Freeform 387">
              <a:extLst>
                <a:ext uri="{FF2B5EF4-FFF2-40B4-BE49-F238E27FC236}">
                  <a16:creationId xmlns:a16="http://schemas.microsoft.com/office/drawing/2014/main" id="{7C054D12-EA83-4F94-A38A-51179455024A}"/>
                </a:ext>
              </a:extLst>
            </p:cNvPr>
            <p:cNvSpPr>
              <a:spLocks noEditPoints="1"/>
            </p:cNvSpPr>
            <p:nvPr/>
          </p:nvSpPr>
          <p:spPr bwMode="gray">
            <a:xfrm>
              <a:off x="12054988" y="4637099"/>
              <a:ext cx="455597" cy="925595"/>
            </a:xfrm>
            <a:custGeom>
              <a:avLst/>
              <a:gdLst>
                <a:gd name="T0" fmla="*/ 508 w 1392"/>
                <a:gd name="T1" fmla="*/ 21 h 2828"/>
                <a:gd name="T2" fmla="*/ 652 w 1392"/>
                <a:gd name="T3" fmla="*/ 54 h 2828"/>
                <a:gd name="T4" fmla="*/ 870 w 1392"/>
                <a:gd name="T5" fmla="*/ 132 h 2828"/>
                <a:gd name="T6" fmla="*/ 1118 w 1392"/>
                <a:gd name="T7" fmla="*/ 267 h 2828"/>
                <a:gd name="T8" fmla="*/ 1080 w 1392"/>
                <a:gd name="T9" fmla="*/ 333 h 2828"/>
                <a:gd name="T10" fmla="*/ 1170 w 1392"/>
                <a:gd name="T11" fmla="*/ 428 h 2828"/>
                <a:gd name="T12" fmla="*/ 1245 w 1392"/>
                <a:gd name="T13" fmla="*/ 428 h 2828"/>
                <a:gd name="T14" fmla="*/ 1333 w 1392"/>
                <a:gd name="T15" fmla="*/ 284 h 2828"/>
                <a:gd name="T16" fmla="*/ 1392 w 1392"/>
                <a:gd name="T17" fmla="*/ 350 h 2828"/>
                <a:gd name="T18" fmla="*/ 1278 w 1392"/>
                <a:gd name="T19" fmla="*/ 465 h 2828"/>
                <a:gd name="T20" fmla="*/ 1208 w 1392"/>
                <a:gd name="T21" fmla="*/ 539 h 2828"/>
                <a:gd name="T22" fmla="*/ 1118 w 1392"/>
                <a:gd name="T23" fmla="*/ 650 h 2828"/>
                <a:gd name="T24" fmla="*/ 1094 w 1392"/>
                <a:gd name="T25" fmla="*/ 754 h 2828"/>
                <a:gd name="T26" fmla="*/ 1063 w 1392"/>
                <a:gd name="T27" fmla="*/ 876 h 2828"/>
                <a:gd name="T28" fmla="*/ 1059 w 1392"/>
                <a:gd name="T29" fmla="*/ 997 h 2828"/>
                <a:gd name="T30" fmla="*/ 1156 w 1392"/>
                <a:gd name="T31" fmla="*/ 1141 h 2828"/>
                <a:gd name="T32" fmla="*/ 1068 w 1392"/>
                <a:gd name="T33" fmla="*/ 1321 h 2828"/>
                <a:gd name="T34" fmla="*/ 787 w 1392"/>
                <a:gd name="T35" fmla="*/ 1387 h 2828"/>
                <a:gd name="T36" fmla="*/ 787 w 1392"/>
                <a:gd name="T37" fmla="*/ 1465 h 2828"/>
                <a:gd name="T38" fmla="*/ 740 w 1392"/>
                <a:gd name="T39" fmla="*/ 1547 h 2828"/>
                <a:gd name="T40" fmla="*/ 593 w 1392"/>
                <a:gd name="T41" fmla="*/ 1547 h 2828"/>
                <a:gd name="T42" fmla="*/ 638 w 1392"/>
                <a:gd name="T43" fmla="*/ 1658 h 2828"/>
                <a:gd name="T44" fmla="*/ 702 w 1392"/>
                <a:gd name="T45" fmla="*/ 1668 h 2828"/>
                <a:gd name="T46" fmla="*/ 600 w 1392"/>
                <a:gd name="T47" fmla="*/ 1680 h 2828"/>
                <a:gd name="T48" fmla="*/ 584 w 1392"/>
                <a:gd name="T49" fmla="*/ 1791 h 2828"/>
                <a:gd name="T50" fmla="*/ 563 w 1392"/>
                <a:gd name="T51" fmla="*/ 1869 h 2828"/>
                <a:gd name="T52" fmla="*/ 421 w 1392"/>
                <a:gd name="T53" fmla="*/ 2013 h 2828"/>
                <a:gd name="T54" fmla="*/ 518 w 1392"/>
                <a:gd name="T55" fmla="*/ 2140 h 2828"/>
                <a:gd name="T56" fmla="*/ 421 w 1392"/>
                <a:gd name="T57" fmla="*/ 2251 h 2828"/>
                <a:gd name="T58" fmla="*/ 369 w 1392"/>
                <a:gd name="T59" fmla="*/ 2350 h 2828"/>
                <a:gd name="T60" fmla="*/ 315 w 1392"/>
                <a:gd name="T61" fmla="*/ 2391 h 2828"/>
                <a:gd name="T62" fmla="*/ 324 w 1392"/>
                <a:gd name="T63" fmla="*/ 2495 h 2828"/>
                <a:gd name="T64" fmla="*/ 93 w 1392"/>
                <a:gd name="T65" fmla="*/ 2502 h 2828"/>
                <a:gd name="T66" fmla="*/ 60 w 1392"/>
                <a:gd name="T67" fmla="*/ 2400 h 2828"/>
                <a:gd name="T68" fmla="*/ 8 w 1392"/>
                <a:gd name="T69" fmla="*/ 2322 h 2828"/>
                <a:gd name="T70" fmla="*/ 38 w 1392"/>
                <a:gd name="T71" fmla="*/ 2239 h 2828"/>
                <a:gd name="T72" fmla="*/ 83 w 1392"/>
                <a:gd name="T73" fmla="*/ 2112 h 2828"/>
                <a:gd name="T74" fmla="*/ 130 w 1392"/>
                <a:gd name="T75" fmla="*/ 1996 h 2828"/>
                <a:gd name="T76" fmla="*/ 147 w 1392"/>
                <a:gd name="T77" fmla="*/ 1923 h 2828"/>
                <a:gd name="T78" fmla="*/ 180 w 1392"/>
                <a:gd name="T79" fmla="*/ 1835 h 2828"/>
                <a:gd name="T80" fmla="*/ 130 w 1392"/>
                <a:gd name="T81" fmla="*/ 1769 h 2828"/>
                <a:gd name="T82" fmla="*/ 97 w 1392"/>
                <a:gd name="T83" fmla="*/ 1713 h 2828"/>
                <a:gd name="T84" fmla="*/ 130 w 1392"/>
                <a:gd name="T85" fmla="*/ 1625 h 2828"/>
                <a:gd name="T86" fmla="*/ 130 w 1392"/>
                <a:gd name="T87" fmla="*/ 1474 h 2828"/>
                <a:gd name="T88" fmla="*/ 152 w 1392"/>
                <a:gd name="T89" fmla="*/ 1354 h 2828"/>
                <a:gd name="T90" fmla="*/ 180 w 1392"/>
                <a:gd name="T91" fmla="*/ 1235 h 2828"/>
                <a:gd name="T92" fmla="*/ 201 w 1392"/>
                <a:gd name="T93" fmla="*/ 1132 h 2828"/>
                <a:gd name="T94" fmla="*/ 244 w 1392"/>
                <a:gd name="T95" fmla="*/ 976 h 2828"/>
                <a:gd name="T96" fmla="*/ 244 w 1392"/>
                <a:gd name="T97" fmla="*/ 888 h 2828"/>
                <a:gd name="T98" fmla="*/ 239 w 1392"/>
                <a:gd name="T99" fmla="*/ 782 h 2828"/>
                <a:gd name="T100" fmla="*/ 239 w 1392"/>
                <a:gd name="T101" fmla="*/ 666 h 2828"/>
                <a:gd name="T102" fmla="*/ 308 w 1392"/>
                <a:gd name="T103" fmla="*/ 477 h 2828"/>
                <a:gd name="T104" fmla="*/ 362 w 1392"/>
                <a:gd name="T105" fmla="*/ 333 h 2828"/>
                <a:gd name="T106" fmla="*/ 438 w 1392"/>
                <a:gd name="T107" fmla="*/ 165 h 2828"/>
                <a:gd name="T108" fmla="*/ 799 w 1392"/>
                <a:gd name="T109" fmla="*/ 1370 h 2828"/>
                <a:gd name="T110" fmla="*/ 345 w 1392"/>
                <a:gd name="T111" fmla="*/ 2589 h 2828"/>
                <a:gd name="T112" fmla="*/ 378 w 1392"/>
                <a:gd name="T113" fmla="*/ 2655 h 2828"/>
                <a:gd name="T114" fmla="*/ 593 w 1392"/>
                <a:gd name="T115" fmla="*/ 2790 h 2828"/>
                <a:gd name="T116" fmla="*/ 345 w 1392"/>
                <a:gd name="T117" fmla="*/ 2806 h 2828"/>
                <a:gd name="T118" fmla="*/ 686 w 1392"/>
                <a:gd name="T119" fmla="*/ 2794 h 2828"/>
                <a:gd name="T120" fmla="*/ 345 w 1392"/>
                <a:gd name="T121" fmla="*/ 2811 h 2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2" h="2828">
                  <a:moveTo>
                    <a:pt x="449" y="78"/>
                  </a:moveTo>
                  <a:lnTo>
                    <a:pt x="466" y="61"/>
                  </a:lnTo>
                  <a:lnTo>
                    <a:pt x="466" y="54"/>
                  </a:lnTo>
                  <a:lnTo>
                    <a:pt x="475" y="45"/>
                  </a:lnTo>
                  <a:lnTo>
                    <a:pt x="475" y="33"/>
                  </a:lnTo>
                  <a:lnTo>
                    <a:pt x="508" y="21"/>
                  </a:lnTo>
                  <a:lnTo>
                    <a:pt x="518" y="0"/>
                  </a:lnTo>
                  <a:lnTo>
                    <a:pt x="546" y="21"/>
                  </a:lnTo>
                  <a:lnTo>
                    <a:pt x="600" y="21"/>
                  </a:lnTo>
                  <a:lnTo>
                    <a:pt x="631" y="33"/>
                  </a:lnTo>
                  <a:lnTo>
                    <a:pt x="648" y="78"/>
                  </a:lnTo>
                  <a:lnTo>
                    <a:pt x="652" y="54"/>
                  </a:lnTo>
                  <a:lnTo>
                    <a:pt x="681" y="17"/>
                  </a:lnTo>
                  <a:lnTo>
                    <a:pt x="756" y="17"/>
                  </a:lnTo>
                  <a:lnTo>
                    <a:pt x="761" y="33"/>
                  </a:lnTo>
                  <a:lnTo>
                    <a:pt x="794" y="54"/>
                  </a:lnTo>
                  <a:lnTo>
                    <a:pt x="811" y="95"/>
                  </a:lnTo>
                  <a:lnTo>
                    <a:pt x="870" y="132"/>
                  </a:lnTo>
                  <a:lnTo>
                    <a:pt x="879" y="149"/>
                  </a:lnTo>
                  <a:lnTo>
                    <a:pt x="934" y="165"/>
                  </a:lnTo>
                  <a:lnTo>
                    <a:pt x="950" y="165"/>
                  </a:lnTo>
                  <a:lnTo>
                    <a:pt x="1030" y="227"/>
                  </a:lnTo>
                  <a:lnTo>
                    <a:pt x="1101" y="255"/>
                  </a:lnTo>
                  <a:lnTo>
                    <a:pt x="1118" y="267"/>
                  </a:lnTo>
                  <a:lnTo>
                    <a:pt x="1123" y="276"/>
                  </a:lnTo>
                  <a:lnTo>
                    <a:pt x="1123" y="284"/>
                  </a:lnTo>
                  <a:lnTo>
                    <a:pt x="1101" y="300"/>
                  </a:lnTo>
                  <a:lnTo>
                    <a:pt x="1101" y="317"/>
                  </a:lnTo>
                  <a:lnTo>
                    <a:pt x="1101" y="317"/>
                  </a:lnTo>
                  <a:lnTo>
                    <a:pt x="1080" y="333"/>
                  </a:lnTo>
                  <a:lnTo>
                    <a:pt x="1080" y="371"/>
                  </a:lnTo>
                  <a:lnTo>
                    <a:pt x="1047" y="411"/>
                  </a:lnTo>
                  <a:lnTo>
                    <a:pt x="1047" y="421"/>
                  </a:lnTo>
                  <a:lnTo>
                    <a:pt x="1111" y="421"/>
                  </a:lnTo>
                  <a:lnTo>
                    <a:pt x="1156" y="432"/>
                  </a:lnTo>
                  <a:lnTo>
                    <a:pt x="1170" y="428"/>
                  </a:lnTo>
                  <a:lnTo>
                    <a:pt x="1177" y="432"/>
                  </a:lnTo>
                  <a:lnTo>
                    <a:pt x="1193" y="432"/>
                  </a:lnTo>
                  <a:lnTo>
                    <a:pt x="1203" y="444"/>
                  </a:lnTo>
                  <a:lnTo>
                    <a:pt x="1224" y="421"/>
                  </a:lnTo>
                  <a:lnTo>
                    <a:pt x="1241" y="421"/>
                  </a:lnTo>
                  <a:lnTo>
                    <a:pt x="1245" y="428"/>
                  </a:lnTo>
                  <a:lnTo>
                    <a:pt x="1262" y="421"/>
                  </a:lnTo>
                  <a:lnTo>
                    <a:pt x="1262" y="404"/>
                  </a:lnTo>
                  <a:lnTo>
                    <a:pt x="1274" y="395"/>
                  </a:lnTo>
                  <a:lnTo>
                    <a:pt x="1300" y="378"/>
                  </a:lnTo>
                  <a:lnTo>
                    <a:pt x="1328" y="354"/>
                  </a:lnTo>
                  <a:lnTo>
                    <a:pt x="1333" y="284"/>
                  </a:lnTo>
                  <a:lnTo>
                    <a:pt x="1337" y="293"/>
                  </a:lnTo>
                  <a:lnTo>
                    <a:pt x="1366" y="276"/>
                  </a:lnTo>
                  <a:lnTo>
                    <a:pt x="1380" y="293"/>
                  </a:lnTo>
                  <a:lnTo>
                    <a:pt x="1387" y="317"/>
                  </a:lnTo>
                  <a:lnTo>
                    <a:pt x="1392" y="338"/>
                  </a:lnTo>
                  <a:lnTo>
                    <a:pt x="1392" y="350"/>
                  </a:lnTo>
                  <a:lnTo>
                    <a:pt x="1392" y="387"/>
                  </a:lnTo>
                  <a:lnTo>
                    <a:pt x="1387" y="404"/>
                  </a:lnTo>
                  <a:lnTo>
                    <a:pt x="1349" y="428"/>
                  </a:lnTo>
                  <a:lnTo>
                    <a:pt x="1316" y="432"/>
                  </a:lnTo>
                  <a:lnTo>
                    <a:pt x="1300" y="461"/>
                  </a:lnTo>
                  <a:lnTo>
                    <a:pt x="1278" y="465"/>
                  </a:lnTo>
                  <a:lnTo>
                    <a:pt x="1274" y="482"/>
                  </a:lnTo>
                  <a:lnTo>
                    <a:pt x="1245" y="489"/>
                  </a:lnTo>
                  <a:lnTo>
                    <a:pt x="1257" y="498"/>
                  </a:lnTo>
                  <a:lnTo>
                    <a:pt x="1257" y="506"/>
                  </a:lnTo>
                  <a:lnTo>
                    <a:pt x="1241" y="506"/>
                  </a:lnTo>
                  <a:lnTo>
                    <a:pt x="1208" y="539"/>
                  </a:lnTo>
                  <a:lnTo>
                    <a:pt x="1203" y="560"/>
                  </a:lnTo>
                  <a:lnTo>
                    <a:pt x="1186" y="560"/>
                  </a:lnTo>
                  <a:lnTo>
                    <a:pt x="1156" y="610"/>
                  </a:lnTo>
                  <a:lnTo>
                    <a:pt x="1139" y="614"/>
                  </a:lnTo>
                  <a:lnTo>
                    <a:pt x="1139" y="633"/>
                  </a:lnTo>
                  <a:lnTo>
                    <a:pt x="1118" y="650"/>
                  </a:lnTo>
                  <a:lnTo>
                    <a:pt x="1118" y="654"/>
                  </a:lnTo>
                  <a:lnTo>
                    <a:pt x="1101" y="671"/>
                  </a:lnTo>
                  <a:lnTo>
                    <a:pt x="1111" y="699"/>
                  </a:lnTo>
                  <a:lnTo>
                    <a:pt x="1094" y="725"/>
                  </a:lnTo>
                  <a:lnTo>
                    <a:pt x="1085" y="742"/>
                  </a:lnTo>
                  <a:lnTo>
                    <a:pt x="1094" y="754"/>
                  </a:lnTo>
                  <a:lnTo>
                    <a:pt x="1085" y="765"/>
                  </a:lnTo>
                  <a:lnTo>
                    <a:pt x="1080" y="782"/>
                  </a:lnTo>
                  <a:lnTo>
                    <a:pt x="1085" y="815"/>
                  </a:lnTo>
                  <a:lnTo>
                    <a:pt x="1080" y="820"/>
                  </a:lnTo>
                  <a:lnTo>
                    <a:pt x="1080" y="869"/>
                  </a:lnTo>
                  <a:lnTo>
                    <a:pt x="1063" y="876"/>
                  </a:lnTo>
                  <a:lnTo>
                    <a:pt x="1059" y="910"/>
                  </a:lnTo>
                  <a:lnTo>
                    <a:pt x="1059" y="926"/>
                  </a:lnTo>
                  <a:lnTo>
                    <a:pt x="1063" y="959"/>
                  </a:lnTo>
                  <a:lnTo>
                    <a:pt x="1063" y="964"/>
                  </a:lnTo>
                  <a:lnTo>
                    <a:pt x="1059" y="976"/>
                  </a:lnTo>
                  <a:lnTo>
                    <a:pt x="1059" y="997"/>
                  </a:lnTo>
                  <a:lnTo>
                    <a:pt x="1123" y="1037"/>
                  </a:lnTo>
                  <a:lnTo>
                    <a:pt x="1149" y="1058"/>
                  </a:lnTo>
                  <a:lnTo>
                    <a:pt x="1156" y="1070"/>
                  </a:lnTo>
                  <a:lnTo>
                    <a:pt x="1132" y="1091"/>
                  </a:lnTo>
                  <a:lnTo>
                    <a:pt x="1132" y="1108"/>
                  </a:lnTo>
                  <a:lnTo>
                    <a:pt x="1156" y="1141"/>
                  </a:lnTo>
                  <a:lnTo>
                    <a:pt x="1165" y="1141"/>
                  </a:lnTo>
                  <a:lnTo>
                    <a:pt x="1177" y="1141"/>
                  </a:lnTo>
                  <a:lnTo>
                    <a:pt x="1186" y="1186"/>
                  </a:lnTo>
                  <a:lnTo>
                    <a:pt x="1123" y="1264"/>
                  </a:lnTo>
                  <a:lnTo>
                    <a:pt x="1123" y="1292"/>
                  </a:lnTo>
                  <a:lnTo>
                    <a:pt x="1068" y="1321"/>
                  </a:lnTo>
                  <a:lnTo>
                    <a:pt x="960" y="1347"/>
                  </a:lnTo>
                  <a:lnTo>
                    <a:pt x="879" y="1363"/>
                  </a:lnTo>
                  <a:lnTo>
                    <a:pt x="825" y="1363"/>
                  </a:lnTo>
                  <a:lnTo>
                    <a:pt x="787" y="1347"/>
                  </a:lnTo>
                  <a:lnTo>
                    <a:pt x="794" y="1363"/>
                  </a:lnTo>
                  <a:lnTo>
                    <a:pt x="787" y="1387"/>
                  </a:lnTo>
                  <a:lnTo>
                    <a:pt x="811" y="1391"/>
                  </a:lnTo>
                  <a:lnTo>
                    <a:pt x="794" y="1391"/>
                  </a:lnTo>
                  <a:lnTo>
                    <a:pt x="811" y="1408"/>
                  </a:lnTo>
                  <a:lnTo>
                    <a:pt x="799" y="1432"/>
                  </a:lnTo>
                  <a:lnTo>
                    <a:pt x="794" y="1432"/>
                  </a:lnTo>
                  <a:lnTo>
                    <a:pt x="787" y="1465"/>
                  </a:lnTo>
                  <a:lnTo>
                    <a:pt x="778" y="1474"/>
                  </a:lnTo>
                  <a:lnTo>
                    <a:pt x="794" y="1498"/>
                  </a:lnTo>
                  <a:lnTo>
                    <a:pt x="787" y="1502"/>
                  </a:lnTo>
                  <a:lnTo>
                    <a:pt x="799" y="1502"/>
                  </a:lnTo>
                  <a:lnTo>
                    <a:pt x="787" y="1531"/>
                  </a:lnTo>
                  <a:lnTo>
                    <a:pt x="740" y="1547"/>
                  </a:lnTo>
                  <a:lnTo>
                    <a:pt x="686" y="1547"/>
                  </a:lnTo>
                  <a:lnTo>
                    <a:pt x="626" y="1519"/>
                  </a:lnTo>
                  <a:lnTo>
                    <a:pt x="615" y="1514"/>
                  </a:lnTo>
                  <a:lnTo>
                    <a:pt x="600" y="1514"/>
                  </a:lnTo>
                  <a:lnTo>
                    <a:pt x="593" y="1519"/>
                  </a:lnTo>
                  <a:lnTo>
                    <a:pt x="593" y="1547"/>
                  </a:lnTo>
                  <a:lnTo>
                    <a:pt x="600" y="1576"/>
                  </a:lnTo>
                  <a:lnTo>
                    <a:pt x="593" y="1613"/>
                  </a:lnTo>
                  <a:lnTo>
                    <a:pt x="600" y="1625"/>
                  </a:lnTo>
                  <a:lnTo>
                    <a:pt x="638" y="1642"/>
                  </a:lnTo>
                  <a:lnTo>
                    <a:pt x="631" y="1658"/>
                  </a:lnTo>
                  <a:lnTo>
                    <a:pt x="638" y="1658"/>
                  </a:lnTo>
                  <a:lnTo>
                    <a:pt x="664" y="1658"/>
                  </a:lnTo>
                  <a:lnTo>
                    <a:pt x="669" y="1642"/>
                  </a:lnTo>
                  <a:lnTo>
                    <a:pt x="648" y="1642"/>
                  </a:lnTo>
                  <a:lnTo>
                    <a:pt x="686" y="1625"/>
                  </a:lnTo>
                  <a:lnTo>
                    <a:pt x="702" y="1646"/>
                  </a:lnTo>
                  <a:lnTo>
                    <a:pt x="702" y="1668"/>
                  </a:lnTo>
                  <a:lnTo>
                    <a:pt x="690" y="1687"/>
                  </a:lnTo>
                  <a:lnTo>
                    <a:pt x="664" y="1696"/>
                  </a:lnTo>
                  <a:lnTo>
                    <a:pt x="652" y="1687"/>
                  </a:lnTo>
                  <a:lnTo>
                    <a:pt x="652" y="1668"/>
                  </a:lnTo>
                  <a:lnTo>
                    <a:pt x="648" y="1663"/>
                  </a:lnTo>
                  <a:lnTo>
                    <a:pt x="600" y="1680"/>
                  </a:lnTo>
                  <a:lnTo>
                    <a:pt x="600" y="1687"/>
                  </a:lnTo>
                  <a:lnTo>
                    <a:pt x="652" y="1703"/>
                  </a:lnTo>
                  <a:lnTo>
                    <a:pt x="610" y="1724"/>
                  </a:lnTo>
                  <a:lnTo>
                    <a:pt x="577" y="1769"/>
                  </a:lnTo>
                  <a:lnTo>
                    <a:pt x="577" y="1774"/>
                  </a:lnTo>
                  <a:lnTo>
                    <a:pt x="584" y="1791"/>
                  </a:lnTo>
                  <a:lnTo>
                    <a:pt x="577" y="1814"/>
                  </a:lnTo>
                  <a:lnTo>
                    <a:pt x="584" y="1824"/>
                  </a:lnTo>
                  <a:lnTo>
                    <a:pt x="577" y="1835"/>
                  </a:lnTo>
                  <a:lnTo>
                    <a:pt x="556" y="1852"/>
                  </a:lnTo>
                  <a:lnTo>
                    <a:pt x="556" y="1869"/>
                  </a:lnTo>
                  <a:lnTo>
                    <a:pt x="563" y="1869"/>
                  </a:lnTo>
                  <a:lnTo>
                    <a:pt x="563" y="1885"/>
                  </a:lnTo>
                  <a:lnTo>
                    <a:pt x="518" y="1880"/>
                  </a:lnTo>
                  <a:lnTo>
                    <a:pt x="466" y="1902"/>
                  </a:lnTo>
                  <a:lnTo>
                    <a:pt x="421" y="1975"/>
                  </a:lnTo>
                  <a:lnTo>
                    <a:pt x="416" y="1991"/>
                  </a:lnTo>
                  <a:lnTo>
                    <a:pt x="421" y="2013"/>
                  </a:lnTo>
                  <a:lnTo>
                    <a:pt x="475" y="2058"/>
                  </a:lnTo>
                  <a:lnTo>
                    <a:pt x="530" y="2069"/>
                  </a:lnTo>
                  <a:lnTo>
                    <a:pt x="546" y="2074"/>
                  </a:lnTo>
                  <a:lnTo>
                    <a:pt x="546" y="2107"/>
                  </a:lnTo>
                  <a:lnTo>
                    <a:pt x="541" y="2128"/>
                  </a:lnTo>
                  <a:lnTo>
                    <a:pt x="518" y="2140"/>
                  </a:lnTo>
                  <a:lnTo>
                    <a:pt x="530" y="2128"/>
                  </a:lnTo>
                  <a:lnTo>
                    <a:pt x="546" y="2145"/>
                  </a:lnTo>
                  <a:lnTo>
                    <a:pt x="530" y="2145"/>
                  </a:lnTo>
                  <a:lnTo>
                    <a:pt x="530" y="2161"/>
                  </a:lnTo>
                  <a:lnTo>
                    <a:pt x="454" y="2213"/>
                  </a:lnTo>
                  <a:lnTo>
                    <a:pt x="421" y="2251"/>
                  </a:lnTo>
                  <a:lnTo>
                    <a:pt x="416" y="2268"/>
                  </a:lnTo>
                  <a:lnTo>
                    <a:pt x="400" y="2280"/>
                  </a:lnTo>
                  <a:lnTo>
                    <a:pt x="416" y="2272"/>
                  </a:lnTo>
                  <a:lnTo>
                    <a:pt x="412" y="2329"/>
                  </a:lnTo>
                  <a:lnTo>
                    <a:pt x="400" y="2334"/>
                  </a:lnTo>
                  <a:lnTo>
                    <a:pt x="369" y="2350"/>
                  </a:lnTo>
                  <a:lnTo>
                    <a:pt x="345" y="2329"/>
                  </a:lnTo>
                  <a:lnTo>
                    <a:pt x="324" y="2334"/>
                  </a:lnTo>
                  <a:lnTo>
                    <a:pt x="345" y="2334"/>
                  </a:lnTo>
                  <a:lnTo>
                    <a:pt x="362" y="2350"/>
                  </a:lnTo>
                  <a:lnTo>
                    <a:pt x="324" y="2379"/>
                  </a:lnTo>
                  <a:lnTo>
                    <a:pt x="315" y="2391"/>
                  </a:lnTo>
                  <a:lnTo>
                    <a:pt x="308" y="2424"/>
                  </a:lnTo>
                  <a:lnTo>
                    <a:pt x="293" y="2440"/>
                  </a:lnTo>
                  <a:lnTo>
                    <a:pt x="308" y="2433"/>
                  </a:lnTo>
                  <a:lnTo>
                    <a:pt x="324" y="2490"/>
                  </a:lnTo>
                  <a:lnTo>
                    <a:pt x="277" y="2495"/>
                  </a:lnTo>
                  <a:lnTo>
                    <a:pt x="324" y="2495"/>
                  </a:lnTo>
                  <a:lnTo>
                    <a:pt x="362" y="2556"/>
                  </a:lnTo>
                  <a:lnTo>
                    <a:pt x="362" y="2568"/>
                  </a:lnTo>
                  <a:lnTo>
                    <a:pt x="256" y="2528"/>
                  </a:lnTo>
                  <a:lnTo>
                    <a:pt x="114" y="2528"/>
                  </a:lnTo>
                  <a:lnTo>
                    <a:pt x="114" y="2518"/>
                  </a:lnTo>
                  <a:lnTo>
                    <a:pt x="93" y="2502"/>
                  </a:lnTo>
                  <a:lnTo>
                    <a:pt x="83" y="2478"/>
                  </a:lnTo>
                  <a:lnTo>
                    <a:pt x="93" y="2457"/>
                  </a:lnTo>
                  <a:lnTo>
                    <a:pt x="83" y="2445"/>
                  </a:lnTo>
                  <a:lnTo>
                    <a:pt x="93" y="2433"/>
                  </a:lnTo>
                  <a:lnTo>
                    <a:pt x="93" y="2400"/>
                  </a:lnTo>
                  <a:lnTo>
                    <a:pt x="60" y="2400"/>
                  </a:lnTo>
                  <a:lnTo>
                    <a:pt x="29" y="2407"/>
                  </a:lnTo>
                  <a:lnTo>
                    <a:pt x="22" y="2367"/>
                  </a:lnTo>
                  <a:lnTo>
                    <a:pt x="8" y="2350"/>
                  </a:lnTo>
                  <a:lnTo>
                    <a:pt x="8" y="2334"/>
                  </a:lnTo>
                  <a:lnTo>
                    <a:pt x="0" y="2329"/>
                  </a:lnTo>
                  <a:lnTo>
                    <a:pt x="8" y="2322"/>
                  </a:lnTo>
                  <a:lnTo>
                    <a:pt x="0" y="2296"/>
                  </a:lnTo>
                  <a:lnTo>
                    <a:pt x="8" y="2272"/>
                  </a:lnTo>
                  <a:lnTo>
                    <a:pt x="29" y="2272"/>
                  </a:lnTo>
                  <a:lnTo>
                    <a:pt x="38" y="2272"/>
                  </a:lnTo>
                  <a:lnTo>
                    <a:pt x="29" y="2268"/>
                  </a:lnTo>
                  <a:lnTo>
                    <a:pt x="38" y="2239"/>
                  </a:lnTo>
                  <a:lnTo>
                    <a:pt x="71" y="2223"/>
                  </a:lnTo>
                  <a:lnTo>
                    <a:pt x="71" y="2197"/>
                  </a:lnTo>
                  <a:lnTo>
                    <a:pt x="93" y="2185"/>
                  </a:lnTo>
                  <a:lnTo>
                    <a:pt x="83" y="2161"/>
                  </a:lnTo>
                  <a:lnTo>
                    <a:pt x="76" y="2145"/>
                  </a:lnTo>
                  <a:lnTo>
                    <a:pt x="83" y="2112"/>
                  </a:lnTo>
                  <a:lnTo>
                    <a:pt x="83" y="2107"/>
                  </a:lnTo>
                  <a:lnTo>
                    <a:pt x="126" y="2086"/>
                  </a:lnTo>
                  <a:lnTo>
                    <a:pt x="114" y="2069"/>
                  </a:lnTo>
                  <a:lnTo>
                    <a:pt x="114" y="2046"/>
                  </a:lnTo>
                  <a:lnTo>
                    <a:pt x="130" y="2034"/>
                  </a:lnTo>
                  <a:lnTo>
                    <a:pt x="130" y="1996"/>
                  </a:lnTo>
                  <a:lnTo>
                    <a:pt x="114" y="1991"/>
                  </a:lnTo>
                  <a:lnTo>
                    <a:pt x="135" y="1975"/>
                  </a:lnTo>
                  <a:lnTo>
                    <a:pt x="130" y="1958"/>
                  </a:lnTo>
                  <a:lnTo>
                    <a:pt x="126" y="1942"/>
                  </a:lnTo>
                  <a:lnTo>
                    <a:pt x="130" y="1935"/>
                  </a:lnTo>
                  <a:lnTo>
                    <a:pt x="147" y="1923"/>
                  </a:lnTo>
                  <a:lnTo>
                    <a:pt x="163" y="1906"/>
                  </a:lnTo>
                  <a:lnTo>
                    <a:pt x="135" y="1880"/>
                  </a:lnTo>
                  <a:lnTo>
                    <a:pt x="109" y="1880"/>
                  </a:lnTo>
                  <a:lnTo>
                    <a:pt x="109" y="1864"/>
                  </a:lnTo>
                  <a:lnTo>
                    <a:pt x="163" y="1864"/>
                  </a:lnTo>
                  <a:lnTo>
                    <a:pt x="180" y="1835"/>
                  </a:lnTo>
                  <a:lnTo>
                    <a:pt x="168" y="1831"/>
                  </a:lnTo>
                  <a:lnTo>
                    <a:pt x="126" y="1831"/>
                  </a:lnTo>
                  <a:lnTo>
                    <a:pt x="126" y="1807"/>
                  </a:lnTo>
                  <a:lnTo>
                    <a:pt x="135" y="1791"/>
                  </a:lnTo>
                  <a:lnTo>
                    <a:pt x="126" y="1774"/>
                  </a:lnTo>
                  <a:lnTo>
                    <a:pt x="130" y="1769"/>
                  </a:lnTo>
                  <a:lnTo>
                    <a:pt x="130" y="1758"/>
                  </a:lnTo>
                  <a:lnTo>
                    <a:pt x="114" y="1741"/>
                  </a:lnTo>
                  <a:lnTo>
                    <a:pt x="114" y="1736"/>
                  </a:lnTo>
                  <a:lnTo>
                    <a:pt x="130" y="1736"/>
                  </a:lnTo>
                  <a:lnTo>
                    <a:pt x="130" y="1720"/>
                  </a:lnTo>
                  <a:lnTo>
                    <a:pt x="97" y="1713"/>
                  </a:lnTo>
                  <a:lnTo>
                    <a:pt x="97" y="1668"/>
                  </a:lnTo>
                  <a:lnTo>
                    <a:pt x="109" y="1646"/>
                  </a:lnTo>
                  <a:lnTo>
                    <a:pt x="97" y="1646"/>
                  </a:lnTo>
                  <a:lnTo>
                    <a:pt x="109" y="1630"/>
                  </a:lnTo>
                  <a:lnTo>
                    <a:pt x="114" y="1630"/>
                  </a:lnTo>
                  <a:lnTo>
                    <a:pt x="130" y="1625"/>
                  </a:lnTo>
                  <a:lnTo>
                    <a:pt x="114" y="1592"/>
                  </a:lnTo>
                  <a:lnTo>
                    <a:pt x="126" y="1585"/>
                  </a:lnTo>
                  <a:lnTo>
                    <a:pt x="126" y="1531"/>
                  </a:lnTo>
                  <a:lnTo>
                    <a:pt x="114" y="1514"/>
                  </a:lnTo>
                  <a:lnTo>
                    <a:pt x="126" y="1481"/>
                  </a:lnTo>
                  <a:lnTo>
                    <a:pt x="130" y="1474"/>
                  </a:lnTo>
                  <a:lnTo>
                    <a:pt x="126" y="1465"/>
                  </a:lnTo>
                  <a:lnTo>
                    <a:pt x="135" y="1441"/>
                  </a:lnTo>
                  <a:lnTo>
                    <a:pt x="130" y="1408"/>
                  </a:lnTo>
                  <a:lnTo>
                    <a:pt x="147" y="1420"/>
                  </a:lnTo>
                  <a:lnTo>
                    <a:pt x="152" y="1387"/>
                  </a:lnTo>
                  <a:lnTo>
                    <a:pt x="152" y="1354"/>
                  </a:lnTo>
                  <a:lnTo>
                    <a:pt x="185" y="1337"/>
                  </a:lnTo>
                  <a:lnTo>
                    <a:pt x="189" y="1330"/>
                  </a:lnTo>
                  <a:lnTo>
                    <a:pt x="185" y="1313"/>
                  </a:lnTo>
                  <a:lnTo>
                    <a:pt x="185" y="1280"/>
                  </a:lnTo>
                  <a:lnTo>
                    <a:pt x="168" y="1252"/>
                  </a:lnTo>
                  <a:lnTo>
                    <a:pt x="180" y="1235"/>
                  </a:lnTo>
                  <a:lnTo>
                    <a:pt x="168" y="1219"/>
                  </a:lnTo>
                  <a:lnTo>
                    <a:pt x="180" y="1202"/>
                  </a:lnTo>
                  <a:lnTo>
                    <a:pt x="168" y="1181"/>
                  </a:lnTo>
                  <a:lnTo>
                    <a:pt x="180" y="1153"/>
                  </a:lnTo>
                  <a:lnTo>
                    <a:pt x="201" y="1148"/>
                  </a:lnTo>
                  <a:lnTo>
                    <a:pt x="201" y="1132"/>
                  </a:lnTo>
                  <a:lnTo>
                    <a:pt x="223" y="1124"/>
                  </a:lnTo>
                  <a:lnTo>
                    <a:pt x="232" y="1098"/>
                  </a:lnTo>
                  <a:lnTo>
                    <a:pt x="223" y="1058"/>
                  </a:lnTo>
                  <a:lnTo>
                    <a:pt x="206" y="1054"/>
                  </a:lnTo>
                  <a:lnTo>
                    <a:pt x="223" y="1042"/>
                  </a:lnTo>
                  <a:lnTo>
                    <a:pt x="244" y="976"/>
                  </a:lnTo>
                  <a:lnTo>
                    <a:pt x="260" y="964"/>
                  </a:lnTo>
                  <a:lnTo>
                    <a:pt x="256" y="931"/>
                  </a:lnTo>
                  <a:lnTo>
                    <a:pt x="270" y="905"/>
                  </a:lnTo>
                  <a:lnTo>
                    <a:pt x="260" y="893"/>
                  </a:lnTo>
                  <a:lnTo>
                    <a:pt x="256" y="893"/>
                  </a:lnTo>
                  <a:lnTo>
                    <a:pt x="244" y="888"/>
                  </a:lnTo>
                  <a:lnTo>
                    <a:pt x="256" y="865"/>
                  </a:lnTo>
                  <a:lnTo>
                    <a:pt x="239" y="848"/>
                  </a:lnTo>
                  <a:lnTo>
                    <a:pt x="239" y="832"/>
                  </a:lnTo>
                  <a:lnTo>
                    <a:pt x="232" y="810"/>
                  </a:lnTo>
                  <a:lnTo>
                    <a:pt x="223" y="798"/>
                  </a:lnTo>
                  <a:lnTo>
                    <a:pt x="239" y="782"/>
                  </a:lnTo>
                  <a:lnTo>
                    <a:pt x="223" y="777"/>
                  </a:lnTo>
                  <a:lnTo>
                    <a:pt x="206" y="754"/>
                  </a:lnTo>
                  <a:lnTo>
                    <a:pt x="218" y="725"/>
                  </a:lnTo>
                  <a:lnTo>
                    <a:pt x="232" y="709"/>
                  </a:lnTo>
                  <a:lnTo>
                    <a:pt x="232" y="699"/>
                  </a:lnTo>
                  <a:lnTo>
                    <a:pt x="239" y="666"/>
                  </a:lnTo>
                  <a:lnTo>
                    <a:pt x="256" y="654"/>
                  </a:lnTo>
                  <a:lnTo>
                    <a:pt x="260" y="650"/>
                  </a:lnTo>
                  <a:lnTo>
                    <a:pt x="244" y="576"/>
                  </a:lnTo>
                  <a:lnTo>
                    <a:pt x="270" y="560"/>
                  </a:lnTo>
                  <a:lnTo>
                    <a:pt x="277" y="506"/>
                  </a:lnTo>
                  <a:lnTo>
                    <a:pt x="308" y="477"/>
                  </a:lnTo>
                  <a:lnTo>
                    <a:pt x="331" y="404"/>
                  </a:lnTo>
                  <a:lnTo>
                    <a:pt x="362" y="404"/>
                  </a:lnTo>
                  <a:lnTo>
                    <a:pt x="369" y="387"/>
                  </a:lnTo>
                  <a:lnTo>
                    <a:pt x="345" y="354"/>
                  </a:lnTo>
                  <a:lnTo>
                    <a:pt x="352" y="338"/>
                  </a:lnTo>
                  <a:lnTo>
                    <a:pt x="362" y="333"/>
                  </a:lnTo>
                  <a:lnTo>
                    <a:pt x="345" y="276"/>
                  </a:lnTo>
                  <a:lnTo>
                    <a:pt x="352" y="255"/>
                  </a:lnTo>
                  <a:lnTo>
                    <a:pt x="369" y="255"/>
                  </a:lnTo>
                  <a:lnTo>
                    <a:pt x="352" y="222"/>
                  </a:lnTo>
                  <a:lnTo>
                    <a:pt x="369" y="199"/>
                  </a:lnTo>
                  <a:lnTo>
                    <a:pt x="438" y="165"/>
                  </a:lnTo>
                  <a:lnTo>
                    <a:pt x="466" y="87"/>
                  </a:lnTo>
                  <a:lnTo>
                    <a:pt x="449" y="78"/>
                  </a:lnTo>
                  <a:lnTo>
                    <a:pt x="449" y="78"/>
                  </a:lnTo>
                  <a:lnTo>
                    <a:pt x="449" y="78"/>
                  </a:lnTo>
                  <a:close/>
                  <a:moveTo>
                    <a:pt x="815" y="1387"/>
                  </a:moveTo>
                  <a:lnTo>
                    <a:pt x="799" y="1370"/>
                  </a:lnTo>
                  <a:lnTo>
                    <a:pt x="815" y="1375"/>
                  </a:lnTo>
                  <a:lnTo>
                    <a:pt x="815" y="1387"/>
                  </a:lnTo>
                  <a:lnTo>
                    <a:pt x="815" y="1387"/>
                  </a:lnTo>
                  <a:lnTo>
                    <a:pt x="815" y="1387"/>
                  </a:lnTo>
                  <a:close/>
                  <a:moveTo>
                    <a:pt x="345" y="2806"/>
                  </a:moveTo>
                  <a:lnTo>
                    <a:pt x="345" y="2589"/>
                  </a:lnTo>
                  <a:lnTo>
                    <a:pt x="369" y="2622"/>
                  </a:lnTo>
                  <a:lnTo>
                    <a:pt x="378" y="2639"/>
                  </a:lnTo>
                  <a:lnTo>
                    <a:pt x="362" y="2629"/>
                  </a:lnTo>
                  <a:lnTo>
                    <a:pt x="352" y="2639"/>
                  </a:lnTo>
                  <a:lnTo>
                    <a:pt x="352" y="2646"/>
                  </a:lnTo>
                  <a:lnTo>
                    <a:pt x="378" y="2655"/>
                  </a:lnTo>
                  <a:lnTo>
                    <a:pt x="395" y="2683"/>
                  </a:lnTo>
                  <a:lnTo>
                    <a:pt x="421" y="2712"/>
                  </a:lnTo>
                  <a:lnTo>
                    <a:pt x="421" y="2717"/>
                  </a:lnTo>
                  <a:lnTo>
                    <a:pt x="518" y="2778"/>
                  </a:lnTo>
                  <a:lnTo>
                    <a:pt x="556" y="2790"/>
                  </a:lnTo>
                  <a:lnTo>
                    <a:pt x="593" y="2790"/>
                  </a:lnTo>
                  <a:lnTo>
                    <a:pt x="577" y="2823"/>
                  </a:lnTo>
                  <a:lnTo>
                    <a:pt x="541" y="2811"/>
                  </a:lnTo>
                  <a:lnTo>
                    <a:pt x="504" y="2828"/>
                  </a:lnTo>
                  <a:lnTo>
                    <a:pt x="466" y="2811"/>
                  </a:lnTo>
                  <a:lnTo>
                    <a:pt x="352" y="2811"/>
                  </a:lnTo>
                  <a:lnTo>
                    <a:pt x="345" y="2806"/>
                  </a:lnTo>
                  <a:lnTo>
                    <a:pt x="345" y="2806"/>
                  </a:lnTo>
                  <a:lnTo>
                    <a:pt x="345" y="2806"/>
                  </a:lnTo>
                  <a:close/>
                  <a:moveTo>
                    <a:pt x="626" y="2811"/>
                  </a:moveTo>
                  <a:lnTo>
                    <a:pt x="615" y="2806"/>
                  </a:lnTo>
                  <a:lnTo>
                    <a:pt x="626" y="2806"/>
                  </a:lnTo>
                  <a:lnTo>
                    <a:pt x="686" y="2794"/>
                  </a:lnTo>
                  <a:lnTo>
                    <a:pt x="681" y="2806"/>
                  </a:lnTo>
                  <a:lnTo>
                    <a:pt x="648" y="2806"/>
                  </a:lnTo>
                  <a:lnTo>
                    <a:pt x="626" y="2811"/>
                  </a:lnTo>
                  <a:lnTo>
                    <a:pt x="626" y="2811"/>
                  </a:lnTo>
                  <a:lnTo>
                    <a:pt x="626" y="2811"/>
                  </a:lnTo>
                  <a:close/>
                  <a:moveTo>
                    <a:pt x="345" y="2811"/>
                  </a:moveTo>
                  <a:lnTo>
                    <a:pt x="345" y="2806"/>
                  </a:lnTo>
                  <a:lnTo>
                    <a:pt x="352" y="2811"/>
                  </a:lnTo>
                  <a:lnTo>
                    <a:pt x="345" y="2811"/>
                  </a:lnTo>
                  <a:lnTo>
                    <a:pt x="345" y="2811"/>
                  </a:lnTo>
                  <a:lnTo>
                    <a:pt x="345" y="2811"/>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 name="Freeform 388">
              <a:extLst>
                <a:ext uri="{FF2B5EF4-FFF2-40B4-BE49-F238E27FC236}">
                  <a16:creationId xmlns:a16="http://schemas.microsoft.com/office/drawing/2014/main" id="{ED420D2D-A1CC-47E7-A030-0FAFB89904CF}"/>
                </a:ext>
              </a:extLst>
            </p:cNvPr>
            <p:cNvSpPr>
              <a:spLocks noEditPoints="1"/>
            </p:cNvSpPr>
            <p:nvPr/>
          </p:nvSpPr>
          <p:spPr bwMode="gray">
            <a:xfrm>
              <a:off x="16337664" y="4351696"/>
              <a:ext cx="1056841" cy="1199869"/>
            </a:xfrm>
            <a:custGeom>
              <a:avLst/>
              <a:gdLst>
                <a:gd name="T0" fmla="*/ 2050 w 3229"/>
                <a:gd name="T1" fmla="*/ 41 h 3666"/>
                <a:gd name="T2" fmla="*/ 2239 w 3229"/>
                <a:gd name="T3" fmla="*/ 2190 h 3666"/>
                <a:gd name="T4" fmla="*/ 1939 w 3229"/>
                <a:gd name="T5" fmla="*/ 2152 h 3666"/>
                <a:gd name="T6" fmla="*/ 1835 w 3229"/>
                <a:gd name="T7" fmla="*/ 1930 h 3666"/>
                <a:gd name="T8" fmla="*/ 1712 w 3229"/>
                <a:gd name="T9" fmla="*/ 1902 h 3666"/>
                <a:gd name="T10" fmla="*/ 1603 w 3229"/>
                <a:gd name="T11" fmla="*/ 1885 h 3666"/>
                <a:gd name="T12" fmla="*/ 1495 w 3229"/>
                <a:gd name="T13" fmla="*/ 1746 h 3666"/>
                <a:gd name="T14" fmla="*/ 1204 w 3229"/>
                <a:gd name="T15" fmla="*/ 1630 h 3666"/>
                <a:gd name="T16" fmla="*/ 621 w 3229"/>
                <a:gd name="T17" fmla="*/ 1815 h 3666"/>
                <a:gd name="T18" fmla="*/ 309 w 3229"/>
                <a:gd name="T19" fmla="*/ 1902 h 3666"/>
                <a:gd name="T20" fmla="*/ 196 w 3229"/>
                <a:gd name="T21" fmla="*/ 1647 h 3666"/>
                <a:gd name="T22" fmla="*/ 49 w 3229"/>
                <a:gd name="T23" fmla="*/ 1243 h 3666"/>
                <a:gd name="T24" fmla="*/ 33 w 3229"/>
                <a:gd name="T25" fmla="*/ 1071 h 3666"/>
                <a:gd name="T26" fmla="*/ 285 w 3229"/>
                <a:gd name="T27" fmla="*/ 782 h 3666"/>
                <a:gd name="T28" fmla="*/ 649 w 3229"/>
                <a:gd name="T29" fmla="*/ 527 h 3666"/>
                <a:gd name="T30" fmla="*/ 751 w 3229"/>
                <a:gd name="T31" fmla="*/ 482 h 3666"/>
                <a:gd name="T32" fmla="*/ 836 w 3229"/>
                <a:gd name="T33" fmla="*/ 466 h 3666"/>
                <a:gd name="T34" fmla="*/ 848 w 3229"/>
                <a:gd name="T35" fmla="*/ 388 h 3666"/>
                <a:gd name="T36" fmla="*/ 890 w 3229"/>
                <a:gd name="T37" fmla="*/ 305 h 3666"/>
                <a:gd name="T38" fmla="*/ 956 w 3229"/>
                <a:gd name="T39" fmla="*/ 305 h 3666"/>
                <a:gd name="T40" fmla="*/ 1091 w 3229"/>
                <a:gd name="T41" fmla="*/ 362 h 3666"/>
                <a:gd name="T42" fmla="*/ 1171 w 3229"/>
                <a:gd name="T43" fmla="*/ 345 h 3666"/>
                <a:gd name="T44" fmla="*/ 1226 w 3229"/>
                <a:gd name="T45" fmla="*/ 189 h 3666"/>
                <a:gd name="T46" fmla="*/ 1365 w 3229"/>
                <a:gd name="T47" fmla="*/ 156 h 3666"/>
                <a:gd name="T48" fmla="*/ 1419 w 3229"/>
                <a:gd name="T49" fmla="*/ 123 h 3666"/>
                <a:gd name="T50" fmla="*/ 1613 w 3229"/>
                <a:gd name="T51" fmla="*/ 123 h 3666"/>
                <a:gd name="T52" fmla="*/ 1674 w 3229"/>
                <a:gd name="T53" fmla="*/ 156 h 3666"/>
                <a:gd name="T54" fmla="*/ 1603 w 3229"/>
                <a:gd name="T55" fmla="*/ 305 h 3666"/>
                <a:gd name="T56" fmla="*/ 1953 w 3229"/>
                <a:gd name="T57" fmla="*/ 544 h 3666"/>
                <a:gd name="T58" fmla="*/ 2012 w 3229"/>
                <a:gd name="T59" fmla="*/ 178 h 3666"/>
                <a:gd name="T60" fmla="*/ 2121 w 3229"/>
                <a:gd name="T61" fmla="*/ 140 h 3666"/>
                <a:gd name="T62" fmla="*/ 2267 w 3229"/>
                <a:gd name="T63" fmla="*/ 355 h 3666"/>
                <a:gd name="T64" fmla="*/ 2414 w 3229"/>
                <a:gd name="T65" fmla="*/ 676 h 3666"/>
                <a:gd name="T66" fmla="*/ 2548 w 3229"/>
                <a:gd name="T67" fmla="*/ 832 h 3666"/>
                <a:gd name="T68" fmla="*/ 2671 w 3229"/>
                <a:gd name="T69" fmla="*/ 1004 h 3666"/>
                <a:gd name="T70" fmla="*/ 2822 w 3229"/>
                <a:gd name="T71" fmla="*/ 1304 h 3666"/>
                <a:gd name="T72" fmla="*/ 2700 w 3229"/>
                <a:gd name="T73" fmla="*/ 1774 h 3666"/>
                <a:gd name="T74" fmla="*/ 2603 w 3229"/>
                <a:gd name="T75" fmla="*/ 2079 h 3666"/>
                <a:gd name="T76" fmla="*/ 1667 w 3229"/>
                <a:gd name="T77" fmla="*/ 67 h 3666"/>
                <a:gd name="T78" fmla="*/ 1280 w 3229"/>
                <a:gd name="T79" fmla="*/ 100 h 3666"/>
                <a:gd name="T80" fmla="*/ 1226 w 3229"/>
                <a:gd name="T81" fmla="*/ 133 h 3666"/>
                <a:gd name="T82" fmla="*/ 1684 w 3229"/>
                <a:gd name="T83" fmla="*/ 300 h 3666"/>
                <a:gd name="T84" fmla="*/ 1629 w 3229"/>
                <a:gd name="T85" fmla="*/ 279 h 3666"/>
                <a:gd name="T86" fmla="*/ 810 w 3229"/>
                <a:gd name="T87" fmla="*/ 378 h 3666"/>
                <a:gd name="T88" fmla="*/ 1689 w 3229"/>
                <a:gd name="T89" fmla="*/ 428 h 3666"/>
                <a:gd name="T90" fmla="*/ 1835 w 3229"/>
                <a:gd name="T91" fmla="*/ 489 h 3666"/>
                <a:gd name="T92" fmla="*/ 2338 w 3229"/>
                <a:gd name="T93" fmla="*/ 622 h 3666"/>
                <a:gd name="T94" fmla="*/ 2520 w 3229"/>
                <a:gd name="T95" fmla="*/ 745 h 3666"/>
                <a:gd name="T96" fmla="*/ 2629 w 3229"/>
                <a:gd name="T97" fmla="*/ 910 h 3666"/>
                <a:gd name="T98" fmla="*/ 2834 w 3229"/>
                <a:gd name="T99" fmla="*/ 1115 h 3666"/>
                <a:gd name="T100" fmla="*/ 2839 w 3229"/>
                <a:gd name="T101" fmla="*/ 1297 h 3666"/>
                <a:gd name="T102" fmla="*/ 1651 w 3229"/>
                <a:gd name="T103" fmla="*/ 1980 h 3666"/>
                <a:gd name="T104" fmla="*/ 2267 w 3229"/>
                <a:gd name="T105" fmla="*/ 2202 h 3666"/>
                <a:gd name="T106" fmla="*/ 2187 w 3229"/>
                <a:gd name="T107" fmla="*/ 2313 h 3666"/>
                <a:gd name="T108" fmla="*/ 2461 w 3229"/>
                <a:gd name="T109" fmla="*/ 2363 h 3666"/>
                <a:gd name="T110" fmla="*/ 2466 w 3229"/>
                <a:gd name="T111" fmla="*/ 2363 h 3666"/>
                <a:gd name="T112" fmla="*/ 2305 w 3229"/>
                <a:gd name="T113" fmla="*/ 2606 h 3666"/>
                <a:gd name="T114" fmla="*/ 2385 w 3229"/>
                <a:gd name="T115" fmla="*/ 2417 h 3666"/>
                <a:gd name="T116" fmla="*/ 2456 w 3229"/>
                <a:gd name="T117" fmla="*/ 2596 h 3666"/>
                <a:gd name="T118" fmla="*/ 2390 w 3229"/>
                <a:gd name="T119" fmla="*/ 2606 h 3666"/>
                <a:gd name="T120" fmla="*/ 2414 w 3229"/>
                <a:gd name="T121" fmla="*/ 2596 h 3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29" h="3666">
                  <a:moveTo>
                    <a:pt x="2045" y="12"/>
                  </a:moveTo>
                  <a:lnTo>
                    <a:pt x="2045" y="5"/>
                  </a:lnTo>
                  <a:lnTo>
                    <a:pt x="2045" y="0"/>
                  </a:lnTo>
                  <a:lnTo>
                    <a:pt x="2045" y="12"/>
                  </a:lnTo>
                  <a:lnTo>
                    <a:pt x="2045" y="12"/>
                  </a:lnTo>
                  <a:lnTo>
                    <a:pt x="2045" y="12"/>
                  </a:lnTo>
                  <a:close/>
                  <a:moveTo>
                    <a:pt x="2050" y="12"/>
                  </a:moveTo>
                  <a:lnTo>
                    <a:pt x="2050" y="5"/>
                  </a:lnTo>
                  <a:lnTo>
                    <a:pt x="2062" y="12"/>
                  </a:lnTo>
                  <a:lnTo>
                    <a:pt x="2050" y="12"/>
                  </a:lnTo>
                  <a:lnTo>
                    <a:pt x="2050" y="12"/>
                  </a:lnTo>
                  <a:lnTo>
                    <a:pt x="2050" y="12"/>
                  </a:lnTo>
                  <a:close/>
                  <a:moveTo>
                    <a:pt x="2050" y="57"/>
                  </a:moveTo>
                  <a:lnTo>
                    <a:pt x="2045" y="45"/>
                  </a:lnTo>
                  <a:lnTo>
                    <a:pt x="2050" y="41"/>
                  </a:lnTo>
                  <a:lnTo>
                    <a:pt x="2050" y="45"/>
                  </a:lnTo>
                  <a:lnTo>
                    <a:pt x="2050" y="57"/>
                  </a:lnTo>
                  <a:lnTo>
                    <a:pt x="2050" y="57"/>
                  </a:lnTo>
                  <a:lnTo>
                    <a:pt x="2050" y="57"/>
                  </a:lnTo>
                  <a:close/>
                  <a:moveTo>
                    <a:pt x="2348" y="2247"/>
                  </a:moveTo>
                  <a:lnTo>
                    <a:pt x="2331" y="2219"/>
                  </a:lnTo>
                  <a:lnTo>
                    <a:pt x="2305" y="2223"/>
                  </a:lnTo>
                  <a:lnTo>
                    <a:pt x="2305" y="2202"/>
                  </a:lnTo>
                  <a:lnTo>
                    <a:pt x="2293" y="2207"/>
                  </a:lnTo>
                  <a:lnTo>
                    <a:pt x="2277" y="2190"/>
                  </a:lnTo>
                  <a:lnTo>
                    <a:pt x="2284" y="2181"/>
                  </a:lnTo>
                  <a:lnTo>
                    <a:pt x="2277" y="2169"/>
                  </a:lnTo>
                  <a:lnTo>
                    <a:pt x="2267" y="2169"/>
                  </a:lnTo>
                  <a:lnTo>
                    <a:pt x="2251" y="2190"/>
                  </a:lnTo>
                  <a:lnTo>
                    <a:pt x="2239" y="2190"/>
                  </a:lnTo>
                  <a:lnTo>
                    <a:pt x="2229" y="2181"/>
                  </a:lnTo>
                  <a:lnTo>
                    <a:pt x="2246" y="2181"/>
                  </a:lnTo>
                  <a:lnTo>
                    <a:pt x="2251" y="2164"/>
                  </a:lnTo>
                  <a:lnTo>
                    <a:pt x="2246" y="2136"/>
                  </a:lnTo>
                  <a:lnTo>
                    <a:pt x="2196" y="2164"/>
                  </a:lnTo>
                  <a:lnTo>
                    <a:pt x="2225" y="2164"/>
                  </a:lnTo>
                  <a:lnTo>
                    <a:pt x="2225" y="2181"/>
                  </a:lnTo>
                  <a:lnTo>
                    <a:pt x="2196" y="2181"/>
                  </a:lnTo>
                  <a:lnTo>
                    <a:pt x="2142" y="2223"/>
                  </a:lnTo>
                  <a:lnTo>
                    <a:pt x="2062" y="2181"/>
                  </a:lnTo>
                  <a:lnTo>
                    <a:pt x="2045" y="2185"/>
                  </a:lnTo>
                  <a:lnTo>
                    <a:pt x="2024" y="2169"/>
                  </a:lnTo>
                  <a:lnTo>
                    <a:pt x="2007" y="2185"/>
                  </a:lnTo>
                  <a:lnTo>
                    <a:pt x="1977" y="2164"/>
                  </a:lnTo>
                  <a:lnTo>
                    <a:pt x="1939" y="2152"/>
                  </a:lnTo>
                  <a:lnTo>
                    <a:pt x="1873" y="2079"/>
                  </a:lnTo>
                  <a:lnTo>
                    <a:pt x="1873" y="2058"/>
                  </a:lnTo>
                  <a:lnTo>
                    <a:pt x="1885" y="2053"/>
                  </a:lnTo>
                  <a:lnTo>
                    <a:pt x="1885" y="2025"/>
                  </a:lnTo>
                  <a:lnTo>
                    <a:pt x="1873" y="2001"/>
                  </a:lnTo>
                  <a:lnTo>
                    <a:pt x="1830" y="1959"/>
                  </a:lnTo>
                  <a:lnTo>
                    <a:pt x="1852" y="1968"/>
                  </a:lnTo>
                  <a:lnTo>
                    <a:pt x="1873" y="2001"/>
                  </a:lnTo>
                  <a:lnTo>
                    <a:pt x="1868" y="1985"/>
                  </a:lnTo>
                  <a:lnTo>
                    <a:pt x="1835" y="1959"/>
                  </a:lnTo>
                  <a:lnTo>
                    <a:pt x="1835" y="1942"/>
                  </a:lnTo>
                  <a:lnTo>
                    <a:pt x="1847" y="1959"/>
                  </a:lnTo>
                  <a:lnTo>
                    <a:pt x="1852" y="1959"/>
                  </a:lnTo>
                  <a:lnTo>
                    <a:pt x="1852" y="1930"/>
                  </a:lnTo>
                  <a:lnTo>
                    <a:pt x="1835" y="1930"/>
                  </a:lnTo>
                  <a:lnTo>
                    <a:pt x="1818" y="1942"/>
                  </a:lnTo>
                  <a:lnTo>
                    <a:pt x="1830" y="1947"/>
                  </a:lnTo>
                  <a:lnTo>
                    <a:pt x="1809" y="1947"/>
                  </a:lnTo>
                  <a:lnTo>
                    <a:pt x="1792" y="1959"/>
                  </a:lnTo>
                  <a:lnTo>
                    <a:pt x="1759" y="1959"/>
                  </a:lnTo>
                  <a:lnTo>
                    <a:pt x="1792" y="1930"/>
                  </a:lnTo>
                  <a:lnTo>
                    <a:pt x="1792" y="1909"/>
                  </a:lnTo>
                  <a:lnTo>
                    <a:pt x="1792" y="1874"/>
                  </a:lnTo>
                  <a:lnTo>
                    <a:pt x="1759" y="1831"/>
                  </a:lnTo>
                  <a:lnTo>
                    <a:pt x="1755" y="1857"/>
                  </a:lnTo>
                  <a:lnTo>
                    <a:pt x="1738" y="1914"/>
                  </a:lnTo>
                  <a:lnTo>
                    <a:pt x="1722" y="1909"/>
                  </a:lnTo>
                  <a:lnTo>
                    <a:pt x="1674" y="1926"/>
                  </a:lnTo>
                  <a:lnTo>
                    <a:pt x="1689" y="1893"/>
                  </a:lnTo>
                  <a:lnTo>
                    <a:pt x="1712" y="1902"/>
                  </a:lnTo>
                  <a:lnTo>
                    <a:pt x="1722" y="1874"/>
                  </a:lnTo>
                  <a:lnTo>
                    <a:pt x="1722" y="1836"/>
                  </a:lnTo>
                  <a:lnTo>
                    <a:pt x="1726" y="1815"/>
                  </a:lnTo>
                  <a:lnTo>
                    <a:pt x="1755" y="1791"/>
                  </a:lnTo>
                  <a:lnTo>
                    <a:pt x="1743" y="1765"/>
                  </a:lnTo>
                  <a:lnTo>
                    <a:pt x="1759" y="1746"/>
                  </a:lnTo>
                  <a:lnTo>
                    <a:pt x="1738" y="1704"/>
                  </a:lnTo>
                  <a:lnTo>
                    <a:pt x="1743" y="1741"/>
                  </a:lnTo>
                  <a:lnTo>
                    <a:pt x="1722" y="1746"/>
                  </a:lnTo>
                  <a:lnTo>
                    <a:pt x="1700" y="1798"/>
                  </a:lnTo>
                  <a:lnTo>
                    <a:pt x="1684" y="1798"/>
                  </a:lnTo>
                  <a:lnTo>
                    <a:pt x="1674" y="1803"/>
                  </a:lnTo>
                  <a:lnTo>
                    <a:pt x="1646" y="1819"/>
                  </a:lnTo>
                  <a:lnTo>
                    <a:pt x="1613" y="1869"/>
                  </a:lnTo>
                  <a:lnTo>
                    <a:pt x="1603" y="1885"/>
                  </a:lnTo>
                  <a:lnTo>
                    <a:pt x="1613" y="1885"/>
                  </a:lnTo>
                  <a:lnTo>
                    <a:pt x="1613" y="1902"/>
                  </a:lnTo>
                  <a:lnTo>
                    <a:pt x="1599" y="1893"/>
                  </a:lnTo>
                  <a:lnTo>
                    <a:pt x="1592" y="1902"/>
                  </a:lnTo>
                  <a:lnTo>
                    <a:pt x="1566" y="1869"/>
                  </a:lnTo>
                  <a:lnTo>
                    <a:pt x="1549" y="1869"/>
                  </a:lnTo>
                  <a:lnTo>
                    <a:pt x="1561" y="1852"/>
                  </a:lnTo>
                  <a:lnTo>
                    <a:pt x="1575" y="1874"/>
                  </a:lnTo>
                  <a:lnTo>
                    <a:pt x="1582" y="1869"/>
                  </a:lnTo>
                  <a:lnTo>
                    <a:pt x="1575" y="1869"/>
                  </a:lnTo>
                  <a:lnTo>
                    <a:pt x="1566" y="1819"/>
                  </a:lnTo>
                  <a:lnTo>
                    <a:pt x="1537" y="1791"/>
                  </a:lnTo>
                  <a:lnTo>
                    <a:pt x="1537" y="1782"/>
                  </a:lnTo>
                  <a:lnTo>
                    <a:pt x="1528" y="1758"/>
                  </a:lnTo>
                  <a:lnTo>
                    <a:pt x="1495" y="1746"/>
                  </a:lnTo>
                  <a:lnTo>
                    <a:pt x="1485" y="1720"/>
                  </a:lnTo>
                  <a:lnTo>
                    <a:pt x="1490" y="1725"/>
                  </a:lnTo>
                  <a:lnTo>
                    <a:pt x="1495" y="1720"/>
                  </a:lnTo>
                  <a:lnTo>
                    <a:pt x="1490" y="1704"/>
                  </a:lnTo>
                  <a:lnTo>
                    <a:pt x="1469" y="1704"/>
                  </a:lnTo>
                  <a:lnTo>
                    <a:pt x="1474" y="1692"/>
                  </a:lnTo>
                  <a:lnTo>
                    <a:pt x="1452" y="1670"/>
                  </a:lnTo>
                  <a:lnTo>
                    <a:pt x="1436" y="1680"/>
                  </a:lnTo>
                  <a:lnTo>
                    <a:pt x="1415" y="1680"/>
                  </a:lnTo>
                  <a:lnTo>
                    <a:pt x="1386" y="1654"/>
                  </a:lnTo>
                  <a:lnTo>
                    <a:pt x="1351" y="1663"/>
                  </a:lnTo>
                  <a:lnTo>
                    <a:pt x="1322" y="1637"/>
                  </a:lnTo>
                  <a:lnTo>
                    <a:pt x="1275" y="1614"/>
                  </a:lnTo>
                  <a:lnTo>
                    <a:pt x="1252" y="1630"/>
                  </a:lnTo>
                  <a:lnTo>
                    <a:pt x="1204" y="1630"/>
                  </a:lnTo>
                  <a:lnTo>
                    <a:pt x="1129" y="1637"/>
                  </a:lnTo>
                  <a:lnTo>
                    <a:pt x="1058" y="1670"/>
                  </a:lnTo>
                  <a:lnTo>
                    <a:pt x="1003" y="1687"/>
                  </a:lnTo>
                  <a:lnTo>
                    <a:pt x="911" y="1680"/>
                  </a:lnTo>
                  <a:lnTo>
                    <a:pt x="826" y="1737"/>
                  </a:lnTo>
                  <a:lnTo>
                    <a:pt x="793" y="1741"/>
                  </a:lnTo>
                  <a:lnTo>
                    <a:pt x="784" y="1746"/>
                  </a:lnTo>
                  <a:lnTo>
                    <a:pt x="772" y="1791"/>
                  </a:lnTo>
                  <a:lnTo>
                    <a:pt x="755" y="1803"/>
                  </a:lnTo>
                  <a:lnTo>
                    <a:pt x="718" y="1819"/>
                  </a:lnTo>
                  <a:lnTo>
                    <a:pt x="701" y="1815"/>
                  </a:lnTo>
                  <a:lnTo>
                    <a:pt x="659" y="1815"/>
                  </a:lnTo>
                  <a:lnTo>
                    <a:pt x="642" y="1819"/>
                  </a:lnTo>
                  <a:lnTo>
                    <a:pt x="633" y="1803"/>
                  </a:lnTo>
                  <a:lnTo>
                    <a:pt x="621" y="1815"/>
                  </a:lnTo>
                  <a:lnTo>
                    <a:pt x="595" y="1803"/>
                  </a:lnTo>
                  <a:lnTo>
                    <a:pt x="557" y="1815"/>
                  </a:lnTo>
                  <a:lnTo>
                    <a:pt x="524" y="1819"/>
                  </a:lnTo>
                  <a:lnTo>
                    <a:pt x="498" y="1815"/>
                  </a:lnTo>
                  <a:lnTo>
                    <a:pt x="465" y="1831"/>
                  </a:lnTo>
                  <a:lnTo>
                    <a:pt x="448" y="1857"/>
                  </a:lnTo>
                  <a:lnTo>
                    <a:pt x="444" y="1857"/>
                  </a:lnTo>
                  <a:lnTo>
                    <a:pt x="415" y="1857"/>
                  </a:lnTo>
                  <a:lnTo>
                    <a:pt x="373" y="1893"/>
                  </a:lnTo>
                  <a:lnTo>
                    <a:pt x="340" y="1909"/>
                  </a:lnTo>
                  <a:lnTo>
                    <a:pt x="356" y="1909"/>
                  </a:lnTo>
                  <a:lnTo>
                    <a:pt x="352" y="1914"/>
                  </a:lnTo>
                  <a:lnTo>
                    <a:pt x="335" y="1909"/>
                  </a:lnTo>
                  <a:lnTo>
                    <a:pt x="323" y="1914"/>
                  </a:lnTo>
                  <a:lnTo>
                    <a:pt x="309" y="1902"/>
                  </a:lnTo>
                  <a:lnTo>
                    <a:pt x="255" y="1909"/>
                  </a:lnTo>
                  <a:lnTo>
                    <a:pt x="210" y="1885"/>
                  </a:lnTo>
                  <a:lnTo>
                    <a:pt x="189" y="1857"/>
                  </a:lnTo>
                  <a:lnTo>
                    <a:pt x="163" y="1848"/>
                  </a:lnTo>
                  <a:lnTo>
                    <a:pt x="158" y="1852"/>
                  </a:lnTo>
                  <a:lnTo>
                    <a:pt x="146" y="1848"/>
                  </a:lnTo>
                  <a:lnTo>
                    <a:pt x="141" y="1782"/>
                  </a:lnTo>
                  <a:lnTo>
                    <a:pt x="158" y="1791"/>
                  </a:lnTo>
                  <a:lnTo>
                    <a:pt x="172" y="1791"/>
                  </a:lnTo>
                  <a:lnTo>
                    <a:pt x="196" y="1765"/>
                  </a:lnTo>
                  <a:lnTo>
                    <a:pt x="189" y="1720"/>
                  </a:lnTo>
                  <a:lnTo>
                    <a:pt x="196" y="1704"/>
                  </a:lnTo>
                  <a:lnTo>
                    <a:pt x="189" y="1708"/>
                  </a:lnTo>
                  <a:lnTo>
                    <a:pt x="196" y="1725"/>
                  </a:lnTo>
                  <a:lnTo>
                    <a:pt x="196" y="1647"/>
                  </a:lnTo>
                  <a:lnTo>
                    <a:pt x="146" y="1543"/>
                  </a:lnTo>
                  <a:lnTo>
                    <a:pt x="141" y="1503"/>
                  </a:lnTo>
                  <a:lnTo>
                    <a:pt x="141" y="1465"/>
                  </a:lnTo>
                  <a:lnTo>
                    <a:pt x="134" y="1441"/>
                  </a:lnTo>
                  <a:lnTo>
                    <a:pt x="120" y="1408"/>
                  </a:lnTo>
                  <a:lnTo>
                    <a:pt x="108" y="1387"/>
                  </a:lnTo>
                  <a:lnTo>
                    <a:pt x="87" y="1354"/>
                  </a:lnTo>
                  <a:lnTo>
                    <a:pt x="87" y="1314"/>
                  </a:lnTo>
                  <a:lnTo>
                    <a:pt x="70" y="1281"/>
                  </a:lnTo>
                  <a:lnTo>
                    <a:pt x="16" y="1210"/>
                  </a:lnTo>
                  <a:lnTo>
                    <a:pt x="28" y="1193"/>
                  </a:lnTo>
                  <a:lnTo>
                    <a:pt x="28" y="1210"/>
                  </a:lnTo>
                  <a:lnTo>
                    <a:pt x="33" y="1203"/>
                  </a:lnTo>
                  <a:lnTo>
                    <a:pt x="37" y="1210"/>
                  </a:lnTo>
                  <a:lnTo>
                    <a:pt x="49" y="1243"/>
                  </a:lnTo>
                  <a:lnTo>
                    <a:pt x="66" y="1226"/>
                  </a:lnTo>
                  <a:lnTo>
                    <a:pt x="66" y="1210"/>
                  </a:lnTo>
                  <a:lnTo>
                    <a:pt x="37" y="1193"/>
                  </a:lnTo>
                  <a:lnTo>
                    <a:pt x="33" y="1170"/>
                  </a:lnTo>
                  <a:lnTo>
                    <a:pt x="37" y="1153"/>
                  </a:lnTo>
                  <a:lnTo>
                    <a:pt x="54" y="1182"/>
                  </a:lnTo>
                  <a:lnTo>
                    <a:pt x="54" y="1203"/>
                  </a:lnTo>
                  <a:lnTo>
                    <a:pt x="66" y="1193"/>
                  </a:lnTo>
                  <a:lnTo>
                    <a:pt x="82" y="1226"/>
                  </a:lnTo>
                  <a:lnTo>
                    <a:pt x="87" y="1210"/>
                  </a:lnTo>
                  <a:lnTo>
                    <a:pt x="87" y="1203"/>
                  </a:lnTo>
                  <a:lnTo>
                    <a:pt x="92" y="1182"/>
                  </a:lnTo>
                  <a:lnTo>
                    <a:pt x="54" y="1127"/>
                  </a:lnTo>
                  <a:lnTo>
                    <a:pt x="49" y="1094"/>
                  </a:lnTo>
                  <a:lnTo>
                    <a:pt x="33" y="1071"/>
                  </a:lnTo>
                  <a:lnTo>
                    <a:pt x="37" y="1021"/>
                  </a:lnTo>
                  <a:lnTo>
                    <a:pt x="54" y="1000"/>
                  </a:lnTo>
                  <a:lnTo>
                    <a:pt x="66" y="959"/>
                  </a:lnTo>
                  <a:lnTo>
                    <a:pt x="49" y="931"/>
                  </a:lnTo>
                  <a:lnTo>
                    <a:pt x="70" y="889"/>
                  </a:lnTo>
                  <a:lnTo>
                    <a:pt x="87" y="872"/>
                  </a:lnTo>
                  <a:lnTo>
                    <a:pt x="82" y="893"/>
                  </a:lnTo>
                  <a:lnTo>
                    <a:pt x="87" y="926"/>
                  </a:lnTo>
                  <a:lnTo>
                    <a:pt x="104" y="915"/>
                  </a:lnTo>
                  <a:lnTo>
                    <a:pt x="120" y="872"/>
                  </a:lnTo>
                  <a:lnTo>
                    <a:pt x="179" y="848"/>
                  </a:lnTo>
                  <a:lnTo>
                    <a:pt x="210" y="815"/>
                  </a:lnTo>
                  <a:lnTo>
                    <a:pt x="264" y="782"/>
                  </a:lnTo>
                  <a:lnTo>
                    <a:pt x="271" y="794"/>
                  </a:lnTo>
                  <a:lnTo>
                    <a:pt x="285" y="782"/>
                  </a:lnTo>
                  <a:lnTo>
                    <a:pt x="309" y="794"/>
                  </a:lnTo>
                  <a:lnTo>
                    <a:pt x="335" y="782"/>
                  </a:lnTo>
                  <a:lnTo>
                    <a:pt x="361" y="761"/>
                  </a:lnTo>
                  <a:lnTo>
                    <a:pt x="411" y="761"/>
                  </a:lnTo>
                  <a:lnTo>
                    <a:pt x="432" y="733"/>
                  </a:lnTo>
                  <a:lnTo>
                    <a:pt x="465" y="745"/>
                  </a:lnTo>
                  <a:lnTo>
                    <a:pt x="519" y="728"/>
                  </a:lnTo>
                  <a:lnTo>
                    <a:pt x="566" y="704"/>
                  </a:lnTo>
                  <a:lnTo>
                    <a:pt x="595" y="671"/>
                  </a:lnTo>
                  <a:lnTo>
                    <a:pt x="621" y="617"/>
                  </a:lnTo>
                  <a:lnTo>
                    <a:pt x="633" y="617"/>
                  </a:lnTo>
                  <a:lnTo>
                    <a:pt x="659" y="593"/>
                  </a:lnTo>
                  <a:lnTo>
                    <a:pt x="659" y="584"/>
                  </a:lnTo>
                  <a:lnTo>
                    <a:pt x="649" y="577"/>
                  </a:lnTo>
                  <a:lnTo>
                    <a:pt x="649" y="527"/>
                  </a:lnTo>
                  <a:lnTo>
                    <a:pt x="663" y="511"/>
                  </a:lnTo>
                  <a:lnTo>
                    <a:pt x="675" y="506"/>
                  </a:lnTo>
                  <a:lnTo>
                    <a:pt x="675" y="499"/>
                  </a:lnTo>
                  <a:lnTo>
                    <a:pt x="687" y="489"/>
                  </a:lnTo>
                  <a:lnTo>
                    <a:pt x="687" y="482"/>
                  </a:lnTo>
                  <a:lnTo>
                    <a:pt x="696" y="466"/>
                  </a:lnTo>
                  <a:lnTo>
                    <a:pt x="713" y="466"/>
                  </a:lnTo>
                  <a:lnTo>
                    <a:pt x="701" y="482"/>
                  </a:lnTo>
                  <a:lnTo>
                    <a:pt x="739" y="556"/>
                  </a:lnTo>
                  <a:lnTo>
                    <a:pt x="751" y="511"/>
                  </a:lnTo>
                  <a:lnTo>
                    <a:pt x="772" y="527"/>
                  </a:lnTo>
                  <a:lnTo>
                    <a:pt x="755" y="511"/>
                  </a:lnTo>
                  <a:lnTo>
                    <a:pt x="767" y="506"/>
                  </a:lnTo>
                  <a:lnTo>
                    <a:pt x="755" y="506"/>
                  </a:lnTo>
                  <a:lnTo>
                    <a:pt x="751" y="482"/>
                  </a:lnTo>
                  <a:lnTo>
                    <a:pt x="734" y="473"/>
                  </a:lnTo>
                  <a:lnTo>
                    <a:pt x="751" y="473"/>
                  </a:lnTo>
                  <a:lnTo>
                    <a:pt x="755" y="466"/>
                  </a:lnTo>
                  <a:lnTo>
                    <a:pt x="755" y="456"/>
                  </a:lnTo>
                  <a:lnTo>
                    <a:pt x="739" y="456"/>
                  </a:lnTo>
                  <a:lnTo>
                    <a:pt x="739" y="449"/>
                  </a:lnTo>
                  <a:lnTo>
                    <a:pt x="755" y="449"/>
                  </a:lnTo>
                  <a:lnTo>
                    <a:pt x="767" y="449"/>
                  </a:lnTo>
                  <a:lnTo>
                    <a:pt x="755" y="456"/>
                  </a:lnTo>
                  <a:lnTo>
                    <a:pt x="767" y="466"/>
                  </a:lnTo>
                  <a:lnTo>
                    <a:pt x="772" y="456"/>
                  </a:lnTo>
                  <a:lnTo>
                    <a:pt x="789" y="456"/>
                  </a:lnTo>
                  <a:lnTo>
                    <a:pt x="789" y="466"/>
                  </a:lnTo>
                  <a:lnTo>
                    <a:pt x="805" y="466"/>
                  </a:lnTo>
                  <a:lnTo>
                    <a:pt x="836" y="466"/>
                  </a:lnTo>
                  <a:lnTo>
                    <a:pt x="805" y="456"/>
                  </a:lnTo>
                  <a:lnTo>
                    <a:pt x="805" y="445"/>
                  </a:lnTo>
                  <a:lnTo>
                    <a:pt x="810" y="449"/>
                  </a:lnTo>
                  <a:lnTo>
                    <a:pt x="822" y="445"/>
                  </a:lnTo>
                  <a:lnTo>
                    <a:pt x="822" y="433"/>
                  </a:lnTo>
                  <a:lnTo>
                    <a:pt x="826" y="428"/>
                  </a:lnTo>
                  <a:lnTo>
                    <a:pt x="822" y="416"/>
                  </a:lnTo>
                  <a:lnTo>
                    <a:pt x="810" y="433"/>
                  </a:lnTo>
                  <a:lnTo>
                    <a:pt x="805" y="428"/>
                  </a:lnTo>
                  <a:lnTo>
                    <a:pt x="805" y="400"/>
                  </a:lnTo>
                  <a:lnTo>
                    <a:pt x="822" y="395"/>
                  </a:lnTo>
                  <a:lnTo>
                    <a:pt x="826" y="378"/>
                  </a:lnTo>
                  <a:lnTo>
                    <a:pt x="859" y="400"/>
                  </a:lnTo>
                  <a:lnTo>
                    <a:pt x="848" y="395"/>
                  </a:lnTo>
                  <a:lnTo>
                    <a:pt x="848" y="388"/>
                  </a:lnTo>
                  <a:lnTo>
                    <a:pt x="836" y="388"/>
                  </a:lnTo>
                  <a:lnTo>
                    <a:pt x="848" y="371"/>
                  </a:lnTo>
                  <a:lnTo>
                    <a:pt x="836" y="378"/>
                  </a:lnTo>
                  <a:lnTo>
                    <a:pt x="836" y="371"/>
                  </a:lnTo>
                  <a:lnTo>
                    <a:pt x="848" y="362"/>
                  </a:lnTo>
                  <a:lnTo>
                    <a:pt x="859" y="378"/>
                  </a:lnTo>
                  <a:lnTo>
                    <a:pt x="859" y="362"/>
                  </a:lnTo>
                  <a:lnTo>
                    <a:pt x="864" y="371"/>
                  </a:lnTo>
                  <a:lnTo>
                    <a:pt x="874" y="371"/>
                  </a:lnTo>
                  <a:lnTo>
                    <a:pt x="859" y="362"/>
                  </a:lnTo>
                  <a:lnTo>
                    <a:pt x="864" y="355"/>
                  </a:lnTo>
                  <a:lnTo>
                    <a:pt x="859" y="345"/>
                  </a:lnTo>
                  <a:lnTo>
                    <a:pt x="864" y="334"/>
                  </a:lnTo>
                  <a:lnTo>
                    <a:pt x="890" y="334"/>
                  </a:lnTo>
                  <a:lnTo>
                    <a:pt x="890" y="305"/>
                  </a:lnTo>
                  <a:lnTo>
                    <a:pt x="897" y="305"/>
                  </a:lnTo>
                  <a:lnTo>
                    <a:pt x="890" y="338"/>
                  </a:lnTo>
                  <a:lnTo>
                    <a:pt x="897" y="317"/>
                  </a:lnTo>
                  <a:lnTo>
                    <a:pt x="902" y="322"/>
                  </a:lnTo>
                  <a:lnTo>
                    <a:pt x="911" y="338"/>
                  </a:lnTo>
                  <a:lnTo>
                    <a:pt x="918" y="334"/>
                  </a:lnTo>
                  <a:lnTo>
                    <a:pt x="928" y="300"/>
                  </a:lnTo>
                  <a:lnTo>
                    <a:pt x="918" y="284"/>
                  </a:lnTo>
                  <a:lnTo>
                    <a:pt x="928" y="284"/>
                  </a:lnTo>
                  <a:lnTo>
                    <a:pt x="928" y="289"/>
                  </a:lnTo>
                  <a:lnTo>
                    <a:pt x="935" y="305"/>
                  </a:lnTo>
                  <a:lnTo>
                    <a:pt x="944" y="289"/>
                  </a:lnTo>
                  <a:lnTo>
                    <a:pt x="949" y="284"/>
                  </a:lnTo>
                  <a:lnTo>
                    <a:pt x="949" y="289"/>
                  </a:lnTo>
                  <a:lnTo>
                    <a:pt x="956" y="305"/>
                  </a:lnTo>
                  <a:lnTo>
                    <a:pt x="973" y="284"/>
                  </a:lnTo>
                  <a:lnTo>
                    <a:pt x="966" y="279"/>
                  </a:lnTo>
                  <a:lnTo>
                    <a:pt x="973" y="267"/>
                  </a:lnTo>
                  <a:lnTo>
                    <a:pt x="987" y="279"/>
                  </a:lnTo>
                  <a:lnTo>
                    <a:pt x="999" y="284"/>
                  </a:lnTo>
                  <a:lnTo>
                    <a:pt x="1011" y="284"/>
                  </a:lnTo>
                  <a:lnTo>
                    <a:pt x="1053" y="334"/>
                  </a:lnTo>
                  <a:lnTo>
                    <a:pt x="1063" y="338"/>
                  </a:lnTo>
                  <a:lnTo>
                    <a:pt x="1058" y="400"/>
                  </a:lnTo>
                  <a:lnTo>
                    <a:pt x="1063" y="378"/>
                  </a:lnTo>
                  <a:lnTo>
                    <a:pt x="1074" y="395"/>
                  </a:lnTo>
                  <a:lnTo>
                    <a:pt x="1063" y="371"/>
                  </a:lnTo>
                  <a:lnTo>
                    <a:pt x="1079" y="355"/>
                  </a:lnTo>
                  <a:lnTo>
                    <a:pt x="1079" y="362"/>
                  </a:lnTo>
                  <a:lnTo>
                    <a:pt x="1091" y="362"/>
                  </a:lnTo>
                  <a:lnTo>
                    <a:pt x="1079" y="345"/>
                  </a:lnTo>
                  <a:lnTo>
                    <a:pt x="1096" y="345"/>
                  </a:lnTo>
                  <a:lnTo>
                    <a:pt x="1133" y="355"/>
                  </a:lnTo>
                  <a:lnTo>
                    <a:pt x="1133" y="362"/>
                  </a:lnTo>
                  <a:lnTo>
                    <a:pt x="1133" y="378"/>
                  </a:lnTo>
                  <a:lnTo>
                    <a:pt x="1145" y="371"/>
                  </a:lnTo>
                  <a:lnTo>
                    <a:pt x="1145" y="355"/>
                  </a:lnTo>
                  <a:lnTo>
                    <a:pt x="1150" y="355"/>
                  </a:lnTo>
                  <a:lnTo>
                    <a:pt x="1171" y="378"/>
                  </a:lnTo>
                  <a:lnTo>
                    <a:pt x="1166" y="362"/>
                  </a:lnTo>
                  <a:lnTo>
                    <a:pt x="1171" y="345"/>
                  </a:lnTo>
                  <a:lnTo>
                    <a:pt x="1183" y="355"/>
                  </a:lnTo>
                  <a:lnTo>
                    <a:pt x="1188" y="345"/>
                  </a:lnTo>
                  <a:lnTo>
                    <a:pt x="1183" y="345"/>
                  </a:lnTo>
                  <a:lnTo>
                    <a:pt x="1171" y="345"/>
                  </a:lnTo>
                  <a:lnTo>
                    <a:pt x="1166" y="334"/>
                  </a:lnTo>
                  <a:lnTo>
                    <a:pt x="1183" y="334"/>
                  </a:lnTo>
                  <a:lnTo>
                    <a:pt x="1166" y="334"/>
                  </a:lnTo>
                  <a:lnTo>
                    <a:pt x="1150" y="322"/>
                  </a:lnTo>
                  <a:lnTo>
                    <a:pt x="1150" y="317"/>
                  </a:lnTo>
                  <a:lnTo>
                    <a:pt x="1162" y="300"/>
                  </a:lnTo>
                  <a:lnTo>
                    <a:pt x="1171" y="289"/>
                  </a:lnTo>
                  <a:lnTo>
                    <a:pt x="1188" y="251"/>
                  </a:lnTo>
                  <a:lnTo>
                    <a:pt x="1200" y="251"/>
                  </a:lnTo>
                  <a:lnTo>
                    <a:pt x="1214" y="234"/>
                  </a:lnTo>
                  <a:lnTo>
                    <a:pt x="1204" y="227"/>
                  </a:lnTo>
                  <a:lnTo>
                    <a:pt x="1204" y="211"/>
                  </a:lnTo>
                  <a:lnTo>
                    <a:pt x="1221" y="211"/>
                  </a:lnTo>
                  <a:lnTo>
                    <a:pt x="1221" y="189"/>
                  </a:lnTo>
                  <a:lnTo>
                    <a:pt x="1226" y="189"/>
                  </a:lnTo>
                  <a:lnTo>
                    <a:pt x="1242" y="194"/>
                  </a:lnTo>
                  <a:lnTo>
                    <a:pt x="1237" y="189"/>
                  </a:lnTo>
                  <a:lnTo>
                    <a:pt x="1237" y="173"/>
                  </a:lnTo>
                  <a:lnTo>
                    <a:pt x="1252" y="173"/>
                  </a:lnTo>
                  <a:lnTo>
                    <a:pt x="1259" y="189"/>
                  </a:lnTo>
                  <a:lnTo>
                    <a:pt x="1268" y="178"/>
                  </a:lnTo>
                  <a:lnTo>
                    <a:pt x="1252" y="173"/>
                  </a:lnTo>
                  <a:lnTo>
                    <a:pt x="1259" y="168"/>
                  </a:lnTo>
                  <a:lnTo>
                    <a:pt x="1268" y="173"/>
                  </a:lnTo>
                  <a:lnTo>
                    <a:pt x="1268" y="156"/>
                  </a:lnTo>
                  <a:lnTo>
                    <a:pt x="1296" y="168"/>
                  </a:lnTo>
                  <a:lnTo>
                    <a:pt x="1344" y="168"/>
                  </a:lnTo>
                  <a:lnTo>
                    <a:pt x="1360" y="156"/>
                  </a:lnTo>
                  <a:lnTo>
                    <a:pt x="1365" y="173"/>
                  </a:lnTo>
                  <a:lnTo>
                    <a:pt x="1365" y="156"/>
                  </a:lnTo>
                  <a:lnTo>
                    <a:pt x="1386" y="152"/>
                  </a:lnTo>
                  <a:lnTo>
                    <a:pt x="1381" y="152"/>
                  </a:lnTo>
                  <a:lnTo>
                    <a:pt x="1381" y="116"/>
                  </a:lnTo>
                  <a:lnTo>
                    <a:pt x="1365" y="100"/>
                  </a:lnTo>
                  <a:lnTo>
                    <a:pt x="1344" y="111"/>
                  </a:lnTo>
                  <a:lnTo>
                    <a:pt x="1334" y="95"/>
                  </a:lnTo>
                  <a:lnTo>
                    <a:pt x="1322" y="95"/>
                  </a:lnTo>
                  <a:lnTo>
                    <a:pt x="1334" y="78"/>
                  </a:lnTo>
                  <a:lnTo>
                    <a:pt x="1351" y="100"/>
                  </a:lnTo>
                  <a:lnTo>
                    <a:pt x="1351" y="95"/>
                  </a:lnTo>
                  <a:lnTo>
                    <a:pt x="1344" y="78"/>
                  </a:lnTo>
                  <a:lnTo>
                    <a:pt x="1360" y="78"/>
                  </a:lnTo>
                  <a:lnTo>
                    <a:pt x="1381" y="111"/>
                  </a:lnTo>
                  <a:lnTo>
                    <a:pt x="1398" y="95"/>
                  </a:lnTo>
                  <a:lnTo>
                    <a:pt x="1419" y="123"/>
                  </a:lnTo>
                  <a:lnTo>
                    <a:pt x="1431" y="116"/>
                  </a:lnTo>
                  <a:lnTo>
                    <a:pt x="1452" y="133"/>
                  </a:lnTo>
                  <a:lnTo>
                    <a:pt x="1469" y="123"/>
                  </a:lnTo>
                  <a:lnTo>
                    <a:pt x="1469" y="133"/>
                  </a:lnTo>
                  <a:lnTo>
                    <a:pt x="1474" y="133"/>
                  </a:lnTo>
                  <a:lnTo>
                    <a:pt x="1485" y="133"/>
                  </a:lnTo>
                  <a:lnTo>
                    <a:pt x="1490" y="152"/>
                  </a:lnTo>
                  <a:lnTo>
                    <a:pt x="1528" y="140"/>
                  </a:lnTo>
                  <a:lnTo>
                    <a:pt x="1537" y="152"/>
                  </a:lnTo>
                  <a:lnTo>
                    <a:pt x="1561" y="168"/>
                  </a:lnTo>
                  <a:lnTo>
                    <a:pt x="1566" y="152"/>
                  </a:lnTo>
                  <a:lnTo>
                    <a:pt x="1592" y="152"/>
                  </a:lnTo>
                  <a:lnTo>
                    <a:pt x="1592" y="140"/>
                  </a:lnTo>
                  <a:lnTo>
                    <a:pt x="1599" y="140"/>
                  </a:lnTo>
                  <a:lnTo>
                    <a:pt x="1613" y="123"/>
                  </a:lnTo>
                  <a:lnTo>
                    <a:pt x="1599" y="140"/>
                  </a:lnTo>
                  <a:lnTo>
                    <a:pt x="1599" y="152"/>
                  </a:lnTo>
                  <a:lnTo>
                    <a:pt x="1592" y="156"/>
                  </a:lnTo>
                  <a:lnTo>
                    <a:pt x="1599" y="168"/>
                  </a:lnTo>
                  <a:lnTo>
                    <a:pt x="1620" y="152"/>
                  </a:lnTo>
                  <a:lnTo>
                    <a:pt x="1613" y="156"/>
                  </a:lnTo>
                  <a:lnTo>
                    <a:pt x="1620" y="156"/>
                  </a:lnTo>
                  <a:lnTo>
                    <a:pt x="1613" y="173"/>
                  </a:lnTo>
                  <a:lnTo>
                    <a:pt x="1620" y="178"/>
                  </a:lnTo>
                  <a:lnTo>
                    <a:pt x="1637" y="173"/>
                  </a:lnTo>
                  <a:lnTo>
                    <a:pt x="1646" y="156"/>
                  </a:lnTo>
                  <a:lnTo>
                    <a:pt x="1629" y="156"/>
                  </a:lnTo>
                  <a:lnTo>
                    <a:pt x="1658" y="140"/>
                  </a:lnTo>
                  <a:lnTo>
                    <a:pt x="1658" y="168"/>
                  </a:lnTo>
                  <a:lnTo>
                    <a:pt x="1674" y="156"/>
                  </a:lnTo>
                  <a:lnTo>
                    <a:pt x="1684" y="173"/>
                  </a:lnTo>
                  <a:lnTo>
                    <a:pt x="1667" y="178"/>
                  </a:lnTo>
                  <a:lnTo>
                    <a:pt x="1658" y="206"/>
                  </a:lnTo>
                  <a:lnTo>
                    <a:pt x="1651" y="194"/>
                  </a:lnTo>
                  <a:lnTo>
                    <a:pt x="1651" y="222"/>
                  </a:lnTo>
                  <a:lnTo>
                    <a:pt x="1651" y="234"/>
                  </a:lnTo>
                  <a:lnTo>
                    <a:pt x="1646" y="234"/>
                  </a:lnTo>
                  <a:lnTo>
                    <a:pt x="1646" y="222"/>
                  </a:lnTo>
                  <a:lnTo>
                    <a:pt x="1629" y="234"/>
                  </a:lnTo>
                  <a:lnTo>
                    <a:pt x="1620" y="227"/>
                  </a:lnTo>
                  <a:lnTo>
                    <a:pt x="1613" y="234"/>
                  </a:lnTo>
                  <a:lnTo>
                    <a:pt x="1603" y="260"/>
                  </a:lnTo>
                  <a:lnTo>
                    <a:pt x="1603" y="267"/>
                  </a:lnTo>
                  <a:lnTo>
                    <a:pt x="1620" y="267"/>
                  </a:lnTo>
                  <a:lnTo>
                    <a:pt x="1603" y="305"/>
                  </a:lnTo>
                  <a:lnTo>
                    <a:pt x="1592" y="322"/>
                  </a:lnTo>
                  <a:lnTo>
                    <a:pt x="1582" y="338"/>
                  </a:lnTo>
                  <a:lnTo>
                    <a:pt x="1575" y="338"/>
                  </a:lnTo>
                  <a:lnTo>
                    <a:pt x="1575" y="355"/>
                  </a:lnTo>
                  <a:lnTo>
                    <a:pt x="1629" y="395"/>
                  </a:lnTo>
                  <a:lnTo>
                    <a:pt x="1637" y="400"/>
                  </a:lnTo>
                  <a:lnTo>
                    <a:pt x="1667" y="428"/>
                  </a:lnTo>
                  <a:lnTo>
                    <a:pt x="1689" y="428"/>
                  </a:lnTo>
                  <a:lnTo>
                    <a:pt x="1738" y="456"/>
                  </a:lnTo>
                  <a:lnTo>
                    <a:pt x="1764" y="489"/>
                  </a:lnTo>
                  <a:lnTo>
                    <a:pt x="1830" y="506"/>
                  </a:lnTo>
                  <a:lnTo>
                    <a:pt x="1847" y="539"/>
                  </a:lnTo>
                  <a:lnTo>
                    <a:pt x="1901" y="560"/>
                  </a:lnTo>
                  <a:lnTo>
                    <a:pt x="1927" y="560"/>
                  </a:lnTo>
                  <a:lnTo>
                    <a:pt x="1953" y="544"/>
                  </a:lnTo>
                  <a:lnTo>
                    <a:pt x="1960" y="511"/>
                  </a:lnTo>
                  <a:lnTo>
                    <a:pt x="1981" y="482"/>
                  </a:lnTo>
                  <a:lnTo>
                    <a:pt x="1998" y="445"/>
                  </a:lnTo>
                  <a:lnTo>
                    <a:pt x="1998" y="400"/>
                  </a:lnTo>
                  <a:lnTo>
                    <a:pt x="2012" y="362"/>
                  </a:lnTo>
                  <a:lnTo>
                    <a:pt x="2007" y="322"/>
                  </a:lnTo>
                  <a:lnTo>
                    <a:pt x="2007" y="300"/>
                  </a:lnTo>
                  <a:lnTo>
                    <a:pt x="1998" y="279"/>
                  </a:lnTo>
                  <a:lnTo>
                    <a:pt x="2012" y="234"/>
                  </a:lnTo>
                  <a:lnTo>
                    <a:pt x="2007" y="211"/>
                  </a:lnTo>
                  <a:lnTo>
                    <a:pt x="2024" y="194"/>
                  </a:lnTo>
                  <a:lnTo>
                    <a:pt x="2029" y="206"/>
                  </a:lnTo>
                  <a:lnTo>
                    <a:pt x="2024" y="178"/>
                  </a:lnTo>
                  <a:lnTo>
                    <a:pt x="2012" y="173"/>
                  </a:lnTo>
                  <a:lnTo>
                    <a:pt x="2012" y="178"/>
                  </a:lnTo>
                  <a:lnTo>
                    <a:pt x="2007" y="178"/>
                  </a:lnTo>
                  <a:lnTo>
                    <a:pt x="2029" y="140"/>
                  </a:lnTo>
                  <a:lnTo>
                    <a:pt x="2029" y="152"/>
                  </a:lnTo>
                  <a:lnTo>
                    <a:pt x="2036" y="152"/>
                  </a:lnTo>
                  <a:lnTo>
                    <a:pt x="2029" y="140"/>
                  </a:lnTo>
                  <a:lnTo>
                    <a:pt x="2045" y="95"/>
                  </a:lnTo>
                  <a:lnTo>
                    <a:pt x="2045" y="67"/>
                  </a:lnTo>
                  <a:lnTo>
                    <a:pt x="2062" y="62"/>
                  </a:lnTo>
                  <a:lnTo>
                    <a:pt x="2066" y="45"/>
                  </a:lnTo>
                  <a:lnTo>
                    <a:pt x="2078" y="57"/>
                  </a:lnTo>
                  <a:lnTo>
                    <a:pt x="2066" y="67"/>
                  </a:lnTo>
                  <a:lnTo>
                    <a:pt x="2078" y="62"/>
                  </a:lnTo>
                  <a:lnTo>
                    <a:pt x="2088" y="78"/>
                  </a:lnTo>
                  <a:lnTo>
                    <a:pt x="2100" y="133"/>
                  </a:lnTo>
                  <a:lnTo>
                    <a:pt x="2121" y="140"/>
                  </a:lnTo>
                  <a:lnTo>
                    <a:pt x="2116" y="168"/>
                  </a:lnTo>
                  <a:lnTo>
                    <a:pt x="2133" y="173"/>
                  </a:lnTo>
                  <a:lnTo>
                    <a:pt x="2133" y="178"/>
                  </a:lnTo>
                  <a:lnTo>
                    <a:pt x="2137" y="189"/>
                  </a:lnTo>
                  <a:lnTo>
                    <a:pt x="2133" y="206"/>
                  </a:lnTo>
                  <a:lnTo>
                    <a:pt x="2142" y="206"/>
                  </a:lnTo>
                  <a:lnTo>
                    <a:pt x="2142" y="251"/>
                  </a:lnTo>
                  <a:lnTo>
                    <a:pt x="2142" y="267"/>
                  </a:lnTo>
                  <a:lnTo>
                    <a:pt x="2159" y="322"/>
                  </a:lnTo>
                  <a:lnTo>
                    <a:pt x="2175" y="322"/>
                  </a:lnTo>
                  <a:lnTo>
                    <a:pt x="2213" y="300"/>
                  </a:lnTo>
                  <a:lnTo>
                    <a:pt x="2225" y="334"/>
                  </a:lnTo>
                  <a:lnTo>
                    <a:pt x="2239" y="334"/>
                  </a:lnTo>
                  <a:lnTo>
                    <a:pt x="2246" y="345"/>
                  </a:lnTo>
                  <a:lnTo>
                    <a:pt x="2267" y="355"/>
                  </a:lnTo>
                  <a:lnTo>
                    <a:pt x="2263" y="371"/>
                  </a:lnTo>
                  <a:lnTo>
                    <a:pt x="2263" y="395"/>
                  </a:lnTo>
                  <a:lnTo>
                    <a:pt x="2277" y="445"/>
                  </a:lnTo>
                  <a:lnTo>
                    <a:pt x="2277" y="473"/>
                  </a:lnTo>
                  <a:lnTo>
                    <a:pt x="2305" y="506"/>
                  </a:lnTo>
                  <a:lnTo>
                    <a:pt x="2315" y="506"/>
                  </a:lnTo>
                  <a:lnTo>
                    <a:pt x="2305" y="511"/>
                  </a:lnTo>
                  <a:lnTo>
                    <a:pt x="2322" y="560"/>
                  </a:lnTo>
                  <a:lnTo>
                    <a:pt x="2315" y="600"/>
                  </a:lnTo>
                  <a:lnTo>
                    <a:pt x="2338" y="622"/>
                  </a:lnTo>
                  <a:lnTo>
                    <a:pt x="2338" y="650"/>
                  </a:lnTo>
                  <a:lnTo>
                    <a:pt x="2352" y="671"/>
                  </a:lnTo>
                  <a:lnTo>
                    <a:pt x="2402" y="688"/>
                  </a:lnTo>
                  <a:lnTo>
                    <a:pt x="2414" y="688"/>
                  </a:lnTo>
                  <a:lnTo>
                    <a:pt x="2414" y="676"/>
                  </a:lnTo>
                  <a:lnTo>
                    <a:pt x="2428" y="721"/>
                  </a:lnTo>
                  <a:lnTo>
                    <a:pt x="2440" y="721"/>
                  </a:lnTo>
                  <a:lnTo>
                    <a:pt x="2440" y="711"/>
                  </a:lnTo>
                  <a:lnTo>
                    <a:pt x="2444" y="711"/>
                  </a:lnTo>
                  <a:lnTo>
                    <a:pt x="2444" y="728"/>
                  </a:lnTo>
                  <a:lnTo>
                    <a:pt x="2466" y="728"/>
                  </a:lnTo>
                  <a:lnTo>
                    <a:pt x="2482" y="749"/>
                  </a:lnTo>
                  <a:lnTo>
                    <a:pt x="2494" y="733"/>
                  </a:lnTo>
                  <a:lnTo>
                    <a:pt x="2515" y="749"/>
                  </a:lnTo>
                  <a:lnTo>
                    <a:pt x="2520" y="778"/>
                  </a:lnTo>
                  <a:lnTo>
                    <a:pt x="2515" y="766"/>
                  </a:lnTo>
                  <a:lnTo>
                    <a:pt x="2511" y="782"/>
                  </a:lnTo>
                  <a:lnTo>
                    <a:pt x="2515" y="799"/>
                  </a:lnTo>
                  <a:lnTo>
                    <a:pt x="2548" y="815"/>
                  </a:lnTo>
                  <a:lnTo>
                    <a:pt x="2548" y="832"/>
                  </a:lnTo>
                  <a:lnTo>
                    <a:pt x="2565" y="856"/>
                  </a:lnTo>
                  <a:lnTo>
                    <a:pt x="2565" y="893"/>
                  </a:lnTo>
                  <a:lnTo>
                    <a:pt x="2574" y="910"/>
                  </a:lnTo>
                  <a:lnTo>
                    <a:pt x="2574" y="926"/>
                  </a:lnTo>
                  <a:lnTo>
                    <a:pt x="2586" y="910"/>
                  </a:lnTo>
                  <a:lnTo>
                    <a:pt x="2603" y="931"/>
                  </a:lnTo>
                  <a:lnTo>
                    <a:pt x="2591" y="910"/>
                  </a:lnTo>
                  <a:lnTo>
                    <a:pt x="2603" y="893"/>
                  </a:lnTo>
                  <a:lnTo>
                    <a:pt x="2607" y="915"/>
                  </a:lnTo>
                  <a:lnTo>
                    <a:pt x="2638" y="926"/>
                  </a:lnTo>
                  <a:lnTo>
                    <a:pt x="2638" y="910"/>
                  </a:lnTo>
                  <a:lnTo>
                    <a:pt x="2655" y="943"/>
                  </a:lnTo>
                  <a:lnTo>
                    <a:pt x="2655" y="971"/>
                  </a:lnTo>
                  <a:lnTo>
                    <a:pt x="2662" y="1000"/>
                  </a:lnTo>
                  <a:lnTo>
                    <a:pt x="2671" y="1004"/>
                  </a:lnTo>
                  <a:lnTo>
                    <a:pt x="2676" y="1021"/>
                  </a:lnTo>
                  <a:lnTo>
                    <a:pt x="2709" y="1042"/>
                  </a:lnTo>
                  <a:lnTo>
                    <a:pt x="2714" y="1037"/>
                  </a:lnTo>
                  <a:lnTo>
                    <a:pt x="2730" y="1054"/>
                  </a:lnTo>
                  <a:lnTo>
                    <a:pt x="2747" y="1082"/>
                  </a:lnTo>
                  <a:lnTo>
                    <a:pt x="2768" y="1099"/>
                  </a:lnTo>
                  <a:lnTo>
                    <a:pt x="2785" y="1132"/>
                  </a:lnTo>
                  <a:lnTo>
                    <a:pt x="2801" y="1137"/>
                  </a:lnTo>
                  <a:lnTo>
                    <a:pt x="2801" y="1170"/>
                  </a:lnTo>
                  <a:lnTo>
                    <a:pt x="2822" y="1186"/>
                  </a:lnTo>
                  <a:lnTo>
                    <a:pt x="2818" y="1210"/>
                  </a:lnTo>
                  <a:lnTo>
                    <a:pt x="2818" y="1276"/>
                  </a:lnTo>
                  <a:lnTo>
                    <a:pt x="2806" y="1281"/>
                  </a:lnTo>
                  <a:lnTo>
                    <a:pt x="2806" y="1293"/>
                  </a:lnTo>
                  <a:lnTo>
                    <a:pt x="2822" y="1304"/>
                  </a:lnTo>
                  <a:lnTo>
                    <a:pt x="2851" y="1370"/>
                  </a:lnTo>
                  <a:lnTo>
                    <a:pt x="2851" y="1408"/>
                  </a:lnTo>
                  <a:lnTo>
                    <a:pt x="2834" y="1448"/>
                  </a:lnTo>
                  <a:lnTo>
                    <a:pt x="2822" y="1498"/>
                  </a:lnTo>
                  <a:lnTo>
                    <a:pt x="2806" y="1543"/>
                  </a:lnTo>
                  <a:lnTo>
                    <a:pt x="2818" y="1576"/>
                  </a:lnTo>
                  <a:lnTo>
                    <a:pt x="2801" y="1630"/>
                  </a:lnTo>
                  <a:lnTo>
                    <a:pt x="2780" y="1670"/>
                  </a:lnTo>
                  <a:lnTo>
                    <a:pt x="2780" y="1692"/>
                  </a:lnTo>
                  <a:lnTo>
                    <a:pt x="2747" y="1720"/>
                  </a:lnTo>
                  <a:lnTo>
                    <a:pt x="2747" y="1725"/>
                  </a:lnTo>
                  <a:lnTo>
                    <a:pt x="2726" y="1737"/>
                  </a:lnTo>
                  <a:lnTo>
                    <a:pt x="2709" y="1765"/>
                  </a:lnTo>
                  <a:lnTo>
                    <a:pt x="2700" y="1765"/>
                  </a:lnTo>
                  <a:lnTo>
                    <a:pt x="2700" y="1774"/>
                  </a:lnTo>
                  <a:lnTo>
                    <a:pt x="2692" y="1791"/>
                  </a:lnTo>
                  <a:lnTo>
                    <a:pt x="2688" y="1819"/>
                  </a:lnTo>
                  <a:lnTo>
                    <a:pt x="2676" y="1819"/>
                  </a:lnTo>
                  <a:lnTo>
                    <a:pt x="2688" y="1831"/>
                  </a:lnTo>
                  <a:lnTo>
                    <a:pt x="2662" y="1848"/>
                  </a:lnTo>
                  <a:lnTo>
                    <a:pt x="2655" y="1885"/>
                  </a:lnTo>
                  <a:lnTo>
                    <a:pt x="2645" y="1893"/>
                  </a:lnTo>
                  <a:lnTo>
                    <a:pt x="2655" y="1909"/>
                  </a:lnTo>
                  <a:lnTo>
                    <a:pt x="2645" y="1909"/>
                  </a:lnTo>
                  <a:lnTo>
                    <a:pt x="2645" y="1914"/>
                  </a:lnTo>
                  <a:lnTo>
                    <a:pt x="2638" y="1926"/>
                  </a:lnTo>
                  <a:lnTo>
                    <a:pt x="2607" y="1980"/>
                  </a:lnTo>
                  <a:lnTo>
                    <a:pt x="2607" y="2013"/>
                  </a:lnTo>
                  <a:lnTo>
                    <a:pt x="2591" y="2058"/>
                  </a:lnTo>
                  <a:lnTo>
                    <a:pt x="2603" y="2079"/>
                  </a:lnTo>
                  <a:lnTo>
                    <a:pt x="2591" y="2091"/>
                  </a:lnTo>
                  <a:lnTo>
                    <a:pt x="2591" y="2107"/>
                  </a:lnTo>
                  <a:lnTo>
                    <a:pt x="2565" y="2129"/>
                  </a:lnTo>
                  <a:lnTo>
                    <a:pt x="2477" y="2136"/>
                  </a:lnTo>
                  <a:lnTo>
                    <a:pt x="2440" y="2145"/>
                  </a:lnTo>
                  <a:lnTo>
                    <a:pt x="2376" y="2202"/>
                  </a:lnTo>
                  <a:lnTo>
                    <a:pt x="2331" y="2207"/>
                  </a:lnTo>
                  <a:lnTo>
                    <a:pt x="2338" y="2223"/>
                  </a:lnTo>
                  <a:lnTo>
                    <a:pt x="2352" y="2219"/>
                  </a:lnTo>
                  <a:lnTo>
                    <a:pt x="2352" y="2240"/>
                  </a:lnTo>
                  <a:lnTo>
                    <a:pt x="2348" y="2247"/>
                  </a:lnTo>
                  <a:lnTo>
                    <a:pt x="2348" y="2247"/>
                  </a:lnTo>
                  <a:lnTo>
                    <a:pt x="2348" y="2247"/>
                  </a:lnTo>
                  <a:close/>
                  <a:moveTo>
                    <a:pt x="1651" y="100"/>
                  </a:moveTo>
                  <a:lnTo>
                    <a:pt x="1667" y="67"/>
                  </a:lnTo>
                  <a:lnTo>
                    <a:pt x="1667" y="83"/>
                  </a:lnTo>
                  <a:lnTo>
                    <a:pt x="1651" y="100"/>
                  </a:lnTo>
                  <a:lnTo>
                    <a:pt x="1651" y="100"/>
                  </a:lnTo>
                  <a:lnTo>
                    <a:pt x="1651" y="100"/>
                  </a:lnTo>
                  <a:close/>
                  <a:moveTo>
                    <a:pt x="1377" y="95"/>
                  </a:moveTo>
                  <a:lnTo>
                    <a:pt x="1377" y="67"/>
                  </a:lnTo>
                  <a:lnTo>
                    <a:pt x="1377" y="95"/>
                  </a:lnTo>
                  <a:lnTo>
                    <a:pt x="1377" y="95"/>
                  </a:lnTo>
                  <a:lnTo>
                    <a:pt x="1377" y="95"/>
                  </a:lnTo>
                  <a:close/>
                  <a:moveTo>
                    <a:pt x="1268" y="140"/>
                  </a:moveTo>
                  <a:lnTo>
                    <a:pt x="1226" y="116"/>
                  </a:lnTo>
                  <a:lnTo>
                    <a:pt x="1221" y="83"/>
                  </a:lnTo>
                  <a:lnTo>
                    <a:pt x="1242" y="100"/>
                  </a:lnTo>
                  <a:lnTo>
                    <a:pt x="1275" y="83"/>
                  </a:lnTo>
                  <a:lnTo>
                    <a:pt x="1280" y="100"/>
                  </a:lnTo>
                  <a:lnTo>
                    <a:pt x="1280" y="83"/>
                  </a:lnTo>
                  <a:lnTo>
                    <a:pt x="1306" y="100"/>
                  </a:lnTo>
                  <a:lnTo>
                    <a:pt x="1289" y="123"/>
                  </a:lnTo>
                  <a:lnTo>
                    <a:pt x="1268" y="140"/>
                  </a:lnTo>
                  <a:lnTo>
                    <a:pt x="1268" y="140"/>
                  </a:lnTo>
                  <a:lnTo>
                    <a:pt x="1268" y="140"/>
                  </a:lnTo>
                  <a:close/>
                  <a:moveTo>
                    <a:pt x="1226" y="133"/>
                  </a:moveTo>
                  <a:lnTo>
                    <a:pt x="1200" y="123"/>
                  </a:lnTo>
                  <a:lnTo>
                    <a:pt x="1204" y="116"/>
                  </a:lnTo>
                  <a:lnTo>
                    <a:pt x="1214" y="116"/>
                  </a:lnTo>
                  <a:lnTo>
                    <a:pt x="1214" y="95"/>
                  </a:lnTo>
                  <a:lnTo>
                    <a:pt x="1221" y="95"/>
                  </a:lnTo>
                  <a:lnTo>
                    <a:pt x="1226" y="116"/>
                  </a:lnTo>
                  <a:lnTo>
                    <a:pt x="1242" y="123"/>
                  </a:lnTo>
                  <a:lnTo>
                    <a:pt x="1226" y="133"/>
                  </a:lnTo>
                  <a:lnTo>
                    <a:pt x="1226" y="133"/>
                  </a:lnTo>
                  <a:lnTo>
                    <a:pt x="1226" y="133"/>
                  </a:lnTo>
                  <a:close/>
                  <a:moveTo>
                    <a:pt x="1377" y="123"/>
                  </a:moveTo>
                  <a:lnTo>
                    <a:pt x="1377" y="116"/>
                  </a:lnTo>
                  <a:lnTo>
                    <a:pt x="1381" y="116"/>
                  </a:lnTo>
                  <a:lnTo>
                    <a:pt x="1377" y="123"/>
                  </a:lnTo>
                  <a:lnTo>
                    <a:pt x="1377" y="123"/>
                  </a:lnTo>
                  <a:lnTo>
                    <a:pt x="1377" y="123"/>
                  </a:lnTo>
                  <a:close/>
                  <a:moveTo>
                    <a:pt x="1613" y="123"/>
                  </a:moveTo>
                  <a:lnTo>
                    <a:pt x="1613" y="116"/>
                  </a:lnTo>
                  <a:lnTo>
                    <a:pt x="1620" y="116"/>
                  </a:lnTo>
                  <a:lnTo>
                    <a:pt x="1613" y="123"/>
                  </a:lnTo>
                  <a:lnTo>
                    <a:pt x="1613" y="123"/>
                  </a:lnTo>
                  <a:lnTo>
                    <a:pt x="1613" y="123"/>
                  </a:lnTo>
                  <a:close/>
                  <a:moveTo>
                    <a:pt x="1684" y="300"/>
                  </a:moveTo>
                  <a:lnTo>
                    <a:pt x="1674" y="305"/>
                  </a:lnTo>
                  <a:lnTo>
                    <a:pt x="1646" y="305"/>
                  </a:lnTo>
                  <a:lnTo>
                    <a:pt x="1651" y="279"/>
                  </a:lnTo>
                  <a:lnTo>
                    <a:pt x="1658" y="279"/>
                  </a:lnTo>
                  <a:lnTo>
                    <a:pt x="1667" y="267"/>
                  </a:lnTo>
                  <a:lnTo>
                    <a:pt x="1667" y="279"/>
                  </a:lnTo>
                  <a:lnTo>
                    <a:pt x="1674" y="279"/>
                  </a:lnTo>
                  <a:lnTo>
                    <a:pt x="1674" y="267"/>
                  </a:lnTo>
                  <a:lnTo>
                    <a:pt x="1684" y="279"/>
                  </a:lnTo>
                  <a:lnTo>
                    <a:pt x="1667" y="284"/>
                  </a:lnTo>
                  <a:lnTo>
                    <a:pt x="1667" y="300"/>
                  </a:lnTo>
                  <a:lnTo>
                    <a:pt x="1684" y="300"/>
                  </a:lnTo>
                  <a:lnTo>
                    <a:pt x="1684" y="300"/>
                  </a:lnTo>
                  <a:lnTo>
                    <a:pt x="1684" y="300"/>
                  </a:lnTo>
                  <a:close/>
                  <a:moveTo>
                    <a:pt x="1629" y="279"/>
                  </a:moveTo>
                  <a:lnTo>
                    <a:pt x="1620" y="279"/>
                  </a:lnTo>
                  <a:lnTo>
                    <a:pt x="1629" y="267"/>
                  </a:lnTo>
                  <a:lnTo>
                    <a:pt x="1637" y="267"/>
                  </a:lnTo>
                  <a:lnTo>
                    <a:pt x="1629" y="279"/>
                  </a:lnTo>
                  <a:lnTo>
                    <a:pt x="1629" y="279"/>
                  </a:lnTo>
                  <a:lnTo>
                    <a:pt x="1629" y="279"/>
                  </a:lnTo>
                  <a:close/>
                  <a:moveTo>
                    <a:pt x="859" y="338"/>
                  </a:moveTo>
                  <a:lnTo>
                    <a:pt x="848" y="334"/>
                  </a:lnTo>
                  <a:lnTo>
                    <a:pt x="859" y="322"/>
                  </a:lnTo>
                  <a:lnTo>
                    <a:pt x="859" y="338"/>
                  </a:lnTo>
                  <a:lnTo>
                    <a:pt x="859" y="338"/>
                  </a:lnTo>
                  <a:lnTo>
                    <a:pt x="859" y="338"/>
                  </a:lnTo>
                  <a:close/>
                  <a:moveTo>
                    <a:pt x="810" y="395"/>
                  </a:moveTo>
                  <a:lnTo>
                    <a:pt x="805" y="388"/>
                  </a:lnTo>
                  <a:lnTo>
                    <a:pt x="810" y="378"/>
                  </a:lnTo>
                  <a:lnTo>
                    <a:pt x="822" y="395"/>
                  </a:lnTo>
                  <a:lnTo>
                    <a:pt x="810" y="395"/>
                  </a:lnTo>
                  <a:lnTo>
                    <a:pt x="810" y="395"/>
                  </a:lnTo>
                  <a:lnTo>
                    <a:pt x="810" y="395"/>
                  </a:lnTo>
                  <a:close/>
                  <a:moveTo>
                    <a:pt x="1651" y="411"/>
                  </a:moveTo>
                  <a:lnTo>
                    <a:pt x="1651" y="400"/>
                  </a:lnTo>
                  <a:lnTo>
                    <a:pt x="1658" y="400"/>
                  </a:lnTo>
                  <a:lnTo>
                    <a:pt x="1651" y="411"/>
                  </a:lnTo>
                  <a:lnTo>
                    <a:pt x="1651" y="411"/>
                  </a:lnTo>
                  <a:lnTo>
                    <a:pt x="1651" y="411"/>
                  </a:lnTo>
                  <a:close/>
                  <a:moveTo>
                    <a:pt x="1689" y="428"/>
                  </a:moveTo>
                  <a:lnTo>
                    <a:pt x="1684" y="411"/>
                  </a:lnTo>
                  <a:lnTo>
                    <a:pt x="1689" y="400"/>
                  </a:lnTo>
                  <a:lnTo>
                    <a:pt x="1689" y="428"/>
                  </a:lnTo>
                  <a:lnTo>
                    <a:pt x="1689" y="428"/>
                  </a:lnTo>
                  <a:lnTo>
                    <a:pt x="1689" y="428"/>
                  </a:lnTo>
                  <a:close/>
                  <a:moveTo>
                    <a:pt x="1667" y="416"/>
                  </a:moveTo>
                  <a:lnTo>
                    <a:pt x="1667" y="411"/>
                  </a:lnTo>
                  <a:lnTo>
                    <a:pt x="1674" y="411"/>
                  </a:lnTo>
                  <a:lnTo>
                    <a:pt x="1667" y="416"/>
                  </a:lnTo>
                  <a:lnTo>
                    <a:pt x="1667" y="416"/>
                  </a:lnTo>
                  <a:lnTo>
                    <a:pt x="1667" y="416"/>
                  </a:lnTo>
                  <a:close/>
                  <a:moveTo>
                    <a:pt x="1835" y="489"/>
                  </a:moveTo>
                  <a:lnTo>
                    <a:pt x="1835" y="482"/>
                  </a:lnTo>
                  <a:lnTo>
                    <a:pt x="1847" y="473"/>
                  </a:lnTo>
                  <a:lnTo>
                    <a:pt x="1873" y="466"/>
                  </a:lnTo>
                  <a:lnTo>
                    <a:pt x="1873" y="473"/>
                  </a:lnTo>
                  <a:lnTo>
                    <a:pt x="1863" y="473"/>
                  </a:lnTo>
                  <a:lnTo>
                    <a:pt x="1863" y="489"/>
                  </a:lnTo>
                  <a:lnTo>
                    <a:pt x="1835" y="489"/>
                  </a:lnTo>
                  <a:lnTo>
                    <a:pt x="1835" y="489"/>
                  </a:lnTo>
                  <a:lnTo>
                    <a:pt x="1835" y="489"/>
                  </a:lnTo>
                  <a:close/>
                  <a:moveTo>
                    <a:pt x="1863" y="522"/>
                  </a:moveTo>
                  <a:lnTo>
                    <a:pt x="1852" y="511"/>
                  </a:lnTo>
                  <a:lnTo>
                    <a:pt x="1868" y="511"/>
                  </a:lnTo>
                  <a:lnTo>
                    <a:pt x="1868" y="522"/>
                  </a:lnTo>
                  <a:lnTo>
                    <a:pt x="1863" y="522"/>
                  </a:lnTo>
                  <a:lnTo>
                    <a:pt x="1863" y="522"/>
                  </a:lnTo>
                  <a:lnTo>
                    <a:pt x="1863" y="522"/>
                  </a:lnTo>
                  <a:close/>
                  <a:moveTo>
                    <a:pt x="2338" y="622"/>
                  </a:moveTo>
                  <a:lnTo>
                    <a:pt x="2322" y="600"/>
                  </a:lnTo>
                  <a:lnTo>
                    <a:pt x="2338" y="610"/>
                  </a:lnTo>
                  <a:lnTo>
                    <a:pt x="2348" y="617"/>
                  </a:lnTo>
                  <a:lnTo>
                    <a:pt x="2338" y="622"/>
                  </a:lnTo>
                  <a:lnTo>
                    <a:pt x="2338" y="622"/>
                  </a:lnTo>
                  <a:lnTo>
                    <a:pt x="2338" y="622"/>
                  </a:lnTo>
                  <a:close/>
                  <a:moveTo>
                    <a:pt x="2376" y="671"/>
                  </a:moveTo>
                  <a:lnTo>
                    <a:pt x="2369" y="671"/>
                  </a:lnTo>
                  <a:lnTo>
                    <a:pt x="2376" y="667"/>
                  </a:lnTo>
                  <a:lnTo>
                    <a:pt x="2376" y="671"/>
                  </a:lnTo>
                  <a:lnTo>
                    <a:pt x="2376" y="671"/>
                  </a:lnTo>
                  <a:lnTo>
                    <a:pt x="2376" y="671"/>
                  </a:lnTo>
                  <a:close/>
                  <a:moveTo>
                    <a:pt x="2520" y="749"/>
                  </a:moveTo>
                  <a:lnTo>
                    <a:pt x="2515" y="745"/>
                  </a:lnTo>
                  <a:lnTo>
                    <a:pt x="2520" y="733"/>
                  </a:lnTo>
                  <a:lnTo>
                    <a:pt x="2520" y="749"/>
                  </a:lnTo>
                  <a:lnTo>
                    <a:pt x="2520" y="749"/>
                  </a:lnTo>
                  <a:lnTo>
                    <a:pt x="2520" y="749"/>
                  </a:lnTo>
                  <a:close/>
                  <a:moveTo>
                    <a:pt x="2520" y="761"/>
                  </a:moveTo>
                  <a:lnTo>
                    <a:pt x="2520" y="745"/>
                  </a:lnTo>
                  <a:lnTo>
                    <a:pt x="2532" y="749"/>
                  </a:lnTo>
                  <a:lnTo>
                    <a:pt x="2520" y="761"/>
                  </a:lnTo>
                  <a:lnTo>
                    <a:pt x="2520" y="761"/>
                  </a:lnTo>
                  <a:lnTo>
                    <a:pt x="2520" y="761"/>
                  </a:lnTo>
                  <a:close/>
                  <a:moveTo>
                    <a:pt x="172" y="799"/>
                  </a:moveTo>
                  <a:lnTo>
                    <a:pt x="163" y="799"/>
                  </a:lnTo>
                  <a:lnTo>
                    <a:pt x="179" y="782"/>
                  </a:lnTo>
                  <a:lnTo>
                    <a:pt x="172" y="799"/>
                  </a:lnTo>
                  <a:lnTo>
                    <a:pt x="172" y="799"/>
                  </a:lnTo>
                  <a:lnTo>
                    <a:pt x="172" y="799"/>
                  </a:lnTo>
                  <a:close/>
                  <a:moveTo>
                    <a:pt x="2629" y="910"/>
                  </a:moveTo>
                  <a:lnTo>
                    <a:pt x="2629" y="905"/>
                  </a:lnTo>
                  <a:lnTo>
                    <a:pt x="2638" y="910"/>
                  </a:lnTo>
                  <a:lnTo>
                    <a:pt x="2629" y="910"/>
                  </a:lnTo>
                  <a:lnTo>
                    <a:pt x="2629" y="910"/>
                  </a:lnTo>
                  <a:lnTo>
                    <a:pt x="2629" y="910"/>
                  </a:lnTo>
                  <a:close/>
                  <a:moveTo>
                    <a:pt x="2688" y="1021"/>
                  </a:moveTo>
                  <a:lnTo>
                    <a:pt x="2671" y="1000"/>
                  </a:lnTo>
                  <a:lnTo>
                    <a:pt x="2688" y="1004"/>
                  </a:lnTo>
                  <a:lnTo>
                    <a:pt x="2692" y="1021"/>
                  </a:lnTo>
                  <a:lnTo>
                    <a:pt x="2688" y="1021"/>
                  </a:lnTo>
                  <a:lnTo>
                    <a:pt x="2688" y="1021"/>
                  </a:lnTo>
                  <a:lnTo>
                    <a:pt x="2688" y="1021"/>
                  </a:lnTo>
                  <a:close/>
                  <a:moveTo>
                    <a:pt x="2818" y="1170"/>
                  </a:moveTo>
                  <a:lnTo>
                    <a:pt x="2801" y="1153"/>
                  </a:lnTo>
                  <a:lnTo>
                    <a:pt x="2806" y="1132"/>
                  </a:lnTo>
                  <a:lnTo>
                    <a:pt x="2822" y="1115"/>
                  </a:lnTo>
                  <a:lnTo>
                    <a:pt x="2818" y="1099"/>
                  </a:lnTo>
                  <a:lnTo>
                    <a:pt x="2822" y="1094"/>
                  </a:lnTo>
                  <a:lnTo>
                    <a:pt x="2834" y="1115"/>
                  </a:lnTo>
                  <a:lnTo>
                    <a:pt x="2818" y="1170"/>
                  </a:lnTo>
                  <a:lnTo>
                    <a:pt x="2818" y="1170"/>
                  </a:lnTo>
                  <a:lnTo>
                    <a:pt x="2818" y="1170"/>
                  </a:lnTo>
                  <a:close/>
                  <a:moveTo>
                    <a:pt x="16" y="1203"/>
                  </a:moveTo>
                  <a:lnTo>
                    <a:pt x="0" y="1170"/>
                  </a:lnTo>
                  <a:lnTo>
                    <a:pt x="0" y="1148"/>
                  </a:lnTo>
                  <a:lnTo>
                    <a:pt x="16" y="1203"/>
                  </a:lnTo>
                  <a:lnTo>
                    <a:pt x="16" y="1203"/>
                  </a:lnTo>
                  <a:lnTo>
                    <a:pt x="16" y="1203"/>
                  </a:lnTo>
                  <a:close/>
                  <a:moveTo>
                    <a:pt x="2839" y="1297"/>
                  </a:moveTo>
                  <a:lnTo>
                    <a:pt x="2834" y="1276"/>
                  </a:lnTo>
                  <a:lnTo>
                    <a:pt x="2839" y="1264"/>
                  </a:lnTo>
                  <a:lnTo>
                    <a:pt x="2839" y="1297"/>
                  </a:lnTo>
                  <a:lnTo>
                    <a:pt x="2839" y="1297"/>
                  </a:lnTo>
                  <a:lnTo>
                    <a:pt x="2839" y="1297"/>
                  </a:lnTo>
                  <a:close/>
                  <a:moveTo>
                    <a:pt x="2839" y="1321"/>
                  </a:moveTo>
                  <a:lnTo>
                    <a:pt x="2839" y="1297"/>
                  </a:lnTo>
                  <a:lnTo>
                    <a:pt x="2851" y="1297"/>
                  </a:lnTo>
                  <a:lnTo>
                    <a:pt x="2839" y="1321"/>
                  </a:lnTo>
                  <a:lnTo>
                    <a:pt x="2839" y="1321"/>
                  </a:lnTo>
                  <a:lnTo>
                    <a:pt x="2839" y="1321"/>
                  </a:lnTo>
                  <a:close/>
                  <a:moveTo>
                    <a:pt x="1755" y="1963"/>
                  </a:moveTo>
                  <a:lnTo>
                    <a:pt x="1759" y="1963"/>
                  </a:lnTo>
                  <a:lnTo>
                    <a:pt x="1764" y="1968"/>
                  </a:lnTo>
                  <a:lnTo>
                    <a:pt x="1759" y="1980"/>
                  </a:lnTo>
                  <a:lnTo>
                    <a:pt x="1738" y="1968"/>
                  </a:lnTo>
                  <a:lnTo>
                    <a:pt x="1722" y="1996"/>
                  </a:lnTo>
                  <a:lnTo>
                    <a:pt x="1705" y="1980"/>
                  </a:lnTo>
                  <a:lnTo>
                    <a:pt x="1667" y="1985"/>
                  </a:lnTo>
                  <a:lnTo>
                    <a:pt x="1651" y="1980"/>
                  </a:lnTo>
                  <a:lnTo>
                    <a:pt x="1658" y="1963"/>
                  </a:lnTo>
                  <a:lnTo>
                    <a:pt x="1705" y="1947"/>
                  </a:lnTo>
                  <a:lnTo>
                    <a:pt x="1722" y="1959"/>
                  </a:lnTo>
                  <a:lnTo>
                    <a:pt x="1726" y="1963"/>
                  </a:lnTo>
                  <a:lnTo>
                    <a:pt x="1743" y="1968"/>
                  </a:lnTo>
                  <a:lnTo>
                    <a:pt x="1755" y="1963"/>
                  </a:lnTo>
                  <a:lnTo>
                    <a:pt x="1755" y="1963"/>
                  </a:lnTo>
                  <a:lnTo>
                    <a:pt x="1755" y="1963"/>
                  </a:lnTo>
                  <a:close/>
                  <a:moveTo>
                    <a:pt x="2267" y="2185"/>
                  </a:moveTo>
                  <a:lnTo>
                    <a:pt x="2267" y="2181"/>
                  </a:lnTo>
                  <a:lnTo>
                    <a:pt x="2284" y="2181"/>
                  </a:lnTo>
                  <a:lnTo>
                    <a:pt x="2267" y="2185"/>
                  </a:lnTo>
                  <a:lnTo>
                    <a:pt x="2267" y="2185"/>
                  </a:lnTo>
                  <a:lnTo>
                    <a:pt x="2267" y="2185"/>
                  </a:lnTo>
                  <a:close/>
                  <a:moveTo>
                    <a:pt x="2267" y="2202"/>
                  </a:moveTo>
                  <a:lnTo>
                    <a:pt x="2251" y="2190"/>
                  </a:lnTo>
                  <a:lnTo>
                    <a:pt x="2267" y="2185"/>
                  </a:lnTo>
                  <a:lnTo>
                    <a:pt x="2267" y="2202"/>
                  </a:lnTo>
                  <a:lnTo>
                    <a:pt x="2267" y="2202"/>
                  </a:lnTo>
                  <a:lnTo>
                    <a:pt x="2267" y="2202"/>
                  </a:lnTo>
                  <a:close/>
                  <a:moveTo>
                    <a:pt x="2352" y="2219"/>
                  </a:moveTo>
                  <a:lnTo>
                    <a:pt x="2359" y="2219"/>
                  </a:lnTo>
                  <a:lnTo>
                    <a:pt x="2352" y="2219"/>
                  </a:lnTo>
                  <a:lnTo>
                    <a:pt x="2352" y="2219"/>
                  </a:lnTo>
                  <a:lnTo>
                    <a:pt x="2352" y="2219"/>
                  </a:lnTo>
                  <a:close/>
                  <a:moveTo>
                    <a:pt x="2170" y="2330"/>
                  </a:moveTo>
                  <a:lnTo>
                    <a:pt x="2170" y="2301"/>
                  </a:lnTo>
                  <a:lnTo>
                    <a:pt x="2175" y="2280"/>
                  </a:lnTo>
                  <a:lnTo>
                    <a:pt x="2187" y="2289"/>
                  </a:lnTo>
                  <a:lnTo>
                    <a:pt x="2187" y="2313"/>
                  </a:lnTo>
                  <a:lnTo>
                    <a:pt x="2170" y="2330"/>
                  </a:lnTo>
                  <a:lnTo>
                    <a:pt x="2170" y="2330"/>
                  </a:lnTo>
                  <a:lnTo>
                    <a:pt x="2170" y="2330"/>
                  </a:lnTo>
                  <a:close/>
                  <a:moveTo>
                    <a:pt x="2466" y="2346"/>
                  </a:moveTo>
                  <a:lnTo>
                    <a:pt x="2440" y="2313"/>
                  </a:lnTo>
                  <a:lnTo>
                    <a:pt x="2444" y="2296"/>
                  </a:lnTo>
                  <a:lnTo>
                    <a:pt x="2456" y="2296"/>
                  </a:lnTo>
                  <a:lnTo>
                    <a:pt x="2477" y="2313"/>
                  </a:lnTo>
                  <a:lnTo>
                    <a:pt x="2477" y="2334"/>
                  </a:lnTo>
                  <a:lnTo>
                    <a:pt x="2466" y="2346"/>
                  </a:lnTo>
                  <a:lnTo>
                    <a:pt x="2466" y="2346"/>
                  </a:lnTo>
                  <a:lnTo>
                    <a:pt x="2466" y="2346"/>
                  </a:lnTo>
                  <a:close/>
                  <a:moveTo>
                    <a:pt x="2482" y="2363"/>
                  </a:moveTo>
                  <a:lnTo>
                    <a:pt x="2477" y="2351"/>
                  </a:lnTo>
                  <a:lnTo>
                    <a:pt x="2461" y="2363"/>
                  </a:lnTo>
                  <a:lnTo>
                    <a:pt x="2456" y="2351"/>
                  </a:lnTo>
                  <a:lnTo>
                    <a:pt x="2482" y="2346"/>
                  </a:lnTo>
                  <a:lnTo>
                    <a:pt x="2494" y="2351"/>
                  </a:lnTo>
                  <a:lnTo>
                    <a:pt x="2482" y="2363"/>
                  </a:lnTo>
                  <a:lnTo>
                    <a:pt x="2482" y="2363"/>
                  </a:lnTo>
                  <a:lnTo>
                    <a:pt x="2482" y="2363"/>
                  </a:lnTo>
                  <a:close/>
                  <a:moveTo>
                    <a:pt x="2239" y="2363"/>
                  </a:moveTo>
                  <a:lnTo>
                    <a:pt x="2239" y="2351"/>
                  </a:lnTo>
                  <a:lnTo>
                    <a:pt x="2246" y="2351"/>
                  </a:lnTo>
                  <a:lnTo>
                    <a:pt x="2239" y="2363"/>
                  </a:lnTo>
                  <a:lnTo>
                    <a:pt x="2239" y="2363"/>
                  </a:lnTo>
                  <a:lnTo>
                    <a:pt x="2239" y="2363"/>
                  </a:lnTo>
                  <a:close/>
                  <a:moveTo>
                    <a:pt x="2466" y="2367"/>
                  </a:moveTo>
                  <a:lnTo>
                    <a:pt x="2461" y="2367"/>
                  </a:lnTo>
                  <a:lnTo>
                    <a:pt x="2466" y="2363"/>
                  </a:lnTo>
                  <a:lnTo>
                    <a:pt x="2466" y="2367"/>
                  </a:lnTo>
                  <a:lnTo>
                    <a:pt x="2466" y="2367"/>
                  </a:lnTo>
                  <a:lnTo>
                    <a:pt x="2466" y="2367"/>
                  </a:lnTo>
                  <a:close/>
                  <a:moveTo>
                    <a:pt x="2239" y="2384"/>
                  </a:moveTo>
                  <a:lnTo>
                    <a:pt x="2246" y="2367"/>
                  </a:lnTo>
                  <a:lnTo>
                    <a:pt x="2246" y="2374"/>
                  </a:lnTo>
                  <a:lnTo>
                    <a:pt x="2239" y="2384"/>
                  </a:lnTo>
                  <a:lnTo>
                    <a:pt x="2239" y="2384"/>
                  </a:lnTo>
                  <a:lnTo>
                    <a:pt x="2239" y="2384"/>
                  </a:lnTo>
                  <a:close/>
                  <a:moveTo>
                    <a:pt x="2385" y="2630"/>
                  </a:moveTo>
                  <a:lnTo>
                    <a:pt x="2322" y="2622"/>
                  </a:lnTo>
                  <a:lnTo>
                    <a:pt x="2315" y="2613"/>
                  </a:lnTo>
                  <a:lnTo>
                    <a:pt x="2331" y="2613"/>
                  </a:lnTo>
                  <a:lnTo>
                    <a:pt x="2331" y="2606"/>
                  </a:lnTo>
                  <a:lnTo>
                    <a:pt x="2305" y="2606"/>
                  </a:lnTo>
                  <a:lnTo>
                    <a:pt x="2284" y="2573"/>
                  </a:lnTo>
                  <a:lnTo>
                    <a:pt x="2267" y="2540"/>
                  </a:lnTo>
                  <a:lnTo>
                    <a:pt x="2263" y="2511"/>
                  </a:lnTo>
                  <a:lnTo>
                    <a:pt x="2277" y="2528"/>
                  </a:lnTo>
                  <a:lnTo>
                    <a:pt x="2277" y="2535"/>
                  </a:lnTo>
                  <a:lnTo>
                    <a:pt x="2284" y="2518"/>
                  </a:lnTo>
                  <a:lnTo>
                    <a:pt x="2267" y="2502"/>
                  </a:lnTo>
                  <a:lnTo>
                    <a:pt x="2225" y="2424"/>
                  </a:lnTo>
                  <a:lnTo>
                    <a:pt x="2225" y="2400"/>
                  </a:lnTo>
                  <a:lnTo>
                    <a:pt x="2225" y="2384"/>
                  </a:lnTo>
                  <a:lnTo>
                    <a:pt x="2267" y="2384"/>
                  </a:lnTo>
                  <a:lnTo>
                    <a:pt x="2331" y="2417"/>
                  </a:lnTo>
                  <a:lnTo>
                    <a:pt x="2359" y="2424"/>
                  </a:lnTo>
                  <a:lnTo>
                    <a:pt x="2369" y="2407"/>
                  </a:lnTo>
                  <a:lnTo>
                    <a:pt x="2385" y="2417"/>
                  </a:lnTo>
                  <a:lnTo>
                    <a:pt x="2376" y="2407"/>
                  </a:lnTo>
                  <a:lnTo>
                    <a:pt x="2385" y="2400"/>
                  </a:lnTo>
                  <a:lnTo>
                    <a:pt x="2414" y="2407"/>
                  </a:lnTo>
                  <a:lnTo>
                    <a:pt x="2428" y="2391"/>
                  </a:lnTo>
                  <a:lnTo>
                    <a:pt x="2444" y="2391"/>
                  </a:lnTo>
                  <a:lnTo>
                    <a:pt x="2456" y="2384"/>
                  </a:lnTo>
                  <a:lnTo>
                    <a:pt x="2477" y="2400"/>
                  </a:lnTo>
                  <a:lnTo>
                    <a:pt x="2477" y="2474"/>
                  </a:lnTo>
                  <a:lnTo>
                    <a:pt x="2482" y="2511"/>
                  </a:lnTo>
                  <a:lnTo>
                    <a:pt x="2477" y="2511"/>
                  </a:lnTo>
                  <a:lnTo>
                    <a:pt x="2477" y="2502"/>
                  </a:lnTo>
                  <a:lnTo>
                    <a:pt x="2466" y="2485"/>
                  </a:lnTo>
                  <a:lnTo>
                    <a:pt x="2444" y="2568"/>
                  </a:lnTo>
                  <a:lnTo>
                    <a:pt x="2456" y="2568"/>
                  </a:lnTo>
                  <a:lnTo>
                    <a:pt x="2456" y="2596"/>
                  </a:lnTo>
                  <a:lnTo>
                    <a:pt x="2444" y="2589"/>
                  </a:lnTo>
                  <a:lnTo>
                    <a:pt x="2444" y="2596"/>
                  </a:lnTo>
                  <a:lnTo>
                    <a:pt x="2428" y="2585"/>
                  </a:lnTo>
                  <a:lnTo>
                    <a:pt x="2440" y="2573"/>
                  </a:lnTo>
                  <a:lnTo>
                    <a:pt x="2440" y="2585"/>
                  </a:lnTo>
                  <a:lnTo>
                    <a:pt x="2456" y="2585"/>
                  </a:lnTo>
                  <a:lnTo>
                    <a:pt x="2444" y="2573"/>
                  </a:lnTo>
                  <a:lnTo>
                    <a:pt x="2423" y="2568"/>
                  </a:lnTo>
                  <a:lnTo>
                    <a:pt x="2423" y="2573"/>
                  </a:lnTo>
                  <a:lnTo>
                    <a:pt x="2414" y="2585"/>
                  </a:lnTo>
                  <a:lnTo>
                    <a:pt x="2414" y="2568"/>
                  </a:lnTo>
                  <a:lnTo>
                    <a:pt x="2407" y="2568"/>
                  </a:lnTo>
                  <a:lnTo>
                    <a:pt x="2407" y="2596"/>
                  </a:lnTo>
                  <a:lnTo>
                    <a:pt x="2385" y="2589"/>
                  </a:lnTo>
                  <a:lnTo>
                    <a:pt x="2390" y="2606"/>
                  </a:lnTo>
                  <a:lnTo>
                    <a:pt x="2385" y="2630"/>
                  </a:lnTo>
                  <a:lnTo>
                    <a:pt x="2385" y="2630"/>
                  </a:lnTo>
                  <a:lnTo>
                    <a:pt x="2385" y="2630"/>
                  </a:lnTo>
                  <a:close/>
                  <a:moveTo>
                    <a:pt x="2461" y="2556"/>
                  </a:moveTo>
                  <a:lnTo>
                    <a:pt x="2461" y="2540"/>
                  </a:lnTo>
                  <a:lnTo>
                    <a:pt x="2466" y="2540"/>
                  </a:lnTo>
                  <a:lnTo>
                    <a:pt x="2466" y="2552"/>
                  </a:lnTo>
                  <a:lnTo>
                    <a:pt x="2461" y="2556"/>
                  </a:lnTo>
                  <a:lnTo>
                    <a:pt x="2461" y="2556"/>
                  </a:lnTo>
                  <a:lnTo>
                    <a:pt x="2461" y="2556"/>
                  </a:lnTo>
                  <a:close/>
                  <a:moveTo>
                    <a:pt x="2414" y="2596"/>
                  </a:moveTo>
                  <a:lnTo>
                    <a:pt x="2407" y="2589"/>
                  </a:lnTo>
                  <a:lnTo>
                    <a:pt x="2414" y="2585"/>
                  </a:lnTo>
                  <a:lnTo>
                    <a:pt x="2414" y="2596"/>
                  </a:lnTo>
                  <a:lnTo>
                    <a:pt x="2414" y="2596"/>
                  </a:lnTo>
                  <a:lnTo>
                    <a:pt x="2414" y="2596"/>
                  </a:lnTo>
                  <a:close/>
                  <a:moveTo>
                    <a:pt x="2407" y="2622"/>
                  </a:moveTo>
                  <a:lnTo>
                    <a:pt x="2390" y="2613"/>
                  </a:lnTo>
                  <a:lnTo>
                    <a:pt x="2407" y="2596"/>
                  </a:lnTo>
                  <a:lnTo>
                    <a:pt x="2414" y="2613"/>
                  </a:lnTo>
                  <a:lnTo>
                    <a:pt x="2407" y="2622"/>
                  </a:lnTo>
                  <a:lnTo>
                    <a:pt x="2407" y="2622"/>
                  </a:lnTo>
                  <a:lnTo>
                    <a:pt x="2407" y="2622"/>
                  </a:lnTo>
                  <a:close/>
                  <a:moveTo>
                    <a:pt x="3217" y="3666"/>
                  </a:moveTo>
                  <a:lnTo>
                    <a:pt x="3217" y="3659"/>
                  </a:lnTo>
                  <a:lnTo>
                    <a:pt x="3229" y="3643"/>
                  </a:lnTo>
                  <a:lnTo>
                    <a:pt x="3217" y="3666"/>
                  </a:lnTo>
                  <a:lnTo>
                    <a:pt x="3217" y="3666"/>
                  </a:lnTo>
                  <a:lnTo>
                    <a:pt x="3217" y="3666"/>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 name="Freeform 389">
              <a:extLst>
                <a:ext uri="{FF2B5EF4-FFF2-40B4-BE49-F238E27FC236}">
                  <a16:creationId xmlns:a16="http://schemas.microsoft.com/office/drawing/2014/main" id="{D3570BD5-8ABA-4241-8B6E-DF4E66296C6B}"/>
                </a:ext>
              </a:extLst>
            </p:cNvPr>
            <p:cNvSpPr>
              <a:spLocks/>
            </p:cNvSpPr>
            <p:nvPr/>
          </p:nvSpPr>
          <p:spPr bwMode="gray">
            <a:xfrm>
              <a:off x="13964109" y="2854969"/>
              <a:ext cx="173794" cy="79860"/>
            </a:xfrm>
            <a:custGeom>
              <a:avLst/>
              <a:gdLst>
                <a:gd name="T0" fmla="*/ 54 w 531"/>
                <a:gd name="T1" fmla="*/ 189 h 244"/>
                <a:gd name="T2" fmla="*/ 21 w 531"/>
                <a:gd name="T3" fmla="*/ 199 h 244"/>
                <a:gd name="T4" fmla="*/ 0 w 531"/>
                <a:gd name="T5" fmla="*/ 182 h 244"/>
                <a:gd name="T6" fmla="*/ 4 w 531"/>
                <a:gd name="T7" fmla="*/ 149 h 244"/>
                <a:gd name="T8" fmla="*/ 16 w 531"/>
                <a:gd name="T9" fmla="*/ 133 h 244"/>
                <a:gd name="T10" fmla="*/ 49 w 531"/>
                <a:gd name="T11" fmla="*/ 154 h 244"/>
                <a:gd name="T12" fmla="*/ 59 w 531"/>
                <a:gd name="T13" fmla="*/ 149 h 244"/>
                <a:gd name="T14" fmla="*/ 92 w 531"/>
                <a:gd name="T15" fmla="*/ 144 h 244"/>
                <a:gd name="T16" fmla="*/ 108 w 531"/>
                <a:gd name="T17" fmla="*/ 149 h 244"/>
                <a:gd name="T18" fmla="*/ 222 w 531"/>
                <a:gd name="T19" fmla="*/ 128 h 244"/>
                <a:gd name="T20" fmla="*/ 236 w 531"/>
                <a:gd name="T21" fmla="*/ 144 h 244"/>
                <a:gd name="T22" fmla="*/ 231 w 531"/>
                <a:gd name="T23" fmla="*/ 128 h 244"/>
                <a:gd name="T24" fmla="*/ 222 w 531"/>
                <a:gd name="T25" fmla="*/ 88 h 244"/>
                <a:gd name="T26" fmla="*/ 269 w 531"/>
                <a:gd name="T27" fmla="*/ 43 h 244"/>
                <a:gd name="T28" fmla="*/ 302 w 531"/>
                <a:gd name="T29" fmla="*/ 22 h 244"/>
                <a:gd name="T30" fmla="*/ 361 w 531"/>
                <a:gd name="T31" fmla="*/ 43 h 244"/>
                <a:gd name="T32" fmla="*/ 375 w 531"/>
                <a:gd name="T33" fmla="*/ 22 h 244"/>
                <a:gd name="T34" fmla="*/ 451 w 531"/>
                <a:gd name="T35" fmla="*/ 33 h 244"/>
                <a:gd name="T36" fmla="*/ 517 w 531"/>
                <a:gd name="T37" fmla="*/ 33 h 244"/>
                <a:gd name="T38" fmla="*/ 505 w 531"/>
                <a:gd name="T39" fmla="*/ 59 h 244"/>
                <a:gd name="T40" fmla="*/ 522 w 531"/>
                <a:gd name="T41" fmla="*/ 128 h 244"/>
                <a:gd name="T42" fmla="*/ 489 w 531"/>
                <a:gd name="T43" fmla="*/ 116 h 244"/>
                <a:gd name="T44" fmla="*/ 500 w 531"/>
                <a:gd name="T45" fmla="*/ 144 h 244"/>
                <a:gd name="T46" fmla="*/ 484 w 531"/>
                <a:gd name="T47" fmla="*/ 166 h 244"/>
                <a:gd name="T48" fmla="*/ 484 w 531"/>
                <a:gd name="T49" fmla="*/ 189 h 244"/>
                <a:gd name="T50" fmla="*/ 451 w 531"/>
                <a:gd name="T51" fmla="*/ 199 h 244"/>
                <a:gd name="T52" fmla="*/ 371 w 531"/>
                <a:gd name="T53" fmla="*/ 222 h 244"/>
                <a:gd name="T54" fmla="*/ 345 w 531"/>
                <a:gd name="T55" fmla="*/ 244 h 244"/>
                <a:gd name="T56" fmla="*/ 198 w 531"/>
                <a:gd name="T57" fmla="*/ 211 h 244"/>
                <a:gd name="T58" fmla="*/ 184 w 531"/>
                <a:gd name="T59" fmla="*/ 182 h 244"/>
                <a:gd name="T60" fmla="*/ 113 w 531"/>
                <a:gd name="T61" fmla="*/ 189 h 244"/>
                <a:gd name="T62" fmla="*/ 59 w 531"/>
                <a:gd name="T63" fmla="*/ 199 h 244"/>
                <a:gd name="T64" fmla="*/ 59 w 531"/>
                <a:gd name="T65" fmla="*/ 19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1" h="244">
                  <a:moveTo>
                    <a:pt x="59" y="199"/>
                  </a:moveTo>
                  <a:lnTo>
                    <a:pt x="54" y="189"/>
                  </a:lnTo>
                  <a:lnTo>
                    <a:pt x="37" y="206"/>
                  </a:lnTo>
                  <a:lnTo>
                    <a:pt x="21" y="199"/>
                  </a:lnTo>
                  <a:lnTo>
                    <a:pt x="21" y="189"/>
                  </a:lnTo>
                  <a:lnTo>
                    <a:pt x="0" y="182"/>
                  </a:lnTo>
                  <a:lnTo>
                    <a:pt x="0" y="166"/>
                  </a:lnTo>
                  <a:lnTo>
                    <a:pt x="4" y="149"/>
                  </a:lnTo>
                  <a:lnTo>
                    <a:pt x="0" y="144"/>
                  </a:lnTo>
                  <a:lnTo>
                    <a:pt x="16" y="133"/>
                  </a:lnTo>
                  <a:lnTo>
                    <a:pt x="21" y="144"/>
                  </a:lnTo>
                  <a:lnTo>
                    <a:pt x="49" y="154"/>
                  </a:lnTo>
                  <a:lnTo>
                    <a:pt x="37" y="166"/>
                  </a:lnTo>
                  <a:lnTo>
                    <a:pt x="59" y="149"/>
                  </a:lnTo>
                  <a:lnTo>
                    <a:pt x="59" y="133"/>
                  </a:lnTo>
                  <a:lnTo>
                    <a:pt x="92" y="144"/>
                  </a:lnTo>
                  <a:lnTo>
                    <a:pt x="101" y="149"/>
                  </a:lnTo>
                  <a:lnTo>
                    <a:pt x="108" y="149"/>
                  </a:lnTo>
                  <a:lnTo>
                    <a:pt x="146" y="133"/>
                  </a:lnTo>
                  <a:lnTo>
                    <a:pt x="222" y="128"/>
                  </a:lnTo>
                  <a:lnTo>
                    <a:pt x="222" y="144"/>
                  </a:lnTo>
                  <a:lnTo>
                    <a:pt x="236" y="144"/>
                  </a:lnTo>
                  <a:lnTo>
                    <a:pt x="248" y="128"/>
                  </a:lnTo>
                  <a:lnTo>
                    <a:pt x="231" y="128"/>
                  </a:lnTo>
                  <a:lnTo>
                    <a:pt x="236" y="111"/>
                  </a:lnTo>
                  <a:lnTo>
                    <a:pt x="222" y="88"/>
                  </a:lnTo>
                  <a:lnTo>
                    <a:pt x="269" y="59"/>
                  </a:lnTo>
                  <a:lnTo>
                    <a:pt x="269" y="43"/>
                  </a:lnTo>
                  <a:lnTo>
                    <a:pt x="290" y="43"/>
                  </a:lnTo>
                  <a:lnTo>
                    <a:pt x="302" y="22"/>
                  </a:lnTo>
                  <a:lnTo>
                    <a:pt x="323" y="38"/>
                  </a:lnTo>
                  <a:lnTo>
                    <a:pt x="361" y="43"/>
                  </a:lnTo>
                  <a:lnTo>
                    <a:pt x="371" y="22"/>
                  </a:lnTo>
                  <a:lnTo>
                    <a:pt x="375" y="22"/>
                  </a:lnTo>
                  <a:lnTo>
                    <a:pt x="382" y="0"/>
                  </a:lnTo>
                  <a:lnTo>
                    <a:pt x="451" y="33"/>
                  </a:lnTo>
                  <a:lnTo>
                    <a:pt x="484" y="22"/>
                  </a:lnTo>
                  <a:lnTo>
                    <a:pt x="517" y="33"/>
                  </a:lnTo>
                  <a:lnTo>
                    <a:pt x="517" y="38"/>
                  </a:lnTo>
                  <a:lnTo>
                    <a:pt x="505" y="59"/>
                  </a:lnTo>
                  <a:lnTo>
                    <a:pt x="531" y="95"/>
                  </a:lnTo>
                  <a:lnTo>
                    <a:pt x="522" y="128"/>
                  </a:lnTo>
                  <a:lnTo>
                    <a:pt x="500" y="128"/>
                  </a:lnTo>
                  <a:lnTo>
                    <a:pt x="489" y="116"/>
                  </a:lnTo>
                  <a:lnTo>
                    <a:pt x="484" y="128"/>
                  </a:lnTo>
                  <a:lnTo>
                    <a:pt x="500" y="144"/>
                  </a:lnTo>
                  <a:lnTo>
                    <a:pt x="484" y="149"/>
                  </a:lnTo>
                  <a:lnTo>
                    <a:pt x="484" y="166"/>
                  </a:lnTo>
                  <a:lnTo>
                    <a:pt x="479" y="166"/>
                  </a:lnTo>
                  <a:lnTo>
                    <a:pt x="484" y="189"/>
                  </a:lnTo>
                  <a:lnTo>
                    <a:pt x="467" y="189"/>
                  </a:lnTo>
                  <a:lnTo>
                    <a:pt x="451" y="199"/>
                  </a:lnTo>
                  <a:lnTo>
                    <a:pt x="437" y="211"/>
                  </a:lnTo>
                  <a:lnTo>
                    <a:pt x="371" y="222"/>
                  </a:lnTo>
                  <a:lnTo>
                    <a:pt x="371" y="239"/>
                  </a:lnTo>
                  <a:lnTo>
                    <a:pt x="345" y="244"/>
                  </a:lnTo>
                  <a:lnTo>
                    <a:pt x="290" y="227"/>
                  </a:lnTo>
                  <a:lnTo>
                    <a:pt x="198" y="211"/>
                  </a:lnTo>
                  <a:lnTo>
                    <a:pt x="184" y="199"/>
                  </a:lnTo>
                  <a:lnTo>
                    <a:pt x="184" y="182"/>
                  </a:lnTo>
                  <a:lnTo>
                    <a:pt x="156" y="189"/>
                  </a:lnTo>
                  <a:lnTo>
                    <a:pt x="113" y="189"/>
                  </a:lnTo>
                  <a:lnTo>
                    <a:pt x="101" y="211"/>
                  </a:lnTo>
                  <a:lnTo>
                    <a:pt x="59" y="199"/>
                  </a:lnTo>
                  <a:lnTo>
                    <a:pt x="59" y="199"/>
                  </a:lnTo>
                  <a:lnTo>
                    <a:pt x="59" y="19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 name="Freeform 390">
              <a:extLst>
                <a:ext uri="{FF2B5EF4-FFF2-40B4-BE49-F238E27FC236}">
                  <a16:creationId xmlns:a16="http://schemas.microsoft.com/office/drawing/2014/main" id="{6D9F7E0A-34F4-43D8-9F8D-4EC9DCACE317}"/>
                </a:ext>
              </a:extLst>
            </p:cNvPr>
            <p:cNvSpPr>
              <a:spLocks/>
            </p:cNvSpPr>
            <p:nvPr/>
          </p:nvSpPr>
          <p:spPr bwMode="gray">
            <a:xfrm>
              <a:off x="14904105" y="3482723"/>
              <a:ext cx="655" cy="9492"/>
            </a:xfrm>
            <a:custGeom>
              <a:avLst/>
              <a:gdLst>
                <a:gd name="T0" fmla="*/ 2 w 2"/>
                <a:gd name="T1" fmla="*/ 0 h 29"/>
                <a:gd name="T2" fmla="*/ 2 w 2"/>
                <a:gd name="T3" fmla="*/ 29 h 29"/>
                <a:gd name="T4" fmla="*/ 0 w 2"/>
                <a:gd name="T5" fmla="*/ 17 h 29"/>
                <a:gd name="T6" fmla="*/ 0 w 2"/>
                <a:gd name="T7" fmla="*/ 0 h 29"/>
                <a:gd name="T8" fmla="*/ 2 w 2"/>
                <a:gd name="T9" fmla="*/ 0 h 29"/>
                <a:gd name="T10" fmla="*/ 2 w 2"/>
                <a:gd name="T11" fmla="*/ 0 h 29"/>
                <a:gd name="T12" fmla="*/ 2 w 2"/>
                <a:gd name="T13" fmla="*/ 0 h 29"/>
                <a:gd name="T14" fmla="*/ 2 w 2"/>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9">
                  <a:moveTo>
                    <a:pt x="2" y="0"/>
                  </a:moveTo>
                  <a:lnTo>
                    <a:pt x="2" y="29"/>
                  </a:lnTo>
                  <a:lnTo>
                    <a:pt x="0" y="17"/>
                  </a:lnTo>
                  <a:lnTo>
                    <a:pt x="0" y="0"/>
                  </a:lnTo>
                  <a:lnTo>
                    <a:pt x="2" y="0"/>
                  </a:lnTo>
                  <a:lnTo>
                    <a:pt x="2" y="0"/>
                  </a:lnTo>
                  <a:lnTo>
                    <a:pt x="2" y="0"/>
                  </a:lnTo>
                  <a:lnTo>
                    <a:pt x="2" y="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 name="Freeform 391">
              <a:extLst>
                <a:ext uri="{FF2B5EF4-FFF2-40B4-BE49-F238E27FC236}">
                  <a16:creationId xmlns:a16="http://schemas.microsoft.com/office/drawing/2014/main" id="{18C4A80B-C99B-4EB6-9178-61C8132EEE04}"/>
                </a:ext>
              </a:extLst>
            </p:cNvPr>
            <p:cNvSpPr>
              <a:spLocks/>
            </p:cNvSpPr>
            <p:nvPr/>
          </p:nvSpPr>
          <p:spPr bwMode="gray">
            <a:xfrm>
              <a:off x="12376065" y="3798237"/>
              <a:ext cx="3928" cy="6219"/>
            </a:xfrm>
            <a:custGeom>
              <a:avLst/>
              <a:gdLst>
                <a:gd name="T0" fmla="*/ 7 w 12"/>
                <a:gd name="T1" fmla="*/ 19 h 19"/>
                <a:gd name="T2" fmla="*/ 0 w 12"/>
                <a:gd name="T3" fmla="*/ 19 h 19"/>
                <a:gd name="T4" fmla="*/ 0 w 12"/>
                <a:gd name="T5" fmla="*/ 0 h 19"/>
                <a:gd name="T6" fmla="*/ 12 w 12"/>
                <a:gd name="T7" fmla="*/ 12 h 19"/>
                <a:gd name="T8" fmla="*/ 7 w 12"/>
                <a:gd name="T9" fmla="*/ 19 h 19"/>
                <a:gd name="T10" fmla="*/ 7 w 12"/>
                <a:gd name="T11" fmla="*/ 19 h 19"/>
                <a:gd name="T12" fmla="*/ 7 w 1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2" h="19">
                  <a:moveTo>
                    <a:pt x="7" y="19"/>
                  </a:moveTo>
                  <a:lnTo>
                    <a:pt x="0" y="19"/>
                  </a:lnTo>
                  <a:lnTo>
                    <a:pt x="0" y="0"/>
                  </a:lnTo>
                  <a:lnTo>
                    <a:pt x="12" y="12"/>
                  </a:lnTo>
                  <a:lnTo>
                    <a:pt x="7" y="19"/>
                  </a:lnTo>
                  <a:lnTo>
                    <a:pt x="7" y="19"/>
                  </a:lnTo>
                  <a:lnTo>
                    <a:pt x="7" y="1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3" name="Freeform 392">
              <a:extLst>
                <a:ext uri="{FF2B5EF4-FFF2-40B4-BE49-F238E27FC236}">
                  <a16:creationId xmlns:a16="http://schemas.microsoft.com/office/drawing/2014/main" id="{AC5DC1DD-A2AA-408B-9865-D267EEC2F6A5}"/>
                </a:ext>
              </a:extLst>
            </p:cNvPr>
            <p:cNvSpPr>
              <a:spLocks/>
            </p:cNvSpPr>
            <p:nvPr/>
          </p:nvSpPr>
          <p:spPr bwMode="gray">
            <a:xfrm>
              <a:off x="14204344" y="4537273"/>
              <a:ext cx="213397" cy="225835"/>
            </a:xfrm>
            <a:custGeom>
              <a:avLst/>
              <a:gdLst>
                <a:gd name="T0" fmla="*/ 0 w 652"/>
                <a:gd name="T1" fmla="*/ 525 h 690"/>
                <a:gd name="T2" fmla="*/ 0 w 652"/>
                <a:gd name="T3" fmla="*/ 322 h 690"/>
                <a:gd name="T4" fmla="*/ 71 w 652"/>
                <a:gd name="T5" fmla="*/ 322 h 690"/>
                <a:gd name="T6" fmla="*/ 71 w 652"/>
                <a:gd name="T7" fmla="*/ 45 h 690"/>
                <a:gd name="T8" fmla="*/ 232 w 652"/>
                <a:gd name="T9" fmla="*/ 17 h 690"/>
                <a:gd name="T10" fmla="*/ 253 w 652"/>
                <a:gd name="T11" fmla="*/ 55 h 690"/>
                <a:gd name="T12" fmla="*/ 303 w 652"/>
                <a:gd name="T13" fmla="*/ 17 h 690"/>
                <a:gd name="T14" fmla="*/ 312 w 652"/>
                <a:gd name="T15" fmla="*/ 29 h 690"/>
                <a:gd name="T16" fmla="*/ 340 w 652"/>
                <a:gd name="T17" fmla="*/ 0 h 690"/>
                <a:gd name="T18" fmla="*/ 366 w 652"/>
                <a:gd name="T19" fmla="*/ 0 h 690"/>
                <a:gd name="T20" fmla="*/ 366 w 652"/>
                <a:gd name="T21" fmla="*/ 29 h 690"/>
                <a:gd name="T22" fmla="*/ 416 w 652"/>
                <a:gd name="T23" fmla="*/ 88 h 690"/>
                <a:gd name="T24" fmla="*/ 416 w 652"/>
                <a:gd name="T25" fmla="*/ 100 h 690"/>
                <a:gd name="T26" fmla="*/ 430 w 652"/>
                <a:gd name="T27" fmla="*/ 128 h 690"/>
                <a:gd name="T28" fmla="*/ 468 w 652"/>
                <a:gd name="T29" fmla="*/ 161 h 690"/>
                <a:gd name="T30" fmla="*/ 501 w 652"/>
                <a:gd name="T31" fmla="*/ 178 h 690"/>
                <a:gd name="T32" fmla="*/ 506 w 652"/>
                <a:gd name="T33" fmla="*/ 211 h 690"/>
                <a:gd name="T34" fmla="*/ 539 w 652"/>
                <a:gd name="T35" fmla="*/ 211 h 690"/>
                <a:gd name="T36" fmla="*/ 539 w 652"/>
                <a:gd name="T37" fmla="*/ 248 h 690"/>
                <a:gd name="T38" fmla="*/ 560 w 652"/>
                <a:gd name="T39" fmla="*/ 289 h 690"/>
                <a:gd name="T40" fmla="*/ 598 w 652"/>
                <a:gd name="T41" fmla="*/ 289 h 690"/>
                <a:gd name="T42" fmla="*/ 631 w 652"/>
                <a:gd name="T43" fmla="*/ 305 h 690"/>
                <a:gd name="T44" fmla="*/ 631 w 652"/>
                <a:gd name="T45" fmla="*/ 322 h 690"/>
                <a:gd name="T46" fmla="*/ 648 w 652"/>
                <a:gd name="T47" fmla="*/ 322 h 690"/>
                <a:gd name="T48" fmla="*/ 652 w 652"/>
                <a:gd name="T49" fmla="*/ 338 h 690"/>
                <a:gd name="T50" fmla="*/ 631 w 652"/>
                <a:gd name="T51" fmla="*/ 338 h 690"/>
                <a:gd name="T52" fmla="*/ 626 w 652"/>
                <a:gd name="T53" fmla="*/ 348 h 690"/>
                <a:gd name="T54" fmla="*/ 577 w 652"/>
                <a:gd name="T55" fmla="*/ 364 h 690"/>
                <a:gd name="T56" fmla="*/ 555 w 652"/>
                <a:gd name="T57" fmla="*/ 397 h 690"/>
                <a:gd name="T58" fmla="*/ 529 w 652"/>
                <a:gd name="T59" fmla="*/ 414 h 690"/>
                <a:gd name="T60" fmla="*/ 522 w 652"/>
                <a:gd name="T61" fmla="*/ 421 h 690"/>
                <a:gd name="T62" fmla="*/ 518 w 652"/>
                <a:gd name="T63" fmla="*/ 421 h 690"/>
                <a:gd name="T64" fmla="*/ 485 w 652"/>
                <a:gd name="T65" fmla="*/ 447 h 690"/>
                <a:gd name="T66" fmla="*/ 475 w 652"/>
                <a:gd name="T67" fmla="*/ 492 h 690"/>
                <a:gd name="T68" fmla="*/ 447 w 652"/>
                <a:gd name="T69" fmla="*/ 515 h 690"/>
                <a:gd name="T70" fmla="*/ 409 w 652"/>
                <a:gd name="T71" fmla="*/ 525 h 690"/>
                <a:gd name="T72" fmla="*/ 392 w 652"/>
                <a:gd name="T73" fmla="*/ 581 h 690"/>
                <a:gd name="T74" fmla="*/ 383 w 652"/>
                <a:gd name="T75" fmla="*/ 598 h 690"/>
                <a:gd name="T76" fmla="*/ 324 w 652"/>
                <a:gd name="T77" fmla="*/ 615 h 690"/>
                <a:gd name="T78" fmla="*/ 303 w 652"/>
                <a:gd name="T79" fmla="*/ 603 h 690"/>
                <a:gd name="T80" fmla="*/ 291 w 652"/>
                <a:gd name="T81" fmla="*/ 598 h 690"/>
                <a:gd name="T82" fmla="*/ 270 w 652"/>
                <a:gd name="T83" fmla="*/ 598 h 690"/>
                <a:gd name="T84" fmla="*/ 237 w 652"/>
                <a:gd name="T85" fmla="*/ 565 h 690"/>
                <a:gd name="T86" fmla="*/ 206 w 652"/>
                <a:gd name="T87" fmla="*/ 570 h 690"/>
                <a:gd name="T88" fmla="*/ 194 w 652"/>
                <a:gd name="T89" fmla="*/ 586 h 690"/>
                <a:gd name="T90" fmla="*/ 182 w 652"/>
                <a:gd name="T91" fmla="*/ 624 h 690"/>
                <a:gd name="T92" fmla="*/ 152 w 652"/>
                <a:gd name="T93" fmla="*/ 652 h 690"/>
                <a:gd name="T94" fmla="*/ 140 w 652"/>
                <a:gd name="T95" fmla="*/ 674 h 690"/>
                <a:gd name="T96" fmla="*/ 123 w 652"/>
                <a:gd name="T97" fmla="*/ 674 h 690"/>
                <a:gd name="T98" fmla="*/ 114 w 652"/>
                <a:gd name="T99" fmla="*/ 690 h 690"/>
                <a:gd name="T100" fmla="*/ 43 w 652"/>
                <a:gd name="T101" fmla="*/ 681 h 690"/>
                <a:gd name="T102" fmla="*/ 38 w 652"/>
                <a:gd name="T103" fmla="*/ 657 h 690"/>
                <a:gd name="T104" fmla="*/ 59 w 652"/>
                <a:gd name="T105" fmla="*/ 636 h 690"/>
                <a:gd name="T106" fmla="*/ 55 w 652"/>
                <a:gd name="T107" fmla="*/ 615 h 690"/>
                <a:gd name="T108" fmla="*/ 22 w 652"/>
                <a:gd name="T109" fmla="*/ 548 h 690"/>
                <a:gd name="T110" fmla="*/ 0 w 652"/>
                <a:gd name="T111" fmla="*/ 525 h 690"/>
                <a:gd name="T112" fmla="*/ 0 w 652"/>
                <a:gd name="T113" fmla="*/ 525 h 690"/>
                <a:gd name="T114" fmla="*/ 0 w 652"/>
                <a:gd name="T115" fmla="*/ 52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2" h="690">
                  <a:moveTo>
                    <a:pt x="0" y="525"/>
                  </a:moveTo>
                  <a:lnTo>
                    <a:pt x="0" y="322"/>
                  </a:lnTo>
                  <a:lnTo>
                    <a:pt x="71" y="322"/>
                  </a:lnTo>
                  <a:lnTo>
                    <a:pt x="71" y="45"/>
                  </a:lnTo>
                  <a:lnTo>
                    <a:pt x="232" y="17"/>
                  </a:lnTo>
                  <a:lnTo>
                    <a:pt x="253" y="55"/>
                  </a:lnTo>
                  <a:lnTo>
                    <a:pt x="303" y="17"/>
                  </a:lnTo>
                  <a:lnTo>
                    <a:pt x="312" y="29"/>
                  </a:lnTo>
                  <a:lnTo>
                    <a:pt x="340" y="0"/>
                  </a:lnTo>
                  <a:lnTo>
                    <a:pt x="366" y="0"/>
                  </a:lnTo>
                  <a:lnTo>
                    <a:pt x="366" y="29"/>
                  </a:lnTo>
                  <a:lnTo>
                    <a:pt x="416" y="88"/>
                  </a:lnTo>
                  <a:lnTo>
                    <a:pt x="416" y="100"/>
                  </a:lnTo>
                  <a:lnTo>
                    <a:pt x="430" y="128"/>
                  </a:lnTo>
                  <a:lnTo>
                    <a:pt x="468" y="161"/>
                  </a:lnTo>
                  <a:lnTo>
                    <a:pt x="501" y="178"/>
                  </a:lnTo>
                  <a:lnTo>
                    <a:pt x="506" y="211"/>
                  </a:lnTo>
                  <a:lnTo>
                    <a:pt x="539" y="211"/>
                  </a:lnTo>
                  <a:lnTo>
                    <a:pt x="539" y="248"/>
                  </a:lnTo>
                  <a:lnTo>
                    <a:pt x="560" y="289"/>
                  </a:lnTo>
                  <a:lnTo>
                    <a:pt x="598" y="289"/>
                  </a:lnTo>
                  <a:lnTo>
                    <a:pt x="631" y="305"/>
                  </a:lnTo>
                  <a:lnTo>
                    <a:pt x="631" y="322"/>
                  </a:lnTo>
                  <a:lnTo>
                    <a:pt x="648" y="322"/>
                  </a:lnTo>
                  <a:lnTo>
                    <a:pt x="652" y="338"/>
                  </a:lnTo>
                  <a:lnTo>
                    <a:pt x="631" y="338"/>
                  </a:lnTo>
                  <a:lnTo>
                    <a:pt x="626" y="348"/>
                  </a:lnTo>
                  <a:lnTo>
                    <a:pt x="577" y="364"/>
                  </a:lnTo>
                  <a:lnTo>
                    <a:pt x="555" y="397"/>
                  </a:lnTo>
                  <a:lnTo>
                    <a:pt x="529" y="414"/>
                  </a:lnTo>
                  <a:lnTo>
                    <a:pt x="522" y="421"/>
                  </a:lnTo>
                  <a:lnTo>
                    <a:pt x="518" y="421"/>
                  </a:lnTo>
                  <a:lnTo>
                    <a:pt x="485" y="447"/>
                  </a:lnTo>
                  <a:lnTo>
                    <a:pt x="475" y="492"/>
                  </a:lnTo>
                  <a:lnTo>
                    <a:pt x="447" y="515"/>
                  </a:lnTo>
                  <a:lnTo>
                    <a:pt x="409" y="525"/>
                  </a:lnTo>
                  <a:lnTo>
                    <a:pt x="392" y="581"/>
                  </a:lnTo>
                  <a:lnTo>
                    <a:pt x="383" y="598"/>
                  </a:lnTo>
                  <a:lnTo>
                    <a:pt x="324" y="615"/>
                  </a:lnTo>
                  <a:lnTo>
                    <a:pt x="303" y="603"/>
                  </a:lnTo>
                  <a:lnTo>
                    <a:pt x="291" y="598"/>
                  </a:lnTo>
                  <a:lnTo>
                    <a:pt x="270" y="598"/>
                  </a:lnTo>
                  <a:lnTo>
                    <a:pt x="237" y="565"/>
                  </a:lnTo>
                  <a:lnTo>
                    <a:pt x="206" y="570"/>
                  </a:lnTo>
                  <a:lnTo>
                    <a:pt x="194" y="586"/>
                  </a:lnTo>
                  <a:lnTo>
                    <a:pt x="182" y="624"/>
                  </a:lnTo>
                  <a:lnTo>
                    <a:pt x="152" y="652"/>
                  </a:lnTo>
                  <a:lnTo>
                    <a:pt x="140" y="674"/>
                  </a:lnTo>
                  <a:lnTo>
                    <a:pt x="123" y="674"/>
                  </a:lnTo>
                  <a:lnTo>
                    <a:pt x="114" y="690"/>
                  </a:lnTo>
                  <a:lnTo>
                    <a:pt x="43" y="681"/>
                  </a:lnTo>
                  <a:lnTo>
                    <a:pt x="38" y="657"/>
                  </a:lnTo>
                  <a:lnTo>
                    <a:pt x="59" y="636"/>
                  </a:lnTo>
                  <a:lnTo>
                    <a:pt x="55" y="615"/>
                  </a:lnTo>
                  <a:lnTo>
                    <a:pt x="22" y="548"/>
                  </a:lnTo>
                  <a:lnTo>
                    <a:pt x="0" y="525"/>
                  </a:lnTo>
                  <a:lnTo>
                    <a:pt x="0" y="525"/>
                  </a:lnTo>
                  <a:lnTo>
                    <a:pt x="0" y="525"/>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4" name="Freeform 393">
              <a:extLst>
                <a:ext uri="{FF2B5EF4-FFF2-40B4-BE49-F238E27FC236}">
                  <a16:creationId xmlns:a16="http://schemas.microsoft.com/office/drawing/2014/main" id="{8CD02BA0-9650-49CB-BDC4-A3D2BA0152F7}"/>
                </a:ext>
              </a:extLst>
            </p:cNvPr>
            <p:cNvSpPr>
              <a:spLocks/>
            </p:cNvSpPr>
            <p:nvPr/>
          </p:nvSpPr>
          <p:spPr bwMode="gray">
            <a:xfrm>
              <a:off x="13802424" y="2778381"/>
              <a:ext cx="89025" cy="63496"/>
            </a:xfrm>
            <a:custGeom>
              <a:avLst/>
              <a:gdLst>
                <a:gd name="T0" fmla="*/ 255 w 272"/>
                <a:gd name="T1" fmla="*/ 128 h 194"/>
                <a:gd name="T2" fmla="*/ 239 w 272"/>
                <a:gd name="T3" fmla="*/ 128 h 194"/>
                <a:gd name="T4" fmla="*/ 222 w 272"/>
                <a:gd name="T5" fmla="*/ 145 h 194"/>
                <a:gd name="T6" fmla="*/ 222 w 272"/>
                <a:gd name="T7" fmla="*/ 161 h 194"/>
                <a:gd name="T8" fmla="*/ 239 w 272"/>
                <a:gd name="T9" fmla="*/ 178 h 194"/>
                <a:gd name="T10" fmla="*/ 227 w 272"/>
                <a:gd name="T11" fmla="*/ 185 h 194"/>
                <a:gd name="T12" fmla="*/ 206 w 272"/>
                <a:gd name="T13" fmla="*/ 194 h 194"/>
                <a:gd name="T14" fmla="*/ 189 w 272"/>
                <a:gd name="T15" fmla="*/ 178 h 194"/>
                <a:gd name="T16" fmla="*/ 163 w 272"/>
                <a:gd name="T17" fmla="*/ 161 h 194"/>
                <a:gd name="T18" fmla="*/ 163 w 272"/>
                <a:gd name="T19" fmla="*/ 145 h 194"/>
                <a:gd name="T20" fmla="*/ 163 w 272"/>
                <a:gd name="T21" fmla="*/ 128 h 194"/>
                <a:gd name="T22" fmla="*/ 163 w 272"/>
                <a:gd name="T23" fmla="*/ 128 h 194"/>
                <a:gd name="T24" fmla="*/ 137 w 272"/>
                <a:gd name="T25" fmla="*/ 156 h 194"/>
                <a:gd name="T26" fmla="*/ 113 w 272"/>
                <a:gd name="T27" fmla="*/ 145 h 194"/>
                <a:gd name="T28" fmla="*/ 113 w 272"/>
                <a:gd name="T29" fmla="*/ 123 h 194"/>
                <a:gd name="T30" fmla="*/ 83 w 272"/>
                <a:gd name="T31" fmla="*/ 112 h 194"/>
                <a:gd name="T32" fmla="*/ 76 w 272"/>
                <a:gd name="T33" fmla="*/ 102 h 194"/>
                <a:gd name="T34" fmla="*/ 54 w 272"/>
                <a:gd name="T35" fmla="*/ 102 h 194"/>
                <a:gd name="T36" fmla="*/ 45 w 272"/>
                <a:gd name="T37" fmla="*/ 69 h 194"/>
                <a:gd name="T38" fmla="*/ 21 w 272"/>
                <a:gd name="T39" fmla="*/ 74 h 194"/>
                <a:gd name="T40" fmla="*/ 7 w 272"/>
                <a:gd name="T41" fmla="*/ 69 h 194"/>
                <a:gd name="T42" fmla="*/ 0 w 272"/>
                <a:gd name="T43" fmla="*/ 45 h 194"/>
                <a:gd name="T44" fmla="*/ 59 w 272"/>
                <a:gd name="T45" fmla="*/ 12 h 194"/>
                <a:gd name="T46" fmla="*/ 59 w 272"/>
                <a:gd name="T47" fmla="*/ 29 h 194"/>
                <a:gd name="T48" fmla="*/ 76 w 272"/>
                <a:gd name="T49" fmla="*/ 17 h 194"/>
                <a:gd name="T50" fmla="*/ 92 w 272"/>
                <a:gd name="T51" fmla="*/ 29 h 194"/>
                <a:gd name="T52" fmla="*/ 120 w 272"/>
                <a:gd name="T53" fmla="*/ 17 h 194"/>
                <a:gd name="T54" fmla="*/ 120 w 272"/>
                <a:gd name="T55" fmla="*/ 29 h 194"/>
                <a:gd name="T56" fmla="*/ 120 w 272"/>
                <a:gd name="T57" fmla="*/ 12 h 194"/>
                <a:gd name="T58" fmla="*/ 130 w 272"/>
                <a:gd name="T59" fmla="*/ 17 h 194"/>
                <a:gd name="T60" fmla="*/ 130 w 272"/>
                <a:gd name="T61" fmla="*/ 12 h 194"/>
                <a:gd name="T62" fmla="*/ 137 w 272"/>
                <a:gd name="T63" fmla="*/ 0 h 194"/>
                <a:gd name="T64" fmla="*/ 146 w 272"/>
                <a:gd name="T65" fmla="*/ 12 h 194"/>
                <a:gd name="T66" fmla="*/ 163 w 272"/>
                <a:gd name="T67" fmla="*/ 0 h 194"/>
                <a:gd name="T68" fmla="*/ 168 w 272"/>
                <a:gd name="T69" fmla="*/ 12 h 194"/>
                <a:gd name="T70" fmla="*/ 175 w 272"/>
                <a:gd name="T71" fmla="*/ 0 h 194"/>
                <a:gd name="T72" fmla="*/ 189 w 272"/>
                <a:gd name="T73" fmla="*/ 29 h 194"/>
                <a:gd name="T74" fmla="*/ 206 w 272"/>
                <a:gd name="T75" fmla="*/ 17 h 194"/>
                <a:gd name="T76" fmla="*/ 227 w 272"/>
                <a:gd name="T77" fmla="*/ 34 h 194"/>
                <a:gd name="T78" fmla="*/ 217 w 272"/>
                <a:gd name="T79" fmla="*/ 69 h 194"/>
                <a:gd name="T80" fmla="*/ 222 w 272"/>
                <a:gd name="T81" fmla="*/ 74 h 194"/>
                <a:gd name="T82" fmla="*/ 243 w 272"/>
                <a:gd name="T83" fmla="*/ 74 h 194"/>
                <a:gd name="T84" fmla="*/ 260 w 272"/>
                <a:gd name="T85" fmla="*/ 86 h 194"/>
                <a:gd name="T86" fmla="*/ 272 w 272"/>
                <a:gd name="T87" fmla="*/ 112 h 194"/>
                <a:gd name="T88" fmla="*/ 255 w 272"/>
                <a:gd name="T89" fmla="*/ 123 h 194"/>
                <a:gd name="T90" fmla="*/ 255 w 272"/>
                <a:gd name="T91" fmla="*/ 128 h 194"/>
                <a:gd name="T92" fmla="*/ 255 w 272"/>
                <a:gd name="T93" fmla="*/ 128 h 194"/>
                <a:gd name="T94" fmla="*/ 255 w 272"/>
                <a:gd name="T95" fmla="*/ 12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194">
                  <a:moveTo>
                    <a:pt x="255" y="128"/>
                  </a:moveTo>
                  <a:lnTo>
                    <a:pt x="239" y="128"/>
                  </a:lnTo>
                  <a:lnTo>
                    <a:pt x="222" y="145"/>
                  </a:lnTo>
                  <a:lnTo>
                    <a:pt x="222" y="161"/>
                  </a:lnTo>
                  <a:lnTo>
                    <a:pt x="239" y="178"/>
                  </a:lnTo>
                  <a:lnTo>
                    <a:pt x="227" y="185"/>
                  </a:lnTo>
                  <a:lnTo>
                    <a:pt x="206" y="194"/>
                  </a:lnTo>
                  <a:lnTo>
                    <a:pt x="189" y="178"/>
                  </a:lnTo>
                  <a:lnTo>
                    <a:pt x="163" y="161"/>
                  </a:lnTo>
                  <a:lnTo>
                    <a:pt x="163" y="145"/>
                  </a:lnTo>
                  <a:lnTo>
                    <a:pt x="163" y="128"/>
                  </a:lnTo>
                  <a:lnTo>
                    <a:pt x="163" y="128"/>
                  </a:lnTo>
                  <a:lnTo>
                    <a:pt x="137" y="156"/>
                  </a:lnTo>
                  <a:lnTo>
                    <a:pt x="113" y="145"/>
                  </a:lnTo>
                  <a:lnTo>
                    <a:pt x="113" y="123"/>
                  </a:lnTo>
                  <a:lnTo>
                    <a:pt x="83" y="112"/>
                  </a:lnTo>
                  <a:lnTo>
                    <a:pt x="76" y="102"/>
                  </a:lnTo>
                  <a:lnTo>
                    <a:pt x="54" y="102"/>
                  </a:lnTo>
                  <a:lnTo>
                    <a:pt x="45" y="69"/>
                  </a:lnTo>
                  <a:lnTo>
                    <a:pt x="21" y="74"/>
                  </a:lnTo>
                  <a:lnTo>
                    <a:pt x="7" y="69"/>
                  </a:lnTo>
                  <a:lnTo>
                    <a:pt x="0" y="45"/>
                  </a:lnTo>
                  <a:lnTo>
                    <a:pt x="59" y="12"/>
                  </a:lnTo>
                  <a:lnTo>
                    <a:pt x="59" y="29"/>
                  </a:lnTo>
                  <a:lnTo>
                    <a:pt x="76" y="17"/>
                  </a:lnTo>
                  <a:lnTo>
                    <a:pt x="92" y="29"/>
                  </a:lnTo>
                  <a:lnTo>
                    <a:pt x="120" y="17"/>
                  </a:lnTo>
                  <a:lnTo>
                    <a:pt x="120" y="29"/>
                  </a:lnTo>
                  <a:lnTo>
                    <a:pt x="120" y="12"/>
                  </a:lnTo>
                  <a:lnTo>
                    <a:pt x="130" y="17"/>
                  </a:lnTo>
                  <a:lnTo>
                    <a:pt x="130" y="12"/>
                  </a:lnTo>
                  <a:lnTo>
                    <a:pt x="137" y="0"/>
                  </a:lnTo>
                  <a:lnTo>
                    <a:pt x="146" y="12"/>
                  </a:lnTo>
                  <a:lnTo>
                    <a:pt x="163" y="0"/>
                  </a:lnTo>
                  <a:lnTo>
                    <a:pt x="168" y="12"/>
                  </a:lnTo>
                  <a:lnTo>
                    <a:pt x="175" y="0"/>
                  </a:lnTo>
                  <a:lnTo>
                    <a:pt x="189" y="29"/>
                  </a:lnTo>
                  <a:lnTo>
                    <a:pt x="206" y="17"/>
                  </a:lnTo>
                  <a:lnTo>
                    <a:pt x="227" y="34"/>
                  </a:lnTo>
                  <a:lnTo>
                    <a:pt x="217" y="69"/>
                  </a:lnTo>
                  <a:lnTo>
                    <a:pt x="222" y="74"/>
                  </a:lnTo>
                  <a:lnTo>
                    <a:pt x="243" y="74"/>
                  </a:lnTo>
                  <a:lnTo>
                    <a:pt x="260" y="86"/>
                  </a:lnTo>
                  <a:lnTo>
                    <a:pt x="272" y="112"/>
                  </a:lnTo>
                  <a:lnTo>
                    <a:pt x="255" y="123"/>
                  </a:lnTo>
                  <a:lnTo>
                    <a:pt x="255" y="128"/>
                  </a:lnTo>
                  <a:lnTo>
                    <a:pt x="255" y="128"/>
                  </a:lnTo>
                  <a:lnTo>
                    <a:pt x="255" y="128"/>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5" name="Freeform 394">
              <a:extLst>
                <a:ext uri="{FF2B5EF4-FFF2-40B4-BE49-F238E27FC236}">
                  <a16:creationId xmlns:a16="http://schemas.microsoft.com/office/drawing/2014/main" id="{A68CD60C-0F0E-473D-B20C-99A3AEA70978}"/>
                </a:ext>
              </a:extLst>
            </p:cNvPr>
            <p:cNvSpPr>
              <a:spLocks noEditPoints="1"/>
            </p:cNvSpPr>
            <p:nvPr/>
          </p:nvSpPr>
          <p:spPr bwMode="gray">
            <a:xfrm>
              <a:off x="11932251" y="3464395"/>
              <a:ext cx="139756" cy="151538"/>
            </a:xfrm>
            <a:custGeom>
              <a:avLst/>
              <a:gdLst>
                <a:gd name="T0" fmla="*/ 111 w 427"/>
                <a:gd name="T1" fmla="*/ 21 h 463"/>
                <a:gd name="T2" fmla="*/ 123 w 427"/>
                <a:gd name="T3" fmla="*/ 56 h 463"/>
                <a:gd name="T4" fmla="*/ 123 w 427"/>
                <a:gd name="T5" fmla="*/ 56 h 463"/>
                <a:gd name="T6" fmla="*/ 111 w 427"/>
                <a:gd name="T7" fmla="*/ 21 h 463"/>
                <a:gd name="T8" fmla="*/ 68 w 427"/>
                <a:gd name="T9" fmla="*/ 0 h 463"/>
                <a:gd name="T10" fmla="*/ 0 w 427"/>
                <a:gd name="T11" fmla="*/ 16 h 463"/>
                <a:gd name="T12" fmla="*/ 73 w 427"/>
                <a:gd name="T13" fmla="*/ 16 h 463"/>
                <a:gd name="T14" fmla="*/ 14 w 427"/>
                <a:gd name="T15" fmla="*/ 28 h 463"/>
                <a:gd name="T16" fmla="*/ 198 w 427"/>
                <a:gd name="T17" fmla="*/ 134 h 463"/>
                <a:gd name="T18" fmla="*/ 187 w 427"/>
                <a:gd name="T19" fmla="*/ 156 h 463"/>
                <a:gd name="T20" fmla="*/ 161 w 427"/>
                <a:gd name="T21" fmla="*/ 111 h 463"/>
                <a:gd name="T22" fmla="*/ 149 w 427"/>
                <a:gd name="T23" fmla="*/ 101 h 463"/>
                <a:gd name="T24" fmla="*/ 80 w 427"/>
                <a:gd name="T25" fmla="*/ 184 h 463"/>
                <a:gd name="T26" fmla="*/ 42 w 427"/>
                <a:gd name="T27" fmla="*/ 167 h 463"/>
                <a:gd name="T28" fmla="*/ 42 w 427"/>
                <a:gd name="T29" fmla="*/ 167 h 463"/>
                <a:gd name="T30" fmla="*/ 52 w 427"/>
                <a:gd name="T31" fmla="*/ 134 h 463"/>
                <a:gd name="T32" fmla="*/ 94 w 427"/>
                <a:gd name="T33" fmla="*/ 139 h 463"/>
                <a:gd name="T34" fmla="*/ 106 w 427"/>
                <a:gd name="T35" fmla="*/ 151 h 463"/>
                <a:gd name="T36" fmla="*/ 234 w 427"/>
                <a:gd name="T37" fmla="*/ 212 h 463"/>
                <a:gd name="T38" fmla="*/ 257 w 427"/>
                <a:gd name="T39" fmla="*/ 212 h 463"/>
                <a:gd name="T40" fmla="*/ 241 w 427"/>
                <a:gd name="T41" fmla="*/ 212 h 463"/>
                <a:gd name="T42" fmla="*/ 80 w 427"/>
                <a:gd name="T43" fmla="*/ 212 h 463"/>
                <a:gd name="T44" fmla="*/ 94 w 427"/>
                <a:gd name="T45" fmla="*/ 212 h 463"/>
                <a:gd name="T46" fmla="*/ 80 w 427"/>
                <a:gd name="T47" fmla="*/ 245 h 463"/>
                <a:gd name="T48" fmla="*/ 73 w 427"/>
                <a:gd name="T49" fmla="*/ 224 h 463"/>
                <a:gd name="T50" fmla="*/ 90 w 427"/>
                <a:gd name="T51" fmla="*/ 196 h 463"/>
                <a:gd name="T52" fmla="*/ 73 w 427"/>
                <a:gd name="T53" fmla="*/ 205 h 463"/>
                <a:gd name="T54" fmla="*/ 68 w 427"/>
                <a:gd name="T55" fmla="*/ 205 h 463"/>
                <a:gd name="T56" fmla="*/ 309 w 427"/>
                <a:gd name="T57" fmla="*/ 212 h 463"/>
                <a:gd name="T58" fmla="*/ 305 w 427"/>
                <a:gd name="T59" fmla="*/ 212 h 463"/>
                <a:gd name="T60" fmla="*/ 283 w 427"/>
                <a:gd name="T61" fmla="*/ 245 h 463"/>
                <a:gd name="T62" fmla="*/ 288 w 427"/>
                <a:gd name="T63" fmla="*/ 250 h 463"/>
                <a:gd name="T64" fmla="*/ 272 w 427"/>
                <a:gd name="T65" fmla="*/ 286 h 463"/>
                <a:gd name="T66" fmla="*/ 272 w 427"/>
                <a:gd name="T67" fmla="*/ 295 h 463"/>
                <a:gd name="T68" fmla="*/ 250 w 427"/>
                <a:gd name="T69" fmla="*/ 245 h 463"/>
                <a:gd name="T70" fmla="*/ 338 w 427"/>
                <a:gd name="T71" fmla="*/ 323 h 463"/>
                <a:gd name="T72" fmla="*/ 342 w 427"/>
                <a:gd name="T73" fmla="*/ 323 h 463"/>
                <a:gd name="T74" fmla="*/ 338 w 427"/>
                <a:gd name="T75" fmla="*/ 323 h 463"/>
                <a:gd name="T76" fmla="*/ 342 w 427"/>
                <a:gd name="T77" fmla="*/ 323 h 463"/>
                <a:gd name="T78" fmla="*/ 326 w 427"/>
                <a:gd name="T79" fmla="*/ 368 h 463"/>
                <a:gd name="T80" fmla="*/ 427 w 427"/>
                <a:gd name="T81" fmla="*/ 356 h 463"/>
                <a:gd name="T82" fmla="*/ 427 w 427"/>
                <a:gd name="T83" fmla="*/ 352 h 463"/>
                <a:gd name="T84" fmla="*/ 427 w 427"/>
                <a:gd name="T85" fmla="*/ 356 h 463"/>
                <a:gd name="T86" fmla="*/ 418 w 427"/>
                <a:gd name="T87" fmla="*/ 413 h 463"/>
                <a:gd name="T88" fmla="*/ 411 w 427"/>
                <a:gd name="T89" fmla="*/ 425 h 463"/>
                <a:gd name="T90" fmla="*/ 380 w 427"/>
                <a:gd name="T91" fmla="*/ 434 h 463"/>
                <a:gd name="T92" fmla="*/ 401 w 427"/>
                <a:gd name="T93" fmla="*/ 451 h 463"/>
                <a:gd name="T94" fmla="*/ 364 w 427"/>
                <a:gd name="T95" fmla="*/ 46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7" h="463">
                  <a:moveTo>
                    <a:pt x="68" y="0"/>
                  </a:moveTo>
                  <a:lnTo>
                    <a:pt x="94" y="0"/>
                  </a:lnTo>
                  <a:lnTo>
                    <a:pt x="111" y="21"/>
                  </a:lnTo>
                  <a:lnTo>
                    <a:pt x="132" y="28"/>
                  </a:lnTo>
                  <a:lnTo>
                    <a:pt x="132" y="40"/>
                  </a:lnTo>
                  <a:lnTo>
                    <a:pt x="123" y="56"/>
                  </a:lnTo>
                  <a:lnTo>
                    <a:pt x="123" y="78"/>
                  </a:lnTo>
                  <a:lnTo>
                    <a:pt x="106" y="73"/>
                  </a:lnTo>
                  <a:lnTo>
                    <a:pt x="123" y="56"/>
                  </a:lnTo>
                  <a:lnTo>
                    <a:pt x="123" y="40"/>
                  </a:lnTo>
                  <a:lnTo>
                    <a:pt x="127" y="21"/>
                  </a:lnTo>
                  <a:lnTo>
                    <a:pt x="111" y="21"/>
                  </a:lnTo>
                  <a:lnTo>
                    <a:pt x="94" y="0"/>
                  </a:lnTo>
                  <a:lnTo>
                    <a:pt x="68" y="0"/>
                  </a:lnTo>
                  <a:lnTo>
                    <a:pt x="68" y="0"/>
                  </a:lnTo>
                  <a:lnTo>
                    <a:pt x="68" y="0"/>
                  </a:lnTo>
                  <a:close/>
                  <a:moveTo>
                    <a:pt x="14" y="28"/>
                  </a:moveTo>
                  <a:lnTo>
                    <a:pt x="0" y="16"/>
                  </a:lnTo>
                  <a:lnTo>
                    <a:pt x="21" y="21"/>
                  </a:lnTo>
                  <a:lnTo>
                    <a:pt x="26" y="16"/>
                  </a:lnTo>
                  <a:lnTo>
                    <a:pt x="73" y="16"/>
                  </a:lnTo>
                  <a:lnTo>
                    <a:pt x="68" y="21"/>
                  </a:lnTo>
                  <a:lnTo>
                    <a:pt x="14" y="28"/>
                  </a:lnTo>
                  <a:lnTo>
                    <a:pt x="14" y="28"/>
                  </a:lnTo>
                  <a:lnTo>
                    <a:pt x="14" y="28"/>
                  </a:lnTo>
                  <a:close/>
                  <a:moveTo>
                    <a:pt x="149" y="101"/>
                  </a:moveTo>
                  <a:lnTo>
                    <a:pt x="198" y="134"/>
                  </a:lnTo>
                  <a:lnTo>
                    <a:pt x="198" y="172"/>
                  </a:lnTo>
                  <a:lnTo>
                    <a:pt x="182" y="156"/>
                  </a:lnTo>
                  <a:lnTo>
                    <a:pt x="187" y="156"/>
                  </a:lnTo>
                  <a:lnTo>
                    <a:pt x="198" y="134"/>
                  </a:lnTo>
                  <a:lnTo>
                    <a:pt x="182" y="118"/>
                  </a:lnTo>
                  <a:lnTo>
                    <a:pt x="161" y="111"/>
                  </a:lnTo>
                  <a:lnTo>
                    <a:pt x="149" y="101"/>
                  </a:lnTo>
                  <a:lnTo>
                    <a:pt x="149" y="101"/>
                  </a:lnTo>
                  <a:lnTo>
                    <a:pt x="149" y="101"/>
                  </a:lnTo>
                  <a:close/>
                  <a:moveTo>
                    <a:pt x="52" y="134"/>
                  </a:moveTo>
                  <a:lnTo>
                    <a:pt x="68" y="134"/>
                  </a:lnTo>
                  <a:lnTo>
                    <a:pt x="80" y="184"/>
                  </a:lnTo>
                  <a:lnTo>
                    <a:pt x="68" y="205"/>
                  </a:lnTo>
                  <a:lnTo>
                    <a:pt x="35" y="172"/>
                  </a:lnTo>
                  <a:lnTo>
                    <a:pt x="42" y="167"/>
                  </a:lnTo>
                  <a:lnTo>
                    <a:pt x="42" y="184"/>
                  </a:lnTo>
                  <a:lnTo>
                    <a:pt x="52" y="172"/>
                  </a:lnTo>
                  <a:lnTo>
                    <a:pt x="42" y="167"/>
                  </a:lnTo>
                  <a:lnTo>
                    <a:pt x="52" y="151"/>
                  </a:lnTo>
                  <a:lnTo>
                    <a:pt x="52" y="134"/>
                  </a:lnTo>
                  <a:lnTo>
                    <a:pt x="52" y="134"/>
                  </a:lnTo>
                  <a:lnTo>
                    <a:pt x="52" y="134"/>
                  </a:lnTo>
                  <a:close/>
                  <a:moveTo>
                    <a:pt x="106" y="151"/>
                  </a:moveTo>
                  <a:lnTo>
                    <a:pt x="94" y="139"/>
                  </a:lnTo>
                  <a:lnTo>
                    <a:pt x="123" y="139"/>
                  </a:lnTo>
                  <a:lnTo>
                    <a:pt x="106" y="151"/>
                  </a:lnTo>
                  <a:lnTo>
                    <a:pt x="106" y="151"/>
                  </a:lnTo>
                  <a:lnTo>
                    <a:pt x="106" y="151"/>
                  </a:lnTo>
                  <a:close/>
                  <a:moveTo>
                    <a:pt x="241" y="212"/>
                  </a:moveTo>
                  <a:lnTo>
                    <a:pt x="234" y="212"/>
                  </a:lnTo>
                  <a:lnTo>
                    <a:pt x="241" y="196"/>
                  </a:lnTo>
                  <a:lnTo>
                    <a:pt x="220" y="167"/>
                  </a:lnTo>
                  <a:lnTo>
                    <a:pt x="257" y="212"/>
                  </a:lnTo>
                  <a:lnTo>
                    <a:pt x="241" y="212"/>
                  </a:lnTo>
                  <a:lnTo>
                    <a:pt x="241" y="212"/>
                  </a:lnTo>
                  <a:lnTo>
                    <a:pt x="241" y="212"/>
                  </a:lnTo>
                  <a:close/>
                  <a:moveTo>
                    <a:pt x="90" y="196"/>
                  </a:moveTo>
                  <a:lnTo>
                    <a:pt x="90" y="205"/>
                  </a:lnTo>
                  <a:lnTo>
                    <a:pt x="80" y="212"/>
                  </a:lnTo>
                  <a:lnTo>
                    <a:pt x="80" y="224"/>
                  </a:lnTo>
                  <a:lnTo>
                    <a:pt x="90" y="205"/>
                  </a:lnTo>
                  <a:lnTo>
                    <a:pt x="94" y="212"/>
                  </a:lnTo>
                  <a:lnTo>
                    <a:pt x="94" y="241"/>
                  </a:lnTo>
                  <a:lnTo>
                    <a:pt x="90" y="245"/>
                  </a:lnTo>
                  <a:lnTo>
                    <a:pt x="80" y="245"/>
                  </a:lnTo>
                  <a:lnTo>
                    <a:pt x="94" y="241"/>
                  </a:lnTo>
                  <a:lnTo>
                    <a:pt x="80" y="241"/>
                  </a:lnTo>
                  <a:lnTo>
                    <a:pt x="73" y="224"/>
                  </a:lnTo>
                  <a:lnTo>
                    <a:pt x="90" y="196"/>
                  </a:lnTo>
                  <a:lnTo>
                    <a:pt x="90" y="196"/>
                  </a:lnTo>
                  <a:lnTo>
                    <a:pt x="90" y="196"/>
                  </a:lnTo>
                  <a:close/>
                  <a:moveTo>
                    <a:pt x="68" y="205"/>
                  </a:moveTo>
                  <a:lnTo>
                    <a:pt x="68" y="205"/>
                  </a:lnTo>
                  <a:lnTo>
                    <a:pt x="73" y="205"/>
                  </a:lnTo>
                  <a:lnTo>
                    <a:pt x="68" y="205"/>
                  </a:lnTo>
                  <a:lnTo>
                    <a:pt x="68" y="205"/>
                  </a:lnTo>
                  <a:lnTo>
                    <a:pt x="68" y="205"/>
                  </a:lnTo>
                  <a:close/>
                  <a:moveTo>
                    <a:pt x="305" y="212"/>
                  </a:moveTo>
                  <a:lnTo>
                    <a:pt x="309" y="212"/>
                  </a:lnTo>
                  <a:lnTo>
                    <a:pt x="309" y="212"/>
                  </a:lnTo>
                  <a:lnTo>
                    <a:pt x="309" y="229"/>
                  </a:lnTo>
                  <a:lnTo>
                    <a:pt x="305" y="212"/>
                  </a:lnTo>
                  <a:lnTo>
                    <a:pt x="305" y="212"/>
                  </a:lnTo>
                  <a:lnTo>
                    <a:pt x="305" y="212"/>
                  </a:lnTo>
                  <a:close/>
                  <a:moveTo>
                    <a:pt x="288" y="250"/>
                  </a:moveTo>
                  <a:lnTo>
                    <a:pt x="283" y="245"/>
                  </a:lnTo>
                  <a:lnTo>
                    <a:pt x="288" y="245"/>
                  </a:lnTo>
                  <a:lnTo>
                    <a:pt x="288" y="250"/>
                  </a:lnTo>
                  <a:lnTo>
                    <a:pt x="288" y="250"/>
                  </a:lnTo>
                  <a:lnTo>
                    <a:pt x="288" y="250"/>
                  </a:lnTo>
                  <a:close/>
                  <a:moveTo>
                    <a:pt x="250" y="245"/>
                  </a:moveTo>
                  <a:lnTo>
                    <a:pt x="272" y="286"/>
                  </a:lnTo>
                  <a:lnTo>
                    <a:pt x="288" y="302"/>
                  </a:lnTo>
                  <a:lnTo>
                    <a:pt x="288" y="307"/>
                  </a:lnTo>
                  <a:lnTo>
                    <a:pt x="272" y="295"/>
                  </a:lnTo>
                  <a:lnTo>
                    <a:pt x="267" y="286"/>
                  </a:lnTo>
                  <a:lnTo>
                    <a:pt x="272" y="295"/>
                  </a:lnTo>
                  <a:lnTo>
                    <a:pt x="250" y="245"/>
                  </a:lnTo>
                  <a:lnTo>
                    <a:pt x="250" y="245"/>
                  </a:lnTo>
                  <a:lnTo>
                    <a:pt x="250" y="245"/>
                  </a:lnTo>
                  <a:close/>
                  <a:moveTo>
                    <a:pt x="338" y="323"/>
                  </a:moveTo>
                  <a:lnTo>
                    <a:pt x="326" y="323"/>
                  </a:lnTo>
                  <a:lnTo>
                    <a:pt x="321" y="307"/>
                  </a:lnTo>
                  <a:lnTo>
                    <a:pt x="342" y="323"/>
                  </a:lnTo>
                  <a:lnTo>
                    <a:pt x="338" y="323"/>
                  </a:lnTo>
                  <a:lnTo>
                    <a:pt x="338" y="323"/>
                  </a:lnTo>
                  <a:lnTo>
                    <a:pt x="338" y="323"/>
                  </a:lnTo>
                  <a:close/>
                  <a:moveTo>
                    <a:pt x="326" y="368"/>
                  </a:moveTo>
                  <a:lnTo>
                    <a:pt x="347" y="340"/>
                  </a:lnTo>
                  <a:lnTo>
                    <a:pt x="342" y="323"/>
                  </a:lnTo>
                  <a:lnTo>
                    <a:pt x="359" y="319"/>
                  </a:lnTo>
                  <a:lnTo>
                    <a:pt x="347" y="340"/>
                  </a:lnTo>
                  <a:lnTo>
                    <a:pt x="326" y="368"/>
                  </a:lnTo>
                  <a:lnTo>
                    <a:pt x="326" y="368"/>
                  </a:lnTo>
                  <a:lnTo>
                    <a:pt x="326" y="368"/>
                  </a:lnTo>
                  <a:close/>
                  <a:moveTo>
                    <a:pt x="427" y="356"/>
                  </a:moveTo>
                  <a:lnTo>
                    <a:pt x="401" y="352"/>
                  </a:lnTo>
                  <a:lnTo>
                    <a:pt x="411" y="340"/>
                  </a:lnTo>
                  <a:lnTo>
                    <a:pt x="427" y="352"/>
                  </a:lnTo>
                  <a:lnTo>
                    <a:pt x="427" y="356"/>
                  </a:lnTo>
                  <a:lnTo>
                    <a:pt x="427" y="356"/>
                  </a:lnTo>
                  <a:lnTo>
                    <a:pt x="427" y="356"/>
                  </a:lnTo>
                  <a:close/>
                  <a:moveTo>
                    <a:pt x="411" y="425"/>
                  </a:moveTo>
                  <a:lnTo>
                    <a:pt x="411" y="413"/>
                  </a:lnTo>
                  <a:lnTo>
                    <a:pt x="418" y="413"/>
                  </a:lnTo>
                  <a:lnTo>
                    <a:pt x="411" y="425"/>
                  </a:lnTo>
                  <a:lnTo>
                    <a:pt x="411" y="425"/>
                  </a:lnTo>
                  <a:lnTo>
                    <a:pt x="411" y="425"/>
                  </a:lnTo>
                  <a:close/>
                  <a:moveTo>
                    <a:pt x="364" y="463"/>
                  </a:moveTo>
                  <a:lnTo>
                    <a:pt x="364" y="451"/>
                  </a:lnTo>
                  <a:lnTo>
                    <a:pt x="380" y="434"/>
                  </a:lnTo>
                  <a:lnTo>
                    <a:pt x="397" y="446"/>
                  </a:lnTo>
                  <a:lnTo>
                    <a:pt x="411" y="430"/>
                  </a:lnTo>
                  <a:lnTo>
                    <a:pt x="401" y="451"/>
                  </a:lnTo>
                  <a:lnTo>
                    <a:pt x="364" y="463"/>
                  </a:lnTo>
                  <a:lnTo>
                    <a:pt x="364" y="463"/>
                  </a:lnTo>
                  <a:lnTo>
                    <a:pt x="364" y="463"/>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6" name="Freeform 395">
              <a:extLst>
                <a:ext uri="{FF2B5EF4-FFF2-40B4-BE49-F238E27FC236}">
                  <a16:creationId xmlns:a16="http://schemas.microsoft.com/office/drawing/2014/main" id="{7E45E7CE-C607-492A-A418-74DAE945C8D6}"/>
                </a:ext>
              </a:extLst>
            </p:cNvPr>
            <p:cNvSpPr>
              <a:spLocks noEditPoints="1"/>
            </p:cNvSpPr>
            <p:nvPr/>
          </p:nvSpPr>
          <p:spPr bwMode="gray">
            <a:xfrm>
              <a:off x="15764568" y="3471268"/>
              <a:ext cx="105062" cy="145974"/>
            </a:xfrm>
            <a:custGeom>
              <a:avLst/>
              <a:gdLst>
                <a:gd name="T0" fmla="*/ 71 w 321"/>
                <a:gd name="T1" fmla="*/ 262 h 446"/>
                <a:gd name="T2" fmla="*/ 38 w 321"/>
                <a:gd name="T3" fmla="*/ 229 h 446"/>
                <a:gd name="T4" fmla="*/ 55 w 321"/>
                <a:gd name="T5" fmla="*/ 184 h 446"/>
                <a:gd name="T6" fmla="*/ 5 w 321"/>
                <a:gd name="T7" fmla="*/ 163 h 446"/>
                <a:gd name="T8" fmla="*/ 5 w 321"/>
                <a:gd name="T9" fmla="*/ 128 h 446"/>
                <a:gd name="T10" fmla="*/ 71 w 321"/>
                <a:gd name="T11" fmla="*/ 111 h 446"/>
                <a:gd name="T12" fmla="*/ 55 w 321"/>
                <a:gd name="T13" fmla="*/ 90 h 446"/>
                <a:gd name="T14" fmla="*/ 5 w 321"/>
                <a:gd name="T15" fmla="*/ 57 h 446"/>
                <a:gd name="T16" fmla="*/ 33 w 321"/>
                <a:gd name="T17" fmla="*/ 5 h 446"/>
                <a:gd name="T18" fmla="*/ 59 w 321"/>
                <a:gd name="T19" fmla="*/ 33 h 446"/>
                <a:gd name="T20" fmla="*/ 71 w 321"/>
                <a:gd name="T21" fmla="*/ 17 h 446"/>
                <a:gd name="T22" fmla="*/ 92 w 321"/>
                <a:gd name="T23" fmla="*/ 50 h 446"/>
                <a:gd name="T24" fmla="*/ 123 w 321"/>
                <a:gd name="T25" fmla="*/ 33 h 446"/>
                <a:gd name="T26" fmla="*/ 168 w 321"/>
                <a:gd name="T27" fmla="*/ 111 h 446"/>
                <a:gd name="T28" fmla="*/ 312 w 321"/>
                <a:gd name="T29" fmla="*/ 135 h 446"/>
                <a:gd name="T30" fmla="*/ 274 w 321"/>
                <a:gd name="T31" fmla="*/ 172 h 446"/>
                <a:gd name="T32" fmla="*/ 232 w 321"/>
                <a:gd name="T33" fmla="*/ 205 h 446"/>
                <a:gd name="T34" fmla="*/ 236 w 321"/>
                <a:gd name="T35" fmla="*/ 274 h 446"/>
                <a:gd name="T36" fmla="*/ 258 w 321"/>
                <a:gd name="T37" fmla="*/ 279 h 446"/>
                <a:gd name="T38" fmla="*/ 274 w 321"/>
                <a:gd name="T39" fmla="*/ 241 h 446"/>
                <a:gd name="T40" fmla="*/ 300 w 321"/>
                <a:gd name="T41" fmla="*/ 224 h 446"/>
                <a:gd name="T42" fmla="*/ 312 w 321"/>
                <a:gd name="T43" fmla="*/ 302 h 446"/>
                <a:gd name="T44" fmla="*/ 321 w 321"/>
                <a:gd name="T45" fmla="*/ 406 h 446"/>
                <a:gd name="T46" fmla="*/ 291 w 321"/>
                <a:gd name="T47" fmla="*/ 406 h 446"/>
                <a:gd name="T48" fmla="*/ 286 w 321"/>
                <a:gd name="T49" fmla="*/ 413 h 446"/>
                <a:gd name="T50" fmla="*/ 269 w 321"/>
                <a:gd name="T51" fmla="*/ 373 h 446"/>
                <a:gd name="T52" fmla="*/ 220 w 321"/>
                <a:gd name="T53" fmla="*/ 312 h 446"/>
                <a:gd name="T54" fmla="*/ 182 w 321"/>
                <a:gd name="T55" fmla="*/ 274 h 446"/>
                <a:gd name="T56" fmla="*/ 182 w 321"/>
                <a:gd name="T57" fmla="*/ 241 h 446"/>
                <a:gd name="T58" fmla="*/ 177 w 321"/>
                <a:gd name="T59" fmla="*/ 241 h 446"/>
                <a:gd name="T60" fmla="*/ 182 w 321"/>
                <a:gd name="T61" fmla="*/ 262 h 446"/>
                <a:gd name="T62" fmla="*/ 168 w 321"/>
                <a:gd name="T63" fmla="*/ 295 h 446"/>
                <a:gd name="T64" fmla="*/ 168 w 321"/>
                <a:gd name="T65" fmla="*/ 352 h 446"/>
                <a:gd name="T66" fmla="*/ 151 w 321"/>
                <a:gd name="T67" fmla="*/ 368 h 446"/>
                <a:gd name="T68" fmla="*/ 144 w 321"/>
                <a:gd name="T69" fmla="*/ 357 h 446"/>
                <a:gd name="T70" fmla="*/ 140 w 321"/>
                <a:gd name="T71" fmla="*/ 352 h 446"/>
                <a:gd name="T72" fmla="*/ 130 w 321"/>
                <a:gd name="T73" fmla="*/ 335 h 446"/>
                <a:gd name="T74" fmla="*/ 109 w 321"/>
                <a:gd name="T75" fmla="*/ 368 h 446"/>
                <a:gd name="T76" fmla="*/ 97 w 321"/>
                <a:gd name="T77" fmla="*/ 335 h 446"/>
                <a:gd name="T78" fmla="*/ 92 w 321"/>
                <a:gd name="T79" fmla="*/ 373 h 446"/>
                <a:gd name="T80" fmla="*/ 76 w 321"/>
                <a:gd name="T81" fmla="*/ 368 h 446"/>
                <a:gd name="T82" fmla="*/ 76 w 321"/>
                <a:gd name="T83" fmla="*/ 347 h 446"/>
                <a:gd name="T84" fmla="*/ 168 w 321"/>
                <a:gd name="T85" fmla="*/ 246 h 446"/>
                <a:gd name="T86" fmla="*/ 177 w 321"/>
                <a:gd name="T87" fmla="*/ 257 h 446"/>
                <a:gd name="T88" fmla="*/ 177 w 321"/>
                <a:gd name="T89" fmla="*/ 274 h 446"/>
                <a:gd name="T90" fmla="*/ 182 w 321"/>
                <a:gd name="T91" fmla="*/ 279 h 446"/>
                <a:gd name="T92" fmla="*/ 182 w 321"/>
                <a:gd name="T93" fmla="*/ 286 h 446"/>
                <a:gd name="T94" fmla="*/ 177 w 321"/>
                <a:gd name="T95" fmla="*/ 302 h 446"/>
                <a:gd name="T96" fmla="*/ 182 w 321"/>
                <a:gd name="T97" fmla="*/ 352 h 446"/>
                <a:gd name="T98" fmla="*/ 182 w 321"/>
                <a:gd name="T99" fmla="*/ 295 h 446"/>
                <a:gd name="T100" fmla="*/ 199 w 321"/>
                <a:gd name="T101" fmla="*/ 347 h 446"/>
                <a:gd name="T102" fmla="*/ 182 w 321"/>
                <a:gd name="T103" fmla="*/ 357 h 446"/>
                <a:gd name="T104" fmla="*/ 236 w 321"/>
                <a:gd name="T105" fmla="*/ 302 h 446"/>
                <a:gd name="T106" fmla="*/ 248 w 321"/>
                <a:gd name="T107" fmla="*/ 328 h 446"/>
                <a:gd name="T108" fmla="*/ 215 w 321"/>
                <a:gd name="T109" fmla="*/ 312 h 446"/>
                <a:gd name="T110" fmla="*/ 215 w 321"/>
                <a:gd name="T111" fmla="*/ 352 h 446"/>
                <a:gd name="T112" fmla="*/ 177 w 321"/>
                <a:gd name="T113" fmla="*/ 352 h 446"/>
                <a:gd name="T114" fmla="*/ 177 w 321"/>
                <a:gd name="T115" fmla="*/ 352 h 446"/>
                <a:gd name="T116" fmla="*/ 168 w 321"/>
                <a:gd name="T117" fmla="*/ 352 h 446"/>
                <a:gd name="T118" fmla="*/ 168 w 321"/>
                <a:gd name="T119" fmla="*/ 357 h 446"/>
                <a:gd name="T120" fmla="*/ 269 w 321"/>
                <a:gd name="T121" fmla="*/ 373 h 446"/>
                <a:gd name="T122" fmla="*/ 269 w 321"/>
                <a:gd name="T123" fmla="*/ 39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1" h="446">
                  <a:moveTo>
                    <a:pt x="76" y="347"/>
                  </a:moveTo>
                  <a:lnTo>
                    <a:pt x="59" y="279"/>
                  </a:lnTo>
                  <a:lnTo>
                    <a:pt x="71" y="262"/>
                  </a:lnTo>
                  <a:lnTo>
                    <a:pt x="55" y="257"/>
                  </a:lnTo>
                  <a:lnTo>
                    <a:pt x="55" y="241"/>
                  </a:lnTo>
                  <a:lnTo>
                    <a:pt x="38" y="229"/>
                  </a:lnTo>
                  <a:lnTo>
                    <a:pt x="38" y="217"/>
                  </a:lnTo>
                  <a:lnTo>
                    <a:pt x="55" y="205"/>
                  </a:lnTo>
                  <a:lnTo>
                    <a:pt x="55" y="184"/>
                  </a:lnTo>
                  <a:lnTo>
                    <a:pt x="43" y="172"/>
                  </a:lnTo>
                  <a:lnTo>
                    <a:pt x="38" y="172"/>
                  </a:lnTo>
                  <a:lnTo>
                    <a:pt x="5" y="163"/>
                  </a:lnTo>
                  <a:lnTo>
                    <a:pt x="0" y="151"/>
                  </a:lnTo>
                  <a:lnTo>
                    <a:pt x="17" y="135"/>
                  </a:lnTo>
                  <a:lnTo>
                    <a:pt x="5" y="128"/>
                  </a:lnTo>
                  <a:lnTo>
                    <a:pt x="21" y="135"/>
                  </a:lnTo>
                  <a:lnTo>
                    <a:pt x="33" y="111"/>
                  </a:lnTo>
                  <a:lnTo>
                    <a:pt x="71" y="111"/>
                  </a:lnTo>
                  <a:lnTo>
                    <a:pt x="71" y="106"/>
                  </a:lnTo>
                  <a:lnTo>
                    <a:pt x="59" y="94"/>
                  </a:lnTo>
                  <a:lnTo>
                    <a:pt x="55" y="90"/>
                  </a:lnTo>
                  <a:lnTo>
                    <a:pt x="38" y="90"/>
                  </a:lnTo>
                  <a:lnTo>
                    <a:pt x="21" y="61"/>
                  </a:lnTo>
                  <a:lnTo>
                    <a:pt x="5" y="57"/>
                  </a:lnTo>
                  <a:lnTo>
                    <a:pt x="17" y="33"/>
                  </a:lnTo>
                  <a:lnTo>
                    <a:pt x="38" y="17"/>
                  </a:lnTo>
                  <a:lnTo>
                    <a:pt x="33" y="5"/>
                  </a:lnTo>
                  <a:lnTo>
                    <a:pt x="21" y="5"/>
                  </a:lnTo>
                  <a:lnTo>
                    <a:pt x="33" y="0"/>
                  </a:lnTo>
                  <a:lnTo>
                    <a:pt x="59" y="33"/>
                  </a:lnTo>
                  <a:lnTo>
                    <a:pt x="76" y="24"/>
                  </a:lnTo>
                  <a:lnTo>
                    <a:pt x="59" y="17"/>
                  </a:lnTo>
                  <a:lnTo>
                    <a:pt x="71" y="17"/>
                  </a:lnTo>
                  <a:lnTo>
                    <a:pt x="76" y="17"/>
                  </a:lnTo>
                  <a:lnTo>
                    <a:pt x="76" y="33"/>
                  </a:lnTo>
                  <a:lnTo>
                    <a:pt x="92" y="50"/>
                  </a:lnTo>
                  <a:lnTo>
                    <a:pt x="109" y="50"/>
                  </a:lnTo>
                  <a:lnTo>
                    <a:pt x="114" y="33"/>
                  </a:lnTo>
                  <a:lnTo>
                    <a:pt x="123" y="33"/>
                  </a:lnTo>
                  <a:lnTo>
                    <a:pt x="130" y="57"/>
                  </a:lnTo>
                  <a:lnTo>
                    <a:pt x="130" y="106"/>
                  </a:lnTo>
                  <a:lnTo>
                    <a:pt x="168" y="111"/>
                  </a:lnTo>
                  <a:lnTo>
                    <a:pt x="286" y="111"/>
                  </a:lnTo>
                  <a:lnTo>
                    <a:pt x="307" y="118"/>
                  </a:lnTo>
                  <a:lnTo>
                    <a:pt x="312" y="135"/>
                  </a:lnTo>
                  <a:lnTo>
                    <a:pt x="300" y="135"/>
                  </a:lnTo>
                  <a:lnTo>
                    <a:pt x="291" y="168"/>
                  </a:lnTo>
                  <a:lnTo>
                    <a:pt x="274" y="172"/>
                  </a:lnTo>
                  <a:lnTo>
                    <a:pt x="269" y="189"/>
                  </a:lnTo>
                  <a:lnTo>
                    <a:pt x="236" y="189"/>
                  </a:lnTo>
                  <a:lnTo>
                    <a:pt x="232" y="205"/>
                  </a:lnTo>
                  <a:lnTo>
                    <a:pt x="220" y="229"/>
                  </a:lnTo>
                  <a:lnTo>
                    <a:pt x="232" y="274"/>
                  </a:lnTo>
                  <a:lnTo>
                    <a:pt x="236" y="274"/>
                  </a:lnTo>
                  <a:lnTo>
                    <a:pt x="236" y="257"/>
                  </a:lnTo>
                  <a:lnTo>
                    <a:pt x="248" y="279"/>
                  </a:lnTo>
                  <a:lnTo>
                    <a:pt x="258" y="279"/>
                  </a:lnTo>
                  <a:lnTo>
                    <a:pt x="269" y="274"/>
                  </a:lnTo>
                  <a:lnTo>
                    <a:pt x="258" y="257"/>
                  </a:lnTo>
                  <a:lnTo>
                    <a:pt x="274" y="241"/>
                  </a:lnTo>
                  <a:lnTo>
                    <a:pt x="274" y="224"/>
                  </a:lnTo>
                  <a:lnTo>
                    <a:pt x="286" y="229"/>
                  </a:lnTo>
                  <a:lnTo>
                    <a:pt x="300" y="224"/>
                  </a:lnTo>
                  <a:lnTo>
                    <a:pt x="307" y="257"/>
                  </a:lnTo>
                  <a:lnTo>
                    <a:pt x="307" y="279"/>
                  </a:lnTo>
                  <a:lnTo>
                    <a:pt x="312" y="302"/>
                  </a:lnTo>
                  <a:lnTo>
                    <a:pt x="321" y="357"/>
                  </a:lnTo>
                  <a:lnTo>
                    <a:pt x="321" y="406"/>
                  </a:lnTo>
                  <a:lnTo>
                    <a:pt x="321" y="406"/>
                  </a:lnTo>
                  <a:lnTo>
                    <a:pt x="307" y="390"/>
                  </a:lnTo>
                  <a:lnTo>
                    <a:pt x="300" y="402"/>
                  </a:lnTo>
                  <a:lnTo>
                    <a:pt x="291" y="406"/>
                  </a:lnTo>
                  <a:lnTo>
                    <a:pt x="300" y="425"/>
                  </a:lnTo>
                  <a:lnTo>
                    <a:pt x="300" y="446"/>
                  </a:lnTo>
                  <a:lnTo>
                    <a:pt x="286" y="413"/>
                  </a:lnTo>
                  <a:lnTo>
                    <a:pt x="274" y="402"/>
                  </a:lnTo>
                  <a:lnTo>
                    <a:pt x="286" y="385"/>
                  </a:lnTo>
                  <a:lnTo>
                    <a:pt x="269" y="373"/>
                  </a:lnTo>
                  <a:lnTo>
                    <a:pt x="258" y="319"/>
                  </a:lnTo>
                  <a:lnTo>
                    <a:pt x="236" y="295"/>
                  </a:lnTo>
                  <a:lnTo>
                    <a:pt x="220" y="312"/>
                  </a:lnTo>
                  <a:lnTo>
                    <a:pt x="203" y="312"/>
                  </a:lnTo>
                  <a:lnTo>
                    <a:pt x="199" y="302"/>
                  </a:lnTo>
                  <a:lnTo>
                    <a:pt x="182" y="274"/>
                  </a:lnTo>
                  <a:lnTo>
                    <a:pt x="182" y="241"/>
                  </a:lnTo>
                  <a:lnTo>
                    <a:pt x="194" y="241"/>
                  </a:lnTo>
                  <a:lnTo>
                    <a:pt x="182" y="241"/>
                  </a:lnTo>
                  <a:lnTo>
                    <a:pt x="182" y="229"/>
                  </a:lnTo>
                  <a:lnTo>
                    <a:pt x="177" y="229"/>
                  </a:lnTo>
                  <a:lnTo>
                    <a:pt x="177" y="241"/>
                  </a:lnTo>
                  <a:lnTo>
                    <a:pt x="177" y="246"/>
                  </a:lnTo>
                  <a:lnTo>
                    <a:pt x="161" y="246"/>
                  </a:lnTo>
                  <a:lnTo>
                    <a:pt x="182" y="262"/>
                  </a:lnTo>
                  <a:lnTo>
                    <a:pt x="177" y="274"/>
                  </a:lnTo>
                  <a:lnTo>
                    <a:pt x="168" y="274"/>
                  </a:lnTo>
                  <a:lnTo>
                    <a:pt x="168" y="295"/>
                  </a:lnTo>
                  <a:lnTo>
                    <a:pt x="177" y="312"/>
                  </a:lnTo>
                  <a:lnTo>
                    <a:pt x="182" y="328"/>
                  </a:lnTo>
                  <a:lnTo>
                    <a:pt x="168" y="352"/>
                  </a:lnTo>
                  <a:lnTo>
                    <a:pt x="168" y="335"/>
                  </a:lnTo>
                  <a:lnTo>
                    <a:pt x="161" y="368"/>
                  </a:lnTo>
                  <a:lnTo>
                    <a:pt x="151" y="368"/>
                  </a:lnTo>
                  <a:lnTo>
                    <a:pt x="140" y="368"/>
                  </a:lnTo>
                  <a:lnTo>
                    <a:pt x="151" y="347"/>
                  </a:lnTo>
                  <a:lnTo>
                    <a:pt x="144" y="357"/>
                  </a:lnTo>
                  <a:lnTo>
                    <a:pt x="140" y="352"/>
                  </a:lnTo>
                  <a:lnTo>
                    <a:pt x="144" y="347"/>
                  </a:lnTo>
                  <a:lnTo>
                    <a:pt x="140" y="352"/>
                  </a:lnTo>
                  <a:lnTo>
                    <a:pt x="130" y="335"/>
                  </a:lnTo>
                  <a:lnTo>
                    <a:pt x="140" y="319"/>
                  </a:lnTo>
                  <a:lnTo>
                    <a:pt x="130" y="335"/>
                  </a:lnTo>
                  <a:lnTo>
                    <a:pt x="130" y="357"/>
                  </a:lnTo>
                  <a:lnTo>
                    <a:pt x="109" y="373"/>
                  </a:lnTo>
                  <a:lnTo>
                    <a:pt x="109" y="368"/>
                  </a:lnTo>
                  <a:lnTo>
                    <a:pt x="114" y="328"/>
                  </a:lnTo>
                  <a:lnTo>
                    <a:pt x="109" y="357"/>
                  </a:lnTo>
                  <a:lnTo>
                    <a:pt x="97" y="335"/>
                  </a:lnTo>
                  <a:lnTo>
                    <a:pt x="109" y="357"/>
                  </a:lnTo>
                  <a:lnTo>
                    <a:pt x="97" y="373"/>
                  </a:lnTo>
                  <a:lnTo>
                    <a:pt x="92" y="373"/>
                  </a:lnTo>
                  <a:lnTo>
                    <a:pt x="92" y="357"/>
                  </a:lnTo>
                  <a:lnTo>
                    <a:pt x="88" y="385"/>
                  </a:lnTo>
                  <a:lnTo>
                    <a:pt x="76" y="368"/>
                  </a:lnTo>
                  <a:lnTo>
                    <a:pt x="76" y="347"/>
                  </a:lnTo>
                  <a:lnTo>
                    <a:pt x="76" y="347"/>
                  </a:lnTo>
                  <a:lnTo>
                    <a:pt x="76" y="347"/>
                  </a:lnTo>
                  <a:close/>
                  <a:moveTo>
                    <a:pt x="177" y="257"/>
                  </a:moveTo>
                  <a:lnTo>
                    <a:pt x="182" y="257"/>
                  </a:lnTo>
                  <a:lnTo>
                    <a:pt x="168" y="246"/>
                  </a:lnTo>
                  <a:lnTo>
                    <a:pt x="177" y="257"/>
                  </a:lnTo>
                  <a:lnTo>
                    <a:pt x="177" y="257"/>
                  </a:lnTo>
                  <a:lnTo>
                    <a:pt x="177" y="257"/>
                  </a:lnTo>
                  <a:close/>
                  <a:moveTo>
                    <a:pt x="182" y="279"/>
                  </a:moveTo>
                  <a:lnTo>
                    <a:pt x="177" y="279"/>
                  </a:lnTo>
                  <a:lnTo>
                    <a:pt x="177" y="274"/>
                  </a:lnTo>
                  <a:lnTo>
                    <a:pt x="182" y="279"/>
                  </a:lnTo>
                  <a:lnTo>
                    <a:pt x="182" y="279"/>
                  </a:lnTo>
                  <a:lnTo>
                    <a:pt x="182" y="279"/>
                  </a:lnTo>
                  <a:close/>
                  <a:moveTo>
                    <a:pt x="177" y="302"/>
                  </a:moveTo>
                  <a:lnTo>
                    <a:pt x="168" y="286"/>
                  </a:lnTo>
                  <a:lnTo>
                    <a:pt x="182" y="286"/>
                  </a:lnTo>
                  <a:lnTo>
                    <a:pt x="177" y="295"/>
                  </a:lnTo>
                  <a:lnTo>
                    <a:pt x="177" y="302"/>
                  </a:lnTo>
                  <a:lnTo>
                    <a:pt x="177" y="302"/>
                  </a:lnTo>
                  <a:lnTo>
                    <a:pt x="177" y="302"/>
                  </a:lnTo>
                  <a:close/>
                  <a:moveTo>
                    <a:pt x="182" y="357"/>
                  </a:moveTo>
                  <a:lnTo>
                    <a:pt x="182" y="352"/>
                  </a:lnTo>
                  <a:lnTo>
                    <a:pt x="182" y="319"/>
                  </a:lnTo>
                  <a:lnTo>
                    <a:pt x="177" y="302"/>
                  </a:lnTo>
                  <a:lnTo>
                    <a:pt x="182" y="295"/>
                  </a:lnTo>
                  <a:lnTo>
                    <a:pt x="182" y="295"/>
                  </a:lnTo>
                  <a:lnTo>
                    <a:pt x="199" y="319"/>
                  </a:lnTo>
                  <a:lnTo>
                    <a:pt x="199" y="347"/>
                  </a:lnTo>
                  <a:lnTo>
                    <a:pt x="182" y="357"/>
                  </a:lnTo>
                  <a:lnTo>
                    <a:pt x="182" y="357"/>
                  </a:lnTo>
                  <a:lnTo>
                    <a:pt x="182" y="357"/>
                  </a:lnTo>
                  <a:close/>
                  <a:moveTo>
                    <a:pt x="248" y="328"/>
                  </a:moveTo>
                  <a:lnTo>
                    <a:pt x="236" y="319"/>
                  </a:lnTo>
                  <a:lnTo>
                    <a:pt x="236" y="302"/>
                  </a:lnTo>
                  <a:lnTo>
                    <a:pt x="248" y="319"/>
                  </a:lnTo>
                  <a:lnTo>
                    <a:pt x="248" y="328"/>
                  </a:lnTo>
                  <a:lnTo>
                    <a:pt x="248" y="328"/>
                  </a:lnTo>
                  <a:lnTo>
                    <a:pt x="248" y="328"/>
                  </a:lnTo>
                  <a:close/>
                  <a:moveTo>
                    <a:pt x="215" y="352"/>
                  </a:moveTo>
                  <a:lnTo>
                    <a:pt x="215" y="312"/>
                  </a:lnTo>
                  <a:lnTo>
                    <a:pt x="220" y="335"/>
                  </a:lnTo>
                  <a:lnTo>
                    <a:pt x="215" y="352"/>
                  </a:lnTo>
                  <a:lnTo>
                    <a:pt x="215" y="352"/>
                  </a:lnTo>
                  <a:lnTo>
                    <a:pt x="215" y="352"/>
                  </a:lnTo>
                  <a:close/>
                  <a:moveTo>
                    <a:pt x="177" y="352"/>
                  </a:moveTo>
                  <a:lnTo>
                    <a:pt x="177" y="352"/>
                  </a:lnTo>
                  <a:lnTo>
                    <a:pt x="182" y="347"/>
                  </a:lnTo>
                  <a:lnTo>
                    <a:pt x="177" y="352"/>
                  </a:lnTo>
                  <a:lnTo>
                    <a:pt x="177" y="352"/>
                  </a:lnTo>
                  <a:lnTo>
                    <a:pt x="177" y="352"/>
                  </a:lnTo>
                  <a:close/>
                  <a:moveTo>
                    <a:pt x="168" y="357"/>
                  </a:moveTo>
                  <a:lnTo>
                    <a:pt x="168" y="352"/>
                  </a:lnTo>
                  <a:lnTo>
                    <a:pt x="177" y="357"/>
                  </a:lnTo>
                  <a:lnTo>
                    <a:pt x="168" y="357"/>
                  </a:lnTo>
                  <a:lnTo>
                    <a:pt x="168" y="357"/>
                  </a:lnTo>
                  <a:lnTo>
                    <a:pt x="168" y="357"/>
                  </a:lnTo>
                  <a:close/>
                  <a:moveTo>
                    <a:pt x="269" y="390"/>
                  </a:moveTo>
                  <a:lnTo>
                    <a:pt x="269" y="373"/>
                  </a:lnTo>
                  <a:lnTo>
                    <a:pt x="274" y="385"/>
                  </a:lnTo>
                  <a:lnTo>
                    <a:pt x="269" y="390"/>
                  </a:lnTo>
                  <a:lnTo>
                    <a:pt x="269" y="390"/>
                  </a:lnTo>
                  <a:lnTo>
                    <a:pt x="269" y="39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7" name="Freeform 396">
              <a:extLst>
                <a:ext uri="{FF2B5EF4-FFF2-40B4-BE49-F238E27FC236}">
                  <a16:creationId xmlns:a16="http://schemas.microsoft.com/office/drawing/2014/main" id="{D3F9BEBF-77BC-4135-BDEA-AC794617D2B2}"/>
                </a:ext>
              </a:extLst>
            </p:cNvPr>
            <p:cNvSpPr>
              <a:spLocks noEditPoints="1"/>
            </p:cNvSpPr>
            <p:nvPr/>
          </p:nvSpPr>
          <p:spPr bwMode="gray">
            <a:xfrm>
              <a:off x="11695616" y="3675501"/>
              <a:ext cx="31093" cy="60877"/>
            </a:xfrm>
            <a:custGeom>
              <a:avLst/>
              <a:gdLst>
                <a:gd name="T0" fmla="*/ 24 w 95"/>
                <a:gd name="T1" fmla="*/ 186 h 186"/>
                <a:gd name="T2" fmla="*/ 0 w 95"/>
                <a:gd name="T3" fmla="*/ 186 h 186"/>
                <a:gd name="T4" fmla="*/ 7 w 95"/>
                <a:gd name="T5" fmla="*/ 42 h 186"/>
                <a:gd name="T6" fmla="*/ 7 w 95"/>
                <a:gd name="T7" fmla="*/ 37 h 186"/>
                <a:gd name="T8" fmla="*/ 17 w 95"/>
                <a:gd name="T9" fmla="*/ 26 h 186"/>
                <a:gd name="T10" fmla="*/ 24 w 95"/>
                <a:gd name="T11" fmla="*/ 37 h 186"/>
                <a:gd name="T12" fmla="*/ 57 w 95"/>
                <a:gd name="T13" fmla="*/ 0 h 186"/>
                <a:gd name="T14" fmla="*/ 62 w 95"/>
                <a:gd name="T15" fmla="*/ 0 h 186"/>
                <a:gd name="T16" fmla="*/ 62 w 95"/>
                <a:gd name="T17" fmla="*/ 4 h 186"/>
                <a:gd name="T18" fmla="*/ 78 w 95"/>
                <a:gd name="T19" fmla="*/ 4 h 186"/>
                <a:gd name="T20" fmla="*/ 78 w 95"/>
                <a:gd name="T21" fmla="*/ 9 h 186"/>
                <a:gd name="T22" fmla="*/ 62 w 95"/>
                <a:gd name="T23" fmla="*/ 59 h 186"/>
                <a:gd name="T24" fmla="*/ 62 w 95"/>
                <a:gd name="T25" fmla="*/ 92 h 186"/>
                <a:gd name="T26" fmla="*/ 73 w 95"/>
                <a:gd name="T27" fmla="*/ 111 h 186"/>
                <a:gd name="T28" fmla="*/ 62 w 95"/>
                <a:gd name="T29" fmla="*/ 137 h 186"/>
                <a:gd name="T30" fmla="*/ 62 w 95"/>
                <a:gd name="T31" fmla="*/ 132 h 186"/>
                <a:gd name="T32" fmla="*/ 45 w 95"/>
                <a:gd name="T33" fmla="*/ 153 h 186"/>
                <a:gd name="T34" fmla="*/ 33 w 95"/>
                <a:gd name="T35" fmla="*/ 165 h 186"/>
                <a:gd name="T36" fmla="*/ 24 w 95"/>
                <a:gd name="T37" fmla="*/ 177 h 186"/>
                <a:gd name="T38" fmla="*/ 24 w 95"/>
                <a:gd name="T39" fmla="*/ 186 h 186"/>
                <a:gd name="T40" fmla="*/ 24 w 95"/>
                <a:gd name="T41" fmla="*/ 186 h 186"/>
                <a:gd name="T42" fmla="*/ 24 w 95"/>
                <a:gd name="T43" fmla="*/ 186 h 186"/>
                <a:gd name="T44" fmla="*/ 95 w 95"/>
                <a:gd name="T45" fmla="*/ 26 h 186"/>
                <a:gd name="T46" fmla="*/ 90 w 95"/>
                <a:gd name="T47" fmla="*/ 37 h 186"/>
                <a:gd name="T48" fmla="*/ 95 w 95"/>
                <a:gd name="T49" fmla="*/ 21 h 186"/>
                <a:gd name="T50" fmla="*/ 95 w 95"/>
                <a:gd name="T51" fmla="*/ 26 h 186"/>
                <a:gd name="T52" fmla="*/ 95 w 95"/>
                <a:gd name="T53" fmla="*/ 26 h 186"/>
                <a:gd name="T54" fmla="*/ 95 w 95"/>
                <a:gd name="T55" fmla="*/ 2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5" h="186">
                  <a:moveTo>
                    <a:pt x="24" y="186"/>
                  </a:moveTo>
                  <a:lnTo>
                    <a:pt x="0" y="186"/>
                  </a:lnTo>
                  <a:lnTo>
                    <a:pt x="7" y="42"/>
                  </a:lnTo>
                  <a:lnTo>
                    <a:pt x="7" y="37"/>
                  </a:lnTo>
                  <a:lnTo>
                    <a:pt x="17" y="26"/>
                  </a:lnTo>
                  <a:lnTo>
                    <a:pt x="24" y="37"/>
                  </a:lnTo>
                  <a:lnTo>
                    <a:pt x="57" y="0"/>
                  </a:lnTo>
                  <a:lnTo>
                    <a:pt x="62" y="0"/>
                  </a:lnTo>
                  <a:lnTo>
                    <a:pt x="62" y="4"/>
                  </a:lnTo>
                  <a:lnTo>
                    <a:pt x="78" y="4"/>
                  </a:lnTo>
                  <a:lnTo>
                    <a:pt x="78" y="9"/>
                  </a:lnTo>
                  <a:lnTo>
                    <a:pt x="62" y="59"/>
                  </a:lnTo>
                  <a:lnTo>
                    <a:pt x="62" y="92"/>
                  </a:lnTo>
                  <a:lnTo>
                    <a:pt x="73" y="111"/>
                  </a:lnTo>
                  <a:lnTo>
                    <a:pt x="62" y="137"/>
                  </a:lnTo>
                  <a:lnTo>
                    <a:pt x="62" y="132"/>
                  </a:lnTo>
                  <a:lnTo>
                    <a:pt x="45" y="153"/>
                  </a:lnTo>
                  <a:lnTo>
                    <a:pt x="33" y="165"/>
                  </a:lnTo>
                  <a:lnTo>
                    <a:pt x="24" y="177"/>
                  </a:lnTo>
                  <a:lnTo>
                    <a:pt x="24" y="186"/>
                  </a:lnTo>
                  <a:lnTo>
                    <a:pt x="24" y="186"/>
                  </a:lnTo>
                  <a:lnTo>
                    <a:pt x="24" y="186"/>
                  </a:lnTo>
                  <a:close/>
                  <a:moveTo>
                    <a:pt x="95" y="26"/>
                  </a:moveTo>
                  <a:lnTo>
                    <a:pt x="90" y="37"/>
                  </a:lnTo>
                  <a:lnTo>
                    <a:pt x="95" y="21"/>
                  </a:lnTo>
                  <a:lnTo>
                    <a:pt x="95" y="26"/>
                  </a:lnTo>
                  <a:lnTo>
                    <a:pt x="95" y="26"/>
                  </a:lnTo>
                  <a:lnTo>
                    <a:pt x="95" y="26"/>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8" name="Freeform 397">
              <a:extLst>
                <a:ext uri="{FF2B5EF4-FFF2-40B4-BE49-F238E27FC236}">
                  <a16:creationId xmlns:a16="http://schemas.microsoft.com/office/drawing/2014/main" id="{2F347303-F980-4A67-8553-FE5218A246A9}"/>
                </a:ext>
              </a:extLst>
            </p:cNvPr>
            <p:cNvSpPr>
              <a:spLocks/>
            </p:cNvSpPr>
            <p:nvPr/>
          </p:nvSpPr>
          <p:spPr bwMode="gray">
            <a:xfrm>
              <a:off x="14104846" y="2970177"/>
              <a:ext cx="88043" cy="76587"/>
            </a:xfrm>
            <a:custGeom>
              <a:avLst/>
              <a:gdLst>
                <a:gd name="T0" fmla="*/ 130 w 269"/>
                <a:gd name="T1" fmla="*/ 192 h 234"/>
                <a:gd name="T2" fmla="*/ 139 w 269"/>
                <a:gd name="T3" fmla="*/ 192 h 234"/>
                <a:gd name="T4" fmla="*/ 130 w 269"/>
                <a:gd name="T5" fmla="*/ 187 h 234"/>
                <a:gd name="T6" fmla="*/ 108 w 269"/>
                <a:gd name="T7" fmla="*/ 170 h 234"/>
                <a:gd name="T8" fmla="*/ 108 w 269"/>
                <a:gd name="T9" fmla="*/ 154 h 234"/>
                <a:gd name="T10" fmla="*/ 87 w 269"/>
                <a:gd name="T11" fmla="*/ 137 h 234"/>
                <a:gd name="T12" fmla="*/ 54 w 269"/>
                <a:gd name="T13" fmla="*/ 109 h 234"/>
                <a:gd name="T14" fmla="*/ 33 w 269"/>
                <a:gd name="T15" fmla="*/ 92 h 234"/>
                <a:gd name="T16" fmla="*/ 33 w 269"/>
                <a:gd name="T17" fmla="*/ 76 h 234"/>
                <a:gd name="T18" fmla="*/ 33 w 269"/>
                <a:gd name="T19" fmla="*/ 59 h 234"/>
                <a:gd name="T20" fmla="*/ 0 w 269"/>
                <a:gd name="T21" fmla="*/ 38 h 234"/>
                <a:gd name="T22" fmla="*/ 4 w 269"/>
                <a:gd name="T23" fmla="*/ 5 h 234"/>
                <a:gd name="T24" fmla="*/ 21 w 269"/>
                <a:gd name="T25" fmla="*/ 0 h 234"/>
                <a:gd name="T26" fmla="*/ 37 w 269"/>
                <a:gd name="T27" fmla="*/ 22 h 234"/>
                <a:gd name="T28" fmla="*/ 54 w 269"/>
                <a:gd name="T29" fmla="*/ 0 h 234"/>
                <a:gd name="T30" fmla="*/ 75 w 269"/>
                <a:gd name="T31" fmla="*/ 0 h 234"/>
                <a:gd name="T32" fmla="*/ 87 w 269"/>
                <a:gd name="T33" fmla="*/ 0 h 234"/>
                <a:gd name="T34" fmla="*/ 101 w 269"/>
                <a:gd name="T35" fmla="*/ 5 h 234"/>
                <a:gd name="T36" fmla="*/ 146 w 269"/>
                <a:gd name="T37" fmla="*/ 17 h 234"/>
                <a:gd name="T38" fmla="*/ 177 w 269"/>
                <a:gd name="T39" fmla="*/ 5 h 234"/>
                <a:gd name="T40" fmla="*/ 200 w 269"/>
                <a:gd name="T41" fmla="*/ 17 h 234"/>
                <a:gd name="T42" fmla="*/ 215 w 269"/>
                <a:gd name="T43" fmla="*/ 22 h 234"/>
                <a:gd name="T44" fmla="*/ 215 w 269"/>
                <a:gd name="T45" fmla="*/ 26 h 234"/>
                <a:gd name="T46" fmla="*/ 231 w 269"/>
                <a:gd name="T47" fmla="*/ 26 h 234"/>
                <a:gd name="T48" fmla="*/ 252 w 269"/>
                <a:gd name="T49" fmla="*/ 26 h 234"/>
                <a:gd name="T50" fmla="*/ 238 w 269"/>
                <a:gd name="T51" fmla="*/ 76 h 234"/>
                <a:gd name="T52" fmla="*/ 269 w 269"/>
                <a:gd name="T53" fmla="*/ 97 h 234"/>
                <a:gd name="T54" fmla="*/ 264 w 269"/>
                <a:gd name="T55" fmla="*/ 109 h 234"/>
                <a:gd name="T56" fmla="*/ 248 w 269"/>
                <a:gd name="T57" fmla="*/ 109 h 234"/>
                <a:gd name="T58" fmla="*/ 264 w 269"/>
                <a:gd name="T59" fmla="*/ 130 h 234"/>
                <a:gd name="T60" fmla="*/ 264 w 269"/>
                <a:gd name="T61" fmla="*/ 147 h 234"/>
                <a:gd name="T62" fmla="*/ 248 w 269"/>
                <a:gd name="T63" fmla="*/ 147 h 234"/>
                <a:gd name="T64" fmla="*/ 222 w 269"/>
                <a:gd name="T65" fmla="*/ 147 h 234"/>
                <a:gd name="T66" fmla="*/ 238 w 269"/>
                <a:gd name="T67" fmla="*/ 163 h 234"/>
                <a:gd name="T68" fmla="*/ 231 w 269"/>
                <a:gd name="T69" fmla="*/ 170 h 234"/>
                <a:gd name="T70" fmla="*/ 222 w 269"/>
                <a:gd name="T71" fmla="*/ 163 h 234"/>
                <a:gd name="T72" fmla="*/ 210 w 269"/>
                <a:gd name="T73" fmla="*/ 170 h 234"/>
                <a:gd name="T74" fmla="*/ 210 w 269"/>
                <a:gd name="T75" fmla="*/ 187 h 234"/>
                <a:gd name="T76" fmla="*/ 193 w 269"/>
                <a:gd name="T77" fmla="*/ 192 h 234"/>
                <a:gd name="T78" fmla="*/ 193 w 269"/>
                <a:gd name="T79" fmla="*/ 208 h 234"/>
                <a:gd name="T80" fmla="*/ 200 w 269"/>
                <a:gd name="T81" fmla="*/ 225 h 234"/>
                <a:gd name="T82" fmla="*/ 193 w 269"/>
                <a:gd name="T83" fmla="*/ 234 h 234"/>
                <a:gd name="T84" fmla="*/ 146 w 269"/>
                <a:gd name="T85" fmla="*/ 203 h 234"/>
                <a:gd name="T86" fmla="*/ 130 w 269"/>
                <a:gd name="T87" fmla="*/ 203 h 234"/>
                <a:gd name="T88" fmla="*/ 130 w 269"/>
                <a:gd name="T89" fmla="*/ 192 h 234"/>
                <a:gd name="T90" fmla="*/ 130 w 269"/>
                <a:gd name="T91" fmla="*/ 192 h 234"/>
                <a:gd name="T92" fmla="*/ 130 w 269"/>
                <a:gd name="T93" fmla="*/ 19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 h="234">
                  <a:moveTo>
                    <a:pt x="130" y="192"/>
                  </a:moveTo>
                  <a:lnTo>
                    <a:pt x="139" y="192"/>
                  </a:lnTo>
                  <a:lnTo>
                    <a:pt x="130" y="187"/>
                  </a:lnTo>
                  <a:lnTo>
                    <a:pt x="108" y="170"/>
                  </a:lnTo>
                  <a:lnTo>
                    <a:pt x="108" y="154"/>
                  </a:lnTo>
                  <a:lnTo>
                    <a:pt x="87" y="137"/>
                  </a:lnTo>
                  <a:lnTo>
                    <a:pt x="54" y="109"/>
                  </a:lnTo>
                  <a:lnTo>
                    <a:pt x="33" y="92"/>
                  </a:lnTo>
                  <a:lnTo>
                    <a:pt x="33" y="76"/>
                  </a:lnTo>
                  <a:lnTo>
                    <a:pt x="33" y="59"/>
                  </a:lnTo>
                  <a:lnTo>
                    <a:pt x="0" y="38"/>
                  </a:lnTo>
                  <a:lnTo>
                    <a:pt x="4" y="5"/>
                  </a:lnTo>
                  <a:lnTo>
                    <a:pt x="21" y="0"/>
                  </a:lnTo>
                  <a:lnTo>
                    <a:pt x="37" y="22"/>
                  </a:lnTo>
                  <a:lnTo>
                    <a:pt x="54" y="0"/>
                  </a:lnTo>
                  <a:lnTo>
                    <a:pt x="75" y="0"/>
                  </a:lnTo>
                  <a:lnTo>
                    <a:pt x="87" y="0"/>
                  </a:lnTo>
                  <a:lnTo>
                    <a:pt x="101" y="5"/>
                  </a:lnTo>
                  <a:lnTo>
                    <a:pt x="146" y="17"/>
                  </a:lnTo>
                  <a:lnTo>
                    <a:pt x="177" y="5"/>
                  </a:lnTo>
                  <a:lnTo>
                    <a:pt x="200" y="17"/>
                  </a:lnTo>
                  <a:lnTo>
                    <a:pt x="215" y="22"/>
                  </a:lnTo>
                  <a:lnTo>
                    <a:pt x="215" y="26"/>
                  </a:lnTo>
                  <a:lnTo>
                    <a:pt x="231" y="26"/>
                  </a:lnTo>
                  <a:lnTo>
                    <a:pt x="252" y="26"/>
                  </a:lnTo>
                  <a:lnTo>
                    <a:pt x="238" y="76"/>
                  </a:lnTo>
                  <a:lnTo>
                    <a:pt x="269" y="97"/>
                  </a:lnTo>
                  <a:lnTo>
                    <a:pt x="264" y="109"/>
                  </a:lnTo>
                  <a:lnTo>
                    <a:pt x="248" y="109"/>
                  </a:lnTo>
                  <a:lnTo>
                    <a:pt x="264" y="130"/>
                  </a:lnTo>
                  <a:lnTo>
                    <a:pt x="264" y="147"/>
                  </a:lnTo>
                  <a:lnTo>
                    <a:pt x="248" y="147"/>
                  </a:lnTo>
                  <a:lnTo>
                    <a:pt x="222" y="147"/>
                  </a:lnTo>
                  <a:lnTo>
                    <a:pt x="238" y="163"/>
                  </a:lnTo>
                  <a:lnTo>
                    <a:pt x="231" y="170"/>
                  </a:lnTo>
                  <a:lnTo>
                    <a:pt x="222" y="163"/>
                  </a:lnTo>
                  <a:lnTo>
                    <a:pt x="210" y="170"/>
                  </a:lnTo>
                  <a:lnTo>
                    <a:pt x="210" y="187"/>
                  </a:lnTo>
                  <a:lnTo>
                    <a:pt x="193" y="192"/>
                  </a:lnTo>
                  <a:lnTo>
                    <a:pt x="193" y="208"/>
                  </a:lnTo>
                  <a:lnTo>
                    <a:pt x="200" y="225"/>
                  </a:lnTo>
                  <a:lnTo>
                    <a:pt x="193" y="234"/>
                  </a:lnTo>
                  <a:lnTo>
                    <a:pt x="146" y="203"/>
                  </a:lnTo>
                  <a:lnTo>
                    <a:pt x="130" y="203"/>
                  </a:lnTo>
                  <a:lnTo>
                    <a:pt x="130" y="192"/>
                  </a:lnTo>
                  <a:lnTo>
                    <a:pt x="130" y="192"/>
                  </a:lnTo>
                  <a:lnTo>
                    <a:pt x="130" y="192"/>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9" name="Freeform 398">
              <a:extLst>
                <a:ext uri="{FF2B5EF4-FFF2-40B4-BE49-F238E27FC236}">
                  <a16:creationId xmlns:a16="http://schemas.microsoft.com/office/drawing/2014/main" id="{403BFCE2-DFE1-403C-B881-709F173232D4}"/>
                </a:ext>
              </a:extLst>
            </p:cNvPr>
            <p:cNvSpPr>
              <a:spLocks/>
            </p:cNvSpPr>
            <p:nvPr/>
          </p:nvSpPr>
          <p:spPr bwMode="gray">
            <a:xfrm>
              <a:off x="12145649" y="4343186"/>
              <a:ext cx="277548" cy="319442"/>
            </a:xfrm>
            <a:custGeom>
              <a:avLst/>
              <a:gdLst>
                <a:gd name="T0" fmla="*/ 482 w 848"/>
                <a:gd name="T1" fmla="*/ 915 h 976"/>
                <a:gd name="T2" fmla="*/ 378 w 848"/>
                <a:gd name="T3" fmla="*/ 952 h 976"/>
                <a:gd name="T4" fmla="*/ 357 w 848"/>
                <a:gd name="T5" fmla="*/ 931 h 976"/>
                <a:gd name="T6" fmla="*/ 269 w 848"/>
                <a:gd name="T7" fmla="*/ 919 h 976"/>
                <a:gd name="T8" fmla="*/ 231 w 848"/>
                <a:gd name="T9" fmla="*/ 919 h 976"/>
                <a:gd name="T10" fmla="*/ 198 w 848"/>
                <a:gd name="T11" fmla="*/ 943 h 976"/>
                <a:gd name="T12" fmla="*/ 189 w 848"/>
                <a:gd name="T13" fmla="*/ 959 h 976"/>
                <a:gd name="T14" fmla="*/ 144 w 848"/>
                <a:gd name="T15" fmla="*/ 976 h 976"/>
                <a:gd name="T16" fmla="*/ 123 w 848"/>
                <a:gd name="T17" fmla="*/ 952 h 976"/>
                <a:gd name="T18" fmla="*/ 106 w 848"/>
                <a:gd name="T19" fmla="*/ 915 h 976"/>
                <a:gd name="T20" fmla="*/ 101 w 848"/>
                <a:gd name="T21" fmla="*/ 858 h 976"/>
                <a:gd name="T22" fmla="*/ 75 w 848"/>
                <a:gd name="T23" fmla="*/ 825 h 976"/>
                <a:gd name="T24" fmla="*/ 85 w 848"/>
                <a:gd name="T25" fmla="*/ 808 h 976"/>
                <a:gd name="T26" fmla="*/ 64 w 848"/>
                <a:gd name="T27" fmla="*/ 787 h 976"/>
                <a:gd name="T28" fmla="*/ 75 w 848"/>
                <a:gd name="T29" fmla="*/ 759 h 976"/>
                <a:gd name="T30" fmla="*/ 64 w 848"/>
                <a:gd name="T31" fmla="*/ 737 h 976"/>
                <a:gd name="T32" fmla="*/ 47 w 848"/>
                <a:gd name="T33" fmla="*/ 681 h 976"/>
                <a:gd name="T34" fmla="*/ 38 w 848"/>
                <a:gd name="T35" fmla="*/ 610 h 976"/>
                <a:gd name="T36" fmla="*/ 9 w 848"/>
                <a:gd name="T37" fmla="*/ 572 h 976"/>
                <a:gd name="T38" fmla="*/ 0 w 848"/>
                <a:gd name="T39" fmla="*/ 556 h 976"/>
                <a:gd name="T40" fmla="*/ 47 w 848"/>
                <a:gd name="T41" fmla="*/ 511 h 976"/>
                <a:gd name="T42" fmla="*/ 54 w 848"/>
                <a:gd name="T43" fmla="*/ 482 h 976"/>
                <a:gd name="T44" fmla="*/ 31 w 848"/>
                <a:gd name="T45" fmla="*/ 478 h 976"/>
                <a:gd name="T46" fmla="*/ 21 w 848"/>
                <a:gd name="T47" fmla="*/ 416 h 976"/>
                <a:gd name="T48" fmla="*/ 16 w 848"/>
                <a:gd name="T49" fmla="*/ 388 h 976"/>
                <a:gd name="T50" fmla="*/ 47 w 848"/>
                <a:gd name="T51" fmla="*/ 345 h 976"/>
                <a:gd name="T52" fmla="*/ 54 w 848"/>
                <a:gd name="T53" fmla="*/ 334 h 976"/>
                <a:gd name="T54" fmla="*/ 47 w 848"/>
                <a:gd name="T55" fmla="*/ 277 h 976"/>
                <a:gd name="T56" fmla="*/ 68 w 848"/>
                <a:gd name="T57" fmla="*/ 206 h 976"/>
                <a:gd name="T58" fmla="*/ 54 w 848"/>
                <a:gd name="T59" fmla="*/ 95 h 976"/>
                <a:gd name="T60" fmla="*/ 68 w 848"/>
                <a:gd name="T61" fmla="*/ 107 h 976"/>
                <a:gd name="T62" fmla="*/ 106 w 848"/>
                <a:gd name="T63" fmla="*/ 74 h 976"/>
                <a:gd name="T64" fmla="*/ 144 w 848"/>
                <a:gd name="T65" fmla="*/ 57 h 976"/>
                <a:gd name="T66" fmla="*/ 177 w 848"/>
                <a:gd name="T67" fmla="*/ 41 h 976"/>
                <a:gd name="T68" fmla="*/ 248 w 848"/>
                <a:gd name="T69" fmla="*/ 12 h 976"/>
                <a:gd name="T70" fmla="*/ 302 w 848"/>
                <a:gd name="T71" fmla="*/ 0 h 976"/>
                <a:gd name="T72" fmla="*/ 298 w 848"/>
                <a:gd name="T73" fmla="*/ 57 h 976"/>
                <a:gd name="T74" fmla="*/ 302 w 848"/>
                <a:gd name="T75" fmla="*/ 111 h 976"/>
                <a:gd name="T76" fmla="*/ 319 w 848"/>
                <a:gd name="T77" fmla="*/ 145 h 976"/>
                <a:gd name="T78" fmla="*/ 323 w 848"/>
                <a:gd name="T79" fmla="*/ 152 h 976"/>
                <a:gd name="T80" fmla="*/ 340 w 848"/>
                <a:gd name="T81" fmla="*/ 168 h 976"/>
                <a:gd name="T82" fmla="*/ 361 w 848"/>
                <a:gd name="T83" fmla="*/ 185 h 976"/>
                <a:gd name="T84" fmla="*/ 404 w 848"/>
                <a:gd name="T85" fmla="*/ 206 h 976"/>
                <a:gd name="T86" fmla="*/ 444 w 848"/>
                <a:gd name="T87" fmla="*/ 223 h 976"/>
                <a:gd name="T88" fmla="*/ 465 w 848"/>
                <a:gd name="T89" fmla="*/ 234 h 976"/>
                <a:gd name="T90" fmla="*/ 486 w 848"/>
                <a:gd name="T91" fmla="*/ 239 h 976"/>
                <a:gd name="T92" fmla="*/ 524 w 848"/>
                <a:gd name="T93" fmla="*/ 256 h 976"/>
                <a:gd name="T94" fmla="*/ 605 w 848"/>
                <a:gd name="T95" fmla="*/ 277 h 976"/>
                <a:gd name="T96" fmla="*/ 649 w 848"/>
                <a:gd name="T97" fmla="*/ 317 h 976"/>
                <a:gd name="T98" fmla="*/ 659 w 848"/>
                <a:gd name="T99" fmla="*/ 362 h 976"/>
                <a:gd name="T100" fmla="*/ 633 w 848"/>
                <a:gd name="T101" fmla="*/ 400 h 976"/>
                <a:gd name="T102" fmla="*/ 664 w 848"/>
                <a:gd name="T103" fmla="*/ 482 h 976"/>
                <a:gd name="T104" fmla="*/ 794 w 848"/>
                <a:gd name="T105" fmla="*/ 499 h 976"/>
                <a:gd name="T106" fmla="*/ 789 w 848"/>
                <a:gd name="T107" fmla="*/ 556 h 976"/>
                <a:gd name="T108" fmla="*/ 838 w 848"/>
                <a:gd name="T109" fmla="*/ 605 h 976"/>
                <a:gd name="T110" fmla="*/ 838 w 848"/>
                <a:gd name="T111" fmla="*/ 681 h 976"/>
                <a:gd name="T112" fmla="*/ 838 w 848"/>
                <a:gd name="T113" fmla="*/ 693 h 976"/>
                <a:gd name="T114" fmla="*/ 827 w 848"/>
                <a:gd name="T115" fmla="*/ 759 h 976"/>
                <a:gd name="T116" fmla="*/ 805 w 848"/>
                <a:gd name="T117" fmla="*/ 749 h 976"/>
                <a:gd name="T118" fmla="*/ 675 w 848"/>
                <a:gd name="T119" fmla="*/ 704 h 976"/>
                <a:gd name="T120" fmla="*/ 541 w 848"/>
                <a:gd name="T121" fmla="*/ 771 h 976"/>
                <a:gd name="T122" fmla="*/ 520 w 848"/>
                <a:gd name="T123" fmla="*/ 841 h 976"/>
                <a:gd name="T124" fmla="*/ 486 w 848"/>
                <a:gd name="T125" fmla="*/ 931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8" h="976">
                  <a:moveTo>
                    <a:pt x="486" y="931"/>
                  </a:moveTo>
                  <a:lnTo>
                    <a:pt x="482" y="915"/>
                  </a:lnTo>
                  <a:lnTo>
                    <a:pt x="404" y="915"/>
                  </a:lnTo>
                  <a:lnTo>
                    <a:pt x="378" y="952"/>
                  </a:lnTo>
                  <a:lnTo>
                    <a:pt x="373" y="976"/>
                  </a:lnTo>
                  <a:lnTo>
                    <a:pt x="357" y="931"/>
                  </a:lnTo>
                  <a:lnTo>
                    <a:pt x="323" y="919"/>
                  </a:lnTo>
                  <a:lnTo>
                    <a:pt x="269" y="919"/>
                  </a:lnTo>
                  <a:lnTo>
                    <a:pt x="243" y="898"/>
                  </a:lnTo>
                  <a:lnTo>
                    <a:pt x="231" y="919"/>
                  </a:lnTo>
                  <a:lnTo>
                    <a:pt x="198" y="931"/>
                  </a:lnTo>
                  <a:lnTo>
                    <a:pt x="198" y="943"/>
                  </a:lnTo>
                  <a:lnTo>
                    <a:pt x="189" y="952"/>
                  </a:lnTo>
                  <a:lnTo>
                    <a:pt x="189" y="959"/>
                  </a:lnTo>
                  <a:lnTo>
                    <a:pt x="172" y="976"/>
                  </a:lnTo>
                  <a:lnTo>
                    <a:pt x="144" y="976"/>
                  </a:lnTo>
                  <a:lnTo>
                    <a:pt x="123" y="976"/>
                  </a:lnTo>
                  <a:lnTo>
                    <a:pt x="123" y="952"/>
                  </a:lnTo>
                  <a:lnTo>
                    <a:pt x="118" y="919"/>
                  </a:lnTo>
                  <a:lnTo>
                    <a:pt x="106" y="915"/>
                  </a:lnTo>
                  <a:lnTo>
                    <a:pt x="101" y="882"/>
                  </a:lnTo>
                  <a:lnTo>
                    <a:pt x="101" y="858"/>
                  </a:lnTo>
                  <a:lnTo>
                    <a:pt x="85" y="832"/>
                  </a:lnTo>
                  <a:lnTo>
                    <a:pt x="75" y="825"/>
                  </a:lnTo>
                  <a:lnTo>
                    <a:pt x="75" y="820"/>
                  </a:lnTo>
                  <a:lnTo>
                    <a:pt x="85" y="808"/>
                  </a:lnTo>
                  <a:lnTo>
                    <a:pt x="64" y="792"/>
                  </a:lnTo>
                  <a:lnTo>
                    <a:pt x="64" y="787"/>
                  </a:lnTo>
                  <a:lnTo>
                    <a:pt x="64" y="771"/>
                  </a:lnTo>
                  <a:lnTo>
                    <a:pt x="75" y="759"/>
                  </a:lnTo>
                  <a:lnTo>
                    <a:pt x="75" y="754"/>
                  </a:lnTo>
                  <a:lnTo>
                    <a:pt x="64" y="737"/>
                  </a:lnTo>
                  <a:lnTo>
                    <a:pt x="85" y="716"/>
                  </a:lnTo>
                  <a:lnTo>
                    <a:pt x="47" y="681"/>
                  </a:lnTo>
                  <a:lnTo>
                    <a:pt x="31" y="622"/>
                  </a:lnTo>
                  <a:lnTo>
                    <a:pt x="38" y="610"/>
                  </a:lnTo>
                  <a:lnTo>
                    <a:pt x="21" y="610"/>
                  </a:lnTo>
                  <a:lnTo>
                    <a:pt x="9" y="572"/>
                  </a:lnTo>
                  <a:lnTo>
                    <a:pt x="9" y="565"/>
                  </a:lnTo>
                  <a:lnTo>
                    <a:pt x="0" y="556"/>
                  </a:lnTo>
                  <a:lnTo>
                    <a:pt x="0" y="556"/>
                  </a:lnTo>
                  <a:lnTo>
                    <a:pt x="47" y="511"/>
                  </a:lnTo>
                  <a:lnTo>
                    <a:pt x="38" y="499"/>
                  </a:lnTo>
                  <a:lnTo>
                    <a:pt x="54" y="482"/>
                  </a:lnTo>
                  <a:lnTo>
                    <a:pt x="47" y="478"/>
                  </a:lnTo>
                  <a:lnTo>
                    <a:pt x="31" y="478"/>
                  </a:lnTo>
                  <a:lnTo>
                    <a:pt x="16" y="437"/>
                  </a:lnTo>
                  <a:lnTo>
                    <a:pt x="21" y="416"/>
                  </a:lnTo>
                  <a:lnTo>
                    <a:pt x="31" y="404"/>
                  </a:lnTo>
                  <a:lnTo>
                    <a:pt x="16" y="388"/>
                  </a:lnTo>
                  <a:lnTo>
                    <a:pt x="16" y="371"/>
                  </a:lnTo>
                  <a:lnTo>
                    <a:pt x="47" y="345"/>
                  </a:lnTo>
                  <a:lnTo>
                    <a:pt x="47" y="334"/>
                  </a:lnTo>
                  <a:lnTo>
                    <a:pt x="54" y="334"/>
                  </a:lnTo>
                  <a:lnTo>
                    <a:pt x="38" y="293"/>
                  </a:lnTo>
                  <a:lnTo>
                    <a:pt x="47" y="277"/>
                  </a:lnTo>
                  <a:lnTo>
                    <a:pt x="47" y="234"/>
                  </a:lnTo>
                  <a:lnTo>
                    <a:pt x="68" y="206"/>
                  </a:lnTo>
                  <a:lnTo>
                    <a:pt x="9" y="95"/>
                  </a:lnTo>
                  <a:lnTo>
                    <a:pt x="54" y="95"/>
                  </a:lnTo>
                  <a:lnTo>
                    <a:pt x="64" y="107"/>
                  </a:lnTo>
                  <a:lnTo>
                    <a:pt x="68" y="107"/>
                  </a:lnTo>
                  <a:lnTo>
                    <a:pt x="92" y="95"/>
                  </a:lnTo>
                  <a:lnTo>
                    <a:pt x="106" y="74"/>
                  </a:lnTo>
                  <a:lnTo>
                    <a:pt x="135" y="74"/>
                  </a:lnTo>
                  <a:lnTo>
                    <a:pt x="144" y="57"/>
                  </a:lnTo>
                  <a:lnTo>
                    <a:pt x="161" y="50"/>
                  </a:lnTo>
                  <a:lnTo>
                    <a:pt x="177" y="41"/>
                  </a:lnTo>
                  <a:lnTo>
                    <a:pt x="210" y="17"/>
                  </a:lnTo>
                  <a:lnTo>
                    <a:pt x="248" y="12"/>
                  </a:lnTo>
                  <a:lnTo>
                    <a:pt x="286" y="12"/>
                  </a:lnTo>
                  <a:lnTo>
                    <a:pt x="302" y="0"/>
                  </a:lnTo>
                  <a:lnTo>
                    <a:pt x="302" y="41"/>
                  </a:lnTo>
                  <a:lnTo>
                    <a:pt x="298" y="57"/>
                  </a:lnTo>
                  <a:lnTo>
                    <a:pt x="302" y="95"/>
                  </a:lnTo>
                  <a:lnTo>
                    <a:pt x="302" y="111"/>
                  </a:lnTo>
                  <a:lnTo>
                    <a:pt x="302" y="128"/>
                  </a:lnTo>
                  <a:lnTo>
                    <a:pt x="319" y="145"/>
                  </a:lnTo>
                  <a:lnTo>
                    <a:pt x="307" y="152"/>
                  </a:lnTo>
                  <a:lnTo>
                    <a:pt x="323" y="152"/>
                  </a:lnTo>
                  <a:lnTo>
                    <a:pt x="323" y="168"/>
                  </a:lnTo>
                  <a:lnTo>
                    <a:pt x="340" y="168"/>
                  </a:lnTo>
                  <a:lnTo>
                    <a:pt x="340" y="185"/>
                  </a:lnTo>
                  <a:lnTo>
                    <a:pt x="361" y="185"/>
                  </a:lnTo>
                  <a:lnTo>
                    <a:pt x="373" y="206"/>
                  </a:lnTo>
                  <a:lnTo>
                    <a:pt x="404" y="206"/>
                  </a:lnTo>
                  <a:lnTo>
                    <a:pt x="416" y="206"/>
                  </a:lnTo>
                  <a:lnTo>
                    <a:pt x="444" y="223"/>
                  </a:lnTo>
                  <a:lnTo>
                    <a:pt x="465" y="218"/>
                  </a:lnTo>
                  <a:lnTo>
                    <a:pt x="465" y="234"/>
                  </a:lnTo>
                  <a:lnTo>
                    <a:pt x="482" y="251"/>
                  </a:lnTo>
                  <a:lnTo>
                    <a:pt x="486" y="239"/>
                  </a:lnTo>
                  <a:lnTo>
                    <a:pt x="512" y="256"/>
                  </a:lnTo>
                  <a:lnTo>
                    <a:pt x="524" y="256"/>
                  </a:lnTo>
                  <a:lnTo>
                    <a:pt x="550" y="289"/>
                  </a:lnTo>
                  <a:lnTo>
                    <a:pt x="605" y="277"/>
                  </a:lnTo>
                  <a:lnTo>
                    <a:pt x="642" y="305"/>
                  </a:lnTo>
                  <a:lnTo>
                    <a:pt x="649" y="317"/>
                  </a:lnTo>
                  <a:lnTo>
                    <a:pt x="642" y="326"/>
                  </a:lnTo>
                  <a:lnTo>
                    <a:pt x="659" y="362"/>
                  </a:lnTo>
                  <a:lnTo>
                    <a:pt x="659" y="400"/>
                  </a:lnTo>
                  <a:lnTo>
                    <a:pt x="633" y="400"/>
                  </a:lnTo>
                  <a:lnTo>
                    <a:pt x="659" y="421"/>
                  </a:lnTo>
                  <a:lnTo>
                    <a:pt x="664" y="482"/>
                  </a:lnTo>
                  <a:lnTo>
                    <a:pt x="794" y="482"/>
                  </a:lnTo>
                  <a:lnTo>
                    <a:pt x="794" y="499"/>
                  </a:lnTo>
                  <a:lnTo>
                    <a:pt x="784" y="515"/>
                  </a:lnTo>
                  <a:lnTo>
                    <a:pt x="789" y="556"/>
                  </a:lnTo>
                  <a:lnTo>
                    <a:pt x="838" y="582"/>
                  </a:lnTo>
                  <a:lnTo>
                    <a:pt x="838" y="605"/>
                  </a:lnTo>
                  <a:lnTo>
                    <a:pt x="848" y="626"/>
                  </a:lnTo>
                  <a:lnTo>
                    <a:pt x="838" y="681"/>
                  </a:lnTo>
                  <a:lnTo>
                    <a:pt x="838" y="693"/>
                  </a:lnTo>
                  <a:lnTo>
                    <a:pt x="838" y="693"/>
                  </a:lnTo>
                  <a:lnTo>
                    <a:pt x="810" y="737"/>
                  </a:lnTo>
                  <a:lnTo>
                    <a:pt x="827" y="759"/>
                  </a:lnTo>
                  <a:lnTo>
                    <a:pt x="805" y="771"/>
                  </a:lnTo>
                  <a:lnTo>
                    <a:pt x="805" y="749"/>
                  </a:lnTo>
                  <a:lnTo>
                    <a:pt x="742" y="716"/>
                  </a:lnTo>
                  <a:lnTo>
                    <a:pt x="675" y="704"/>
                  </a:lnTo>
                  <a:lnTo>
                    <a:pt x="557" y="733"/>
                  </a:lnTo>
                  <a:lnTo>
                    <a:pt x="541" y="771"/>
                  </a:lnTo>
                  <a:lnTo>
                    <a:pt x="520" y="804"/>
                  </a:lnTo>
                  <a:lnTo>
                    <a:pt x="520" y="841"/>
                  </a:lnTo>
                  <a:lnTo>
                    <a:pt x="486" y="931"/>
                  </a:lnTo>
                  <a:lnTo>
                    <a:pt x="486" y="931"/>
                  </a:lnTo>
                  <a:lnTo>
                    <a:pt x="486" y="931"/>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0" name="Freeform 399">
              <a:extLst>
                <a:ext uri="{FF2B5EF4-FFF2-40B4-BE49-F238E27FC236}">
                  <a16:creationId xmlns:a16="http://schemas.microsoft.com/office/drawing/2014/main" id="{8EB878D8-6927-490E-AB10-5F0D65D36D1D}"/>
                </a:ext>
              </a:extLst>
            </p:cNvPr>
            <p:cNvSpPr>
              <a:spLocks noEditPoints="1"/>
            </p:cNvSpPr>
            <p:nvPr/>
          </p:nvSpPr>
          <p:spPr bwMode="gray">
            <a:xfrm>
              <a:off x="15860465" y="3423483"/>
              <a:ext cx="206524" cy="458215"/>
            </a:xfrm>
            <a:custGeom>
              <a:avLst/>
              <a:gdLst>
                <a:gd name="T0" fmla="*/ 31 w 631"/>
                <a:gd name="T1" fmla="*/ 552 h 1400"/>
                <a:gd name="T2" fmla="*/ 64 w 631"/>
                <a:gd name="T3" fmla="*/ 448 h 1400"/>
                <a:gd name="T4" fmla="*/ 92 w 631"/>
                <a:gd name="T5" fmla="*/ 354 h 1400"/>
                <a:gd name="T6" fmla="*/ 173 w 631"/>
                <a:gd name="T7" fmla="*/ 243 h 1400"/>
                <a:gd name="T8" fmla="*/ 286 w 631"/>
                <a:gd name="T9" fmla="*/ 94 h 1400"/>
                <a:gd name="T10" fmla="*/ 362 w 631"/>
                <a:gd name="T11" fmla="*/ 23 h 1400"/>
                <a:gd name="T12" fmla="*/ 442 w 631"/>
                <a:gd name="T13" fmla="*/ 73 h 1400"/>
                <a:gd name="T14" fmla="*/ 447 w 631"/>
                <a:gd name="T15" fmla="*/ 205 h 1400"/>
                <a:gd name="T16" fmla="*/ 392 w 631"/>
                <a:gd name="T17" fmla="*/ 276 h 1400"/>
                <a:gd name="T18" fmla="*/ 388 w 631"/>
                <a:gd name="T19" fmla="*/ 366 h 1400"/>
                <a:gd name="T20" fmla="*/ 463 w 631"/>
                <a:gd name="T21" fmla="*/ 387 h 1400"/>
                <a:gd name="T22" fmla="*/ 501 w 631"/>
                <a:gd name="T23" fmla="*/ 448 h 1400"/>
                <a:gd name="T24" fmla="*/ 555 w 631"/>
                <a:gd name="T25" fmla="*/ 536 h 1400"/>
                <a:gd name="T26" fmla="*/ 614 w 631"/>
                <a:gd name="T27" fmla="*/ 548 h 1400"/>
                <a:gd name="T28" fmla="*/ 555 w 631"/>
                <a:gd name="T29" fmla="*/ 625 h 1400"/>
                <a:gd name="T30" fmla="*/ 484 w 631"/>
                <a:gd name="T31" fmla="*/ 647 h 1400"/>
                <a:gd name="T32" fmla="*/ 399 w 631"/>
                <a:gd name="T33" fmla="*/ 680 h 1400"/>
                <a:gd name="T34" fmla="*/ 362 w 631"/>
                <a:gd name="T35" fmla="*/ 758 h 1400"/>
                <a:gd name="T36" fmla="*/ 451 w 631"/>
                <a:gd name="T37" fmla="*/ 923 h 1400"/>
                <a:gd name="T38" fmla="*/ 442 w 631"/>
                <a:gd name="T39" fmla="*/ 996 h 1400"/>
                <a:gd name="T40" fmla="*/ 496 w 631"/>
                <a:gd name="T41" fmla="*/ 1112 h 1400"/>
                <a:gd name="T42" fmla="*/ 506 w 631"/>
                <a:gd name="T43" fmla="*/ 1216 h 1400"/>
                <a:gd name="T44" fmla="*/ 447 w 631"/>
                <a:gd name="T45" fmla="*/ 1388 h 1400"/>
                <a:gd name="T46" fmla="*/ 463 w 631"/>
                <a:gd name="T47" fmla="*/ 1256 h 1400"/>
                <a:gd name="T48" fmla="*/ 447 w 631"/>
                <a:gd name="T49" fmla="*/ 1223 h 1400"/>
                <a:gd name="T50" fmla="*/ 425 w 631"/>
                <a:gd name="T51" fmla="*/ 1088 h 1400"/>
                <a:gd name="T52" fmla="*/ 388 w 631"/>
                <a:gd name="T53" fmla="*/ 907 h 1400"/>
                <a:gd name="T54" fmla="*/ 333 w 631"/>
                <a:gd name="T55" fmla="*/ 869 h 1400"/>
                <a:gd name="T56" fmla="*/ 286 w 631"/>
                <a:gd name="T57" fmla="*/ 918 h 1400"/>
                <a:gd name="T58" fmla="*/ 227 w 631"/>
                <a:gd name="T59" fmla="*/ 940 h 1400"/>
                <a:gd name="T60" fmla="*/ 199 w 631"/>
                <a:gd name="T61" fmla="*/ 963 h 1400"/>
                <a:gd name="T62" fmla="*/ 182 w 631"/>
                <a:gd name="T63" fmla="*/ 940 h 1400"/>
                <a:gd name="T64" fmla="*/ 144 w 631"/>
                <a:gd name="T65" fmla="*/ 947 h 1400"/>
                <a:gd name="T66" fmla="*/ 139 w 631"/>
                <a:gd name="T67" fmla="*/ 737 h 1400"/>
                <a:gd name="T68" fmla="*/ 102 w 631"/>
                <a:gd name="T69" fmla="*/ 670 h 1400"/>
                <a:gd name="T70" fmla="*/ 69 w 631"/>
                <a:gd name="T71" fmla="*/ 659 h 1400"/>
                <a:gd name="T72" fmla="*/ 47 w 631"/>
                <a:gd name="T73" fmla="*/ 642 h 1400"/>
                <a:gd name="T74" fmla="*/ 17 w 631"/>
                <a:gd name="T75" fmla="*/ 602 h 1400"/>
                <a:gd name="T76" fmla="*/ 102 w 631"/>
                <a:gd name="T77" fmla="*/ 687 h 1400"/>
                <a:gd name="T78" fmla="*/ 123 w 631"/>
                <a:gd name="T79" fmla="*/ 725 h 1400"/>
                <a:gd name="T80" fmla="*/ 118 w 631"/>
                <a:gd name="T81" fmla="*/ 703 h 1400"/>
                <a:gd name="T82" fmla="*/ 92 w 631"/>
                <a:gd name="T83" fmla="*/ 737 h 1400"/>
                <a:gd name="T84" fmla="*/ 376 w 631"/>
                <a:gd name="T85" fmla="*/ 935 h 1400"/>
                <a:gd name="T86" fmla="*/ 173 w 631"/>
                <a:gd name="T87" fmla="*/ 940 h 1400"/>
                <a:gd name="T88" fmla="*/ 430 w 631"/>
                <a:gd name="T89" fmla="*/ 1216 h 1400"/>
                <a:gd name="T90" fmla="*/ 430 w 631"/>
                <a:gd name="T91" fmla="*/ 1216 h 1400"/>
                <a:gd name="T92" fmla="*/ 409 w 631"/>
                <a:gd name="T93" fmla="*/ 1216 h 1400"/>
                <a:gd name="T94" fmla="*/ 413 w 631"/>
                <a:gd name="T95" fmla="*/ 1223 h 1400"/>
                <a:gd name="T96" fmla="*/ 442 w 631"/>
                <a:gd name="T97" fmla="*/ 1233 h 1400"/>
                <a:gd name="T98" fmla="*/ 447 w 631"/>
                <a:gd name="T99" fmla="*/ 1256 h 1400"/>
                <a:gd name="T100" fmla="*/ 430 w 631"/>
                <a:gd name="T101" fmla="*/ 1256 h 1400"/>
                <a:gd name="T102" fmla="*/ 447 w 631"/>
                <a:gd name="T103" fmla="*/ 1306 h 1400"/>
                <a:gd name="T104" fmla="*/ 425 w 631"/>
                <a:gd name="T105" fmla="*/ 1332 h 1400"/>
                <a:gd name="T106" fmla="*/ 425 w 631"/>
                <a:gd name="T107" fmla="*/ 1332 h 1400"/>
                <a:gd name="T108" fmla="*/ 399 w 631"/>
                <a:gd name="T109" fmla="*/ 1348 h 1400"/>
                <a:gd name="T110" fmla="*/ 425 w 631"/>
                <a:gd name="T111" fmla="*/ 1384 h 1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1400">
                  <a:moveTo>
                    <a:pt x="10" y="569"/>
                  </a:moveTo>
                  <a:lnTo>
                    <a:pt x="0" y="552"/>
                  </a:lnTo>
                  <a:lnTo>
                    <a:pt x="10" y="548"/>
                  </a:lnTo>
                  <a:lnTo>
                    <a:pt x="17" y="536"/>
                  </a:lnTo>
                  <a:lnTo>
                    <a:pt x="31" y="552"/>
                  </a:lnTo>
                  <a:lnTo>
                    <a:pt x="31" y="552"/>
                  </a:lnTo>
                  <a:lnTo>
                    <a:pt x="31" y="503"/>
                  </a:lnTo>
                  <a:lnTo>
                    <a:pt x="38" y="493"/>
                  </a:lnTo>
                  <a:lnTo>
                    <a:pt x="54" y="498"/>
                  </a:lnTo>
                  <a:lnTo>
                    <a:pt x="64" y="481"/>
                  </a:lnTo>
                  <a:lnTo>
                    <a:pt x="69" y="481"/>
                  </a:lnTo>
                  <a:lnTo>
                    <a:pt x="64" y="448"/>
                  </a:lnTo>
                  <a:lnTo>
                    <a:pt x="69" y="420"/>
                  </a:lnTo>
                  <a:lnTo>
                    <a:pt x="76" y="427"/>
                  </a:lnTo>
                  <a:lnTo>
                    <a:pt x="85" y="411"/>
                  </a:lnTo>
                  <a:lnTo>
                    <a:pt x="85" y="370"/>
                  </a:lnTo>
                  <a:lnTo>
                    <a:pt x="85" y="337"/>
                  </a:lnTo>
                  <a:lnTo>
                    <a:pt x="92" y="354"/>
                  </a:lnTo>
                  <a:lnTo>
                    <a:pt x="106" y="349"/>
                  </a:lnTo>
                  <a:lnTo>
                    <a:pt x="139" y="366"/>
                  </a:lnTo>
                  <a:lnTo>
                    <a:pt x="177" y="266"/>
                  </a:lnTo>
                  <a:lnTo>
                    <a:pt x="177" y="259"/>
                  </a:lnTo>
                  <a:lnTo>
                    <a:pt x="173" y="255"/>
                  </a:lnTo>
                  <a:lnTo>
                    <a:pt x="173" y="243"/>
                  </a:lnTo>
                  <a:lnTo>
                    <a:pt x="194" y="226"/>
                  </a:lnTo>
                  <a:lnTo>
                    <a:pt x="210" y="188"/>
                  </a:lnTo>
                  <a:lnTo>
                    <a:pt x="199" y="172"/>
                  </a:lnTo>
                  <a:lnTo>
                    <a:pt x="210" y="151"/>
                  </a:lnTo>
                  <a:lnTo>
                    <a:pt x="232" y="144"/>
                  </a:lnTo>
                  <a:lnTo>
                    <a:pt x="286" y="94"/>
                  </a:lnTo>
                  <a:lnTo>
                    <a:pt x="317" y="94"/>
                  </a:lnTo>
                  <a:lnTo>
                    <a:pt x="333" y="99"/>
                  </a:lnTo>
                  <a:lnTo>
                    <a:pt x="345" y="111"/>
                  </a:lnTo>
                  <a:lnTo>
                    <a:pt x="333" y="73"/>
                  </a:lnTo>
                  <a:lnTo>
                    <a:pt x="362" y="44"/>
                  </a:lnTo>
                  <a:lnTo>
                    <a:pt x="362" y="23"/>
                  </a:lnTo>
                  <a:lnTo>
                    <a:pt x="371" y="16"/>
                  </a:lnTo>
                  <a:lnTo>
                    <a:pt x="376" y="0"/>
                  </a:lnTo>
                  <a:lnTo>
                    <a:pt x="409" y="23"/>
                  </a:lnTo>
                  <a:lnTo>
                    <a:pt x="413" y="33"/>
                  </a:lnTo>
                  <a:lnTo>
                    <a:pt x="430" y="77"/>
                  </a:lnTo>
                  <a:lnTo>
                    <a:pt x="442" y="73"/>
                  </a:lnTo>
                  <a:lnTo>
                    <a:pt x="451" y="77"/>
                  </a:lnTo>
                  <a:lnTo>
                    <a:pt x="463" y="134"/>
                  </a:lnTo>
                  <a:lnTo>
                    <a:pt x="463" y="184"/>
                  </a:lnTo>
                  <a:lnTo>
                    <a:pt x="447" y="188"/>
                  </a:lnTo>
                  <a:lnTo>
                    <a:pt x="451" y="205"/>
                  </a:lnTo>
                  <a:lnTo>
                    <a:pt x="447" y="205"/>
                  </a:lnTo>
                  <a:lnTo>
                    <a:pt x="430" y="226"/>
                  </a:lnTo>
                  <a:lnTo>
                    <a:pt x="425" y="226"/>
                  </a:lnTo>
                  <a:lnTo>
                    <a:pt x="409" y="255"/>
                  </a:lnTo>
                  <a:lnTo>
                    <a:pt x="399" y="259"/>
                  </a:lnTo>
                  <a:lnTo>
                    <a:pt x="392" y="255"/>
                  </a:lnTo>
                  <a:lnTo>
                    <a:pt x="392" y="276"/>
                  </a:lnTo>
                  <a:lnTo>
                    <a:pt x="376" y="292"/>
                  </a:lnTo>
                  <a:lnTo>
                    <a:pt x="376" y="316"/>
                  </a:lnTo>
                  <a:lnTo>
                    <a:pt x="388" y="316"/>
                  </a:lnTo>
                  <a:lnTo>
                    <a:pt x="392" y="337"/>
                  </a:lnTo>
                  <a:lnTo>
                    <a:pt x="376" y="354"/>
                  </a:lnTo>
                  <a:lnTo>
                    <a:pt x="388" y="366"/>
                  </a:lnTo>
                  <a:lnTo>
                    <a:pt x="413" y="337"/>
                  </a:lnTo>
                  <a:lnTo>
                    <a:pt x="468" y="337"/>
                  </a:lnTo>
                  <a:lnTo>
                    <a:pt x="451" y="354"/>
                  </a:lnTo>
                  <a:lnTo>
                    <a:pt x="451" y="366"/>
                  </a:lnTo>
                  <a:lnTo>
                    <a:pt x="463" y="370"/>
                  </a:lnTo>
                  <a:lnTo>
                    <a:pt x="463" y="387"/>
                  </a:lnTo>
                  <a:lnTo>
                    <a:pt x="468" y="394"/>
                  </a:lnTo>
                  <a:lnTo>
                    <a:pt x="468" y="411"/>
                  </a:lnTo>
                  <a:lnTo>
                    <a:pt x="484" y="420"/>
                  </a:lnTo>
                  <a:lnTo>
                    <a:pt x="517" y="420"/>
                  </a:lnTo>
                  <a:lnTo>
                    <a:pt x="517" y="427"/>
                  </a:lnTo>
                  <a:lnTo>
                    <a:pt x="501" y="448"/>
                  </a:lnTo>
                  <a:lnTo>
                    <a:pt x="506" y="465"/>
                  </a:lnTo>
                  <a:lnTo>
                    <a:pt x="484" y="493"/>
                  </a:lnTo>
                  <a:lnTo>
                    <a:pt x="550" y="498"/>
                  </a:lnTo>
                  <a:lnTo>
                    <a:pt x="550" y="519"/>
                  </a:lnTo>
                  <a:lnTo>
                    <a:pt x="555" y="531"/>
                  </a:lnTo>
                  <a:lnTo>
                    <a:pt x="555" y="536"/>
                  </a:lnTo>
                  <a:lnTo>
                    <a:pt x="560" y="548"/>
                  </a:lnTo>
                  <a:lnTo>
                    <a:pt x="576" y="536"/>
                  </a:lnTo>
                  <a:lnTo>
                    <a:pt x="588" y="548"/>
                  </a:lnTo>
                  <a:lnTo>
                    <a:pt x="624" y="519"/>
                  </a:lnTo>
                  <a:lnTo>
                    <a:pt x="631" y="531"/>
                  </a:lnTo>
                  <a:lnTo>
                    <a:pt x="614" y="548"/>
                  </a:lnTo>
                  <a:lnTo>
                    <a:pt x="602" y="552"/>
                  </a:lnTo>
                  <a:lnTo>
                    <a:pt x="588" y="576"/>
                  </a:lnTo>
                  <a:lnTo>
                    <a:pt x="588" y="585"/>
                  </a:lnTo>
                  <a:lnTo>
                    <a:pt x="593" y="585"/>
                  </a:lnTo>
                  <a:lnTo>
                    <a:pt x="560" y="592"/>
                  </a:lnTo>
                  <a:lnTo>
                    <a:pt x="555" y="625"/>
                  </a:lnTo>
                  <a:lnTo>
                    <a:pt x="550" y="614"/>
                  </a:lnTo>
                  <a:lnTo>
                    <a:pt x="534" y="625"/>
                  </a:lnTo>
                  <a:lnTo>
                    <a:pt x="517" y="625"/>
                  </a:lnTo>
                  <a:lnTo>
                    <a:pt x="517" y="642"/>
                  </a:lnTo>
                  <a:lnTo>
                    <a:pt x="506" y="642"/>
                  </a:lnTo>
                  <a:lnTo>
                    <a:pt x="484" y="647"/>
                  </a:lnTo>
                  <a:lnTo>
                    <a:pt x="480" y="663"/>
                  </a:lnTo>
                  <a:lnTo>
                    <a:pt x="468" y="663"/>
                  </a:lnTo>
                  <a:lnTo>
                    <a:pt x="425" y="670"/>
                  </a:lnTo>
                  <a:lnTo>
                    <a:pt x="409" y="663"/>
                  </a:lnTo>
                  <a:lnTo>
                    <a:pt x="409" y="680"/>
                  </a:lnTo>
                  <a:lnTo>
                    <a:pt x="399" y="680"/>
                  </a:lnTo>
                  <a:lnTo>
                    <a:pt x="392" y="696"/>
                  </a:lnTo>
                  <a:lnTo>
                    <a:pt x="392" y="720"/>
                  </a:lnTo>
                  <a:lnTo>
                    <a:pt x="388" y="725"/>
                  </a:lnTo>
                  <a:lnTo>
                    <a:pt x="392" y="758"/>
                  </a:lnTo>
                  <a:lnTo>
                    <a:pt x="371" y="770"/>
                  </a:lnTo>
                  <a:lnTo>
                    <a:pt x="362" y="758"/>
                  </a:lnTo>
                  <a:lnTo>
                    <a:pt x="371" y="779"/>
                  </a:lnTo>
                  <a:lnTo>
                    <a:pt x="388" y="779"/>
                  </a:lnTo>
                  <a:lnTo>
                    <a:pt x="392" y="824"/>
                  </a:lnTo>
                  <a:lnTo>
                    <a:pt x="447" y="881"/>
                  </a:lnTo>
                  <a:lnTo>
                    <a:pt x="442" y="890"/>
                  </a:lnTo>
                  <a:lnTo>
                    <a:pt x="451" y="923"/>
                  </a:lnTo>
                  <a:lnTo>
                    <a:pt x="468" y="918"/>
                  </a:lnTo>
                  <a:lnTo>
                    <a:pt x="468" y="918"/>
                  </a:lnTo>
                  <a:lnTo>
                    <a:pt x="468" y="940"/>
                  </a:lnTo>
                  <a:lnTo>
                    <a:pt x="451" y="947"/>
                  </a:lnTo>
                  <a:lnTo>
                    <a:pt x="447" y="996"/>
                  </a:lnTo>
                  <a:lnTo>
                    <a:pt x="442" y="996"/>
                  </a:lnTo>
                  <a:lnTo>
                    <a:pt x="425" y="1001"/>
                  </a:lnTo>
                  <a:lnTo>
                    <a:pt x="425" y="1018"/>
                  </a:lnTo>
                  <a:lnTo>
                    <a:pt x="430" y="1046"/>
                  </a:lnTo>
                  <a:lnTo>
                    <a:pt x="451" y="1072"/>
                  </a:lnTo>
                  <a:lnTo>
                    <a:pt x="480" y="1088"/>
                  </a:lnTo>
                  <a:lnTo>
                    <a:pt x="496" y="1112"/>
                  </a:lnTo>
                  <a:lnTo>
                    <a:pt x="496" y="1157"/>
                  </a:lnTo>
                  <a:lnTo>
                    <a:pt x="484" y="1157"/>
                  </a:lnTo>
                  <a:lnTo>
                    <a:pt x="484" y="1162"/>
                  </a:lnTo>
                  <a:lnTo>
                    <a:pt x="496" y="1183"/>
                  </a:lnTo>
                  <a:lnTo>
                    <a:pt x="506" y="1199"/>
                  </a:lnTo>
                  <a:lnTo>
                    <a:pt x="506" y="1216"/>
                  </a:lnTo>
                  <a:lnTo>
                    <a:pt x="522" y="1256"/>
                  </a:lnTo>
                  <a:lnTo>
                    <a:pt x="496" y="1311"/>
                  </a:lnTo>
                  <a:lnTo>
                    <a:pt x="463" y="1332"/>
                  </a:lnTo>
                  <a:lnTo>
                    <a:pt x="463" y="1348"/>
                  </a:lnTo>
                  <a:lnTo>
                    <a:pt x="463" y="1360"/>
                  </a:lnTo>
                  <a:lnTo>
                    <a:pt x="447" y="1388"/>
                  </a:lnTo>
                  <a:lnTo>
                    <a:pt x="442" y="1332"/>
                  </a:lnTo>
                  <a:lnTo>
                    <a:pt x="447" y="1332"/>
                  </a:lnTo>
                  <a:lnTo>
                    <a:pt x="451" y="1322"/>
                  </a:lnTo>
                  <a:lnTo>
                    <a:pt x="463" y="1266"/>
                  </a:lnTo>
                  <a:lnTo>
                    <a:pt x="468" y="1266"/>
                  </a:lnTo>
                  <a:lnTo>
                    <a:pt x="463" y="1256"/>
                  </a:lnTo>
                  <a:lnTo>
                    <a:pt x="451" y="1266"/>
                  </a:lnTo>
                  <a:lnTo>
                    <a:pt x="447" y="1256"/>
                  </a:lnTo>
                  <a:lnTo>
                    <a:pt x="451" y="1240"/>
                  </a:lnTo>
                  <a:lnTo>
                    <a:pt x="451" y="1223"/>
                  </a:lnTo>
                  <a:lnTo>
                    <a:pt x="451" y="1223"/>
                  </a:lnTo>
                  <a:lnTo>
                    <a:pt x="447" y="1223"/>
                  </a:lnTo>
                  <a:lnTo>
                    <a:pt x="451" y="1216"/>
                  </a:lnTo>
                  <a:lnTo>
                    <a:pt x="447" y="1211"/>
                  </a:lnTo>
                  <a:lnTo>
                    <a:pt x="451" y="1195"/>
                  </a:lnTo>
                  <a:lnTo>
                    <a:pt x="447" y="1157"/>
                  </a:lnTo>
                  <a:lnTo>
                    <a:pt x="430" y="1112"/>
                  </a:lnTo>
                  <a:lnTo>
                    <a:pt x="425" y="1088"/>
                  </a:lnTo>
                  <a:lnTo>
                    <a:pt x="413" y="1129"/>
                  </a:lnTo>
                  <a:lnTo>
                    <a:pt x="413" y="1084"/>
                  </a:lnTo>
                  <a:lnTo>
                    <a:pt x="392" y="1029"/>
                  </a:lnTo>
                  <a:lnTo>
                    <a:pt x="388" y="956"/>
                  </a:lnTo>
                  <a:lnTo>
                    <a:pt x="376" y="940"/>
                  </a:lnTo>
                  <a:lnTo>
                    <a:pt x="388" y="907"/>
                  </a:lnTo>
                  <a:lnTo>
                    <a:pt x="392" y="907"/>
                  </a:lnTo>
                  <a:lnTo>
                    <a:pt x="362" y="907"/>
                  </a:lnTo>
                  <a:lnTo>
                    <a:pt x="345" y="864"/>
                  </a:lnTo>
                  <a:lnTo>
                    <a:pt x="333" y="836"/>
                  </a:lnTo>
                  <a:lnTo>
                    <a:pt x="324" y="864"/>
                  </a:lnTo>
                  <a:lnTo>
                    <a:pt x="333" y="869"/>
                  </a:lnTo>
                  <a:lnTo>
                    <a:pt x="324" y="890"/>
                  </a:lnTo>
                  <a:lnTo>
                    <a:pt x="307" y="907"/>
                  </a:lnTo>
                  <a:lnTo>
                    <a:pt x="291" y="907"/>
                  </a:lnTo>
                  <a:lnTo>
                    <a:pt x="286" y="902"/>
                  </a:lnTo>
                  <a:lnTo>
                    <a:pt x="286" y="885"/>
                  </a:lnTo>
                  <a:lnTo>
                    <a:pt x="286" y="918"/>
                  </a:lnTo>
                  <a:lnTo>
                    <a:pt x="269" y="918"/>
                  </a:lnTo>
                  <a:lnTo>
                    <a:pt x="269" y="923"/>
                  </a:lnTo>
                  <a:lnTo>
                    <a:pt x="253" y="940"/>
                  </a:lnTo>
                  <a:lnTo>
                    <a:pt x="232" y="963"/>
                  </a:lnTo>
                  <a:lnTo>
                    <a:pt x="215" y="963"/>
                  </a:lnTo>
                  <a:lnTo>
                    <a:pt x="227" y="940"/>
                  </a:lnTo>
                  <a:lnTo>
                    <a:pt x="215" y="963"/>
                  </a:lnTo>
                  <a:lnTo>
                    <a:pt x="210" y="963"/>
                  </a:lnTo>
                  <a:lnTo>
                    <a:pt x="210" y="940"/>
                  </a:lnTo>
                  <a:lnTo>
                    <a:pt x="215" y="940"/>
                  </a:lnTo>
                  <a:lnTo>
                    <a:pt x="210" y="940"/>
                  </a:lnTo>
                  <a:lnTo>
                    <a:pt x="199" y="963"/>
                  </a:lnTo>
                  <a:lnTo>
                    <a:pt x="182" y="963"/>
                  </a:lnTo>
                  <a:lnTo>
                    <a:pt x="182" y="940"/>
                  </a:lnTo>
                  <a:lnTo>
                    <a:pt x="199" y="935"/>
                  </a:lnTo>
                  <a:lnTo>
                    <a:pt x="173" y="956"/>
                  </a:lnTo>
                  <a:lnTo>
                    <a:pt x="173" y="956"/>
                  </a:lnTo>
                  <a:lnTo>
                    <a:pt x="182" y="940"/>
                  </a:lnTo>
                  <a:lnTo>
                    <a:pt x="173" y="947"/>
                  </a:lnTo>
                  <a:lnTo>
                    <a:pt x="177" y="940"/>
                  </a:lnTo>
                  <a:lnTo>
                    <a:pt x="173" y="923"/>
                  </a:lnTo>
                  <a:lnTo>
                    <a:pt x="161" y="923"/>
                  </a:lnTo>
                  <a:lnTo>
                    <a:pt x="161" y="940"/>
                  </a:lnTo>
                  <a:lnTo>
                    <a:pt x="144" y="947"/>
                  </a:lnTo>
                  <a:lnTo>
                    <a:pt x="144" y="923"/>
                  </a:lnTo>
                  <a:lnTo>
                    <a:pt x="173" y="829"/>
                  </a:lnTo>
                  <a:lnTo>
                    <a:pt x="156" y="774"/>
                  </a:lnTo>
                  <a:lnTo>
                    <a:pt x="144" y="758"/>
                  </a:lnTo>
                  <a:lnTo>
                    <a:pt x="144" y="741"/>
                  </a:lnTo>
                  <a:lnTo>
                    <a:pt x="139" y="737"/>
                  </a:lnTo>
                  <a:lnTo>
                    <a:pt x="128" y="737"/>
                  </a:lnTo>
                  <a:lnTo>
                    <a:pt x="128" y="713"/>
                  </a:lnTo>
                  <a:lnTo>
                    <a:pt x="123" y="713"/>
                  </a:lnTo>
                  <a:lnTo>
                    <a:pt x="118" y="703"/>
                  </a:lnTo>
                  <a:lnTo>
                    <a:pt x="123" y="696"/>
                  </a:lnTo>
                  <a:lnTo>
                    <a:pt x="102" y="670"/>
                  </a:lnTo>
                  <a:lnTo>
                    <a:pt x="106" y="659"/>
                  </a:lnTo>
                  <a:lnTo>
                    <a:pt x="102" y="663"/>
                  </a:lnTo>
                  <a:lnTo>
                    <a:pt x="85" y="647"/>
                  </a:lnTo>
                  <a:lnTo>
                    <a:pt x="69" y="647"/>
                  </a:lnTo>
                  <a:lnTo>
                    <a:pt x="76" y="663"/>
                  </a:lnTo>
                  <a:lnTo>
                    <a:pt x="69" y="659"/>
                  </a:lnTo>
                  <a:lnTo>
                    <a:pt x="69" y="663"/>
                  </a:lnTo>
                  <a:lnTo>
                    <a:pt x="54" y="642"/>
                  </a:lnTo>
                  <a:lnTo>
                    <a:pt x="69" y="642"/>
                  </a:lnTo>
                  <a:lnTo>
                    <a:pt x="54" y="642"/>
                  </a:lnTo>
                  <a:lnTo>
                    <a:pt x="64" y="609"/>
                  </a:lnTo>
                  <a:lnTo>
                    <a:pt x="47" y="642"/>
                  </a:lnTo>
                  <a:lnTo>
                    <a:pt x="38" y="630"/>
                  </a:lnTo>
                  <a:lnTo>
                    <a:pt x="47" y="625"/>
                  </a:lnTo>
                  <a:lnTo>
                    <a:pt x="47" y="614"/>
                  </a:lnTo>
                  <a:lnTo>
                    <a:pt x="31" y="602"/>
                  </a:lnTo>
                  <a:lnTo>
                    <a:pt x="38" y="630"/>
                  </a:lnTo>
                  <a:lnTo>
                    <a:pt x="17" y="602"/>
                  </a:lnTo>
                  <a:lnTo>
                    <a:pt x="10" y="569"/>
                  </a:lnTo>
                  <a:lnTo>
                    <a:pt x="10" y="569"/>
                  </a:lnTo>
                  <a:lnTo>
                    <a:pt x="10" y="569"/>
                  </a:lnTo>
                  <a:close/>
                  <a:moveTo>
                    <a:pt x="123" y="696"/>
                  </a:moveTo>
                  <a:lnTo>
                    <a:pt x="118" y="703"/>
                  </a:lnTo>
                  <a:lnTo>
                    <a:pt x="102" y="687"/>
                  </a:lnTo>
                  <a:lnTo>
                    <a:pt x="106" y="687"/>
                  </a:lnTo>
                  <a:lnTo>
                    <a:pt x="123" y="696"/>
                  </a:lnTo>
                  <a:lnTo>
                    <a:pt x="123" y="696"/>
                  </a:lnTo>
                  <a:lnTo>
                    <a:pt x="123" y="696"/>
                  </a:lnTo>
                  <a:close/>
                  <a:moveTo>
                    <a:pt x="118" y="703"/>
                  </a:moveTo>
                  <a:lnTo>
                    <a:pt x="123" y="725"/>
                  </a:lnTo>
                  <a:lnTo>
                    <a:pt x="123" y="737"/>
                  </a:lnTo>
                  <a:lnTo>
                    <a:pt x="106" y="725"/>
                  </a:lnTo>
                  <a:lnTo>
                    <a:pt x="92" y="696"/>
                  </a:lnTo>
                  <a:lnTo>
                    <a:pt x="92" y="696"/>
                  </a:lnTo>
                  <a:lnTo>
                    <a:pt x="106" y="703"/>
                  </a:lnTo>
                  <a:lnTo>
                    <a:pt x="118" y="703"/>
                  </a:lnTo>
                  <a:lnTo>
                    <a:pt x="118" y="703"/>
                  </a:lnTo>
                  <a:lnTo>
                    <a:pt x="118" y="703"/>
                  </a:lnTo>
                  <a:close/>
                  <a:moveTo>
                    <a:pt x="102" y="737"/>
                  </a:moveTo>
                  <a:lnTo>
                    <a:pt x="106" y="737"/>
                  </a:lnTo>
                  <a:lnTo>
                    <a:pt x="106" y="753"/>
                  </a:lnTo>
                  <a:lnTo>
                    <a:pt x="92" y="737"/>
                  </a:lnTo>
                  <a:lnTo>
                    <a:pt x="102" y="737"/>
                  </a:lnTo>
                  <a:lnTo>
                    <a:pt x="102" y="737"/>
                  </a:lnTo>
                  <a:lnTo>
                    <a:pt x="102" y="737"/>
                  </a:lnTo>
                  <a:close/>
                  <a:moveTo>
                    <a:pt x="376" y="907"/>
                  </a:moveTo>
                  <a:lnTo>
                    <a:pt x="376" y="918"/>
                  </a:lnTo>
                  <a:lnTo>
                    <a:pt x="376" y="935"/>
                  </a:lnTo>
                  <a:lnTo>
                    <a:pt x="371" y="923"/>
                  </a:lnTo>
                  <a:lnTo>
                    <a:pt x="376" y="907"/>
                  </a:lnTo>
                  <a:lnTo>
                    <a:pt x="376" y="907"/>
                  </a:lnTo>
                  <a:lnTo>
                    <a:pt x="376" y="907"/>
                  </a:lnTo>
                  <a:close/>
                  <a:moveTo>
                    <a:pt x="173" y="935"/>
                  </a:moveTo>
                  <a:lnTo>
                    <a:pt x="173" y="940"/>
                  </a:lnTo>
                  <a:lnTo>
                    <a:pt x="156" y="956"/>
                  </a:lnTo>
                  <a:lnTo>
                    <a:pt x="156" y="947"/>
                  </a:lnTo>
                  <a:lnTo>
                    <a:pt x="173" y="935"/>
                  </a:lnTo>
                  <a:lnTo>
                    <a:pt x="173" y="935"/>
                  </a:lnTo>
                  <a:lnTo>
                    <a:pt x="173" y="935"/>
                  </a:lnTo>
                  <a:close/>
                  <a:moveTo>
                    <a:pt x="430" y="1216"/>
                  </a:moveTo>
                  <a:lnTo>
                    <a:pt x="430" y="1195"/>
                  </a:lnTo>
                  <a:lnTo>
                    <a:pt x="442" y="1195"/>
                  </a:lnTo>
                  <a:lnTo>
                    <a:pt x="442" y="1211"/>
                  </a:lnTo>
                  <a:lnTo>
                    <a:pt x="430" y="1216"/>
                  </a:lnTo>
                  <a:lnTo>
                    <a:pt x="430" y="1216"/>
                  </a:lnTo>
                  <a:lnTo>
                    <a:pt x="430" y="1216"/>
                  </a:lnTo>
                  <a:lnTo>
                    <a:pt x="430" y="1216"/>
                  </a:lnTo>
                  <a:close/>
                  <a:moveTo>
                    <a:pt x="409" y="1216"/>
                  </a:moveTo>
                  <a:lnTo>
                    <a:pt x="399" y="1216"/>
                  </a:lnTo>
                  <a:lnTo>
                    <a:pt x="413" y="1211"/>
                  </a:lnTo>
                  <a:lnTo>
                    <a:pt x="409" y="1216"/>
                  </a:lnTo>
                  <a:lnTo>
                    <a:pt x="409" y="1216"/>
                  </a:lnTo>
                  <a:lnTo>
                    <a:pt x="409" y="1216"/>
                  </a:lnTo>
                  <a:close/>
                  <a:moveTo>
                    <a:pt x="413" y="1223"/>
                  </a:moveTo>
                  <a:lnTo>
                    <a:pt x="409" y="1216"/>
                  </a:lnTo>
                  <a:lnTo>
                    <a:pt x="413" y="1216"/>
                  </a:lnTo>
                  <a:lnTo>
                    <a:pt x="413" y="1233"/>
                  </a:lnTo>
                  <a:lnTo>
                    <a:pt x="413" y="1223"/>
                  </a:lnTo>
                  <a:lnTo>
                    <a:pt x="413" y="1223"/>
                  </a:lnTo>
                  <a:lnTo>
                    <a:pt x="413" y="1223"/>
                  </a:lnTo>
                  <a:close/>
                  <a:moveTo>
                    <a:pt x="447" y="1240"/>
                  </a:moveTo>
                  <a:lnTo>
                    <a:pt x="451" y="1249"/>
                  </a:lnTo>
                  <a:lnTo>
                    <a:pt x="442" y="1249"/>
                  </a:lnTo>
                  <a:lnTo>
                    <a:pt x="442" y="1233"/>
                  </a:lnTo>
                  <a:lnTo>
                    <a:pt x="447" y="1240"/>
                  </a:lnTo>
                  <a:lnTo>
                    <a:pt x="447" y="1240"/>
                  </a:lnTo>
                  <a:lnTo>
                    <a:pt x="447" y="1240"/>
                  </a:lnTo>
                  <a:close/>
                  <a:moveTo>
                    <a:pt x="442" y="1273"/>
                  </a:moveTo>
                  <a:lnTo>
                    <a:pt x="430" y="1256"/>
                  </a:lnTo>
                  <a:lnTo>
                    <a:pt x="447" y="1256"/>
                  </a:lnTo>
                  <a:lnTo>
                    <a:pt x="447" y="1273"/>
                  </a:lnTo>
                  <a:lnTo>
                    <a:pt x="442" y="1273"/>
                  </a:lnTo>
                  <a:lnTo>
                    <a:pt x="442" y="1273"/>
                  </a:lnTo>
                  <a:lnTo>
                    <a:pt x="442" y="1273"/>
                  </a:lnTo>
                  <a:close/>
                  <a:moveTo>
                    <a:pt x="413" y="1277"/>
                  </a:moveTo>
                  <a:lnTo>
                    <a:pt x="430" y="1256"/>
                  </a:lnTo>
                  <a:lnTo>
                    <a:pt x="425" y="1277"/>
                  </a:lnTo>
                  <a:lnTo>
                    <a:pt x="413" y="1277"/>
                  </a:lnTo>
                  <a:lnTo>
                    <a:pt x="413" y="1277"/>
                  </a:lnTo>
                  <a:lnTo>
                    <a:pt x="413" y="1277"/>
                  </a:lnTo>
                  <a:close/>
                  <a:moveTo>
                    <a:pt x="442" y="1311"/>
                  </a:moveTo>
                  <a:lnTo>
                    <a:pt x="447" y="1306"/>
                  </a:lnTo>
                  <a:lnTo>
                    <a:pt x="447" y="1322"/>
                  </a:lnTo>
                  <a:lnTo>
                    <a:pt x="442" y="1311"/>
                  </a:lnTo>
                  <a:lnTo>
                    <a:pt x="442" y="1311"/>
                  </a:lnTo>
                  <a:lnTo>
                    <a:pt x="442" y="1311"/>
                  </a:lnTo>
                  <a:close/>
                  <a:moveTo>
                    <a:pt x="425" y="1332"/>
                  </a:moveTo>
                  <a:lnTo>
                    <a:pt x="425" y="1332"/>
                  </a:lnTo>
                  <a:lnTo>
                    <a:pt x="413" y="1322"/>
                  </a:lnTo>
                  <a:lnTo>
                    <a:pt x="413" y="1322"/>
                  </a:lnTo>
                  <a:lnTo>
                    <a:pt x="413" y="1311"/>
                  </a:lnTo>
                  <a:lnTo>
                    <a:pt x="425" y="1332"/>
                  </a:lnTo>
                  <a:lnTo>
                    <a:pt x="425" y="1332"/>
                  </a:lnTo>
                  <a:lnTo>
                    <a:pt x="425" y="1332"/>
                  </a:lnTo>
                  <a:close/>
                  <a:moveTo>
                    <a:pt x="399" y="1348"/>
                  </a:moveTo>
                  <a:lnTo>
                    <a:pt x="399" y="1360"/>
                  </a:lnTo>
                  <a:lnTo>
                    <a:pt x="399" y="1348"/>
                  </a:lnTo>
                  <a:lnTo>
                    <a:pt x="399" y="1348"/>
                  </a:lnTo>
                  <a:lnTo>
                    <a:pt x="399" y="1348"/>
                  </a:lnTo>
                  <a:lnTo>
                    <a:pt x="399" y="1348"/>
                  </a:lnTo>
                  <a:close/>
                  <a:moveTo>
                    <a:pt x="425" y="1384"/>
                  </a:moveTo>
                  <a:lnTo>
                    <a:pt x="413" y="1400"/>
                  </a:lnTo>
                  <a:lnTo>
                    <a:pt x="425" y="1384"/>
                  </a:lnTo>
                  <a:lnTo>
                    <a:pt x="425" y="1384"/>
                  </a:lnTo>
                  <a:lnTo>
                    <a:pt x="425" y="1384"/>
                  </a:lnTo>
                  <a:lnTo>
                    <a:pt x="425" y="1384"/>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1" name="Freeform 400">
              <a:extLst>
                <a:ext uri="{FF2B5EF4-FFF2-40B4-BE49-F238E27FC236}">
                  <a16:creationId xmlns:a16="http://schemas.microsoft.com/office/drawing/2014/main" id="{85D68A25-FAD1-430F-AA40-A07BA1DAD6A2}"/>
                </a:ext>
              </a:extLst>
            </p:cNvPr>
            <p:cNvSpPr>
              <a:spLocks/>
            </p:cNvSpPr>
            <p:nvPr/>
          </p:nvSpPr>
          <p:spPr bwMode="gray">
            <a:xfrm>
              <a:off x="13762167" y="3820821"/>
              <a:ext cx="71023" cy="145974"/>
            </a:xfrm>
            <a:custGeom>
              <a:avLst/>
              <a:gdLst>
                <a:gd name="T0" fmla="*/ 59 w 217"/>
                <a:gd name="T1" fmla="*/ 446 h 446"/>
                <a:gd name="T2" fmla="*/ 71 w 217"/>
                <a:gd name="T3" fmla="*/ 441 h 446"/>
                <a:gd name="T4" fmla="*/ 55 w 217"/>
                <a:gd name="T5" fmla="*/ 413 h 446"/>
                <a:gd name="T6" fmla="*/ 55 w 217"/>
                <a:gd name="T7" fmla="*/ 392 h 446"/>
                <a:gd name="T8" fmla="*/ 59 w 217"/>
                <a:gd name="T9" fmla="*/ 392 h 446"/>
                <a:gd name="T10" fmla="*/ 59 w 217"/>
                <a:gd name="T11" fmla="*/ 354 h 446"/>
                <a:gd name="T12" fmla="*/ 59 w 217"/>
                <a:gd name="T13" fmla="*/ 243 h 446"/>
                <a:gd name="T14" fmla="*/ 38 w 217"/>
                <a:gd name="T15" fmla="*/ 210 h 446"/>
                <a:gd name="T16" fmla="*/ 38 w 217"/>
                <a:gd name="T17" fmla="*/ 172 h 446"/>
                <a:gd name="T18" fmla="*/ 0 w 217"/>
                <a:gd name="T19" fmla="*/ 148 h 446"/>
                <a:gd name="T20" fmla="*/ 5 w 217"/>
                <a:gd name="T21" fmla="*/ 99 h 446"/>
                <a:gd name="T22" fmla="*/ 26 w 217"/>
                <a:gd name="T23" fmla="*/ 82 h 446"/>
                <a:gd name="T24" fmla="*/ 38 w 217"/>
                <a:gd name="T25" fmla="*/ 78 h 446"/>
                <a:gd name="T26" fmla="*/ 43 w 217"/>
                <a:gd name="T27" fmla="*/ 66 h 446"/>
                <a:gd name="T28" fmla="*/ 59 w 217"/>
                <a:gd name="T29" fmla="*/ 78 h 446"/>
                <a:gd name="T30" fmla="*/ 80 w 217"/>
                <a:gd name="T31" fmla="*/ 66 h 446"/>
                <a:gd name="T32" fmla="*/ 109 w 217"/>
                <a:gd name="T33" fmla="*/ 56 h 446"/>
                <a:gd name="T34" fmla="*/ 114 w 217"/>
                <a:gd name="T35" fmla="*/ 40 h 446"/>
                <a:gd name="T36" fmla="*/ 114 w 217"/>
                <a:gd name="T37" fmla="*/ 11 h 446"/>
                <a:gd name="T38" fmla="*/ 147 w 217"/>
                <a:gd name="T39" fmla="*/ 0 h 446"/>
                <a:gd name="T40" fmla="*/ 201 w 217"/>
                <a:gd name="T41" fmla="*/ 56 h 446"/>
                <a:gd name="T42" fmla="*/ 192 w 217"/>
                <a:gd name="T43" fmla="*/ 66 h 446"/>
                <a:gd name="T44" fmla="*/ 208 w 217"/>
                <a:gd name="T45" fmla="*/ 94 h 446"/>
                <a:gd name="T46" fmla="*/ 208 w 217"/>
                <a:gd name="T47" fmla="*/ 115 h 446"/>
                <a:gd name="T48" fmla="*/ 217 w 217"/>
                <a:gd name="T49" fmla="*/ 132 h 446"/>
                <a:gd name="T50" fmla="*/ 217 w 217"/>
                <a:gd name="T51" fmla="*/ 148 h 446"/>
                <a:gd name="T52" fmla="*/ 208 w 217"/>
                <a:gd name="T53" fmla="*/ 139 h 446"/>
                <a:gd name="T54" fmla="*/ 201 w 217"/>
                <a:gd name="T55" fmla="*/ 156 h 446"/>
                <a:gd name="T56" fmla="*/ 208 w 217"/>
                <a:gd name="T57" fmla="*/ 165 h 446"/>
                <a:gd name="T58" fmla="*/ 201 w 217"/>
                <a:gd name="T59" fmla="*/ 177 h 446"/>
                <a:gd name="T60" fmla="*/ 180 w 217"/>
                <a:gd name="T61" fmla="*/ 189 h 446"/>
                <a:gd name="T62" fmla="*/ 184 w 217"/>
                <a:gd name="T63" fmla="*/ 193 h 446"/>
                <a:gd name="T64" fmla="*/ 168 w 217"/>
                <a:gd name="T65" fmla="*/ 222 h 446"/>
                <a:gd name="T66" fmla="*/ 163 w 217"/>
                <a:gd name="T67" fmla="*/ 243 h 446"/>
                <a:gd name="T68" fmla="*/ 137 w 217"/>
                <a:gd name="T69" fmla="*/ 243 h 446"/>
                <a:gd name="T70" fmla="*/ 130 w 217"/>
                <a:gd name="T71" fmla="*/ 330 h 446"/>
                <a:gd name="T72" fmla="*/ 137 w 217"/>
                <a:gd name="T73" fmla="*/ 387 h 446"/>
                <a:gd name="T74" fmla="*/ 137 w 217"/>
                <a:gd name="T75" fmla="*/ 441 h 446"/>
                <a:gd name="T76" fmla="*/ 59 w 217"/>
                <a:gd name="T77" fmla="*/ 446 h 446"/>
                <a:gd name="T78" fmla="*/ 59 w 217"/>
                <a:gd name="T79" fmla="*/ 446 h 446"/>
                <a:gd name="T80" fmla="*/ 59 w 217"/>
                <a:gd name="T81"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7" h="446">
                  <a:moveTo>
                    <a:pt x="59" y="446"/>
                  </a:moveTo>
                  <a:lnTo>
                    <a:pt x="71" y="441"/>
                  </a:lnTo>
                  <a:lnTo>
                    <a:pt x="55" y="413"/>
                  </a:lnTo>
                  <a:lnTo>
                    <a:pt x="55" y="392"/>
                  </a:lnTo>
                  <a:lnTo>
                    <a:pt x="59" y="392"/>
                  </a:lnTo>
                  <a:lnTo>
                    <a:pt x="59" y="354"/>
                  </a:lnTo>
                  <a:lnTo>
                    <a:pt x="59" y="243"/>
                  </a:lnTo>
                  <a:lnTo>
                    <a:pt x="38" y="210"/>
                  </a:lnTo>
                  <a:lnTo>
                    <a:pt x="38" y="172"/>
                  </a:lnTo>
                  <a:lnTo>
                    <a:pt x="0" y="148"/>
                  </a:lnTo>
                  <a:lnTo>
                    <a:pt x="5" y="99"/>
                  </a:lnTo>
                  <a:lnTo>
                    <a:pt x="26" y="82"/>
                  </a:lnTo>
                  <a:lnTo>
                    <a:pt x="38" y="78"/>
                  </a:lnTo>
                  <a:lnTo>
                    <a:pt x="43" y="66"/>
                  </a:lnTo>
                  <a:lnTo>
                    <a:pt x="59" y="78"/>
                  </a:lnTo>
                  <a:lnTo>
                    <a:pt x="80" y="66"/>
                  </a:lnTo>
                  <a:lnTo>
                    <a:pt x="109" y="56"/>
                  </a:lnTo>
                  <a:lnTo>
                    <a:pt x="114" y="40"/>
                  </a:lnTo>
                  <a:lnTo>
                    <a:pt x="114" y="11"/>
                  </a:lnTo>
                  <a:lnTo>
                    <a:pt x="147" y="0"/>
                  </a:lnTo>
                  <a:lnTo>
                    <a:pt x="201" y="56"/>
                  </a:lnTo>
                  <a:lnTo>
                    <a:pt x="192" y="66"/>
                  </a:lnTo>
                  <a:lnTo>
                    <a:pt x="208" y="94"/>
                  </a:lnTo>
                  <a:lnTo>
                    <a:pt x="208" y="115"/>
                  </a:lnTo>
                  <a:lnTo>
                    <a:pt x="217" y="132"/>
                  </a:lnTo>
                  <a:lnTo>
                    <a:pt x="217" y="148"/>
                  </a:lnTo>
                  <a:lnTo>
                    <a:pt x="208" y="139"/>
                  </a:lnTo>
                  <a:lnTo>
                    <a:pt x="201" y="156"/>
                  </a:lnTo>
                  <a:lnTo>
                    <a:pt x="208" y="165"/>
                  </a:lnTo>
                  <a:lnTo>
                    <a:pt x="201" y="177"/>
                  </a:lnTo>
                  <a:lnTo>
                    <a:pt x="180" y="189"/>
                  </a:lnTo>
                  <a:lnTo>
                    <a:pt x="184" y="193"/>
                  </a:lnTo>
                  <a:lnTo>
                    <a:pt x="168" y="222"/>
                  </a:lnTo>
                  <a:lnTo>
                    <a:pt x="163" y="243"/>
                  </a:lnTo>
                  <a:lnTo>
                    <a:pt x="137" y="243"/>
                  </a:lnTo>
                  <a:lnTo>
                    <a:pt x="130" y="330"/>
                  </a:lnTo>
                  <a:lnTo>
                    <a:pt x="137" y="387"/>
                  </a:lnTo>
                  <a:lnTo>
                    <a:pt x="137" y="441"/>
                  </a:lnTo>
                  <a:lnTo>
                    <a:pt x="59" y="446"/>
                  </a:lnTo>
                  <a:lnTo>
                    <a:pt x="59" y="446"/>
                  </a:lnTo>
                  <a:lnTo>
                    <a:pt x="59" y="446"/>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2" name="Freeform 401">
              <a:extLst>
                <a:ext uri="{FF2B5EF4-FFF2-40B4-BE49-F238E27FC236}">
                  <a16:creationId xmlns:a16="http://schemas.microsoft.com/office/drawing/2014/main" id="{FE40FDD0-58D8-4E74-A4BB-1B95CFE1A64E}"/>
                </a:ext>
              </a:extLst>
            </p:cNvPr>
            <p:cNvSpPr>
              <a:spLocks/>
            </p:cNvSpPr>
            <p:nvPr/>
          </p:nvSpPr>
          <p:spPr bwMode="gray">
            <a:xfrm>
              <a:off x="14276350" y="2630116"/>
              <a:ext cx="221907" cy="156775"/>
            </a:xfrm>
            <a:custGeom>
              <a:avLst/>
              <a:gdLst>
                <a:gd name="T0" fmla="*/ 26 w 678"/>
                <a:gd name="T1" fmla="*/ 442 h 479"/>
                <a:gd name="T2" fmla="*/ 0 w 678"/>
                <a:gd name="T3" fmla="*/ 376 h 479"/>
                <a:gd name="T4" fmla="*/ 52 w 678"/>
                <a:gd name="T5" fmla="*/ 338 h 479"/>
                <a:gd name="T6" fmla="*/ 26 w 678"/>
                <a:gd name="T7" fmla="*/ 220 h 479"/>
                <a:gd name="T8" fmla="*/ 85 w 678"/>
                <a:gd name="T9" fmla="*/ 227 h 479"/>
                <a:gd name="T10" fmla="*/ 118 w 678"/>
                <a:gd name="T11" fmla="*/ 220 h 479"/>
                <a:gd name="T12" fmla="*/ 135 w 678"/>
                <a:gd name="T13" fmla="*/ 203 h 479"/>
                <a:gd name="T14" fmla="*/ 172 w 678"/>
                <a:gd name="T15" fmla="*/ 187 h 479"/>
                <a:gd name="T16" fmla="*/ 177 w 678"/>
                <a:gd name="T17" fmla="*/ 194 h 479"/>
                <a:gd name="T18" fmla="*/ 161 w 678"/>
                <a:gd name="T19" fmla="*/ 177 h 479"/>
                <a:gd name="T20" fmla="*/ 177 w 678"/>
                <a:gd name="T21" fmla="*/ 120 h 479"/>
                <a:gd name="T22" fmla="*/ 215 w 678"/>
                <a:gd name="T23" fmla="*/ 99 h 479"/>
                <a:gd name="T24" fmla="*/ 253 w 678"/>
                <a:gd name="T25" fmla="*/ 83 h 479"/>
                <a:gd name="T26" fmla="*/ 243 w 678"/>
                <a:gd name="T27" fmla="*/ 45 h 479"/>
                <a:gd name="T28" fmla="*/ 265 w 678"/>
                <a:gd name="T29" fmla="*/ 28 h 479"/>
                <a:gd name="T30" fmla="*/ 307 w 678"/>
                <a:gd name="T31" fmla="*/ 21 h 479"/>
                <a:gd name="T32" fmla="*/ 352 w 678"/>
                <a:gd name="T33" fmla="*/ 0 h 479"/>
                <a:gd name="T34" fmla="*/ 378 w 678"/>
                <a:gd name="T35" fmla="*/ 5 h 479"/>
                <a:gd name="T36" fmla="*/ 411 w 678"/>
                <a:gd name="T37" fmla="*/ 12 h 479"/>
                <a:gd name="T38" fmla="*/ 444 w 678"/>
                <a:gd name="T39" fmla="*/ 21 h 479"/>
                <a:gd name="T40" fmla="*/ 444 w 678"/>
                <a:gd name="T41" fmla="*/ 45 h 479"/>
                <a:gd name="T42" fmla="*/ 498 w 678"/>
                <a:gd name="T43" fmla="*/ 28 h 479"/>
                <a:gd name="T44" fmla="*/ 536 w 678"/>
                <a:gd name="T45" fmla="*/ 54 h 479"/>
                <a:gd name="T46" fmla="*/ 541 w 678"/>
                <a:gd name="T47" fmla="*/ 78 h 479"/>
                <a:gd name="T48" fmla="*/ 553 w 678"/>
                <a:gd name="T49" fmla="*/ 111 h 479"/>
                <a:gd name="T50" fmla="*/ 557 w 678"/>
                <a:gd name="T51" fmla="*/ 149 h 479"/>
                <a:gd name="T52" fmla="*/ 569 w 678"/>
                <a:gd name="T53" fmla="*/ 170 h 479"/>
                <a:gd name="T54" fmla="*/ 612 w 678"/>
                <a:gd name="T55" fmla="*/ 203 h 479"/>
                <a:gd name="T56" fmla="*/ 628 w 678"/>
                <a:gd name="T57" fmla="*/ 231 h 479"/>
                <a:gd name="T58" fmla="*/ 661 w 678"/>
                <a:gd name="T59" fmla="*/ 243 h 479"/>
                <a:gd name="T60" fmla="*/ 650 w 678"/>
                <a:gd name="T61" fmla="*/ 260 h 479"/>
                <a:gd name="T62" fmla="*/ 666 w 678"/>
                <a:gd name="T63" fmla="*/ 276 h 479"/>
                <a:gd name="T64" fmla="*/ 579 w 678"/>
                <a:gd name="T65" fmla="*/ 288 h 479"/>
                <a:gd name="T66" fmla="*/ 591 w 678"/>
                <a:gd name="T67" fmla="*/ 331 h 479"/>
                <a:gd name="T68" fmla="*/ 591 w 678"/>
                <a:gd name="T69" fmla="*/ 354 h 479"/>
                <a:gd name="T70" fmla="*/ 607 w 678"/>
                <a:gd name="T71" fmla="*/ 397 h 479"/>
                <a:gd name="T72" fmla="*/ 541 w 678"/>
                <a:gd name="T73" fmla="*/ 409 h 479"/>
                <a:gd name="T74" fmla="*/ 520 w 678"/>
                <a:gd name="T75" fmla="*/ 442 h 479"/>
                <a:gd name="T76" fmla="*/ 520 w 678"/>
                <a:gd name="T77" fmla="*/ 479 h 479"/>
                <a:gd name="T78" fmla="*/ 465 w 678"/>
                <a:gd name="T79" fmla="*/ 463 h 479"/>
                <a:gd name="T80" fmla="*/ 432 w 678"/>
                <a:gd name="T81" fmla="*/ 463 h 479"/>
                <a:gd name="T82" fmla="*/ 395 w 678"/>
                <a:gd name="T83" fmla="*/ 446 h 479"/>
                <a:gd name="T84" fmla="*/ 378 w 678"/>
                <a:gd name="T85" fmla="*/ 446 h 479"/>
                <a:gd name="T86" fmla="*/ 357 w 678"/>
                <a:gd name="T87" fmla="*/ 442 h 479"/>
                <a:gd name="T88" fmla="*/ 324 w 678"/>
                <a:gd name="T89" fmla="*/ 442 h 479"/>
                <a:gd name="T90" fmla="*/ 319 w 678"/>
                <a:gd name="T91" fmla="*/ 453 h 479"/>
                <a:gd name="T92" fmla="*/ 286 w 678"/>
                <a:gd name="T93" fmla="*/ 446 h 479"/>
                <a:gd name="T94" fmla="*/ 177 w 678"/>
                <a:gd name="T95" fmla="*/ 413 h 479"/>
                <a:gd name="T96" fmla="*/ 64 w 678"/>
                <a:gd name="T97" fmla="*/ 446 h 479"/>
                <a:gd name="T98" fmla="*/ 31 w 678"/>
                <a:gd name="T99" fmla="*/ 453 h 479"/>
                <a:gd name="T100" fmla="*/ 31 w 678"/>
                <a:gd name="T101" fmla="*/ 45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8" h="479">
                  <a:moveTo>
                    <a:pt x="31" y="453"/>
                  </a:moveTo>
                  <a:lnTo>
                    <a:pt x="26" y="442"/>
                  </a:lnTo>
                  <a:lnTo>
                    <a:pt x="31" y="397"/>
                  </a:lnTo>
                  <a:lnTo>
                    <a:pt x="0" y="376"/>
                  </a:lnTo>
                  <a:lnTo>
                    <a:pt x="14" y="359"/>
                  </a:lnTo>
                  <a:lnTo>
                    <a:pt x="52" y="338"/>
                  </a:lnTo>
                  <a:lnTo>
                    <a:pt x="52" y="305"/>
                  </a:lnTo>
                  <a:lnTo>
                    <a:pt x="26" y="220"/>
                  </a:lnTo>
                  <a:lnTo>
                    <a:pt x="69" y="220"/>
                  </a:lnTo>
                  <a:lnTo>
                    <a:pt x="85" y="227"/>
                  </a:lnTo>
                  <a:lnTo>
                    <a:pt x="102" y="210"/>
                  </a:lnTo>
                  <a:lnTo>
                    <a:pt x="118" y="220"/>
                  </a:lnTo>
                  <a:lnTo>
                    <a:pt x="118" y="194"/>
                  </a:lnTo>
                  <a:lnTo>
                    <a:pt x="135" y="203"/>
                  </a:lnTo>
                  <a:lnTo>
                    <a:pt x="161" y="177"/>
                  </a:lnTo>
                  <a:lnTo>
                    <a:pt x="172" y="187"/>
                  </a:lnTo>
                  <a:lnTo>
                    <a:pt x="161" y="194"/>
                  </a:lnTo>
                  <a:lnTo>
                    <a:pt x="177" y="194"/>
                  </a:lnTo>
                  <a:lnTo>
                    <a:pt x="177" y="177"/>
                  </a:lnTo>
                  <a:lnTo>
                    <a:pt x="161" y="177"/>
                  </a:lnTo>
                  <a:lnTo>
                    <a:pt x="177" y="153"/>
                  </a:lnTo>
                  <a:lnTo>
                    <a:pt x="177" y="120"/>
                  </a:lnTo>
                  <a:lnTo>
                    <a:pt x="210" y="116"/>
                  </a:lnTo>
                  <a:lnTo>
                    <a:pt x="215" y="99"/>
                  </a:lnTo>
                  <a:lnTo>
                    <a:pt x="232" y="99"/>
                  </a:lnTo>
                  <a:lnTo>
                    <a:pt x="253" y="83"/>
                  </a:lnTo>
                  <a:lnTo>
                    <a:pt x="232" y="78"/>
                  </a:lnTo>
                  <a:lnTo>
                    <a:pt x="243" y="45"/>
                  </a:lnTo>
                  <a:lnTo>
                    <a:pt x="253" y="45"/>
                  </a:lnTo>
                  <a:lnTo>
                    <a:pt x="265" y="28"/>
                  </a:lnTo>
                  <a:lnTo>
                    <a:pt x="307" y="38"/>
                  </a:lnTo>
                  <a:lnTo>
                    <a:pt x="307" y="21"/>
                  </a:lnTo>
                  <a:lnTo>
                    <a:pt x="335" y="0"/>
                  </a:lnTo>
                  <a:lnTo>
                    <a:pt x="352" y="0"/>
                  </a:lnTo>
                  <a:lnTo>
                    <a:pt x="357" y="5"/>
                  </a:lnTo>
                  <a:lnTo>
                    <a:pt x="378" y="5"/>
                  </a:lnTo>
                  <a:lnTo>
                    <a:pt x="390" y="21"/>
                  </a:lnTo>
                  <a:lnTo>
                    <a:pt x="411" y="12"/>
                  </a:lnTo>
                  <a:lnTo>
                    <a:pt x="432" y="21"/>
                  </a:lnTo>
                  <a:lnTo>
                    <a:pt x="444" y="21"/>
                  </a:lnTo>
                  <a:lnTo>
                    <a:pt x="432" y="38"/>
                  </a:lnTo>
                  <a:lnTo>
                    <a:pt x="444" y="45"/>
                  </a:lnTo>
                  <a:lnTo>
                    <a:pt x="470" y="28"/>
                  </a:lnTo>
                  <a:lnTo>
                    <a:pt x="498" y="28"/>
                  </a:lnTo>
                  <a:lnTo>
                    <a:pt x="515" y="28"/>
                  </a:lnTo>
                  <a:lnTo>
                    <a:pt x="536" y="54"/>
                  </a:lnTo>
                  <a:lnTo>
                    <a:pt x="541" y="54"/>
                  </a:lnTo>
                  <a:lnTo>
                    <a:pt x="541" y="78"/>
                  </a:lnTo>
                  <a:lnTo>
                    <a:pt x="536" y="83"/>
                  </a:lnTo>
                  <a:lnTo>
                    <a:pt x="553" y="111"/>
                  </a:lnTo>
                  <a:lnTo>
                    <a:pt x="536" y="132"/>
                  </a:lnTo>
                  <a:lnTo>
                    <a:pt x="557" y="149"/>
                  </a:lnTo>
                  <a:lnTo>
                    <a:pt x="557" y="165"/>
                  </a:lnTo>
                  <a:lnTo>
                    <a:pt x="569" y="170"/>
                  </a:lnTo>
                  <a:lnTo>
                    <a:pt x="574" y="187"/>
                  </a:lnTo>
                  <a:lnTo>
                    <a:pt x="612" y="203"/>
                  </a:lnTo>
                  <a:lnTo>
                    <a:pt x="607" y="231"/>
                  </a:lnTo>
                  <a:lnTo>
                    <a:pt x="628" y="231"/>
                  </a:lnTo>
                  <a:lnTo>
                    <a:pt x="650" y="243"/>
                  </a:lnTo>
                  <a:lnTo>
                    <a:pt x="661" y="243"/>
                  </a:lnTo>
                  <a:lnTo>
                    <a:pt x="650" y="248"/>
                  </a:lnTo>
                  <a:lnTo>
                    <a:pt x="650" y="260"/>
                  </a:lnTo>
                  <a:lnTo>
                    <a:pt x="678" y="265"/>
                  </a:lnTo>
                  <a:lnTo>
                    <a:pt x="666" y="276"/>
                  </a:lnTo>
                  <a:lnTo>
                    <a:pt x="633" y="298"/>
                  </a:lnTo>
                  <a:lnTo>
                    <a:pt x="579" y="288"/>
                  </a:lnTo>
                  <a:lnTo>
                    <a:pt x="569" y="305"/>
                  </a:lnTo>
                  <a:lnTo>
                    <a:pt x="591" y="331"/>
                  </a:lnTo>
                  <a:lnTo>
                    <a:pt x="579" y="338"/>
                  </a:lnTo>
                  <a:lnTo>
                    <a:pt x="591" y="354"/>
                  </a:lnTo>
                  <a:lnTo>
                    <a:pt x="591" y="376"/>
                  </a:lnTo>
                  <a:lnTo>
                    <a:pt x="607" y="397"/>
                  </a:lnTo>
                  <a:lnTo>
                    <a:pt x="541" y="397"/>
                  </a:lnTo>
                  <a:lnTo>
                    <a:pt x="541" y="409"/>
                  </a:lnTo>
                  <a:lnTo>
                    <a:pt x="524" y="425"/>
                  </a:lnTo>
                  <a:lnTo>
                    <a:pt x="520" y="442"/>
                  </a:lnTo>
                  <a:lnTo>
                    <a:pt x="524" y="470"/>
                  </a:lnTo>
                  <a:lnTo>
                    <a:pt x="520" y="479"/>
                  </a:lnTo>
                  <a:lnTo>
                    <a:pt x="487" y="453"/>
                  </a:lnTo>
                  <a:lnTo>
                    <a:pt x="465" y="463"/>
                  </a:lnTo>
                  <a:lnTo>
                    <a:pt x="461" y="453"/>
                  </a:lnTo>
                  <a:lnTo>
                    <a:pt x="432" y="463"/>
                  </a:lnTo>
                  <a:lnTo>
                    <a:pt x="416" y="442"/>
                  </a:lnTo>
                  <a:lnTo>
                    <a:pt x="395" y="446"/>
                  </a:lnTo>
                  <a:lnTo>
                    <a:pt x="390" y="463"/>
                  </a:lnTo>
                  <a:lnTo>
                    <a:pt x="378" y="446"/>
                  </a:lnTo>
                  <a:lnTo>
                    <a:pt x="357" y="446"/>
                  </a:lnTo>
                  <a:lnTo>
                    <a:pt x="357" y="442"/>
                  </a:lnTo>
                  <a:lnTo>
                    <a:pt x="340" y="446"/>
                  </a:lnTo>
                  <a:lnTo>
                    <a:pt x="324" y="442"/>
                  </a:lnTo>
                  <a:lnTo>
                    <a:pt x="319" y="453"/>
                  </a:lnTo>
                  <a:lnTo>
                    <a:pt x="319" y="453"/>
                  </a:lnTo>
                  <a:lnTo>
                    <a:pt x="319" y="446"/>
                  </a:lnTo>
                  <a:lnTo>
                    <a:pt x="286" y="446"/>
                  </a:lnTo>
                  <a:lnTo>
                    <a:pt x="281" y="430"/>
                  </a:lnTo>
                  <a:lnTo>
                    <a:pt x="177" y="413"/>
                  </a:lnTo>
                  <a:lnTo>
                    <a:pt x="85" y="413"/>
                  </a:lnTo>
                  <a:lnTo>
                    <a:pt x="64" y="446"/>
                  </a:lnTo>
                  <a:lnTo>
                    <a:pt x="31" y="442"/>
                  </a:lnTo>
                  <a:lnTo>
                    <a:pt x="31" y="453"/>
                  </a:lnTo>
                  <a:lnTo>
                    <a:pt x="31" y="453"/>
                  </a:lnTo>
                  <a:lnTo>
                    <a:pt x="31" y="453"/>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3" name="Freeform 402">
              <a:extLst>
                <a:ext uri="{FF2B5EF4-FFF2-40B4-BE49-F238E27FC236}">
                  <a16:creationId xmlns:a16="http://schemas.microsoft.com/office/drawing/2014/main" id="{BC3AA42D-4309-43E2-930D-7C90B3E4EA01}"/>
                </a:ext>
              </a:extLst>
            </p:cNvPr>
            <p:cNvSpPr>
              <a:spLocks noEditPoints="1"/>
            </p:cNvSpPr>
            <p:nvPr/>
          </p:nvSpPr>
          <p:spPr bwMode="gray">
            <a:xfrm>
              <a:off x="17313990" y="4270526"/>
              <a:ext cx="263474" cy="124700"/>
            </a:xfrm>
            <a:custGeom>
              <a:avLst/>
              <a:gdLst>
                <a:gd name="T0" fmla="*/ 80 w 805"/>
                <a:gd name="T1" fmla="*/ 0 h 381"/>
                <a:gd name="T2" fmla="*/ 135 w 805"/>
                <a:gd name="T3" fmla="*/ 55 h 381"/>
                <a:gd name="T4" fmla="*/ 12 w 805"/>
                <a:gd name="T5" fmla="*/ 33 h 381"/>
                <a:gd name="T6" fmla="*/ 17 w 805"/>
                <a:gd name="T7" fmla="*/ 38 h 381"/>
                <a:gd name="T8" fmla="*/ 12 w 805"/>
                <a:gd name="T9" fmla="*/ 55 h 381"/>
                <a:gd name="T10" fmla="*/ 156 w 805"/>
                <a:gd name="T11" fmla="*/ 67 h 381"/>
                <a:gd name="T12" fmla="*/ 156 w 805"/>
                <a:gd name="T13" fmla="*/ 67 h 381"/>
                <a:gd name="T14" fmla="*/ 210 w 805"/>
                <a:gd name="T15" fmla="*/ 67 h 381"/>
                <a:gd name="T16" fmla="*/ 302 w 805"/>
                <a:gd name="T17" fmla="*/ 128 h 381"/>
                <a:gd name="T18" fmla="*/ 302 w 805"/>
                <a:gd name="T19" fmla="*/ 137 h 381"/>
                <a:gd name="T20" fmla="*/ 92 w 805"/>
                <a:gd name="T21" fmla="*/ 83 h 381"/>
                <a:gd name="T22" fmla="*/ 118 w 805"/>
                <a:gd name="T23" fmla="*/ 111 h 381"/>
                <a:gd name="T24" fmla="*/ 118 w 805"/>
                <a:gd name="T25" fmla="*/ 111 h 381"/>
                <a:gd name="T26" fmla="*/ 146 w 805"/>
                <a:gd name="T27" fmla="*/ 137 h 381"/>
                <a:gd name="T28" fmla="*/ 118 w 805"/>
                <a:gd name="T29" fmla="*/ 121 h 381"/>
                <a:gd name="T30" fmla="*/ 146 w 805"/>
                <a:gd name="T31" fmla="*/ 121 h 381"/>
                <a:gd name="T32" fmla="*/ 163 w 805"/>
                <a:gd name="T33" fmla="*/ 145 h 381"/>
                <a:gd name="T34" fmla="*/ 118 w 805"/>
                <a:gd name="T35" fmla="*/ 111 h 381"/>
                <a:gd name="T36" fmla="*/ 406 w 805"/>
                <a:gd name="T37" fmla="*/ 182 h 381"/>
                <a:gd name="T38" fmla="*/ 364 w 805"/>
                <a:gd name="T39" fmla="*/ 137 h 381"/>
                <a:gd name="T40" fmla="*/ 378 w 805"/>
                <a:gd name="T41" fmla="*/ 161 h 381"/>
                <a:gd name="T42" fmla="*/ 406 w 805"/>
                <a:gd name="T43" fmla="*/ 182 h 381"/>
                <a:gd name="T44" fmla="*/ 298 w 805"/>
                <a:gd name="T45" fmla="*/ 145 h 381"/>
                <a:gd name="T46" fmla="*/ 118 w 805"/>
                <a:gd name="T47" fmla="*/ 145 h 381"/>
                <a:gd name="T48" fmla="*/ 135 w 805"/>
                <a:gd name="T49" fmla="*/ 149 h 381"/>
                <a:gd name="T50" fmla="*/ 180 w 805"/>
                <a:gd name="T51" fmla="*/ 137 h 381"/>
                <a:gd name="T52" fmla="*/ 172 w 805"/>
                <a:gd name="T53" fmla="*/ 161 h 381"/>
                <a:gd name="T54" fmla="*/ 189 w 805"/>
                <a:gd name="T55" fmla="*/ 161 h 381"/>
                <a:gd name="T56" fmla="*/ 135 w 805"/>
                <a:gd name="T57" fmla="*/ 149 h 381"/>
                <a:gd name="T58" fmla="*/ 146 w 805"/>
                <a:gd name="T59" fmla="*/ 161 h 381"/>
                <a:gd name="T60" fmla="*/ 248 w 805"/>
                <a:gd name="T61" fmla="*/ 182 h 381"/>
                <a:gd name="T62" fmla="*/ 319 w 805"/>
                <a:gd name="T63" fmla="*/ 178 h 381"/>
                <a:gd name="T64" fmla="*/ 335 w 805"/>
                <a:gd name="T65" fmla="*/ 182 h 381"/>
                <a:gd name="T66" fmla="*/ 335 w 805"/>
                <a:gd name="T67" fmla="*/ 182 h 381"/>
                <a:gd name="T68" fmla="*/ 364 w 805"/>
                <a:gd name="T69" fmla="*/ 239 h 381"/>
                <a:gd name="T70" fmla="*/ 286 w 805"/>
                <a:gd name="T71" fmla="*/ 199 h 381"/>
                <a:gd name="T72" fmla="*/ 373 w 805"/>
                <a:gd name="T73" fmla="*/ 232 h 381"/>
                <a:gd name="T74" fmla="*/ 411 w 805"/>
                <a:gd name="T75" fmla="*/ 222 h 381"/>
                <a:gd name="T76" fmla="*/ 428 w 805"/>
                <a:gd name="T77" fmla="*/ 232 h 381"/>
                <a:gd name="T78" fmla="*/ 482 w 805"/>
                <a:gd name="T79" fmla="*/ 310 h 381"/>
                <a:gd name="T80" fmla="*/ 406 w 805"/>
                <a:gd name="T81" fmla="*/ 272 h 381"/>
                <a:gd name="T82" fmla="*/ 470 w 805"/>
                <a:gd name="T83" fmla="*/ 305 h 381"/>
                <a:gd name="T84" fmla="*/ 720 w 805"/>
                <a:gd name="T85" fmla="*/ 305 h 381"/>
                <a:gd name="T86" fmla="*/ 730 w 805"/>
                <a:gd name="T87" fmla="*/ 310 h 381"/>
                <a:gd name="T88" fmla="*/ 775 w 805"/>
                <a:gd name="T89" fmla="*/ 343 h 381"/>
                <a:gd name="T90" fmla="*/ 352 w 805"/>
                <a:gd name="T91" fmla="*/ 381 h 381"/>
                <a:gd name="T92" fmla="*/ 352 w 805"/>
                <a:gd name="T93" fmla="*/ 381 h 381"/>
                <a:gd name="T94" fmla="*/ 805 w 805"/>
                <a:gd name="T95" fmla="*/ 364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05" h="381">
                  <a:moveTo>
                    <a:pt x="135" y="55"/>
                  </a:moveTo>
                  <a:lnTo>
                    <a:pt x="104" y="38"/>
                  </a:lnTo>
                  <a:lnTo>
                    <a:pt x="64" y="0"/>
                  </a:lnTo>
                  <a:lnTo>
                    <a:pt x="80" y="0"/>
                  </a:lnTo>
                  <a:lnTo>
                    <a:pt x="109" y="17"/>
                  </a:lnTo>
                  <a:lnTo>
                    <a:pt x="118" y="38"/>
                  </a:lnTo>
                  <a:lnTo>
                    <a:pt x="142" y="50"/>
                  </a:lnTo>
                  <a:lnTo>
                    <a:pt x="135" y="55"/>
                  </a:lnTo>
                  <a:lnTo>
                    <a:pt x="135" y="55"/>
                  </a:lnTo>
                  <a:lnTo>
                    <a:pt x="135" y="55"/>
                  </a:lnTo>
                  <a:close/>
                  <a:moveTo>
                    <a:pt x="17" y="38"/>
                  </a:moveTo>
                  <a:lnTo>
                    <a:pt x="12" y="33"/>
                  </a:lnTo>
                  <a:lnTo>
                    <a:pt x="17" y="26"/>
                  </a:lnTo>
                  <a:lnTo>
                    <a:pt x="26" y="33"/>
                  </a:lnTo>
                  <a:lnTo>
                    <a:pt x="17" y="38"/>
                  </a:lnTo>
                  <a:lnTo>
                    <a:pt x="17" y="38"/>
                  </a:lnTo>
                  <a:lnTo>
                    <a:pt x="17" y="38"/>
                  </a:lnTo>
                  <a:close/>
                  <a:moveTo>
                    <a:pt x="0" y="55"/>
                  </a:moveTo>
                  <a:lnTo>
                    <a:pt x="0" y="50"/>
                  </a:lnTo>
                  <a:lnTo>
                    <a:pt x="12" y="55"/>
                  </a:lnTo>
                  <a:lnTo>
                    <a:pt x="0" y="55"/>
                  </a:lnTo>
                  <a:lnTo>
                    <a:pt x="0" y="55"/>
                  </a:lnTo>
                  <a:lnTo>
                    <a:pt x="0" y="55"/>
                  </a:lnTo>
                  <a:close/>
                  <a:moveTo>
                    <a:pt x="156" y="67"/>
                  </a:moveTo>
                  <a:lnTo>
                    <a:pt x="156" y="55"/>
                  </a:lnTo>
                  <a:lnTo>
                    <a:pt x="156" y="67"/>
                  </a:lnTo>
                  <a:lnTo>
                    <a:pt x="156" y="67"/>
                  </a:lnTo>
                  <a:lnTo>
                    <a:pt x="156" y="67"/>
                  </a:lnTo>
                  <a:lnTo>
                    <a:pt x="156" y="67"/>
                  </a:lnTo>
                  <a:close/>
                  <a:moveTo>
                    <a:pt x="302" y="137"/>
                  </a:moveTo>
                  <a:lnTo>
                    <a:pt x="234" y="95"/>
                  </a:lnTo>
                  <a:lnTo>
                    <a:pt x="210" y="67"/>
                  </a:lnTo>
                  <a:lnTo>
                    <a:pt x="227" y="71"/>
                  </a:lnTo>
                  <a:lnTo>
                    <a:pt x="248" y="95"/>
                  </a:lnTo>
                  <a:lnTo>
                    <a:pt x="272" y="95"/>
                  </a:lnTo>
                  <a:lnTo>
                    <a:pt x="302" y="128"/>
                  </a:lnTo>
                  <a:lnTo>
                    <a:pt x="309" y="145"/>
                  </a:lnTo>
                  <a:lnTo>
                    <a:pt x="302" y="137"/>
                  </a:lnTo>
                  <a:lnTo>
                    <a:pt x="302" y="137"/>
                  </a:lnTo>
                  <a:lnTo>
                    <a:pt x="302" y="137"/>
                  </a:lnTo>
                  <a:close/>
                  <a:moveTo>
                    <a:pt x="87" y="95"/>
                  </a:moveTo>
                  <a:lnTo>
                    <a:pt x="71" y="83"/>
                  </a:lnTo>
                  <a:lnTo>
                    <a:pt x="71" y="71"/>
                  </a:lnTo>
                  <a:lnTo>
                    <a:pt x="92" y="83"/>
                  </a:lnTo>
                  <a:lnTo>
                    <a:pt x="87" y="95"/>
                  </a:lnTo>
                  <a:lnTo>
                    <a:pt x="87" y="95"/>
                  </a:lnTo>
                  <a:lnTo>
                    <a:pt x="87" y="95"/>
                  </a:lnTo>
                  <a:close/>
                  <a:moveTo>
                    <a:pt x="118" y="111"/>
                  </a:moveTo>
                  <a:lnTo>
                    <a:pt x="104" y="104"/>
                  </a:lnTo>
                  <a:lnTo>
                    <a:pt x="109" y="88"/>
                  </a:lnTo>
                  <a:lnTo>
                    <a:pt x="118" y="95"/>
                  </a:lnTo>
                  <a:lnTo>
                    <a:pt x="118" y="111"/>
                  </a:lnTo>
                  <a:lnTo>
                    <a:pt x="118" y="111"/>
                  </a:lnTo>
                  <a:lnTo>
                    <a:pt x="118" y="111"/>
                  </a:lnTo>
                  <a:close/>
                  <a:moveTo>
                    <a:pt x="163" y="145"/>
                  </a:moveTo>
                  <a:lnTo>
                    <a:pt x="146" y="137"/>
                  </a:lnTo>
                  <a:lnTo>
                    <a:pt x="142" y="121"/>
                  </a:lnTo>
                  <a:lnTo>
                    <a:pt x="146" y="128"/>
                  </a:lnTo>
                  <a:lnTo>
                    <a:pt x="142" y="121"/>
                  </a:lnTo>
                  <a:lnTo>
                    <a:pt x="118" y="121"/>
                  </a:lnTo>
                  <a:lnTo>
                    <a:pt x="118" y="121"/>
                  </a:lnTo>
                  <a:lnTo>
                    <a:pt x="135" y="95"/>
                  </a:lnTo>
                  <a:lnTo>
                    <a:pt x="146" y="104"/>
                  </a:lnTo>
                  <a:lnTo>
                    <a:pt x="146" y="121"/>
                  </a:lnTo>
                  <a:lnTo>
                    <a:pt x="156" y="121"/>
                  </a:lnTo>
                  <a:lnTo>
                    <a:pt x="172" y="137"/>
                  </a:lnTo>
                  <a:lnTo>
                    <a:pt x="163" y="145"/>
                  </a:lnTo>
                  <a:lnTo>
                    <a:pt x="163" y="145"/>
                  </a:lnTo>
                  <a:lnTo>
                    <a:pt x="163" y="145"/>
                  </a:lnTo>
                  <a:close/>
                  <a:moveTo>
                    <a:pt x="118" y="121"/>
                  </a:moveTo>
                  <a:lnTo>
                    <a:pt x="109" y="111"/>
                  </a:lnTo>
                  <a:lnTo>
                    <a:pt x="118" y="111"/>
                  </a:lnTo>
                  <a:lnTo>
                    <a:pt x="118" y="121"/>
                  </a:lnTo>
                  <a:lnTo>
                    <a:pt x="118" y="121"/>
                  </a:lnTo>
                  <a:lnTo>
                    <a:pt x="118" y="121"/>
                  </a:lnTo>
                  <a:close/>
                  <a:moveTo>
                    <a:pt x="406" y="182"/>
                  </a:moveTo>
                  <a:lnTo>
                    <a:pt x="411" y="215"/>
                  </a:lnTo>
                  <a:lnTo>
                    <a:pt x="373" y="178"/>
                  </a:lnTo>
                  <a:lnTo>
                    <a:pt x="364" y="145"/>
                  </a:lnTo>
                  <a:lnTo>
                    <a:pt x="364" y="137"/>
                  </a:lnTo>
                  <a:lnTo>
                    <a:pt x="357" y="128"/>
                  </a:lnTo>
                  <a:lnTo>
                    <a:pt x="373" y="128"/>
                  </a:lnTo>
                  <a:lnTo>
                    <a:pt x="390" y="145"/>
                  </a:lnTo>
                  <a:lnTo>
                    <a:pt x="378" y="161"/>
                  </a:lnTo>
                  <a:lnTo>
                    <a:pt x="394" y="166"/>
                  </a:lnTo>
                  <a:lnTo>
                    <a:pt x="406" y="182"/>
                  </a:lnTo>
                  <a:lnTo>
                    <a:pt x="406" y="182"/>
                  </a:lnTo>
                  <a:lnTo>
                    <a:pt x="406" y="182"/>
                  </a:lnTo>
                  <a:close/>
                  <a:moveTo>
                    <a:pt x="298" y="145"/>
                  </a:moveTo>
                  <a:lnTo>
                    <a:pt x="281" y="137"/>
                  </a:lnTo>
                  <a:lnTo>
                    <a:pt x="286" y="128"/>
                  </a:lnTo>
                  <a:lnTo>
                    <a:pt x="298" y="145"/>
                  </a:lnTo>
                  <a:lnTo>
                    <a:pt x="298" y="145"/>
                  </a:lnTo>
                  <a:lnTo>
                    <a:pt x="298" y="145"/>
                  </a:lnTo>
                  <a:close/>
                  <a:moveTo>
                    <a:pt x="135" y="149"/>
                  </a:moveTo>
                  <a:lnTo>
                    <a:pt x="118" y="145"/>
                  </a:lnTo>
                  <a:lnTo>
                    <a:pt x="135" y="128"/>
                  </a:lnTo>
                  <a:lnTo>
                    <a:pt x="135" y="149"/>
                  </a:lnTo>
                  <a:lnTo>
                    <a:pt x="135" y="149"/>
                  </a:lnTo>
                  <a:lnTo>
                    <a:pt x="135" y="149"/>
                  </a:lnTo>
                  <a:close/>
                  <a:moveTo>
                    <a:pt x="172" y="161"/>
                  </a:moveTo>
                  <a:lnTo>
                    <a:pt x="163" y="149"/>
                  </a:lnTo>
                  <a:lnTo>
                    <a:pt x="163" y="145"/>
                  </a:lnTo>
                  <a:lnTo>
                    <a:pt x="180" y="137"/>
                  </a:lnTo>
                  <a:lnTo>
                    <a:pt x="180" y="149"/>
                  </a:lnTo>
                  <a:lnTo>
                    <a:pt x="172" y="161"/>
                  </a:lnTo>
                  <a:lnTo>
                    <a:pt x="172" y="161"/>
                  </a:lnTo>
                  <a:lnTo>
                    <a:pt x="172" y="161"/>
                  </a:lnTo>
                  <a:close/>
                  <a:moveTo>
                    <a:pt x="189" y="161"/>
                  </a:moveTo>
                  <a:lnTo>
                    <a:pt x="189" y="149"/>
                  </a:lnTo>
                  <a:lnTo>
                    <a:pt x="194" y="161"/>
                  </a:lnTo>
                  <a:lnTo>
                    <a:pt x="189" y="161"/>
                  </a:lnTo>
                  <a:lnTo>
                    <a:pt x="189" y="161"/>
                  </a:lnTo>
                  <a:lnTo>
                    <a:pt x="189" y="161"/>
                  </a:lnTo>
                  <a:close/>
                  <a:moveTo>
                    <a:pt x="146" y="161"/>
                  </a:moveTo>
                  <a:lnTo>
                    <a:pt x="135" y="149"/>
                  </a:lnTo>
                  <a:lnTo>
                    <a:pt x="142" y="149"/>
                  </a:lnTo>
                  <a:lnTo>
                    <a:pt x="146" y="161"/>
                  </a:lnTo>
                  <a:lnTo>
                    <a:pt x="146" y="161"/>
                  </a:lnTo>
                  <a:lnTo>
                    <a:pt x="146" y="161"/>
                  </a:lnTo>
                  <a:close/>
                  <a:moveTo>
                    <a:pt x="248" y="182"/>
                  </a:moveTo>
                  <a:lnTo>
                    <a:pt x="248" y="178"/>
                  </a:lnTo>
                  <a:lnTo>
                    <a:pt x="255" y="178"/>
                  </a:lnTo>
                  <a:lnTo>
                    <a:pt x="248" y="182"/>
                  </a:lnTo>
                  <a:lnTo>
                    <a:pt x="248" y="182"/>
                  </a:lnTo>
                  <a:lnTo>
                    <a:pt x="248" y="182"/>
                  </a:lnTo>
                  <a:close/>
                  <a:moveTo>
                    <a:pt x="335" y="182"/>
                  </a:moveTo>
                  <a:lnTo>
                    <a:pt x="319" y="178"/>
                  </a:lnTo>
                  <a:lnTo>
                    <a:pt x="335" y="178"/>
                  </a:lnTo>
                  <a:lnTo>
                    <a:pt x="335" y="182"/>
                  </a:lnTo>
                  <a:lnTo>
                    <a:pt x="335" y="182"/>
                  </a:lnTo>
                  <a:lnTo>
                    <a:pt x="335" y="182"/>
                  </a:lnTo>
                  <a:close/>
                  <a:moveTo>
                    <a:pt x="335" y="182"/>
                  </a:moveTo>
                  <a:lnTo>
                    <a:pt x="335" y="178"/>
                  </a:lnTo>
                  <a:lnTo>
                    <a:pt x="340" y="182"/>
                  </a:lnTo>
                  <a:lnTo>
                    <a:pt x="335" y="182"/>
                  </a:lnTo>
                  <a:lnTo>
                    <a:pt x="335" y="182"/>
                  </a:lnTo>
                  <a:lnTo>
                    <a:pt x="335" y="182"/>
                  </a:lnTo>
                  <a:close/>
                  <a:moveTo>
                    <a:pt x="373" y="232"/>
                  </a:moveTo>
                  <a:lnTo>
                    <a:pt x="364" y="239"/>
                  </a:lnTo>
                  <a:lnTo>
                    <a:pt x="335" y="232"/>
                  </a:lnTo>
                  <a:lnTo>
                    <a:pt x="302" y="232"/>
                  </a:lnTo>
                  <a:lnTo>
                    <a:pt x="286" y="215"/>
                  </a:lnTo>
                  <a:lnTo>
                    <a:pt x="286" y="199"/>
                  </a:lnTo>
                  <a:lnTo>
                    <a:pt x="298" y="194"/>
                  </a:lnTo>
                  <a:lnTo>
                    <a:pt x="309" y="204"/>
                  </a:lnTo>
                  <a:lnTo>
                    <a:pt x="340" y="204"/>
                  </a:lnTo>
                  <a:lnTo>
                    <a:pt x="373" y="232"/>
                  </a:lnTo>
                  <a:lnTo>
                    <a:pt x="373" y="232"/>
                  </a:lnTo>
                  <a:lnTo>
                    <a:pt x="373" y="232"/>
                  </a:lnTo>
                  <a:close/>
                  <a:moveTo>
                    <a:pt x="428" y="232"/>
                  </a:moveTo>
                  <a:lnTo>
                    <a:pt x="411" y="222"/>
                  </a:lnTo>
                  <a:lnTo>
                    <a:pt x="411" y="199"/>
                  </a:lnTo>
                  <a:lnTo>
                    <a:pt x="428" y="215"/>
                  </a:lnTo>
                  <a:lnTo>
                    <a:pt x="428" y="232"/>
                  </a:lnTo>
                  <a:lnTo>
                    <a:pt x="428" y="232"/>
                  </a:lnTo>
                  <a:lnTo>
                    <a:pt x="428" y="232"/>
                  </a:lnTo>
                  <a:close/>
                  <a:moveTo>
                    <a:pt x="470" y="305"/>
                  </a:moveTo>
                  <a:lnTo>
                    <a:pt x="470" y="305"/>
                  </a:lnTo>
                  <a:lnTo>
                    <a:pt x="482" y="310"/>
                  </a:lnTo>
                  <a:lnTo>
                    <a:pt x="444" y="293"/>
                  </a:lnTo>
                  <a:lnTo>
                    <a:pt x="428" y="289"/>
                  </a:lnTo>
                  <a:lnTo>
                    <a:pt x="416" y="272"/>
                  </a:lnTo>
                  <a:lnTo>
                    <a:pt x="406" y="272"/>
                  </a:lnTo>
                  <a:lnTo>
                    <a:pt x="406" y="260"/>
                  </a:lnTo>
                  <a:lnTo>
                    <a:pt x="444" y="277"/>
                  </a:lnTo>
                  <a:lnTo>
                    <a:pt x="465" y="277"/>
                  </a:lnTo>
                  <a:lnTo>
                    <a:pt x="470" y="305"/>
                  </a:lnTo>
                  <a:lnTo>
                    <a:pt x="470" y="305"/>
                  </a:lnTo>
                  <a:lnTo>
                    <a:pt x="470" y="305"/>
                  </a:lnTo>
                  <a:close/>
                  <a:moveTo>
                    <a:pt x="730" y="310"/>
                  </a:moveTo>
                  <a:lnTo>
                    <a:pt x="720" y="305"/>
                  </a:lnTo>
                  <a:lnTo>
                    <a:pt x="720" y="305"/>
                  </a:lnTo>
                  <a:lnTo>
                    <a:pt x="754" y="293"/>
                  </a:lnTo>
                  <a:lnTo>
                    <a:pt x="730" y="310"/>
                  </a:lnTo>
                  <a:lnTo>
                    <a:pt x="730" y="310"/>
                  </a:lnTo>
                  <a:lnTo>
                    <a:pt x="730" y="310"/>
                  </a:lnTo>
                  <a:close/>
                  <a:moveTo>
                    <a:pt x="775" y="343"/>
                  </a:moveTo>
                  <a:lnTo>
                    <a:pt x="775" y="343"/>
                  </a:lnTo>
                  <a:lnTo>
                    <a:pt x="775" y="343"/>
                  </a:lnTo>
                  <a:lnTo>
                    <a:pt x="775" y="343"/>
                  </a:lnTo>
                  <a:lnTo>
                    <a:pt x="775" y="343"/>
                  </a:lnTo>
                  <a:lnTo>
                    <a:pt x="775" y="343"/>
                  </a:lnTo>
                  <a:close/>
                  <a:moveTo>
                    <a:pt x="352" y="381"/>
                  </a:moveTo>
                  <a:lnTo>
                    <a:pt x="309" y="359"/>
                  </a:lnTo>
                  <a:lnTo>
                    <a:pt x="352" y="364"/>
                  </a:lnTo>
                  <a:lnTo>
                    <a:pt x="352" y="381"/>
                  </a:lnTo>
                  <a:lnTo>
                    <a:pt x="352" y="381"/>
                  </a:lnTo>
                  <a:lnTo>
                    <a:pt x="352" y="381"/>
                  </a:lnTo>
                  <a:close/>
                  <a:moveTo>
                    <a:pt x="796" y="364"/>
                  </a:moveTo>
                  <a:lnTo>
                    <a:pt x="791" y="359"/>
                  </a:lnTo>
                  <a:lnTo>
                    <a:pt x="805" y="364"/>
                  </a:lnTo>
                  <a:lnTo>
                    <a:pt x="796" y="364"/>
                  </a:lnTo>
                  <a:lnTo>
                    <a:pt x="796" y="364"/>
                  </a:lnTo>
                  <a:lnTo>
                    <a:pt x="796" y="364"/>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4" name="Freeform 403">
              <a:extLst>
                <a:ext uri="{FF2B5EF4-FFF2-40B4-BE49-F238E27FC236}">
                  <a16:creationId xmlns:a16="http://schemas.microsoft.com/office/drawing/2014/main" id="{7CD1C39A-DCDC-4687-8730-08A5AA24979A}"/>
                </a:ext>
              </a:extLst>
            </p:cNvPr>
            <p:cNvSpPr>
              <a:spLocks noEditPoints="1"/>
            </p:cNvSpPr>
            <p:nvPr/>
          </p:nvSpPr>
          <p:spPr bwMode="gray">
            <a:xfrm>
              <a:off x="12044187" y="3990688"/>
              <a:ext cx="901702" cy="949488"/>
            </a:xfrm>
            <a:custGeom>
              <a:avLst/>
              <a:gdLst>
                <a:gd name="T0" fmla="*/ 291 w 2755"/>
                <a:gd name="T1" fmla="*/ 255 h 2901"/>
                <a:gd name="T2" fmla="*/ 593 w 2755"/>
                <a:gd name="T3" fmla="*/ 312 h 2901"/>
                <a:gd name="T4" fmla="*/ 702 w 2755"/>
                <a:gd name="T5" fmla="*/ 201 h 2901"/>
                <a:gd name="T6" fmla="*/ 794 w 2755"/>
                <a:gd name="T7" fmla="*/ 90 h 2901"/>
                <a:gd name="T8" fmla="*/ 967 w 2755"/>
                <a:gd name="T9" fmla="*/ 0 h 2901"/>
                <a:gd name="T10" fmla="*/ 1009 w 2755"/>
                <a:gd name="T11" fmla="*/ 246 h 2901"/>
                <a:gd name="T12" fmla="*/ 1172 w 2755"/>
                <a:gd name="T13" fmla="*/ 239 h 2901"/>
                <a:gd name="T14" fmla="*/ 1366 w 2755"/>
                <a:gd name="T15" fmla="*/ 206 h 2901"/>
                <a:gd name="T16" fmla="*/ 1604 w 2755"/>
                <a:gd name="T17" fmla="*/ 95 h 2901"/>
                <a:gd name="T18" fmla="*/ 1600 w 2755"/>
                <a:gd name="T19" fmla="*/ 390 h 2901"/>
                <a:gd name="T20" fmla="*/ 1637 w 2755"/>
                <a:gd name="T21" fmla="*/ 506 h 2901"/>
                <a:gd name="T22" fmla="*/ 1637 w 2755"/>
                <a:gd name="T23" fmla="*/ 539 h 2901"/>
                <a:gd name="T24" fmla="*/ 1784 w 2755"/>
                <a:gd name="T25" fmla="*/ 485 h 2901"/>
                <a:gd name="T26" fmla="*/ 1869 w 2755"/>
                <a:gd name="T27" fmla="*/ 423 h 2901"/>
                <a:gd name="T28" fmla="*/ 1982 w 2755"/>
                <a:gd name="T29" fmla="*/ 461 h 2901"/>
                <a:gd name="T30" fmla="*/ 2063 w 2755"/>
                <a:gd name="T31" fmla="*/ 506 h 2901"/>
                <a:gd name="T32" fmla="*/ 2091 w 2755"/>
                <a:gd name="T33" fmla="*/ 577 h 2901"/>
                <a:gd name="T34" fmla="*/ 2301 w 2755"/>
                <a:gd name="T35" fmla="*/ 589 h 2901"/>
                <a:gd name="T36" fmla="*/ 2750 w 2755"/>
                <a:gd name="T37" fmla="*/ 884 h 2901"/>
                <a:gd name="T38" fmla="*/ 2594 w 2755"/>
                <a:gd name="T39" fmla="*/ 1172 h 2901"/>
                <a:gd name="T40" fmla="*/ 2469 w 2755"/>
                <a:gd name="T41" fmla="*/ 1309 h 2901"/>
                <a:gd name="T42" fmla="*/ 2448 w 2755"/>
                <a:gd name="T43" fmla="*/ 1625 h 2901"/>
                <a:gd name="T44" fmla="*/ 2322 w 2755"/>
                <a:gd name="T45" fmla="*/ 1937 h 2901"/>
                <a:gd name="T46" fmla="*/ 2117 w 2755"/>
                <a:gd name="T47" fmla="*/ 2053 h 2901"/>
                <a:gd name="T48" fmla="*/ 1944 w 2755"/>
                <a:gd name="T49" fmla="*/ 2143 h 2901"/>
                <a:gd name="T50" fmla="*/ 1777 w 2755"/>
                <a:gd name="T51" fmla="*/ 2287 h 2901"/>
                <a:gd name="T52" fmla="*/ 1767 w 2755"/>
                <a:gd name="T53" fmla="*/ 2476 h 2901"/>
                <a:gd name="T54" fmla="*/ 1600 w 2755"/>
                <a:gd name="T55" fmla="*/ 2719 h 2901"/>
                <a:gd name="T56" fmla="*/ 1604 w 2755"/>
                <a:gd name="T57" fmla="*/ 2625 h 2901"/>
                <a:gd name="T58" fmla="*/ 1496 w 2755"/>
                <a:gd name="T59" fmla="*/ 2851 h 2901"/>
                <a:gd name="T60" fmla="*/ 1210 w 2755"/>
                <a:gd name="T61" fmla="*/ 2620 h 2901"/>
                <a:gd name="T62" fmla="*/ 1281 w 2755"/>
                <a:gd name="T63" fmla="*/ 2464 h 2901"/>
                <a:gd name="T64" fmla="*/ 1366 w 2755"/>
                <a:gd name="T65" fmla="*/ 2259 h 2901"/>
                <a:gd name="T66" fmla="*/ 1238 w 2755"/>
                <a:gd name="T67" fmla="*/ 1992 h 2901"/>
                <a:gd name="T68" fmla="*/ 1146 w 2755"/>
                <a:gd name="T69" fmla="*/ 1659 h 2901"/>
                <a:gd name="T70" fmla="*/ 858 w 2755"/>
                <a:gd name="T71" fmla="*/ 1366 h 2901"/>
                <a:gd name="T72" fmla="*/ 631 w 2755"/>
                <a:gd name="T73" fmla="*/ 1243 h 2901"/>
                <a:gd name="T74" fmla="*/ 471 w 2755"/>
                <a:gd name="T75" fmla="*/ 1127 h 2901"/>
                <a:gd name="T76" fmla="*/ 248 w 2755"/>
                <a:gd name="T77" fmla="*/ 1061 h 2901"/>
                <a:gd name="T78" fmla="*/ 17 w 2755"/>
                <a:gd name="T79" fmla="*/ 888 h 2901"/>
                <a:gd name="T80" fmla="*/ 286 w 2755"/>
                <a:gd name="T81" fmla="*/ 683 h 2901"/>
                <a:gd name="T82" fmla="*/ 1685 w 2755"/>
                <a:gd name="T83" fmla="*/ 312 h 2901"/>
                <a:gd name="T84" fmla="*/ 1685 w 2755"/>
                <a:gd name="T85" fmla="*/ 333 h 2901"/>
                <a:gd name="T86" fmla="*/ 1706 w 2755"/>
                <a:gd name="T87" fmla="*/ 357 h 2901"/>
                <a:gd name="T88" fmla="*/ 1706 w 2755"/>
                <a:gd name="T89" fmla="*/ 390 h 2901"/>
                <a:gd name="T90" fmla="*/ 1621 w 2755"/>
                <a:gd name="T91" fmla="*/ 383 h 2901"/>
                <a:gd name="T92" fmla="*/ 1637 w 2755"/>
                <a:gd name="T93" fmla="*/ 411 h 2901"/>
                <a:gd name="T94" fmla="*/ 1685 w 2755"/>
                <a:gd name="T95" fmla="*/ 501 h 2901"/>
                <a:gd name="T96" fmla="*/ 1621 w 2755"/>
                <a:gd name="T97" fmla="*/ 407 h 2901"/>
                <a:gd name="T98" fmla="*/ 1630 w 2755"/>
                <a:gd name="T99" fmla="*/ 407 h 2901"/>
                <a:gd name="T100" fmla="*/ 1550 w 2755"/>
                <a:gd name="T101" fmla="*/ 485 h 2901"/>
                <a:gd name="T102" fmla="*/ 1831 w 2755"/>
                <a:gd name="T103" fmla="*/ 428 h 2901"/>
                <a:gd name="T104" fmla="*/ 1928 w 2755"/>
                <a:gd name="T105" fmla="*/ 449 h 2901"/>
                <a:gd name="T106" fmla="*/ 2037 w 2755"/>
                <a:gd name="T107" fmla="*/ 468 h 2901"/>
                <a:gd name="T108" fmla="*/ 1529 w 2755"/>
                <a:gd name="T109" fmla="*/ 501 h 2901"/>
                <a:gd name="T110" fmla="*/ 1760 w 2755"/>
                <a:gd name="T111" fmla="*/ 506 h 2901"/>
                <a:gd name="T112" fmla="*/ 2247 w 2755"/>
                <a:gd name="T113" fmla="*/ 577 h 2901"/>
                <a:gd name="T114" fmla="*/ 2485 w 2755"/>
                <a:gd name="T115" fmla="*/ 1309 h 2901"/>
                <a:gd name="T116" fmla="*/ 2464 w 2755"/>
                <a:gd name="T117" fmla="*/ 1370 h 2901"/>
                <a:gd name="T118" fmla="*/ 2020 w 2755"/>
                <a:gd name="T119" fmla="*/ 2143 h 2901"/>
                <a:gd name="T120" fmla="*/ 1777 w 2755"/>
                <a:gd name="T121" fmla="*/ 2313 h 2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55" h="2901">
                  <a:moveTo>
                    <a:pt x="286" y="683"/>
                  </a:moveTo>
                  <a:lnTo>
                    <a:pt x="324" y="477"/>
                  </a:lnTo>
                  <a:lnTo>
                    <a:pt x="324" y="449"/>
                  </a:lnTo>
                  <a:lnTo>
                    <a:pt x="308" y="428"/>
                  </a:lnTo>
                  <a:lnTo>
                    <a:pt x="308" y="411"/>
                  </a:lnTo>
                  <a:lnTo>
                    <a:pt x="274" y="390"/>
                  </a:lnTo>
                  <a:lnTo>
                    <a:pt x="274" y="333"/>
                  </a:lnTo>
                  <a:lnTo>
                    <a:pt x="324" y="329"/>
                  </a:lnTo>
                  <a:lnTo>
                    <a:pt x="329" y="333"/>
                  </a:lnTo>
                  <a:lnTo>
                    <a:pt x="345" y="333"/>
                  </a:lnTo>
                  <a:lnTo>
                    <a:pt x="341" y="317"/>
                  </a:lnTo>
                  <a:lnTo>
                    <a:pt x="329" y="300"/>
                  </a:lnTo>
                  <a:lnTo>
                    <a:pt x="291" y="300"/>
                  </a:lnTo>
                  <a:lnTo>
                    <a:pt x="291" y="255"/>
                  </a:lnTo>
                  <a:lnTo>
                    <a:pt x="319" y="246"/>
                  </a:lnTo>
                  <a:lnTo>
                    <a:pt x="411" y="255"/>
                  </a:lnTo>
                  <a:lnTo>
                    <a:pt x="400" y="246"/>
                  </a:lnTo>
                  <a:lnTo>
                    <a:pt x="411" y="239"/>
                  </a:lnTo>
                  <a:lnTo>
                    <a:pt x="433" y="255"/>
                  </a:lnTo>
                  <a:lnTo>
                    <a:pt x="466" y="222"/>
                  </a:lnTo>
                  <a:lnTo>
                    <a:pt x="471" y="222"/>
                  </a:lnTo>
                  <a:lnTo>
                    <a:pt x="487" y="263"/>
                  </a:lnTo>
                  <a:lnTo>
                    <a:pt x="487" y="296"/>
                  </a:lnTo>
                  <a:lnTo>
                    <a:pt x="504" y="296"/>
                  </a:lnTo>
                  <a:lnTo>
                    <a:pt x="541" y="329"/>
                  </a:lnTo>
                  <a:lnTo>
                    <a:pt x="556" y="329"/>
                  </a:lnTo>
                  <a:lnTo>
                    <a:pt x="579" y="312"/>
                  </a:lnTo>
                  <a:lnTo>
                    <a:pt x="593" y="312"/>
                  </a:lnTo>
                  <a:lnTo>
                    <a:pt x="593" y="329"/>
                  </a:lnTo>
                  <a:lnTo>
                    <a:pt x="593" y="333"/>
                  </a:lnTo>
                  <a:lnTo>
                    <a:pt x="610" y="312"/>
                  </a:lnTo>
                  <a:lnTo>
                    <a:pt x="617" y="312"/>
                  </a:lnTo>
                  <a:lnTo>
                    <a:pt x="626" y="296"/>
                  </a:lnTo>
                  <a:lnTo>
                    <a:pt x="648" y="284"/>
                  </a:lnTo>
                  <a:lnTo>
                    <a:pt x="659" y="284"/>
                  </a:lnTo>
                  <a:lnTo>
                    <a:pt x="681" y="267"/>
                  </a:lnTo>
                  <a:lnTo>
                    <a:pt x="685" y="267"/>
                  </a:lnTo>
                  <a:lnTo>
                    <a:pt x="697" y="263"/>
                  </a:lnTo>
                  <a:lnTo>
                    <a:pt x="702" y="239"/>
                  </a:lnTo>
                  <a:lnTo>
                    <a:pt x="752" y="222"/>
                  </a:lnTo>
                  <a:lnTo>
                    <a:pt x="752" y="206"/>
                  </a:lnTo>
                  <a:lnTo>
                    <a:pt x="702" y="201"/>
                  </a:lnTo>
                  <a:lnTo>
                    <a:pt x="702" y="185"/>
                  </a:lnTo>
                  <a:lnTo>
                    <a:pt x="685" y="152"/>
                  </a:lnTo>
                  <a:lnTo>
                    <a:pt x="685" y="118"/>
                  </a:lnTo>
                  <a:lnTo>
                    <a:pt x="659" y="90"/>
                  </a:lnTo>
                  <a:lnTo>
                    <a:pt x="648" y="74"/>
                  </a:lnTo>
                  <a:lnTo>
                    <a:pt x="664" y="78"/>
                  </a:lnTo>
                  <a:lnTo>
                    <a:pt x="697" y="78"/>
                  </a:lnTo>
                  <a:lnTo>
                    <a:pt x="702" y="95"/>
                  </a:lnTo>
                  <a:lnTo>
                    <a:pt x="719" y="95"/>
                  </a:lnTo>
                  <a:lnTo>
                    <a:pt x="740" y="102"/>
                  </a:lnTo>
                  <a:lnTo>
                    <a:pt x="752" y="95"/>
                  </a:lnTo>
                  <a:lnTo>
                    <a:pt x="778" y="118"/>
                  </a:lnTo>
                  <a:lnTo>
                    <a:pt x="794" y="111"/>
                  </a:lnTo>
                  <a:lnTo>
                    <a:pt x="794" y="90"/>
                  </a:lnTo>
                  <a:lnTo>
                    <a:pt x="806" y="90"/>
                  </a:lnTo>
                  <a:lnTo>
                    <a:pt x="811" y="78"/>
                  </a:lnTo>
                  <a:lnTo>
                    <a:pt x="832" y="78"/>
                  </a:lnTo>
                  <a:lnTo>
                    <a:pt x="858" y="78"/>
                  </a:lnTo>
                  <a:lnTo>
                    <a:pt x="865" y="74"/>
                  </a:lnTo>
                  <a:lnTo>
                    <a:pt x="874" y="74"/>
                  </a:lnTo>
                  <a:lnTo>
                    <a:pt x="882" y="62"/>
                  </a:lnTo>
                  <a:lnTo>
                    <a:pt x="896" y="57"/>
                  </a:lnTo>
                  <a:lnTo>
                    <a:pt x="919" y="45"/>
                  </a:lnTo>
                  <a:lnTo>
                    <a:pt x="929" y="40"/>
                  </a:lnTo>
                  <a:lnTo>
                    <a:pt x="941" y="24"/>
                  </a:lnTo>
                  <a:lnTo>
                    <a:pt x="941" y="7"/>
                  </a:lnTo>
                  <a:lnTo>
                    <a:pt x="933" y="0"/>
                  </a:lnTo>
                  <a:lnTo>
                    <a:pt x="967" y="0"/>
                  </a:lnTo>
                  <a:lnTo>
                    <a:pt x="971" y="0"/>
                  </a:lnTo>
                  <a:lnTo>
                    <a:pt x="983" y="7"/>
                  </a:lnTo>
                  <a:lnTo>
                    <a:pt x="988" y="17"/>
                  </a:lnTo>
                  <a:lnTo>
                    <a:pt x="983" y="40"/>
                  </a:lnTo>
                  <a:lnTo>
                    <a:pt x="971" y="57"/>
                  </a:lnTo>
                  <a:lnTo>
                    <a:pt x="1004" y="62"/>
                  </a:lnTo>
                  <a:lnTo>
                    <a:pt x="1004" y="74"/>
                  </a:lnTo>
                  <a:lnTo>
                    <a:pt x="1009" y="95"/>
                  </a:lnTo>
                  <a:lnTo>
                    <a:pt x="995" y="128"/>
                  </a:lnTo>
                  <a:lnTo>
                    <a:pt x="988" y="185"/>
                  </a:lnTo>
                  <a:lnTo>
                    <a:pt x="995" y="206"/>
                  </a:lnTo>
                  <a:lnTo>
                    <a:pt x="1004" y="211"/>
                  </a:lnTo>
                  <a:lnTo>
                    <a:pt x="1004" y="246"/>
                  </a:lnTo>
                  <a:lnTo>
                    <a:pt x="1009" y="246"/>
                  </a:lnTo>
                  <a:lnTo>
                    <a:pt x="1009" y="255"/>
                  </a:lnTo>
                  <a:lnTo>
                    <a:pt x="1021" y="255"/>
                  </a:lnTo>
                  <a:lnTo>
                    <a:pt x="1037" y="279"/>
                  </a:lnTo>
                  <a:lnTo>
                    <a:pt x="1059" y="284"/>
                  </a:lnTo>
                  <a:lnTo>
                    <a:pt x="1063" y="296"/>
                  </a:lnTo>
                  <a:lnTo>
                    <a:pt x="1075" y="284"/>
                  </a:lnTo>
                  <a:lnTo>
                    <a:pt x="1092" y="284"/>
                  </a:lnTo>
                  <a:lnTo>
                    <a:pt x="1092" y="267"/>
                  </a:lnTo>
                  <a:lnTo>
                    <a:pt x="1101" y="263"/>
                  </a:lnTo>
                  <a:lnTo>
                    <a:pt x="1130" y="267"/>
                  </a:lnTo>
                  <a:lnTo>
                    <a:pt x="1130" y="263"/>
                  </a:lnTo>
                  <a:lnTo>
                    <a:pt x="1146" y="255"/>
                  </a:lnTo>
                  <a:lnTo>
                    <a:pt x="1156" y="255"/>
                  </a:lnTo>
                  <a:lnTo>
                    <a:pt x="1172" y="239"/>
                  </a:lnTo>
                  <a:lnTo>
                    <a:pt x="1189" y="229"/>
                  </a:lnTo>
                  <a:lnTo>
                    <a:pt x="1210" y="246"/>
                  </a:lnTo>
                  <a:lnTo>
                    <a:pt x="1238" y="239"/>
                  </a:lnTo>
                  <a:lnTo>
                    <a:pt x="1264" y="246"/>
                  </a:lnTo>
                  <a:lnTo>
                    <a:pt x="1276" y="239"/>
                  </a:lnTo>
                  <a:lnTo>
                    <a:pt x="1276" y="229"/>
                  </a:lnTo>
                  <a:lnTo>
                    <a:pt x="1259" y="211"/>
                  </a:lnTo>
                  <a:lnTo>
                    <a:pt x="1264" y="201"/>
                  </a:lnTo>
                  <a:lnTo>
                    <a:pt x="1290" y="206"/>
                  </a:lnTo>
                  <a:lnTo>
                    <a:pt x="1335" y="189"/>
                  </a:lnTo>
                  <a:lnTo>
                    <a:pt x="1345" y="201"/>
                  </a:lnTo>
                  <a:lnTo>
                    <a:pt x="1361" y="201"/>
                  </a:lnTo>
                  <a:lnTo>
                    <a:pt x="1361" y="206"/>
                  </a:lnTo>
                  <a:lnTo>
                    <a:pt x="1366" y="206"/>
                  </a:lnTo>
                  <a:lnTo>
                    <a:pt x="1399" y="222"/>
                  </a:lnTo>
                  <a:lnTo>
                    <a:pt x="1420" y="206"/>
                  </a:lnTo>
                  <a:lnTo>
                    <a:pt x="1437" y="211"/>
                  </a:lnTo>
                  <a:lnTo>
                    <a:pt x="1453" y="206"/>
                  </a:lnTo>
                  <a:lnTo>
                    <a:pt x="1458" y="222"/>
                  </a:lnTo>
                  <a:lnTo>
                    <a:pt x="1479" y="222"/>
                  </a:lnTo>
                  <a:lnTo>
                    <a:pt x="1507" y="201"/>
                  </a:lnTo>
                  <a:lnTo>
                    <a:pt x="1524" y="152"/>
                  </a:lnTo>
                  <a:lnTo>
                    <a:pt x="1567" y="90"/>
                  </a:lnTo>
                  <a:lnTo>
                    <a:pt x="1578" y="78"/>
                  </a:lnTo>
                  <a:lnTo>
                    <a:pt x="1583" y="90"/>
                  </a:lnTo>
                  <a:lnTo>
                    <a:pt x="1578" y="62"/>
                  </a:lnTo>
                  <a:lnTo>
                    <a:pt x="1600" y="78"/>
                  </a:lnTo>
                  <a:lnTo>
                    <a:pt x="1604" y="95"/>
                  </a:lnTo>
                  <a:lnTo>
                    <a:pt x="1616" y="95"/>
                  </a:lnTo>
                  <a:lnTo>
                    <a:pt x="1616" y="152"/>
                  </a:lnTo>
                  <a:lnTo>
                    <a:pt x="1637" y="222"/>
                  </a:lnTo>
                  <a:lnTo>
                    <a:pt x="1654" y="246"/>
                  </a:lnTo>
                  <a:lnTo>
                    <a:pt x="1675" y="246"/>
                  </a:lnTo>
                  <a:lnTo>
                    <a:pt x="1692" y="255"/>
                  </a:lnTo>
                  <a:lnTo>
                    <a:pt x="1692" y="284"/>
                  </a:lnTo>
                  <a:lnTo>
                    <a:pt x="1675" y="296"/>
                  </a:lnTo>
                  <a:lnTo>
                    <a:pt x="1692" y="284"/>
                  </a:lnTo>
                  <a:lnTo>
                    <a:pt x="1692" y="296"/>
                  </a:lnTo>
                  <a:lnTo>
                    <a:pt x="1654" y="333"/>
                  </a:lnTo>
                  <a:lnTo>
                    <a:pt x="1630" y="366"/>
                  </a:lnTo>
                  <a:lnTo>
                    <a:pt x="1621" y="366"/>
                  </a:lnTo>
                  <a:lnTo>
                    <a:pt x="1600" y="390"/>
                  </a:lnTo>
                  <a:lnTo>
                    <a:pt x="1567" y="428"/>
                  </a:lnTo>
                  <a:lnTo>
                    <a:pt x="1567" y="449"/>
                  </a:lnTo>
                  <a:lnTo>
                    <a:pt x="1550" y="461"/>
                  </a:lnTo>
                  <a:lnTo>
                    <a:pt x="1550" y="477"/>
                  </a:lnTo>
                  <a:lnTo>
                    <a:pt x="1545" y="485"/>
                  </a:lnTo>
                  <a:lnTo>
                    <a:pt x="1529" y="477"/>
                  </a:lnTo>
                  <a:lnTo>
                    <a:pt x="1496" y="494"/>
                  </a:lnTo>
                  <a:lnTo>
                    <a:pt x="1529" y="494"/>
                  </a:lnTo>
                  <a:lnTo>
                    <a:pt x="1529" y="501"/>
                  </a:lnTo>
                  <a:lnTo>
                    <a:pt x="1600" y="468"/>
                  </a:lnTo>
                  <a:lnTo>
                    <a:pt x="1616" y="444"/>
                  </a:lnTo>
                  <a:lnTo>
                    <a:pt x="1630" y="444"/>
                  </a:lnTo>
                  <a:lnTo>
                    <a:pt x="1630" y="485"/>
                  </a:lnTo>
                  <a:lnTo>
                    <a:pt x="1637" y="506"/>
                  </a:lnTo>
                  <a:lnTo>
                    <a:pt x="1630" y="518"/>
                  </a:lnTo>
                  <a:lnTo>
                    <a:pt x="1604" y="506"/>
                  </a:lnTo>
                  <a:lnTo>
                    <a:pt x="1588" y="501"/>
                  </a:lnTo>
                  <a:lnTo>
                    <a:pt x="1583" y="522"/>
                  </a:lnTo>
                  <a:lnTo>
                    <a:pt x="1583" y="539"/>
                  </a:lnTo>
                  <a:lnTo>
                    <a:pt x="1588" y="551"/>
                  </a:lnTo>
                  <a:lnTo>
                    <a:pt x="1583" y="522"/>
                  </a:lnTo>
                  <a:lnTo>
                    <a:pt x="1600" y="506"/>
                  </a:lnTo>
                  <a:lnTo>
                    <a:pt x="1616" y="522"/>
                  </a:lnTo>
                  <a:lnTo>
                    <a:pt x="1616" y="551"/>
                  </a:lnTo>
                  <a:lnTo>
                    <a:pt x="1630" y="555"/>
                  </a:lnTo>
                  <a:lnTo>
                    <a:pt x="1616" y="551"/>
                  </a:lnTo>
                  <a:lnTo>
                    <a:pt x="1621" y="522"/>
                  </a:lnTo>
                  <a:lnTo>
                    <a:pt x="1637" y="539"/>
                  </a:lnTo>
                  <a:lnTo>
                    <a:pt x="1630" y="518"/>
                  </a:lnTo>
                  <a:lnTo>
                    <a:pt x="1637" y="506"/>
                  </a:lnTo>
                  <a:lnTo>
                    <a:pt x="1654" y="506"/>
                  </a:lnTo>
                  <a:lnTo>
                    <a:pt x="1659" y="518"/>
                  </a:lnTo>
                  <a:lnTo>
                    <a:pt x="1685" y="506"/>
                  </a:lnTo>
                  <a:lnTo>
                    <a:pt x="1696" y="518"/>
                  </a:lnTo>
                  <a:lnTo>
                    <a:pt x="1713" y="518"/>
                  </a:lnTo>
                  <a:lnTo>
                    <a:pt x="1739" y="501"/>
                  </a:lnTo>
                  <a:lnTo>
                    <a:pt x="1722" y="539"/>
                  </a:lnTo>
                  <a:lnTo>
                    <a:pt x="1722" y="560"/>
                  </a:lnTo>
                  <a:lnTo>
                    <a:pt x="1744" y="518"/>
                  </a:lnTo>
                  <a:lnTo>
                    <a:pt x="1760" y="506"/>
                  </a:lnTo>
                  <a:lnTo>
                    <a:pt x="1777" y="485"/>
                  </a:lnTo>
                  <a:lnTo>
                    <a:pt x="1784" y="485"/>
                  </a:lnTo>
                  <a:lnTo>
                    <a:pt x="1798" y="501"/>
                  </a:lnTo>
                  <a:lnTo>
                    <a:pt x="1798" y="485"/>
                  </a:lnTo>
                  <a:lnTo>
                    <a:pt x="1815" y="485"/>
                  </a:lnTo>
                  <a:lnTo>
                    <a:pt x="1793" y="485"/>
                  </a:lnTo>
                  <a:lnTo>
                    <a:pt x="1793" y="468"/>
                  </a:lnTo>
                  <a:lnTo>
                    <a:pt x="1805" y="477"/>
                  </a:lnTo>
                  <a:lnTo>
                    <a:pt x="1805" y="444"/>
                  </a:lnTo>
                  <a:lnTo>
                    <a:pt x="1822" y="428"/>
                  </a:lnTo>
                  <a:lnTo>
                    <a:pt x="1831" y="440"/>
                  </a:lnTo>
                  <a:lnTo>
                    <a:pt x="1848" y="423"/>
                  </a:lnTo>
                  <a:lnTo>
                    <a:pt x="1848" y="440"/>
                  </a:lnTo>
                  <a:lnTo>
                    <a:pt x="1859" y="423"/>
                  </a:lnTo>
                  <a:lnTo>
                    <a:pt x="1869" y="440"/>
                  </a:lnTo>
                  <a:lnTo>
                    <a:pt x="1869" y="423"/>
                  </a:lnTo>
                  <a:lnTo>
                    <a:pt x="1890" y="428"/>
                  </a:lnTo>
                  <a:lnTo>
                    <a:pt x="1902" y="428"/>
                  </a:lnTo>
                  <a:lnTo>
                    <a:pt x="1902" y="444"/>
                  </a:lnTo>
                  <a:lnTo>
                    <a:pt x="1907" y="428"/>
                  </a:lnTo>
                  <a:lnTo>
                    <a:pt x="1911" y="440"/>
                  </a:lnTo>
                  <a:lnTo>
                    <a:pt x="1923" y="440"/>
                  </a:lnTo>
                  <a:lnTo>
                    <a:pt x="1923" y="449"/>
                  </a:lnTo>
                  <a:lnTo>
                    <a:pt x="1956" y="444"/>
                  </a:lnTo>
                  <a:lnTo>
                    <a:pt x="1944" y="461"/>
                  </a:lnTo>
                  <a:lnTo>
                    <a:pt x="1961" y="461"/>
                  </a:lnTo>
                  <a:lnTo>
                    <a:pt x="1961" y="468"/>
                  </a:lnTo>
                  <a:lnTo>
                    <a:pt x="1966" y="449"/>
                  </a:lnTo>
                  <a:lnTo>
                    <a:pt x="1978" y="468"/>
                  </a:lnTo>
                  <a:lnTo>
                    <a:pt x="1982" y="461"/>
                  </a:lnTo>
                  <a:lnTo>
                    <a:pt x="1994" y="477"/>
                  </a:lnTo>
                  <a:lnTo>
                    <a:pt x="1994" y="468"/>
                  </a:lnTo>
                  <a:lnTo>
                    <a:pt x="2011" y="477"/>
                  </a:lnTo>
                  <a:lnTo>
                    <a:pt x="2011" y="494"/>
                  </a:lnTo>
                  <a:lnTo>
                    <a:pt x="2015" y="477"/>
                  </a:lnTo>
                  <a:lnTo>
                    <a:pt x="2015" y="501"/>
                  </a:lnTo>
                  <a:lnTo>
                    <a:pt x="2020" y="501"/>
                  </a:lnTo>
                  <a:lnTo>
                    <a:pt x="2020" y="485"/>
                  </a:lnTo>
                  <a:lnTo>
                    <a:pt x="2037" y="485"/>
                  </a:lnTo>
                  <a:lnTo>
                    <a:pt x="2048" y="485"/>
                  </a:lnTo>
                  <a:lnTo>
                    <a:pt x="2037" y="494"/>
                  </a:lnTo>
                  <a:lnTo>
                    <a:pt x="2053" y="494"/>
                  </a:lnTo>
                  <a:lnTo>
                    <a:pt x="2053" y="501"/>
                  </a:lnTo>
                  <a:lnTo>
                    <a:pt x="2063" y="506"/>
                  </a:lnTo>
                  <a:lnTo>
                    <a:pt x="2070" y="506"/>
                  </a:lnTo>
                  <a:lnTo>
                    <a:pt x="2074" y="522"/>
                  </a:lnTo>
                  <a:lnTo>
                    <a:pt x="2063" y="551"/>
                  </a:lnTo>
                  <a:lnTo>
                    <a:pt x="2074" y="534"/>
                  </a:lnTo>
                  <a:lnTo>
                    <a:pt x="2086" y="551"/>
                  </a:lnTo>
                  <a:lnTo>
                    <a:pt x="2070" y="560"/>
                  </a:lnTo>
                  <a:lnTo>
                    <a:pt x="2063" y="596"/>
                  </a:lnTo>
                  <a:lnTo>
                    <a:pt x="2053" y="617"/>
                  </a:lnTo>
                  <a:lnTo>
                    <a:pt x="2074" y="589"/>
                  </a:lnTo>
                  <a:lnTo>
                    <a:pt x="2086" y="560"/>
                  </a:lnTo>
                  <a:lnTo>
                    <a:pt x="2100" y="551"/>
                  </a:lnTo>
                  <a:lnTo>
                    <a:pt x="2107" y="560"/>
                  </a:lnTo>
                  <a:lnTo>
                    <a:pt x="2086" y="577"/>
                  </a:lnTo>
                  <a:lnTo>
                    <a:pt x="2091" y="577"/>
                  </a:lnTo>
                  <a:lnTo>
                    <a:pt x="2091" y="589"/>
                  </a:lnTo>
                  <a:lnTo>
                    <a:pt x="2117" y="560"/>
                  </a:lnTo>
                  <a:lnTo>
                    <a:pt x="2145" y="560"/>
                  </a:lnTo>
                  <a:lnTo>
                    <a:pt x="2145" y="551"/>
                  </a:lnTo>
                  <a:lnTo>
                    <a:pt x="2155" y="551"/>
                  </a:lnTo>
                  <a:lnTo>
                    <a:pt x="2200" y="560"/>
                  </a:lnTo>
                  <a:lnTo>
                    <a:pt x="2230" y="577"/>
                  </a:lnTo>
                  <a:lnTo>
                    <a:pt x="2252" y="577"/>
                  </a:lnTo>
                  <a:lnTo>
                    <a:pt x="2247" y="577"/>
                  </a:lnTo>
                  <a:lnTo>
                    <a:pt x="2263" y="572"/>
                  </a:lnTo>
                  <a:lnTo>
                    <a:pt x="2268" y="589"/>
                  </a:lnTo>
                  <a:lnTo>
                    <a:pt x="2289" y="589"/>
                  </a:lnTo>
                  <a:lnTo>
                    <a:pt x="2301" y="596"/>
                  </a:lnTo>
                  <a:lnTo>
                    <a:pt x="2301" y="589"/>
                  </a:lnTo>
                  <a:lnTo>
                    <a:pt x="2356" y="577"/>
                  </a:lnTo>
                  <a:lnTo>
                    <a:pt x="2389" y="577"/>
                  </a:lnTo>
                  <a:lnTo>
                    <a:pt x="2495" y="645"/>
                  </a:lnTo>
                  <a:lnTo>
                    <a:pt x="2556" y="704"/>
                  </a:lnTo>
                  <a:lnTo>
                    <a:pt x="2578" y="716"/>
                  </a:lnTo>
                  <a:lnTo>
                    <a:pt x="2587" y="728"/>
                  </a:lnTo>
                  <a:lnTo>
                    <a:pt x="2608" y="740"/>
                  </a:lnTo>
                  <a:lnTo>
                    <a:pt x="2615" y="744"/>
                  </a:lnTo>
                  <a:lnTo>
                    <a:pt x="2670" y="744"/>
                  </a:lnTo>
                  <a:lnTo>
                    <a:pt x="2712" y="756"/>
                  </a:lnTo>
                  <a:lnTo>
                    <a:pt x="2738" y="839"/>
                  </a:lnTo>
                  <a:lnTo>
                    <a:pt x="2750" y="884"/>
                  </a:lnTo>
                  <a:lnTo>
                    <a:pt x="2750" y="893"/>
                  </a:lnTo>
                  <a:lnTo>
                    <a:pt x="2750" y="884"/>
                  </a:lnTo>
                  <a:lnTo>
                    <a:pt x="2755" y="922"/>
                  </a:lnTo>
                  <a:lnTo>
                    <a:pt x="2750" y="922"/>
                  </a:lnTo>
                  <a:lnTo>
                    <a:pt x="2755" y="926"/>
                  </a:lnTo>
                  <a:lnTo>
                    <a:pt x="2750" y="943"/>
                  </a:lnTo>
                  <a:lnTo>
                    <a:pt x="2750" y="950"/>
                  </a:lnTo>
                  <a:lnTo>
                    <a:pt x="2750" y="959"/>
                  </a:lnTo>
                  <a:lnTo>
                    <a:pt x="2717" y="1037"/>
                  </a:lnTo>
                  <a:lnTo>
                    <a:pt x="2684" y="1077"/>
                  </a:lnTo>
                  <a:lnTo>
                    <a:pt x="2641" y="1132"/>
                  </a:lnTo>
                  <a:lnTo>
                    <a:pt x="2608" y="1160"/>
                  </a:lnTo>
                  <a:lnTo>
                    <a:pt x="2594" y="1165"/>
                  </a:lnTo>
                  <a:lnTo>
                    <a:pt x="2587" y="1160"/>
                  </a:lnTo>
                  <a:lnTo>
                    <a:pt x="2594" y="1165"/>
                  </a:lnTo>
                  <a:lnTo>
                    <a:pt x="2594" y="1172"/>
                  </a:lnTo>
                  <a:lnTo>
                    <a:pt x="2587" y="1181"/>
                  </a:lnTo>
                  <a:lnTo>
                    <a:pt x="2578" y="1172"/>
                  </a:lnTo>
                  <a:lnTo>
                    <a:pt x="2587" y="1181"/>
                  </a:lnTo>
                  <a:lnTo>
                    <a:pt x="2587" y="1188"/>
                  </a:lnTo>
                  <a:lnTo>
                    <a:pt x="2570" y="1205"/>
                  </a:lnTo>
                  <a:lnTo>
                    <a:pt x="2578" y="1188"/>
                  </a:lnTo>
                  <a:lnTo>
                    <a:pt x="2570" y="1188"/>
                  </a:lnTo>
                  <a:lnTo>
                    <a:pt x="2556" y="1243"/>
                  </a:lnTo>
                  <a:lnTo>
                    <a:pt x="2523" y="1292"/>
                  </a:lnTo>
                  <a:lnTo>
                    <a:pt x="2495" y="1325"/>
                  </a:lnTo>
                  <a:lnTo>
                    <a:pt x="2495" y="1300"/>
                  </a:lnTo>
                  <a:lnTo>
                    <a:pt x="2485" y="1300"/>
                  </a:lnTo>
                  <a:lnTo>
                    <a:pt x="2481" y="1292"/>
                  </a:lnTo>
                  <a:lnTo>
                    <a:pt x="2469" y="1309"/>
                  </a:lnTo>
                  <a:lnTo>
                    <a:pt x="2469" y="1292"/>
                  </a:lnTo>
                  <a:lnTo>
                    <a:pt x="2464" y="1300"/>
                  </a:lnTo>
                  <a:lnTo>
                    <a:pt x="2469" y="1309"/>
                  </a:lnTo>
                  <a:lnTo>
                    <a:pt x="2481" y="1309"/>
                  </a:lnTo>
                  <a:lnTo>
                    <a:pt x="2464" y="1349"/>
                  </a:lnTo>
                  <a:lnTo>
                    <a:pt x="2452" y="1349"/>
                  </a:lnTo>
                  <a:lnTo>
                    <a:pt x="2452" y="1354"/>
                  </a:lnTo>
                  <a:lnTo>
                    <a:pt x="2464" y="1370"/>
                  </a:lnTo>
                  <a:lnTo>
                    <a:pt x="2452" y="1403"/>
                  </a:lnTo>
                  <a:lnTo>
                    <a:pt x="2464" y="1394"/>
                  </a:lnTo>
                  <a:lnTo>
                    <a:pt x="2464" y="1387"/>
                  </a:lnTo>
                  <a:lnTo>
                    <a:pt x="2452" y="1444"/>
                  </a:lnTo>
                  <a:lnTo>
                    <a:pt x="2469" y="1531"/>
                  </a:lnTo>
                  <a:lnTo>
                    <a:pt x="2448" y="1625"/>
                  </a:lnTo>
                  <a:lnTo>
                    <a:pt x="2448" y="1666"/>
                  </a:lnTo>
                  <a:lnTo>
                    <a:pt x="2415" y="1703"/>
                  </a:lnTo>
                  <a:lnTo>
                    <a:pt x="2410" y="1744"/>
                  </a:lnTo>
                  <a:lnTo>
                    <a:pt x="2410" y="1793"/>
                  </a:lnTo>
                  <a:lnTo>
                    <a:pt x="2398" y="1810"/>
                  </a:lnTo>
                  <a:lnTo>
                    <a:pt x="2389" y="1814"/>
                  </a:lnTo>
                  <a:lnTo>
                    <a:pt x="2372" y="1864"/>
                  </a:lnTo>
                  <a:lnTo>
                    <a:pt x="2360" y="1855"/>
                  </a:lnTo>
                  <a:lnTo>
                    <a:pt x="2360" y="1864"/>
                  </a:lnTo>
                  <a:lnTo>
                    <a:pt x="2372" y="1864"/>
                  </a:lnTo>
                  <a:lnTo>
                    <a:pt x="2360" y="1888"/>
                  </a:lnTo>
                  <a:lnTo>
                    <a:pt x="2344" y="1904"/>
                  </a:lnTo>
                  <a:lnTo>
                    <a:pt x="2334" y="1904"/>
                  </a:lnTo>
                  <a:lnTo>
                    <a:pt x="2322" y="1937"/>
                  </a:lnTo>
                  <a:lnTo>
                    <a:pt x="2318" y="1959"/>
                  </a:lnTo>
                  <a:lnTo>
                    <a:pt x="2322" y="1992"/>
                  </a:lnTo>
                  <a:lnTo>
                    <a:pt x="2263" y="2015"/>
                  </a:lnTo>
                  <a:lnTo>
                    <a:pt x="2247" y="2032"/>
                  </a:lnTo>
                  <a:lnTo>
                    <a:pt x="2247" y="2065"/>
                  </a:lnTo>
                  <a:lnTo>
                    <a:pt x="2171" y="2065"/>
                  </a:lnTo>
                  <a:lnTo>
                    <a:pt x="2176" y="2048"/>
                  </a:lnTo>
                  <a:lnTo>
                    <a:pt x="2171" y="2036"/>
                  </a:lnTo>
                  <a:lnTo>
                    <a:pt x="2162" y="2048"/>
                  </a:lnTo>
                  <a:lnTo>
                    <a:pt x="2171" y="2065"/>
                  </a:lnTo>
                  <a:lnTo>
                    <a:pt x="2162" y="2065"/>
                  </a:lnTo>
                  <a:lnTo>
                    <a:pt x="2107" y="2070"/>
                  </a:lnTo>
                  <a:lnTo>
                    <a:pt x="2138" y="2070"/>
                  </a:lnTo>
                  <a:lnTo>
                    <a:pt x="2117" y="2053"/>
                  </a:lnTo>
                  <a:lnTo>
                    <a:pt x="2091" y="2070"/>
                  </a:lnTo>
                  <a:lnTo>
                    <a:pt x="2086" y="2065"/>
                  </a:lnTo>
                  <a:lnTo>
                    <a:pt x="2063" y="2070"/>
                  </a:lnTo>
                  <a:lnTo>
                    <a:pt x="2063" y="2086"/>
                  </a:lnTo>
                  <a:lnTo>
                    <a:pt x="2070" y="2086"/>
                  </a:lnTo>
                  <a:lnTo>
                    <a:pt x="2070" y="2093"/>
                  </a:lnTo>
                  <a:lnTo>
                    <a:pt x="2048" y="2093"/>
                  </a:lnTo>
                  <a:lnTo>
                    <a:pt x="2032" y="2103"/>
                  </a:lnTo>
                  <a:lnTo>
                    <a:pt x="2011" y="2110"/>
                  </a:lnTo>
                  <a:lnTo>
                    <a:pt x="2011" y="2126"/>
                  </a:lnTo>
                  <a:lnTo>
                    <a:pt x="1978" y="2126"/>
                  </a:lnTo>
                  <a:lnTo>
                    <a:pt x="1956" y="2131"/>
                  </a:lnTo>
                  <a:lnTo>
                    <a:pt x="1961" y="2131"/>
                  </a:lnTo>
                  <a:lnTo>
                    <a:pt x="1944" y="2143"/>
                  </a:lnTo>
                  <a:lnTo>
                    <a:pt x="1940" y="2131"/>
                  </a:lnTo>
                  <a:lnTo>
                    <a:pt x="1940" y="2143"/>
                  </a:lnTo>
                  <a:lnTo>
                    <a:pt x="1822" y="2221"/>
                  </a:lnTo>
                  <a:lnTo>
                    <a:pt x="1836" y="2221"/>
                  </a:lnTo>
                  <a:lnTo>
                    <a:pt x="1831" y="2230"/>
                  </a:lnTo>
                  <a:lnTo>
                    <a:pt x="1815" y="2254"/>
                  </a:lnTo>
                  <a:lnTo>
                    <a:pt x="1815" y="2242"/>
                  </a:lnTo>
                  <a:lnTo>
                    <a:pt x="1815" y="2237"/>
                  </a:lnTo>
                  <a:lnTo>
                    <a:pt x="1798" y="2242"/>
                  </a:lnTo>
                  <a:lnTo>
                    <a:pt x="1793" y="2254"/>
                  </a:lnTo>
                  <a:lnTo>
                    <a:pt x="1777" y="2254"/>
                  </a:lnTo>
                  <a:lnTo>
                    <a:pt x="1798" y="2259"/>
                  </a:lnTo>
                  <a:lnTo>
                    <a:pt x="1793" y="2275"/>
                  </a:lnTo>
                  <a:lnTo>
                    <a:pt x="1777" y="2287"/>
                  </a:lnTo>
                  <a:lnTo>
                    <a:pt x="1784" y="2287"/>
                  </a:lnTo>
                  <a:lnTo>
                    <a:pt x="1784" y="2308"/>
                  </a:lnTo>
                  <a:lnTo>
                    <a:pt x="1777" y="2313"/>
                  </a:lnTo>
                  <a:lnTo>
                    <a:pt x="1767" y="2296"/>
                  </a:lnTo>
                  <a:lnTo>
                    <a:pt x="1777" y="2313"/>
                  </a:lnTo>
                  <a:lnTo>
                    <a:pt x="1784" y="2329"/>
                  </a:lnTo>
                  <a:lnTo>
                    <a:pt x="1777" y="2348"/>
                  </a:lnTo>
                  <a:lnTo>
                    <a:pt x="1784" y="2381"/>
                  </a:lnTo>
                  <a:lnTo>
                    <a:pt x="1793" y="2386"/>
                  </a:lnTo>
                  <a:lnTo>
                    <a:pt x="1784" y="2386"/>
                  </a:lnTo>
                  <a:lnTo>
                    <a:pt x="1784" y="2419"/>
                  </a:lnTo>
                  <a:lnTo>
                    <a:pt x="1784" y="2440"/>
                  </a:lnTo>
                  <a:lnTo>
                    <a:pt x="1777" y="2492"/>
                  </a:lnTo>
                  <a:lnTo>
                    <a:pt x="1767" y="2476"/>
                  </a:lnTo>
                  <a:lnTo>
                    <a:pt x="1777" y="2492"/>
                  </a:lnTo>
                  <a:lnTo>
                    <a:pt x="1730" y="2530"/>
                  </a:lnTo>
                  <a:lnTo>
                    <a:pt x="1706" y="2551"/>
                  </a:lnTo>
                  <a:lnTo>
                    <a:pt x="1685" y="2592"/>
                  </a:lnTo>
                  <a:lnTo>
                    <a:pt x="1668" y="2641"/>
                  </a:lnTo>
                  <a:lnTo>
                    <a:pt x="1637" y="2686"/>
                  </a:lnTo>
                  <a:lnTo>
                    <a:pt x="1583" y="2740"/>
                  </a:lnTo>
                  <a:lnTo>
                    <a:pt x="1550" y="2757"/>
                  </a:lnTo>
                  <a:lnTo>
                    <a:pt x="1545" y="2773"/>
                  </a:lnTo>
                  <a:lnTo>
                    <a:pt x="1545" y="2757"/>
                  </a:lnTo>
                  <a:lnTo>
                    <a:pt x="1533" y="2752"/>
                  </a:lnTo>
                  <a:lnTo>
                    <a:pt x="1562" y="2752"/>
                  </a:lnTo>
                  <a:lnTo>
                    <a:pt x="1588" y="2731"/>
                  </a:lnTo>
                  <a:lnTo>
                    <a:pt x="1600" y="2719"/>
                  </a:lnTo>
                  <a:lnTo>
                    <a:pt x="1604" y="2686"/>
                  </a:lnTo>
                  <a:lnTo>
                    <a:pt x="1621" y="2696"/>
                  </a:lnTo>
                  <a:lnTo>
                    <a:pt x="1621" y="2679"/>
                  </a:lnTo>
                  <a:lnTo>
                    <a:pt x="1637" y="2662"/>
                  </a:lnTo>
                  <a:lnTo>
                    <a:pt x="1637" y="2641"/>
                  </a:lnTo>
                  <a:lnTo>
                    <a:pt x="1642" y="2641"/>
                  </a:lnTo>
                  <a:lnTo>
                    <a:pt x="1654" y="2625"/>
                  </a:lnTo>
                  <a:lnTo>
                    <a:pt x="1642" y="2625"/>
                  </a:lnTo>
                  <a:lnTo>
                    <a:pt x="1637" y="2629"/>
                  </a:lnTo>
                  <a:lnTo>
                    <a:pt x="1621" y="2629"/>
                  </a:lnTo>
                  <a:lnTo>
                    <a:pt x="1621" y="2641"/>
                  </a:lnTo>
                  <a:lnTo>
                    <a:pt x="1616" y="2641"/>
                  </a:lnTo>
                  <a:lnTo>
                    <a:pt x="1616" y="2625"/>
                  </a:lnTo>
                  <a:lnTo>
                    <a:pt x="1604" y="2625"/>
                  </a:lnTo>
                  <a:lnTo>
                    <a:pt x="1600" y="2608"/>
                  </a:lnTo>
                  <a:lnTo>
                    <a:pt x="1600" y="2620"/>
                  </a:lnTo>
                  <a:lnTo>
                    <a:pt x="1604" y="2641"/>
                  </a:lnTo>
                  <a:lnTo>
                    <a:pt x="1600" y="2674"/>
                  </a:lnTo>
                  <a:lnTo>
                    <a:pt x="1588" y="2658"/>
                  </a:lnTo>
                  <a:lnTo>
                    <a:pt x="1583" y="2686"/>
                  </a:lnTo>
                  <a:lnTo>
                    <a:pt x="1550" y="2712"/>
                  </a:lnTo>
                  <a:lnTo>
                    <a:pt x="1545" y="2736"/>
                  </a:lnTo>
                  <a:lnTo>
                    <a:pt x="1529" y="2740"/>
                  </a:lnTo>
                  <a:lnTo>
                    <a:pt x="1533" y="2757"/>
                  </a:lnTo>
                  <a:lnTo>
                    <a:pt x="1529" y="2769"/>
                  </a:lnTo>
                  <a:lnTo>
                    <a:pt x="1533" y="2773"/>
                  </a:lnTo>
                  <a:lnTo>
                    <a:pt x="1524" y="2807"/>
                  </a:lnTo>
                  <a:lnTo>
                    <a:pt x="1496" y="2851"/>
                  </a:lnTo>
                  <a:lnTo>
                    <a:pt x="1453" y="2901"/>
                  </a:lnTo>
                  <a:lnTo>
                    <a:pt x="1437" y="2901"/>
                  </a:lnTo>
                  <a:lnTo>
                    <a:pt x="1437" y="2851"/>
                  </a:lnTo>
                  <a:lnTo>
                    <a:pt x="1470" y="2823"/>
                  </a:lnTo>
                  <a:lnTo>
                    <a:pt x="1437" y="2797"/>
                  </a:lnTo>
                  <a:lnTo>
                    <a:pt x="1415" y="2757"/>
                  </a:lnTo>
                  <a:lnTo>
                    <a:pt x="1382" y="2752"/>
                  </a:lnTo>
                  <a:lnTo>
                    <a:pt x="1366" y="2719"/>
                  </a:lnTo>
                  <a:lnTo>
                    <a:pt x="1319" y="2703"/>
                  </a:lnTo>
                  <a:lnTo>
                    <a:pt x="1297" y="2674"/>
                  </a:lnTo>
                  <a:lnTo>
                    <a:pt x="1276" y="2686"/>
                  </a:lnTo>
                  <a:lnTo>
                    <a:pt x="1264" y="2686"/>
                  </a:lnTo>
                  <a:lnTo>
                    <a:pt x="1264" y="2674"/>
                  </a:lnTo>
                  <a:lnTo>
                    <a:pt x="1210" y="2620"/>
                  </a:lnTo>
                  <a:lnTo>
                    <a:pt x="1189" y="2620"/>
                  </a:lnTo>
                  <a:lnTo>
                    <a:pt x="1184" y="2629"/>
                  </a:lnTo>
                  <a:lnTo>
                    <a:pt x="1156" y="2625"/>
                  </a:lnTo>
                  <a:lnTo>
                    <a:pt x="1151" y="2625"/>
                  </a:lnTo>
                  <a:lnTo>
                    <a:pt x="1172" y="2608"/>
                  </a:lnTo>
                  <a:lnTo>
                    <a:pt x="1172" y="2592"/>
                  </a:lnTo>
                  <a:lnTo>
                    <a:pt x="1189" y="2585"/>
                  </a:lnTo>
                  <a:lnTo>
                    <a:pt x="1222" y="2535"/>
                  </a:lnTo>
                  <a:lnTo>
                    <a:pt x="1238" y="2535"/>
                  </a:lnTo>
                  <a:lnTo>
                    <a:pt x="1243" y="2514"/>
                  </a:lnTo>
                  <a:lnTo>
                    <a:pt x="1276" y="2481"/>
                  </a:lnTo>
                  <a:lnTo>
                    <a:pt x="1290" y="2481"/>
                  </a:lnTo>
                  <a:lnTo>
                    <a:pt x="1290" y="2476"/>
                  </a:lnTo>
                  <a:lnTo>
                    <a:pt x="1281" y="2464"/>
                  </a:lnTo>
                  <a:lnTo>
                    <a:pt x="1307" y="2457"/>
                  </a:lnTo>
                  <a:lnTo>
                    <a:pt x="1314" y="2440"/>
                  </a:lnTo>
                  <a:lnTo>
                    <a:pt x="1335" y="2436"/>
                  </a:lnTo>
                  <a:lnTo>
                    <a:pt x="1352" y="2407"/>
                  </a:lnTo>
                  <a:lnTo>
                    <a:pt x="1382" y="2403"/>
                  </a:lnTo>
                  <a:lnTo>
                    <a:pt x="1420" y="2381"/>
                  </a:lnTo>
                  <a:lnTo>
                    <a:pt x="1427" y="2365"/>
                  </a:lnTo>
                  <a:lnTo>
                    <a:pt x="1427" y="2325"/>
                  </a:lnTo>
                  <a:lnTo>
                    <a:pt x="1427" y="2313"/>
                  </a:lnTo>
                  <a:lnTo>
                    <a:pt x="1420" y="2292"/>
                  </a:lnTo>
                  <a:lnTo>
                    <a:pt x="1415" y="2270"/>
                  </a:lnTo>
                  <a:lnTo>
                    <a:pt x="1399" y="2254"/>
                  </a:lnTo>
                  <a:lnTo>
                    <a:pt x="1373" y="2270"/>
                  </a:lnTo>
                  <a:lnTo>
                    <a:pt x="1366" y="2259"/>
                  </a:lnTo>
                  <a:lnTo>
                    <a:pt x="1361" y="2254"/>
                  </a:lnTo>
                  <a:lnTo>
                    <a:pt x="1373" y="2230"/>
                  </a:lnTo>
                  <a:lnTo>
                    <a:pt x="1373" y="2221"/>
                  </a:lnTo>
                  <a:lnTo>
                    <a:pt x="1389" y="2164"/>
                  </a:lnTo>
                  <a:lnTo>
                    <a:pt x="1382" y="2148"/>
                  </a:lnTo>
                  <a:lnTo>
                    <a:pt x="1389" y="2148"/>
                  </a:lnTo>
                  <a:lnTo>
                    <a:pt x="1361" y="2126"/>
                  </a:lnTo>
                  <a:lnTo>
                    <a:pt x="1335" y="2143"/>
                  </a:lnTo>
                  <a:lnTo>
                    <a:pt x="1307" y="2143"/>
                  </a:lnTo>
                  <a:lnTo>
                    <a:pt x="1290" y="2053"/>
                  </a:lnTo>
                  <a:lnTo>
                    <a:pt x="1290" y="2036"/>
                  </a:lnTo>
                  <a:lnTo>
                    <a:pt x="1276" y="2015"/>
                  </a:lnTo>
                  <a:lnTo>
                    <a:pt x="1252" y="2008"/>
                  </a:lnTo>
                  <a:lnTo>
                    <a:pt x="1238" y="1992"/>
                  </a:lnTo>
                  <a:lnTo>
                    <a:pt x="1222" y="2008"/>
                  </a:lnTo>
                  <a:lnTo>
                    <a:pt x="1205" y="2008"/>
                  </a:lnTo>
                  <a:lnTo>
                    <a:pt x="1130" y="1999"/>
                  </a:lnTo>
                  <a:lnTo>
                    <a:pt x="1130" y="1954"/>
                  </a:lnTo>
                  <a:lnTo>
                    <a:pt x="1134" y="1942"/>
                  </a:lnTo>
                  <a:lnTo>
                    <a:pt x="1134" y="1909"/>
                  </a:lnTo>
                  <a:lnTo>
                    <a:pt x="1113" y="1848"/>
                  </a:lnTo>
                  <a:lnTo>
                    <a:pt x="1134" y="1836"/>
                  </a:lnTo>
                  <a:lnTo>
                    <a:pt x="1118" y="1814"/>
                  </a:lnTo>
                  <a:lnTo>
                    <a:pt x="1146" y="1770"/>
                  </a:lnTo>
                  <a:lnTo>
                    <a:pt x="1146" y="1760"/>
                  </a:lnTo>
                  <a:lnTo>
                    <a:pt x="1156" y="1703"/>
                  </a:lnTo>
                  <a:lnTo>
                    <a:pt x="1146" y="1682"/>
                  </a:lnTo>
                  <a:lnTo>
                    <a:pt x="1146" y="1659"/>
                  </a:lnTo>
                  <a:lnTo>
                    <a:pt x="1096" y="1633"/>
                  </a:lnTo>
                  <a:lnTo>
                    <a:pt x="1092" y="1592"/>
                  </a:lnTo>
                  <a:lnTo>
                    <a:pt x="1101" y="1576"/>
                  </a:lnTo>
                  <a:lnTo>
                    <a:pt x="1101" y="1559"/>
                  </a:lnTo>
                  <a:lnTo>
                    <a:pt x="971" y="1559"/>
                  </a:lnTo>
                  <a:lnTo>
                    <a:pt x="967" y="1498"/>
                  </a:lnTo>
                  <a:lnTo>
                    <a:pt x="941" y="1477"/>
                  </a:lnTo>
                  <a:lnTo>
                    <a:pt x="967" y="1477"/>
                  </a:lnTo>
                  <a:lnTo>
                    <a:pt x="967" y="1437"/>
                  </a:lnTo>
                  <a:lnTo>
                    <a:pt x="950" y="1403"/>
                  </a:lnTo>
                  <a:lnTo>
                    <a:pt x="957" y="1394"/>
                  </a:lnTo>
                  <a:lnTo>
                    <a:pt x="950" y="1382"/>
                  </a:lnTo>
                  <a:lnTo>
                    <a:pt x="912" y="1354"/>
                  </a:lnTo>
                  <a:lnTo>
                    <a:pt x="858" y="1366"/>
                  </a:lnTo>
                  <a:lnTo>
                    <a:pt x="832" y="1333"/>
                  </a:lnTo>
                  <a:lnTo>
                    <a:pt x="820" y="1333"/>
                  </a:lnTo>
                  <a:lnTo>
                    <a:pt x="794" y="1316"/>
                  </a:lnTo>
                  <a:lnTo>
                    <a:pt x="789" y="1325"/>
                  </a:lnTo>
                  <a:lnTo>
                    <a:pt x="773" y="1309"/>
                  </a:lnTo>
                  <a:lnTo>
                    <a:pt x="773" y="1292"/>
                  </a:lnTo>
                  <a:lnTo>
                    <a:pt x="752" y="1300"/>
                  </a:lnTo>
                  <a:lnTo>
                    <a:pt x="723" y="1283"/>
                  </a:lnTo>
                  <a:lnTo>
                    <a:pt x="714" y="1283"/>
                  </a:lnTo>
                  <a:lnTo>
                    <a:pt x="681" y="1283"/>
                  </a:lnTo>
                  <a:lnTo>
                    <a:pt x="669" y="1259"/>
                  </a:lnTo>
                  <a:lnTo>
                    <a:pt x="648" y="1259"/>
                  </a:lnTo>
                  <a:lnTo>
                    <a:pt x="648" y="1243"/>
                  </a:lnTo>
                  <a:lnTo>
                    <a:pt x="631" y="1243"/>
                  </a:lnTo>
                  <a:lnTo>
                    <a:pt x="631" y="1226"/>
                  </a:lnTo>
                  <a:lnTo>
                    <a:pt x="617" y="1226"/>
                  </a:lnTo>
                  <a:lnTo>
                    <a:pt x="626" y="1222"/>
                  </a:lnTo>
                  <a:lnTo>
                    <a:pt x="610" y="1205"/>
                  </a:lnTo>
                  <a:lnTo>
                    <a:pt x="610" y="1188"/>
                  </a:lnTo>
                  <a:lnTo>
                    <a:pt x="610" y="1172"/>
                  </a:lnTo>
                  <a:lnTo>
                    <a:pt x="605" y="1132"/>
                  </a:lnTo>
                  <a:lnTo>
                    <a:pt x="610" y="1115"/>
                  </a:lnTo>
                  <a:lnTo>
                    <a:pt x="610" y="1077"/>
                  </a:lnTo>
                  <a:lnTo>
                    <a:pt x="593" y="1087"/>
                  </a:lnTo>
                  <a:lnTo>
                    <a:pt x="556" y="1087"/>
                  </a:lnTo>
                  <a:lnTo>
                    <a:pt x="518" y="1094"/>
                  </a:lnTo>
                  <a:lnTo>
                    <a:pt x="487" y="1115"/>
                  </a:lnTo>
                  <a:lnTo>
                    <a:pt x="471" y="1127"/>
                  </a:lnTo>
                  <a:lnTo>
                    <a:pt x="454" y="1132"/>
                  </a:lnTo>
                  <a:lnTo>
                    <a:pt x="442" y="1148"/>
                  </a:lnTo>
                  <a:lnTo>
                    <a:pt x="416" y="1148"/>
                  </a:lnTo>
                  <a:lnTo>
                    <a:pt x="400" y="1172"/>
                  </a:lnTo>
                  <a:lnTo>
                    <a:pt x="378" y="1181"/>
                  </a:lnTo>
                  <a:lnTo>
                    <a:pt x="374" y="1181"/>
                  </a:lnTo>
                  <a:lnTo>
                    <a:pt x="362" y="1172"/>
                  </a:lnTo>
                  <a:lnTo>
                    <a:pt x="319" y="1172"/>
                  </a:lnTo>
                  <a:lnTo>
                    <a:pt x="286" y="1165"/>
                  </a:lnTo>
                  <a:lnTo>
                    <a:pt x="265" y="1181"/>
                  </a:lnTo>
                  <a:lnTo>
                    <a:pt x="248" y="1165"/>
                  </a:lnTo>
                  <a:lnTo>
                    <a:pt x="237" y="1172"/>
                  </a:lnTo>
                  <a:lnTo>
                    <a:pt x="237" y="1087"/>
                  </a:lnTo>
                  <a:lnTo>
                    <a:pt x="248" y="1061"/>
                  </a:lnTo>
                  <a:lnTo>
                    <a:pt x="194" y="1106"/>
                  </a:lnTo>
                  <a:lnTo>
                    <a:pt x="130" y="1106"/>
                  </a:lnTo>
                  <a:lnTo>
                    <a:pt x="114" y="1061"/>
                  </a:lnTo>
                  <a:lnTo>
                    <a:pt x="55" y="1054"/>
                  </a:lnTo>
                  <a:lnTo>
                    <a:pt x="76" y="1037"/>
                  </a:lnTo>
                  <a:lnTo>
                    <a:pt x="76" y="1021"/>
                  </a:lnTo>
                  <a:lnTo>
                    <a:pt x="38" y="983"/>
                  </a:lnTo>
                  <a:lnTo>
                    <a:pt x="33" y="959"/>
                  </a:lnTo>
                  <a:lnTo>
                    <a:pt x="17" y="950"/>
                  </a:lnTo>
                  <a:lnTo>
                    <a:pt x="22" y="938"/>
                  </a:lnTo>
                  <a:lnTo>
                    <a:pt x="0" y="922"/>
                  </a:lnTo>
                  <a:lnTo>
                    <a:pt x="5" y="910"/>
                  </a:lnTo>
                  <a:lnTo>
                    <a:pt x="22" y="905"/>
                  </a:lnTo>
                  <a:lnTo>
                    <a:pt x="17" y="888"/>
                  </a:lnTo>
                  <a:lnTo>
                    <a:pt x="22" y="872"/>
                  </a:lnTo>
                  <a:lnTo>
                    <a:pt x="59" y="839"/>
                  </a:lnTo>
                  <a:lnTo>
                    <a:pt x="55" y="815"/>
                  </a:lnTo>
                  <a:lnTo>
                    <a:pt x="76" y="782"/>
                  </a:lnTo>
                  <a:lnTo>
                    <a:pt x="85" y="744"/>
                  </a:lnTo>
                  <a:lnTo>
                    <a:pt x="147" y="704"/>
                  </a:lnTo>
                  <a:lnTo>
                    <a:pt x="199" y="688"/>
                  </a:lnTo>
                  <a:lnTo>
                    <a:pt x="215" y="688"/>
                  </a:lnTo>
                  <a:lnTo>
                    <a:pt x="232" y="671"/>
                  </a:lnTo>
                  <a:lnTo>
                    <a:pt x="265" y="671"/>
                  </a:lnTo>
                  <a:lnTo>
                    <a:pt x="270" y="688"/>
                  </a:lnTo>
                  <a:lnTo>
                    <a:pt x="274" y="688"/>
                  </a:lnTo>
                  <a:lnTo>
                    <a:pt x="286" y="683"/>
                  </a:lnTo>
                  <a:lnTo>
                    <a:pt x="286" y="683"/>
                  </a:lnTo>
                  <a:lnTo>
                    <a:pt x="286" y="683"/>
                  </a:lnTo>
                  <a:close/>
                  <a:moveTo>
                    <a:pt x="1654" y="222"/>
                  </a:moveTo>
                  <a:lnTo>
                    <a:pt x="1659" y="222"/>
                  </a:lnTo>
                  <a:lnTo>
                    <a:pt x="1654" y="222"/>
                  </a:lnTo>
                  <a:lnTo>
                    <a:pt x="1654" y="222"/>
                  </a:lnTo>
                  <a:lnTo>
                    <a:pt x="1654" y="222"/>
                  </a:lnTo>
                  <a:close/>
                  <a:moveTo>
                    <a:pt x="1659" y="246"/>
                  </a:moveTo>
                  <a:lnTo>
                    <a:pt x="1654" y="229"/>
                  </a:lnTo>
                  <a:lnTo>
                    <a:pt x="1659" y="222"/>
                  </a:lnTo>
                  <a:lnTo>
                    <a:pt x="1668" y="239"/>
                  </a:lnTo>
                  <a:lnTo>
                    <a:pt x="1659" y="246"/>
                  </a:lnTo>
                  <a:lnTo>
                    <a:pt x="1659" y="246"/>
                  </a:lnTo>
                  <a:lnTo>
                    <a:pt x="1659" y="246"/>
                  </a:lnTo>
                  <a:close/>
                  <a:moveTo>
                    <a:pt x="1685" y="312"/>
                  </a:moveTo>
                  <a:lnTo>
                    <a:pt x="1692" y="300"/>
                  </a:lnTo>
                  <a:lnTo>
                    <a:pt x="1685" y="312"/>
                  </a:lnTo>
                  <a:lnTo>
                    <a:pt x="1685" y="312"/>
                  </a:lnTo>
                  <a:lnTo>
                    <a:pt x="1685" y="312"/>
                  </a:lnTo>
                  <a:close/>
                  <a:moveTo>
                    <a:pt x="1668" y="329"/>
                  </a:moveTo>
                  <a:lnTo>
                    <a:pt x="1675" y="317"/>
                  </a:lnTo>
                  <a:lnTo>
                    <a:pt x="1685" y="312"/>
                  </a:lnTo>
                  <a:lnTo>
                    <a:pt x="1685" y="317"/>
                  </a:lnTo>
                  <a:lnTo>
                    <a:pt x="1668" y="329"/>
                  </a:lnTo>
                  <a:lnTo>
                    <a:pt x="1668" y="329"/>
                  </a:lnTo>
                  <a:lnTo>
                    <a:pt x="1668" y="329"/>
                  </a:lnTo>
                  <a:close/>
                  <a:moveTo>
                    <a:pt x="1668" y="357"/>
                  </a:moveTo>
                  <a:lnTo>
                    <a:pt x="1668" y="338"/>
                  </a:lnTo>
                  <a:lnTo>
                    <a:pt x="1685" y="333"/>
                  </a:lnTo>
                  <a:lnTo>
                    <a:pt x="1685" y="338"/>
                  </a:lnTo>
                  <a:lnTo>
                    <a:pt x="1668" y="357"/>
                  </a:lnTo>
                  <a:lnTo>
                    <a:pt x="1668" y="357"/>
                  </a:lnTo>
                  <a:lnTo>
                    <a:pt x="1668" y="357"/>
                  </a:lnTo>
                  <a:close/>
                  <a:moveTo>
                    <a:pt x="1654" y="366"/>
                  </a:moveTo>
                  <a:lnTo>
                    <a:pt x="1659" y="333"/>
                  </a:lnTo>
                  <a:lnTo>
                    <a:pt x="1668" y="357"/>
                  </a:lnTo>
                  <a:lnTo>
                    <a:pt x="1654" y="366"/>
                  </a:lnTo>
                  <a:lnTo>
                    <a:pt x="1654" y="366"/>
                  </a:lnTo>
                  <a:lnTo>
                    <a:pt x="1654" y="366"/>
                  </a:lnTo>
                  <a:close/>
                  <a:moveTo>
                    <a:pt x="1685" y="383"/>
                  </a:moveTo>
                  <a:lnTo>
                    <a:pt x="1659" y="374"/>
                  </a:lnTo>
                  <a:lnTo>
                    <a:pt x="1659" y="366"/>
                  </a:lnTo>
                  <a:lnTo>
                    <a:pt x="1706" y="357"/>
                  </a:lnTo>
                  <a:lnTo>
                    <a:pt x="1713" y="366"/>
                  </a:lnTo>
                  <a:lnTo>
                    <a:pt x="1685" y="383"/>
                  </a:lnTo>
                  <a:lnTo>
                    <a:pt x="1685" y="383"/>
                  </a:lnTo>
                  <a:lnTo>
                    <a:pt x="1685" y="383"/>
                  </a:lnTo>
                  <a:close/>
                  <a:moveTo>
                    <a:pt x="1654" y="383"/>
                  </a:moveTo>
                  <a:lnTo>
                    <a:pt x="1642" y="366"/>
                  </a:lnTo>
                  <a:lnTo>
                    <a:pt x="1654" y="366"/>
                  </a:lnTo>
                  <a:lnTo>
                    <a:pt x="1654" y="383"/>
                  </a:lnTo>
                  <a:lnTo>
                    <a:pt x="1654" y="383"/>
                  </a:lnTo>
                  <a:lnTo>
                    <a:pt x="1654" y="383"/>
                  </a:lnTo>
                  <a:close/>
                  <a:moveTo>
                    <a:pt x="1730" y="383"/>
                  </a:moveTo>
                  <a:lnTo>
                    <a:pt x="1730" y="390"/>
                  </a:lnTo>
                  <a:lnTo>
                    <a:pt x="1722" y="390"/>
                  </a:lnTo>
                  <a:lnTo>
                    <a:pt x="1706" y="390"/>
                  </a:lnTo>
                  <a:lnTo>
                    <a:pt x="1696" y="383"/>
                  </a:lnTo>
                  <a:lnTo>
                    <a:pt x="1713" y="374"/>
                  </a:lnTo>
                  <a:lnTo>
                    <a:pt x="1730" y="383"/>
                  </a:lnTo>
                  <a:lnTo>
                    <a:pt x="1730" y="383"/>
                  </a:lnTo>
                  <a:lnTo>
                    <a:pt x="1730" y="383"/>
                  </a:lnTo>
                  <a:close/>
                  <a:moveTo>
                    <a:pt x="1621" y="383"/>
                  </a:moveTo>
                  <a:lnTo>
                    <a:pt x="1630" y="374"/>
                  </a:lnTo>
                  <a:lnTo>
                    <a:pt x="1637" y="374"/>
                  </a:lnTo>
                  <a:lnTo>
                    <a:pt x="1621" y="383"/>
                  </a:lnTo>
                  <a:lnTo>
                    <a:pt x="1621" y="383"/>
                  </a:lnTo>
                  <a:lnTo>
                    <a:pt x="1621" y="383"/>
                  </a:lnTo>
                  <a:close/>
                  <a:moveTo>
                    <a:pt x="1630" y="395"/>
                  </a:moveTo>
                  <a:lnTo>
                    <a:pt x="1616" y="395"/>
                  </a:lnTo>
                  <a:lnTo>
                    <a:pt x="1621" y="383"/>
                  </a:lnTo>
                  <a:lnTo>
                    <a:pt x="1637" y="383"/>
                  </a:lnTo>
                  <a:lnTo>
                    <a:pt x="1642" y="383"/>
                  </a:lnTo>
                  <a:lnTo>
                    <a:pt x="1630" y="395"/>
                  </a:lnTo>
                  <a:lnTo>
                    <a:pt x="1630" y="395"/>
                  </a:lnTo>
                  <a:lnTo>
                    <a:pt x="1630" y="395"/>
                  </a:lnTo>
                  <a:close/>
                  <a:moveTo>
                    <a:pt x="1630" y="485"/>
                  </a:moveTo>
                  <a:lnTo>
                    <a:pt x="1630" y="461"/>
                  </a:lnTo>
                  <a:lnTo>
                    <a:pt x="1642" y="449"/>
                  </a:lnTo>
                  <a:lnTo>
                    <a:pt x="1630" y="449"/>
                  </a:lnTo>
                  <a:lnTo>
                    <a:pt x="1630" y="428"/>
                  </a:lnTo>
                  <a:lnTo>
                    <a:pt x="1637" y="423"/>
                  </a:lnTo>
                  <a:lnTo>
                    <a:pt x="1654" y="428"/>
                  </a:lnTo>
                  <a:lnTo>
                    <a:pt x="1637" y="423"/>
                  </a:lnTo>
                  <a:lnTo>
                    <a:pt x="1637" y="411"/>
                  </a:lnTo>
                  <a:lnTo>
                    <a:pt x="1637" y="395"/>
                  </a:lnTo>
                  <a:lnTo>
                    <a:pt x="1654" y="390"/>
                  </a:lnTo>
                  <a:lnTo>
                    <a:pt x="1659" y="390"/>
                  </a:lnTo>
                  <a:lnTo>
                    <a:pt x="1713" y="395"/>
                  </a:lnTo>
                  <a:lnTo>
                    <a:pt x="1744" y="390"/>
                  </a:lnTo>
                  <a:lnTo>
                    <a:pt x="1798" y="395"/>
                  </a:lnTo>
                  <a:lnTo>
                    <a:pt x="1793" y="444"/>
                  </a:lnTo>
                  <a:lnTo>
                    <a:pt x="1760" y="485"/>
                  </a:lnTo>
                  <a:lnTo>
                    <a:pt x="1744" y="494"/>
                  </a:lnTo>
                  <a:lnTo>
                    <a:pt x="1722" y="494"/>
                  </a:lnTo>
                  <a:lnTo>
                    <a:pt x="1706" y="506"/>
                  </a:lnTo>
                  <a:lnTo>
                    <a:pt x="1706" y="494"/>
                  </a:lnTo>
                  <a:lnTo>
                    <a:pt x="1696" y="506"/>
                  </a:lnTo>
                  <a:lnTo>
                    <a:pt x="1685" y="501"/>
                  </a:lnTo>
                  <a:lnTo>
                    <a:pt x="1659" y="506"/>
                  </a:lnTo>
                  <a:lnTo>
                    <a:pt x="1642" y="506"/>
                  </a:lnTo>
                  <a:lnTo>
                    <a:pt x="1630" y="485"/>
                  </a:lnTo>
                  <a:lnTo>
                    <a:pt x="1630" y="485"/>
                  </a:lnTo>
                  <a:lnTo>
                    <a:pt x="1630" y="485"/>
                  </a:lnTo>
                  <a:close/>
                  <a:moveTo>
                    <a:pt x="1588" y="411"/>
                  </a:moveTo>
                  <a:lnTo>
                    <a:pt x="1600" y="390"/>
                  </a:lnTo>
                  <a:lnTo>
                    <a:pt x="1604" y="390"/>
                  </a:lnTo>
                  <a:lnTo>
                    <a:pt x="1604" y="395"/>
                  </a:lnTo>
                  <a:lnTo>
                    <a:pt x="1588" y="411"/>
                  </a:lnTo>
                  <a:lnTo>
                    <a:pt x="1588" y="411"/>
                  </a:lnTo>
                  <a:lnTo>
                    <a:pt x="1588" y="411"/>
                  </a:lnTo>
                  <a:close/>
                  <a:moveTo>
                    <a:pt x="1630" y="407"/>
                  </a:moveTo>
                  <a:lnTo>
                    <a:pt x="1621" y="407"/>
                  </a:lnTo>
                  <a:lnTo>
                    <a:pt x="1637" y="395"/>
                  </a:lnTo>
                  <a:lnTo>
                    <a:pt x="1630" y="407"/>
                  </a:lnTo>
                  <a:lnTo>
                    <a:pt x="1630" y="407"/>
                  </a:lnTo>
                  <a:lnTo>
                    <a:pt x="1630" y="407"/>
                  </a:lnTo>
                  <a:close/>
                  <a:moveTo>
                    <a:pt x="1604" y="423"/>
                  </a:moveTo>
                  <a:lnTo>
                    <a:pt x="1604" y="407"/>
                  </a:lnTo>
                  <a:lnTo>
                    <a:pt x="1616" y="395"/>
                  </a:lnTo>
                  <a:lnTo>
                    <a:pt x="1621" y="407"/>
                  </a:lnTo>
                  <a:lnTo>
                    <a:pt x="1604" y="423"/>
                  </a:lnTo>
                  <a:lnTo>
                    <a:pt x="1604" y="423"/>
                  </a:lnTo>
                  <a:lnTo>
                    <a:pt x="1604" y="423"/>
                  </a:lnTo>
                  <a:close/>
                  <a:moveTo>
                    <a:pt x="1621" y="423"/>
                  </a:moveTo>
                  <a:lnTo>
                    <a:pt x="1621" y="407"/>
                  </a:lnTo>
                  <a:lnTo>
                    <a:pt x="1630" y="407"/>
                  </a:lnTo>
                  <a:lnTo>
                    <a:pt x="1630" y="411"/>
                  </a:lnTo>
                  <a:lnTo>
                    <a:pt x="1621" y="423"/>
                  </a:lnTo>
                  <a:lnTo>
                    <a:pt x="1621" y="423"/>
                  </a:lnTo>
                  <a:lnTo>
                    <a:pt x="1621" y="423"/>
                  </a:lnTo>
                  <a:close/>
                  <a:moveTo>
                    <a:pt x="1550" y="485"/>
                  </a:moveTo>
                  <a:lnTo>
                    <a:pt x="1550" y="461"/>
                  </a:lnTo>
                  <a:lnTo>
                    <a:pt x="1567" y="449"/>
                  </a:lnTo>
                  <a:lnTo>
                    <a:pt x="1578" y="428"/>
                  </a:lnTo>
                  <a:lnTo>
                    <a:pt x="1588" y="423"/>
                  </a:lnTo>
                  <a:lnTo>
                    <a:pt x="1604" y="411"/>
                  </a:lnTo>
                  <a:lnTo>
                    <a:pt x="1604" y="428"/>
                  </a:lnTo>
                  <a:lnTo>
                    <a:pt x="1600" y="449"/>
                  </a:lnTo>
                  <a:lnTo>
                    <a:pt x="1583" y="468"/>
                  </a:lnTo>
                  <a:lnTo>
                    <a:pt x="1550" y="485"/>
                  </a:lnTo>
                  <a:lnTo>
                    <a:pt x="1550" y="485"/>
                  </a:lnTo>
                  <a:lnTo>
                    <a:pt x="1550" y="485"/>
                  </a:lnTo>
                  <a:close/>
                  <a:moveTo>
                    <a:pt x="1604" y="444"/>
                  </a:moveTo>
                  <a:lnTo>
                    <a:pt x="1616" y="428"/>
                  </a:lnTo>
                  <a:lnTo>
                    <a:pt x="1630" y="423"/>
                  </a:lnTo>
                  <a:lnTo>
                    <a:pt x="1630" y="428"/>
                  </a:lnTo>
                  <a:lnTo>
                    <a:pt x="1604" y="444"/>
                  </a:lnTo>
                  <a:lnTo>
                    <a:pt x="1604" y="444"/>
                  </a:lnTo>
                  <a:lnTo>
                    <a:pt x="1604" y="444"/>
                  </a:lnTo>
                  <a:close/>
                  <a:moveTo>
                    <a:pt x="1831" y="428"/>
                  </a:moveTo>
                  <a:lnTo>
                    <a:pt x="1831" y="423"/>
                  </a:lnTo>
                  <a:lnTo>
                    <a:pt x="1836" y="428"/>
                  </a:lnTo>
                  <a:lnTo>
                    <a:pt x="1831" y="428"/>
                  </a:lnTo>
                  <a:lnTo>
                    <a:pt x="1831" y="428"/>
                  </a:lnTo>
                  <a:lnTo>
                    <a:pt x="1831" y="428"/>
                  </a:lnTo>
                  <a:close/>
                  <a:moveTo>
                    <a:pt x="1621" y="440"/>
                  </a:moveTo>
                  <a:lnTo>
                    <a:pt x="1621" y="428"/>
                  </a:lnTo>
                  <a:lnTo>
                    <a:pt x="1630" y="428"/>
                  </a:lnTo>
                  <a:lnTo>
                    <a:pt x="1621" y="440"/>
                  </a:lnTo>
                  <a:lnTo>
                    <a:pt x="1621" y="440"/>
                  </a:lnTo>
                  <a:lnTo>
                    <a:pt x="1621" y="440"/>
                  </a:lnTo>
                  <a:close/>
                  <a:moveTo>
                    <a:pt x="1588" y="468"/>
                  </a:moveTo>
                  <a:lnTo>
                    <a:pt x="1604" y="440"/>
                  </a:lnTo>
                  <a:lnTo>
                    <a:pt x="1600" y="461"/>
                  </a:lnTo>
                  <a:lnTo>
                    <a:pt x="1588" y="468"/>
                  </a:lnTo>
                  <a:lnTo>
                    <a:pt x="1588" y="468"/>
                  </a:lnTo>
                  <a:lnTo>
                    <a:pt x="1588" y="468"/>
                  </a:lnTo>
                  <a:close/>
                  <a:moveTo>
                    <a:pt x="1928" y="449"/>
                  </a:moveTo>
                  <a:lnTo>
                    <a:pt x="1940" y="444"/>
                  </a:lnTo>
                  <a:lnTo>
                    <a:pt x="1940" y="449"/>
                  </a:lnTo>
                  <a:lnTo>
                    <a:pt x="1928" y="449"/>
                  </a:lnTo>
                  <a:lnTo>
                    <a:pt x="1928" y="449"/>
                  </a:lnTo>
                  <a:lnTo>
                    <a:pt x="1928" y="449"/>
                  </a:lnTo>
                  <a:close/>
                  <a:moveTo>
                    <a:pt x="1798" y="468"/>
                  </a:moveTo>
                  <a:lnTo>
                    <a:pt x="1793" y="461"/>
                  </a:lnTo>
                  <a:lnTo>
                    <a:pt x="1798" y="449"/>
                  </a:lnTo>
                  <a:lnTo>
                    <a:pt x="1805" y="449"/>
                  </a:lnTo>
                  <a:lnTo>
                    <a:pt x="1798" y="468"/>
                  </a:lnTo>
                  <a:lnTo>
                    <a:pt x="1798" y="468"/>
                  </a:lnTo>
                  <a:lnTo>
                    <a:pt x="1798" y="468"/>
                  </a:lnTo>
                  <a:close/>
                  <a:moveTo>
                    <a:pt x="2037" y="477"/>
                  </a:moveTo>
                  <a:lnTo>
                    <a:pt x="2037" y="468"/>
                  </a:lnTo>
                  <a:lnTo>
                    <a:pt x="2048" y="468"/>
                  </a:lnTo>
                  <a:lnTo>
                    <a:pt x="2037" y="477"/>
                  </a:lnTo>
                  <a:lnTo>
                    <a:pt x="2037" y="477"/>
                  </a:lnTo>
                  <a:lnTo>
                    <a:pt x="2037" y="477"/>
                  </a:lnTo>
                  <a:close/>
                  <a:moveTo>
                    <a:pt x="1512" y="485"/>
                  </a:moveTo>
                  <a:lnTo>
                    <a:pt x="1533" y="477"/>
                  </a:lnTo>
                  <a:lnTo>
                    <a:pt x="1512" y="485"/>
                  </a:lnTo>
                  <a:lnTo>
                    <a:pt x="1512" y="485"/>
                  </a:lnTo>
                  <a:lnTo>
                    <a:pt x="1512" y="485"/>
                  </a:lnTo>
                  <a:close/>
                  <a:moveTo>
                    <a:pt x="1529" y="501"/>
                  </a:moveTo>
                  <a:lnTo>
                    <a:pt x="1533" y="485"/>
                  </a:lnTo>
                  <a:lnTo>
                    <a:pt x="1545" y="485"/>
                  </a:lnTo>
                  <a:lnTo>
                    <a:pt x="1550" y="485"/>
                  </a:lnTo>
                  <a:lnTo>
                    <a:pt x="1529" y="501"/>
                  </a:lnTo>
                  <a:lnTo>
                    <a:pt x="1529" y="501"/>
                  </a:lnTo>
                  <a:lnTo>
                    <a:pt x="1529" y="501"/>
                  </a:lnTo>
                  <a:close/>
                  <a:moveTo>
                    <a:pt x="2053" y="501"/>
                  </a:moveTo>
                  <a:lnTo>
                    <a:pt x="2063" y="494"/>
                  </a:lnTo>
                  <a:lnTo>
                    <a:pt x="2063" y="501"/>
                  </a:lnTo>
                  <a:lnTo>
                    <a:pt x="2053" y="501"/>
                  </a:lnTo>
                  <a:lnTo>
                    <a:pt x="2053" y="501"/>
                  </a:lnTo>
                  <a:lnTo>
                    <a:pt x="2053" y="501"/>
                  </a:lnTo>
                  <a:close/>
                  <a:moveTo>
                    <a:pt x="1760" y="506"/>
                  </a:moveTo>
                  <a:lnTo>
                    <a:pt x="1751" y="501"/>
                  </a:lnTo>
                  <a:lnTo>
                    <a:pt x="1760" y="494"/>
                  </a:lnTo>
                  <a:lnTo>
                    <a:pt x="1760" y="506"/>
                  </a:lnTo>
                  <a:lnTo>
                    <a:pt x="1760" y="506"/>
                  </a:lnTo>
                  <a:lnTo>
                    <a:pt x="1760" y="506"/>
                  </a:lnTo>
                  <a:close/>
                  <a:moveTo>
                    <a:pt x="1744" y="518"/>
                  </a:moveTo>
                  <a:lnTo>
                    <a:pt x="1751" y="501"/>
                  </a:lnTo>
                  <a:lnTo>
                    <a:pt x="1751" y="506"/>
                  </a:lnTo>
                  <a:lnTo>
                    <a:pt x="1744" y="518"/>
                  </a:lnTo>
                  <a:lnTo>
                    <a:pt x="1744" y="518"/>
                  </a:lnTo>
                  <a:lnTo>
                    <a:pt x="1744" y="518"/>
                  </a:lnTo>
                  <a:close/>
                  <a:moveTo>
                    <a:pt x="1630" y="522"/>
                  </a:moveTo>
                  <a:lnTo>
                    <a:pt x="1616" y="522"/>
                  </a:lnTo>
                  <a:lnTo>
                    <a:pt x="1604" y="506"/>
                  </a:lnTo>
                  <a:lnTo>
                    <a:pt x="1630" y="518"/>
                  </a:lnTo>
                  <a:lnTo>
                    <a:pt x="1630" y="522"/>
                  </a:lnTo>
                  <a:lnTo>
                    <a:pt x="1630" y="522"/>
                  </a:lnTo>
                  <a:lnTo>
                    <a:pt x="1630" y="522"/>
                  </a:lnTo>
                  <a:close/>
                  <a:moveTo>
                    <a:pt x="2247" y="577"/>
                  </a:moveTo>
                  <a:lnTo>
                    <a:pt x="2237" y="572"/>
                  </a:lnTo>
                  <a:lnTo>
                    <a:pt x="2247" y="572"/>
                  </a:lnTo>
                  <a:lnTo>
                    <a:pt x="2247" y="577"/>
                  </a:lnTo>
                  <a:lnTo>
                    <a:pt x="2247" y="577"/>
                  </a:lnTo>
                  <a:lnTo>
                    <a:pt x="2247" y="577"/>
                  </a:lnTo>
                  <a:close/>
                  <a:moveTo>
                    <a:pt x="2070" y="596"/>
                  </a:moveTo>
                  <a:lnTo>
                    <a:pt x="2070" y="577"/>
                  </a:lnTo>
                  <a:lnTo>
                    <a:pt x="2074" y="572"/>
                  </a:lnTo>
                  <a:lnTo>
                    <a:pt x="2070" y="589"/>
                  </a:lnTo>
                  <a:lnTo>
                    <a:pt x="2070" y="596"/>
                  </a:lnTo>
                  <a:lnTo>
                    <a:pt x="2070" y="596"/>
                  </a:lnTo>
                  <a:lnTo>
                    <a:pt x="2070" y="596"/>
                  </a:lnTo>
                  <a:close/>
                  <a:moveTo>
                    <a:pt x="2469" y="1333"/>
                  </a:moveTo>
                  <a:lnTo>
                    <a:pt x="2485" y="1309"/>
                  </a:lnTo>
                  <a:lnTo>
                    <a:pt x="2485" y="1316"/>
                  </a:lnTo>
                  <a:lnTo>
                    <a:pt x="2469" y="1333"/>
                  </a:lnTo>
                  <a:lnTo>
                    <a:pt x="2469" y="1333"/>
                  </a:lnTo>
                  <a:lnTo>
                    <a:pt x="2469" y="1333"/>
                  </a:lnTo>
                  <a:close/>
                  <a:moveTo>
                    <a:pt x="2464" y="1366"/>
                  </a:moveTo>
                  <a:lnTo>
                    <a:pt x="2452" y="1349"/>
                  </a:lnTo>
                  <a:lnTo>
                    <a:pt x="2464" y="1349"/>
                  </a:lnTo>
                  <a:lnTo>
                    <a:pt x="2464" y="1366"/>
                  </a:lnTo>
                  <a:lnTo>
                    <a:pt x="2464" y="1366"/>
                  </a:lnTo>
                  <a:lnTo>
                    <a:pt x="2464" y="1366"/>
                  </a:lnTo>
                  <a:close/>
                  <a:moveTo>
                    <a:pt x="2464" y="1370"/>
                  </a:moveTo>
                  <a:lnTo>
                    <a:pt x="2464" y="1366"/>
                  </a:lnTo>
                  <a:lnTo>
                    <a:pt x="2464" y="1370"/>
                  </a:lnTo>
                  <a:lnTo>
                    <a:pt x="2464" y="1370"/>
                  </a:lnTo>
                  <a:lnTo>
                    <a:pt x="2464" y="1370"/>
                  </a:lnTo>
                  <a:close/>
                  <a:moveTo>
                    <a:pt x="2086" y="2086"/>
                  </a:moveTo>
                  <a:lnTo>
                    <a:pt x="2086" y="2074"/>
                  </a:lnTo>
                  <a:lnTo>
                    <a:pt x="2091" y="2070"/>
                  </a:lnTo>
                  <a:lnTo>
                    <a:pt x="2100" y="2074"/>
                  </a:lnTo>
                  <a:lnTo>
                    <a:pt x="2086" y="2086"/>
                  </a:lnTo>
                  <a:lnTo>
                    <a:pt x="2086" y="2086"/>
                  </a:lnTo>
                  <a:lnTo>
                    <a:pt x="2086" y="2086"/>
                  </a:lnTo>
                  <a:close/>
                  <a:moveTo>
                    <a:pt x="2020" y="2143"/>
                  </a:moveTo>
                  <a:lnTo>
                    <a:pt x="2011" y="2131"/>
                  </a:lnTo>
                  <a:lnTo>
                    <a:pt x="2015" y="2119"/>
                  </a:lnTo>
                  <a:lnTo>
                    <a:pt x="2020" y="2126"/>
                  </a:lnTo>
                  <a:lnTo>
                    <a:pt x="2020" y="2143"/>
                  </a:lnTo>
                  <a:lnTo>
                    <a:pt x="2020" y="2143"/>
                  </a:lnTo>
                  <a:lnTo>
                    <a:pt x="2020" y="2143"/>
                  </a:lnTo>
                  <a:close/>
                  <a:moveTo>
                    <a:pt x="1836" y="2221"/>
                  </a:moveTo>
                  <a:lnTo>
                    <a:pt x="1836" y="2214"/>
                  </a:lnTo>
                  <a:lnTo>
                    <a:pt x="1852" y="2202"/>
                  </a:lnTo>
                  <a:lnTo>
                    <a:pt x="1836" y="2221"/>
                  </a:lnTo>
                  <a:lnTo>
                    <a:pt x="1836" y="2221"/>
                  </a:lnTo>
                  <a:lnTo>
                    <a:pt x="1836" y="2221"/>
                  </a:lnTo>
                  <a:close/>
                  <a:moveTo>
                    <a:pt x="1805" y="2254"/>
                  </a:moveTo>
                  <a:lnTo>
                    <a:pt x="1805" y="2242"/>
                  </a:lnTo>
                  <a:lnTo>
                    <a:pt x="1805" y="2254"/>
                  </a:lnTo>
                  <a:lnTo>
                    <a:pt x="1805" y="2254"/>
                  </a:lnTo>
                  <a:lnTo>
                    <a:pt x="1805" y="2254"/>
                  </a:lnTo>
                  <a:close/>
                  <a:moveTo>
                    <a:pt x="1784" y="2329"/>
                  </a:moveTo>
                  <a:lnTo>
                    <a:pt x="1777" y="2313"/>
                  </a:lnTo>
                  <a:lnTo>
                    <a:pt x="1793" y="2308"/>
                  </a:lnTo>
                  <a:lnTo>
                    <a:pt x="1793" y="2313"/>
                  </a:lnTo>
                  <a:lnTo>
                    <a:pt x="1784" y="2329"/>
                  </a:lnTo>
                  <a:lnTo>
                    <a:pt x="1784" y="2329"/>
                  </a:lnTo>
                  <a:lnTo>
                    <a:pt x="1784" y="2329"/>
                  </a:lnTo>
                  <a:close/>
                  <a:moveTo>
                    <a:pt x="1793" y="2436"/>
                  </a:moveTo>
                  <a:lnTo>
                    <a:pt x="1793" y="2403"/>
                  </a:lnTo>
                  <a:lnTo>
                    <a:pt x="1798" y="2403"/>
                  </a:lnTo>
                  <a:lnTo>
                    <a:pt x="1798" y="2419"/>
                  </a:lnTo>
                  <a:lnTo>
                    <a:pt x="1793" y="2436"/>
                  </a:lnTo>
                  <a:lnTo>
                    <a:pt x="1793" y="2436"/>
                  </a:lnTo>
                  <a:lnTo>
                    <a:pt x="1793" y="2436"/>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5" name="Freeform 404">
              <a:extLst>
                <a:ext uri="{FF2B5EF4-FFF2-40B4-BE49-F238E27FC236}">
                  <a16:creationId xmlns:a16="http://schemas.microsoft.com/office/drawing/2014/main" id="{B1261CAD-E035-4D20-BEC0-870352E7CC62}"/>
                </a:ext>
              </a:extLst>
            </p:cNvPr>
            <p:cNvSpPr>
              <a:spLocks/>
            </p:cNvSpPr>
            <p:nvPr/>
          </p:nvSpPr>
          <p:spPr bwMode="gray">
            <a:xfrm>
              <a:off x="15781587" y="3428065"/>
              <a:ext cx="77242" cy="41567"/>
            </a:xfrm>
            <a:custGeom>
              <a:avLst/>
              <a:gdLst>
                <a:gd name="T0" fmla="*/ 5 w 236"/>
                <a:gd name="T1" fmla="*/ 78 h 127"/>
                <a:gd name="T2" fmla="*/ 55 w 236"/>
                <a:gd name="T3" fmla="*/ 21 h 127"/>
                <a:gd name="T4" fmla="*/ 88 w 236"/>
                <a:gd name="T5" fmla="*/ 0 h 127"/>
                <a:gd name="T6" fmla="*/ 116 w 236"/>
                <a:gd name="T7" fmla="*/ 4 h 127"/>
                <a:gd name="T8" fmla="*/ 116 w 236"/>
                <a:gd name="T9" fmla="*/ 21 h 127"/>
                <a:gd name="T10" fmla="*/ 166 w 236"/>
                <a:gd name="T11" fmla="*/ 28 h 127"/>
                <a:gd name="T12" fmla="*/ 182 w 236"/>
                <a:gd name="T13" fmla="*/ 21 h 127"/>
                <a:gd name="T14" fmla="*/ 203 w 236"/>
                <a:gd name="T15" fmla="*/ 28 h 127"/>
                <a:gd name="T16" fmla="*/ 203 w 236"/>
                <a:gd name="T17" fmla="*/ 45 h 127"/>
                <a:gd name="T18" fmla="*/ 203 w 236"/>
                <a:gd name="T19" fmla="*/ 54 h 127"/>
                <a:gd name="T20" fmla="*/ 203 w 236"/>
                <a:gd name="T21" fmla="*/ 61 h 127"/>
                <a:gd name="T22" fmla="*/ 225 w 236"/>
                <a:gd name="T23" fmla="*/ 61 h 127"/>
                <a:gd name="T24" fmla="*/ 236 w 236"/>
                <a:gd name="T25" fmla="*/ 78 h 127"/>
                <a:gd name="T26" fmla="*/ 225 w 236"/>
                <a:gd name="T27" fmla="*/ 94 h 127"/>
                <a:gd name="T28" fmla="*/ 236 w 236"/>
                <a:gd name="T29" fmla="*/ 111 h 127"/>
                <a:gd name="T30" fmla="*/ 236 w 236"/>
                <a:gd name="T31" fmla="*/ 111 h 127"/>
                <a:gd name="T32" fmla="*/ 199 w 236"/>
                <a:gd name="T33" fmla="*/ 118 h 127"/>
                <a:gd name="T34" fmla="*/ 187 w 236"/>
                <a:gd name="T35" fmla="*/ 111 h 127"/>
                <a:gd name="T36" fmla="*/ 182 w 236"/>
                <a:gd name="T37" fmla="*/ 118 h 127"/>
                <a:gd name="T38" fmla="*/ 142 w 236"/>
                <a:gd name="T39" fmla="*/ 118 h 127"/>
                <a:gd name="T40" fmla="*/ 116 w 236"/>
                <a:gd name="T41" fmla="*/ 111 h 127"/>
                <a:gd name="T42" fmla="*/ 92 w 236"/>
                <a:gd name="T43" fmla="*/ 127 h 127"/>
                <a:gd name="T44" fmla="*/ 62 w 236"/>
                <a:gd name="T45" fmla="*/ 127 h 127"/>
                <a:gd name="T46" fmla="*/ 38 w 236"/>
                <a:gd name="T47" fmla="*/ 118 h 127"/>
                <a:gd name="T48" fmla="*/ 21 w 236"/>
                <a:gd name="T49" fmla="*/ 118 h 127"/>
                <a:gd name="T50" fmla="*/ 5 w 236"/>
                <a:gd name="T51" fmla="*/ 99 h 127"/>
                <a:gd name="T52" fmla="*/ 0 w 236"/>
                <a:gd name="T53" fmla="*/ 94 h 127"/>
                <a:gd name="T54" fmla="*/ 5 w 236"/>
                <a:gd name="T55" fmla="*/ 78 h 127"/>
                <a:gd name="T56" fmla="*/ 5 w 236"/>
                <a:gd name="T57" fmla="*/ 78 h 127"/>
                <a:gd name="T58" fmla="*/ 5 w 236"/>
                <a:gd name="T59" fmla="*/ 7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6" h="127">
                  <a:moveTo>
                    <a:pt x="5" y="78"/>
                  </a:moveTo>
                  <a:lnTo>
                    <a:pt x="55" y="21"/>
                  </a:lnTo>
                  <a:lnTo>
                    <a:pt x="88" y="0"/>
                  </a:lnTo>
                  <a:lnTo>
                    <a:pt x="116" y="4"/>
                  </a:lnTo>
                  <a:lnTo>
                    <a:pt x="116" y="21"/>
                  </a:lnTo>
                  <a:lnTo>
                    <a:pt x="166" y="28"/>
                  </a:lnTo>
                  <a:lnTo>
                    <a:pt x="182" y="21"/>
                  </a:lnTo>
                  <a:lnTo>
                    <a:pt x="203" y="28"/>
                  </a:lnTo>
                  <a:lnTo>
                    <a:pt x="203" y="45"/>
                  </a:lnTo>
                  <a:lnTo>
                    <a:pt x="203" y="54"/>
                  </a:lnTo>
                  <a:lnTo>
                    <a:pt x="203" y="61"/>
                  </a:lnTo>
                  <a:lnTo>
                    <a:pt x="225" y="61"/>
                  </a:lnTo>
                  <a:lnTo>
                    <a:pt x="236" y="78"/>
                  </a:lnTo>
                  <a:lnTo>
                    <a:pt x="225" y="94"/>
                  </a:lnTo>
                  <a:lnTo>
                    <a:pt x="236" y="111"/>
                  </a:lnTo>
                  <a:lnTo>
                    <a:pt x="236" y="111"/>
                  </a:lnTo>
                  <a:lnTo>
                    <a:pt x="199" y="118"/>
                  </a:lnTo>
                  <a:lnTo>
                    <a:pt x="187" y="111"/>
                  </a:lnTo>
                  <a:lnTo>
                    <a:pt x="182" y="118"/>
                  </a:lnTo>
                  <a:lnTo>
                    <a:pt x="142" y="118"/>
                  </a:lnTo>
                  <a:lnTo>
                    <a:pt x="116" y="111"/>
                  </a:lnTo>
                  <a:lnTo>
                    <a:pt x="92" y="127"/>
                  </a:lnTo>
                  <a:lnTo>
                    <a:pt x="62" y="127"/>
                  </a:lnTo>
                  <a:lnTo>
                    <a:pt x="38" y="118"/>
                  </a:lnTo>
                  <a:lnTo>
                    <a:pt x="21" y="118"/>
                  </a:lnTo>
                  <a:lnTo>
                    <a:pt x="5" y="99"/>
                  </a:lnTo>
                  <a:lnTo>
                    <a:pt x="0" y="94"/>
                  </a:lnTo>
                  <a:lnTo>
                    <a:pt x="5" y="78"/>
                  </a:lnTo>
                  <a:lnTo>
                    <a:pt x="5" y="78"/>
                  </a:lnTo>
                  <a:lnTo>
                    <a:pt x="5" y="78"/>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6" name="Freeform 405">
              <a:extLst>
                <a:ext uri="{FF2B5EF4-FFF2-40B4-BE49-F238E27FC236}">
                  <a16:creationId xmlns:a16="http://schemas.microsoft.com/office/drawing/2014/main" id="{9BFED5D7-98C3-468A-82DD-DF84E62BA771}"/>
                </a:ext>
              </a:extLst>
            </p:cNvPr>
            <p:cNvSpPr>
              <a:spLocks/>
            </p:cNvSpPr>
            <p:nvPr/>
          </p:nvSpPr>
          <p:spPr bwMode="gray">
            <a:xfrm>
              <a:off x="14257694" y="2996688"/>
              <a:ext cx="143029" cy="87388"/>
            </a:xfrm>
            <a:custGeom>
              <a:avLst/>
              <a:gdLst>
                <a:gd name="T0" fmla="*/ 400 w 437"/>
                <a:gd name="T1" fmla="*/ 200 h 267"/>
                <a:gd name="T2" fmla="*/ 366 w 437"/>
                <a:gd name="T3" fmla="*/ 210 h 267"/>
                <a:gd name="T4" fmla="*/ 345 w 437"/>
                <a:gd name="T5" fmla="*/ 193 h 267"/>
                <a:gd name="T6" fmla="*/ 329 w 437"/>
                <a:gd name="T7" fmla="*/ 193 h 267"/>
                <a:gd name="T8" fmla="*/ 324 w 437"/>
                <a:gd name="T9" fmla="*/ 200 h 267"/>
                <a:gd name="T10" fmla="*/ 303 w 437"/>
                <a:gd name="T11" fmla="*/ 200 h 267"/>
                <a:gd name="T12" fmla="*/ 291 w 437"/>
                <a:gd name="T13" fmla="*/ 217 h 267"/>
                <a:gd name="T14" fmla="*/ 286 w 437"/>
                <a:gd name="T15" fmla="*/ 217 h 267"/>
                <a:gd name="T16" fmla="*/ 286 w 437"/>
                <a:gd name="T17" fmla="*/ 226 h 267"/>
                <a:gd name="T18" fmla="*/ 260 w 437"/>
                <a:gd name="T19" fmla="*/ 226 h 267"/>
                <a:gd name="T20" fmla="*/ 270 w 437"/>
                <a:gd name="T21" fmla="*/ 238 h 267"/>
                <a:gd name="T22" fmla="*/ 270 w 437"/>
                <a:gd name="T23" fmla="*/ 255 h 267"/>
                <a:gd name="T24" fmla="*/ 206 w 437"/>
                <a:gd name="T25" fmla="*/ 267 h 267"/>
                <a:gd name="T26" fmla="*/ 140 w 437"/>
                <a:gd name="T27" fmla="*/ 238 h 267"/>
                <a:gd name="T28" fmla="*/ 92 w 437"/>
                <a:gd name="T29" fmla="*/ 255 h 267"/>
                <a:gd name="T30" fmla="*/ 43 w 437"/>
                <a:gd name="T31" fmla="*/ 255 h 267"/>
                <a:gd name="T32" fmla="*/ 43 w 437"/>
                <a:gd name="T33" fmla="*/ 217 h 267"/>
                <a:gd name="T34" fmla="*/ 38 w 437"/>
                <a:gd name="T35" fmla="*/ 200 h 267"/>
                <a:gd name="T36" fmla="*/ 17 w 437"/>
                <a:gd name="T37" fmla="*/ 184 h 267"/>
                <a:gd name="T38" fmla="*/ 0 w 437"/>
                <a:gd name="T39" fmla="*/ 165 h 267"/>
                <a:gd name="T40" fmla="*/ 17 w 437"/>
                <a:gd name="T41" fmla="*/ 160 h 267"/>
                <a:gd name="T42" fmla="*/ 5 w 437"/>
                <a:gd name="T43" fmla="*/ 144 h 267"/>
                <a:gd name="T44" fmla="*/ 5 w 437"/>
                <a:gd name="T45" fmla="*/ 127 h 267"/>
                <a:gd name="T46" fmla="*/ 33 w 437"/>
                <a:gd name="T47" fmla="*/ 122 h 267"/>
                <a:gd name="T48" fmla="*/ 43 w 437"/>
                <a:gd name="T49" fmla="*/ 99 h 267"/>
                <a:gd name="T50" fmla="*/ 17 w 437"/>
                <a:gd name="T51" fmla="*/ 73 h 267"/>
                <a:gd name="T52" fmla="*/ 0 w 437"/>
                <a:gd name="T53" fmla="*/ 44 h 267"/>
                <a:gd name="T54" fmla="*/ 5 w 437"/>
                <a:gd name="T55" fmla="*/ 28 h 267"/>
                <a:gd name="T56" fmla="*/ 22 w 437"/>
                <a:gd name="T57" fmla="*/ 0 h 267"/>
                <a:gd name="T58" fmla="*/ 43 w 437"/>
                <a:gd name="T59" fmla="*/ 16 h 267"/>
                <a:gd name="T60" fmla="*/ 38 w 437"/>
                <a:gd name="T61" fmla="*/ 28 h 267"/>
                <a:gd name="T62" fmla="*/ 38 w 437"/>
                <a:gd name="T63" fmla="*/ 44 h 267"/>
                <a:gd name="T64" fmla="*/ 76 w 437"/>
                <a:gd name="T65" fmla="*/ 33 h 267"/>
                <a:gd name="T66" fmla="*/ 130 w 437"/>
                <a:gd name="T67" fmla="*/ 49 h 267"/>
                <a:gd name="T68" fmla="*/ 152 w 437"/>
                <a:gd name="T69" fmla="*/ 44 h 267"/>
                <a:gd name="T70" fmla="*/ 215 w 437"/>
                <a:gd name="T71" fmla="*/ 56 h 267"/>
                <a:gd name="T72" fmla="*/ 239 w 437"/>
                <a:gd name="T73" fmla="*/ 49 h 267"/>
                <a:gd name="T74" fmla="*/ 270 w 437"/>
                <a:gd name="T75" fmla="*/ 28 h 267"/>
                <a:gd name="T76" fmla="*/ 329 w 437"/>
                <a:gd name="T77" fmla="*/ 11 h 267"/>
                <a:gd name="T78" fmla="*/ 345 w 437"/>
                <a:gd name="T79" fmla="*/ 11 h 267"/>
                <a:gd name="T80" fmla="*/ 357 w 437"/>
                <a:gd name="T81" fmla="*/ 28 h 267"/>
                <a:gd name="T82" fmla="*/ 366 w 437"/>
                <a:gd name="T83" fmla="*/ 16 h 267"/>
                <a:gd name="T84" fmla="*/ 378 w 437"/>
                <a:gd name="T85" fmla="*/ 28 h 267"/>
                <a:gd name="T86" fmla="*/ 395 w 437"/>
                <a:gd name="T87" fmla="*/ 28 h 267"/>
                <a:gd name="T88" fmla="*/ 400 w 437"/>
                <a:gd name="T89" fmla="*/ 44 h 267"/>
                <a:gd name="T90" fmla="*/ 437 w 437"/>
                <a:gd name="T91" fmla="*/ 49 h 267"/>
                <a:gd name="T92" fmla="*/ 437 w 437"/>
                <a:gd name="T93" fmla="*/ 73 h 267"/>
                <a:gd name="T94" fmla="*/ 411 w 437"/>
                <a:gd name="T95" fmla="*/ 73 h 267"/>
                <a:gd name="T96" fmla="*/ 395 w 437"/>
                <a:gd name="T97" fmla="*/ 99 h 267"/>
                <a:gd name="T98" fmla="*/ 395 w 437"/>
                <a:gd name="T99" fmla="*/ 139 h 267"/>
                <a:gd name="T100" fmla="*/ 378 w 437"/>
                <a:gd name="T101" fmla="*/ 139 h 267"/>
                <a:gd name="T102" fmla="*/ 362 w 437"/>
                <a:gd name="T103" fmla="*/ 160 h 267"/>
                <a:gd name="T104" fmla="*/ 378 w 437"/>
                <a:gd name="T105" fmla="*/ 160 h 267"/>
                <a:gd name="T106" fmla="*/ 400 w 437"/>
                <a:gd name="T107" fmla="*/ 200 h 267"/>
                <a:gd name="T108" fmla="*/ 400 w 437"/>
                <a:gd name="T109" fmla="*/ 200 h 267"/>
                <a:gd name="T110" fmla="*/ 400 w 437"/>
                <a:gd name="T111" fmla="*/ 20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7" h="267">
                  <a:moveTo>
                    <a:pt x="400" y="200"/>
                  </a:moveTo>
                  <a:lnTo>
                    <a:pt x="366" y="210"/>
                  </a:lnTo>
                  <a:lnTo>
                    <a:pt x="345" y="193"/>
                  </a:lnTo>
                  <a:lnTo>
                    <a:pt x="329" y="193"/>
                  </a:lnTo>
                  <a:lnTo>
                    <a:pt x="324" y="200"/>
                  </a:lnTo>
                  <a:lnTo>
                    <a:pt x="303" y="200"/>
                  </a:lnTo>
                  <a:lnTo>
                    <a:pt x="291" y="217"/>
                  </a:lnTo>
                  <a:lnTo>
                    <a:pt x="286" y="217"/>
                  </a:lnTo>
                  <a:lnTo>
                    <a:pt x="286" y="226"/>
                  </a:lnTo>
                  <a:lnTo>
                    <a:pt x="260" y="226"/>
                  </a:lnTo>
                  <a:lnTo>
                    <a:pt x="270" y="238"/>
                  </a:lnTo>
                  <a:lnTo>
                    <a:pt x="270" y="255"/>
                  </a:lnTo>
                  <a:lnTo>
                    <a:pt x="206" y="267"/>
                  </a:lnTo>
                  <a:lnTo>
                    <a:pt x="140" y="238"/>
                  </a:lnTo>
                  <a:lnTo>
                    <a:pt x="92" y="255"/>
                  </a:lnTo>
                  <a:lnTo>
                    <a:pt x="43" y="255"/>
                  </a:lnTo>
                  <a:lnTo>
                    <a:pt x="43" y="217"/>
                  </a:lnTo>
                  <a:lnTo>
                    <a:pt x="38" y="200"/>
                  </a:lnTo>
                  <a:lnTo>
                    <a:pt x="17" y="184"/>
                  </a:lnTo>
                  <a:lnTo>
                    <a:pt x="0" y="165"/>
                  </a:lnTo>
                  <a:lnTo>
                    <a:pt x="17" y="160"/>
                  </a:lnTo>
                  <a:lnTo>
                    <a:pt x="5" y="144"/>
                  </a:lnTo>
                  <a:lnTo>
                    <a:pt x="5" y="127"/>
                  </a:lnTo>
                  <a:lnTo>
                    <a:pt x="33" y="122"/>
                  </a:lnTo>
                  <a:lnTo>
                    <a:pt x="43" y="99"/>
                  </a:lnTo>
                  <a:lnTo>
                    <a:pt x="17" y="73"/>
                  </a:lnTo>
                  <a:lnTo>
                    <a:pt x="0" y="44"/>
                  </a:lnTo>
                  <a:lnTo>
                    <a:pt x="5" y="28"/>
                  </a:lnTo>
                  <a:lnTo>
                    <a:pt x="22" y="0"/>
                  </a:lnTo>
                  <a:lnTo>
                    <a:pt x="43" y="16"/>
                  </a:lnTo>
                  <a:lnTo>
                    <a:pt x="38" y="28"/>
                  </a:lnTo>
                  <a:lnTo>
                    <a:pt x="38" y="44"/>
                  </a:lnTo>
                  <a:lnTo>
                    <a:pt x="76" y="33"/>
                  </a:lnTo>
                  <a:lnTo>
                    <a:pt x="130" y="49"/>
                  </a:lnTo>
                  <a:lnTo>
                    <a:pt x="152" y="44"/>
                  </a:lnTo>
                  <a:lnTo>
                    <a:pt x="215" y="56"/>
                  </a:lnTo>
                  <a:lnTo>
                    <a:pt x="239" y="49"/>
                  </a:lnTo>
                  <a:lnTo>
                    <a:pt x="270" y="28"/>
                  </a:lnTo>
                  <a:lnTo>
                    <a:pt x="329" y="11"/>
                  </a:lnTo>
                  <a:lnTo>
                    <a:pt x="345" y="11"/>
                  </a:lnTo>
                  <a:lnTo>
                    <a:pt x="357" y="28"/>
                  </a:lnTo>
                  <a:lnTo>
                    <a:pt x="366" y="16"/>
                  </a:lnTo>
                  <a:lnTo>
                    <a:pt x="378" y="28"/>
                  </a:lnTo>
                  <a:lnTo>
                    <a:pt x="395" y="28"/>
                  </a:lnTo>
                  <a:lnTo>
                    <a:pt x="400" y="44"/>
                  </a:lnTo>
                  <a:lnTo>
                    <a:pt x="437" y="49"/>
                  </a:lnTo>
                  <a:lnTo>
                    <a:pt x="437" y="73"/>
                  </a:lnTo>
                  <a:lnTo>
                    <a:pt x="411" y="73"/>
                  </a:lnTo>
                  <a:lnTo>
                    <a:pt x="395" y="99"/>
                  </a:lnTo>
                  <a:lnTo>
                    <a:pt x="395" y="139"/>
                  </a:lnTo>
                  <a:lnTo>
                    <a:pt x="378" y="139"/>
                  </a:lnTo>
                  <a:lnTo>
                    <a:pt x="362" y="160"/>
                  </a:lnTo>
                  <a:lnTo>
                    <a:pt x="378" y="160"/>
                  </a:lnTo>
                  <a:lnTo>
                    <a:pt x="400" y="200"/>
                  </a:lnTo>
                  <a:lnTo>
                    <a:pt x="400" y="200"/>
                  </a:lnTo>
                  <a:lnTo>
                    <a:pt x="400" y="20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7" name="Freeform 406">
              <a:extLst>
                <a:ext uri="{FF2B5EF4-FFF2-40B4-BE49-F238E27FC236}">
                  <a16:creationId xmlns:a16="http://schemas.microsoft.com/office/drawing/2014/main" id="{050AC897-95E7-4913-8FB3-DECBC38DD0BD}"/>
                </a:ext>
              </a:extLst>
            </p:cNvPr>
            <p:cNvSpPr>
              <a:spLocks noEditPoints="1"/>
            </p:cNvSpPr>
            <p:nvPr/>
          </p:nvSpPr>
          <p:spPr bwMode="gray">
            <a:xfrm>
              <a:off x="16363193" y="3996906"/>
              <a:ext cx="30766" cy="23238"/>
            </a:xfrm>
            <a:custGeom>
              <a:avLst/>
              <a:gdLst>
                <a:gd name="T0" fmla="*/ 66 w 94"/>
                <a:gd name="T1" fmla="*/ 5 h 71"/>
                <a:gd name="T2" fmla="*/ 56 w 94"/>
                <a:gd name="T3" fmla="*/ 21 h 71"/>
                <a:gd name="T4" fmla="*/ 56 w 94"/>
                <a:gd name="T5" fmla="*/ 45 h 71"/>
                <a:gd name="T6" fmla="*/ 56 w 94"/>
                <a:gd name="T7" fmla="*/ 62 h 71"/>
                <a:gd name="T8" fmla="*/ 40 w 94"/>
                <a:gd name="T9" fmla="*/ 71 h 71"/>
                <a:gd name="T10" fmla="*/ 11 w 94"/>
                <a:gd name="T11" fmla="*/ 26 h 71"/>
                <a:gd name="T12" fmla="*/ 0 w 94"/>
                <a:gd name="T13" fmla="*/ 26 h 71"/>
                <a:gd name="T14" fmla="*/ 28 w 94"/>
                <a:gd name="T15" fmla="*/ 21 h 71"/>
                <a:gd name="T16" fmla="*/ 61 w 94"/>
                <a:gd name="T17" fmla="*/ 0 h 71"/>
                <a:gd name="T18" fmla="*/ 66 w 94"/>
                <a:gd name="T19" fmla="*/ 0 h 71"/>
                <a:gd name="T20" fmla="*/ 66 w 94"/>
                <a:gd name="T21" fmla="*/ 5 h 71"/>
                <a:gd name="T22" fmla="*/ 66 w 94"/>
                <a:gd name="T23" fmla="*/ 5 h 71"/>
                <a:gd name="T24" fmla="*/ 66 w 94"/>
                <a:gd name="T25" fmla="*/ 5 h 71"/>
                <a:gd name="T26" fmla="*/ 77 w 94"/>
                <a:gd name="T27" fmla="*/ 5 h 71"/>
                <a:gd name="T28" fmla="*/ 94 w 94"/>
                <a:gd name="T29" fmla="*/ 45 h 71"/>
                <a:gd name="T30" fmla="*/ 66 w 94"/>
                <a:gd name="T31" fmla="*/ 45 h 71"/>
                <a:gd name="T32" fmla="*/ 66 w 94"/>
                <a:gd name="T33" fmla="*/ 17 h 71"/>
                <a:gd name="T34" fmla="*/ 77 w 94"/>
                <a:gd name="T35" fmla="*/ 5 h 71"/>
                <a:gd name="T36" fmla="*/ 77 w 94"/>
                <a:gd name="T37" fmla="*/ 5 h 71"/>
                <a:gd name="T38" fmla="*/ 77 w 94"/>
                <a:gd name="T39" fmla="*/ 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71">
                  <a:moveTo>
                    <a:pt x="66" y="5"/>
                  </a:moveTo>
                  <a:lnTo>
                    <a:pt x="56" y="21"/>
                  </a:lnTo>
                  <a:lnTo>
                    <a:pt x="56" y="45"/>
                  </a:lnTo>
                  <a:lnTo>
                    <a:pt x="56" y="62"/>
                  </a:lnTo>
                  <a:lnTo>
                    <a:pt x="40" y="71"/>
                  </a:lnTo>
                  <a:lnTo>
                    <a:pt x="11" y="26"/>
                  </a:lnTo>
                  <a:lnTo>
                    <a:pt x="0" y="26"/>
                  </a:lnTo>
                  <a:lnTo>
                    <a:pt x="28" y="21"/>
                  </a:lnTo>
                  <a:lnTo>
                    <a:pt x="61" y="0"/>
                  </a:lnTo>
                  <a:lnTo>
                    <a:pt x="66" y="0"/>
                  </a:lnTo>
                  <a:lnTo>
                    <a:pt x="66" y="5"/>
                  </a:lnTo>
                  <a:lnTo>
                    <a:pt x="66" y="5"/>
                  </a:lnTo>
                  <a:lnTo>
                    <a:pt x="66" y="5"/>
                  </a:lnTo>
                  <a:close/>
                  <a:moveTo>
                    <a:pt x="77" y="5"/>
                  </a:moveTo>
                  <a:lnTo>
                    <a:pt x="94" y="45"/>
                  </a:lnTo>
                  <a:lnTo>
                    <a:pt x="66" y="45"/>
                  </a:lnTo>
                  <a:lnTo>
                    <a:pt x="66" y="17"/>
                  </a:lnTo>
                  <a:lnTo>
                    <a:pt x="77" y="5"/>
                  </a:lnTo>
                  <a:lnTo>
                    <a:pt x="77" y="5"/>
                  </a:lnTo>
                  <a:lnTo>
                    <a:pt x="77" y="5"/>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8" name="Freeform 407">
              <a:extLst>
                <a:ext uri="{FF2B5EF4-FFF2-40B4-BE49-F238E27FC236}">
                  <a16:creationId xmlns:a16="http://schemas.microsoft.com/office/drawing/2014/main" id="{2324A22C-B654-4476-9C63-86DD68022F1C}"/>
                </a:ext>
              </a:extLst>
            </p:cNvPr>
            <p:cNvSpPr>
              <a:spLocks/>
            </p:cNvSpPr>
            <p:nvPr/>
          </p:nvSpPr>
          <p:spPr bwMode="gray">
            <a:xfrm>
              <a:off x="14410869" y="4171028"/>
              <a:ext cx="40912" cy="48767"/>
            </a:xfrm>
            <a:custGeom>
              <a:avLst/>
              <a:gdLst>
                <a:gd name="T0" fmla="*/ 21 w 125"/>
                <a:gd name="T1" fmla="*/ 149 h 149"/>
                <a:gd name="T2" fmla="*/ 21 w 125"/>
                <a:gd name="T3" fmla="*/ 123 h 149"/>
                <a:gd name="T4" fmla="*/ 17 w 125"/>
                <a:gd name="T5" fmla="*/ 111 h 149"/>
                <a:gd name="T6" fmla="*/ 17 w 125"/>
                <a:gd name="T7" fmla="*/ 45 h 149"/>
                <a:gd name="T8" fmla="*/ 0 w 125"/>
                <a:gd name="T9" fmla="*/ 28 h 149"/>
                <a:gd name="T10" fmla="*/ 0 w 125"/>
                <a:gd name="T11" fmla="*/ 28 h 149"/>
                <a:gd name="T12" fmla="*/ 0 w 125"/>
                <a:gd name="T13" fmla="*/ 12 h 149"/>
                <a:gd name="T14" fmla="*/ 5 w 125"/>
                <a:gd name="T15" fmla="*/ 12 h 149"/>
                <a:gd name="T16" fmla="*/ 21 w 125"/>
                <a:gd name="T17" fmla="*/ 21 h 149"/>
                <a:gd name="T18" fmla="*/ 21 w 125"/>
                <a:gd name="T19" fmla="*/ 28 h 149"/>
                <a:gd name="T20" fmla="*/ 54 w 125"/>
                <a:gd name="T21" fmla="*/ 28 h 149"/>
                <a:gd name="T22" fmla="*/ 59 w 125"/>
                <a:gd name="T23" fmla="*/ 0 h 149"/>
                <a:gd name="T24" fmla="*/ 76 w 125"/>
                <a:gd name="T25" fmla="*/ 4 h 149"/>
                <a:gd name="T26" fmla="*/ 92 w 125"/>
                <a:gd name="T27" fmla="*/ 0 h 149"/>
                <a:gd name="T28" fmla="*/ 109 w 125"/>
                <a:gd name="T29" fmla="*/ 0 h 149"/>
                <a:gd name="T30" fmla="*/ 102 w 125"/>
                <a:gd name="T31" fmla="*/ 38 h 149"/>
                <a:gd name="T32" fmla="*/ 102 w 125"/>
                <a:gd name="T33" fmla="*/ 38 h 149"/>
                <a:gd name="T34" fmla="*/ 109 w 125"/>
                <a:gd name="T35" fmla="*/ 38 h 149"/>
                <a:gd name="T36" fmla="*/ 125 w 125"/>
                <a:gd name="T37" fmla="*/ 45 h 149"/>
                <a:gd name="T38" fmla="*/ 125 w 125"/>
                <a:gd name="T39" fmla="*/ 61 h 149"/>
                <a:gd name="T40" fmla="*/ 102 w 125"/>
                <a:gd name="T41" fmla="*/ 82 h 149"/>
                <a:gd name="T42" fmla="*/ 92 w 125"/>
                <a:gd name="T43" fmla="*/ 99 h 149"/>
                <a:gd name="T44" fmla="*/ 92 w 125"/>
                <a:gd name="T45" fmla="*/ 99 h 149"/>
                <a:gd name="T46" fmla="*/ 71 w 125"/>
                <a:gd name="T47" fmla="*/ 132 h 149"/>
                <a:gd name="T48" fmla="*/ 54 w 125"/>
                <a:gd name="T49" fmla="*/ 149 h 149"/>
                <a:gd name="T50" fmla="*/ 21 w 125"/>
                <a:gd name="T51" fmla="*/ 149 h 149"/>
                <a:gd name="T52" fmla="*/ 21 w 125"/>
                <a:gd name="T53" fmla="*/ 149 h 149"/>
                <a:gd name="T54" fmla="*/ 21 w 125"/>
                <a:gd name="T55"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5" h="149">
                  <a:moveTo>
                    <a:pt x="21" y="149"/>
                  </a:moveTo>
                  <a:lnTo>
                    <a:pt x="21" y="123"/>
                  </a:lnTo>
                  <a:lnTo>
                    <a:pt x="17" y="111"/>
                  </a:lnTo>
                  <a:lnTo>
                    <a:pt x="17" y="45"/>
                  </a:lnTo>
                  <a:lnTo>
                    <a:pt x="0" y="28"/>
                  </a:lnTo>
                  <a:lnTo>
                    <a:pt x="0" y="28"/>
                  </a:lnTo>
                  <a:lnTo>
                    <a:pt x="0" y="12"/>
                  </a:lnTo>
                  <a:lnTo>
                    <a:pt x="5" y="12"/>
                  </a:lnTo>
                  <a:lnTo>
                    <a:pt x="21" y="21"/>
                  </a:lnTo>
                  <a:lnTo>
                    <a:pt x="21" y="28"/>
                  </a:lnTo>
                  <a:lnTo>
                    <a:pt x="54" y="28"/>
                  </a:lnTo>
                  <a:lnTo>
                    <a:pt x="59" y="0"/>
                  </a:lnTo>
                  <a:lnTo>
                    <a:pt x="76" y="4"/>
                  </a:lnTo>
                  <a:lnTo>
                    <a:pt x="92" y="0"/>
                  </a:lnTo>
                  <a:lnTo>
                    <a:pt x="109" y="0"/>
                  </a:lnTo>
                  <a:lnTo>
                    <a:pt x="102" y="38"/>
                  </a:lnTo>
                  <a:lnTo>
                    <a:pt x="102" y="38"/>
                  </a:lnTo>
                  <a:lnTo>
                    <a:pt x="109" y="38"/>
                  </a:lnTo>
                  <a:lnTo>
                    <a:pt x="125" y="45"/>
                  </a:lnTo>
                  <a:lnTo>
                    <a:pt x="125" y="61"/>
                  </a:lnTo>
                  <a:lnTo>
                    <a:pt x="102" y="82"/>
                  </a:lnTo>
                  <a:lnTo>
                    <a:pt x="92" y="99"/>
                  </a:lnTo>
                  <a:lnTo>
                    <a:pt x="92" y="99"/>
                  </a:lnTo>
                  <a:lnTo>
                    <a:pt x="71" y="132"/>
                  </a:lnTo>
                  <a:lnTo>
                    <a:pt x="54" y="149"/>
                  </a:lnTo>
                  <a:lnTo>
                    <a:pt x="21" y="149"/>
                  </a:lnTo>
                  <a:lnTo>
                    <a:pt x="21" y="149"/>
                  </a:lnTo>
                  <a:lnTo>
                    <a:pt x="21" y="14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9" name="Freeform 408">
              <a:extLst>
                <a:ext uri="{FF2B5EF4-FFF2-40B4-BE49-F238E27FC236}">
                  <a16:creationId xmlns:a16="http://schemas.microsoft.com/office/drawing/2014/main" id="{2891BCF6-7A6C-47B6-B020-30141433CDEB}"/>
                </a:ext>
              </a:extLst>
            </p:cNvPr>
            <p:cNvSpPr>
              <a:spLocks noEditPoints="1"/>
            </p:cNvSpPr>
            <p:nvPr/>
          </p:nvSpPr>
          <p:spPr bwMode="gray">
            <a:xfrm>
              <a:off x="10507202" y="1461012"/>
              <a:ext cx="2029566" cy="1609645"/>
            </a:xfrm>
            <a:custGeom>
              <a:avLst/>
              <a:gdLst>
                <a:gd name="T0" fmla="*/ 3990 w 6201"/>
                <a:gd name="T1" fmla="*/ 834 h 4918"/>
                <a:gd name="T2" fmla="*/ 4108 w 6201"/>
                <a:gd name="T3" fmla="*/ 345 h 4918"/>
                <a:gd name="T4" fmla="*/ 4805 w 6201"/>
                <a:gd name="T5" fmla="*/ 74 h 4918"/>
                <a:gd name="T6" fmla="*/ 4465 w 6201"/>
                <a:gd name="T7" fmla="*/ 629 h 4918"/>
                <a:gd name="T8" fmla="*/ 3418 w 6201"/>
                <a:gd name="T9" fmla="*/ 638 h 4918"/>
                <a:gd name="T10" fmla="*/ 3721 w 6201"/>
                <a:gd name="T11" fmla="*/ 711 h 4918"/>
                <a:gd name="T12" fmla="*/ 3239 w 6201"/>
                <a:gd name="T13" fmla="*/ 806 h 4918"/>
                <a:gd name="T14" fmla="*/ 3352 w 6201"/>
                <a:gd name="T15" fmla="*/ 905 h 4918"/>
                <a:gd name="T16" fmla="*/ 3504 w 6201"/>
                <a:gd name="T17" fmla="*/ 978 h 4918"/>
                <a:gd name="T18" fmla="*/ 3440 w 6201"/>
                <a:gd name="T19" fmla="*/ 1292 h 4918"/>
                <a:gd name="T20" fmla="*/ 3078 w 6201"/>
                <a:gd name="T21" fmla="*/ 1044 h 4918"/>
                <a:gd name="T22" fmla="*/ 2327 w 6201"/>
                <a:gd name="T23" fmla="*/ 1292 h 4918"/>
                <a:gd name="T24" fmla="*/ 2899 w 6201"/>
                <a:gd name="T25" fmla="*/ 1222 h 4918"/>
                <a:gd name="T26" fmla="*/ 1276 w 6201"/>
                <a:gd name="T27" fmla="*/ 1160 h 4918"/>
                <a:gd name="T28" fmla="*/ 3062 w 6201"/>
                <a:gd name="T29" fmla="*/ 1366 h 4918"/>
                <a:gd name="T30" fmla="*/ 2948 w 6201"/>
                <a:gd name="T31" fmla="*/ 1486 h 4918"/>
                <a:gd name="T32" fmla="*/ 3910 w 6201"/>
                <a:gd name="T33" fmla="*/ 1992 h 4918"/>
                <a:gd name="T34" fmla="*/ 3990 w 6201"/>
                <a:gd name="T35" fmla="*/ 1526 h 4918"/>
                <a:gd name="T36" fmla="*/ 4729 w 6201"/>
                <a:gd name="T37" fmla="*/ 1826 h 4918"/>
                <a:gd name="T38" fmla="*/ 5138 w 6201"/>
                <a:gd name="T39" fmla="*/ 2119 h 4918"/>
                <a:gd name="T40" fmla="*/ 5490 w 6201"/>
                <a:gd name="T41" fmla="*/ 2374 h 4918"/>
                <a:gd name="T42" fmla="*/ 5183 w 6201"/>
                <a:gd name="T43" fmla="*/ 2452 h 4918"/>
                <a:gd name="T44" fmla="*/ 5145 w 6201"/>
                <a:gd name="T45" fmla="*/ 2847 h 4918"/>
                <a:gd name="T46" fmla="*/ 4611 w 6201"/>
                <a:gd name="T47" fmla="*/ 2613 h 4918"/>
                <a:gd name="T48" fmla="*/ 4460 w 6201"/>
                <a:gd name="T49" fmla="*/ 1515 h 4918"/>
                <a:gd name="T50" fmla="*/ 1928 w 6201"/>
                <a:gd name="T51" fmla="*/ 2115 h 4918"/>
                <a:gd name="T52" fmla="*/ 2301 w 6201"/>
                <a:gd name="T53" fmla="*/ 1737 h 4918"/>
                <a:gd name="T54" fmla="*/ 4318 w 6201"/>
                <a:gd name="T55" fmla="*/ 1682 h 4918"/>
                <a:gd name="T56" fmla="*/ 1226 w 6201"/>
                <a:gd name="T57" fmla="*/ 4222 h 4918"/>
                <a:gd name="T58" fmla="*/ 898 w 6201"/>
                <a:gd name="T59" fmla="*/ 3933 h 4918"/>
                <a:gd name="T60" fmla="*/ 600 w 6201"/>
                <a:gd name="T61" fmla="*/ 2025 h 4918"/>
                <a:gd name="T62" fmla="*/ 1167 w 6201"/>
                <a:gd name="T63" fmla="*/ 2070 h 4918"/>
                <a:gd name="T64" fmla="*/ 2500 w 6201"/>
                <a:gd name="T65" fmla="*/ 2181 h 4918"/>
                <a:gd name="T66" fmla="*/ 3310 w 6201"/>
                <a:gd name="T67" fmla="*/ 2103 h 4918"/>
                <a:gd name="T68" fmla="*/ 3693 w 6201"/>
                <a:gd name="T69" fmla="*/ 2252 h 4918"/>
                <a:gd name="T70" fmla="*/ 3801 w 6201"/>
                <a:gd name="T71" fmla="*/ 2429 h 4918"/>
                <a:gd name="T72" fmla="*/ 3239 w 6201"/>
                <a:gd name="T73" fmla="*/ 3263 h 4918"/>
                <a:gd name="T74" fmla="*/ 4378 w 6201"/>
                <a:gd name="T75" fmla="*/ 3279 h 4918"/>
                <a:gd name="T76" fmla="*/ 5124 w 6201"/>
                <a:gd name="T77" fmla="*/ 3317 h 4918"/>
                <a:gd name="T78" fmla="*/ 5544 w 6201"/>
                <a:gd name="T79" fmla="*/ 3506 h 4918"/>
                <a:gd name="T80" fmla="*/ 5939 w 6201"/>
                <a:gd name="T81" fmla="*/ 3832 h 4918"/>
                <a:gd name="T82" fmla="*/ 5544 w 6201"/>
                <a:gd name="T83" fmla="*/ 4552 h 4918"/>
                <a:gd name="T84" fmla="*/ 4772 w 6201"/>
                <a:gd name="T85" fmla="*/ 1781 h 4918"/>
                <a:gd name="T86" fmla="*/ 3019 w 6201"/>
                <a:gd name="T87" fmla="*/ 2065 h 4918"/>
                <a:gd name="T88" fmla="*/ 378 w 6201"/>
                <a:gd name="T89" fmla="*/ 2119 h 4918"/>
                <a:gd name="T90" fmla="*/ 3563 w 6201"/>
                <a:gd name="T91" fmla="*/ 2115 h 4918"/>
                <a:gd name="T92" fmla="*/ 2861 w 6201"/>
                <a:gd name="T93" fmla="*/ 2209 h 4918"/>
                <a:gd name="T94" fmla="*/ 2306 w 6201"/>
                <a:gd name="T95" fmla="*/ 2308 h 4918"/>
                <a:gd name="T96" fmla="*/ 4016 w 6201"/>
                <a:gd name="T97" fmla="*/ 2502 h 4918"/>
                <a:gd name="T98" fmla="*/ 5523 w 6201"/>
                <a:gd name="T99" fmla="*/ 2523 h 4918"/>
                <a:gd name="T100" fmla="*/ 4422 w 6201"/>
                <a:gd name="T101" fmla="*/ 2724 h 4918"/>
                <a:gd name="T102" fmla="*/ 4125 w 6201"/>
                <a:gd name="T103" fmla="*/ 2840 h 4918"/>
                <a:gd name="T104" fmla="*/ 5365 w 6201"/>
                <a:gd name="T105" fmla="*/ 3135 h 4918"/>
                <a:gd name="T106" fmla="*/ 4285 w 6201"/>
                <a:gd name="T107" fmla="*/ 3499 h 4918"/>
                <a:gd name="T108" fmla="*/ 763 w 6201"/>
                <a:gd name="T109" fmla="*/ 3683 h 4918"/>
                <a:gd name="T110" fmla="*/ 832 w 6201"/>
                <a:gd name="T111" fmla="*/ 3848 h 4918"/>
                <a:gd name="T112" fmla="*/ 811 w 6201"/>
                <a:gd name="T113" fmla="*/ 3860 h 4918"/>
                <a:gd name="T114" fmla="*/ 903 w 6201"/>
                <a:gd name="T115" fmla="*/ 3966 h 4918"/>
                <a:gd name="T116" fmla="*/ 5970 w 6201"/>
                <a:gd name="T117" fmla="*/ 4387 h 4918"/>
                <a:gd name="T118" fmla="*/ 6116 w 6201"/>
                <a:gd name="T119" fmla="*/ 4316 h 4918"/>
                <a:gd name="T120" fmla="*/ 1016 w 6201"/>
                <a:gd name="T121" fmla="*/ 4111 h 4918"/>
                <a:gd name="T122" fmla="*/ 6041 w 6201"/>
                <a:gd name="T123" fmla="*/ 4210 h 4918"/>
                <a:gd name="T124" fmla="*/ 5377 w 6201"/>
                <a:gd name="T125" fmla="*/ 4481 h 4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01" h="4918">
                  <a:moveTo>
                    <a:pt x="4389" y="1099"/>
                  </a:moveTo>
                  <a:lnTo>
                    <a:pt x="4368" y="1082"/>
                  </a:lnTo>
                  <a:lnTo>
                    <a:pt x="4323" y="1122"/>
                  </a:lnTo>
                  <a:lnTo>
                    <a:pt x="4205" y="1144"/>
                  </a:lnTo>
                  <a:lnTo>
                    <a:pt x="4205" y="1139"/>
                  </a:lnTo>
                  <a:lnTo>
                    <a:pt x="4226" y="1106"/>
                  </a:lnTo>
                  <a:lnTo>
                    <a:pt x="4189" y="1087"/>
                  </a:lnTo>
                  <a:lnTo>
                    <a:pt x="4172" y="1099"/>
                  </a:lnTo>
                  <a:lnTo>
                    <a:pt x="4134" y="1087"/>
                  </a:lnTo>
                  <a:lnTo>
                    <a:pt x="4141" y="1082"/>
                  </a:lnTo>
                  <a:lnTo>
                    <a:pt x="4134" y="1070"/>
                  </a:lnTo>
                  <a:lnTo>
                    <a:pt x="4158" y="1066"/>
                  </a:lnTo>
                  <a:lnTo>
                    <a:pt x="4120" y="1070"/>
                  </a:lnTo>
                  <a:lnTo>
                    <a:pt x="4087" y="1044"/>
                  </a:lnTo>
                  <a:lnTo>
                    <a:pt x="4104" y="1070"/>
                  </a:lnTo>
                  <a:lnTo>
                    <a:pt x="4134" y="1082"/>
                  </a:lnTo>
                  <a:lnTo>
                    <a:pt x="4120" y="1087"/>
                  </a:lnTo>
                  <a:lnTo>
                    <a:pt x="4125" y="1099"/>
                  </a:lnTo>
                  <a:lnTo>
                    <a:pt x="4066" y="1106"/>
                  </a:lnTo>
                  <a:lnTo>
                    <a:pt x="4044" y="1049"/>
                  </a:lnTo>
                  <a:lnTo>
                    <a:pt x="4033" y="1066"/>
                  </a:lnTo>
                  <a:lnTo>
                    <a:pt x="4049" y="1082"/>
                  </a:lnTo>
                  <a:lnTo>
                    <a:pt x="4054" y="1106"/>
                  </a:lnTo>
                  <a:lnTo>
                    <a:pt x="4016" y="1106"/>
                  </a:lnTo>
                  <a:lnTo>
                    <a:pt x="3978" y="1066"/>
                  </a:lnTo>
                  <a:lnTo>
                    <a:pt x="3990" y="1070"/>
                  </a:lnTo>
                  <a:lnTo>
                    <a:pt x="3978" y="1087"/>
                  </a:lnTo>
                  <a:lnTo>
                    <a:pt x="3990" y="1099"/>
                  </a:lnTo>
                  <a:lnTo>
                    <a:pt x="3957" y="1106"/>
                  </a:lnTo>
                  <a:lnTo>
                    <a:pt x="3924" y="1082"/>
                  </a:lnTo>
                  <a:lnTo>
                    <a:pt x="3936" y="1106"/>
                  </a:lnTo>
                  <a:lnTo>
                    <a:pt x="3974" y="1122"/>
                  </a:lnTo>
                  <a:lnTo>
                    <a:pt x="3936" y="1122"/>
                  </a:lnTo>
                  <a:lnTo>
                    <a:pt x="3834" y="1111"/>
                  </a:lnTo>
                  <a:lnTo>
                    <a:pt x="3827" y="1099"/>
                  </a:lnTo>
                  <a:lnTo>
                    <a:pt x="3839" y="1087"/>
                  </a:lnTo>
                  <a:lnTo>
                    <a:pt x="3818" y="1070"/>
                  </a:lnTo>
                  <a:lnTo>
                    <a:pt x="3834" y="1087"/>
                  </a:lnTo>
                  <a:lnTo>
                    <a:pt x="3811" y="1099"/>
                  </a:lnTo>
                  <a:lnTo>
                    <a:pt x="3811" y="1111"/>
                  </a:lnTo>
                  <a:lnTo>
                    <a:pt x="3759" y="1099"/>
                  </a:lnTo>
                  <a:lnTo>
                    <a:pt x="3747" y="1070"/>
                  </a:lnTo>
                  <a:lnTo>
                    <a:pt x="3747" y="1099"/>
                  </a:lnTo>
                  <a:lnTo>
                    <a:pt x="3759" y="1111"/>
                  </a:lnTo>
                  <a:lnTo>
                    <a:pt x="3688" y="1106"/>
                  </a:lnTo>
                  <a:lnTo>
                    <a:pt x="3693" y="1087"/>
                  </a:lnTo>
                  <a:lnTo>
                    <a:pt x="3676" y="1070"/>
                  </a:lnTo>
                  <a:lnTo>
                    <a:pt x="3688" y="1044"/>
                  </a:lnTo>
                  <a:lnTo>
                    <a:pt x="3671" y="1054"/>
                  </a:lnTo>
                  <a:lnTo>
                    <a:pt x="3676" y="1082"/>
                  </a:lnTo>
                  <a:lnTo>
                    <a:pt x="3671" y="1106"/>
                  </a:lnTo>
                  <a:lnTo>
                    <a:pt x="3671" y="1082"/>
                  </a:lnTo>
                  <a:lnTo>
                    <a:pt x="3655" y="1106"/>
                  </a:lnTo>
                  <a:lnTo>
                    <a:pt x="3600" y="1082"/>
                  </a:lnTo>
                  <a:lnTo>
                    <a:pt x="3617" y="1066"/>
                  </a:lnTo>
                  <a:lnTo>
                    <a:pt x="3612" y="1044"/>
                  </a:lnTo>
                  <a:lnTo>
                    <a:pt x="3688" y="1000"/>
                  </a:lnTo>
                  <a:lnTo>
                    <a:pt x="3676" y="1000"/>
                  </a:lnTo>
                  <a:lnTo>
                    <a:pt x="3801" y="988"/>
                  </a:lnTo>
                  <a:lnTo>
                    <a:pt x="3773" y="988"/>
                  </a:lnTo>
                  <a:lnTo>
                    <a:pt x="3796" y="978"/>
                  </a:lnTo>
                  <a:lnTo>
                    <a:pt x="3773" y="971"/>
                  </a:lnTo>
                  <a:lnTo>
                    <a:pt x="3796" y="962"/>
                  </a:lnTo>
                  <a:lnTo>
                    <a:pt x="3742" y="962"/>
                  </a:lnTo>
                  <a:lnTo>
                    <a:pt x="3730" y="955"/>
                  </a:lnTo>
                  <a:lnTo>
                    <a:pt x="3742" y="943"/>
                  </a:lnTo>
                  <a:lnTo>
                    <a:pt x="3742" y="933"/>
                  </a:lnTo>
                  <a:lnTo>
                    <a:pt x="3704" y="917"/>
                  </a:lnTo>
                  <a:lnTo>
                    <a:pt x="3709" y="889"/>
                  </a:lnTo>
                  <a:lnTo>
                    <a:pt x="3773" y="884"/>
                  </a:lnTo>
                  <a:lnTo>
                    <a:pt x="3827" y="889"/>
                  </a:lnTo>
                  <a:lnTo>
                    <a:pt x="3855" y="905"/>
                  </a:lnTo>
                  <a:lnTo>
                    <a:pt x="3881" y="943"/>
                  </a:lnTo>
                  <a:lnTo>
                    <a:pt x="3872" y="955"/>
                  </a:lnTo>
                  <a:lnTo>
                    <a:pt x="3886" y="943"/>
                  </a:lnTo>
                  <a:lnTo>
                    <a:pt x="3962" y="971"/>
                  </a:lnTo>
                  <a:lnTo>
                    <a:pt x="3957" y="955"/>
                  </a:lnTo>
                  <a:lnTo>
                    <a:pt x="4033" y="962"/>
                  </a:lnTo>
                  <a:lnTo>
                    <a:pt x="4011" y="943"/>
                  </a:lnTo>
                  <a:lnTo>
                    <a:pt x="4049" y="933"/>
                  </a:lnTo>
                  <a:lnTo>
                    <a:pt x="4104" y="877"/>
                  </a:lnTo>
                  <a:lnTo>
                    <a:pt x="4096" y="860"/>
                  </a:lnTo>
                  <a:lnTo>
                    <a:pt x="4120" y="851"/>
                  </a:lnTo>
                  <a:lnTo>
                    <a:pt x="4082" y="860"/>
                  </a:lnTo>
                  <a:lnTo>
                    <a:pt x="4087" y="877"/>
                  </a:lnTo>
                  <a:lnTo>
                    <a:pt x="4044" y="922"/>
                  </a:lnTo>
                  <a:lnTo>
                    <a:pt x="4000" y="938"/>
                  </a:lnTo>
                  <a:lnTo>
                    <a:pt x="3941" y="938"/>
                  </a:lnTo>
                  <a:lnTo>
                    <a:pt x="3936" y="933"/>
                  </a:lnTo>
                  <a:lnTo>
                    <a:pt x="3962" y="905"/>
                  </a:lnTo>
                  <a:lnTo>
                    <a:pt x="3936" y="922"/>
                  </a:lnTo>
                  <a:lnTo>
                    <a:pt x="3903" y="905"/>
                  </a:lnTo>
                  <a:lnTo>
                    <a:pt x="3924" y="889"/>
                  </a:lnTo>
                  <a:lnTo>
                    <a:pt x="3903" y="889"/>
                  </a:lnTo>
                  <a:lnTo>
                    <a:pt x="3974" y="884"/>
                  </a:lnTo>
                  <a:lnTo>
                    <a:pt x="3893" y="884"/>
                  </a:lnTo>
                  <a:lnTo>
                    <a:pt x="3881" y="877"/>
                  </a:lnTo>
                  <a:lnTo>
                    <a:pt x="3924" y="851"/>
                  </a:lnTo>
                  <a:lnTo>
                    <a:pt x="3978" y="851"/>
                  </a:lnTo>
                  <a:lnTo>
                    <a:pt x="3919" y="851"/>
                  </a:lnTo>
                  <a:lnTo>
                    <a:pt x="3924" y="834"/>
                  </a:lnTo>
                  <a:lnTo>
                    <a:pt x="3990" y="834"/>
                  </a:lnTo>
                  <a:lnTo>
                    <a:pt x="3936" y="827"/>
                  </a:lnTo>
                  <a:lnTo>
                    <a:pt x="3941" y="811"/>
                  </a:lnTo>
                  <a:lnTo>
                    <a:pt x="3957" y="811"/>
                  </a:lnTo>
                  <a:lnTo>
                    <a:pt x="3936" y="806"/>
                  </a:lnTo>
                  <a:lnTo>
                    <a:pt x="3957" y="773"/>
                  </a:lnTo>
                  <a:lnTo>
                    <a:pt x="3924" y="794"/>
                  </a:lnTo>
                  <a:lnTo>
                    <a:pt x="3936" y="811"/>
                  </a:lnTo>
                  <a:lnTo>
                    <a:pt x="3893" y="844"/>
                  </a:lnTo>
                  <a:lnTo>
                    <a:pt x="3839" y="851"/>
                  </a:lnTo>
                  <a:lnTo>
                    <a:pt x="3839" y="834"/>
                  </a:lnTo>
                  <a:lnTo>
                    <a:pt x="3865" y="827"/>
                  </a:lnTo>
                  <a:lnTo>
                    <a:pt x="3872" y="806"/>
                  </a:lnTo>
                  <a:lnTo>
                    <a:pt x="3848" y="827"/>
                  </a:lnTo>
                  <a:lnTo>
                    <a:pt x="3801" y="844"/>
                  </a:lnTo>
                  <a:lnTo>
                    <a:pt x="3747" y="844"/>
                  </a:lnTo>
                  <a:lnTo>
                    <a:pt x="3780" y="827"/>
                  </a:lnTo>
                  <a:lnTo>
                    <a:pt x="3747" y="827"/>
                  </a:lnTo>
                  <a:lnTo>
                    <a:pt x="3747" y="794"/>
                  </a:lnTo>
                  <a:lnTo>
                    <a:pt x="3780" y="778"/>
                  </a:lnTo>
                  <a:lnTo>
                    <a:pt x="3796" y="778"/>
                  </a:lnTo>
                  <a:lnTo>
                    <a:pt x="3780" y="773"/>
                  </a:lnTo>
                  <a:lnTo>
                    <a:pt x="3796" y="749"/>
                  </a:lnTo>
                  <a:lnTo>
                    <a:pt x="3924" y="716"/>
                  </a:lnTo>
                  <a:lnTo>
                    <a:pt x="4016" y="733"/>
                  </a:lnTo>
                  <a:lnTo>
                    <a:pt x="4108" y="773"/>
                  </a:lnTo>
                  <a:lnTo>
                    <a:pt x="4120" y="773"/>
                  </a:lnTo>
                  <a:lnTo>
                    <a:pt x="4096" y="756"/>
                  </a:lnTo>
                  <a:lnTo>
                    <a:pt x="4125" y="749"/>
                  </a:lnTo>
                  <a:lnTo>
                    <a:pt x="4082" y="749"/>
                  </a:lnTo>
                  <a:lnTo>
                    <a:pt x="4049" y="733"/>
                  </a:lnTo>
                  <a:lnTo>
                    <a:pt x="4158" y="733"/>
                  </a:lnTo>
                  <a:lnTo>
                    <a:pt x="4158" y="711"/>
                  </a:lnTo>
                  <a:lnTo>
                    <a:pt x="4172" y="700"/>
                  </a:lnTo>
                  <a:lnTo>
                    <a:pt x="4104" y="723"/>
                  </a:lnTo>
                  <a:lnTo>
                    <a:pt x="3945" y="700"/>
                  </a:lnTo>
                  <a:lnTo>
                    <a:pt x="3941" y="695"/>
                  </a:lnTo>
                  <a:lnTo>
                    <a:pt x="3962" y="683"/>
                  </a:lnTo>
                  <a:lnTo>
                    <a:pt x="4000" y="700"/>
                  </a:lnTo>
                  <a:lnTo>
                    <a:pt x="4044" y="700"/>
                  </a:lnTo>
                  <a:lnTo>
                    <a:pt x="3995" y="678"/>
                  </a:lnTo>
                  <a:lnTo>
                    <a:pt x="4000" y="667"/>
                  </a:lnTo>
                  <a:lnTo>
                    <a:pt x="3974" y="678"/>
                  </a:lnTo>
                  <a:lnTo>
                    <a:pt x="3962" y="638"/>
                  </a:lnTo>
                  <a:lnTo>
                    <a:pt x="3936" y="629"/>
                  </a:lnTo>
                  <a:lnTo>
                    <a:pt x="3924" y="605"/>
                  </a:lnTo>
                  <a:lnTo>
                    <a:pt x="3827" y="584"/>
                  </a:lnTo>
                  <a:lnTo>
                    <a:pt x="3827" y="556"/>
                  </a:lnTo>
                  <a:lnTo>
                    <a:pt x="3834" y="551"/>
                  </a:lnTo>
                  <a:lnTo>
                    <a:pt x="3910" y="556"/>
                  </a:lnTo>
                  <a:lnTo>
                    <a:pt x="3827" y="544"/>
                  </a:lnTo>
                  <a:lnTo>
                    <a:pt x="3811" y="527"/>
                  </a:lnTo>
                  <a:lnTo>
                    <a:pt x="3818" y="494"/>
                  </a:lnTo>
                  <a:lnTo>
                    <a:pt x="4011" y="501"/>
                  </a:lnTo>
                  <a:lnTo>
                    <a:pt x="4125" y="567"/>
                  </a:lnTo>
                  <a:lnTo>
                    <a:pt x="4141" y="589"/>
                  </a:lnTo>
                  <a:lnTo>
                    <a:pt x="4163" y="605"/>
                  </a:lnTo>
                  <a:lnTo>
                    <a:pt x="4151" y="605"/>
                  </a:lnTo>
                  <a:lnTo>
                    <a:pt x="4158" y="612"/>
                  </a:lnTo>
                  <a:lnTo>
                    <a:pt x="4179" y="605"/>
                  </a:lnTo>
                  <a:lnTo>
                    <a:pt x="4233" y="612"/>
                  </a:lnTo>
                  <a:lnTo>
                    <a:pt x="4285" y="600"/>
                  </a:lnTo>
                  <a:lnTo>
                    <a:pt x="4297" y="589"/>
                  </a:lnTo>
                  <a:lnTo>
                    <a:pt x="4217" y="600"/>
                  </a:lnTo>
                  <a:lnTo>
                    <a:pt x="4172" y="589"/>
                  </a:lnTo>
                  <a:lnTo>
                    <a:pt x="4163" y="556"/>
                  </a:lnTo>
                  <a:lnTo>
                    <a:pt x="4179" y="551"/>
                  </a:lnTo>
                  <a:lnTo>
                    <a:pt x="4125" y="544"/>
                  </a:lnTo>
                  <a:lnTo>
                    <a:pt x="4054" y="494"/>
                  </a:lnTo>
                  <a:lnTo>
                    <a:pt x="4264" y="456"/>
                  </a:lnTo>
                  <a:lnTo>
                    <a:pt x="4422" y="444"/>
                  </a:lnTo>
                  <a:lnTo>
                    <a:pt x="4281" y="440"/>
                  </a:lnTo>
                  <a:lnTo>
                    <a:pt x="4378" y="416"/>
                  </a:lnTo>
                  <a:lnTo>
                    <a:pt x="4529" y="400"/>
                  </a:lnTo>
                  <a:lnTo>
                    <a:pt x="4352" y="400"/>
                  </a:lnTo>
                  <a:lnTo>
                    <a:pt x="4352" y="378"/>
                  </a:lnTo>
                  <a:lnTo>
                    <a:pt x="4389" y="350"/>
                  </a:lnTo>
                  <a:lnTo>
                    <a:pt x="4503" y="307"/>
                  </a:lnTo>
                  <a:lnTo>
                    <a:pt x="4406" y="329"/>
                  </a:lnTo>
                  <a:lnTo>
                    <a:pt x="4356" y="362"/>
                  </a:lnTo>
                  <a:lnTo>
                    <a:pt x="4314" y="345"/>
                  </a:lnTo>
                  <a:lnTo>
                    <a:pt x="4340" y="362"/>
                  </a:lnTo>
                  <a:lnTo>
                    <a:pt x="4323" y="378"/>
                  </a:lnTo>
                  <a:lnTo>
                    <a:pt x="4335" y="383"/>
                  </a:lnTo>
                  <a:lnTo>
                    <a:pt x="4302" y="407"/>
                  </a:lnTo>
                  <a:lnTo>
                    <a:pt x="4210" y="435"/>
                  </a:lnTo>
                  <a:lnTo>
                    <a:pt x="4066" y="456"/>
                  </a:lnTo>
                  <a:lnTo>
                    <a:pt x="4054" y="444"/>
                  </a:lnTo>
                  <a:lnTo>
                    <a:pt x="4158" y="407"/>
                  </a:lnTo>
                  <a:lnTo>
                    <a:pt x="4044" y="435"/>
                  </a:lnTo>
                  <a:lnTo>
                    <a:pt x="4028" y="423"/>
                  </a:lnTo>
                  <a:lnTo>
                    <a:pt x="4054" y="407"/>
                  </a:lnTo>
                  <a:lnTo>
                    <a:pt x="4049" y="407"/>
                  </a:lnTo>
                  <a:lnTo>
                    <a:pt x="4011" y="416"/>
                  </a:lnTo>
                  <a:lnTo>
                    <a:pt x="4016" y="440"/>
                  </a:lnTo>
                  <a:lnTo>
                    <a:pt x="4011" y="456"/>
                  </a:lnTo>
                  <a:lnTo>
                    <a:pt x="3924" y="461"/>
                  </a:lnTo>
                  <a:lnTo>
                    <a:pt x="3865" y="456"/>
                  </a:lnTo>
                  <a:lnTo>
                    <a:pt x="3886" y="440"/>
                  </a:lnTo>
                  <a:lnTo>
                    <a:pt x="3848" y="456"/>
                  </a:lnTo>
                  <a:lnTo>
                    <a:pt x="3801" y="444"/>
                  </a:lnTo>
                  <a:lnTo>
                    <a:pt x="3886" y="383"/>
                  </a:lnTo>
                  <a:lnTo>
                    <a:pt x="4108" y="345"/>
                  </a:lnTo>
                  <a:lnTo>
                    <a:pt x="3881" y="367"/>
                  </a:lnTo>
                  <a:lnTo>
                    <a:pt x="3834" y="390"/>
                  </a:lnTo>
                  <a:lnTo>
                    <a:pt x="3773" y="440"/>
                  </a:lnTo>
                  <a:lnTo>
                    <a:pt x="3747" y="440"/>
                  </a:lnTo>
                  <a:lnTo>
                    <a:pt x="3617" y="390"/>
                  </a:lnTo>
                  <a:lnTo>
                    <a:pt x="3811" y="378"/>
                  </a:lnTo>
                  <a:lnTo>
                    <a:pt x="3945" y="329"/>
                  </a:lnTo>
                  <a:lnTo>
                    <a:pt x="3763" y="362"/>
                  </a:lnTo>
                  <a:lnTo>
                    <a:pt x="3584" y="378"/>
                  </a:lnTo>
                  <a:lnTo>
                    <a:pt x="3558" y="350"/>
                  </a:lnTo>
                  <a:lnTo>
                    <a:pt x="3579" y="333"/>
                  </a:lnTo>
                  <a:lnTo>
                    <a:pt x="3650" y="333"/>
                  </a:lnTo>
                  <a:lnTo>
                    <a:pt x="3579" y="324"/>
                  </a:lnTo>
                  <a:lnTo>
                    <a:pt x="3655" y="291"/>
                  </a:lnTo>
                  <a:lnTo>
                    <a:pt x="3773" y="296"/>
                  </a:lnTo>
                  <a:lnTo>
                    <a:pt x="3693" y="279"/>
                  </a:lnTo>
                  <a:lnTo>
                    <a:pt x="3546" y="312"/>
                  </a:lnTo>
                  <a:lnTo>
                    <a:pt x="3515" y="307"/>
                  </a:lnTo>
                  <a:lnTo>
                    <a:pt x="3612" y="272"/>
                  </a:lnTo>
                  <a:lnTo>
                    <a:pt x="3558" y="256"/>
                  </a:lnTo>
                  <a:lnTo>
                    <a:pt x="3478" y="291"/>
                  </a:lnTo>
                  <a:lnTo>
                    <a:pt x="3478" y="279"/>
                  </a:lnTo>
                  <a:lnTo>
                    <a:pt x="3440" y="267"/>
                  </a:lnTo>
                  <a:lnTo>
                    <a:pt x="3546" y="222"/>
                  </a:lnTo>
                  <a:lnTo>
                    <a:pt x="3600" y="218"/>
                  </a:lnTo>
                  <a:lnTo>
                    <a:pt x="3622" y="239"/>
                  </a:lnTo>
                  <a:lnTo>
                    <a:pt x="3633" y="222"/>
                  </a:lnTo>
                  <a:lnTo>
                    <a:pt x="3617" y="218"/>
                  </a:lnTo>
                  <a:lnTo>
                    <a:pt x="3650" y="218"/>
                  </a:lnTo>
                  <a:lnTo>
                    <a:pt x="3638" y="213"/>
                  </a:lnTo>
                  <a:lnTo>
                    <a:pt x="3709" y="185"/>
                  </a:lnTo>
                  <a:lnTo>
                    <a:pt x="3763" y="196"/>
                  </a:lnTo>
                  <a:lnTo>
                    <a:pt x="3773" y="201"/>
                  </a:lnTo>
                  <a:lnTo>
                    <a:pt x="3763" y="213"/>
                  </a:lnTo>
                  <a:lnTo>
                    <a:pt x="3801" y="222"/>
                  </a:lnTo>
                  <a:lnTo>
                    <a:pt x="3780" y="213"/>
                  </a:lnTo>
                  <a:lnTo>
                    <a:pt x="3796" y="196"/>
                  </a:lnTo>
                  <a:lnTo>
                    <a:pt x="3834" y="196"/>
                  </a:lnTo>
                  <a:lnTo>
                    <a:pt x="3893" y="234"/>
                  </a:lnTo>
                  <a:lnTo>
                    <a:pt x="3881" y="213"/>
                  </a:lnTo>
                  <a:lnTo>
                    <a:pt x="3919" y="213"/>
                  </a:lnTo>
                  <a:lnTo>
                    <a:pt x="3941" y="222"/>
                  </a:lnTo>
                  <a:lnTo>
                    <a:pt x="3924" y="213"/>
                  </a:lnTo>
                  <a:lnTo>
                    <a:pt x="3936" y="213"/>
                  </a:lnTo>
                  <a:lnTo>
                    <a:pt x="3957" y="222"/>
                  </a:lnTo>
                  <a:lnTo>
                    <a:pt x="3936" y="201"/>
                  </a:lnTo>
                  <a:lnTo>
                    <a:pt x="3811" y="185"/>
                  </a:lnTo>
                  <a:lnTo>
                    <a:pt x="3796" y="168"/>
                  </a:lnTo>
                  <a:lnTo>
                    <a:pt x="3903" y="156"/>
                  </a:lnTo>
                  <a:lnTo>
                    <a:pt x="3893" y="140"/>
                  </a:lnTo>
                  <a:lnTo>
                    <a:pt x="3865" y="128"/>
                  </a:lnTo>
                  <a:lnTo>
                    <a:pt x="3924" y="123"/>
                  </a:lnTo>
                  <a:lnTo>
                    <a:pt x="4033" y="144"/>
                  </a:lnTo>
                  <a:lnTo>
                    <a:pt x="4070" y="185"/>
                  </a:lnTo>
                  <a:lnTo>
                    <a:pt x="4054" y="196"/>
                  </a:lnTo>
                  <a:lnTo>
                    <a:pt x="4151" y="201"/>
                  </a:lnTo>
                  <a:lnTo>
                    <a:pt x="4096" y="185"/>
                  </a:lnTo>
                  <a:lnTo>
                    <a:pt x="4066" y="163"/>
                  </a:lnTo>
                  <a:lnTo>
                    <a:pt x="4096" y="156"/>
                  </a:lnTo>
                  <a:lnTo>
                    <a:pt x="4335" y="234"/>
                  </a:lnTo>
                  <a:lnTo>
                    <a:pt x="4285" y="201"/>
                  </a:lnTo>
                  <a:lnTo>
                    <a:pt x="4226" y="196"/>
                  </a:lnTo>
                  <a:lnTo>
                    <a:pt x="4210" y="185"/>
                  </a:lnTo>
                  <a:lnTo>
                    <a:pt x="4217" y="180"/>
                  </a:lnTo>
                  <a:lnTo>
                    <a:pt x="4151" y="163"/>
                  </a:lnTo>
                  <a:lnTo>
                    <a:pt x="4087" y="140"/>
                  </a:lnTo>
                  <a:lnTo>
                    <a:pt x="4104" y="111"/>
                  </a:lnTo>
                  <a:lnTo>
                    <a:pt x="4172" y="111"/>
                  </a:lnTo>
                  <a:lnTo>
                    <a:pt x="4108" y="95"/>
                  </a:lnTo>
                  <a:lnTo>
                    <a:pt x="4125" y="90"/>
                  </a:lnTo>
                  <a:lnTo>
                    <a:pt x="4233" y="107"/>
                  </a:lnTo>
                  <a:lnTo>
                    <a:pt x="4163" y="69"/>
                  </a:lnTo>
                  <a:lnTo>
                    <a:pt x="4172" y="57"/>
                  </a:lnTo>
                  <a:lnTo>
                    <a:pt x="4248" y="69"/>
                  </a:lnTo>
                  <a:lnTo>
                    <a:pt x="4285" y="90"/>
                  </a:lnTo>
                  <a:lnTo>
                    <a:pt x="4297" y="90"/>
                  </a:lnTo>
                  <a:lnTo>
                    <a:pt x="4281" y="85"/>
                  </a:lnTo>
                  <a:lnTo>
                    <a:pt x="4378" y="85"/>
                  </a:lnTo>
                  <a:lnTo>
                    <a:pt x="4285" y="74"/>
                  </a:lnTo>
                  <a:lnTo>
                    <a:pt x="4281" y="69"/>
                  </a:lnTo>
                  <a:lnTo>
                    <a:pt x="4302" y="57"/>
                  </a:lnTo>
                  <a:lnTo>
                    <a:pt x="4248" y="52"/>
                  </a:lnTo>
                  <a:lnTo>
                    <a:pt x="4285" y="36"/>
                  </a:lnTo>
                  <a:lnTo>
                    <a:pt x="4318" y="36"/>
                  </a:lnTo>
                  <a:lnTo>
                    <a:pt x="4340" y="52"/>
                  </a:lnTo>
                  <a:lnTo>
                    <a:pt x="4373" y="36"/>
                  </a:lnTo>
                  <a:lnTo>
                    <a:pt x="4378" y="41"/>
                  </a:lnTo>
                  <a:lnTo>
                    <a:pt x="4378" y="57"/>
                  </a:lnTo>
                  <a:lnTo>
                    <a:pt x="4411" y="57"/>
                  </a:lnTo>
                  <a:lnTo>
                    <a:pt x="4406" y="52"/>
                  </a:lnTo>
                  <a:lnTo>
                    <a:pt x="4432" y="41"/>
                  </a:lnTo>
                  <a:lnTo>
                    <a:pt x="4567" y="95"/>
                  </a:lnTo>
                  <a:lnTo>
                    <a:pt x="4541" y="128"/>
                  </a:lnTo>
                  <a:lnTo>
                    <a:pt x="4604" y="95"/>
                  </a:lnTo>
                  <a:lnTo>
                    <a:pt x="4536" y="74"/>
                  </a:lnTo>
                  <a:lnTo>
                    <a:pt x="4557" y="69"/>
                  </a:lnTo>
                  <a:lnTo>
                    <a:pt x="4460" y="29"/>
                  </a:lnTo>
                  <a:lnTo>
                    <a:pt x="4474" y="17"/>
                  </a:lnTo>
                  <a:lnTo>
                    <a:pt x="4663" y="17"/>
                  </a:lnTo>
                  <a:lnTo>
                    <a:pt x="4713" y="52"/>
                  </a:lnTo>
                  <a:lnTo>
                    <a:pt x="4798" y="85"/>
                  </a:lnTo>
                  <a:lnTo>
                    <a:pt x="4805" y="74"/>
                  </a:lnTo>
                  <a:lnTo>
                    <a:pt x="4718" y="41"/>
                  </a:lnTo>
                  <a:lnTo>
                    <a:pt x="4798" y="12"/>
                  </a:lnTo>
                  <a:lnTo>
                    <a:pt x="4859" y="12"/>
                  </a:lnTo>
                  <a:lnTo>
                    <a:pt x="4864" y="12"/>
                  </a:lnTo>
                  <a:lnTo>
                    <a:pt x="4852" y="29"/>
                  </a:lnTo>
                  <a:lnTo>
                    <a:pt x="4918" y="52"/>
                  </a:lnTo>
                  <a:lnTo>
                    <a:pt x="4874" y="29"/>
                  </a:lnTo>
                  <a:lnTo>
                    <a:pt x="4961" y="0"/>
                  </a:lnTo>
                  <a:lnTo>
                    <a:pt x="5020" y="17"/>
                  </a:lnTo>
                  <a:lnTo>
                    <a:pt x="5015" y="29"/>
                  </a:lnTo>
                  <a:lnTo>
                    <a:pt x="5053" y="17"/>
                  </a:lnTo>
                  <a:lnTo>
                    <a:pt x="5107" y="29"/>
                  </a:lnTo>
                  <a:lnTo>
                    <a:pt x="5107" y="41"/>
                  </a:lnTo>
                  <a:lnTo>
                    <a:pt x="5237" y="41"/>
                  </a:lnTo>
                  <a:lnTo>
                    <a:pt x="5074" y="95"/>
                  </a:lnTo>
                  <a:lnTo>
                    <a:pt x="5162" y="90"/>
                  </a:lnTo>
                  <a:lnTo>
                    <a:pt x="5275" y="57"/>
                  </a:lnTo>
                  <a:lnTo>
                    <a:pt x="5322" y="69"/>
                  </a:lnTo>
                  <a:lnTo>
                    <a:pt x="5306" y="69"/>
                  </a:lnTo>
                  <a:lnTo>
                    <a:pt x="5322" y="57"/>
                  </a:lnTo>
                  <a:lnTo>
                    <a:pt x="5306" y="52"/>
                  </a:lnTo>
                  <a:lnTo>
                    <a:pt x="5355" y="41"/>
                  </a:lnTo>
                  <a:lnTo>
                    <a:pt x="5339" y="52"/>
                  </a:lnTo>
                  <a:lnTo>
                    <a:pt x="5365" y="69"/>
                  </a:lnTo>
                  <a:lnTo>
                    <a:pt x="5436" y="57"/>
                  </a:lnTo>
                  <a:lnTo>
                    <a:pt x="5448" y="69"/>
                  </a:lnTo>
                  <a:lnTo>
                    <a:pt x="5415" y="85"/>
                  </a:lnTo>
                  <a:lnTo>
                    <a:pt x="5474" y="107"/>
                  </a:lnTo>
                  <a:lnTo>
                    <a:pt x="5462" y="123"/>
                  </a:lnTo>
                  <a:lnTo>
                    <a:pt x="5448" y="128"/>
                  </a:lnTo>
                  <a:lnTo>
                    <a:pt x="5528" y="111"/>
                  </a:lnTo>
                  <a:lnTo>
                    <a:pt x="5516" y="123"/>
                  </a:lnTo>
                  <a:lnTo>
                    <a:pt x="5575" y="123"/>
                  </a:lnTo>
                  <a:lnTo>
                    <a:pt x="5608" y="144"/>
                  </a:lnTo>
                  <a:lnTo>
                    <a:pt x="5599" y="163"/>
                  </a:lnTo>
                  <a:lnTo>
                    <a:pt x="5523" y="201"/>
                  </a:lnTo>
                  <a:lnTo>
                    <a:pt x="5415" y="239"/>
                  </a:lnTo>
                  <a:lnTo>
                    <a:pt x="5377" y="234"/>
                  </a:lnTo>
                  <a:lnTo>
                    <a:pt x="5393" y="251"/>
                  </a:lnTo>
                  <a:lnTo>
                    <a:pt x="5377" y="251"/>
                  </a:lnTo>
                  <a:lnTo>
                    <a:pt x="5313" y="251"/>
                  </a:lnTo>
                  <a:lnTo>
                    <a:pt x="5259" y="256"/>
                  </a:lnTo>
                  <a:lnTo>
                    <a:pt x="5306" y="256"/>
                  </a:lnTo>
                  <a:lnTo>
                    <a:pt x="5275" y="272"/>
                  </a:lnTo>
                  <a:lnTo>
                    <a:pt x="5107" y="279"/>
                  </a:lnTo>
                  <a:lnTo>
                    <a:pt x="5025" y="256"/>
                  </a:lnTo>
                  <a:lnTo>
                    <a:pt x="5096" y="279"/>
                  </a:lnTo>
                  <a:lnTo>
                    <a:pt x="5058" y="279"/>
                  </a:lnTo>
                  <a:lnTo>
                    <a:pt x="5079" y="291"/>
                  </a:lnTo>
                  <a:lnTo>
                    <a:pt x="5214" y="291"/>
                  </a:lnTo>
                  <a:lnTo>
                    <a:pt x="4966" y="345"/>
                  </a:lnTo>
                  <a:lnTo>
                    <a:pt x="5004" y="345"/>
                  </a:lnTo>
                  <a:lnTo>
                    <a:pt x="4973" y="362"/>
                  </a:lnTo>
                  <a:lnTo>
                    <a:pt x="4982" y="362"/>
                  </a:lnTo>
                  <a:lnTo>
                    <a:pt x="5285" y="291"/>
                  </a:lnTo>
                  <a:lnTo>
                    <a:pt x="5360" y="279"/>
                  </a:lnTo>
                  <a:lnTo>
                    <a:pt x="5365" y="296"/>
                  </a:lnTo>
                  <a:lnTo>
                    <a:pt x="5176" y="383"/>
                  </a:lnTo>
                  <a:lnTo>
                    <a:pt x="5145" y="390"/>
                  </a:lnTo>
                  <a:lnTo>
                    <a:pt x="5150" y="390"/>
                  </a:lnTo>
                  <a:lnTo>
                    <a:pt x="5053" y="444"/>
                  </a:lnTo>
                  <a:lnTo>
                    <a:pt x="5020" y="478"/>
                  </a:lnTo>
                  <a:lnTo>
                    <a:pt x="4961" y="489"/>
                  </a:lnTo>
                  <a:lnTo>
                    <a:pt x="4966" y="473"/>
                  </a:lnTo>
                  <a:lnTo>
                    <a:pt x="4961" y="473"/>
                  </a:lnTo>
                  <a:lnTo>
                    <a:pt x="4918" y="444"/>
                  </a:lnTo>
                  <a:lnTo>
                    <a:pt x="4944" y="473"/>
                  </a:lnTo>
                  <a:lnTo>
                    <a:pt x="4949" y="489"/>
                  </a:lnTo>
                  <a:lnTo>
                    <a:pt x="4982" y="501"/>
                  </a:lnTo>
                  <a:lnTo>
                    <a:pt x="4966" y="511"/>
                  </a:lnTo>
                  <a:lnTo>
                    <a:pt x="4859" y="527"/>
                  </a:lnTo>
                  <a:lnTo>
                    <a:pt x="4810" y="511"/>
                  </a:lnTo>
                  <a:lnTo>
                    <a:pt x="4843" y="527"/>
                  </a:lnTo>
                  <a:lnTo>
                    <a:pt x="4810" y="527"/>
                  </a:lnTo>
                  <a:lnTo>
                    <a:pt x="4810" y="534"/>
                  </a:lnTo>
                  <a:lnTo>
                    <a:pt x="4944" y="527"/>
                  </a:lnTo>
                  <a:lnTo>
                    <a:pt x="4874" y="556"/>
                  </a:lnTo>
                  <a:lnTo>
                    <a:pt x="4911" y="567"/>
                  </a:lnTo>
                  <a:lnTo>
                    <a:pt x="4897" y="584"/>
                  </a:lnTo>
                  <a:lnTo>
                    <a:pt x="4822" y="600"/>
                  </a:lnTo>
                  <a:lnTo>
                    <a:pt x="4772" y="589"/>
                  </a:lnTo>
                  <a:lnTo>
                    <a:pt x="4767" y="572"/>
                  </a:lnTo>
                  <a:lnTo>
                    <a:pt x="4772" y="572"/>
                  </a:lnTo>
                  <a:lnTo>
                    <a:pt x="4680" y="567"/>
                  </a:lnTo>
                  <a:lnTo>
                    <a:pt x="4642" y="567"/>
                  </a:lnTo>
                  <a:lnTo>
                    <a:pt x="4746" y="584"/>
                  </a:lnTo>
                  <a:lnTo>
                    <a:pt x="4755" y="612"/>
                  </a:lnTo>
                  <a:lnTo>
                    <a:pt x="4718" y="629"/>
                  </a:lnTo>
                  <a:lnTo>
                    <a:pt x="4696" y="612"/>
                  </a:lnTo>
                  <a:lnTo>
                    <a:pt x="4701" y="629"/>
                  </a:lnTo>
                  <a:lnTo>
                    <a:pt x="4692" y="638"/>
                  </a:lnTo>
                  <a:lnTo>
                    <a:pt x="4637" y="622"/>
                  </a:lnTo>
                  <a:lnTo>
                    <a:pt x="4626" y="629"/>
                  </a:lnTo>
                  <a:lnTo>
                    <a:pt x="4637" y="638"/>
                  </a:lnTo>
                  <a:lnTo>
                    <a:pt x="4626" y="645"/>
                  </a:lnTo>
                  <a:lnTo>
                    <a:pt x="4481" y="612"/>
                  </a:lnTo>
                  <a:lnTo>
                    <a:pt x="4474" y="622"/>
                  </a:lnTo>
                  <a:lnTo>
                    <a:pt x="4541" y="629"/>
                  </a:lnTo>
                  <a:lnTo>
                    <a:pt x="4550" y="645"/>
                  </a:lnTo>
                  <a:lnTo>
                    <a:pt x="4567" y="645"/>
                  </a:lnTo>
                  <a:lnTo>
                    <a:pt x="4498" y="645"/>
                  </a:lnTo>
                  <a:lnTo>
                    <a:pt x="4465" y="629"/>
                  </a:lnTo>
                  <a:lnTo>
                    <a:pt x="4481" y="655"/>
                  </a:lnTo>
                  <a:lnTo>
                    <a:pt x="4411" y="645"/>
                  </a:lnTo>
                  <a:lnTo>
                    <a:pt x="4465" y="662"/>
                  </a:lnTo>
                  <a:lnTo>
                    <a:pt x="4460" y="667"/>
                  </a:lnTo>
                  <a:lnTo>
                    <a:pt x="4663" y="667"/>
                  </a:lnTo>
                  <a:lnTo>
                    <a:pt x="4642" y="678"/>
                  </a:lnTo>
                  <a:lnTo>
                    <a:pt x="4663" y="695"/>
                  </a:lnTo>
                  <a:lnTo>
                    <a:pt x="4583" y="695"/>
                  </a:lnTo>
                  <a:lnTo>
                    <a:pt x="4550" y="678"/>
                  </a:lnTo>
                  <a:lnTo>
                    <a:pt x="4432" y="667"/>
                  </a:lnTo>
                  <a:lnTo>
                    <a:pt x="4406" y="678"/>
                  </a:lnTo>
                  <a:lnTo>
                    <a:pt x="4550" y="695"/>
                  </a:lnTo>
                  <a:lnTo>
                    <a:pt x="4448" y="700"/>
                  </a:lnTo>
                  <a:lnTo>
                    <a:pt x="4356" y="695"/>
                  </a:lnTo>
                  <a:lnTo>
                    <a:pt x="4444" y="700"/>
                  </a:lnTo>
                  <a:lnTo>
                    <a:pt x="4406" y="740"/>
                  </a:lnTo>
                  <a:lnTo>
                    <a:pt x="4432" y="711"/>
                  </a:lnTo>
                  <a:lnTo>
                    <a:pt x="4512" y="700"/>
                  </a:lnTo>
                  <a:lnTo>
                    <a:pt x="4583" y="711"/>
                  </a:lnTo>
                  <a:lnTo>
                    <a:pt x="4529" y="733"/>
                  </a:lnTo>
                  <a:lnTo>
                    <a:pt x="4604" y="723"/>
                  </a:lnTo>
                  <a:lnTo>
                    <a:pt x="4642" y="733"/>
                  </a:lnTo>
                  <a:lnTo>
                    <a:pt x="4649" y="749"/>
                  </a:lnTo>
                  <a:lnTo>
                    <a:pt x="4637" y="756"/>
                  </a:lnTo>
                  <a:lnTo>
                    <a:pt x="4642" y="773"/>
                  </a:lnTo>
                  <a:lnTo>
                    <a:pt x="4626" y="778"/>
                  </a:lnTo>
                  <a:lnTo>
                    <a:pt x="4512" y="778"/>
                  </a:lnTo>
                  <a:lnTo>
                    <a:pt x="4595" y="794"/>
                  </a:lnTo>
                  <a:lnTo>
                    <a:pt x="4626" y="811"/>
                  </a:lnTo>
                  <a:lnTo>
                    <a:pt x="4588" y="834"/>
                  </a:lnTo>
                  <a:lnTo>
                    <a:pt x="4498" y="834"/>
                  </a:lnTo>
                  <a:lnTo>
                    <a:pt x="4588" y="844"/>
                  </a:lnTo>
                  <a:lnTo>
                    <a:pt x="4567" y="867"/>
                  </a:lnTo>
                  <a:lnTo>
                    <a:pt x="4541" y="860"/>
                  </a:lnTo>
                  <a:lnTo>
                    <a:pt x="4498" y="877"/>
                  </a:lnTo>
                  <a:lnTo>
                    <a:pt x="4406" y="867"/>
                  </a:lnTo>
                  <a:lnTo>
                    <a:pt x="4389" y="877"/>
                  </a:lnTo>
                  <a:lnTo>
                    <a:pt x="4422" y="889"/>
                  </a:lnTo>
                  <a:lnTo>
                    <a:pt x="4422" y="905"/>
                  </a:lnTo>
                  <a:lnTo>
                    <a:pt x="4432" y="922"/>
                  </a:lnTo>
                  <a:lnTo>
                    <a:pt x="4406" y="962"/>
                  </a:lnTo>
                  <a:lnTo>
                    <a:pt x="4335" y="971"/>
                  </a:lnTo>
                  <a:lnTo>
                    <a:pt x="4248" y="971"/>
                  </a:lnTo>
                  <a:lnTo>
                    <a:pt x="4189" y="955"/>
                  </a:lnTo>
                  <a:lnTo>
                    <a:pt x="4141" y="917"/>
                  </a:lnTo>
                  <a:lnTo>
                    <a:pt x="4141" y="922"/>
                  </a:lnTo>
                  <a:lnTo>
                    <a:pt x="4163" y="938"/>
                  </a:lnTo>
                  <a:lnTo>
                    <a:pt x="4158" y="955"/>
                  </a:lnTo>
                  <a:lnTo>
                    <a:pt x="4196" y="971"/>
                  </a:lnTo>
                  <a:lnTo>
                    <a:pt x="4125" y="971"/>
                  </a:lnTo>
                  <a:lnTo>
                    <a:pt x="4151" y="995"/>
                  </a:lnTo>
                  <a:lnTo>
                    <a:pt x="4196" y="978"/>
                  </a:lnTo>
                  <a:lnTo>
                    <a:pt x="4271" y="988"/>
                  </a:lnTo>
                  <a:lnTo>
                    <a:pt x="4248" y="1000"/>
                  </a:lnTo>
                  <a:lnTo>
                    <a:pt x="4297" y="978"/>
                  </a:lnTo>
                  <a:lnTo>
                    <a:pt x="4335" y="988"/>
                  </a:lnTo>
                  <a:lnTo>
                    <a:pt x="4352" y="1000"/>
                  </a:lnTo>
                  <a:lnTo>
                    <a:pt x="4318" y="1028"/>
                  </a:lnTo>
                  <a:lnTo>
                    <a:pt x="4356" y="1028"/>
                  </a:lnTo>
                  <a:lnTo>
                    <a:pt x="4356" y="1044"/>
                  </a:lnTo>
                  <a:lnTo>
                    <a:pt x="4368" y="1044"/>
                  </a:lnTo>
                  <a:lnTo>
                    <a:pt x="4394" y="1016"/>
                  </a:lnTo>
                  <a:lnTo>
                    <a:pt x="4427" y="1028"/>
                  </a:lnTo>
                  <a:lnTo>
                    <a:pt x="4432" y="1066"/>
                  </a:lnTo>
                  <a:lnTo>
                    <a:pt x="4389" y="1099"/>
                  </a:lnTo>
                  <a:lnTo>
                    <a:pt x="4389" y="1099"/>
                  </a:lnTo>
                  <a:lnTo>
                    <a:pt x="4389" y="1099"/>
                  </a:lnTo>
                  <a:close/>
                  <a:moveTo>
                    <a:pt x="3456" y="279"/>
                  </a:moveTo>
                  <a:lnTo>
                    <a:pt x="3440" y="272"/>
                  </a:lnTo>
                  <a:lnTo>
                    <a:pt x="3461" y="279"/>
                  </a:lnTo>
                  <a:lnTo>
                    <a:pt x="3456" y="279"/>
                  </a:lnTo>
                  <a:lnTo>
                    <a:pt x="3456" y="279"/>
                  </a:lnTo>
                  <a:lnTo>
                    <a:pt x="3456" y="279"/>
                  </a:lnTo>
                  <a:close/>
                  <a:moveTo>
                    <a:pt x="3655" y="844"/>
                  </a:moveTo>
                  <a:lnTo>
                    <a:pt x="3633" y="827"/>
                  </a:lnTo>
                  <a:lnTo>
                    <a:pt x="3579" y="766"/>
                  </a:lnTo>
                  <a:lnTo>
                    <a:pt x="3570" y="778"/>
                  </a:lnTo>
                  <a:lnTo>
                    <a:pt x="3579" y="794"/>
                  </a:lnTo>
                  <a:lnTo>
                    <a:pt x="3596" y="806"/>
                  </a:lnTo>
                  <a:lnTo>
                    <a:pt x="3617" y="834"/>
                  </a:lnTo>
                  <a:lnTo>
                    <a:pt x="3563" y="811"/>
                  </a:lnTo>
                  <a:lnTo>
                    <a:pt x="3525" y="811"/>
                  </a:lnTo>
                  <a:lnTo>
                    <a:pt x="3558" y="834"/>
                  </a:lnTo>
                  <a:lnTo>
                    <a:pt x="3546" y="844"/>
                  </a:lnTo>
                  <a:lnTo>
                    <a:pt x="3433" y="827"/>
                  </a:lnTo>
                  <a:lnTo>
                    <a:pt x="3402" y="811"/>
                  </a:lnTo>
                  <a:lnTo>
                    <a:pt x="3369" y="789"/>
                  </a:lnTo>
                  <a:lnTo>
                    <a:pt x="3461" y="778"/>
                  </a:lnTo>
                  <a:lnTo>
                    <a:pt x="3381" y="766"/>
                  </a:lnTo>
                  <a:lnTo>
                    <a:pt x="3348" y="773"/>
                  </a:lnTo>
                  <a:lnTo>
                    <a:pt x="3310" y="740"/>
                  </a:lnTo>
                  <a:lnTo>
                    <a:pt x="3364" y="740"/>
                  </a:lnTo>
                  <a:lnTo>
                    <a:pt x="3310" y="733"/>
                  </a:lnTo>
                  <a:lnTo>
                    <a:pt x="3277" y="711"/>
                  </a:lnTo>
                  <a:lnTo>
                    <a:pt x="3348" y="678"/>
                  </a:lnTo>
                  <a:lnTo>
                    <a:pt x="3546" y="667"/>
                  </a:lnTo>
                  <a:lnTo>
                    <a:pt x="3418" y="667"/>
                  </a:lnTo>
                  <a:lnTo>
                    <a:pt x="3385" y="662"/>
                  </a:lnTo>
                  <a:lnTo>
                    <a:pt x="3504" y="645"/>
                  </a:lnTo>
                  <a:lnTo>
                    <a:pt x="3423" y="655"/>
                  </a:lnTo>
                  <a:lnTo>
                    <a:pt x="3395" y="645"/>
                  </a:lnTo>
                  <a:lnTo>
                    <a:pt x="3418" y="638"/>
                  </a:lnTo>
                  <a:lnTo>
                    <a:pt x="3381" y="638"/>
                  </a:lnTo>
                  <a:lnTo>
                    <a:pt x="3364" y="629"/>
                  </a:lnTo>
                  <a:lnTo>
                    <a:pt x="3352" y="629"/>
                  </a:lnTo>
                  <a:lnTo>
                    <a:pt x="3364" y="645"/>
                  </a:lnTo>
                  <a:lnTo>
                    <a:pt x="3348" y="645"/>
                  </a:lnTo>
                  <a:lnTo>
                    <a:pt x="3348" y="638"/>
                  </a:lnTo>
                  <a:lnTo>
                    <a:pt x="3343" y="638"/>
                  </a:lnTo>
                  <a:lnTo>
                    <a:pt x="3310" y="662"/>
                  </a:lnTo>
                  <a:lnTo>
                    <a:pt x="3289" y="662"/>
                  </a:lnTo>
                  <a:lnTo>
                    <a:pt x="3293" y="645"/>
                  </a:lnTo>
                  <a:lnTo>
                    <a:pt x="3272" y="638"/>
                  </a:lnTo>
                  <a:lnTo>
                    <a:pt x="3260" y="638"/>
                  </a:lnTo>
                  <a:lnTo>
                    <a:pt x="3272" y="645"/>
                  </a:lnTo>
                  <a:lnTo>
                    <a:pt x="3260" y="655"/>
                  </a:lnTo>
                  <a:lnTo>
                    <a:pt x="3222" y="662"/>
                  </a:lnTo>
                  <a:lnTo>
                    <a:pt x="3208" y="645"/>
                  </a:lnTo>
                  <a:lnTo>
                    <a:pt x="3170" y="638"/>
                  </a:lnTo>
                  <a:lnTo>
                    <a:pt x="3180" y="622"/>
                  </a:lnTo>
                  <a:lnTo>
                    <a:pt x="3244" y="605"/>
                  </a:lnTo>
                  <a:lnTo>
                    <a:pt x="3277" y="584"/>
                  </a:lnTo>
                  <a:lnTo>
                    <a:pt x="3170" y="600"/>
                  </a:lnTo>
                  <a:lnTo>
                    <a:pt x="3116" y="567"/>
                  </a:lnTo>
                  <a:lnTo>
                    <a:pt x="3147" y="556"/>
                  </a:lnTo>
                  <a:lnTo>
                    <a:pt x="3109" y="544"/>
                  </a:lnTo>
                  <a:lnTo>
                    <a:pt x="3133" y="534"/>
                  </a:lnTo>
                  <a:lnTo>
                    <a:pt x="3100" y="527"/>
                  </a:lnTo>
                  <a:lnTo>
                    <a:pt x="3133" y="518"/>
                  </a:lnTo>
                  <a:lnTo>
                    <a:pt x="3272" y="551"/>
                  </a:lnTo>
                  <a:lnTo>
                    <a:pt x="3244" y="527"/>
                  </a:lnTo>
                  <a:lnTo>
                    <a:pt x="3293" y="518"/>
                  </a:lnTo>
                  <a:lnTo>
                    <a:pt x="3201" y="527"/>
                  </a:lnTo>
                  <a:lnTo>
                    <a:pt x="3180" y="518"/>
                  </a:lnTo>
                  <a:lnTo>
                    <a:pt x="3208" y="501"/>
                  </a:lnTo>
                  <a:lnTo>
                    <a:pt x="3163" y="511"/>
                  </a:lnTo>
                  <a:lnTo>
                    <a:pt x="3109" y="489"/>
                  </a:lnTo>
                  <a:lnTo>
                    <a:pt x="3192" y="489"/>
                  </a:lnTo>
                  <a:lnTo>
                    <a:pt x="3170" y="473"/>
                  </a:lnTo>
                  <a:lnTo>
                    <a:pt x="3154" y="444"/>
                  </a:lnTo>
                  <a:lnTo>
                    <a:pt x="3310" y="456"/>
                  </a:lnTo>
                  <a:lnTo>
                    <a:pt x="3244" y="435"/>
                  </a:lnTo>
                  <a:lnTo>
                    <a:pt x="3289" y="423"/>
                  </a:lnTo>
                  <a:lnTo>
                    <a:pt x="3185" y="407"/>
                  </a:lnTo>
                  <a:lnTo>
                    <a:pt x="3218" y="400"/>
                  </a:lnTo>
                  <a:lnTo>
                    <a:pt x="3192" y="390"/>
                  </a:lnTo>
                  <a:lnTo>
                    <a:pt x="3218" y="378"/>
                  </a:lnTo>
                  <a:lnTo>
                    <a:pt x="3244" y="367"/>
                  </a:lnTo>
                  <a:lnTo>
                    <a:pt x="3272" y="383"/>
                  </a:lnTo>
                  <a:lnTo>
                    <a:pt x="3298" y="367"/>
                  </a:lnTo>
                  <a:lnTo>
                    <a:pt x="3277" y="362"/>
                  </a:lnTo>
                  <a:lnTo>
                    <a:pt x="3348" y="362"/>
                  </a:lnTo>
                  <a:lnTo>
                    <a:pt x="3364" y="350"/>
                  </a:lnTo>
                  <a:lnTo>
                    <a:pt x="3272" y="329"/>
                  </a:lnTo>
                  <a:lnTo>
                    <a:pt x="3289" y="312"/>
                  </a:lnTo>
                  <a:lnTo>
                    <a:pt x="3331" y="324"/>
                  </a:lnTo>
                  <a:lnTo>
                    <a:pt x="3331" y="312"/>
                  </a:lnTo>
                  <a:lnTo>
                    <a:pt x="3449" y="345"/>
                  </a:lnTo>
                  <a:lnTo>
                    <a:pt x="3456" y="362"/>
                  </a:lnTo>
                  <a:lnTo>
                    <a:pt x="3440" y="367"/>
                  </a:lnTo>
                  <a:lnTo>
                    <a:pt x="3470" y="378"/>
                  </a:lnTo>
                  <a:lnTo>
                    <a:pt x="3504" y="416"/>
                  </a:lnTo>
                  <a:lnTo>
                    <a:pt x="3532" y="440"/>
                  </a:lnTo>
                  <a:lnTo>
                    <a:pt x="3525" y="444"/>
                  </a:lnTo>
                  <a:lnTo>
                    <a:pt x="3596" y="473"/>
                  </a:lnTo>
                  <a:lnTo>
                    <a:pt x="3596" y="456"/>
                  </a:lnTo>
                  <a:lnTo>
                    <a:pt x="3633" y="456"/>
                  </a:lnTo>
                  <a:lnTo>
                    <a:pt x="3638" y="473"/>
                  </a:lnTo>
                  <a:lnTo>
                    <a:pt x="3633" y="478"/>
                  </a:lnTo>
                  <a:lnTo>
                    <a:pt x="3638" y="478"/>
                  </a:lnTo>
                  <a:lnTo>
                    <a:pt x="3633" y="494"/>
                  </a:lnTo>
                  <a:lnTo>
                    <a:pt x="3667" y="527"/>
                  </a:lnTo>
                  <a:lnTo>
                    <a:pt x="3709" y="527"/>
                  </a:lnTo>
                  <a:lnTo>
                    <a:pt x="3704" y="511"/>
                  </a:lnTo>
                  <a:lnTo>
                    <a:pt x="3671" y="501"/>
                  </a:lnTo>
                  <a:lnTo>
                    <a:pt x="3671" y="478"/>
                  </a:lnTo>
                  <a:lnTo>
                    <a:pt x="3742" y="478"/>
                  </a:lnTo>
                  <a:lnTo>
                    <a:pt x="3747" y="511"/>
                  </a:lnTo>
                  <a:lnTo>
                    <a:pt x="3709" y="527"/>
                  </a:lnTo>
                  <a:lnTo>
                    <a:pt x="3773" y="534"/>
                  </a:lnTo>
                  <a:lnTo>
                    <a:pt x="3785" y="551"/>
                  </a:lnTo>
                  <a:lnTo>
                    <a:pt x="3759" y="572"/>
                  </a:lnTo>
                  <a:lnTo>
                    <a:pt x="3785" y="556"/>
                  </a:lnTo>
                  <a:lnTo>
                    <a:pt x="3780" y="605"/>
                  </a:lnTo>
                  <a:lnTo>
                    <a:pt x="3759" y="622"/>
                  </a:lnTo>
                  <a:lnTo>
                    <a:pt x="3785" y="605"/>
                  </a:lnTo>
                  <a:lnTo>
                    <a:pt x="3801" y="622"/>
                  </a:lnTo>
                  <a:lnTo>
                    <a:pt x="3811" y="612"/>
                  </a:lnTo>
                  <a:lnTo>
                    <a:pt x="3801" y="605"/>
                  </a:lnTo>
                  <a:lnTo>
                    <a:pt x="3834" y="605"/>
                  </a:lnTo>
                  <a:lnTo>
                    <a:pt x="3855" y="612"/>
                  </a:lnTo>
                  <a:lnTo>
                    <a:pt x="3855" y="629"/>
                  </a:lnTo>
                  <a:lnTo>
                    <a:pt x="3848" y="629"/>
                  </a:lnTo>
                  <a:lnTo>
                    <a:pt x="3855" y="638"/>
                  </a:lnTo>
                  <a:lnTo>
                    <a:pt x="3872" y="605"/>
                  </a:lnTo>
                  <a:lnTo>
                    <a:pt x="3881" y="605"/>
                  </a:lnTo>
                  <a:lnTo>
                    <a:pt x="3936" y="662"/>
                  </a:lnTo>
                  <a:lnTo>
                    <a:pt x="3827" y="695"/>
                  </a:lnTo>
                  <a:lnTo>
                    <a:pt x="3811" y="711"/>
                  </a:lnTo>
                  <a:lnTo>
                    <a:pt x="3785" y="695"/>
                  </a:lnTo>
                  <a:lnTo>
                    <a:pt x="3785" y="716"/>
                  </a:lnTo>
                  <a:lnTo>
                    <a:pt x="3747" y="766"/>
                  </a:lnTo>
                  <a:lnTo>
                    <a:pt x="3721" y="733"/>
                  </a:lnTo>
                  <a:lnTo>
                    <a:pt x="3721" y="711"/>
                  </a:lnTo>
                  <a:lnTo>
                    <a:pt x="3742" y="695"/>
                  </a:lnTo>
                  <a:lnTo>
                    <a:pt x="3709" y="711"/>
                  </a:lnTo>
                  <a:lnTo>
                    <a:pt x="3704" y="740"/>
                  </a:lnTo>
                  <a:lnTo>
                    <a:pt x="3726" y="778"/>
                  </a:lnTo>
                  <a:lnTo>
                    <a:pt x="3704" y="794"/>
                  </a:lnTo>
                  <a:lnTo>
                    <a:pt x="3676" y="773"/>
                  </a:lnTo>
                  <a:lnTo>
                    <a:pt x="3667" y="766"/>
                  </a:lnTo>
                  <a:lnTo>
                    <a:pt x="3676" y="794"/>
                  </a:lnTo>
                  <a:lnTo>
                    <a:pt x="3655" y="844"/>
                  </a:lnTo>
                  <a:lnTo>
                    <a:pt x="3655" y="844"/>
                  </a:lnTo>
                  <a:lnTo>
                    <a:pt x="3655" y="844"/>
                  </a:lnTo>
                  <a:close/>
                  <a:moveTo>
                    <a:pt x="3222" y="435"/>
                  </a:moveTo>
                  <a:lnTo>
                    <a:pt x="3234" y="440"/>
                  </a:lnTo>
                  <a:lnTo>
                    <a:pt x="3147" y="435"/>
                  </a:lnTo>
                  <a:lnTo>
                    <a:pt x="3222" y="435"/>
                  </a:lnTo>
                  <a:lnTo>
                    <a:pt x="3222" y="435"/>
                  </a:lnTo>
                  <a:lnTo>
                    <a:pt x="3222" y="435"/>
                  </a:lnTo>
                  <a:close/>
                  <a:moveTo>
                    <a:pt x="2965" y="600"/>
                  </a:moveTo>
                  <a:lnTo>
                    <a:pt x="2920" y="584"/>
                  </a:lnTo>
                  <a:lnTo>
                    <a:pt x="2920" y="567"/>
                  </a:lnTo>
                  <a:lnTo>
                    <a:pt x="2868" y="567"/>
                  </a:lnTo>
                  <a:lnTo>
                    <a:pt x="2861" y="534"/>
                  </a:lnTo>
                  <a:lnTo>
                    <a:pt x="2894" y="518"/>
                  </a:lnTo>
                  <a:lnTo>
                    <a:pt x="2953" y="534"/>
                  </a:lnTo>
                  <a:lnTo>
                    <a:pt x="2970" y="551"/>
                  </a:lnTo>
                  <a:lnTo>
                    <a:pt x="2970" y="572"/>
                  </a:lnTo>
                  <a:lnTo>
                    <a:pt x="2965" y="600"/>
                  </a:lnTo>
                  <a:lnTo>
                    <a:pt x="2965" y="600"/>
                  </a:lnTo>
                  <a:lnTo>
                    <a:pt x="2965" y="600"/>
                  </a:lnTo>
                  <a:close/>
                  <a:moveTo>
                    <a:pt x="2608" y="749"/>
                  </a:moveTo>
                  <a:lnTo>
                    <a:pt x="2613" y="740"/>
                  </a:lnTo>
                  <a:lnTo>
                    <a:pt x="2587" y="740"/>
                  </a:lnTo>
                  <a:lnTo>
                    <a:pt x="2608" y="723"/>
                  </a:lnTo>
                  <a:lnTo>
                    <a:pt x="2587" y="711"/>
                  </a:lnTo>
                  <a:lnTo>
                    <a:pt x="2521" y="740"/>
                  </a:lnTo>
                  <a:lnTo>
                    <a:pt x="2542" y="700"/>
                  </a:lnTo>
                  <a:lnTo>
                    <a:pt x="2483" y="700"/>
                  </a:lnTo>
                  <a:lnTo>
                    <a:pt x="2483" y="678"/>
                  </a:lnTo>
                  <a:lnTo>
                    <a:pt x="2490" y="655"/>
                  </a:lnTo>
                  <a:lnTo>
                    <a:pt x="2596" y="645"/>
                  </a:lnTo>
                  <a:lnTo>
                    <a:pt x="2663" y="662"/>
                  </a:lnTo>
                  <a:lnTo>
                    <a:pt x="2693" y="695"/>
                  </a:lnTo>
                  <a:lnTo>
                    <a:pt x="2684" y="716"/>
                  </a:lnTo>
                  <a:lnTo>
                    <a:pt x="2700" y="723"/>
                  </a:lnTo>
                  <a:lnTo>
                    <a:pt x="2705" y="700"/>
                  </a:lnTo>
                  <a:lnTo>
                    <a:pt x="2759" y="695"/>
                  </a:lnTo>
                  <a:lnTo>
                    <a:pt x="2807" y="716"/>
                  </a:lnTo>
                  <a:lnTo>
                    <a:pt x="2793" y="740"/>
                  </a:lnTo>
                  <a:lnTo>
                    <a:pt x="2856" y="733"/>
                  </a:lnTo>
                  <a:lnTo>
                    <a:pt x="2882" y="756"/>
                  </a:lnTo>
                  <a:lnTo>
                    <a:pt x="2878" y="766"/>
                  </a:lnTo>
                  <a:lnTo>
                    <a:pt x="2911" y="773"/>
                  </a:lnTo>
                  <a:lnTo>
                    <a:pt x="2882" y="794"/>
                  </a:lnTo>
                  <a:lnTo>
                    <a:pt x="2894" y="806"/>
                  </a:lnTo>
                  <a:lnTo>
                    <a:pt x="2894" y="822"/>
                  </a:lnTo>
                  <a:lnTo>
                    <a:pt x="2911" y="822"/>
                  </a:lnTo>
                  <a:lnTo>
                    <a:pt x="2948" y="851"/>
                  </a:lnTo>
                  <a:lnTo>
                    <a:pt x="2937" y="867"/>
                  </a:lnTo>
                  <a:lnTo>
                    <a:pt x="2948" y="884"/>
                  </a:lnTo>
                  <a:lnTo>
                    <a:pt x="2882" y="900"/>
                  </a:lnTo>
                  <a:lnTo>
                    <a:pt x="2830" y="884"/>
                  </a:lnTo>
                  <a:lnTo>
                    <a:pt x="2807" y="834"/>
                  </a:lnTo>
                  <a:lnTo>
                    <a:pt x="2731" y="822"/>
                  </a:lnTo>
                  <a:lnTo>
                    <a:pt x="2693" y="827"/>
                  </a:lnTo>
                  <a:lnTo>
                    <a:pt x="2679" y="822"/>
                  </a:lnTo>
                  <a:lnTo>
                    <a:pt x="2693" y="806"/>
                  </a:lnTo>
                  <a:lnTo>
                    <a:pt x="2679" y="806"/>
                  </a:lnTo>
                  <a:lnTo>
                    <a:pt x="2596" y="827"/>
                  </a:lnTo>
                  <a:lnTo>
                    <a:pt x="2570" y="822"/>
                  </a:lnTo>
                  <a:lnTo>
                    <a:pt x="2521" y="789"/>
                  </a:lnTo>
                  <a:lnTo>
                    <a:pt x="2542" y="773"/>
                  </a:lnTo>
                  <a:lnTo>
                    <a:pt x="2630" y="789"/>
                  </a:lnTo>
                  <a:lnTo>
                    <a:pt x="2641" y="766"/>
                  </a:lnTo>
                  <a:lnTo>
                    <a:pt x="2592" y="766"/>
                  </a:lnTo>
                  <a:lnTo>
                    <a:pt x="2646" y="749"/>
                  </a:lnTo>
                  <a:lnTo>
                    <a:pt x="2608" y="749"/>
                  </a:lnTo>
                  <a:lnTo>
                    <a:pt x="2608" y="749"/>
                  </a:lnTo>
                  <a:lnTo>
                    <a:pt x="2608" y="749"/>
                  </a:lnTo>
                  <a:close/>
                  <a:moveTo>
                    <a:pt x="3865" y="695"/>
                  </a:moveTo>
                  <a:lnTo>
                    <a:pt x="3919" y="700"/>
                  </a:lnTo>
                  <a:lnTo>
                    <a:pt x="3827" y="723"/>
                  </a:lnTo>
                  <a:lnTo>
                    <a:pt x="3865" y="695"/>
                  </a:lnTo>
                  <a:lnTo>
                    <a:pt x="3865" y="695"/>
                  </a:lnTo>
                  <a:lnTo>
                    <a:pt x="3865" y="695"/>
                  </a:lnTo>
                  <a:close/>
                  <a:moveTo>
                    <a:pt x="3100" y="900"/>
                  </a:moveTo>
                  <a:lnTo>
                    <a:pt x="3078" y="889"/>
                  </a:lnTo>
                  <a:lnTo>
                    <a:pt x="3078" y="884"/>
                  </a:lnTo>
                  <a:lnTo>
                    <a:pt x="3083" y="877"/>
                  </a:lnTo>
                  <a:lnTo>
                    <a:pt x="3029" y="860"/>
                  </a:lnTo>
                  <a:lnTo>
                    <a:pt x="3100" y="844"/>
                  </a:lnTo>
                  <a:lnTo>
                    <a:pt x="3019" y="822"/>
                  </a:lnTo>
                  <a:lnTo>
                    <a:pt x="3019" y="806"/>
                  </a:lnTo>
                  <a:lnTo>
                    <a:pt x="2986" y="789"/>
                  </a:lnTo>
                  <a:lnTo>
                    <a:pt x="3019" y="778"/>
                  </a:lnTo>
                  <a:lnTo>
                    <a:pt x="2991" y="766"/>
                  </a:lnTo>
                  <a:lnTo>
                    <a:pt x="2991" y="740"/>
                  </a:lnTo>
                  <a:lnTo>
                    <a:pt x="3029" y="733"/>
                  </a:lnTo>
                  <a:lnTo>
                    <a:pt x="3078" y="749"/>
                  </a:lnTo>
                  <a:lnTo>
                    <a:pt x="3147" y="766"/>
                  </a:lnTo>
                  <a:lnTo>
                    <a:pt x="3147" y="778"/>
                  </a:lnTo>
                  <a:lnTo>
                    <a:pt x="3192" y="778"/>
                  </a:lnTo>
                  <a:lnTo>
                    <a:pt x="3239" y="806"/>
                  </a:lnTo>
                  <a:lnTo>
                    <a:pt x="3201" y="827"/>
                  </a:lnTo>
                  <a:lnTo>
                    <a:pt x="3234" y="844"/>
                  </a:lnTo>
                  <a:lnTo>
                    <a:pt x="3218" y="867"/>
                  </a:lnTo>
                  <a:lnTo>
                    <a:pt x="3116" y="884"/>
                  </a:lnTo>
                  <a:lnTo>
                    <a:pt x="3109" y="884"/>
                  </a:lnTo>
                  <a:lnTo>
                    <a:pt x="3126" y="889"/>
                  </a:lnTo>
                  <a:lnTo>
                    <a:pt x="3100" y="900"/>
                  </a:lnTo>
                  <a:lnTo>
                    <a:pt x="3100" y="900"/>
                  </a:lnTo>
                  <a:lnTo>
                    <a:pt x="3100" y="900"/>
                  </a:lnTo>
                  <a:close/>
                  <a:moveTo>
                    <a:pt x="4675" y="756"/>
                  </a:moveTo>
                  <a:lnTo>
                    <a:pt x="4649" y="749"/>
                  </a:lnTo>
                  <a:lnTo>
                    <a:pt x="4692" y="749"/>
                  </a:lnTo>
                  <a:lnTo>
                    <a:pt x="4675" y="756"/>
                  </a:lnTo>
                  <a:lnTo>
                    <a:pt x="4675" y="756"/>
                  </a:lnTo>
                  <a:lnTo>
                    <a:pt x="4675" y="756"/>
                  </a:lnTo>
                  <a:close/>
                  <a:moveTo>
                    <a:pt x="2067" y="822"/>
                  </a:moveTo>
                  <a:lnTo>
                    <a:pt x="2030" y="806"/>
                  </a:lnTo>
                  <a:lnTo>
                    <a:pt x="1949" y="822"/>
                  </a:lnTo>
                  <a:lnTo>
                    <a:pt x="1944" y="811"/>
                  </a:lnTo>
                  <a:lnTo>
                    <a:pt x="1961" y="794"/>
                  </a:lnTo>
                  <a:lnTo>
                    <a:pt x="2143" y="740"/>
                  </a:lnTo>
                  <a:lnTo>
                    <a:pt x="2230" y="789"/>
                  </a:lnTo>
                  <a:lnTo>
                    <a:pt x="2214" y="822"/>
                  </a:lnTo>
                  <a:lnTo>
                    <a:pt x="2143" y="822"/>
                  </a:lnTo>
                  <a:lnTo>
                    <a:pt x="2100" y="806"/>
                  </a:lnTo>
                  <a:lnTo>
                    <a:pt x="2067" y="822"/>
                  </a:lnTo>
                  <a:lnTo>
                    <a:pt x="2067" y="822"/>
                  </a:lnTo>
                  <a:lnTo>
                    <a:pt x="2067" y="822"/>
                  </a:lnTo>
                  <a:close/>
                  <a:moveTo>
                    <a:pt x="3721" y="794"/>
                  </a:moveTo>
                  <a:lnTo>
                    <a:pt x="3704" y="827"/>
                  </a:lnTo>
                  <a:lnTo>
                    <a:pt x="3688" y="822"/>
                  </a:lnTo>
                  <a:lnTo>
                    <a:pt x="3704" y="794"/>
                  </a:lnTo>
                  <a:lnTo>
                    <a:pt x="3721" y="794"/>
                  </a:lnTo>
                  <a:lnTo>
                    <a:pt x="3721" y="794"/>
                  </a:lnTo>
                  <a:lnTo>
                    <a:pt x="3721" y="794"/>
                  </a:lnTo>
                  <a:close/>
                  <a:moveTo>
                    <a:pt x="3260" y="822"/>
                  </a:moveTo>
                  <a:lnTo>
                    <a:pt x="3277" y="834"/>
                  </a:lnTo>
                  <a:lnTo>
                    <a:pt x="3244" y="822"/>
                  </a:lnTo>
                  <a:lnTo>
                    <a:pt x="3260" y="822"/>
                  </a:lnTo>
                  <a:lnTo>
                    <a:pt x="3260" y="822"/>
                  </a:lnTo>
                  <a:lnTo>
                    <a:pt x="3260" y="822"/>
                  </a:lnTo>
                  <a:close/>
                  <a:moveTo>
                    <a:pt x="2679" y="822"/>
                  </a:moveTo>
                  <a:lnTo>
                    <a:pt x="2684" y="827"/>
                  </a:lnTo>
                  <a:lnTo>
                    <a:pt x="2663" y="844"/>
                  </a:lnTo>
                  <a:lnTo>
                    <a:pt x="2646" y="834"/>
                  </a:lnTo>
                  <a:lnTo>
                    <a:pt x="2679" y="822"/>
                  </a:lnTo>
                  <a:lnTo>
                    <a:pt x="2679" y="822"/>
                  </a:lnTo>
                  <a:lnTo>
                    <a:pt x="2679" y="822"/>
                  </a:lnTo>
                  <a:close/>
                  <a:moveTo>
                    <a:pt x="2759" y="827"/>
                  </a:moveTo>
                  <a:lnTo>
                    <a:pt x="2759" y="834"/>
                  </a:lnTo>
                  <a:lnTo>
                    <a:pt x="2748" y="834"/>
                  </a:lnTo>
                  <a:lnTo>
                    <a:pt x="2759" y="827"/>
                  </a:lnTo>
                  <a:lnTo>
                    <a:pt x="2759" y="827"/>
                  </a:lnTo>
                  <a:lnTo>
                    <a:pt x="2759" y="827"/>
                  </a:lnTo>
                  <a:close/>
                  <a:moveTo>
                    <a:pt x="2030" y="971"/>
                  </a:moveTo>
                  <a:lnTo>
                    <a:pt x="1949" y="938"/>
                  </a:lnTo>
                  <a:lnTo>
                    <a:pt x="1949" y="905"/>
                  </a:lnTo>
                  <a:lnTo>
                    <a:pt x="1944" y="889"/>
                  </a:lnTo>
                  <a:lnTo>
                    <a:pt x="1949" y="877"/>
                  </a:lnTo>
                  <a:lnTo>
                    <a:pt x="2084" y="851"/>
                  </a:lnTo>
                  <a:lnTo>
                    <a:pt x="2209" y="851"/>
                  </a:lnTo>
                  <a:lnTo>
                    <a:pt x="2193" y="867"/>
                  </a:lnTo>
                  <a:lnTo>
                    <a:pt x="2112" y="889"/>
                  </a:lnTo>
                  <a:lnTo>
                    <a:pt x="2129" y="900"/>
                  </a:lnTo>
                  <a:lnTo>
                    <a:pt x="2167" y="900"/>
                  </a:lnTo>
                  <a:lnTo>
                    <a:pt x="2176" y="922"/>
                  </a:lnTo>
                  <a:lnTo>
                    <a:pt x="2159" y="938"/>
                  </a:lnTo>
                  <a:lnTo>
                    <a:pt x="2030" y="971"/>
                  </a:lnTo>
                  <a:lnTo>
                    <a:pt x="2030" y="971"/>
                  </a:lnTo>
                  <a:lnTo>
                    <a:pt x="2030" y="971"/>
                  </a:lnTo>
                  <a:close/>
                  <a:moveTo>
                    <a:pt x="1878" y="905"/>
                  </a:moveTo>
                  <a:lnTo>
                    <a:pt x="1815" y="867"/>
                  </a:lnTo>
                  <a:lnTo>
                    <a:pt x="1874" y="851"/>
                  </a:lnTo>
                  <a:lnTo>
                    <a:pt x="1923" y="889"/>
                  </a:lnTo>
                  <a:lnTo>
                    <a:pt x="1878" y="905"/>
                  </a:lnTo>
                  <a:lnTo>
                    <a:pt x="1878" y="905"/>
                  </a:lnTo>
                  <a:lnTo>
                    <a:pt x="1878" y="905"/>
                  </a:lnTo>
                  <a:close/>
                  <a:moveTo>
                    <a:pt x="2759" y="884"/>
                  </a:moveTo>
                  <a:lnTo>
                    <a:pt x="2807" y="905"/>
                  </a:lnTo>
                  <a:lnTo>
                    <a:pt x="2731" y="917"/>
                  </a:lnTo>
                  <a:lnTo>
                    <a:pt x="2705" y="905"/>
                  </a:lnTo>
                  <a:lnTo>
                    <a:pt x="2700" y="889"/>
                  </a:lnTo>
                  <a:lnTo>
                    <a:pt x="2759" y="884"/>
                  </a:lnTo>
                  <a:lnTo>
                    <a:pt x="2759" y="884"/>
                  </a:lnTo>
                  <a:lnTo>
                    <a:pt x="2759" y="884"/>
                  </a:lnTo>
                  <a:close/>
                  <a:moveTo>
                    <a:pt x="4444" y="884"/>
                  </a:moveTo>
                  <a:lnTo>
                    <a:pt x="4448" y="889"/>
                  </a:lnTo>
                  <a:lnTo>
                    <a:pt x="4422" y="889"/>
                  </a:lnTo>
                  <a:lnTo>
                    <a:pt x="4444" y="884"/>
                  </a:lnTo>
                  <a:lnTo>
                    <a:pt x="4444" y="884"/>
                  </a:lnTo>
                  <a:lnTo>
                    <a:pt x="4444" y="884"/>
                  </a:lnTo>
                  <a:close/>
                  <a:moveTo>
                    <a:pt x="3352" y="905"/>
                  </a:moveTo>
                  <a:lnTo>
                    <a:pt x="3364" y="917"/>
                  </a:lnTo>
                  <a:lnTo>
                    <a:pt x="3343" y="922"/>
                  </a:lnTo>
                  <a:lnTo>
                    <a:pt x="3326" y="943"/>
                  </a:lnTo>
                  <a:lnTo>
                    <a:pt x="3163" y="943"/>
                  </a:lnTo>
                  <a:lnTo>
                    <a:pt x="3133" y="922"/>
                  </a:lnTo>
                  <a:lnTo>
                    <a:pt x="3137" y="917"/>
                  </a:lnTo>
                  <a:lnTo>
                    <a:pt x="3192" y="889"/>
                  </a:lnTo>
                  <a:lnTo>
                    <a:pt x="3201" y="905"/>
                  </a:lnTo>
                  <a:lnTo>
                    <a:pt x="3326" y="900"/>
                  </a:lnTo>
                  <a:lnTo>
                    <a:pt x="3352" y="905"/>
                  </a:lnTo>
                  <a:lnTo>
                    <a:pt x="3352" y="905"/>
                  </a:lnTo>
                  <a:lnTo>
                    <a:pt x="3352" y="905"/>
                  </a:lnTo>
                  <a:close/>
                  <a:moveTo>
                    <a:pt x="2483" y="900"/>
                  </a:moveTo>
                  <a:lnTo>
                    <a:pt x="2521" y="933"/>
                  </a:lnTo>
                  <a:lnTo>
                    <a:pt x="2533" y="943"/>
                  </a:lnTo>
                  <a:lnTo>
                    <a:pt x="2521" y="955"/>
                  </a:lnTo>
                  <a:lnTo>
                    <a:pt x="2542" y="955"/>
                  </a:lnTo>
                  <a:lnTo>
                    <a:pt x="2570" y="988"/>
                  </a:lnTo>
                  <a:lnTo>
                    <a:pt x="2542" y="1000"/>
                  </a:lnTo>
                  <a:lnTo>
                    <a:pt x="2504" y="988"/>
                  </a:lnTo>
                  <a:lnTo>
                    <a:pt x="2483" y="971"/>
                  </a:lnTo>
                  <a:lnTo>
                    <a:pt x="2469" y="922"/>
                  </a:lnTo>
                  <a:lnTo>
                    <a:pt x="2452" y="905"/>
                  </a:lnTo>
                  <a:lnTo>
                    <a:pt x="2483" y="900"/>
                  </a:lnTo>
                  <a:lnTo>
                    <a:pt x="2483" y="900"/>
                  </a:lnTo>
                  <a:lnTo>
                    <a:pt x="2483" y="900"/>
                  </a:lnTo>
                  <a:close/>
                  <a:moveTo>
                    <a:pt x="3546" y="988"/>
                  </a:moveTo>
                  <a:lnTo>
                    <a:pt x="3494" y="962"/>
                  </a:lnTo>
                  <a:lnTo>
                    <a:pt x="3494" y="933"/>
                  </a:lnTo>
                  <a:lnTo>
                    <a:pt x="3515" y="917"/>
                  </a:lnTo>
                  <a:lnTo>
                    <a:pt x="3563" y="922"/>
                  </a:lnTo>
                  <a:lnTo>
                    <a:pt x="3596" y="943"/>
                  </a:lnTo>
                  <a:lnTo>
                    <a:pt x="3600" y="962"/>
                  </a:lnTo>
                  <a:lnTo>
                    <a:pt x="3546" y="988"/>
                  </a:lnTo>
                  <a:lnTo>
                    <a:pt x="3546" y="988"/>
                  </a:lnTo>
                  <a:lnTo>
                    <a:pt x="3546" y="988"/>
                  </a:lnTo>
                  <a:close/>
                  <a:moveTo>
                    <a:pt x="3910" y="933"/>
                  </a:moveTo>
                  <a:lnTo>
                    <a:pt x="3941" y="938"/>
                  </a:lnTo>
                  <a:lnTo>
                    <a:pt x="3919" y="943"/>
                  </a:lnTo>
                  <a:lnTo>
                    <a:pt x="3886" y="933"/>
                  </a:lnTo>
                  <a:lnTo>
                    <a:pt x="3910" y="933"/>
                  </a:lnTo>
                  <a:lnTo>
                    <a:pt x="3910" y="933"/>
                  </a:lnTo>
                  <a:lnTo>
                    <a:pt x="3910" y="933"/>
                  </a:lnTo>
                  <a:close/>
                  <a:moveTo>
                    <a:pt x="1734" y="1082"/>
                  </a:moveTo>
                  <a:lnTo>
                    <a:pt x="1680" y="1087"/>
                  </a:lnTo>
                  <a:lnTo>
                    <a:pt x="1692" y="1111"/>
                  </a:lnTo>
                  <a:lnTo>
                    <a:pt x="1654" y="1127"/>
                  </a:lnTo>
                  <a:lnTo>
                    <a:pt x="1609" y="1106"/>
                  </a:lnTo>
                  <a:lnTo>
                    <a:pt x="1621" y="1066"/>
                  </a:lnTo>
                  <a:lnTo>
                    <a:pt x="1637" y="1049"/>
                  </a:lnTo>
                  <a:lnTo>
                    <a:pt x="1588" y="1049"/>
                  </a:lnTo>
                  <a:lnTo>
                    <a:pt x="1583" y="1054"/>
                  </a:lnTo>
                  <a:lnTo>
                    <a:pt x="1588" y="1082"/>
                  </a:lnTo>
                  <a:lnTo>
                    <a:pt x="1545" y="1087"/>
                  </a:lnTo>
                  <a:lnTo>
                    <a:pt x="1571" y="1111"/>
                  </a:lnTo>
                  <a:lnTo>
                    <a:pt x="1550" y="1127"/>
                  </a:lnTo>
                  <a:lnTo>
                    <a:pt x="1545" y="1144"/>
                  </a:lnTo>
                  <a:lnTo>
                    <a:pt x="1529" y="1155"/>
                  </a:lnTo>
                  <a:lnTo>
                    <a:pt x="1503" y="1122"/>
                  </a:lnTo>
                  <a:lnTo>
                    <a:pt x="1496" y="1122"/>
                  </a:lnTo>
                  <a:lnTo>
                    <a:pt x="1503" y="1144"/>
                  </a:lnTo>
                  <a:lnTo>
                    <a:pt x="1491" y="1155"/>
                  </a:lnTo>
                  <a:lnTo>
                    <a:pt x="1512" y="1160"/>
                  </a:lnTo>
                  <a:lnTo>
                    <a:pt x="1512" y="1165"/>
                  </a:lnTo>
                  <a:lnTo>
                    <a:pt x="1448" y="1193"/>
                  </a:lnTo>
                  <a:lnTo>
                    <a:pt x="1441" y="1193"/>
                  </a:lnTo>
                  <a:lnTo>
                    <a:pt x="1441" y="1165"/>
                  </a:lnTo>
                  <a:lnTo>
                    <a:pt x="1427" y="1165"/>
                  </a:lnTo>
                  <a:lnTo>
                    <a:pt x="1420" y="1144"/>
                  </a:lnTo>
                  <a:lnTo>
                    <a:pt x="1411" y="1139"/>
                  </a:lnTo>
                  <a:lnTo>
                    <a:pt x="1404" y="1144"/>
                  </a:lnTo>
                  <a:lnTo>
                    <a:pt x="1411" y="1165"/>
                  </a:lnTo>
                  <a:lnTo>
                    <a:pt x="1404" y="1177"/>
                  </a:lnTo>
                  <a:lnTo>
                    <a:pt x="1328" y="1160"/>
                  </a:lnTo>
                  <a:lnTo>
                    <a:pt x="1297" y="1177"/>
                  </a:lnTo>
                  <a:lnTo>
                    <a:pt x="1281" y="1165"/>
                  </a:lnTo>
                  <a:lnTo>
                    <a:pt x="1302" y="1155"/>
                  </a:lnTo>
                  <a:lnTo>
                    <a:pt x="1281" y="1155"/>
                  </a:lnTo>
                  <a:lnTo>
                    <a:pt x="1297" y="1144"/>
                  </a:lnTo>
                  <a:lnTo>
                    <a:pt x="1285" y="1139"/>
                  </a:lnTo>
                  <a:lnTo>
                    <a:pt x="1259" y="1155"/>
                  </a:lnTo>
                  <a:lnTo>
                    <a:pt x="1285" y="1111"/>
                  </a:lnTo>
                  <a:lnTo>
                    <a:pt x="1366" y="1106"/>
                  </a:lnTo>
                  <a:lnTo>
                    <a:pt x="1389" y="1070"/>
                  </a:lnTo>
                  <a:lnTo>
                    <a:pt x="1441" y="1049"/>
                  </a:lnTo>
                  <a:lnTo>
                    <a:pt x="1465" y="1016"/>
                  </a:lnTo>
                  <a:lnTo>
                    <a:pt x="1517" y="988"/>
                  </a:lnTo>
                  <a:lnTo>
                    <a:pt x="1533" y="971"/>
                  </a:lnTo>
                  <a:lnTo>
                    <a:pt x="1621" y="955"/>
                  </a:lnTo>
                  <a:lnTo>
                    <a:pt x="1680" y="971"/>
                  </a:lnTo>
                  <a:lnTo>
                    <a:pt x="1675" y="962"/>
                  </a:lnTo>
                  <a:lnTo>
                    <a:pt x="1696" y="971"/>
                  </a:lnTo>
                  <a:lnTo>
                    <a:pt x="1713" y="955"/>
                  </a:lnTo>
                  <a:lnTo>
                    <a:pt x="1675" y="943"/>
                  </a:lnTo>
                  <a:lnTo>
                    <a:pt x="1718" y="933"/>
                  </a:lnTo>
                  <a:lnTo>
                    <a:pt x="1798" y="971"/>
                  </a:lnTo>
                  <a:lnTo>
                    <a:pt x="1734" y="988"/>
                  </a:lnTo>
                  <a:lnTo>
                    <a:pt x="1734" y="1000"/>
                  </a:lnTo>
                  <a:lnTo>
                    <a:pt x="1734" y="1011"/>
                  </a:lnTo>
                  <a:lnTo>
                    <a:pt x="1772" y="1028"/>
                  </a:lnTo>
                  <a:lnTo>
                    <a:pt x="1730" y="1028"/>
                  </a:lnTo>
                  <a:lnTo>
                    <a:pt x="1751" y="1049"/>
                  </a:lnTo>
                  <a:lnTo>
                    <a:pt x="1760" y="1066"/>
                  </a:lnTo>
                  <a:lnTo>
                    <a:pt x="1734" y="1082"/>
                  </a:lnTo>
                  <a:lnTo>
                    <a:pt x="1734" y="1082"/>
                  </a:lnTo>
                  <a:lnTo>
                    <a:pt x="1734" y="1082"/>
                  </a:lnTo>
                  <a:close/>
                  <a:moveTo>
                    <a:pt x="3504" y="978"/>
                  </a:moveTo>
                  <a:lnTo>
                    <a:pt x="3525" y="988"/>
                  </a:lnTo>
                  <a:lnTo>
                    <a:pt x="3508" y="995"/>
                  </a:lnTo>
                  <a:lnTo>
                    <a:pt x="3487" y="988"/>
                  </a:lnTo>
                  <a:lnTo>
                    <a:pt x="3504" y="978"/>
                  </a:lnTo>
                  <a:lnTo>
                    <a:pt x="3504" y="978"/>
                  </a:lnTo>
                  <a:lnTo>
                    <a:pt x="3504" y="978"/>
                  </a:lnTo>
                  <a:close/>
                  <a:moveTo>
                    <a:pt x="3201" y="978"/>
                  </a:moveTo>
                  <a:lnTo>
                    <a:pt x="3208" y="988"/>
                  </a:lnTo>
                  <a:lnTo>
                    <a:pt x="3185" y="978"/>
                  </a:lnTo>
                  <a:lnTo>
                    <a:pt x="3201" y="978"/>
                  </a:lnTo>
                  <a:lnTo>
                    <a:pt x="3201" y="978"/>
                  </a:lnTo>
                  <a:lnTo>
                    <a:pt x="3201" y="978"/>
                  </a:lnTo>
                  <a:close/>
                  <a:moveTo>
                    <a:pt x="2592" y="995"/>
                  </a:moveTo>
                  <a:lnTo>
                    <a:pt x="2596" y="1000"/>
                  </a:lnTo>
                  <a:lnTo>
                    <a:pt x="2570" y="1000"/>
                  </a:lnTo>
                  <a:lnTo>
                    <a:pt x="2592" y="995"/>
                  </a:lnTo>
                  <a:lnTo>
                    <a:pt x="2592" y="995"/>
                  </a:lnTo>
                  <a:lnTo>
                    <a:pt x="2592" y="995"/>
                  </a:lnTo>
                  <a:close/>
                  <a:moveTo>
                    <a:pt x="1911" y="1000"/>
                  </a:moveTo>
                  <a:lnTo>
                    <a:pt x="1895" y="995"/>
                  </a:lnTo>
                  <a:lnTo>
                    <a:pt x="1923" y="995"/>
                  </a:lnTo>
                  <a:lnTo>
                    <a:pt x="1911" y="1000"/>
                  </a:lnTo>
                  <a:lnTo>
                    <a:pt x="1911" y="1000"/>
                  </a:lnTo>
                  <a:lnTo>
                    <a:pt x="1911" y="1000"/>
                  </a:lnTo>
                  <a:close/>
                  <a:moveTo>
                    <a:pt x="3818" y="1267"/>
                  </a:moveTo>
                  <a:lnTo>
                    <a:pt x="3881" y="1255"/>
                  </a:lnTo>
                  <a:lnTo>
                    <a:pt x="3848" y="1238"/>
                  </a:lnTo>
                  <a:lnTo>
                    <a:pt x="3903" y="1233"/>
                  </a:lnTo>
                  <a:lnTo>
                    <a:pt x="3924" y="1215"/>
                  </a:lnTo>
                  <a:lnTo>
                    <a:pt x="3962" y="1222"/>
                  </a:lnTo>
                  <a:lnTo>
                    <a:pt x="3945" y="1215"/>
                  </a:lnTo>
                  <a:lnTo>
                    <a:pt x="4000" y="1193"/>
                  </a:lnTo>
                  <a:lnTo>
                    <a:pt x="4054" y="1210"/>
                  </a:lnTo>
                  <a:lnTo>
                    <a:pt x="4120" y="1193"/>
                  </a:lnTo>
                  <a:lnTo>
                    <a:pt x="4172" y="1193"/>
                  </a:lnTo>
                  <a:lnTo>
                    <a:pt x="4196" y="1198"/>
                  </a:lnTo>
                  <a:lnTo>
                    <a:pt x="4189" y="1215"/>
                  </a:lnTo>
                  <a:lnTo>
                    <a:pt x="4243" y="1215"/>
                  </a:lnTo>
                  <a:lnTo>
                    <a:pt x="4281" y="1233"/>
                  </a:lnTo>
                  <a:lnTo>
                    <a:pt x="4248" y="1250"/>
                  </a:lnTo>
                  <a:lnTo>
                    <a:pt x="4314" y="1250"/>
                  </a:lnTo>
                  <a:lnTo>
                    <a:pt x="4302" y="1250"/>
                  </a:lnTo>
                  <a:lnTo>
                    <a:pt x="4314" y="1267"/>
                  </a:lnTo>
                  <a:lnTo>
                    <a:pt x="4302" y="1271"/>
                  </a:lnTo>
                  <a:lnTo>
                    <a:pt x="4318" y="1271"/>
                  </a:lnTo>
                  <a:lnTo>
                    <a:pt x="4314" y="1288"/>
                  </a:lnTo>
                  <a:lnTo>
                    <a:pt x="4248" y="1304"/>
                  </a:lnTo>
                  <a:lnTo>
                    <a:pt x="4264" y="1309"/>
                  </a:lnTo>
                  <a:lnTo>
                    <a:pt x="4259" y="1321"/>
                  </a:lnTo>
                  <a:lnTo>
                    <a:pt x="4302" y="1309"/>
                  </a:lnTo>
                  <a:lnTo>
                    <a:pt x="4323" y="1326"/>
                  </a:lnTo>
                  <a:lnTo>
                    <a:pt x="4281" y="1342"/>
                  </a:lnTo>
                  <a:lnTo>
                    <a:pt x="4259" y="1321"/>
                  </a:lnTo>
                  <a:lnTo>
                    <a:pt x="4248" y="1326"/>
                  </a:lnTo>
                  <a:lnTo>
                    <a:pt x="4271" y="1333"/>
                  </a:lnTo>
                  <a:lnTo>
                    <a:pt x="4264" y="1378"/>
                  </a:lnTo>
                  <a:lnTo>
                    <a:pt x="4196" y="1378"/>
                  </a:lnTo>
                  <a:lnTo>
                    <a:pt x="4151" y="1387"/>
                  </a:lnTo>
                  <a:lnTo>
                    <a:pt x="4070" y="1378"/>
                  </a:lnTo>
                  <a:lnTo>
                    <a:pt x="4054" y="1359"/>
                  </a:lnTo>
                  <a:lnTo>
                    <a:pt x="4066" y="1342"/>
                  </a:lnTo>
                  <a:lnTo>
                    <a:pt x="4066" y="1333"/>
                  </a:lnTo>
                  <a:lnTo>
                    <a:pt x="4033" y="1326"/>
                  </a:lnTo>
                  <a:lnTo>
                    <a:pt x="4033" y="1333"/>
                  </a:lnTo>
                  <a:lnTo>
                    <a:pt x="4049" y="1342"/>
                  </a:lnTo>
                  <a:lnTo>
                    <a:pt x="4033" y="1378"/>
                  </a:lnTo>
                  <a:lnTo>
                    <a:pt x="3978" y="1382"/>
                  </a:lnTo>
                  <a:lnTo>
                    <a:pt x="3936" y="1382"/>
                  </a:lnTo>
                  <a:lnTo>
                    <a:pt x="3924" y="1359"/>
                  </a:lnTo>
                  <a:lnTo>
                    <a:pt x="3924" y="1366"/>
                  </a:lnTo>
                  <a:lnTo>
                    <a:pt x="3924" y="1382"/>
                  </a:lnTo>
                  <a:lnTo>
                    <a:pt x="3910" y="1382"/>
                  </a:lnTo>
                  <a:lnTo>
                    <a:pt x="3903" y="1382"/>
                  </a:lnTo>
                  <a:lnTo>
                    <a:pt x="3886" y="1359"/>
                  </a:lnTo>
                  <a:lnTo>
                    <a:pt x="3893" y="1378"/>
                  </a:lnTo>
                  <a:lnTo>
                    <a:pt x="3886" y="1382"/>
                  </a:lnTo>
                  <a:lnTo>
                    <a:pt x="3848" y="1387"/>
                  </a:lnTo>
                  <a:lnTo>
                    <a:pt x="3848" y="1378"/>
                  </a:lnTo>
                  <a:lnTo>
                    <a:pt x="3839" y="1366"/>
                  </a:lnTo>
                  <a:lnTo>
                    <a:pt x="3827" y="1387"/>
                  </a:lnTo>
                  <a:lnTo>
                    <a:pt x="3801" y="1366"/>
                  </a:lnTo>
                  <a:lnTo>
                    <a:pt x="3811" y="1387"/>
                  </a:lnTo>
                  <a:lnTo>
                    <a:pt x="3676" y="1382"/>
                  </a:lnTo>
                  <a:lnTo>
                    <a:pt x="3676" y="1366"/>
                  </a:lnTo>
                  <a:lnTo>
                    <a:pt x="3693" y="1342"/>
                  </a:lnTo>
                  <a:lnTo>
                    <a:pt x="3676" y="1326"/>
                  </a:lnTo>
                  <a:lnTo>
                    <a:pt x="3655" y="1359"/>
                  </a:lnTo>
                  <a:lnTo>
                    <a:pt x="3655" y="1342"/>
                  </a:lnTo>
                  <a:lnTo>
                    <a:pt x="3638" y="1333"/>
                  </a:lnTo>
                  <a:lnTo>
                    <a:pt x="3650" y="1342"/>
                  </a:lnTo>
                  <a:lnTo>
                    <a:pt x="3638" y="1349"/>
                  </a:lnTo>
                  <a:lnTo>
                    <a:pt x="3622" y="1349"/>
                  </a:lnTo>
                  <a:lnTo>
                    <a:pt x="3638" y="1359"/>
                  </a:lnTo>
                  <a:lnTo>
                    <a:pt x="3638" y="1366"/>
                  </a:lnTo>
                  <a:lnTo>
                    <a:pt x="3612" y="1378"/>
                  </a:lnTo>
                  <a:lnTo>
                    <a:pt x="3579" y="1382"/>
                  </a:lnTo>
                  <a:lnTo>
                    <a:pt x="3532" y="1366"/>
                  </a:lnTo>
                  <a:lnTo>
                    <a:pt x="3525" y="1349"/>
                  </a:lnTo>
                  <a:lnTo>
                    <a:pt x="3504" y="1359"/>
                  </a:lnTo>
                  <a:lnTo>
                    <a:pt x="3525" y="1326"/>
                  </a:lnTo>
                  <a:lnTo>
                    <a:pt x="3494" y="1349"/>
                  </a:lnTo>
                  <a:lnTo>
                    <a:pt x="3504" y="1366"/>
                  </a:lnTo>
                  <a:lnTo>
                    <a:pt x="3470" y="1366"/>
                  </a:lnTo>
                  <a:lnTo>
                    <a:pt x="3433" y="1342"/>
                  </a:lnTo>
                  <a:lnTo>
                    <a:pt x="3440" y="1326"/>
                  </a:lnTo>
                  <a:lnTo>
                    <a:pt x="3423" y="1304"/>
                  </a:lnTo>
                  <a:lnTo>
                    <a:pt x="3440" y="1292"/>
                  </a:lnTo>
                  <a:lnTo>
                    <a:pt x="3433" y="1288"/>
                  </a:lnTo>
                  <a:lnTo>
                    <a:pt x="3402" y="1276"/>
                  </a:lnTo>
                  <a:lnTo>
                    <a:pt x="3407" y="1250"/>
                  </a:lnTo>
                  <a:lnTo>
                    <a:pt x="3440" y="1222"/>
                  </a:lnTo>
                  <a:lnTo>
                    <a:pt x="3423" y="1210"/>
                  </a:lnTo>
                  <a:lnTo>
                    <a:pt x="3433" y="1181"/>
                  </a:lnTo>
                  <a:lnTo>
                    <a:pt x="3395" y="1165"/>
                  </a:lnTo>
                  <a:lnTo>
                    <a:pt x="3395" y="1155"/>
                  </a:lnTo>
                  <a:lnTo>
                    <a:pt x="3364" y="1111"/>
                  </a:lnTo>
                  <a:lnTo>
                    <a:pt x="3310" y="1127"/>
                  </a:lnTo>
                  <a:lnTo>
                    <a:pt x="3201" y="1127"/>
                  </a:lnTo>
                  <a:lnTo>
                    <a:pt x="3201" y="1122"/>
                  </a:lnTo>
                  <a:lnTo>
                    <a:pt x="3239" y="1122"/>
                  </a:lnTo>
                  <a:lnTo>
                    <a:pt x="3170" y="1106"/>
                  </a:lnTo>
                  <a:lnTo>
                    <a:pt x="3147" y="1087"/>
                  </a:lnTo>
                  <a:lnTo>
                    <a:pt x="3185" y="1070"/>
                  </a:lnTo>
                  <a:lnTo>
                    <a:pt x="3154" y="1082"/>
                  </a:lnTo>
                  <a:lnTo>
                    <a:pt x="3095" y="1054"/>
                  </a:lnTo>
                  <a:lnTo>
                    <a:pt x="3100" y="1044"/>
                  </a:lnTo>
                  <a:lnTo>
                    <a:pt x="3133" y="1054"/>
                  </a:lnTo>
                  <a:lnTo>
                    <a:pt x="3100" y="1033"/>
                  </a:lnTo>
                  <a:lnTo>
                    <a:pt x="3095" y="1028"/>
                  </a:lnTo>
                  <a:lnTo>
                    <a:pt x="3109" y="1028"/>
                  </a:lnTo>
                  <a:lnTo>
                    <a:pt x="3100" y="1016"/>
                  </a:lnTo>
                  <a:lnTo>
                    <a:pt x="3180" y="1011"/>
                  </a:lnTo>
                  <a:lnTo>
                    <a:pt x="3277" y="1033"/>
                  </a:lnTo>
                  <a:lnTo>
                    <a:pt x="3315" y="1028"/>
                  </a:lnTo>
                  <a:lnTo>
                    <a:pt x="3352" y="1054"/>
                  </a:lnTo>
                  <a:lnTo>
                    <a:pt x="3348" y="1087"/>
                  </a:lnTo>
                  <a:lnTo>
                    <a:pt x="3326" y="1099"/>
                  </a:lnTo>
                  <a:lnTo>
                    <a:pt x="3331" y="1111"/>
                  </a:lnTo>
                  <a:lnTo>
                    <a:pt x="3364" y="1070"/>
                  </a:lnTo>
                  <a:lnTo>
                    <a:pt x="3508" y="1070"/>
                  </a:lnTo>
                  <a:lnTo>
                    <a:pt x="3546" y="1099"/>
                  </a:lnTo>
                  <a:lnTo>
                    <a:pt x="3470" y="1087"/>
                  </a:lnTo>
                  <a:lnTo>
                    <a:pt x="3633" y="1127"/>
                  </a:lnTo>
                  <a:lnTo>
                    <a:pt x="3546" y="1144"/>
                  </a:lnTo>
                  <a:lnTo>
                    <a:pt x="3570" y="1144"/>
                  </a:lnTo>
                  <a:lnTo>
                    <a:pt x="3461" y="1127"/>
                  </a:lnTo>
                  <a:lnTo>
                    <a:pt x="3532" y="1155"/>
                  </a:lnTo>
                  <a:lnTo>
                    <a:pt x="3515" y="1160"/>
                  </a:lnTo>
                  <a:lnTo>
                    <a:pt x="3563" y="1160"/>
                  </a:lnTo>
                  <a:lnTo>
                    <a:pt x="3494" y="1160"/>
                  </a:lnTo>
                  <a:lnTo>
                    <a:pt x="3508" y="1177"/>
                  </a:lnTo>
                  <a:lnTo>
                    <a:pt x="3504" y="1177"/>
                  </a:lnTo>
                  <a:lnTo>
                    <a:pt x="3504" y="1193"/>
                  </a:lnTo>
                  <a:lnTo>
                    <a:pt x="3525" y="1165"/>
                  </a:lnTo>
                  <a:lnTo>
                    <a:pt x="3546" y="1165"/>
                  </a:lnTo>
                  <a:lnTo>
                    <a:pt x="3541" y="1181"/>
                  </a:lnTo>
                  <a:lnTo>
                    <a:pt x="3579" y="1165"/>
                  </a:lnTo>
                  <a:lnTo>
                    <a:pt x="3600" y="1181"/>
                  </a:lnTo>
                  <a:lnTo>
                    <a:pt x="3596" y="1198"/>
                  </a:lnTo>
                  <a:lnTo>
                    <a:pt x="3612" y="1181"/>
                  </a:lnTo>
                  <a:lnTo>
                    <a:pt x="3633" y="1198"/>
                  </a:lnTo>
                  <a:lnTo>
                    <a:pt x="3633" y="1222"/>
                  </a:lnTo>
                  <a:lnTo>
                    <a:pt x="3596" y="1233"/>
                  </a:lnTo>
                  <a:lnTo>
                    <a:pt x="3612" y="1233"/>
                  </a:lnTo>
                  <a:lnTo>
                    <a:pt x="3600" y="1233"/>
                  </a:lnTo>
                  <a:lnTo>
                    <a:pt x="3633" y="1222"/>
                  </a:lnTo>
                  <a:lnTo>
                    <a:pt x="3650" y="1250"/>
                  </a:lnTo>
                  <a:lnTo>
                    <a:pt x="3667" y="1250"/>
                  </a:lnTo>
                  <a:lnTo>
                    <a:pt x="3655" y="1222"/>
                  </a:lnTo>
                  <a:lnTo>
                    <a:pt x="3667" y="1215"/>
                  </a:lnTo>
                  <a:lnTo>
                    <a:pt x="3704" y="1233"/>
                  </a:lnTo>
                  <a:lnTo>
                    <a:pt x="3704" y="1238"/>
                  </a:lnTo>
                  <a:lnTo>
                    <a:pt x="3742" y="1233"/>
                  </a:lnTo>
                  <a:lnTo>
                    <a:pt x="3759" y="1238"/>
                  </a:lnTo>
                  <a:lnTo>
                    <a:pt x="3747" y="1250"/>
                  </a:lnTo>
                  <a:lnTo>
                    <a:pt x="3759" y="1238"/>
                  </a:lnTo>
                  <a:lnTo>
                    <a:pt x="3759" y="1233"/>
                  </a:lnTo>
                  <a:lnTo>
                    <a:pt x="3763" y="1222"/>
                  </a:lnTo>
                  <a:lnTo>
                    <a:pt x="3773" y="1222"/>
                  </a:lnTo>
                  <a:lnTo>
                    <a:pt x="3834" y="1250"/>
                  </a:lnTo>
                  <a:lnTo>
                    <a:pt x="3818" y="1267"/>
                  </a:lnTo>
                  <a:lnTo>
                    <a:pt x="3818" y="1267"/>
                  </a:lnTo>
                  <a:lnTo>
                    <a:pt x="3818" y="1267"/>
                  </a:lnTo>
                  <a:close/>
                  <a:moveTo>
                    <a:pt x="3071" y="1011"/>
                  </a:moveTo>
                  <a:lnTo>
                    <a:pt x="3078" y="1016"/>
                  </a:lnTo>
                  <a:lnTo>
                    <a:pt x="3057" y="1016"/>
                  </a:lnTo>
                  <a:lnTo>
                    <a:pt x="3071" y="1011"/>
                  </a:lnTo>
                  <a:lnTo>
                    <a:pt x="3071" y="1011"/>
                  </a:lnTo>
                  <a:lnTo>
                    <a:pt x="3071" y="1011"/>
                  </a:lnTo>
                  <a:close/>
                  <a:moveTo>
                    <a:pt x="2230" y="1028"/>
                  </a:moveTo>
                  <a:lnTo>
                    <a:pt x="2235" y="1033"/>
                  </a:lnTo>
                  <a:lnTo>
                    <a:pt x="2219" y="1028"/>
                  </a:lnTo>
                  <a:lnTo>
                    <a:pt x="2230" y="1028"/>
                  </a:lnTo>
                  <a:lnTo>
                    <a:pt x="2230" y="1028"/>
                  </a:lnTo>
                  <a:lnTo>
                    <a:pt x="2230" y="1028"/>
                  </a:lnTo>
                  <a:close/>
                  <a:moveTo>
                    <a:pt x="1890" y="1066"/>
                  </a:moveTo>
                  <a:lnTo>
                    <a:pt x="1836" y="1049"/>
                  </a:lnTo>
                  <a:lnTo>
                    <a:pt x="1852" y="1033"/>
                  </a:lnTo>
                  <a:lnTo>
                    <a:pt x="1907" y="1033"/>
                  </a:lnTo>
                  <a:lnTo>
                    <a:pt x="1933" y="1049"/>
                  </a:lnTo>
                  <a:lnTo>
                    <a:pt x="1890" y="1066"/>
                  </a:lnTo>
                  <a:lnTo>
                    <a:pt x="1890" y="1066"/>
                  </a:lnTo>
                  <a:lnTo>
                    <a:pt x="1890" y="1066"/>
                  </a:lnTo>
                  <a:close/>
                  <a:moveTo>
                    <a:pt x="3078" y="1044"/>
                  </a:moveTo>
                  <a:lnTo>
                    <a:pt x="3083" y="1044"/>
                  </a:lnTo>
                  <a:lnTo>
                    <a:pt x="3071" y="1044"/>
                  </a:lnTo>
                  <a:lnTo>
                    <a:pt x="3078" y="1044"/>
                  </a:lnTo>
                  <a:lnTo>
                    <a:pt x="3078" y="1044"/>
                  </a:lnTo>
                  <a:lnTo>
                    <a:pt x="3078" y="1044"/>
                  </a:lnTo>
                  <a:close/>
                  <a:moveTo>
                    <a:pt x="2058" y="1309"/>
                  </a:moveTo>
                  <a:lnTo>
                    <a:pt x="2112" y="1276"/>
                  </a:lnTo>
                  <a:lnTo>
                    <a:pt x="2004" y="1292"/>
                  </a:lnTo>
                  <a:lnTo>
                    <a:pt x="2015" y="1276"/>
                  </a:lnTo>
                  <a:lnTo>
                    <a:pt x="1987" y="1288"/>
                  </a:lnTo>
                  <a:lnTo>
                    <a:pt x="1987" y="1271"/>
                  </a:lnTo>
                  <a:lnTo>
                    <a:pt x="1982" y="1292"/>
                  </a:lnTo>
                  <a:lnTo>
                    <a:pt x="1978" y="1292"/>
                  </a:lnTo>
                  <a:lnTo>
                    <a:pt x="1895" y="1304"/>
                  </a:lnTo>
                  <a:lnTo>
                    <a:pt x="1895" y="1292"/>
                  </a:lnTo>
                  <a:lnTo>
                    <a:pt x="1907" y="1267"/>
                  </a:lnTo>
                  <a:lnTo>
                    <a:pt x="1944" y="1255"/>
                  </a:lnTo>
                  <a:lnTo>
                    <a:pt x="1895" y="1255"/>
                  </a:lnTo>
                  <a:lnTo>
                    <a:pt x="1890" y="1250"/>
                  </a:lnTo>
                  <a:lnTo>
                    <a:pt x="1890" y="1267"/>
                  </a:lnTo>
                  <a:lnTo>
                    <a:pt x="1878" y="1276"/>
                  </a:lnTo>
                  <a:lnTo>
                    <a:pt x="1852" y="1271"/>
                  </a:lnTo>
                  <a:lnTo>
                    <a:pt x="1874" y="1288"/>
                  </a:lnTo>
                  <a:lnTo>
                    <a:pt x="1869" y="1304"/>
                  </a:lnTo>
                  <a:lnTo>
                    <a:pt x="1819" y="1321"/>
                  </a:lnTo>
                  <a:lnTo>
                    <a:pt x="1815" y="1309"/>
                  </a:lnTo>
                  <a:lnTo>
                    <a:pt x="1815" y="1292"/>
                  </a:lnTo>
                  <a:lnTo>
                    <a:pt x="1803" y="1288"/>
                  </a:lnTo>
                  <a:lnTo>
                    <a:pt x="1798" y="1292"/>
                  </a:lnTo>
                  <a:lnTo>
                    <a:pt x="1782" y="1292"/>
                  </a:lnTo>
                  <a:lnTo>
                    <a:pt x="1789" y="1309"/>
                  </a:lnTo>
                  <a:lnTo>
                    <a:pt x="1772" y="1321"/>
                  </a:lnTo>
                  <a:lnTo>
                    <a:pt x="1744" y="1304"/>
                  </a:lnTo>
                  <a:lnTo>
                    <a:pt x="1734" y="1292"/>
                  </a:lnTo>
                  <a:lnTo>
                    <a:pt x="1734" y="1276"/>
                  </a:lnTo>
                  <a:lnTo>
                    <a:pt x="1706" y="1292"/>
                  </a:lnTo>
                  <a:lnTo>
                    <a:pt x="1637" y="1276"/>
                  </a:lnTo>
                  <a:lnTo>
                    <a:pt x="1663" y="1238"/>
                  </a:lnTo>
                  <a:lnTo>
                    <a:pt x="1751" y="1238"/>
                  </a:lnTo>
                  <a:lnTo>
                    <a:pt x="1826" y="1210"/>
                  </a:lnTo>
                  <a:lnTo>
                    <a:pt x="1730" y="1233"/>
                  </a:lnTo>
                  <a:lnTo>
                    <a:pt x="1663" y="1222"/>
                  </a:lnTo>
                  <a:lnTo>
                    <a:pt x="1696" y="1198"/>
                  </a:lnTo>
                  <a:lnTo>
                    <a:pt x="1836" y="1181"/>
                  </a:lnTo>
                  <a:lnTo>
                    <a:pt x="1706" y="1177"/>
                  </a:lnTo>
                  <a:lnTo>
                    <a:pt x="1718" y="1165"/>
                  </a:lnTo>
                  <a:lnTo>
                    <a:pt x="1706" y="1160"/>
                  </a:lnTo>
                  <a:lnTo>
                    <a:pt x="1713" y="1155"/>
                  </a:lnTo>
                  <a:lnTo>
                    <a:pt x="1734" y="1139"/>
                  </a:lnTo>
                  <a:lnTo>
                    <a:pt x="1852" y="1144"/>
                  </a:lnTo>
                  <a:lnTo>
                    <a:pt x="1760" y="1122"/>
                  </a:lnTo>
                  <a:lnTo>
                    <a:pt x="1789" y="1099"/>
                  </a:lnTo>
                  <a:lnTo>
                    <a:pt x="1826" y="1087"/>
                  </a:lnTo>
                  <a:lnTo>
                    <a:pt x="1878" y="1099"/>
                  </a:lnTo>
                  <a:lnTo>
                    <a:pt x="1878" y="1122"/>
                  </a:lnTo>
                  <a:lnTo>
                    <a:pt x="1895" y="1139"/>
                  </a:lnTo>
                  <a:lnTo>
                    <a:pt x="1966" y="1127"/>
                  </a:lnTo>
                  <a:lnTo>
                    <a:pt x="2004" y="1139"/>
                  </a:lnTo>
                  <a:lnTo>
                    <a:pt x="1999" y="1155"/>
                  </a:lnTo>
                  <a:lnTo>
                    <a:pt x="2004" y="1160"/>
                  </a:lnTo>
                  <a:lnTo>
                    <a:pt x="2053" y="1177"/>
                  </a:lnTo>
                  <a:lnTo>
                    <a:pt x="2020" y="1193"/>
                  </a:lnTo>
                  <a:lnTo>
                    <a:pt x="2074" y="1193"/>
                  </a:lnTo>
                  <a:lnTo>
                    <a:pt x="2084" y="1210"/>
                  </a:lnTo>
                  <a:lnTo>
                    <a:pt x="2074" y="1222"/>
                  </a:lnTo>
                  <a:lnTo>
                    <a:pt x="2091" y="1238"/>
                  </a:lnTo>
                  <a:lnTo>
                    <a:pt x="2143" y="1233"/>
                  </a:lnTo>
                  <a:lnTo>
                    <a:pt x="2252" y="1238"/>
                  </a:lnTo>
                  <a:lnTo>
                    <a:pt x="2263" y="1215"/>
                  </a:lnTo>
                  <a:lnTo>
                    <a:pt x="2167" y="1181"/>
                  </a:lnTo>
                  <a:lnTo>
                    <a:pt x="2197" y="1177"/>
                  </a:lnTo>
                  <a:lnTo>
                    <a:pt x="2219" y="1155"/>
                  </a:lnTo>
                  <a:lnTo>
                    <a:pt x="2155" y="1122"/>
                  </a:lnTo>
                  <a:lnTo>
                    <a:pt x="2143" y="1106"/>
                  </a:lnTo>
                  <a:lnTo>
                    <a:pt x="2197" y="1087"/>
                  </a:lnTo>
                  <a:lnTo>
                    <a:pt x="2181" y="1087"/>
                  </a:lnTo>
                  <a:lnTo>
                    <a:pt x="2219" y="1049"/>
                  </a:lnTo>
                  <a:lnTo>
                    <a:pt x="2263" y="1044"/>
                  </a:lnTo>
                  <a:lnTo>
                    <a:pt x="2285" y="1054"/>
                  </a:lnTo>
                  <a:lnTo>
                    <a:pt x="2268" y="1070"/>
                  </a:lnTo>
                  <a:lnTo>
                    <a:pt x="2273" y="1106"/>
                  </a:lnTo>
                  <a:lnTo>
                    <a:pt x="2306" y="1122"/>
                  </a:lnTo>
                  <a:lnTo>
                    <a:pt x="2285" y="1144"/>
                  </a:lnTo>
                  <a:lnTo>
                    <a:pt x="2289" y="1160"/>
                  </a:lnTo>
                  <a:lnTo>
                    <a:pt x="2327" y="1160"/>
                  </a:lnTo>
                  <a:lnTo>
                    <a:pt x="2344" y="1165"/>
                  </a:lnTo>
                  <a:lnTo>
                    <a:pt x="2318" y="1198"/>
                  </a:lnTo>
                  <a:lnTo>
                    <a:pt x="2339" y="1181"/>
                  </a:lnTo>
                  <a:lnTo>
                    <a:pt x="2377" y="1181"/>
                  </a:lnTo>
                  <a:lnTo>
                    <a:pt x="2393" y="1210"/>
                  </a:lnTo>
                  <a:lnTo>
                    <a:pt x="2415" y="1198"/>
                  </a:lnTo>
                  <a:lnTo>
                    <a:pt x="2393" y="1193"/>
                  </a:lnTo>
                  <a:lnTo>
                    <a:pt x="2393" y="1165"/>
                  </a:lnTo>
                  <a:lnTo>
                    <a:pt x="2431" y="1160"/>
                  </a:lnTo>
                  <a:lnTo>
                    <a:pt x="2483" y="1177"/>
                  </a:lnTo>
                  <a:lnTo>
                    <a:pt x="2490" y="1193"/>
                  </a:lnTo>
                  <a:lnTo>
                    <a:pt x="2500" y="1215"/>
                  </a:lnTo>
                  <a:lnTo>
                    <a:pt x="2478" y="1238"/>
                  </a:lnTo>
                  <a:lnTo>
                    <a:pt x="2483" y="1250"/>
                  </a:lnTo>
                  <a:lnTo>
                    <a:pt x="2478" y="1267"/>
                  </a:lnTo>
                  <a:lnTo>
                    <a:pt x="2462" y="1276"/>
                  </a:lnTo>
                  <a:lnTo>
                    <a:pt x="2462" y="1292"/>
                  </a:lnTo>
                  <a:lnTo>
                    <a:pt x="2452" y="1292"/>
                  </a:lnTo>
                  <a:lnTo>
                    <a:pt x="2452" y="1304"/>
                  </a:lnTo>
                  <a:lnTo>
                    <a:pt x="2393" y="1326"/>
                  </a:lnTo>
                  <a:lnTo>
                    <a:pt x="2339" y="1321"/>
                  </a:lnTo>
                  <a:lnTo>
                    <a:pt x="2327" y="1292"/>
                  </a:lnTo>
                  <a:lnTo>
                    <a:pt x="2322" y="1321"/>
                  </a:lnTo>
                  <a:lnTo>
                    <a:pt x="2289" y="1326"/>
                  </a:lnTo>
                  <a:lnTo>
                    <a:pt x="2263" y="1309"/>
                  </a:lnTo>
                  <a:lnTo>
                    <a:pt x="2285" y="1321"/>
                  </a:lnTo>
                  <a:lnTo>
                    <a:pt x="2263" y="1304"/>
                  </a:lnTo>
                  <a:lnTo>
                    <a:pt x="2209" y="1333"/>
                  </a:lnTo>
                  <a:lnTo>
                    <a:pt x="2155" y="1333"/>
                  </a:lnTo>
                  <a:lnTo>
                    <a:pt x="2122" y="1359"/>
                  </a:lnTo>
                  <a:lnTo>
                    <a:pt x="2058" y="1382"/>
                  </a:lnTo>
                  <a:lnTo>
                    <a:pt x="1982" y="1399"/>
                  </a:lnTo>
                  <a:lnTo>
                    <a:pt x="1911" y="1387"/>
                  </a:lnTo>
                  <a:lnTo>
                    <a:pt x="1869" y="1359"/>
                  </a:lnTo>
                  <a:lnTo>
                    <a:pt x="1978" y="1321"/>
                  </a:lnTo>
                  <a:lnTo>
                    <a:pt x="2058" y="1309"/>
                  </a:lnTo>
                  <a:lnTo>
                    <a:pt x="2058" y="1309"/>
                  </a:lnTo>
                  <a:lnTo>
                    <a:pt x="2058" y="1309"/>
                  </a:lnTo>
                  <a:close/>
                  <a:moveTo>
                    <a:pt x="3579" y="1099"/>
                  </a:moveTo>
                  <a:lnTo>
                    <a:pt x="3532" y="1054"/>
                  </a:lnTo>
                  <a:lnTo>
                    <a:pt x="3579" y="1044"/>
                  </a:lnTo>
                  <a:lnTo>
                    <a:pt x="3600" y="1054"/>
                  </a:lnTo>
                  <a:lnTo>
                    <a:pt x="3584" y="1070"/>
                  </a:lnTo>
                  <a:lnTo>
                    <a:pt x="3600" y="1087"/>
                  </a:lnTo>
                  <a:lnTo>
                    <a:pt x="3579" y="1099"/>
                  </a:lnTo>
                  <a:lnTo>
                    <a:pt x="3579" y="1099"/>
                  </a:lnTo>
                  <a:lnTo>
                    <a:pt x="3579" y="1099"/>
                  </a:lnTo>
                  <a:close/>
                  <a:moveTo>
                    <a:pt x="2856" y="1054"/>
                  </a:moveTo>
                  <a:lnTo>
                    <a:pt x="2785" y="1082"/>
                  </a:lnTo>
                  <a:lnTo>
                    <a:pt x="2759" y="1082"/>
                  </a:lnTo>
                  <a:lnTo>
                    <a:pt x="2823" y="1054"/>
                  </a:lnTo>
                  <a:lnTo>
                    <a:pt x="2856" y="1054"/>
                  </a:lnTo>
                  <a:lnTo>
                    <a:pt x="2856" y="1054"/>
                  </a:lnTo>
                  <a:lnTo>
                    <a:pt x="2856" y="1054"/>
                  </a:lnTo>
                  <a:close/>
                  <a:moveTo>
                    <a:pt x="1404" y="1054"/>
                  </a:moveTo>
                  <a:lnTo>
                    <a:pt x="1411" y="1054"/>
                  </a:lnTo>
                  <a:lnTo>
                    <a:pt x="1389" y="1054"/>
                  </a:lnTo>
                  <a:lnTo>
                    <a:pt x="1404" y="1054"/>
                  </a:lnTo>
                  <a:lnTo>
                    <a:pt x="1404" y="1054"/>
                  </a:lnTo>
                  <a:lnTo>
                    <a:pt x="1404" y="1054"/>
                  </a:lnTo>
                  <a:close/>
                  <a:moveTo>
                    <a:pt x="2911" y="1054"/>
                  </a:moveTo>
                  <a:lnTo>
                    <a:pt x="2915" y="1066"/>
                  </a:lnTo>
                  <a:lnTo>
                    <a:pt x="2868" y="1054"/>
                  </a:lnTo>
                  <a:lnTo>
                    <a:pt x="2911" y="1054"/>
                  </a:lnTo>
                  <a:lnTo>
                    <a:pt x="2911" y="1054"/>
                  </a:lnTo>
                  <a:lnTo>
                    <a:pt x="2911" y="1054"/>
                  </a:lnTo>
                  <a:close/>
                  <a:moveTo>
                    <a:pt x="2899" y="1155"/>
                  </a:moveTo>
                  <a:lnTo>
                    <a:pt x="2915" y="1144"/>
                  </a:lnTo>
                  <a:lnTo>
                    <a:pt x="2844" y="1139"/>
                  </a:lnTo>
                  <a:lnTo>
                    <a:pt x="2840" y="1127"/>
                  </a:lnTo>
                  <a:lnTo>
                    <a:pt x="2882" y="1122"/>
                  </a:lnTo>
                  <a:lnTo>
                    <a:pt x="2830" y="1111"/>
                  </a:lnTo>
                  <a:lnTo>
                    <a:pt x="2807" y="1087"/>
                  </a:lnTo>
                  <a:lnTo>
                    <a:pt x="2856" y="1070"/>
                  </a:lnTo>
                  <a:lnTo>
                    <a:pt x="2899" y="1070"/>
                  </a:lnTo>
                  <a:lnTo>
                    <a:pt x="2937" y="1106"/>
                  </a:lnTo>
                  <a:lnTo>
                    <a:pt x="2937" y="1099"/>
                  </a:lnTo>
                  <a:lnTo>
                    <a:pt x="2953" y="1106"/>
                  </a:lnTo>
                  <a:lnTo>
                    <a:pt x="2948" y="1087"/>
                  </a:lnTo>
                  <a:lnTo>
                    <a:pt x="2948" y="1070"/>
                  </a:lnTo>
                  <a:lnTo>
                    <a:pt x="2986" y="1070"/>
                  </a:lnTo>
                  <a:lnTo>
                    <a:pt x="2953" y="1066"/>
                  </a:lnTo>
                  <a:lnTo>
                    <a:pt x="2970" y="1066"/>
                  </a:lnTo>
                  <a:lnTo>
                    <a:pt x="3029" y="1087"/>
                  </a:lnTo>
                  <a:lnTo>
                    <a:pt x="3041" y="1106"/>
                  </a:lnTo>
                  <a:lnTo>
                    <a:pt x="3029" y="1111"/>
                  </a:lnTo>
                  <a:lnTo>
                    <a:pt x="3041" y="1127"/>
                  </a:lnTo>
                  <a:lnTo>
                    <a:pt x="3057" y="1144"/>
                  </a:lnTo>
                  <a:lnTo>
                    <a:pt x="3041" y="1165"/>
                  </a:lnTo>
                  <a:lnTo>
                    <a:pt x="3045" y="1193"/>
                  </a:lnTo>
                  <a:lnTo>
                    <a:pt x="3024" y="1210"/>
                  </a:lnTo>
                  <a:lnTo>
                    <a:pt x="3062" y="1215"/>
                  </a:lnTo>
                  <a:lnTo>
                    <a:pt x="3057" y="1238"/>
                  </a:lnTo>
                  <a:lnTo>
                    <a:pt x="3071" y="1255"/>
                  </a:lnTo>
                  <a:lnTo>
                    <a:pt x="3041" y="1233"/>
                  </a:lnTo>
                  <a:lnTo>
                    <a:pt x="3029" y="1233"/>
                  </a:lnTo>
                  <a:lnTo>
                    <a:pt x="3029" y="1250"/>
                  </a:lnTo>
                  <a:lnTo>
                    <a:pt x="3019" y="1238"/>
                  </a:lnTo>
                  <a:lnTo>
                    <a:pt x="3029" y="1250"/>
                  </a:lnTo>
                  <a:lnTo>
                    <a:pt x="3019" y="1255"/>
                  </a:lnTo>
                  <a:lnTo>
                    <a:pt x="3024" y="1255"/>
                  </a:lnTo>
                  <a:lnTo>
                    <a:pt x="3007" y="1255"/>
                  </a:lnTo>
                  <a:lnTo>
                    <a:pt x="3007" y="1271"/>
                  </a:lnTo>
                  <a:lnTo>
                    <a:pt x="3045" y="1288"/>
                  </a:lnTo>
                  <a:lnTo>
                    <a:pt x="3024" y="1292"/>
                  </a:lnTo>
                  <a:lnTo>
                    <a:pt x="3019" y="1276"/>
                  </a:lnTo>
                  <a:lnTo>
                    <a:pt x="3007" y="1288"/>
                  </a:lnTo>
                  <a:lnTo>
                    <a:pt x="3019" y="1292"/>
                  </a:lnTo>
                  <a:lnTo>
                    <a:pt x="3019" y="1309"/>
                  </a:lnTo>
                  <a:lnTo>
                    <a:pt x="2915" y="1309"/>
                  </a:lnTo>
                  <a:lnTo>
                    <a:pt x="2920" y="1292"/>
                  </a:lnTo>
                  <a:lnTo>
                    <a:pt x="2911" y="1309"/>
                  </a:lnTo>
                  <a:lnTo>
                    <a:pt x="2915" y="1309"/>
                  </a:lnTo>
                  <a:lnTo>
                    <a:pt x="2868" y="1309"/>
                  </a:lnTo>
                  <a:lnTo>
                    <a:pt x="2844" y="1309"/>
                  </a:lnTo>
                  <a:lnTo>
                    <a:pt x="2844" y="1288"/>
                  </a:lnTo>
                  <a:lnTo>
                    <a:pt x="2840" y="1288"/>
                  </a:lnTo>
                  <a:lnTo>
                    <a:pt x="2878" y="1276"/>
                  </a:lnTo>
                  <a:lnTo>
                    <a:pt x="2823" y="1267"/>
                  </a:lnTo>
                  <a:lnTo>
                    <a:pt x="2844" y="1255"/>
                  </a:lnTo>
                  <a:lnTo>
                    <a:pt x="2830" y="1250"/>
                  </a:lnTo>
                  <a:lnTo>
                    <a:pt x="2878" y="1250"/>
                  </a:lnTo>
                  <a:lnTo>
                    <a:pt x="2856" y="1238"/>
                  </a:lnTo>
                  <a:lnTo>
                    <a:pt x="2899" y="1222"/>
                  </a:lnTo>
                  <a:lnTo>
                    <a:pt x="2882" y="1222"/>
                  </a:lnTo>
                  <a:lnTo>
                    <a:pt x="2894" y="1215"/>
                  </a:lnTo>
                  <a:lnTo>
                    <a:pt x="2953" y="1210"/>
                  </a:lnTo>
                  <a:lnTo>
                    <a:pt x="2700" y="1238"/>
                  </a:lnTo>
                  <a:lnTo>
                    <a:pt x="2679" y="1222"/>
                  </a:lnTo>
                  <a:lnTo>
                    <a:pt x="2700" y="1210"/>
                  </a:lnTo>
                  <a:lnTo>
                    <a:pt x="2738" y="1210"/>
                  </a:lnTo>
                  <a:lnTo>
                    <a:pt x="2731" y="1198"/>
                  </a:lnTo>
                  <a:lnTo>
                    <a:pt x="2705" y="1198"/>
                  </a:lnTo>
                  <a:lnTo>
                    <a:pt x="2722" y="1181"/>
                  </a:lnTo>
                  <a:lnTo>
                    <a:pt x="2793" y="1198"/>
                  </a:lnTo>
                  <a:lnTo>
                    <a:pt x="2785" y="1198"/>
                  </a:lnTo>
                  <a:lnTo>
                    <a:pt x="2785" y="1193"/>
                  </a:lnTo>
                  <a:lnTo>
                    <a:pt x="2769" y="1177"/>
                  </a:lnTo>
                  <a:lnTo>
                    <a:pt x="2785" y="1160"/>
                  </a:lnTo>
                  <a:lnTo>
                    <a:pt x="2759" y="1165"/>
                  </a:lnTo>
                  <a:lnTo>
                    <a:pt x="2748" y="1155"/>
                  </a:lnTo>
                  <a:lnTo>
                    <a:pt x="2776" y="1127"/>
                  </a:lnTo>
                  <a:lnTo>
                    <a:pt x="2722" y="1127"/>
                  </a:lnTo>
                  <a:lnTo>
                    <a:pt x="2731" y="1127"/>
                  </a:lnTo>
                  <a:lnTo>
                    <a:pt x="2731" y="1106"/>
                  </a:lnTo>
                  <a:lnTo>
                    <a:pt x="2748" y="1099"/>
                  </a:lnTo>
                  <a:lnTo>
                    <a:pt x="2785" y="1106"/>
                  </a:lnTo>
                  <a:lnTo>
                    <a:pt x="2878" y="1181"/>
                  </a:lnTo>
                  <a:lnTo>
                    <a:pt x="2915" y="1165"/>
                  </a:lnTo>
                  <a:lnTo>
                    <a:pt x="2882" y="1177"/>
                  </a:lnTo>
                  <a:lnTo>
                    <a:pt x="2861" y="1144"/>
                  </a:lnTo>
                  <a:lnTo>
                    <a:pt x="2899" y="1155"/>
                  </a:lnTo>
                  <a:lnTo>
                    <a:pt x="2899" y="1155"/>
                  </a:lnTo>
                  <a:lnTo>
                    <a:pt x="2899" y="1155"/>
                  </a:lnTo>
                  <a:close/>
                  <a:moveTo>
                    <a:pt x="2587" y="1066"/>
                  </a:moveTo>
                  <a:lnTo>
                    <a:pt x="2596" y="1070"/>
                  </a:lnTo>
                  <a:lnTo>
                    <a:pt x="2592" y="1082"/>
                  </a:lnTo>
                  <a:lnTo>
                    <a:pt x="2608" y="1070"/>
                  </a:lnTo>
                  <a:lnTo>
                    <a:pt x="2667" y="1106"/>
                  </a:lnTo>
                  <a:lnTo>
                    <a:pt x="2630" y="1122"/>
                  </a:lnTo>
                  <a:lnTo>
                    <a:pt x="2570" y="1122"/>
                  </a:lnTo>
                  <a:lnTo>
                    <a:pt x="2575" y="1111"/>
                  </a:lnTo>
                  <a:lnTo>
                    <a:pt x="2570" y="1099"/>
                  </a:lnTo>
                  <a:lnTo>
                    <a:pt x="2542" y="1082"/>
                  </a:lnTo>
                  <a:lnTo>
                    <a:pt x="2587" y="1066"/>
                  </a:lnTo>
                  <a:lnTo>
                    <a:pt x="2587" y="1066"/>
                  </a:lnTo>
                  <a:lnTo>
                    <a:pt x="2587" y="1066"/>
                  </a:lnTo>
                  <a:close/>
                  <a:moveTo>
                    <a:pt x="3990" y="1087"/>
                  </a:moveTo>
                  <a:lnTo>
                    <a:pt x="4000" y="1099"/>
                  </a:lnTo>
                  <a:lnTo>
                    <a:pt x="3990" y="1099"/>
                  </a:lnTo>
                  <a:lnTo>
                    <a:pt x="3990" y="1087"/>
                  </a:lnTo>
                  <a:lnTo>
                    <a:pt x="3990" y="1087"/>
                  </a:lnTo>
                  <a:lnTo>
                    <a:pt x="3990" y="1087"/>
                  </a:lnTo>
                  <a:close/>
                  <a:moveTo>
                    <a:pt x="3612" y="1099"/>
                  </a:moveTo>
                  <a:lnTo>
                    <a:pt x="3617" y="1099"/>
                  </a:lnTo>
                  <a:lnTo>
                    <a:pt x="3600" y="1099"/>
                  </a:lnTo>
                  <a:lnTo>
                    <a:pt x="3612" y="1099"/>
                  </a:lnTo>
                  <a:lnTo>
                    <a:pt x="3612" y="1099"/>
                  </a:lnTo>
                  <a:lnTo>
                    <a:pt x="3612" y="1099"/>
                  </a:lnTo>
                  <a:close/>
                  <a:moveTo>
                    <a:pt x="2693" y="1122"/>
                  </a:moveTo>
                  <a:lnTo>
                    <a:pt x="2700" y="1139"/>
                  </a:lnTo>
                  <a:lnTo>
                    <a:pt x="2693" y="1144"/>
                  </a:lnTo>
                  <a:lnTo>
                    <a:pt x="2646" y="1160"/>
                  </a:lnTo>
                  <a:lnTo>
                    <a:pt x="2596" y="1160"/>
                  </a:lnTo>
                  <a:lnTo>
                    <a:pt x="2608" y="1160"/>
                  </a:lnTo>
                  <a:lnTo>
                    <a:pt x="2559" y="1144"/>
                  </a:lnTo>
                  <a:lnTo>
                    <a:pt x="2575" y="1139"/>
                  </a:lnTo>
                  <a:lnTo>
                    <a:pt x="2693" y="1122"/>
                  </a:lnTo>
                  <a:lnTo>
                    <a:pt x="2693" y="1122"/>
                  </a:lnTo>
                  <a:lnTo>
                    <a:pt x="2693" y="1122"/>
                  </a:lnTo>
                  <a:close/>
                  <a:moveTo>
                    <a:pt x="3239" y="1144"/>
                  </a:moveTo>
                  <a:lnTo>
                    <a:pt x="3234" y="1160"/>
                  </a:lnTo>
                  <a:lnTo>
                    <a:pt x="3218" y="1155"/>
                  </a:lnTo>
                  <a:lnTo>
                    <a:pt x="3239" y="1144"/>
                  </a:lnTo>
                  <a:lnTo>
                    <a:pt x="3239" y="1144"/>
                  </a:lnTo>
                  <a:lnTo>
                    <a:pt x="3239" y="1144"/>
                  </a:lnTo>
                  <a:close/>
                  <a:moveTo>
                    <a:pt x="4356" y="1155"/>
                  </a:moveTo>
                  <a:lnTo>
                    <a:pt x="4368" y="1155"/>
                  </a:lnTo>
                  <a:lnTo>
                    <a:pt x="4335" y="1177"/>
                  </a:lnTo>
                  <a:lnTo>
                    <a:pt x="4356" y="1193"/>
                  </a:lnTo>
                  <a:lnTo>
                    <a:pt x="4323" y="1181"/>
                  </a:lnTo>
                  <a:lnTo>
                    <a:pt x="4318" y="1193"/>
                  </a:lnTo>
                  <a:lnTo>
                    <a:pt x="4297" y="1181"/>
                  </a:lnTo>
                  <a:lnTo>
                    <a:pt x="4356" y="1155"/>
                  </a:lnTo>
                  <a:lnTo>
                    <a:pt x="4356" y="1155"/>
                  </a:lnTo>
                  <a:lnTo>
                    <a:pt x="4356" y="1155"/>
                  </a:lnTo>
                  <a:close/>
                  <a:moveTo>
                    <a:pt x="1642" y="1155"/>
                  </a:moveTo>
                  <a:lnTo>
                    <a:pt x="1654" y="1155"/>
                  </a:lnTo>
                  <a:lnTo>
                    <a:pt x="1588" y="1233"/>
                  </a:lnTo>
                  <a:lnTo>
                    <a:pt x="1571" y="1238"/>
                  </a:lnTo>
                  <a:lnTo>
                    <a:pt x="1512" y="1222"/>
                  </a:lnTo>
                  <a:lnTo>
                    <a:pt x="1571" y="1177"/>
                  </a:lnTo>
                  <a:lnTo>
                    <a:pt x="1642" y="1155"/>
                  </a:lnTo>
                  <a:lnTo>
                    <a:pt x="1642" y="1155"/>
                  </a:lnTo>
                  <a:lnTo>
                    <a:pt x="1642" y="1155"/>
                  </a:lnTo>
                  <a:close/>
                  <a:moveTo>
                    <a:pt x="2717" y="1155"/>
                  </a:moveTo>
                  <a:lnTo>
                    <a:pt x="2705" y="1165"/>
                  </a:lnTo>
                  <a:lnTo>
                    <a:pt x="2646" y="1177"/>
                  </a:lnTo>
                  <a:lnTo>
                    <a:pt x="2596" y="1177"/>
                  </a:lnTo>
                  <a:lnTo>
                    <a:pt x="2717" y="1155"/>
                  </a:lnTo>
                  <a:lnTo>
                    <a:pt x="2717" y="1155"/>
                  </a:lnTo>
                  <a:lnTo>
                    <a:pt x="2717" y="1155"/>
                  </a:lnTo>
                  <a:close/>
                  <a:moveTo>
                    <a:pt x="1276" y="1160"/>
                  </a:moveTo>
                  <a:lnTo>
                    <a:pt x="1285" y="1160"/>
                  </a:lnTo>
                  <a:lnTo>
                    <a:pt x="1276" y="1165"/>
                  </a:lnTo>
                  <a:lnTo>
                    <a:pt x="1276" y="1160"/>
                  </a:lnTo>
                  <a:lnTo>
                    <a:pt x="1276" y="1160"/>
                  </a:lnTo>
                  <a:lnTo>
                    <a:pt x="1276" y="1160"/>
                  </a:lnTo>
                  <a:close/>
                  <a:moveTo>
                    <a:pt x="2738" y="1177"/>
                  </a:moveTo>
                  <a:lnTo>
                    <a:pt x="2693" y="1198"/>
                  </a:lnTo>
                  <a:lnTo>
                    <a:pt x="2641" y="1198"/>
                  </a:lnTo>
                  <a:lnTo>
                    <a:pt x="2684" y="1177"/>
                  </a:lnTo>
                  <a:lnTo>
                    <a:pt x="2738" y="1177"/>
                  </a:lnTo>
                  <a:lnTo>
                    <a:pt x="2738" y="1177"/>
                  </a:lnTo>
                  <a:lnTo>
                    <a:pt x="2738" y="1177"/>
                  </a:lnTo>
                  <a:close/>
                  <a:moveTo>
                    <a:pt x="3260" y="1165"/>
                  </a:moveTo>
                  <a:lnTo>
                    <a:pt x="3277" y="1198"/>
                  </a:lnTo>
                  <a:lnTo>
                    <a:pt x="3244" y="1198"/>
                  </a:lnTo>
                  <a:lnTo>
                    <a:pt x="3234" y="1177"/>
                  </a:lnTo>
                  <a:lnTo>
                    <a:pt x="3260" y="1165"/>
                  </a:lnTo>
                  <a:lnTo>
                    <a:pt x="3260" y="1165"/>
                  </a:lnTo>
                  <a:lnTo>
                    <a:pt x="3260" y="1165"/>
                  </a:lnTo>
                  <a:close/>
                  <a:moveTo>
                    <a:pt x="3170" y="1181"/>
                  </a:moveTo>
                  <a:lnTo>
                    <a:pt x="3163" y="1177"/>
                  </a:lnTo>
                  <a:lnTo>
                    <a:pt x="3180" y="1165"/>
                  </a:lnTo>
                  <a:lnTo>
                    <a:pt x="3170" y="1181"/>
                  </a:lnTo>
                  <a:lnTo>
                    <a:pt x="3170" y="1181"/>
                  </a:lnTo>
                  <a:lnTo>
                    <a:pt x="3170" y="1181"/>
                  </a:lnTo>
                  <a:close/>
                  <a:moveTo>
                    <a:pt x="1411" y="1177"/>
                  </a:moveTo>
                  <a:lnTo>
                    <a:pt x="1404" y="1210"/>
                  </a:lnTo>
                  <a:lnTo>
                    <a:pt x="1382" y="1198"/>
                  </a:lnTo>
                  <a:lnTo>
                    <a:pt x="1404" y="1193"/>
                  </a:lnTo>
                  <a:lnTo>
                    <a:pt x="1404" y="1177"/>
                  </a:lnTo>
                  <a:lnTo>
                    <a:pt x="1411" y="1177"/>
                  </a:lnTo>
                  <a:lnTo>
                    <a:pt x="1411" y="1177"/>
                  </a:lnTo>
                  <a:lnTo>
                    <a:pt x="1411" y="1177"/>
                  </a:lnTo>
                  <a:close/>
                  <a:moveTo>
                    <a:pt x="1285" y="1177"/>
                  </a:moveTo>
                  <a:lnTo>
                    <a:pt x="1314" y="1181"/>
                  </a:lnTo>
                  <a:lnTo>
                    <a:pt x="1285" y="1177"/>
                  </a:lnTo>
                  <a:lnTo>
                    <a:pt x="1285" y="1177"/>
                  </a:lnTo>
                  <a:lnTo>
                    <a:pt x="1285" y="1177"/>
                  </a:lnTo>
                  <a:close/>
                  <a:moveTo>
                    <a:pt x="3154" y="1222"/>
                  </a:moveTo>
                  <a:lnTo>
                    <a:pt x="3163" y="1233"/>
                  </a:lnTo>
                  <a:lnTo>
                    <a:pt x="3137" y="1250"/>
                  </a:lnTo>
                  <a:lnTo>
                    <a:pt x="3126" y="1233"/>
                  </a:lnTo>
                  <a:lnTo>
                    <a:pt x="3116" y="1238"/>
                  </a:lnTo>
                  <a:lnTo>
                    <a:pt x="3126" y="1250"/>
                  </a:lnTo>
                  <a:lnTo>
                    <a:pt x="3100" y="1267"/>
                  </a:lnTo>
                  <a:lnTo>
                    <a:pt x="3083" y="1238"/>
                  </a:lnTo>
                  <a:lnTo>
                    <a:pt x="3133" y="1215"/>
                  </a:lnTo>
                  <a:lnTo>
                    <a:pt x="3154" y="1222"/>
                  </a:lnTo>
                  <a:lnTo>
                    <a:pt x="3154" y="1222"/>
                  </a:lnTo>
                  <a:lnTo>
                    <a:pt x="3154" y="1222"/>
                  </a:lnTo>
                  <a:close/>
                  <a:moveTo>
                    <a:pt x="3154" y="1326"/>
                  </a:moveTo>
                  <a:lnTo>
                    <a:pt x="3147" y="1321"/>
                  </a:lnTo>
                  <a:lnTo>
                    <a:pt x="3154" y="1309"/>
                  </a:lnTo>
                  <a:lnTo>
                    <a:pt x="3133" y="1326"/>
                  </a:lnTo>
                  <a:lnTo>
                    <a:pt x="3133" y="1309"/>
                  </a:lnTo>
                  <a:lnTo>
                    <a:pt x="3116" y="1309"/>
                  </a:lnTo>
                  <a:lnTo>
                    <a:pt x="3116" y="1304"/>
                  </a:lnTo>
                  <a:lnTo>
                    <a:pt x="3126" y="1288"/>
                  </a:lnTo>
                  <a:lnTo>
                    <a:pt x="3163" y="1271"/>
                  </a:lnTo>
                  <a:lnTo>
                    <a:pt x="3154" y="1267"/>
                  </a:lnTo>
                  <a:lnTo>
                    <a:pt x="3170" y="1255"/>
                  </a:lnTo>
                  <a:lnTo>
                    <a:pt x="3147" y="1255"/>
                  </a:lnTo>
                  <a:lnTo>
                    <a:pt x="3180" y="1255"/>
                  </a:lnTo>
                  <a:lnTo>
                    <a:pt x="3170" y="1250"/>
                  </a:lnTo>
                  <a:lnTo>
                    <a:pt x="3234" y="1215"/>
                  </a:lnTo>
                  <a:lnTo>
                    <a:pt x="3272" y="1222"/>
                  </a:lnTo>
                  <a:lnTo>
                    <a:pt x="3331" y="1271"/>
                  </a:lnTo>
                  <a:lnTo>
                    <a:pt x="3343" y="1326"/>
                  </a:lnTo>
                  <a:lnTo>
                    <a:pt x="3326" y="1359"/>
                  </a:lnTo>
                  <a:lnTo>
                    <a:pt x="3256" y="1366"/>
                  </a:lnTo>
                  <a:lnTo>
                    <a:pt x="3154" y="1326"/>
                  </a:lnTo>
                  <a:lnTo>
                    <a:pt x="3154" y="1326"/>
                  </a:lnTo>
                  <a:lnTo>
                    <a:pt x="3154" y="1326"/>
                  </a:lnTo>
                  <a:close/>
                  <a:moveTo>
                    <a:pt x="2844" y="1233"/>
                  </a:moveTo>
                  <a:lnTo>
                    <a:pt x="2856" y="1222"/>
                  </a:lnTo>
                  <a:lnTo>
                    <a:pt x="2802" y="1233"/>
                  </a:lnTo>
                  <a:lnTo>
                    <a:pt x="2861" y="1222"/>
                  </a:lnTo>
                  <a:lnTo>
                    <a:pt x="2844" y="1233"/>
                  </a:lnTo>
                  <a:lnTo>
                    <a:pt x="2844" y="1233"/>
                  </a:lnTo>
                  <a:lnTo>
                    <a:pt x="2844" y="1233"/>
                  </a:lnTo>
                  <a:close/>
                  <a:moveTo>
                    <a:pt x="2587" y="1250"/>
                  </a:moveTo>
                  <a:lnTo>
                    <a:pt x="2608" y="1267"/>
                  </a:lnTo>
                  <a:lnTo>
                    <a:pt x="2625" y="1288"/>
                  </a:lnTo>
                  <a:lnTo>
                    <a:pt x="2575" y="1309"/>
                  </a:lnTo>
                  <a:lnTo>
                    <a:pt x="2537" y="1292"/>
                  </a:lnTo>
                  <a:lnTo>
                    <a:pt x="2542" y="1267"/>
                  </a:lnTo>
                  <a:lnTo>
                    <a:pt x="2587" y="1250"/>
                  </a:lnTo>
                  <a:lnTo>
                    <a:pt x="2587" y="1250"/>
                  </a:lnTo>
                  <a:lnTo>
                    <a:pt x="2587" y="1250"/>
                  </a:lnTo>
                  <a:close/>
                  <a:moveTo>
                    <a:pt x="3071" y="1267"/>
                  </a:moveTo>
                  <a:lnTo>
                    <a:pt x="3078" y="1276"/>
                  </a:lnTo>
                  <a:lnTo>
                    <a:pt x="3071" y="1267"/>
                  </a:lnTo>
                  <a:lnTo>
                    <a:pt x="3071" y="1267"/>
                  </a:lnTo>
                  <a:lnTo>
                    <a:pt x="3071" y="1267"/>
                  </a:lnTo>
                  <a:close/>
                  <a:moveTo>
                    <a:pt x="3185" y="1366"/>
                  </a:moveTo>
                  <a:lnTo>
                    <a:pt x="3208" y="1382"/>
                  </a:lnTo>
                  <a:lnTo>
                    <a:pt x="3163" y="1378"/>
                  </a:lnTo>
                  <a:lnTo>
                    <a:pt x="3185" y="1366"/>
                  </a:lnTo>
                  <a:lnTo>
                    <a:pt x="3185" y="1366"/>
                  </a:lnTo>
                  <a:lnTo>
                    <a:pt x="3185" y="1366"/>
                  </a:lnTo>
                  <a:close/>
                  <a:moveTo>
                    <a:pt x="3062" y="1366"/>
                  </a:moveTo>
                  <a:lnTo>
                    <a:pt x="3071" y="1378"/>
                  </a:lnTo>
                  <a:lnTo>
                    <a:pt x="3045" y="1387"/>
                  </a:lnTo>
                  <a:lnTo>
                    <a:pt x="3029" y="1382"/>
                  </a:lnTo>
                  <a:lnTo>
                    <a:pt x="3062" y="1366"/>
                  </a:lnTo>
                  <a:lnTo>
                    <a:pt x="3062" y="1366"/>
                  </a:lnTo>
                  <a:lnTo>
                    <a:pt x="3062" y="1366"/>
                  </a:lnTo>
                  <a:close/>
                  <a:moveTo>
                    <a:pt x="1205" y="1493"/>
                  </a:moveTo>
                  <a:lnTo>
                    <a:pt x="1210" y="1486"/>
                  </a:lnTo>
                  <a:lnTo>
                    <a:pt x="1205" y="1477"/>
                  </a:lnTo>
                  <a:lnTo>
                    <a:pt x="1177" y="1470"/>
                  </a:lnTo>
                  <a:lnTo>
                    <a:pt x="1167" y="1437"/>
                  </a:lnTo>
                  <a:lnTo>
                    <a:pt x="1139" y="1404"/>
                  </a:lnTo>
                  <a:lnTo>
                    <a:pt x="1366" y="1378"/>
                  </a:lnTo>
                  <a:lnTo>
                    <a:pt x="1503" y="1420"/>
                  </a:lnTo>
                  <a:lnTo>
                    <a:pt x="1491" y="1444"/>
                  </a:lnTo>
                  <a:lnTo>
                    <a:pt x="1491" y="1453"/>
                  </a:lnTo>
                  <a:lnTo>
                    <a:pt x="1512" y="1420"/>
                  </a:lnTo>
                  <a:lnTo>
                    <a:pt x="1533" y="1420"/>
                  </a:lnTo>
                  <a:lnTo>
                    <a:pt x="1545" y="1437"/>
                  </a:lnTo>
                  <a:lnTo>
                    <a:pt x="1533" y="1453"/>
                  </a:lnTo>
                  <a:lnTo>
                    <a:pt x="1545" y="1453"/>
                  </a:lnTo>
                  <a:lnTo>
                    <a:pt x="1555" y="1437"/>
                  </a:lnTo>
                  <a:lnTo>
                    <a:pt x="1550" y="1432"/>
                  </a:lnTo>
                  <a:lnTo>
                    <a:pt x="1567" y="1420"/>
                  </a:lnTo>
                  <a:lnTo>
                    <a:pt x="1654" y="1420"/>
                  </a:lnTo>
                  <a:lnTo>
                    <a:pt x="1782" y="1498"/>
                  </a:lnTo>
                  <a:lnTo>
                    <a:pt x="1803" y="1526"/>
                  </a:lnTo>
                  <a:lnTo>
                    <a:pt x="1533" y="1642"/>
                  </a:lnTo>
                  <a:lnTo>
                    <a:pt x="1517" y="1682"/>
                  </a:lnTo>
                  <a:lnTo>
                    <a:pt x="1491" y="1699"/>
                  </a:lnTo>
                  <a:lnTo>
                    <a:pt x="1458" y="1692"/>
                  </a:lnTo>
                  <a:lnTo>
                    <a:pt x="1465" y="1708"/>
                  </a:lnTo>
                  <a:lnTo>
                    <a:pt x="1441" y="1737"/>
                  </a:lnTo>
                  <a:lnTo>
                    <a:pt x="1448" y="1770"/>
                  </a:lnTo>
                  <a:lnTo>
                    <a:pt x="1437" y="1793"/>
                  </a:lnTo>
                  <a:lnTo>
                    <a:pt x="1373" y="1810"/>
                  </a:lnTo>
                  <a:lnTo>
                    <a:pt x="1352" y="1803"/>
                  </a:lnTo>
                  <a:lnTo>
                    <a:pt x="1281" y="1848"/>
                  </a:lnTo>
                  <a:lnTo>
                    <a:pt x="1243" y="1843"/>
                  </a:lnTo>
                  <a:lnTo>
                    <a:pt x="1193" y="1770"/>
                  </a:lnTo>
                  <a:lnTo>
                    <a:pt x="1101" y="1737"/>
                  </a:lnTo>
                  <a:lnTo>
                    <a:pt x="1125" y="1732"/>
                  </a:lnTo>
                  <a:lnTo>
                    <a:pt x="1059" y="1732"/>
                  </a:lnTo>
                  <a:lnTo>
                    <a:pt x="1070" y="1732"/>
                  </a:lnTo>
                  <a:lnTo>
                    <a:pt x="1070" y="1708"/>
                  </a:lnTo>
                  <a:lnTo>
                    <a:pt x="1096" y="1675"/>
                  </a:lnTo>
                  <a:lnTo>
                    <a:pt x="1118" y="1654"/>
                  </a:lnTo>
                  <a:lnTo>
                    <a:pt x="1125" y="1637"/>
                  </a:lnTo>
                  <a:lnTo>
                    <a:pt x="1118" y="1621"/>
                  </a:lnTo>
                  <a:lnTo>
                    <a:pt x="1156" y="1604"/>
                  </a:lnTo>
                  <a:lnTo>
                    <a:pt x="1134" y="1581"/>
                  </a:lnTo>
                  <a:lnTo>
                    <a:pt x="1167" y="1531"/>
                  </a:lnTo>
                  <a:lnTo>
                    <a:pt x="1189" y="1515"/>
                  </a:lnTo>
                  <a:lnTo>
                    <a:pt x="1189" y="1498"/>
                  </a:lnTo>
                  <a:lnTo>
                    <a:pt x="1205" y="1493"/>
                  </a:lnTo>
                  <a:lnTo>
                    <a:pt x="1205" y="1493"/>
                  </a:lnTo>
                  <a:lnTo>
                    <a:pt x="1205" y="1493"/>
                  </a:lnTo>
                  <a:close/>
                  <a:moveTo>
                    <a:pt x="2974" y="1404"/>
                  </a:moveTo>
                  <a:lnTo>
                    <a:pt x="2953" y="1415"/>
                  </a:lnTo>
                  <a:lnTo>
                    <a:pt x="2974" y="1404"/>
                  </a:lnTo>
                  <a:lnTo>
                    <a:pt x="2974" y="1404"/>
                  </a:lnTo>
                  <a:lnTo>
                    <a:pt x="2974" y="1404"/>
                  </a:lnTo>
                  <a:close/>
                  <a:moveTo>
                    <a:pt x="3494" y="1548"/>
                  </a:moveTo>
                  <a:lnTo>
                    <a:pt x="3449" y="1609"/>
                  </a:lnTo>
                  <a:lnTo>
                    <a:pt x="3423" y="1637"/>
                  </a:lnTo>
                  <a:lnTo>
                    <a:pt x="3343" y="1621"/>
                  </a:lnTo>
                  <a:lnTo>
                    <a:pt x="3277" y="1626"/>
                  </a:lnTo>
                  <a:lnTo>
                    <a:pt x="3277" y="1637"/>
                  </a:lnTo>
                  <a:lnTo>
                    <a:pt x="3310" y="1637"/>
                  </a:lnTo>
                  <a:lnTo>
                    <a:pt x="3310" y="1642"/>
                  </a:lnTo>
                  <a:lnTo>
                    <a:pt x="3326" y="1654"/>
                  </a:lnTo>
                  <a:lnTo>
                    <a:pt x="3331" y="1666"/>
                  </a:lnTo>
                  <a:lnTo>
                    <a:pt x="3289" y="1725"/>
                  </a:lnTo>
                  <a:lnTo>
                    <a:pt x="3293" y="1732"/>
                  </a:lnTo>
                  <a:lnTo>
                    <a:pt x="3218" y="1732"/>
                  </a:lnTo>
                  <a:lnTo>
                    <a:pt x="3218" y="1715"/>
                  </a:lnTo>
                  <a:lnTo>
                    <a:pt x="3244" y="1708"/>
                  </a:lnTo>
                  <a:lnTo>
                    <a:pt x="3218" y="1708"/>
                  </a:lnTo>
                  <a:lnTo>
                    <a:pt x="3218" y="1666"/>
                  </a:lnTo>
                  <a:lnTo>
                    <a:pt x="3201" y="1642"/>
                  </a:lnTo>
                  <a:lnTo>
                    <a:pt x="3185" y="1637"/>
                  </a:lnTo>
                  <a:lnTo>
                    <a:pt x="3180" y="1581"/>
                  </a:lnTo>
                  <a:lnTo>
                    <a:pt x="3185" y="1571"/>
                  </a:lnTo>
                  <a:lnTo>
                    <a:pt x="3180" y="1515"/>
                  </a:lnTo>
                  <a:lnTo>
                    <a:pt x="3185" y="1510"/>
                  </a:lnTo>
                  <a:lnTo>
                    <a:pt x="3180" y="1493"/>
                  </a:lnTo>
                  <a:lnTo>
                    <a:pt x="3192" y="1486"/>
                  </a:lnTo>
                  <a:lnTo>
                    <a:pt x="3256" y="1498"/>
                  </a:lnTo>
                  <a:lnTo>
                    <a:pt x="3222" y="1486"/>
                  </a:lnTo>
                  <a:lnTo>
                    <a:pt x="3234" y="1477"/>
                  </a:lnTo>
                  <a:lnTo>
                    <a:pt x="3218" y="1477"/>
                  </a:lnTo>
                  <a:lnTo>
                    <a:pt x="3201" y="1460"/>
                  </a:lnTo>
                  <a:lnTo>
                    <a:pt x="3272" y="1437"/>
                  </a:lnTo>
                  <a:lnTo>
                    <a:pt x="3348" y="1432"/>
                  </a:lnTo>
                  <a:lnTo>
                    <a:pt x="3395" y="1437"/>
                  </a:lnTo>
                  <a:lnTo>
                    <a:pt x="3418" y="1453"/>
                  </a:lnTo>
                  <a:lnTo>
                    <a:pt x="3418" y="1460"/>
                  </a:lnTo>
                  <a:lnTo>
                    <a:pt x="3470" y="1453"/>
                  </a:lnTo>
                  <a:lnTo>
                    <a:pt x="3563" y="1470"/>
                  </a:lnTo>
                  <a:lnTo>
                    <a:pt x="3494" y="1548"/>
                  </a:lnTo>
                  <a:lnTo>
                    <a:pt x="3494" y="1548"/>
                  </a:lnTo>
                  <a:lnTo>
                    <a:pt x="3494" y="1548"/>
                  </a:lnTo>
                  <a:close/>
                  <a:moveTo>
                    <a:pt x="3041" y="1437"/>
                  </a:moveTo>
                  <a:lnTo>
                    <a:pt x="3029" y="1453"/>
                  </a:lnTo>
                  <a:lnTo>
                    <a:pt x="2991" y="1477"/>
                  </a:lnTo>
                  <a:lnTo>
                    <a:pt x="2948" y="1486"/>
                  </a:lnTo>
                  <a:lnTo>
                    <a:pt x="2915" y="1470"/>
                  </a:lnTo>
                  <a:lnTo>
                    <a:pt x="3041" y="1437"/>
                  </a:lnTo>
                  <a:lnTo>
                    <a:pt x="3041" y="1437"/>
                  </a:lnTo>
                  <a:lnTo>
                    <a:pt x="3041" y="1437"/>
                  </a:lnTo>
                  <a:close/>
                  <a:moveTo>
                    <a:pt x="3579" y="1453"/>
                  </a:moveTo>
                  <a:lnTo>
                    <a:pt x="3558" y="1453"/>
                  </a:lnTo>
                  <a:lnTo>
                    <a:pt x="3584" y="1444"/>
                  </a:lnTo>
                  <a:lnTo>
                    <a:pt x="3579" y="1453"/>
                  </a:lnTo>
                  <a:lnTo>
                    <a:pt x="3579" y="1453"/>
                  </a:lnTo>
                  <a:lnTo>
                    <a:pt x="3579" y="1453"/>
                  </a:lnTo>
                  <a:close/>
                  <a:moveTo>
                    <a:pt x="2807" y="1708"/>
                  </a:moveTo>
                  <a:lnTo>
                    <a:pt x="2793" y="1682"/>
                  </a:lnTo>
                  <a:lnTo>
                    <a:pt x="2755" y="1692"/>
                  </a:lnTo>
                  <a:lnTo>
                    <a:pt x="2738" y="1666"/>
                  </a:lnTo>
                  <a:lnTo>
                    <a:pt x="2693" y="1637"/>
                  </a:lnTo>
                  <a:lnTo>
                    <a:pt x="2684" y="1621"/>
                  </a:lnTo>
                  <a:lnTo>
                    <a:pt x="2700" y="1588"/>
                  </a:lnTo>
                  <a:lnTo>
                    <a:pt x="2722" y="1581"/>
                  </a:lnTo>
                  <a:lnTo>
                    <a:pt x="2769" y="1609"/>
                  </a:lnTo>
                  <a:lnTo>
                    <a:pt x="2785" y="1637"/>
                  </a:lnTo>
                  <a:lnTo>
                    <a:pt x="2844" y="1626"/>
                  </a:lnTo>
                  <a:lnTo>
                    <a:pt x="2856" y="1621"/>
                  </a:lnTo>
                  <a:lnTo>
                    <a:pt x="2840" y="1597"/>
                  </a:lnTo>
                  <a:lnTo>
                    <a:pt x="2844" y="1588"/>
                  </a:lnTo>
                  <a:lnTo>
                    <a:pt x="2856" y="1588"/>
                  </a:lnTo>
                  <a:lnTo>
                    <a:pt x="2844" y="1604"/>
                  </a:lnTo>
                  <a:lnTo>
                    <a:pt x="2856" y="1609"/>
                  </a:lnTo>
                  <a:lnTo>
                    <a:pt x="2878" y="1604"/>
                  </a:lnTo>
                  <a:lnTo>
                    <a:pt x="2861" y="1571"/>
                  </a:lnTo>
                  <a:lnTo>
                    <a:pt x="2844" y="1581"/>
                  </a:lnTo>
                  <a:lnTo>
                    <a:pt x="2840" y="1571"/>
                  </a:lnTo>
                  <a:lnTo>
                    <a:pt x="2844" y="1555"/>
                  </a:lnTo>
                  <a:lnTo>
                    <a:pt x="2878" y="1564"/>
                  </a:lnTo>
                  <a:lnTo>
                    <a:pt x="2894" y="1564"/>
                  </a:lnTo>
                  <a:lnTo>
                    <a:pt x="2844" y="1543"/>
                  </a:lnTo>
                  <a:lnTo>
                    <a:pt x="2840" y="1555"/>
                  </a:lnTo>
                  <a:lnTo>
                    <a:pt x="2814" y="1555"/>
                  </a:lnTo>
                  <a:lnTo>
                    <a:pt x="2759" y="1526"/>
                  </a:lnTo>
                  <a:lnTo>
                    <a:pt x="2814" y="1510"/>
                  </a:lnTo>
                  <a:lnTo>
                    <a:pt x="2844" y="1531"/>
                  </a:lnTo>
                  <a:lnTo>
                    <a:pt x="2830" y="1526"/>
                  </a:lnTo>
                  <a:lnTo>
                    <a:pt x="2840" y="1510"/>
                  </a:lnTo>
                  <a:lnTo>
                    <a:pt x="2802" y="1493"/>
                  </a:lnTo>
                  <a:lnTo>
                    <a:pt x="2807" y="1486"/>
                  </a:lnTo>
                  <a:lnTo>
                    <a:pt x="2840" y="1477"/>
                  </a:lnTo>
                  <a:lnTo>
                    <a:pt x="2868" y="1486"/>
                  </a:lnTo>
                  <a:lnTo>
                    <a:pt x="2882" y="1470"/>
                  </a:lnTo>
                  <a:lnTo>
                    <a:pt x="2856" y="1477"/>
                  </a:lnTo>
                  <a:lnTo>
                    <a:pt x="2878" y="1460"/>
                  </a:lnTo>
                  <a:lnTo>
                    <a:pt x="2932" y="1493"/>
                  </a:lnTo>
                  <a:lnTo>
                    <a:pt x="3003" y="1486"/>
                  </a:lnTo>
                  <a:lnTo>
                    <a:pt x="3029" y="1470"/>
                  </a:lnTo>
                  <a:lnTo>
                    <a:pt x="3071" y="1477"/>
                  </a:lnTo>
                  <a:lnTo>
                    <a:pt x="3095" y="1498"/>
                  </a:lnTo>
                  <a:lnTo>
                    <a:pt x="3071" y="1515"/>
                  </a:lnTo>
                  <a:lnTo>
                    <a:pt x="3041" y="1515"/>
                  </a:lnTo>
                  <a:lnTo>
                    <a:pt x="3041" y="1531"/>
                  </a:lnTo>
                  <a:lnTo>
                    <a:pt x="3071" y="1526"/>
                  </a:lnTo>
                  <a:lnTo>
                    <a:pt x="3078" y="1543"/>
                  </a:lnTo>
                  <a:lnTo>
                    <a:pt x="3029" y="1555"/>
                  </a:lnTo>
                  <a:lnTo>
                    <a:pt x="2986" y="1588"/>
                  </a:lnTo>
                  <a:lnTo>
                    <a:pt x="2986" y="1609"/>
                  </a:lnTo>
                  <a:lnTo>
                    <a:pt x="3019" y="1588"/>
                  </a:lnTo>
                  <a:lnTo>
                    <a:pt x="3062" y="1597"/>
                  </a:lnTo>
                  <a:lnTo>
                    <a:pt x="3071" y="1604"/>
                  </a:lnTo>
                  <a:lnTo>
                    <a:pt x="3071" y="1609"/>
                  </a:lnTo>
                  <a:lnTo>
                    <a:pt x="3083" y="1626"/>
                  </a:lnTo>
                  <a:lnTo>
                    <a:pt x="3071" y="1642"/>
                  </a:lnTo>
                  <a:lnTo>
                    <a:pt x="3116" y="1626"/>
                  </a:lnTo>
                  <a:lnTo>
                    <a:pt x="3137" y="1675"/>
                  </a:lnTo>
                  <a:lnTo>
                    <a:pt x="3095" y="1682"/>
                  </a:lnTo>
                  <a:lnTo>
                    <a:pt x="3116" y="1692"/>
                  </a:lnTo>
                  <a:lnTo>
                    <a:pt x="3126" y="1715"/>
                  </a:lnTo>
                  <a:lnTo>
                    <a:pt x="3095" y="1725"/>
                  </a:lnTo>
                  <a:lnTo>
                    <a:pt x="3126" y="1725"/>
                  </a:lnTo>
                  <a:lnTo>
                    <a:pt x="3126" y="1737"/>
                  </a:lnTo>
                  <a:lnTo>
                    <a:pt x="3100" y="1737"/>
                  </a:lnTo>
                  <a:lnTo>
                    <a:pt x="3126" y="1737"/>
                  </a:lnTo>
                  <a:lnTo>
                    <a:pt x="3116" y="1753"/>
                  </a:lnTo>
                  <a:lnTo>
                    <a:pt x="3100" y="1753"/>
                  </a:lnTo>
                  <a:lnTo>
                    <a:pt x="3057" y="1781"/>
                  </a:lnTo>
                  <a:lnTo>
                    <a:pt x="3007" y="1781"/>
                  </a:lnTo>
                  <a:lnTo>
                    <a:pt x="2991" y="1765"/>
                  </a:lnTo>
                  <a:lnTo>
                    <a:pt x="3003" y="1748"/>
                  </a:lnTo>
                  <a:lnTo>
                    <a:pt x="3003" y="1737"/>
                  </a:lnTo>
                  <a:lnTo>
                    <a:pt x="2986" y="1770"/>
                  </a:lnTo>
                  <a:lnTo>
                    <a:pt x="3019" y="1793"/>
                  </a:lnTo>
                  <a:lnTo>
                    <a:pt x="2970" y="1826"/>
                  </a:lnTo>
                  <a:lnTo>
                    <a:pt x="2948" y="1810"/>
                  </a:lnTo>
                  <a:lnTo>
                    <a:pt x="2932" y="1819"/>
                  </a:lnTo>
                  <a:lnTo>
                    <a:pt x="2899" y="1765"/>
                  </a:lnTo>
                  <a:lnTo>
                    <a:pt x="2868" y="1748"/>
                  </a:lnTo>
                  <a:lnTo>
                    <a:pt x="2830" y="1708"/>
                  </a:lnTo>
                  <a:lnTo>
                    <a:pt x="2807" y="1708"/>
                  </a:lnTo>
                  <a:lnTo>
                    <a:pt x="2807" y="1708"/>
                  </a:lnTo>
                  <a:lnTo>
                    <a:pt x="2807" y="1708"/>
                  </a:lnTo>
                  <a:close/>
                  <a:moveTo>
                    <a:pt x="4096" y="2008"/>
                  </a:moveTo>
                  <a:lnTo>
                    <a:pt x="4066" y="1992"/>
                  </a:lnTo>
                  <a:lnTo>
                    <a:pt x="4016" y="2003"/>
                  </a:lnTo>
                  <a:lnTo>
                    <a:pt x="3903" y="1975"/>
                  </a:lnTo>
                  <a:lnTo>
                    <a:pt x="3865" y="1987"/>
                  </a:lnTo>
                  <a:lnTo>
                    <a:pt x="3910" y="1992"/>
                  </a:lnTo>
                  <a:lnTo>
                    <a:pt x="3872" y="1992"/>
                  </a:lnTo>
                  <a:lnTo>
                    <a:pt x="3818" y="1959"/>
                  </a:lnTo>
                  <a:lnTo>
                    <a:pt x="3818" y="1947"/>
                  </a:lnTo>
                  <a:lnTo>
                    <a:pt x="3839" y="1930"/>
                  </a:lnTo>
                  <a:lnTo>
                    <a:pt x="3834" y="1921"/>
                  </a:lnTo>
                  <a:lnTo>
                    <a:pt x="3811" y="1954"/>
                  </a:lnTo>
                  <a:lnTo>
                    <a:pt x="3796" y="1954"/>
                  </a:lnTo>
                  <a:lnTo>
                    <a:pt x="3785" y="1930"/>
                  </a:lnTo>
                  <a:lnTo>
                    <a:pt x="3773" y="1947"/>
                  </a:lnTo>
                  <a:lnTo>
                    <a:pt x="3785" y="1947"/>
                  </a:lnTo>
                  <a:lnTo>
                    <a:pt x="3785" y="1954"/>
                  </a:lnTo>
                  <a:lnTo>
                    <a:pt x="3742" y="1954"/>
                  </a:lnTo>
                  <a:lnTo>
                    <a:pt x="3747" y="1954"/>
                  </a:lnTo>
                  <a:lnTo>
                    <a:pt x="3730" y="1959"/>
                  </a:lnTo>
                  <a:lnTo>
                    <a:pt x="3704" y="1954"/>
                  </a:lnTo>
                  <a:lnTo>
                    <a:pt x="3726" y="1954"/>
                  </a:lnTo>
                  <a:lnTo>
                    <a:pt x="3709" y="1947"/>
                  </a:lnTo>
                  <a:lnTo>
                    <a:pt x="3667" y="1930"/>
                  </a:lnTo>
                  <a:lnTo>
                    <a:pt x="3617" y="1876"/>
                  </a:lnTo>
                  <a:lnTo>
                    <a:pt x="3633" y="1864"/>
                  </a:lnTo>
                  <a:lnTo>
                    <a:pt x="3612" y="1848"/>
                  </a:lnTo>
                  <a:lnTo>
                    <a:pt x="3721" y="1876"/>
                  </a:lnTo>
                  <a:lnTo>
                    <a:pt x="3785" y="1864"/>
                  </a:lnTo>
                  <a:lnTo>
                    <a:pt x="3742" y="1843"/>
                  </a:lnTo>
                  <a:lnTo>
                    <a:pt x="3726" y="1843"/>
                  </a:lnTo>
                  <a:lnTo>
                    <a:pt x="3726" y="1826"/>
                  </a:lnTo>
                  <a:lnTo>
                    <a:pt x="3676" y="1836"/>
                  </a:lnTo>
                  <a:lnTo>
                    <a:pt x="3584" y="1819"/>
                  </a:lnTo>
                  <a:lnTo>
                    <a:pt x="3579" y="1786"/>
                  </a:lnTo>
                  <a:lnTo>
                    <a:pt x="3596" y="1765"/>
                  </a:lnTo>
                  <a:lnTo>
                    <a:pt x="3570" y="1737"/>
                  </a:lnTo>
                  <a:lnTo>
                    <a:pt x="3579" y="1725"/>
                  </a:lnTo>
                  <a:lnTo>
                    <a:pt x="3612" y="1708"/>
                  </a:lnTo>
                  <a:lnTo>
                    <a:pt x="3584" y="1708"/>
                  </a:lnTo>
                  <a:lnTo>
                    <a:pt x="3579" y="1682"/>
                  </a:lnTo>
                  <a:lnTo>
                    <a:pt x="3596" y="1642"/>
                  </a:lnTo>
                  <a:lnTo>
                    <a:pt x="3617" y="1637"/>
                  </a:lnTo>
                  <a:lnTo>
                    <a:pt x="3612" y="1637"/>
                  </a:lnTo>
                  <a:lnTo>
                    <a:pt x="3612" y="1621"/>
                  </a:lnTo>
                  <a:lnTo>
                    <a:pt x="3622" y="1626"/>
                  </a:lnTo>
                  <a:lnTo>
                    <a:pt x="3622" y="1597"/>
                  </a:lnTo>
                  <a:lnTo>
                    <a:pt x="3633" y="1571"/>
                  </a:lnTo>
                  <a:lnTo>
                    <a:pt x="3671" y="1531"/>
                  </a:lnTo>
                  <a:lnTo>
                    <a:pt x="3747" y="1493"/>
                  </a:lnTo>
                  <a:lnTo>
                    <a:pt x="3839" y="1477"/>
                  </a:lnTo>
                  <a:lnTo>
                    <a:pt x="3941" y="1493"/>
                  </a:lnTo>
                  <a:lnTo>
                    <a:pt x="3865" y="1548"/>
                  </a:lnTo>
                  <a:lnTo>
                    <a:pt x="3811" y="1609"/>
                  </a:lnTo>
                  <a:lnTo>
                    <a:pt x="3801" y="1637"/>
                  </a:lnTo>
                  <a:lnTo>
                    <a:pt x="3839" y="1675"/>
                  </a:lnTo>
                  <a:lnTo>
                    <a:pt x="3827" y="1692"/>
                  </a:lnTo>
                  <a:lnTo>
                    <a:pt x="3827" y="1732"/>
                  </a:lnTo>
                  <a:lnTo>
                    <a:pt x="3893" y="1793"/>
                  </a:lnTo>
                  <a:lnTo>
                    <a:pt x="3936" y="1810"/>
                  </a:lnTo>
                  <a:lnTo>
                    <a:pt x="3941" y="1826"/>
                  </a:lnTo>
                  <a:lnTo>
                    <a:pt x="3865" y="1843"/>
                  </a:lnTo>
                  <a:lnTo>
                    <a:pt x="3801" y="1864"/>
                  </a:lnTo>
                  <a:lnTo>
                    <a:pt x="3936" y="1836"/>
                  </a:lnTo>
                  <a:lnTo>
                    <a:pt x="3941" y="1843"/>
                  </a:lnTo>
                  <a:lnTo>
                    <a:pt x="3936" y="1848"/>
                  </a:lnTo>
                  <a:lnTo>
                    <a:pt x="3919" y="1848"/>
                  </a:lnTo>
                  <a:lnTo>
                    <a:pt x="3936" y="1848"/>
                  </a:lnTo>
                  <a:lnTo>
                    <a:pt x="3936" y="1876"/>
                  </a:lnTo>
                  <a:lnTo>
                    <a:pt x="3941" y="1876"/>
                  </a:lnTo>
                  <a:lnTo>
                    <a:pt x="3941" y="1810"/>
                  </a:lnTo>
                  <a:lnTo>
                    <a:pt x="3962" y="1803"/>
                  </a:lnTo>
                  <a:lnTo>
                    <a:pt x="3945" y="1786"/>
                  </a:lnTo>
                  <a:lnTo>
                    <a:pt x="3957" y="1770"/>
                  </a:lnTo>
                  <a:lnTo>
                    <a:pt x="3910" y="1770"/>
                  </a:lnTo>
                  <a:lnTo>
                    <a:pt x="3886" y="1765"/>
                  </a:lnTo>
                  <a:lnTo>
                    <a:pt x="3893" y="1753"/>
                  </a:lnTo>
                  <a:lnTo>
                    <a:pt x="3886" y="1737"/>
                  </a:lnTo>
                  <a:lnTo>
                    <a:pt x="3855" y="1732"/>
                  </a:lnTo>
                  <a:lnTo>
                    <a:pt x="3893" y="1725"/>
                  </a:lnTo>
                  <a:lnTo>
                    <a:pt x="3893" y="1715"/>
                  </a:lnTo>
                  <a:lnTo>
                    <a:pt x="3893" y="1692"/>
                  </a:lnTo>
                  <a:lnTo>
                    <a:pt x="3936" y="1699"/>
                  </a:lnTo>
                  <a:lnTo>
                    <a:pt x="3990" y="1737"/>
                  </a:lnTo>
                  <a:lnTo>
                    <a:pt x="3990" y="1732"/>
                  </a:lnTo>
                  <a:lnTo>
                    <a:pt x="3936" y="1692"/>
                  </a:lnTo>
                  <a:lnTo>
                    <a:pt x="3962" y="1675"/>
                  </a:lnTo>
                  <a:lnTo>
                    <a:pt x="3936" y="1682"/>
                  </a:lnTo>
                  <a:lnTo>
                    <a:pt x="3941" y="1666"/>
                  </a:lnTo>
                  <a:lnTo>
                    <a:pt x="3919" y="1682"/>
                  </a:lnTo>
                  <a:lnTo>
                    <a:pt x="3886" y="1666"/>
                  </a:lnTo>
                  <a:lnTo>
                    <a:pt x="3886" y="1659"/>
                  </a:lnTo>
                  <a:lnTo>
                    <a:pt x="3893" y="1654"/>
                  </a:lnTo>
                  <a:lnTo>
                    <a:pt x="3881" y="1642"/>
                  </a:lnTo>
                  <a:lnTo>
                    <a:pt x="3881" y="1609"/>
                  </a:lnTo>
                  <a:lnTo>
                    <a:pt x="3910" y="1597"/>
                  </a:lnTo>
                  <a:lnTo>
                    <a:pt x="4000" y="1626"/>
                  </a:lnTo>
                  <a:lnTo>
                    <a:pt x="3886" y="1588"/>
                  </a:lnTo>
                  <a:lnTo>
                    <a:pt x="3903" y="1571"/>
                  </a:lnTo>
                  <a:lnTo>
                    <a:pt x="3919" y="1588"/>
                  </a:lnTo>
                  <a:lnTo>
                    <a:pt x="3910" y="1581"/>
                  </a:lnTo>
                  <a:lnTo>
                    <a:pt x="3919" y="1571"/>
                  </a:lnTo>
                  <a:lnTo>
                    <a:pt x="4028" y="1597"/>
                  </a:lnTo>
                  <a:lnTo>
                    <a:pt x="3919" y="1564"/>
                  </a:lnTo>
                  <a:lnTo>
                    <a:pt x="3941" y="1543"/>
                  </a:lnTo>
                  <a:lnTo>
                    <a:pt x="3974" y="1564"/>
                  </a:lnTo>
                  <a:lnTo>
                    <a:pt x="3945" y="1543"/>
                  </a:lnTo>
                  <a:lnTo>
                    <a:pt x="3990" y="1526"/>
                  </a:lnTo>
                  <a:lnTo>
                    <a:pt x="4016" y="1531"/>
                  </a:lnTo>
                  <a:lnTo>
                    <a:pt x="4028" y="1548"/>
                  </a:lnTo>
                  <a:lnTo>
                    <a:pt x="4028" y="1531"/>
                  </a:lnTo>
                  <a:lnTo>
                    <a:pt x="3995" y="1526"/>
                  </a:lnTo>
                  <a:lnTo>
                    <a:pt x="4082" y="1493"/>
                  </a:lnTo>
                  <a:lnTo>
                    <a:pt x="4172" y="1493"/>
                  </a:lnTo>
                  <a:lnTo>
                    <a:pt x="4196" y="1526"/>
                  </a:lnTo>
                  <a:lnTo>
                    <a:pt x="4196" y="1555"/>
                  </a:lnTo>
                  <a:lnTo>
                    <a:pt x="4243" y="1581"/>
                  </a:lnTo>
                  <a:lnTo>
                    <a:pt x="4233" y="1604"/>
                  </a:lnTo>
                  <a:lnTo>
                    <a:pt x="4259" y="1626"/>
                  </a:lnTo>
                  <a:lnTo>
                    <a:pt x="4179" y="1699"/>
                  </a:lnTo>
                  <a:lnTo>
                    <a:pt x="4243" y="1659"/>
                  </a:lnTo>
                  <a:lnTo>
                    <a:pt x="4243" y="1675"/>
                  </a:lnTo>
                  <a:lnTo>
                    <a:pt x="4210" y="1708"/>
                  </a:lnTo>
                  <a:lnTo>
                    <a:pt x="4243" y="1725"/>
                  </a:lnTo>
                  <a:lnTo>
                    <a:pt x="4205" y="1725"/>
                  </a:lnTo>
                  <a:lnTo>
                    <a:pt x="4226" y="1725"/>
                  </a:lnTo>
                  <a:lnTo>
                    <a:pt x="4210" y="1748"/>
                  </a:lnTo>
                  <a:lnTo>
                    <a:pt x="4248" y="1725"/>
                  </a:lnTo>
                  <a:lnTo>
                    <a:pt x="4243" y="1708"/>
                  </a:lnTo>
                  <a:lnTo>
                    <a:pt x="4264" y="1699"/>
                  </a:lnTo>
                  <a:lnTo>
                    <a:pt x="4259" y="1692"/>
                  </a:lnTo>
                  <a:lnTo>
                    <a:pt x="4302" y="1715"/>
                  </a:lnTo>
                  <a:lnTo>
                    <a:pt x="4264" y="1682"/>
                  </a:lnTo>
                  <a:lnTo>
                    <a:pt x="4297" y="1659"/>
                  </a:lnTo>
                  <a:lnTo>
                    <a:pt x="4302" y="1682"/>
                  </a:lnTo>
                  <a:lnTo>
                    <a:pt x="4297" y="1699"/>
                  </a:lnTo>
                  <a:lnTo>
                    <a:pt x="4323" y="1675"/>
                  </a:lnTo>
                  <a:lnTo>
                    <a:pt x="4352" y="1692"/>
                  </a:lnTo>
                  <a:lnTo>
                    <a:pt x="4352" y="1708"/>
                  </a:lnTo>
                  <a:lnTo>
                    <a:pt x="4335" y="1732"/>
                  </a:lnTo>
                  <a:lnTo>
                    <a:pt x="4378" y="1748"/>
                  </a:lnTo>
                  <a:lnTo>
                    <a:pt x="4356" y="1732"/>
                  </a:lnTo>
                  <a:lnTo>
                    <a:pt x="4356" y="1708"/>
                  </a:lnTo>
                  <a:lnTo>
                    <a:pt x="4389" y="1715"/>
                  </a:lnTo>
                  <a:lnTo>
                    <a:pt x="4406" y="1753"/>
                  </a:lnTo>
                  <a:lnTo>
                    <a:pt x="4427" y="1765"/>
                  </a:lnTo>
                  <a:lnTo>
                    <a:pt x="4394" y="1737"/>
                  </a:lnTo>
                  <a:lnTo>
                    <a:pt x="4411" y="1732"/>
                  </a:lnTo>
                  <a:lnTo>
                    <a:pt x="4432" y="1753"/>
                  </a:lnTo>
                  <a:lnTo>
                    <a:pt x="4411" y="1732"/>
                  </a:lnTo>
                  <a:lnTo>
                    <a:pt x="4394" y="1732"/>
                  </a:lnTo>
                  <a:lnTo>
                    <a:pt x="4389" y="1715"/>
                  </a:lnTo>
                  <a:lnTo>
                    <a:pt x="4356" y="1699"/>
                  </a:lnTo>
                  <a:lnTo>
                    <a:pt x="4373" y="1682"/>
                  </a:lnTo>
                  <a:lnTo>
                    <a:pt x="4389" y="1708"/>
                  </a:lnTo>
                  <a:lnTo>
                    <a:pt x="4389" y="1682"/>
                  </a:lnTo>
                  <a:lnTo>
                    <a:pt x="4486" y="1715"/>
                  </a:lnTo>
                  <a:lnTo>
                    <a:pt x="4378" y="1666"/>
                  </a:lnTo>
                  <a:lnTo>
                    <a:pt x="4389" y="1654"/>
                  </a:lnTo>
                  <a:lnTo>
                    <a:pt x="4444" y="1626"/>
                  </a:lnTo>
                  <a:lnTo>
                    <a:pt x="4503" y="1626"/>
                  </a:lnTo>
                  <a:lnTo>
                    <a:pt x="4512" y="1642"/>
                  </a:lnTo>
                  <a:lnTo>
                    <a:pt x="4550" y="1654"/>
                  </a:lnTo>
                  <a:lnTo>
                    <a:pt x="4550" y="1666"/>
                  </a:lnTo>
                  <a:lnTo>
                    <a:pt x="4567" y="1654"/>
                  </a:lnTo>
                  <a:lnTo>
                    <a:pt x="4611" y="1659"/>
                  </a:lnTo>
                  <a:lnTo>
                    <a:pt x="4637" y="1699"/>
                  </a:lnTo>
                  <a:lnTo>
                    <a:pt x="4611" y="1715"/>
                  </a:lnTo>
                  <a:lnTo>
                    <a:pt x="4557" y="1715"/>
                  </a:lnTo>
                  <a:lnTo>
                    <a:pt x="4536" y="1748"/>
                  </a:lnTo>
                  <a:lnTo>
                    <a:pt x="4574" y="1715"/>
                  </a:lnTo>
                  <a:lnTo>
                    <a:pt x="4611" y="1725"/>
                  </a:lnTo>
                  <a:lnTo>
                    <a:pt x="4588" y="1732"/>
                  </a:lnTo>
                  <a:lnTo>
                    <a:pt x="4574" y="1765"/>
                  </a:lnTo>
                  <a:lnTo>
                    <a:pt x="4550" y="1770"/>
                  </a:lnTo>
                  <a:lnTo>
                    <a:pt x="4574" y="1765"/>
                  </a:lnTo>
                  <a:lnTo>
                    <a:pt x="4588" y="1732"/>
                  </a:lnTo>
                  <a:lnTo>
                    <a:pt x="4626" y="1715"/>
                  </a:lnTo>
                  <a:lnTo>
                    <a:pt x="4680" y="1725"/>
                  </a:lnTo>
                  <a:lnTo>
                    <a:pt x="4692" y="1732"/>
                  </a:lnTo>
                  <a:lnTo>
                    <a:pt x="4680" y="1753"/>
                  </a:lnTo>
                  <a:lnTo>
                    <a:pt x="4604" y="1770"/>
                  </a:lnTo>
                  <a:lnTo>
                    <a:pt x="4637" y="1781"/>
                  </a:lnTo>
                  <a:lnTo>
                    <a:pt x="4595" y="1793"/>
                  </a:lnTo>
                  <a:lnTo>
                    <a:pt x="4659" y="1781"/>
                  </a:lnTo>
                  <a:lnTo>
                    <a:pt x="4621" y="1803"/>
                  </a:lnTo>
                  <a:lnTo>
                    <a:pt x="4642" y="1793"/>
                  </a:lnTo>
                  <a:lnTo>
                    <a:pt x="4649" y="1810"/>
                  </a:lnTo>
                  <a:lnTo>
                    <a:pt x="4621" y="1843"/>
                  </a:lnTo>
                  <a:lnTo>
                    <a:pt x="4649" y="1810"/>
                  </a:lnTo>
                  <a:lnTo>
                    <a:pt x="4649" y="1793"/>
                  </a:lnTo>
                  <a:lnTo>
                    <a:pt x="4659" y="1781"/>
                  </a:lnTo>
                  <a:lnTo>
                    <a:pt x="4692" y="1765"/>
                  </a:lnTo>
                  <a:lnTo>
                    <a:pt x="4680" y="1781"/>
                  </a:lnTo>
                  <a:lnTo>
                    <a:pt x="4692" y="1793"/>
                  </a:lnTo>
                  <a:lnTo>
                    <a:pt x="4696" y="1765"/>
                  </a:lnTo>
                  <a:lnTo>
                    <a:pt x="4718" y="1765"/>
                  </a:lnTo>
                  <a:lnTo>
                    <a:pt x="4729" y="1765"/>
                  </a:lnTo>
                  <a:lnTo>
                    <a:pt x="4696" y="1793"/>
                  </a:lnTo>
                  <a:lnTo>
                    <a:pt x="4675" y="1810"/>
                  </a:lnTo>
                  <a:lnTo>
                    <a:pt x="4696" y="1803"/>
                  </a:lnTo>
                  <a:lnTo>
                    <a:pt x="4692" y="1826"/>
                  </a:lnTo>
                  <a:lnTo>
                    <a:pt x="4680" y="1836"/>
                  </a:lnTo>
                  <a:lnTo>
                    <a:pt x="4696" y="1826"/>
                  </a:lnTo>
                  <a:lnTo>
                    <a:pt x="4713" y="1793"/>
                  </a:lnTo>
                  <a:lnTo>
                    <a:pt x="4729" y="1786"/>
                  </a:lnTo>
                  <a:lnTo>
                    <a:pt x="4729" y="1819"/>
                  </a:lnTo>
                  <a:lnTo>
                    <a:pt x="4734" y="1803"/>
                  </a:lnTo>
                  <a:lnTo>
                    <a:pt x="4746" y="1810"/>
                  </a:lnTo>
                  <a:lnTo>
                    <a:pt x="4729" y="1826"/>
                  </a:lnTo>
                  <a:lnTo>
                    <a:pt x="4718" y="1848"/>
                  </a:lnTo>
                  <a:lnTo>
                    <a:pt x="4701" y="1859"/>
                  </a:lnTo>
                  <a:lnTo>
                    <a:pt x="4718" y="1848"/>
                  </a:lnTo>
                  <a:lnTo>
                    <a:pt x="4729" y="1836"/>
                  </a:lnTo>
                  <a:lnTo>
                    <a:pt x="4734" y="1819"/>
                  </a:lnTo>
                  <a:lnTo>
                    <a:pt x="4767" y="1826"/>
                  </a:lnTo>
                  <a:lnTo>
                    <a:pt x="4751" y="1836"/>
                  </a:lnTo>
                  <a:lnTo>
                    <a:pt x="4751" y="1848"/>
                  </a:lnTo>
                  <a:lnTo>
                    <a:pt x="4734" y="1859"/>
                  </a:lnTo>
                  <a:lnTo>
                    <a:pt x="4746" y="1864"/>
                  </a:lnTo>
                  <a:lnTo>
                    <a:pt x="4755" y="1836"/>
                  </a:lnTo>
                  <a:lnTo>
                    <a:pt x="4767" y="1826"/>
                  </a:lnTo>
                  <a:lnTo>
                    <a:pt x="4767" y="1810"/>
                  </a:lnTo>
                  <a:lnTo>
                    <a:pt x="4789" y="1810"/>
                  </a:lnTo>
                  <a:lnTo>
                    <a:pt x="4805" y="1781"/>
                  </a:lnTo>
                  <a:lnTo>
                    <a:pt x="4864" y="1793"/>
                  </a:lnTo>
                  <a:lnTo>
                    <a:pt x="4897" y="1826"/>
                  </a:lnTo>
                  <a:lnTo>
                    <a:pt x="4874" y="1859"/>
                  </a:lnTo>
                  <a:lnTo>
                    <a:pt x="4843" y="1848"/>
                  </a:lnTo>
                  <a:lnTo>
                    <a:pt x="4810" y="1881"/>
                  </a:lnTo>
                  <a:lnTo>
                    <a:pt x="4789" y="1881"/>
                  </a:lnTo>
                  <a:lnTo>
                    <a:pt x="4826" y="1881"/>
                  </a:lnTo>
                  <a:lnTo>
                    <a:pt x="4810" y="1904"/>
                  </a:lnTo>
                  <a:lnTo>
                    <a:pt x="4798" y="1914"/>
                  </a:lnTo>
                  <a:lnTo>
                    <a:pt x="4826" y="1892"/>
                  </a:lnTo>
                  <a:lnTo>
                    <a:pt x="4881" y="1881"/>
                  </a:lnTo>
                  <a:lnTo>
                    <a:pt x="4897" y="1859"/>
                  </a:lnTo>
                  <a:lnTo>
                    <a:pt x="4918" y="1848"/>
                  </a:lnTo>
                  <a:lnTo>
                    <a:pt x="4935" y="1859"/>
                  </a:lnTo>
                  <a:lnTo>
                    <a:pt x="4944" y="1876"/>
                  </a:lnTo>
                  <a:lnTo>
                    <a:pt x="4928" y="1897"/>
                  </a:lnTo>
                  <a:lnTo>
                    <a:pt x="4897" y="1914"/>
                  </a:lnTo>
                  <a:lnTo>
                    <a:pt x="4864" y="1914"/>
                  </a:lnTo>
                  <a:lnTo>
                    <a:pt x="4852" y="1937"/>
                  </a:lnTo>
                  <a:lnTo>
                    <a:pt x="4859" y="1937"/>
                  </a:lnTo>
                  <a:lnTo>
                    <a:pt x="4859" y="1947"/>
                  </a:lnTo>
                  <a:lnTo>
                    <a:pt x="4852" y="1954"/>
                  </a:lnTo>
                  <a:lnTo>
                    <a:pt x="4859" y="1954"/>
                  </a:lnTo>
                  <a:lnTo>
                    <a:pt x="4874" y="1921"/>
                  </a:lnTo>
                  <a:lnTo>
                    <a:pt x="4897" y="1921"/>
                  </a:lnTo>
                  <a:lnTo>
                    <a:pt x="4890" y="1954"/>
                  </a:lnTo>
                  <a:lnTo>
                    <a:pt x="4890" y="1959"/>
                  </a:lnTo>
                  <a:lnTo>
                    <a:pt x="4874" y="1992"/>
                  </a:lnTo>
                  <a:lnTo>
                    <a:pt x="4897" y="1959"/>
                  </a:lnTo>
                  <a:lnTo>
                    <a:pt x="4911" y="1914"/>
                  </a:lnTo>
                  <a:lnTo>
                    <a:pt x="4987" y="1881"/>
                  </a:lnTo>
                  <a:lnTo>
                    <a:pt x="4999" y="1881"/>
                  </a:lnTo>
                  <a:lnTo>
                    <a:pt x="4973" y="1904"/>
                  </a:lnTo>
                  <a:lnTo>
                    <a:pt x="4944" y="1914"/>
                  </a:lnTo>
                  <a:lnTo>
                    <a:pt x="4949" y="1921"/>
                  </a:lnTo>
                  <a:lnTo>
                    <a:pt x="4944" y="1930"/>
                  </a:lnTo>
                  <a:lnTo>
                    <a:pt x="4961" y="1930"/>
                  </a:lnTo>
                  <a:lnTo>
                    <a:pt x="4961" y="1914"/>
                  </a:lnTo>
                  <a:lnTo>
                    <a:pt x="4973" y="1914"/>
                  </a:lnTo>
                  <a:lnTo>
                    <a:pt x="5020" y="1892"/>
                  </a:lnTo>
                  <a:lnTo>
                    <a:pt x="5096" y="1921"/>
                  </a:lnTo>
                  <a:lnTo>
                    <a:pt x="5096" y="1930"/>
                  </a:lnTo>
                  <a:lnTo>
                    <a:pt x="5091" y="1947"/>
                  </a:lnTo>
                  <a:lnTo>
                    <a:pt x="5074" y="1930"/>
                  </a:lnTo>
                  <a:lnTo>
                    <a:pt x="5074" y="1954"/>
                  </a:lnTo>
                  <a:lnTo>
                    <a:pt x="5004" y="1970"/>
                  </a:lnTo>
                  <a:lnTo>
                    <a:pt x="4966" y="1992"/>
                  </a:lnTo>
                  <a:lnTo>
                    <a:pt x="4987" y="1992"/>
                  </a:lnTo>
                  <a:lnTo>
                    <a:pt x="4944" y="2013"/>
                  </a:lnTo>
                  <a:lnTo>
                    <a:pt x="4999" y="1992"/>
                  </a:lnTo>
                  <a:lnTo>
                    <a:pt x="4999" y="1987"/>
                  </a:lnTo>
                  <a:lnTo>
                    <a:pt x="5004" y="1975"/>
                  </a:lnTo>
                  <a:lnTo>
                    <a:pt x="5058" y="1970"/>
                  </a:lnTo>
                  <a:lnTo>
                    <a:pt x="5074" y="1975"/>
                  </a:lnTo>
                  <a:lnTo>
                    <a:pt x="5020" y="2013"/>
                  </a:lnTo>
                  <a:lnTo>
                    <a:pt x="4987" y="2013"/>
                  </a:lnTo>
                  <a:lnTo>
                    <a:pt x="4982" y="2041"/>
                  </a:lnTo>
                  <a:lnTo>
                    <a:pt x="4999" y="2013"/>
                  </a:lnTo>
                  <a:lnTo>
                    <a:pt x="5020" y="2025"/>
                  </a:lnTo>
                  <a:lnTo>
                    <a:pt x="5041" y="2003"/>
                  </a:lnTo>
                  <a:lnTo>
                    <a:pt x="5107" y="1975"/>
                  </a:lnTo>
                  <a:lnTo>
                    <a:pt x="5096" y="1970"/>
                  </a:lnTo>
                  <a:lnTo>
                    <a:pt x="5107" y="1954"/>
                  </a:lnTo>
                  <a:lnTo>
                    <a:pt x="5138" y="1959"/>
                  </a:lnTo>
                  <a:lnTo>
                    <a:pt x="5176" y="2003"/>
                  </a:lnTo>
                  <a:lnTo>
                    <a:pt x="5183" y="2025"/>
                  </a:lnTo>
                  <a:lnTo>
                    <a:pt x="5124" y="2025"/>
                  </a:lnTo>
                  <a:lnTo>
                    <a:pt x="5096" y="2041"/>
                  </a:lnTo>
                  <a:lnTo>
                    <a:pt x="4973" y="2058"/>
                  </a:lnTo>
                  <a:lnTo>
                    <a:pt x="5025" y="2058"/>
                  </a:lnTo>
                  <a:lnTo>
                    <a:pt x="5074" y="2048"/>
                  </a:lnTo>
                  <a:lnTo>
                    <a:pt x="5124" y="2065"/>
                  </a:lnTo>
                  <a:lnTo>
                    <a:pt x="5176" y="2065"/>
                  </a:lnTo>
                  <a:lnTo>
                    <a:pt x="5204" y="2081"/>
                  </a:lnTo>
                  <a:lnTo>
                    <a:pt x="5214" y="2098"/>
                  </a:lnTo>
                  <a:lnTo>
                    <a:pt x="5204" y="2103"/>
                  </a:lnTo>
                  <a:lnTo>
                    <a:pt x="5053" y="2070"/>
                  </a:lnTo>
                  <a:lnTo>
                    <a:pt x="5025" y="2086"/>
                  </a:lnTo>
                  <a:lnTo>
                    <a:pt x="5053" y="2081"/>
                  </a:lnTo>
                  <a:lnTo>
                    <a:pt x="5112" y="2098"/>
                  </a:lnTo>
                  <a:lnTo>
                    <a:pt x="5053" y="2098"/>
                  </a:lnTo>
                  <a:lnTo>
                    <a:pt x="5079" y="2098"/>
                  </a:lnTo>
                  <a:lnTo>
                    <a:pt x="5053" y="2115"/>
                  </a:lnTo>
                  <a:lnTo>
                    <a:pt x="5053" y="2124"/>
                  </a:lnTo>
                  <a:lnTo>
                    <a:pt x="5058" y="2115"/>
                  </a:lnTo>
                  <a:lnTo>
                    <a:pt x="5107" y="2103"/>
                  </a:lnTo>
                  <a:lnTo>
                    <a:pt x="5138" y="2119"/>
                  </a:lnTo>
                  <a:lnTo>
                    <a:pt x="5079" y="2124"/>
                  </a:lnTo>
                  <a:lnTo>
                    <a:pt x="5112" y="2124"/>
                  </a:lnTo>
                  <a:lnTo>
                    <a:pt x="5124" y="2136"/>
                  </a:lnTo>
                  <a:lnTo>
                    <a:pt x="5079" y="2136"/>
                  </a:lnTo>
                  <a:lnTo>
                    <a:pt x="5138" y="2152"/>
                  </a:lnTo>
                  <a:lnTo>
                    <a:pt x="5020" y="2136"/>
                  </a:lnTo>
                  <a:lnTo>
                    <a:pt x="5112" y="2157"/>
                  </a:lnTo>
                  <a:lnTo>
                    <a:pt x="5058" y="2169"/>
                  </a:lnTo>
                  <a:lnTo>
                    <a:pt x="5091" y="2169"/>
                  </a:lnTo>
                  <a:lnTo>
                    <a:pt x="5070" y="2176"/>
                  </a:lnTo>
                  <a:lnTo>
                    <a:pt x="5150" y="2176"/>
                  </a:lnTo>
                  <a:lnTo>
                    <a:pt x="5145" y="2181"/>
                  </a:lnTo>
                  <a:lnTo>
                    <a:pt x="5145" y="2197"/>
                  </a:lnTo>
                  <a:lnTo>
                    <a:pt x="5162" y="2181"/>
                  </a:lnTo>
                  <a:lnTo>
                    <a:pt x="5176" y="2192"/>
                  </a:lnTo>
                  <a:lnTo>
                    <a:pt x="5167" y="2192"/>
                  </a:lnTo>
                  <a:lnTo>
                    <a:pt x="5183" y="2192"/>
                  </a:lnTo>
                  <a:lnTo>
                    <a:pt x="5183" y="2181"/>
                  </a:lnTo>
                  <a:lnTo>
                    <a:pt x="5214" y="2192"/>
                  </a:lnTo>
                  <a:lnTo>
                    <a:pt x="5192" y="2197"/>
                  </a:lnTo>
                  <a:lnTo>
                    <a:pt x="5138" y="2209"/>
                  </a:lnTo>
                  <a:lnTo>
                    <a:pt x="5129" y="2214"/>
                  </a:lnTo>
                  <a:lnTo>
                    <a:pt x="5145" y="2209"/>
                  </a:lnTo>
                  <a:lnTo>
                    <a:pt x="5150" y="2214"/>
                  </a:lnTo>
                  <a:lnTo>
                    <a:pt x="5145" y="2214"/>
                  </a:lnTo>
                  <a:lnTo>
                    <a:pt x="5150" y="2214"/>
                  </a:lnTo>
                  <a:lnTo>
                    <a:pt x="5176" y="2197"/>
                  </a:lnTo>
                  <a:lnTo>
                    <a:pt x="5192" y="2209"/>
                  </a:lnTo>
                  <a:lnTo>
                    <a:pt x="5176" y="2209"/>
                  </a:lnTo>
                  <a:lnTo>
                    <a:pt x="5162" y="2230"/>
                  </a:lnTo>
                  <a:lnTo>
                    <a:pt x="5145" y="2226"/>
                  </a:lnTo>
                  <a:lnTo>
                    <a:pt x="5162" y="2230"/>
                  </a:lnTo>
                  <a:lnTo>
                    <a:pt x="5167" y="2214"/>
                  </a:lnTo>
                  <a:lnTo>
                    <a:pt x="5192" y="2209"/>
                  </a:lnTo>
                  <a:lnTo>
                    <a:pt x="5204" y="2214"/>
                  </a:lnTo>
                  <a:lnTo>
                    <a:pt x="5192" y="2247"/>
                  </a:lnTo>
                  <a:lnTo>
                    <a:pt x="5214" y="2230"/>
                  </a:lnTo>
                  <a:lnTo>
                    <a:pt x="5214" y="2247"/>
                  </a:lnTo>
                  <a:lnTo>
                    <a:pt x="5221" y="2230"/>
                  </a:lnTo>
                  <a:lnTo>
                    <a:pt x="5237" y="2230"/>
                  </a:lnTo>
                  <a:lnTo>
                    <a:pt x="5230" y="2235"/>
                  </a:lnTo>
                  <a:lnTo>
                    <a:pt x="5247" y="2247"/>
                  </a:lnTo>
                  <a:lnTo>
                    <a:pt x="5230" y="2263"/>
                  </a:lnTo>
                  <a:lnTo>
                    <a:pt x="5204" y="2263"/>
                  </a:lnTo>
                  <a:lnTo>
                    <a:pt x="5237" y="2268"/>
                  </a:lnTo>
                  <a:lnTo>
                    <a:pt x="5237" y="2252"/>
                  </a:lnTo>
                  <a:lnTo>
                    <a:pt x="5268" y="2235"/>
                  </a:lnTo>
                  <a:lnTo>
                    <a:pt x="5268" y="2226"/>
                  </a:lnTo>
                  <a:lnTo>
                    <a:pt x="5268" y="2235"/>
                  </a:lnTo>
                  <a:lnTo>
                    <a:pt x="5259" y="2252"/>
                  </a:lnTo>
                  <a:lnTo>
                    <a:pt x="5259" y="2263"/>
                  </a:lnTo>
                  <a:lnTo>
                    <a:pt x="5259" y="2292"/>
                  </a:lnTo>
                  <a:lnTo>
                    <a:pt x="5259" y="2268"/>
                  </a:lnTo>
                  <a:lnTo>
                    <a:pt x="5275" y="2252"/>
                  </a:lnTo>
                  <a:lnTo>
                    <a:pt x="5275" y="2247"/>
                  </a:lnTo>
                  <a:lnTo>
                    <a:pt x="5301" y="2247"/>
                  </a:lnTo>
                  <a:lnTo>
                    <a:pt x="5285" y="2268"/>
                  </a:lnTo>
                  <a:lnTo>
                    <a:pt x="5306" y="2292"/>
                  </a:lnTo>
                  <a:lnTo>
                    <a:pt x="5306" y="2285"/>
                  </a:lnTo>
                  <a:lnTo>
                    <a:pt x="5289" y="2268"/>
                  </a:lnTo>
                  <a:lnTo>
                    <a:pt x="5301" y="2252"/>
                  </a:lnTo>
                  <a:lnTo>
                    <a:pt x="5327" y="2235"/>
                  </a:lnTo>
                  <a:lnTo>
                    <a:pt x="5355" y="2247"/>
                  </a:lnTo>
                  <a:lnTo>
                    <a:pt x="5327" y="2263"/>
                  </a:lnTo>
                  <a:lnTo>
                    <a:pt x="5327" y="2268"/>
                  </a:lnTo>
                  <a:lnTo>
                    <a:pt x="5313" y="2285"/>
                  </a:lnTo>
                  <a:lnTo>
                    <a:pt x="5339" y="2268"/>
                  </a:lnTo>
                  <a:lnTo>
                    <a:pt x="5344" y="2268"/>
                  </a:lnTo>
                  <a:lnTo>
                    <a:pt x="5344" y="2285"/>
                  </a:lnTo>
                  <a:lnTo>
                    <a:pt x="5344" y="2268"/>
                  </a:lnTo>
                  <a:lnTo>
                    <a:pt x="5365" y="2268"/>
                  </a:lnTo>
                  <a:lnTo>
                    <a:pt x="5377" y="2280"/>
                  </a:lnTo>
                  <a:lnTo>
                    <a:pt x="5355" y="2285"/>
                  </a:lnTo>
                  <a:lnTo>
                    <a:pt x="5377" y="2280"/>
                  </a:lnTo>
                  <a:lnTo>
                    <a:pt x="5398" y="2303"/>
                  </a:lnTo>
                  <a:lnTo>
                    <a:pt x="5365" y="2308"/>
                  </a:lnTo>
                  <a:lnTo>
                    <a:pt x="5398" y="2308"/>
                  </a:lnTo>
                  <a:lnTo>
                    <a:pt x="5410" y="2337"/>
                  </a:lnTo>
                  <a:lnTo>
                    <a:pt x="5344" y="2325"/>
                  </a:lnTo>
                  <a:lnTo>
                    <a:pt x="5381" y="2337"/>
                  </a:lnTo>
                  <a:lnTo>
                    <a:pt x="5344" y="2341"/>
                  </a:lnTo>
                  <a:lnTo>
                    <a:pt x="5398" y="2337"/>
                  </a:lnTo>
                  <a:lnTo>
                    <a:pt x="5360" y="2346"/>
                  </a:lnTo>
                  <a:lnTo>
                    <a:pt x="5355" y="2363"/>
                  </a:lnTo>
                  <a:lnTo>
                    <a:pt x="5365" y="2346"/>
                  </a:lnTo>
                  <a:lnTo>
                    <a:pt x="5436" y="2341"/>
                  </a:lnTo>
                  <a:lnTo>
                    <a:pt x="5415" y="2374"/>
                  </a:lnTo>
                  <a:lnTo>
                    <a:pt x="5448" y="2346"/>
                  </a:lnTo>
                  <a:lnTo>
                    <a:pt x="5448" y="2337"/>
                  </a:lnTo>
                  <a:lnTo>
                    <a:pt x="5462" y="2325"/>
                  </a:lnTo>
                  <a:lnTo>
                    <a:pt x="5474" y="2341"/>
                  </a:lnTo>
                  <a:lnTo>
                    <a:pt x="5452" y="2358"/>
                  </a:lnTo>
                  <a:lnTo>
                    <a:pt x="5452" y="2374"/>
                  </a:lnTo>
                  <a:lnTo>
                    <a:pt x="5415" y="2391"/>
                  </a:lnTo>
                  <a:lnTo>
                    <a:pt x="5436" y="2391"/>
                  </a:lnTo>
                  <a:lnTo>
                    <a:pt x="5436" y="2379"/>
                  </a:lnTo>
                  <a:lnTo>
                    <a:pt x="5436" y="2403"/>
                  </a:lnTo>
                  <a:lnTo>
                    <a:pt x="5452" y="2379"/>
                  </a:lnTo>
                  <a:lnTo>
                    <a:pt x="5485" y="2374"/>
                  </a:lnTo>
                  <a:lnTo>
                    <a:pt x="5474" y="2412"/>
                  </a:lnTo>
                  <a:lnTo>
                    <a:pt x="5490" y="2396"/>
                  </a:lnTo>
                  <a:lnTo>
                    <a:pt x="5490" y="2374"/>
                  </a:lnTo>
                  <a:lnTo>
                    <a:pt x="5500" y="2374"/>
                  </a:lnTo>
                  <a:lnTo>
                    <a:pt x="5523" y="2403"/>
                  </a:lnTo>
                  <a:lnTo>
                    <a:pt x="5507" y="2379"/>
                  </a:lnTo>
                  <a:lnTo>
                    <a:pt x="5528" y="2363"/>
                  </a:lnTo>
                  <a:lnTo>
                    <a:pt x="5537" y="2363"/>
                  </a:lnTo>
                  <a:lnTo>
                    <a:pt x="5528" y="2379"/>
                  </a:lnTo>
                  <a:lnTo>
                    <a:pt x="5561" y="2374"/>
                  </a:lnTo>
                  <a:lnTo>
                    <a:pt x="5592" y="2412"/>
                  </a:lnTo>
                  <a:lnTo>
                    <a:pt x="5575" y="2419"/>
                  </a:lnTo>
                  <a:lnTo>
                    <a:pt x="5544" y="2403"/>
                  </a:lnTo>
                  <a:lnTo>
                    <a:pt x="5528" y="2412"/>
                  </a:lnTo>
                  <a:lnTo>
                    <a:pt x="5554" y="2412"/>
                  </a:lnTo>
                  <a:lnTo>
                    <a:pt x="5570" y="2429"/>
                  </a:lnTo>
                  <a:lnTo>
                    <a:pt x="5544" y="2436"/>
                  </a:lnTo>
                  <a:lnTo>
                    <a:pt x="5575" y="2448"/>
                  </a:lnTo>
                  <a:lnTo>
                    <a:pt x="5544" y="2452"/>
                  </a:lnTo>
                  <a:lnTo>
                    <a:pt x="5507" y="2436"/>
                  </a:lnTo>
                  <a:lnTo>
                    <a:pt x="5490" y="2436"/>
                  </a:lnTo>
                  <a:lnTo>
                    <a:pt x="5516" y="2452"/>
                  </a:lnTo>
                  <a:lnTo>
                    <a:pt x="5490" y="2457"/>
                  </a:lnTo>
                  <a:lnTo>
                    <a:pt x="5474" y="2452"/>
                  </a:lnTo>
                  <a:lnTo>
                    <a:pt x="5490" y="2469"/>
                  </a:lnTo>
                  <a:lnTo>
                    <a:pt x="5528" y="2469"/>
                  </a:lnTo>
                  <a:lnTo>
                    <a:pt x="5544" y="2485"/>
                  </a:lnTo>
                  <a:lnTo>
                    <a:pt x="5485" y="2485"/>
                  </a:lnTo>
                  <a:lnTo>
                    <a:pt x="5474" y="2469"/>
                  </a:lnTo>
                  <a:lnTo>
                    <a:pt x="5469" y="2474"/>
                  </a:lnTo>
                  <a:lnTo>
                    <a:pt x="5516" y="2490"/>
                  </a:lnTo>
                  <a:lnTo>
                    <a:pt x="5516" y="2507"/>
                  </a:lnTo>
                  <a:lnTo>
                    <a:pt x="5500" y="2507"/>
                  </a:lnTo>
                  <a:lnTo>
                    <a:pt x="5474" y="2502"/>
                  </a:lnTo>
                  <a:lnTo>
                    <a:pt x="5500" y="2514"/>
                  </a:lnTo>
                  <a:lnTo>
                    <a:pt x="5485" y="2514"/>
                  </a:lnTo>
                  <a:lnTo>
                    <a:pt x="5500" y="2523"/>
                  </a:lnTo>
                  <a:lnTo>
                    <a:pt x="5490" y="2540"/>
                  </a:lnTo>
                  <a:lnTo>
                    <a:pt x="5485" y="2540"/>
                  </a:lnTo>
                  <a:lnTo>
                    <a:pt x="5474" y="2514"/>
                  </a:lnTo>
                  <a:lnTo>
                    <a:pt x="5474" y="2530"/>
                  </a:lnTo>
                  <a:lnTo>
                    <a:pt x="5474" y="2540"/>
                  </a:lnTo>
                  <a:lnTo>
                    <a:pt x="5452" y="2530"/>
                  </a:lnTo>
                  <a:lnTo>
                    <a:pt x="5436" y="2507"/>
                  </a:lnTo>
                  <a:lnTo>
                    <a:pt x="5448" y="2530"/>
                  </a:lnTo>
                  <a:lnTo>
                    <a:pt x="5419" y="2523"/>
                  </a:lnTo>
                  <a:lnTo>
                    <a:pt x="5448" y="2540"/>
                  </a:lnTo>
                  <a:lnTo>
                    <a:pt x="5431" y="2540"/>
                  </a:lnTo>
                  <a:lnTo>
                    <a:pt x="5452" y="2556"/>
                  </a:lnTo>
                  <a:lnTo>
                    <a:pt x="5419" y="2547"/>
                  </a:lnTo>
                  <a:lnTo>
                    <a:pt x="5448" y="2568"/>
                  </a:lnTo>
                  <a:lnTo>
                    <a:pt x="5436" y="2585"/>
                  </a:lnTo>
                  <a:lnTo>
                    <a:pt x="5448" y="2596"/>
                  </a:lnTo>
                  <a:lnTo>
                    <a:pt x="5431" y="2618"/>
                  </a:lnTo>
                  <a:lnTo>
                    <a:pt x="5415" y="2613"/>
                  </a:lnTo>
                  <a:lnTo>
                    <a:pt x="5419" y="2601"/>
                  </a:lnTo>
                  <a:lnTo>
                    <a:pt x="5410" y="2596"/>
                  </a:lnTo>
                  <a:lnTo>
                    <a:pt x="5393" y="2601"/>
                  </a:lnTo>
                  <a:lnTo>
                    <a:pt x="5381" y="2596"/>
                  </a:lnTo>
                  <a:lnTo>
                    <a:pt x="5393" y="2585"/>
                  </a:lnTo>
                  <a:lnTo>
                    <a:pt x="5377" y="2585"/>
                  </a:lnTo>
                  <a:lnTo>
                    <a:pt x="5377" y="2568"/>
                  </a:lnTo>
                  <a:lnTo>
                    <a:pt x="5381" y="2556"/>
                  </a:lnTo>
                  <a:lnTo>
                    <a:pt x="5365" y="2568"/>
                  </a:lnTo>
                  <a:lnTo>
                    <a:pt x="5360" y="2596"/>
                  </a:lnTo>
                  <a:lnTo>
                    <a:pt x="5339" y="2568"/>
                  </a:lnTo>
                  <a:lnTo>
                    <a:pt x="5355" y="2563"/>
                  </a:lnTo>
                  <a:lnTo>
                    <a:pt x="5339" y="2563"/>
                  </a:lnTo>
                  <a:lnTo>
                    <a:pt x="5365" y="2547"/>
                  </a:lnTo>
                  <a:lnTo>
                    <a:pt x="5327" y="2563"/>
                  </a:lnTo>
                  <a:lnTo>
                    <a:pt x="5322" y="2556"/>
                  </a:lnTo>
                  <a:lnTo>
                    <a:pt x="5355" y="2530"/>
                  </a:lnTo>
                  <a:lnTo>
                    <a:pt x="5327" y="2540"/>
                  </a:lnTo>
                  <a:lnTo>
                    <a:pt x="5306" y="2540"/>
                  </a:lnTo>
                  <a:lnTo>
                    <a:pt x="5344" y="2523"/>
                  </a:lnTo>
                  <a:lnTo>
                    <a:pt x="5322" y="2530"/>
                  </a:lnTo>
                  <a:lnTo>
                    <a:pt x="5289" y="2514"/>
                  </a:lnTo>
                  <a:lnTo>
                    <a:pt x="5306" y="2502"/>
                  </a:lnTo>
                  <a:lnTo>
                    <a:pt x="5355" y="2490"/>
                  </a:lnTo>
                  <a:lnTo>
                    <a:pt x="5344" y="2485"/>
                  </a:lnTo>
                  <a:lnTo>
                    <a:pt x="5355" y="2457"/>
                  </a:lnTo>
                  <a:lnTo>
                    <a:pt x="5377" y="2448"/>
                  </a:lnTo>
                  <a:lnTo>
                    <a:pt x="5355" y="2452"/>
                  </a:lnTo>
                  <a:lnTo>
                    <a:pt x="5339" y="2474"/>
                  </a:lnTo>
                  <a:lnTo>
                    <a:pt x="5268" y="2490"/>
                  </a:lnTo>
                  <a:lnTo>
                    <a:pt x="5259" y="2485"/>
                  </a:lnTo>
                  <a:lnTo>
                    <a:pt x="5285" y="2469"/>
                  </a:lnTo>
                  <a:lnTo>
                    <a:pt x="5301" y="2448"/>
                  </a:lnTo>
                  <a:lnTo>
                    <a:pt x="5285" y="2469"/>
                  </a:lnTo>
                  <a:lnTo>
                    <a:pt x="5252" y="2474"/>
                  </a:lnTo>
                  <a:lnTo>
                    <a:pt x="5247" y="2457"/>
                  </a:lnTo>
                  <a:lnTo>
                    <a:pt x="5221" y="2457"/>
                  </a:lnTo>
                  <a:lnTo>
                    <a:pt x="5221" y="2448"/>
                  </a:lnTo>
                  <a:lnTo>
                    <a:pt x="5230" y="2436"/>
                  </a:lnTo>
                  <a:lnTo>
                    <a:pt x="5204" y="2448"/>
                  </a:lnTo>
                  <a:lnTo>
                    <a:pt x="5200" y="2419"/>
                  </a:lnTo>
                  <a:lnTo>
                    <a:pt x="5183" y="2412"/>
                  </a:lnTo>
                  <a:lnTo>
                    <a:pt x="5200" y="2419"/>
                  </a:lnTo>
                  <a:lnTo>
                    <a:pt x="5183" y="2429"/>
                  </a:lnTo>
                  <a:lnTo>
                    <a:pt x="5167" y="2419"/>
                  </a:lnTo>
                  <a:lnTo>
                    <a:pt x="5138" y="2419"/>
                  </a:lnTo>
                  <a:lnTo>
                    <a:pt x="5183" y="2436"/>
                  </a:lnTo>
                  <a:lnTo>
                    <a:pt x="5176" y="2448"/>
                  </a:lnTo>
                  <a:lnTo>
                    <a:pt x="5162" y="2436"/>
                  </a:lnTo>
                  <a:lnTo>
                    <a:pt x="5183" y="2452"/>
                  </a:lnTo>
                  <a:lnTo>
                    <a:pt x="5167" y="2452"/>
                  </a:lnTo>
                  <a:lnTo>
                    <a:pt x="5124" y="2429"/>
                  </a:lnTo>
                  <a:lnTo>
                    <a:pt x="5145" y="2457"/>
                  </a:lnTo>
                  <a:lnTo>
                    <a:pt x="5176" y="2485"/>
                  </a:lnTo>
                  <a:lnTo>
                    <a:pt x="5176" y="2490"/>
                  </a:lnTo>
                  <a:lnTo>
                    <a:pt x="5176" y="2502"/>
                  </a:lnTo>
                  <a:lnTo>
                    <a:pt x="5129" y="2502"/>
                  </a:lnTo>
                  <a:lnTo>
                    <a:pt x="5107" y="2469"/>
                  </a:lnTo>
                  <a:lnTo>
                    <a:pt x="5058" y="2469"/>
                  </a:lnTo>
                  <a:lnTo>
                    <a:pt x="5112" y="2485"/>
                  </a:lnTo>
                  <a:lnTo>
                    <a:pt x="5112" y="2490"/>
                  </a:lnTo>
                  <a:lnTo>
                    <a:pt x="5096" y="2485"/>
                  </a:lnTo>
                  <a:lnTo>
                    <a:pt x="5096" y="2502"/>
                  </a:lnTo>
                  <a:lnTo>
                    <a:pt x="5112" y="2502"/>
                  </a:lnTo>
                  <a:lnTo>
                    <a:pt x="5107" y="2514"/>
                  </a:lnTo>
                  <a:lnTo>
                    <a:pt x="5129" y="2514"/>
                  </a:lnTo>
                  <a:lnTo>
                    <a:pt x="5112" y="2540"/>
                  </a:lnTo>
                  <a:lnTo>
                    <a:pt x="5124" y="2540"/>
                  </a:lnTo>
                  <a:lnTo>
                    <a:pt x="5124" y="2547"/>
                  </a:lnTo>
                  <a:lnTo>
                    <a:pt x="5138" y="2530"/>
                  </a:lnTo>
                  <a:lnTo>
                    <a:pt x="5167" y="2530"/>
                  </a:lnTo>
                  <a:lnTo>
                    <a:pt x="5162" y="2547"/>
                  </a:lnTo>
                  <a:lnTo>
                    <a:pt x="5183" y="2556"/>
                  </a:lnTo>
                  <a:lnTo>
                    <a:pt x="5162" y="2563"/>
                  </a:lnTo>
                  <a:lnTo>
                    <a:pt x="5200" y="2580"/>
                  </a:lnTo>
                  <a:lnTo>
                    <a:pt x="5192" y="2596"/>
                  </a:lnTo>
                  <a:lnTo>
                    <a:pt x="5183" y="2601"/>
                  </a:lnTo>
                  <a:lnTo>
                    <a:pt x="5204" y="2585"/>
                  </a:lnTo>
                  <a:lnTo>
                    <a:pt x="5204" y="2601"/>
                  </a:lnTo>
                  <a:lnTo>
                    <a:pt x="5214" y="2634"/>
                  </a:lnTo>
                  <a:lnTo>
                    <a:pt x="5214" y="2601"/>
                  </a:lnTo>
                  <a:lnTo>
                    <a:pt x="5252" y="2618"/>
                  </a:lnTo>
                  <a:lnTo>
                    <a:pt x="5247" y="2641"/>
                  </a:lnTo>
                  <a:lnTo>
                    <a:pt x="5259" y="2625"/>
                  </a:lnTo>
                  <a:lnTo>
                    <a:pt x="5259" y="2641"/>
                  </a:lnTo>
                  <a:lnTo>
                    <a:pt x="5268" y="2641"/>
                  </a:lnTo>
                  <a:lnTo>
                    <a:pt x="5259" y="2618"/>
                  </a:lnTo>
                  <a:lnTo>
                    <a:pt x="5285" y="2625"/>
                  </a:lnTo>
                  <a:lnTo>
                    <a:pt x="5285" y="2641"/>
                  </a:lnTo>
                  <a:lnTo>
                    <a:pt x="5285" y="2634"/>
                  </a:lnTo>
                  <a:lnTo>
                    <a:pt x="5289" y="2641"/>
                  </a:lnTo>
                  <a:lnTo>
                    <a:pt x="5285" y="2667"/>
                  </a:lnTo>
                  <a:lnTo>
                    <a:pt x="5313" y="2658"/>
                  </a:lnTo>
                  <a:lnTo>
                    <a:pt x="5322" y="2674"/>
                  </a:lnTo>
                  <a:lnTo>
                    <a:pt x="5313" y="2691"/>
                  </a:lnTo>
                  <a:lnTo>
                    <a:pt x="5285" y="2691"/>
                  </a:lnTo>
                  <a:lnTo>
                    <a:pt x="5301" y="2691"/>
                  </a:lnTo>
                  <a:lnTo>
                    <a:pt x="5327" y="2712"/>
                  </a:lnTo>
                  <a:lnTo>
                    <a:pt x="5313" y="2724"/>
                  </a:lnTo>
                  <a:lnTo>
                    <a:pt x="5355" y="2724"/>
                  </a:lnTo>
                  <a:lnTo>
                    <a:pt x="5327" y="2745"/>
                  </a:lnTo>
                  <a:lnTo>
                    <a:pt x="5360" y="2762"/>
                  </a:lnTo>
                  <a:lnTo>
                    <a:pt x="5365" y="2802"/>
                  </a:lnTo>
                  <a:lnTo>
                    <a:pt x="5360" y="2802"/>
                  </a:lnTo>
                  <a:lnTo>
                    <a:pt x="5365" y="2802"/>
                  </a:lnTo>
                  <a:lnTo>
                    <a:pt x="5360" y="2807"/>
                  </a:lnTo>
                  <a:lnTo>
                    <a:pt x="5344" y="2802"/>
                  </a:lnTo>
                  <a:lnTo>
                    <a:pt x="5339" y="2762"/>
                  </a:lnTo>
                  <a:lnTo>
                    <a:pt x="5306" y="2745"/>
                  </a:lnTo>
                  <a:lnTo>
                    <a:pt x="5327" y="2762"/>
                  </a:lnTo>
                  <a:lnTo>
                    <a:pt x="5322" y="2778"/>
                  </a:lnTo>
                  <a:lnTo>
                    <a:pt x="5339" y="2807"/>
                  </a:lnTo>
                  <a:lnTo>
                    <a:pt x="5322" y="2802"/>
                  </a:lnTo>
                  <a:lnTo>
                    <a:pt x="5327" y="2818"/>
                  </a:lnTo>
                  <a:lnTo>
                    <a:pt x="5344" y="2823"/>
                  </a:lnTo>
                  <a:lnTo>
                    <a:pt x="5344" y="2840"/>
                  </a:lnTo>
                  <a:lnTo>
                    <a:pt x="5355" y="2847"/>
                  </a:lnTo>
                  <a:lnTo>
                    <a:pt x="5339" y="2847"/>
                  </a:lnTo>
                  <a:lnTo>
                    <a:pt x="5313" y="2840"/>
                  </a:lnTo>
                  <a:lnTo>
                    <a:pt x="5339" y="2873"/>
                  </a:lnTo>
                  <a:lnTo>
                    <a:pt x="5313" y="2889"/>
                  </a:lnTo>
                  <a:lnTo>
                    <a:pt x="5313" y="2873"/>
                  </a:lnTo>
                  <a:lnTo>
                    <a:pt x="5306" y="2873"/>
                  </a:lnTo>
                  <a:lnTo>
                    <a:pt x="5306" y="2856"/>
                  </a:lnTo>
                  <a:lnTo>
                    <a:pt x="5289" y="2856"/>
                  </a:lnTo>
                  <a:lnTo>
                    <a:pt x="5268" y="2847"/>
                  </a:lnTo>
                  <a:lnTo>
                    <a:pt x="5268" y="2835"/>
                  </a:lnTo>
                  <a:lnTo>
                    <a:pt x="5259" y="2840"/>
                  </a:lnTo>
                  <a:lnTo>
                    <a:pt x="5237" y="2823"/>
                  </a:lnTo>
                  <a:lnTo>
                    <a:pt x="5252" y="2840"/>
                  </a:lnTo>
                  <a:lnTo>
                    <a:pt x="5230" y="2835"/>
                  </a:lnTo>
                  <a:lnTo>
                    <a:pt x="5214" y="2790"/>
                  </a:lnTo>
                  <a:lnTo>
                    <a:pt x="5204" y="2802"/>
                  </a:lnTo>
                  <a:lnTo>
                    <a:pt x="5221" y="2818"/>
                  </a:lnTo>
                  <a:lnTo>
                    <a:pt x="5221" y="2840"/>
                  </a:lnTo>
                  <a:lnTo>
                    <a:pt x="5204" y="2823"/>
                  </a:lnTo>
                  <a:lnTo>
                    <a:pt x="5204" y="2807"/>
                  </a:lnTo>
                  <a:lnTo>
                    <a:pt x="5200" y="2818"/>
                  </a:lnTo>
                  <a:lnTo>
                    <a:pt x="5192" y="2807"/>
                  </a:lnTo>
                  <a:lnTo>
                    <a:pt x="5192" y="2790"/>
                  </a:lnTo>
                  <a:lnTo>
                    <a:pt x="5192" y="2802"/>
                  </a:lnTo>
                  <a:lnTo>
                    <a:pt x="5176" y="2807"/>
                  </a:lnTo>
                  <a:lnTo>
                    <a:pt x="5129" y="2752"/>
                  </a:lnTo>
                  <a:lnTo>
                    <a:pt x="5145" y="2790"/>
                  </a:lnTo>
                  <a:lnTo>
                    <a:pt x="5079" y="2752"/>
                  </a:lnTo>
                  <a:lnTo>
                    <a:pt x="5053" y="2752"/>
                  </a:lnTo>
                  <a:lnTo>
                    <a:pt x="5107" y="2818"/>
                  </a:lnTo>
                  <a:lnTo>
                    <a:pt x="5145" y="2823"/>
                  </a:lnTo>
                  <a:lnTo>
                    <a:pt x="5138" y="2835"/>
                  </a:lnTo>
                  <a:lnTo>
                    <a:pt x="5138" y="2840"/>
                  </a:lnTo>
                  <a:lnTo>
                    <a:pt x="5150" y="2835"/>
                  </a:lnTo>
                  <a:lnTo>
                    <a:pt x="5145" y="2847"/>
                  </a:lnTo>
                  <a:lnTo>
                    <a:pt x="5162" y="2840"/>
                  </a:lnTo>
                  <a:lnTo>
                    <a:pt x="5192" y="2873"/>
                  </a:lnTo>
                  <a:lnTo>
                    <a:pt x="5204" y="2873"/>
                  </a:lnTo>
                  <a:lnTo>
                    <a:pt x="5204" y="2880"/>
                  </a:lnTo>
                  <a:lnTo>
                    <a:pt x="5237" y="2896"/>
                  </a:lnTo>
                  <a:lnTo>
                    <a:pt x="5237" y="2901"/>
                  </a:lnTo>
                  <a:lnTo>
                    <a:pt x="5230" y="2913"/>
                  </a:lnTo>
                  <a:lnTo>
                    <a:pt x="5237" y="2918"/>
                  </a:lnTo>
                  <a:lnTo>
                    <a:pt x="5237" y="2913"/>
                  </a:lnTo>
                  <a:lnTo>
                    <a:pt x="5247" y="2913"/>
                  </a:lnTo>
                  <a:lnTo>
                    <a:pt x="5247" y="2918"/>
                  </a:lnTo>
                  <a:lnTo>
                    <a:pt x="5268" y="2929"/>
                  </a:lnTo>
                  <a:lnTo>
                    <a:pt x="5252" y="2934"/>
                  </a:lnTo>
                  <a:lnTo>
                    <a:pt x="5259" y="2955"/>
                  </a:lnTo>
                  <a:lnTo>
                    <a:pt x="5230" y="2955"/>
                  </a:lnTo>
                  <a:lnTo>
                    <a:pt x="5204" y="2946"/>
                  </a:lnTo>
                  <a:lnTo>
                    <a:pt x="5041" y="2901"/>
                  </a:lnTo>
                  <a:lnTo>
                    <a:pt x="5004" y="2873"/>
                  </a:lnTo>
                  <a:lnTo>
                    <a:pt x="5015" y="2863"/>
                  </a:lnTo>
                  <a:lnTo>
                    <a:pt x="4966" y="2863"/>
                  </a:lnTo>
                  <a:lnTo>
                    <a:pt x="4897" y="2840"/>
                  </a:lnTo>
                  <a:lnTo>
                    <a:pt x="4918" y="2823"/>
                  </a:lnTo>
                  <a:lnTo>
                    <a:pt x="4911" y="2818"/>
                  </a:lnTo>
                  <a:lnTo>
                    <a:pt x="4890" y="2835"/>
                  </a:lnTo>
                  <a:lnTo>
                    <a:pt x="4864" y="2818"/>
                  </a:lnTo>
                  <a:lnTo>
                    <a:pt x="4852" y="2790"/>
                  </a:lnTo>
                  <a:lnTo>
                    <a:pt x="4826" y="2785"/>
                  </a:lnTo>
                  <a:lnTo>
                    <a:pt x="4864" y="2785"/>
                  </a:lnTo>
                  <a:lnTo>
                    <a:pt x="4890" y="2769"/>
                  </a:lnTo>
                  <a:lnTo>
                    <a:pt x="4864" y="2769"/>
                  </a:lnTo>
                  <a:lnTo>
                    <a:pt x="4864" y="2752"/>
                  </a:lnTo>
                  <a:lnTo>
                    <a:pt x="4843" y="2745"/>
                  </a:lnTo>
                  <a:lnTo>
                    <a:pt x="4836" y="2752"/>
                  </a:lnTo>
                  <a:lnTo>
                    <a:pt x="4852" y="2752"/>
                  </a:lnTo>
                  <a:lnTo>
                    <a:pt x="4843" y="2762"/>
                  </a:lnTo>
                  <a:lnTo>
                    <a:pt x="4826" y="2752"/>
                  </a:lnTo>
                  <a:lnTo>
                    <a:pt x="4810" y="2762"/>
                  </a:lnTo>
                  <a:lnTo>
                    <a:pt x="4810" y="2752"/>
                  </a:lnTo>
                  <a:lnTo>
                    <a:pt x="4822" y="2736"/>
                  </a:lnTo>
                  <a:lnTo>
                    <a:pt x="4822" y="2729"/>
                  </a:lnTo>
                  <a:lnTo>
                    <a:pt x="4810" y="2745"/>
                  </a:lnTo>
                  <a:lnTo>
                    <a:pt x="4805" y="2745"/>
                  </a:lnTo>
                  <a:lnTo>
                    <a:pt x="4798" y="2736"/>
                  </a:lnTo>
                  <a:lnTo>
                    <a:pt x="4798" y="2724"/>
                  </a:lnTo>
                  <a:lnTo>
                    <a:pt x="4789" y="2712"/>
                  </a:lnTo>
                  <a:lnTo>
                    <a:pt x="4789" y="2729"/>
                  </a:lnTo>
                  <a:lnTo>
                    <a:pt x="4772" y="2712"/>
                  </a:lnTo>
                  <a:lnTo>
                    <a:pt x="4784" y="2712"/>
                  </a:lnTo>
                  <a:lnTo>
                    <a:pt x="4772" y="2707"/>
                  </a:lnTo>
                  <a:lnTo>
                    <a:pt x="4751" y="2691"/>
                  </a:lnTo>
                  <a:lnTo>
                    <a:pt x="4746" y="2691"/>
                  </a:lnTo>
                  <a:lnTo>
                    <a:pt x="4746" y="2674"/>
                  </a:lnTo>
                  <a:lnTo>
                    <a:pt x="4755" y="2658"/>
                  </a:lnTo>
                  <a:lnTo>
                    <a:pt x="4751" y="2641"/>
                  </a:lnTo>
                  <a:lnTo>
                    <a:pt x="4751" y="2658"/>
                  </a:lnTo>
                  <a:lnTo>
                    <a:pt x="4734" y="2667"/>
                  </a:lnTo>
                  <a:lnTo>
                    <a:pt x="4734" y="2651"/>
                  </a:lnTo>
                  <a:lnTo>
                    <a:pt x="4718" y="2651"/>
                  </a:lnTo>
                  <a:lnTo>
                    <a:pt x="4718" y="2658"/>
                  </a:lnTo>
                  <a:lnTo>
                    <a:pt x="4701" y="2651"/>
                  </a:lnTo>
                  <a:lnTo>
                    <a:pt x="4713" y="2667"/>
                  </a:lnTo>
                  <a:lnTo>
                    <a:pt x="4696" y="2679"/>
                  </a:lnTo>
                  <a:lnTo>
                    <a:pt x="4692" y="2658"/>
                  </a:lnTo>
                  <a:lnTo>
                    <a:pt x="4696" y="2658"/>
                  </a:lnTo>
                  <a:lnTo>
                    <a:pt x="4696" y="2634"/>
                  </a:lnTo>
                  <a:lnTo>
                    <a:pt x="4680" y="2658"/>
                  </a:lnTo>
                  <a:lnTo>
                    <a:pt x="4675" y="2658"/>
                  </a:lnTo>
                  <a:lnTo>
                    <a:pt x="4649" y="2634"/>
                  </a:lnTo>
                  <a:lnTo>
                    <a:pt x="4663" y="2625"/>
                  </a:lnTo>
                  <a:lnTo>
                    <a:pt x="4649" y="2618"/>
                  </a:lnTo>
                  <a:lnTo>
                    <a:pt x="4649" y="2634"/>
                  </a:lnTo>
                  <a:lnTo>
                    <a:pt x="4626" y="2625"/>
                  </a:lnTo>
                  <a:lnTo>
                    <a:pt x="4663" y="2658"/>
                  </a:lnTo>
                  <a:lnTo>
                    <a:pt x="4649" y="2679"/>
                  </a:lnTo>
                  <a:lnTo>
                    <a:pt x="4574" y="2651"/>
                  </a:lnTo>
                  <a:lnTo>
                    <a:pt x="4574" y="2658"/>
                  </a:lnTo>
                  <a:lnTo>
                    <a:pt x="4583" y="2667"/>
                  </a:lnTo>
                  <a:lnTo>
                    <a:pt x="4567" y="2667"/>
                  </a:lnTo>
                  <a:lnTo>
                    <a:pt x="4583" y="2679"/>
                  </a:lnTo>
                  <a:lnTo>
                    <a:pt x="4503" y="2691"/>
                  </a:lnTo>
                  <a:lnTo>
                    <a:pt x="4512" y="2696"/>
                  </a:lnTo>
                  <a:lnTo>
                    <a:pt x="4481" y="2691"/>
                  </a:lnTo>
                  <a:lnTo>
                    <a:pt x="4465" y="2696"/>
                  </a:lnTo>
                  <a:lnTo>
                    <a:pt x="4444" y="2674"/>
                  </a:lnTo>
                  <a:lnTo>
                    <a:pt x="4432" y="2679"/>
                  </a:lnTo>
                  <a:lnTo>
                    <a:pt x="4406" y="2658"/>
                  </a:lnTo>
                  <a:lnTo>
                    <a:pt x="4406" y="2634"/>
                  </a:lnTo>
                  <a:lnTo>
                    <a:pt x="4411" y="2625"/>
                  </a:lnTo>
                  <a:lnTo>
                    <a:pt x="4411" y="2613"/>
                  </a:lnTo>
                  <a:lnTo>
                    <a:pt x="4465" y="2585"/>
                  </a:lnTo>
                  <a:lnTo>
                    <a:pt x="4448" y="2568"/>
                  </a:lnTo>
                  <a:lnTo>
                    <a:pt x="4465" y="2563"/>
                  </a:lnTo>
                  <a:lnTo>
                    <a:pt x="4460" y="2556"/>
                  </a:lnTo>
                  <a:lnTo>
                    <a:pt x="4574" y="2580"/>
                  </a:lnTo>
                  <a:lnTo>
                    <a:pt x="4595" y="2601"/>
                  </a:lnTo>
                  <a:lnTo>
                    <a:pt x="4595" y="2613"/>
                  </a:lnTo>
                  <a:lnTo>
                    <a:pt x="4583" y="2613"/>
                  </a:lnTo>
                  <a:lnTo>
                    <a:pt x="4604" y="2641"/>
                  </a:lnTo>
                  <a:lnTo>
                    <a:pt x="4611" y="2634"/>
                  </a:lnTo>
                  <a:lnTo>
                    <a:pt x="4604" y="2618"/>
                  </a:lnTo>
                  <a:lnTo>
                    <a:pt x="4588" y="2618"/>
                  </a:lnTo>
                  <a:lnTo>
                    <a:pt x="4611" y="2613"/>
                  </a:lnTo>
                  <a:lnTo>
                    <a:pt x="4611" y="2596"/>
                  </a:lnTo>
                  <a:lnTo>
                    <a:pt x="4604" y="2601"/>
                  </a:lnTo>
                  <a:lnTo>
                    <a:pt x="4567" y="2568"/>
                  </a:lnTo>
                  <a:lnTo>
                    <a:pt x="4611" y="2580"/>
                  </a:lnTo>
                  <a:lnTo>
                    <a:pt x="4621" y="2568"/>
                  </a:lnTo>
                  <a:lnTo>
                    <a:pt x="4621" y="2563"/>
                  </a:lnTo>
                  <a:lnTo>
                    <a:pt x="4663" y="2568"/>
                  </a:lnTo>
                  <a:lnTo>
                    <a:pt x="4692" y="2547"/>
                  </a:lnTo>
                  <a:lnTo>
                    <a:pt x="4734" y="2547"/>
                  </a:lnTo>
                  <a:lnTo>
                    <a:pt x="4718" y="2514"/>
                  </a:lnTo>
                  <a:lnTo>
                    <a:pt x="4696" y="2502"/>
                  </a:lnTo>
                  <a:lnTo>
                    <a:pt x="4663" y="2469"/>
                  </a:lnTo>
                  <a:lnTo>
                    <a:pt x="4734" y="2419"/>
                  </a:lnTo>
                  <a:lnTo>
                    <a:pt x="4755" y="2403"/>
                  </a:lnTo>
                  <a:lnTo>
                    <a:pt x="4784" y="2363"/>
                  </a:lnTo>
                  <a:lnTo>
                    <a:pt x="4810" y="2358"/>
                  </a:lnTo>
                  <a:lnTo>
                    <a:pt x="4822" y="2341"/>
                  </a:lnTo>
                  <a:lnTo>
                    <a:pt x="4805" y="2292"/>
                  </a:lnTo>
                  <a:lnTo>
                    <a:pt x="4789" y="2285"/>
                  </a:lnTo>
                  <a:lnTo>
                    <a:pt x="4798" y="2268"/>
                  </a:lnTo>
                  <a:lnTo>
                    <a:pt x="4772" y="2252"/>
                  </a:lnTo>
                  <a:lnTo>
                    <a:pt x="4772" y="2247"/>
                  </a:lnTo>
                  <a:lnTo>
                    <a:pt x="4767" y="2226"/>
                  </a:lnTo>
                  <a:lnTo>
                    <a:pt x="4734" y="2214"/>
                  </a:lnTo>
                  <a:lnTo>
                    <a:pt x="4751" y="2197"/>
                  </a:lnTo>
                  <a:lnTo>
                    <a:pt x="4729" y="2214"/>
                  </a:lnTo>
                  <a:lnTo>
                    <a:pt x="4713" y="2209"/>
                  </a:lnTo>
                  <a:lnTo>
                    <a:pt x="4701" y="2181"/>
                  </a:lnTo>
                  <a:lnTo>
                    <a:pt x="4718" y="2181"/>
                  </a:lnTo>
                  <a:lnTo>
                    <a:pt x="4718" y="2157"/>
                  </a:lnTo>
                  <a:lnTo>
                    <a:pt x="4692" y="2157"/>
                  </a:lnTo>
                  <a:lnTo>
                    <a:pt x="4701" y="2176"/>
                  </a:lnTo>
                  <a:lnTo>
                    <a:pt x="4696" y="2181"/>
                  </a:lnTo>
                  <a:lnTo>
                    <a:pt x="4675" y="2176"/>
                  </a:lnTo>
                  <a:lnTo>
                    <a:pt x="4649" y="2152"/>
                  </a:lnTo>
                  <a:lnTo>
                    <a:pt x="4659" y="2140"/>
                  </a:lnTo>
                  <a:lnTo>
                    <a:pt x="4637" y="2140"/>
                  </a:lnTo>
                  <a:lnTo>
                    <a:pt x="4649" y="2124"/>
                  </a:lnTo>
                  <a:lnTo>
                    <a:pt x="4626" y="2124"/>
                  </a:lnTo>
                  <a:lnTo>
                    <a:pt x="4649" y="2119"/>
                  </a:lnTo>
                  <a:lnTo>
                    <a:pt x="4642" y="2115"/>
                  </a:lnTo>
                  <a:lnTo>
                    <a:pt x="4626" y="2119"/>
                  </a:lnTo>
                  <a:lnTo>
                    <a:pt x="4621" y="2136"/>
                  </a:lnTo>
                  <a:lnTo>
                    <a:pt x="4595" y="2119"/>
                  </a:lnTo>
                  <a:lnTo>
                    <a:pt x="4588" y="2136"/>
                  </a:lnTo>
                  <a:lnTo>
                    <a:pt x="4512" y="2157"/>
                  </a:lnTo>
                  <a:lnTo>
                    <a:pt x="4512" y="2152"/>
                  </a:lnTo>
                  <a:lnTo>
                    <a:pt x="4519" y="2136"/>
                  </a:lnTo>
                  <a:lnTo>
                    <a:pt x="4512" y="2124"/>
                  </a:lnTo>
                  <a:lnTo>
                    <a:pt x="4512" y="2119"/>
                  </a:lnTo>
                  <a:lnTo>
                    <a:pt x="4557" y="2119"/>
                  </a:lnTo>
                  <a:lnTo>
                    <a:pt x="4588" y="2115"/>
                  </a:lnTo>
                  <a:lnTo>
                    <a:pt x="4588" y="2098"/>
                  </a:lnTo>
                  <a:lnTo>
                    <a:pt x="4512" y="2048"/>
                  </a:lnTo>
                  <a:lnTo>
                    <a:pt x="4529" y="2041"/>
                  </a:lnTo>
                  <a:lnTo>
                    <a:pt x="4541" y="2029"/>
                  </a:lnTo>
                  <a:lnTo>
                    <a:pt x="4512" y="2029"/>
                  </a:lnTo>
                  <a:lnTo>
                    <a:pt x="4519" y="2041"/>
                  </a:lnTo>
                  <a:lnTo>
                    <a:pt x="4512" y="2048"/>
                  </a:lnTo>
                  <a:lnTo>
                    <a:pt x="4474" y="2041"/>
                  </a:lnTo>
                  <a:lnTo>
                    <a:pt x="4503" y="2029"/>
                  </a:lnTo>
                  <a:lnTo>
                    <a:pt x="4498" y="2013"/>
                  </a:lnTo>
                  <a:lnTo>
                    <a:pt x="4465" y="2013"/>
                  </a:lnTo>
                  <a:lnTo>
                    <a:pt x="4486" y="2003"/>
                  </a:lnTo>
                  <a:lnTo>
                    <a:pt x="4444" y="2025"/>
                  </a:lnTo>
                  <a:lnTo>
                    <a:pt x="4444" y="1970"/>
                  </a:lnTo>
                  <a:lnTo>
                    <a:pt x="4427" y="1959"/>
                  </a:lnTo>
                  <a:lnTo>
                    <a:pt x="4389" y="1970"/>
                  </a:lnTo>
                  <a:lnTo>
                    <a:pt x="4389" y="1954"/>
                  </a:lnTo>
                  <a:lnTo>
                    <a:pt x="4389" y="1947"/>
                  </a:lnTo>
                  <a:lnTo>
                    <a:pt x="4378" y="1954"/>
                  </a:lnTo>
                  <a:lnTo>
                    <a:pt x="4368" y="1937"/>
                  </a:lnTo>
                  <a:lnTo>
                    <a:pt x="4340" y="1930"/>
                  </a:lnTo>
                  <a:lnTo>
                    <a:pt x="4340" y="1921"/>
                  </a:lnTo>
                  <a:lnTo>
                    <a:pt x="4356" y="1914"/>
                  </a:lnTo>
                  <a:lnTo>
                    <a:pt x="4368" y="1921"/>
                  </a:lnTo>
                  <a:lnTo>
                    <a:pt x="4352" y="1904"/>
                  </a:lnTo>
                  <a:lnTo>
                    <a:pt x="4335" y="1914"/>
                  </a:lnTo>
                  <a:lnTo>
                    <a:pt x="4340" y="1914"/>
                  </a:lnTo>
                  <a:lnTo>
                    <a:pt x="4335" y="1937"/>
                  </a:lnTo>
                  <a:lnTo>
                    <a:pt x="4318" y="1930"/>
                  </a:lnTo>
                  <a:lnTo>
                    <a:pt x="4302" y="1947"/>
                  </a:lnTo>
                  <a:lnTo>
                    <a:pt x="4356" y="1954"/>
                  </a:lnTo>
                  <a:lnTo>
                    <a:pt x="4373" y="1992"/>
                  </a:lnTo>
                  <a:lnTo>
                    <a:pt x="4368" y="2008"/>
                  </a:lnTo>
                  <a:lnTo>
                    <a:pt x="4302" y="2008"/>
                  </a:lnTo>
                  <a:lnTo>
                    <a:pt x="4271" y="1992"/>
                  </a:lnTo>
                  <a:lnTo>
                    <a:pt x="4158" y="1975"/>
                  </a:lnTo>
                  <a:lnTo>
                    <a:pt x="4196" y="1992"/>
                  </a:lnTo>
                  <a:lnTo>
                    <a:pt x="4226" y="2025"/>
                  </a:lnTo>
                  <a:lnTo>
                    <a:pt x="4210" y="2029"/>
                  </a:lnTo>
                  <a:lnTo>
                    <a:pt x="4134" y="1975"/>
                  </a:lnTo>
                  <a:lnTo>
                    <a:pt x="4066" y="1954"/>
                  </a:lnTo>
                  <a:lnTo>
                    <a:pt x="4158" y="2003"/>
                  </a:lnTo>
                  <a:lnTo>
                    <a:pt x="4125" y="2025"/>
                  </a:lnTo>
                  <a:lnTo>
                    <a:pt x="4096" y="2008"/>
                  </a:lnTo>
                  <a:lnTo>
                    <a:pt x="4096" y="2008"/>
                  </a:lnTo>
                  <a:lnTo>
                    <a:pt x="4096" y="2008"/>
                  </a:lnTo>
                  <a:close/>
                  <a:moveTo>
                    <a:pt x="4226" y="1493"/>
                  </a:moveTo>
                  <a:lnTo>
                    <a:pt x="4318" y="1510"/>
                  </a:lnTo>
                  <a:lnTo>
                    <a:pt x="4406" y="1498"/>
                  </a:lnTo>
                  <a:lnTo>
                    <a:pt x="4460" y="1515"/>
                  </a:lnTo>
                  <a:lnTo>
                    <a:pt x="4474" y="1526"/>
                  </a:lnTo>
                  <a:lnTo>
                    <a:pt x="4486" y="1543"/>
                  </a:lnTo>
                  <a:lnTo>
                    <a:pt x="4512" y="1548"/>
                  </a:lnTo>
                  <a:lnTo>
                    <a:pt x="4519" y="1571"/>
                  </a:lnTo>
                  <a:lnTo>
                    <a:pt x="4536" y="1581"/>
                  </a:lnTo>
                  <a:lnTo>
                    <a:pt x="4536" y="1597"/>
                  </a:lnTo>
                  <a:lnTo>
                    <a:pt x="4557" y="1604"/>
                  </a:lnTo>
                  <a:lnTo>
                    <a:pt x="4519" y="1621"/>
                  </a:lnTo>
                  <a:lnTo>
                    <a:pt x="4406" y="1609"/>
                  </a:lnTo>
                  <a:lnTo>
                    <a:pt x="4314" y="1626"/>
                  </a:lnTo>
                  <a:lnTo>
                    <a:pt x="4281" y="1609"/>
                  </a:lnTo>
                  <a:lnTo>
                    <a:pt x="4264" y="1588"/>
                  </a:lnTo>
                  <a:lnTo>
                    <a:pt x="4264" y="1564"/>
                  </a:lnTo>
                  <a:lnTo>
                    <a:pt x="4217" y="1548"/>
                  </a:lnTo>
                  <a:lnTo>
                    <a:pt x="4217" y="1493"/>
                  </a:lnTo>
                  <a:lnTo>
                    <a:pt x="4226" y="1493"/>
                  </a:lnTo>
                  <a:lnTo>
                    <a:pt x="4226" y="1493"/>
                  </a:lnTo>
                  <a:lnTo>
                    <a:pt x="4226" y="1493"/>
                  </a:lnTo>
                  <a:close/>
                  <a:moveTo>
                    <a:pt x="2504" y="1604"/>
                  </a:moveTo>
                  <a:lnTo>
                    <a:pt x="2500" y="1604"/>
                  </a:lnTo>
                  <a:lnTo>
                    <a:pt x="2516" y="1609"/>
                  </a:lnTo>
                  <a:lnTo>
                    <a:pt x="2500" y="1609"/>
                  </a:lnTo>
                  <a:lnTo>
                    <a:pt x="2424" y="1543"/>
                  </a:lnTo>
                  <a:lnTo>
                    <a:pt x="2381" y="1526"/>
                  </a:lnTo>
                  <a:lnTo>
                    <a:pt x="2415" y="1493"/>
                  </a:lnTo>
                  <a:lnTo>
                    <a:pt x="2490" y="1486"/>
                  </a:lnTo>
                  <a:lnTo>
                    <a:pt x="2516" y="1486"/>
                  </a:lnTo>
                  <a:lnTo>
                    <a:pt x="2559" y="1515"/>
                  </a:lnTo>
                  <a:lnTo>
                    <a:pt x="2554" y="1548"/>
                  </a:lnTo>
                  <a:lnTo>
                    <a:pt x="2504" y="1604"/>
                  </a:lnTo>
                  <a:lnTo>
                    <a:pt x="2504" y="1604"/>
                  </a:lnTo>
                  <a:lnTo>
                    <a:pt x="2504" y="1604"/>
                  </a:lnTo>
                  <a:close/>
                  <a:moveTo>
                    <a:pt x="1151" y="1493"/>
                  </a:moveTo>
                  <a:lnTo>
                    <a:pt x="1156" y="1498"/>
                  </a:lnTo>
                  <a:lnTo>
                    <a:pt x="1139" y="1493"/>
                  </a:lnTo>
                  <a:lnTo>
                    <a:pt x="1151" y="1493"/>
                  </a:lnTo>
                  <a:lnTo>
                    <a:pt x="1151" y="1493"/>
                  </a:lnTo>
                  <a:lnTo>
                    <a:pt x="1151" y="1493"/>
                  </a:lnTo>
                  <a:close/>
                  <a:moveTo>
                    <a:pt x="1172" y="1510"/>
                  </a:moveTo>
                  <a:lnTo>
                    <a:pt x="1189" y="1515"/>
                  </a:lnTo>
                  <a:lnTo>
                    <a:pt x="1172" y="1515"/>
                  </a:lnTo>
                  <a:lnTo>
                    <a:pt x="1172" y="1510"/>
                  </a:lnTo>
                  <a:lnTo>
                    <a:pt x="1172" y="1510"/>
                  </a:lnTo>
                  <a:lnTo>
                    <a:pt x="1172" y="1510"/>
                  </a:lnTo>
                  <a:close/>
                  <a:moveTo>
                    <a:pt x="2339" y="1515"/>
                  </a:moveTo>
                  <a:lnTo>
                    <a:pt x="2306" y="1510"/>
                  </a:lnTo>
                  <a:lnTo>
                    <a:pt x="2344" y="1510"/>
                  </a:lnTo>
                  <a:lnTo>
                    <a:pt x="2339" y="1515"/>
                  </a:lnTo>
                  <a:lnTo>
                    <a:pt x="2339" y="1515"/>
                  </a:lnTo>
                  <a:lnTo>
                    <a:pt x="2339" y="1515"/>
                  </a:lnTo>
                  <a:close/>
                  <a:moveTo>
                    <a:pt x="2814" y="2025"/>
                  </a:moveTo>
                  <a:lnTo>
                    <a:pt x="2807" y="2041"/>
                  </a:lnTo>
                  <a:lnTo>
                    <a:pt x="2785" y="2029"/>
                  </a:lnTo>
                  <a:lnTo>
                    <a:pt x="2776" y="2013"/>
                  </a:lnTo>
                  <a:lnTo>
                    <a:pt x="2776" y="2008"/>
                  </a:lnTo>
                  <a:lnTo>
                    <a:pt x="2759" y="2029"/>
                  </a:lnTo>
                  <a:lnTo>
                    <a:pt x="2722" y="2003"/>
                  </a:lnTo>
                  <a:lnTo>
                    <a:pt x="2700" y="2025"/>
                  </a:lnTo>
                  <a:lnTo>
                    <a:pt x="2693" y="2025"/>
                  </a:lnTo>
                  <a:lnTo>
                    <a:pt x="2700" y="2029"/>
                  </a:lnTo>
                  <a:lnTo>
                    <a:pt x="2700" y="2048"/>
                  </a:lnTo>
                  <a:lnTo>
                    <a:pt x="2693" y="2048"/>
                  </a:lnTo>
                  <a:lnTo>
                    <a:pt x="2630" y="2029"/>
                  </a:lnTo>
                  <a:lnTo>
                    <a:pt x="2630" y="2041"/>
                  </a:lnTo>
                  <a:lnTo>
                    <a:pt x="2663" y="2058"/>
                  </a:lnTo>
                  <a:lnTo>
                    <a:pt x="2663" y="2086"/>
                  </a:lnTo>
                  <a:lnTo>
                    <a:pt x="2651" y="2098"/>
                  </a:lnTo>
                  <a:lnTo>
                    <a:pt x="2651" y="2103"/>
                  </a:lnTo>
                  <a:lnTo>
                    <a:pt x="2679" y="2070"/>
                  </a:lnTo>
                  <a:lnTo>
                    <a:pt x="2717" y="2058"/>
                  </a:lnTo>
                  <a:lnTo>
                    <a:pt x="2738" y="2065"/>
                  </a:lnTo>
                  <a:lnTo>
                    <a:pt x="2722" y="2086"/>
                  </a:lnTo>
                  <a:lnTo>
                    <a:pt x="2731" y="2098"/>
                  </a:lnTo>
                  <a:lnTo>
                    <a:pt x="2738" y="2086"/>
                  </a:lnTo>
                  <a:lnTo>
                    <a:pt x="2755" y="2098"/>
                  </a:lnTo>
                  <a:lnTo>
                    <a:pt x="2748" y="2119"/>
                  </a:lnTo>
                  <a:lnTo>
                    <a:pt x="2679" y="2140"/>
                  </a:lnTo>
                  <a:lnTo>
                    <a:pt x="2651" y="2140"/>
                  </a:lnTo>
                  <a:lnTo>
                    <a:pt x="2641" y="2152"/>
                  </a:lnTo>
                  <a:lnTo>
                    <a:pt x="2559" y="2124"/>
                  </a:lnTo>
                  <a:lnTo>
                    <a:pt x="2554" y="2136"/>
                  </a:lnTo>
                  <a:lnTo>
                    <a:pt x="2516" y="2136"/>
                  </a:lnTo>
                  <a:lnTo>
                    <a:pt x="2504" y="2124"/>
                  </a:lnTo>
                  <a:lnTo>
                    <a:pt x="2533" y="2115"/>
                  </a:lnTo>
                  <a:lnTo>
                    <a:pt x="2431" y="2098"/>
                  </a:lnTo>
                  <a:lnTo>
                    <a:pt x="2436" y="2081"/>
                  </a:lnTo>
                  <a:lnTo>
                    <a:pt x="2431" y="2070"/>
                  </a:lnTo>
                  <a:lnTo>
                    <a:pt x="2415" y="2058"/>
                  </a:lnTo>
                  <a:lnTo>
                    <a:pt x="2381" y="2081"/>
                  </a:lnTo>
                  <a:lnTo>
                    <a:pt x="2393" y="2098"/>
                  </a:lnTo>
                  <a:lnTo>
                    <a:pt x="2360" y="2119"/>
                  </a:lnTo>
                  <a:lnTo>
                    <a:pt x="2273" y="2124"/>
                  </a:lnTo>
                  <a:lnTo>
                    <a:pt x="2273" y="2136"/>
                  </a:lnTo>
                  <a:lnTo>
                    <a:pt x="2235" y="2157"/>
                  </a:lnTo>
                  <a:lnTo>
                    <a:pt x="2155" y="2176"/>
                  </a:lnTo>
                  <a:lnTo>
                    <a:pt x="2074" y="2176"/>
                  </a:lnTo>
                  <a:lnTo>
                    <a:pt x="2091" y="2181"/>
                  </a:lnTo>
                  <a:lnTo>
                    <a:pt x="1944" y="2192"/>
                  </a:lnTo>
                  <a:lnTo>
                    <a:pt x="1961" y="2181"/>
                  </a:lnTo>
                  <a:lnTo>
                    <a:pt x="1933" y="2176"/>
                  </a:lnTo>
                  <a:lnTo>
                    <a:pt x="1923" y="2140"/>
                  </a:lnTo>
                  <a:lnTo>
                    <a:pt x="1928" y="2115"/>
                  </a:lnTo>
                  <a:lnTo>
                    <a:pt x="1911" y="2098"/>
                  </a:lnTo>
                  <a:lnTo>
                    <a:pt x="1928" y="2098"/>
                  </a:lnTo>
                  <a:lnTo>
                    <a:pt x="1874" y="2086"/>
                  </a:lnTo>
                  <a:lnTo>
                    <a:pt x="1760" y="2081"/>
                  </a:lnTo>
                  <a:lnTo>
                    <a:pt x="1718" y="2070"/>
                  </a:lnTo>
                  <a:lnTo>
                    <a:pt x="1713" y="2065"/>
                  </a:lnTo>
                  <a:lnTo>
                    <a:pt x="1713" y="2048"/>
                  </a:lnTo>
                  <a:lnTo>
                    <a:pt x="1692" y="2048"/>
                  </a:lnTo>
                  <a:lnTo>
                    <a:pt x="1696" y="2041"/>
                  </a:lnTo>
                  <a:lnTo>
                    <a:pt x="1663" y="2025"/>
                  </a:lnTo>
                  <a:lnTo>
                    <a:pt x="1654" y="1992"/>
                  </a:lnTo>
                  <a:lnTo>
                    <a:pt x="1680" y="1975"/>
                  </a:lnTo>
                  <a:lnTo>
                    <a:pt x="1815" y="1959"/>
                  </a:lnTo>
                  <a:lnTo>
                    <a:pt x="1874" y="1954"/>
                  </a:lnTo>
                  <a:lnTo>
                    <a:pt x="1999" y="1970"/>
                  </a:lnTo>
                  <a:lnTo>
                    <a:pt x="2030" y="1959"/>
                  </a:lnTo>
                  <a:lnTo>
                    <a:pt x="2015" y="1954"/>
                  </a:lnTo>
                  <a:lnTo>
                    <a:pt x="2074" y="1954"/>
                  </a:lnTo>
                  <a:lnTo>
                    <a:pt x="2067" y="1954"/>
                  </a:lnTo>
                  <a:lnTo>
                    <a:pt x="2037" y="1947"/>
                  </a:lnTo>
                  <a:lnTo>
                    <a:pt x="2020" y="1930"/>
                  </a:lnTo>
                  <a:lnTo>
                    <a:pt x="1895" y="1897"/>
                  </a:lnTo>
                  <a:lnTo>
                    <a:pt x="1815" y="1914"/>
                  </a:lnTo>
                  <a:lnTo>
                    <a:pt x="1642" y="1914"/>
                  </a:lnTo>
                  <a:lnTo>
                    <a:pt x="1583" y="1864"/>
                  </a:lnTo>
                  <a:lnTo>
                    <a:pt x="1626" y="1843"/>
                  </a:lnTo>
                  <a:lnTo>
                    <a:pt x="1772" y="1810"/>
                  </a:lnTo>
                  <a:lnTo>
                    <a:pt x="1751" y="1803"/>
                  </a:lnTo>
                  <a:lnTo>
                    <a:pt x="1765" y="1803"/>
                  </a:lnTo>
                  <a:lnTo>
                    <a:pt x="1798" y="1803"/>
                  </a:lnTo>
                  <a:lnTo>
                    <a:pt x="1819" y="1793"/>
                  </a:lnTo>
                  <a:lnTo>
                    <a:pt x="1772" y="1786"/>
                  </a:lnTo>
                  <a:lnTo>
                    <a:pt x="1659" y="1810"/>
                  </a:lnTo>
                  <a:lnTo>
                    <a:pt x="1659" y="1803"/>
                  </a:lnTo>
                  <a:lnTo>
                    <a:pt x="1642" y="1793"/>
                  </a:lnTo>
                  <a:lnTo>
                    <a:pt x="1642" y="1803"/>
                  </a:lnTo>
                  <a:lnTo>
                    <a:pt x="1654" y="1803"/>
                  </a:lnTo>
                  <a:lnTo>
                    <a:pt x="1642" y="1810"/>
                  </a:lnTo>
                  <a:lnTo>
                    <a:pt x="1604" y="1810"/>
                  </a:lnTo>
                  <a:lnTo>
                    <a:pt x="1588" y="1803"/>
                  </a:lnTo>
                  <a:lnTo>
                    <a:pt x="1637" y="1786"/>
                  </a:lnTo>
                  <a:lnTo>
                    <a:pt x="1621" y="1781"/>
                  </a:lnTo>
                  <a:lnTo>
                    <a:pt x="1637" y="1770"/>
                  </a:lnTo>
                  <a:lnTo>
                    <a:pt x="1588" y="1786"/>
                  </a:lnTo>
                  <a:lnTo>
                    <a:pt x="1555" y="1770"/>
                  </a:lnTo>
                  <a:lnTo>
                    <a:pt x="1550" y="1786"/>
                  </a:lnTo>
                  <a:lnTo>
                    <a:pt x="1533" y="1781"/>
                  </a:lnTo>
                  <a:lnTo>
                    <a:pt x="1533" y="1765"/>
                  </a:lnTo>
                  <a:lnTo>
                    <a:pt x="1533" y="1737"/>
                  </a:lnTo>
                  <a:lnTo>
                    <a:pt x="1567" y="1715"/>
                  </a:lnTo>
                  <a:lnTo>
                    <a:pt x="1604" y="1699"/>
                  </a:lnTo>
                  <a:lnTo>
                    <a:pt x="1604" y="1682"/>
                  </a:lnTo>
                  <a:lnTo>
                    <a:pt x="1571" y="1675"/>
                  </a:lnTo>
                  <a:lnTo>
                    <a:pt x="1571" y="1659"/>
                  </a:lnTo>
                  <a:lnTo>
                    <a:pt x="1659" y="1604"/>
                  </a:lnTo>
                  <a:lnTo>
                    <a:pt x="1852" y="1543"/>
                  </a:lnTo>
                  <a:lnTo>
                    <a:pt x="1878" y="1548"/>
                  </a:lnTo>
                  <a:lnTo>
                    <a:pt x="1895" y="1571"/>
                  </a:lnTo>
                  <a:lnTo>
                    <a:pt x="1890" y="1609"/>
                  </a:lnTo>
                  <a:lnTo>
                    <a:pt x="1895" y="1621"/>
                  </a:lnTo>
                  <a:lnTo>
                    <a:pt x="1869" y="1626"/>
                  </a:lnTo>
                  <a:lnTo>
                    <a:pt x="1869" y="1642"/>
                  </a:lnTo>
                  <a:lnTo>
                    <a:pt x="1852" y="1654"/>
                  </a:lnTo>
                  <a:lnTo>
                    <a:pt x="1857" y="1654"/>
                  </a:lnTo>
                  <a:lnTo>
                    <a:pt x="1928" y="1637"/>
                  </a:lnTo>
                  <a:lnTo>
                    <a:pt x="1933" y="1626"/>
                  </a:lnTo>
                  <a:lnTo>
                    <a:pt x="1923" y="1621"/>
                  </a:lnTo>
                  <a:lnTo>
                    <a:pt x="1961" y="1597"/>
                  </a:lnTo>
                  <a:lnTo>
                    <a:pt x="2091" y="1637"/>
                  </a:lnTo>
                  <a:lnTo>
                    <a:pt x="2084" y="1654"/>
                  </a:lnTo>
                  <a:lnTo>
                    <a:pt x="2046" y="1682"/>
                  </a:lnTo>
                  <a:lnTo>
                    <a:pt x="2058" y="1692"/>
                  </a:lnTo>
                  <a:lnTo>
                    <a:pt x="2074" y="1682"/>
                  </a:lnTo>
                  <a:lnTo>
                    <a:pt x="2058" y="1682"/>
                  </a:lnTo>
                  <a:lnTo>
                    <a:pt x="2084" y="1666"/>
                  </a:lnTo>
                  <a:lnTo>
                    <a:pt x="2091" y="1666"/>
                  </a:lnTo>
                  <a:lnTo>
                    <a:pt x="2084" y="1682"/>
                  </a:lnTo>
                  <a:lnTo>
                    <a:pt x="2100" y="1682"/>
                  </a:lnTo>
                  <a:lnTo>
                    <a:pt x="2105" y="1666"/>
                  </a:lnTo>
                  <a:lnTo>
                    <a:pt x="2129" y="1654"/>
                  </a:lnTo>
                  <a:lnTo>
                    <a:pt x="2155" y="1666"/>
                  </a:lnTo>
                  <a:lnTo>
                    <a:pt x="2138" y="1659"/>
                  </a:lnTo>
                  <a:lnTo>
                    <a:pt x="2155" y="1654"/>
                  </a:lnTo>
                  <a:lnTo>
                    <a:pt x="2193" y="1666"/>
                  </a:lnTo>
                  <a:lnTo>
                    <a:pt x="2159" y="1654"/>
                  </a:lnTo>
                  <a:lnTo>
                    <a:pt x="2193" y="1659"/>
                  </a:lnTo>
                  <a:lnTo>
                    <a:pt x="2176" y="1642"/>
                  </a:lnTo>
                  <a:lnTo>
                    <a:pt x="2155" y="1637"/>
                  </a:lnTo>
                  <a:lnTo>
                    <a:pt x="2193" y="1626"/>
                  </a:lnTo>
                  <a:lnTo>
                    <a:pt x="2138" y="1609"/>
                  </a:lnTo>
                  <a:lnTo>
                    <a:pt x="2122" y="1597"/>
                  </a:lnTo>
                  <a:lnTo>
                    <a:pt x="2143" y="1588"/>
                  </a:lnTo>
                  <a:lnTo>
                    <a:pt x="2197" y="1604"/>
                  </a:lnTo>
                  <a:lnTo>
                    <a:pt x="2193" y="1609"/>
                  </a:lnTo>
                  <a:lnTo>
                    <a:pt x="2230" y="1626"/>
                  </a:lnTo>
                  <a:lnTo>
                    <a:pt x="2247" y="1637"/>
                  </a:lnTo>
                  <a:lnTo>
                    <a:pt x="2247" y="1654"/>
                  </a:lnTo>
                  <a:lnTo>
                    <a:pt x="2273" y="1654"/>
                  </a:lnTo>
                  <a:lnTo>
                    <a:pt x="2268" y="1682"/>
                  </a:lnTo>
                  <a:lnTo>
                    <a:pt x="2285" y="1708"/>
                  </a:lnTo>
                  <a:lnTo>
                    <a:pt x="2289" y="1725"/>
                  </a:lnTo>
                  <a:lnTo>
                    <a:pt x="2301" y="1737"/>
                  </a:lnTo>
                  <a:lnTo>
                    <a:pt x="2301" y="1748"/>
                  </a:lnTo>
                  <a:lnTo>
                    <a:pt x="2301" y="1770"/>
                  </a:lnTo>
                  <a:lnTo>
                    <a:pt x="2327" y="1781"/>
                  </a:lnTo>
                  <a:lnTo>
                    <a:pt x="2327" y="1770"/>
                  </a:lnTo>
                  <a:lnTo>
                    <a:pt x="2370" y="1748"/>
                  </a:lnTo>
                  <a:lnTo>
                    <a:pt x="2327" y="1708"/>
                  </a:lnTo>
                  <a:lnTo>
                    <a:pt x="2322" y="1654"/>
                  </a:lnTo>
                  <a:lnTo>
                    <a:pt x="2318" y="1642"/>
                  </a:lnTo>
                  <a:lnTo>
                    <a:pt x="2289" y="1571"/>
                  </a:lnTo>
                  <a:lnTo>
                    <a:pt x="2322" y="1564"/>
                  </a:lnTo>
                  <a:lnTo>
                    <a:pt x="2306" y="1555"/>
                  </a:lnTo>
                  <a:lnTo>
                    <a:pt x="2318" y="1548"/>
                  </a:lnTo>
                  <a:lnTo>
                    <a:pt x="2381" y="1571"/>
                  </a:lnTo>
                  <a:lnTo>
                    <a:pt x="2381" y="1564"/>
                  </a:lnTo>
                  <a:lnTo>
                    <a:pt x="2377" y="1555"/>
                  </a:lnTo>
                  <a:lnTo>
                    <a:pt x="2398" y="1548"/>
                  </a:lnTo>
                  <a:lnTo>
                    <a:pt x="2436" y="1581"/>
                  </a:lnTo>
                  <a:lnTo>
                    <a:pt x="2469" y="1588"/>
                  </a:lnTo>
                  <a:lnTo>
                    <a:pt x="2500" y="1626"/>
                  </a:lnTo>
                  <a:lnTo>
                    <a:pt x="2490" y="1626"/>
                  </a:lnTo>
                  <a:lnTo>
                    <a:pt x="2516" y="1666"/>
                  </a:lnTo>
                  <a:lnTo>
                    <a:pt x="2504" y="1666"/>
                  </a:lnTo>
                  <a:lnTo>
                    <a:pt x="2533" y="1708"/>
                  </a:lnTo>
                  <a:lnTo>
                    <a:pt x="2521" y="1725"/>
                  </a:lnTo>
                  <a:lnTo>
                    <a:pt x="2570" y="1786"/>
                  </a:lnTo>
                  <a:lnTo>
                    <a:pt x="2570" y="1793"/>
                  </a:lnTo>
                  <a:lnTo>
                    <a:pt x="2570" y="1810"/>
                  </a:lnTo>
                  <a:lnTo>
                    <a:pt x="2559" y="1819"/>
                  </a:lnTo>
                  <a:lnTo>
                    <a:pt x="2570" y="1836"/>
                  </a:lnTo>
                  <a:lnTo>
                    <a:pt x="2554" y="1848"/>
                  </a:lnTo>
                  <a:lnTo>
                    <a:pt x="2630" y="1914"/>
                  </a:lnTo>
                  <a:lnTo>
                    <a:pt x="2667" y="1930"/>
                  </a:lnTo>
                  <a:lnTo>
                    <a:pt x="2651" y="1921"/>
                  </a:lnTo>
                  <a:lnTo>
                    <a:pt x="2651" y="1904"/>
                  </a:lnTo>
                  <a:lnTo>
                    <a:pt x="2663" y="1904"/>
                  </a:lnTo>
                  <a:lnTo>
                    <a:pt x="2684" y="1930"/>
                  </a:lnTo>
                  <a:lnTo>
                    <a:pt x="2738" y="1959"/>
                  </a:lnTo>
                  <a:lnTo>
                    <a:pt x="2759" y="1959"/>
                  </a:lnTo>
                  <a:lnTo>
                    <a:pt x="2759" y="1970"/>
                  </a:lnTo>
                  <a:lnTo>
                    <a:pt x="2769" y="1975"/>
                  </a:lnTo>
                  <a:lnTo>
                    <a:pt x="2807" y="1970"/>
                  </a:lnTo>
                  <a:lnTo>
                    <a:pt x="2814" y="2025"/>
                  </a:lnTo>
                  <a:lnTo>
                    <a:pt x="2814" y="2025"/>
                  </a:lnTo>
                  <a:lnTo>
                    <a:pt x="2814" y="2025"/>
                  </a:lnTo>
                  <a:close/>
                  <a:moveTo>
                    <a:pt x="3083" y="1555"/>
                  </a:moveTo>
                  <a:lnTo>
                    <a:pt x="3095" y="1564"/>
                  </a:lnTo>
                  <a:lnTo>
                    <a:pt x="3078" y="1555"/>
                  </a:lnTo>
                  <a:lnTo>
                    <a:pt x="3083" y="1555"/>
                  </a:lnTo>
                  <a:lnTo>
                    <a:pt x="3083" y="1555"/>
                  </a:lnTo>
                  <a:lnTo>
                    <a:pt x="3083" y="1555"/>
                  </a:lnTo>
                  <a:close/>
                  <a:moveTo>
                    <a:pt x="3100" y="1564"/>
                  </a:moveTo>
                  <a:lnTo>
                    <a:pt x="3116" y="1581"/>
                  </a:lnTo>
                  <a:lnTo>
                    <a:pt x="3109" y="1597"/>
                  </a:lnTo>
                  <a:lnTo>
                    <a:pt x="3095" y="1604"/>
                  </a:lnTo>
                  <a:lnTo>
                    <a:pt x="3078" y="1588"/>
                  </a:lnTo>
                  <a:lnTo>
                    <a:pt x="3083" y="1571"/>
                  </a:lnTo>
                  <a:lnTo>
                    <a:pt x="3100" y="1564"/>
                  </a:lnTo>
                  <a:lnTo>
                    <a:pt x="3100" y="1564"/>
                  </a:lnTo>
                  <a:lnTo>
                    <a:pt x="3100" y="1564"/>
                  </a:lnTo>
                  <a:close/>
                  <a:moveTo>
                    <a:pt x="3180" y="1571"/>
                  </a:moveTo>
                  <a:lnTo>
                    <a:pt x="3180" y="1588"/>
                  </a:lnTo>
                  <a:lnTo>
                    <a:pt x="3163" y="1581"/>
                  </a:lnTo>
                  <a:lnTo>
                    <a:pt x="3180" y="1571"/>
                  </a:lnTo>
                  <a:lnTo>
                    <a:pt x="3180" y="1571"/>
                  </a:lnTo>
                  <a:lnTo>
                    <a:pt x="3180" y="1571"/>
                  </a:lnTo>
                  <a:close/>
                  <a:moveTo>
                    <a:pt x="3170" y="1597"/>
                  </a:moveTo>
                  <a:lnTo>
                    <a:pt x="3180" y="1604"/>
                  </a:lnTo>
                  <a:lnTo>
                    <a:pt x="3170" y="1604"/>
                  </a:lnTo>
                  <a:lnTo>
                    <a:pt x="3170" y="1597"/>
                  </a:lnTo>
                  <a:lnTo>
                    <a:pt x="3170" y="1597"/>
                  </a:lnTo>
                  <a:lnTo>
                    <a:pt x="3170" y="1597"/>
                  </a:lnTo>
                  <a:close/>
                  <a:moveTo>
                    <a:pt x="3109" y="1609"/>
                  </a:moveTo>
                  <a:lnTo>
                    <a:pt x="3109" y="1621"/>
                  </a:lnTo>
                  <a:lnTo>
                    <a:pt x="3109" y="1626"/>
                  </a:lnTo>
                  <a:lnTo>
                    <a:pt x="3083" y="1626"/>
                  </a:lnTo>
                  <a:lnTo>
                    <a:pt x="3109" y="1609"/>
                  </a:lnTo>
                  <a:lnTo>
                    <a:pt x="3109" y="1609"/>
                  </a:lnTo>
                  <a:lnTo>
                    <a:pt x="3109" y="1609"/>
                  </a:lnTo>
                  <a:close/>
                  <a:moveTo>
                    <a:pt x="3170" y="1609"/>
                  </a:moveTo>
                  <a:lnTo>
                    <a:pt x="3180" y="1621"/>
                  </a:lnTo>
                  <a:lnTo>
                    <a:pt x="3170" y="1609"/>
                  </a:lnTo>
                  <a:lnTo>
                    <a:pt x="3170" y="1609"/>
                  </a:lnTo>
                  <a:lnTo>
                    <a:pt x="3170" y="1609"/>
                  </a:lnTo>
                  <a:close/>
                  <a:moveTo>
                    <a:pt x="2219" y="1621"/>
                  </a:moveTo>
                  <a:lnTo>
                    <a:pt x="2230" y="1621"/>
                  </a:lnTo>
                  <a:lnTo>
                    <a:pt x="2214" y="1621"/>
                  </a:lnTo>
                  <a:lnTo>
                    <a:pt x="2219" y="1621"/>
                  </a:lnTo>
                  <a:lnTo>
                    <a:pt x="2219" y="1621"/>
                  </a:lnTo>
                  <a:lnTo>
                    <a:pt x="2219" y="1621"/>
                  </a:lnTo>
                  <a:close/>
                  <a:moveTo>
                    <a:pt x="2143" y="1642"/>
                  </a:moveTo>
                  <a:lnTo>
                    <a:pt x="2155" y="1642"/>
                  </a:lnTo>
                  <a:lnTo>
                    <a:pt x="2143" y="1642"/>
                  </a:lnTo>
                  <a:lnTo>
                    <a:pt x="2143" y="1642"/>
                  </a:lnTo>
                  <a:lnTo>
                    <a:pt x="2143" y="1642"/>
                  </a:lnTo>
                  <a:close/>
                  <a:moveTo>
                    <a:pt x="4271" y="1659"/>
                  </a:moveTo>
                  <a:lnTo>
                    <a:pt x="4281" y="1666"/>
                  </a:lnTo>
                  <a:lnTo>
                    <a:pt x="4281" y="1675"/>
                  </a:lnTo>
                  <a:lnTo>
                    <a:pt x="4271" y="1659"/>
                  </a:lnTo>
                  <a:lnTo>
                    <a:pt x="4271" y="1659"/>
                  </a:lnTo>
                  <a:lnTo>
                    <a:pt x="4271" y="1659"/>
                  </a:lnTo>
                  <a:close/>
                  <a:moveTo>
                    <a:pt x="4314" y="1666"/>
                  </a:moveTo>
                  <a:lnTo>
                    <a:pt x="4318" y="1682"/>
                  </a:lnTo>
                  <a:lnTo>
                    <a:pt x="4302" y="1666"/>
                  </a:lnTo>
                  <a:lnTo>
                    <a:pt x="4314" y="1666"/>
                  </a:lnTo>
                  <a:lnTo>
                    <a:pt x="4314" y="1666"/>
                  </a:lnTo>
                  <a:lnTo>
                    <a:pt x="4314" y="1666"/>
                  </a:lnTo>
                  <a:close/>
                  <a:moveTo>
                    <a:pt x="4352" y="1666"/>
                  </a:moveTo>
                  <a:lnTo>
                    <a:pt x="4368" y="1682"/>
                  </a:lnTo>
                  <a:lnTo>
                    <a:pt x="4352" y="1682"/>
                  </a:lnTo>
                  <a:lnTo>
                    <a:pt x="4340" y="1675"/>
                  </a:lnTo>
                  <a:lnTo>
                    <a:pt x="4352" y="1666"/>
                  </a:lnTo>
                  <a:lnTo>
                    <a:pt x="4352" y="1666"/>
                  </a:lnTo>
                  <a:lnTo>
                    <a:pt x="4352" y="1666"/>
                  </a:lnTo>
                  <a:close/>
                  <a:moveTo>
                    <a:pt x="2306" y="1725"/>
                  </a:moveTo>
                  <a:lnTo>
                    <a:pt x="2318" y="1732"/>
                  </a:lnTo>
                  <a:lnTo>
                    <a:pt x="2301" y="1732"/>
                  </a:lnTo>
                  <a:lnTo>
                    <a:pt x="2306" y="1725"/>
                  </a:lnTo>
                  <a:lnTo>
                    <a:pt x="2306" y="1725"/>
                  </a:lnTo>
                  <a:lnTo>
                    <a:pt x="2306" y="1725"/>
                  </a:lnTo>
                  <a:close/>
                  <a:moveTo>
                    <a:pt x="5176" y="4614"/>
                  </a:moveTo>
                  <a:lnTo>
                    <a:pt x="5167" y="4614"/>
                  </a:lnTo>
                  <a:lnTo>
                    <a:pt x="5162" y="4597"/>
                  </a:lnTo>
                  <a:lnTo>
                    <a:pt x="5150" y="4581"/>
                  </a:lnTo>
                  <a:lnTo>
                    <a:pt x="5162" y="4576"/>
                  </a:lnTo>
                  <a:lnTo>
                    <a:pt x="5138" y="4569"/>
                  </a:lnTo>
                  <a:lnTo>
                    <a:pt x="5138" y="4441"/>
                  </a:lnTo>
                  <a:lnTo>
                    <a:pt x="5096" y="4415"/>
                  </a:lnTo>
                  <a:lnTo>
                    <a:pt x="5058" y="4432"/>
                  </a:lnTo>
                  <a:lnTo>
                    <a:pt x="5041" y="4425"/>
                  </a:lnTo>
                  <a:lnTo>
                    <a:pt x="5041" y="4408"/>
                  </a:lnTo>
                  <a:lnTo>
                    <a:pt x="5037" y="4403"/>
                  </a:lnTo>
                  <a:lnTo>
                    <a:pt x="4982" y="4470"/>
                  </a:lnTo>
                  <a:lnTo>
                    <a:pt x="4973" y="4498"/>
                  </a:lnTo>
                  <a:lnTo>
                    <a:pt x="4961" y="4519"/>
                  </a:lnTo>
                  <a:lnTo>
                    <a:pt x="4961" y="4543"/>
                  </a:lnTo>
                  <a:lnTo>
                    <a:pt x="4928" y="4576"/>
                  </a:lnTo>
                  <a:lnTo>
                    <a:pt x="4928" y="4581"/>
                  </a:lnTo>
                  <a:lnTo>
                    <a:pt x="4918" y="4609"/>
                  </a:lnTo>
                  <a:lnTo>
                    <a:pt x="4907" y="4597"/>
                  </a:lnTo>
                  <a:lnTo>
                    <a:pt x="4897" y="4609"/>
                  </a:lnTo>
                  <a:lnTo>
                    <a:pt x="4890" y="4597"/>
                  </a:lnTo>
                  <a:lnTo>
                    <a:pt x="4881" y="4609"/>
                  </a:lnTo>
                  <a:lnTo>
                    <a:pt x="4874" y="4625"/>
                  </a:lnTo>
                  <a:lnTo>
                    <a:pt x="4626" y="4630"/>
                  </a:lnTo>
                  <a:lnTo>
                    <a:pt x="4529" y="4708"/>
                  </a:lnTo>
                  <a:lnTo>
                    <a:pt x="4503" y="4748"/>
                  </a:lnTo>
                  <a:lnTo>
                    <a:pt x="4368" y="4748"/>
                  </a:lnTo>
                  <a:lnTo>
                    <a:pt x="4335" y="4765"/>
                  </a:lnTo>
                  <a:lnTo>
                    <a:pt x="4340" y="4781"/>
                  </a:lnTo>
                  <a:lnTo>
                    <a:pt x="4340" y="4798"/>
                  </a:lnTo>
                  <a:lnTo>
                    <a:pt x="4356" y="4814"/>
                  </a:lnTo>
                  <a:lnTo>
                    <a:pt x="4352" y="4819"/>
                  </a:lnTo>
                  <a:lnTo>
                    <a:pt x="4271" y="4852"/>
                  </a:lnTo>
                  <a:lnTo>
                    <a:pt x="4189" y="4869"/>
                  </a:lnTo>
                  <a:lnTo>
                    <a:pt x="4108" y="4918"/>
                  </a:lnTo>
                  <a:lnTo>
                    <a:pt x="4087" y="4918"/>
                  </a:lnTo>
                  <a:lnTo>
                    <a:pt x="4066" y="4902"/>
                  </a:lnTo>
                  <a:lnTo>
                    <a:pt x="4054" y="4885"/>
                  </a:lnTo>
                  <a:lnTo>
                    <a:pt x="4066" y="4869"/>
                  </a:lnTo>
                  <a:lnTo>
                    <a:pt x="4104" y="4836"/>
                  </a:lnTo>
                  <a:lnTo>
                    <a:pt x="4108" y="4803"/>
                  </a:lnTo>
                  <a:lnTo>
                    <a:pt x="4125" y="4748"/>
                  </a:lnTo>
                  <a:lnTo>
                    <a:pt x="4104" y="4597"/>
                  </a:lnTo>
                  <a:lnTo>
                    <a:pt x="4028" y="4552"/>
                  </a:lnTo>
                  <a:lnTo>
                    <a:pt x="4033" y="4536"/>
                  </a:lnTo>
                  <a:lnTo>
                    <a:pt x="4028" y="4526"/>
                  </a:lnTo>
                  <a:lnTo>
                    <a:pt x="4000" y="4526"/>
                  </a:lnTo>
                  <a:lnTo>
                    <a:pt x="3990" y="4514"/>
                  </a:lnTo>
                  <a:lnTo>
                    <a:pt x="3990" y="4486"/>
                  </a:lnTo>
                  <a:lnTo>
                    <a:pt x="3957" y="4498"/>
                  </a:lnTo>
                  <a:lnTo>
                    <a:pt x="3941" y="4481"/>
                  </a:lnTo>
                  <a:lnTo>
                    <a:pt x="3941" y="4460"/>
                  </a:lnTo>
                  <a:lnTo>
                    <a:pt x="3693" y="4333"/>
                  </a:lnTo>
                  <a:lnTo>
                    <a:pt x="3622" y="4359"/>
                  </a:lnTo>
                  <a:lnTo>
                    <a:pt x="3584" y="4354"/>
                  </a:lnTo>
                  <a:lnTo>
                    <a:pt x="3563" y="4349"/>
                  </a:lnTo>
                  <a:lnTo>
                    <a:pt x="3525" y="4349"/>
                  </a:lnTo>
                  <a:lnTo>
                    <a:pt x="3515" y="4337"/>
                  </a:lnTo>
                  <a:lnTo>
                    <a:pt x="3478" y="4354"/>
                  </a:lnTo>
                  <a:lnTo>
                    <a:pt x="3440" y="4337"/>
                  </a:lnTo>
                  <a:lnTo>
                    <a:pt x="3433" y="4321"/>
                  </a:lnTo>
                  <a:lnTo>
                    <a:pt x="3418" y="4321"/>
                  </a:lnTo>
                  <a:lnTo>
                    <a:pt x="3407" y="4337"/>
                  </a:lnTo>
                  <a:lnTo>
                    <a:pt x="3407" y="4321"/>
                  </a:lnTo>
                  <a:lnTo>
                    <a:pt x="3369" y="4297"/>
                  </a:lnTo>
                  <a:lnTo>
                    <a:pt x="3348" y="4297"/>
                  </a:lnTo>
                  <a:lnTo>
                    <a:pt x="3310" y="4304"/>
                  </a:lnTo>
                  <a:lnTo>
                    <a:pt x="3310" y="4297"/>
                  </a:lnTo>
                  <a:lnTo>
                    <a:pt x="3256" y="4292"/>
                  </a:lnTo>
                  <a:lnTo>
                    <a:pt x="3244" y="4281"/>
                  </a:lnTo>
                  <a:lnTo>
                    <a:pt x="3239" y="4238"/>
                  </a:lnTo>
                  <a:lnTo>
                    <a:pt x="3218" y="4226"/>
                  </a:lnTo>
                  <a:lnTo>
                    <a:pt x="3218" y="4264"/>
                  </a:lnTo>
                  <a:lnTo>
                    <a:pt x="1281" y="4264"/>
                  </a:lnTo>
                  <a:lnTo>
                    <a:pt x="1276" y="4259"/>
                  </a:lnTo>
                  <a:lnTo>
                    <a:pt x="1259" y="4264"/>
                  </a:lnTo>
                  <a:lnTo>
                    <a:pt x="1248" y="4238"/>
                  </a:lnTo>
                  <a:lnTo>
                    <a:pt x="1264" y="4238"/>
                  </a:lnTo>
                  <a:lnTo>
                    <a:pt x="1276" y="4226"/>
                  </a:lnTo>
                  <a:lnTo>
                    <a:pt x="1264" y="4238"/>
                  </a:lnTo>
                  <a:lnTo>
                    <a:pt x="1248" y="4238"/>
                  </a:lnTo>
                  <a:lnTo>
                    <a:pt x="1243" y="4222"/>
                  </a:lnTo>
                  <a:lnTo>
                    <a:pt x="1248" y="4193"/>
                  </a:lnTo>
                  <a:lnTo>
                    <a:pt x="1226" y="4222"/>
                  </a:lnTo>
                  <a:lnTo>
                    <a:pt x="1226" y="4226"/>
                  </a:lnTo>
                  <a:lnTo>
                    <a:pt x="1205" y="4222"/>
                  </a:lnTo>
                  <a:lnTo>
                    <a:pt x="1189" y="4205"/>
                  </a:lnTo>
                  <a:lnTo>
                    <a:pt x="1193" y="4193"/>
                  </a:lnTo>
                  <a:lnTo>
                    <a:pt x="1210" y="4222"/>
                  </a:lnTo>
                  <a:lnTo>
                    <a:pt x="1210" y="4210"/>
                  </a:lnTo>
                  <a:lnTo>
                    <a:pt x="1226" y="4205"/>
                  </a:lnTo>
                  <a:lnTo>
                    <a:pt x="1210" y="4205"/>
                  </a:lnTo>
                  <a:lnTo>
                    <a:pt x="1193" y="4193"/>
                  </a:lnTo>
                  <a:lnTo>
                    <a:pt x="1205" y="4181"/>
                  </a:lnTo>
                  <a:lnTo>
                    <a:pt x="1193" y="4170"/>
                  </a:lnTo>
                  <a:lnTo>
                    <a:pt x="1210" y="4165"/>
                  </a:lnTo>
                  <a:lnTo>
                    <a:pt x="1205" y="4153"/>
                  </a:lnTo>
                  <a:lnTo>
                    <a:pt x="1193" y="4148"/>
                  </a:lnTo>
                  <a:lnTo>
                    <a:pt x="1205" y="4165"/>
                  </a:lnTo>
                  <a:lnTo>
                    <a:pt x="1193" y="4170"/>
                  </a:lnTo>
                  <a:lnTo>
                    <a:pt x="1193" y="4188"/>
                  </a:lnTo>
                  <a:lnTo>
                    <a:pt x="1189" y="4181"/>
                  </a:lnTo>
                  <a:lnTo>
                    <a:pt x="1189" y="4188"/>
                  </a:lnTo>
                  <a:lnTo>
                    <a:pt x="1167" y="4193"/>
                  </a:lnTo>
                  <a:lnTo>
                    <a:pt x="1134" y="4165"/>
                  </a:lnTo>
                  <a:lnTo>
                    <a:pt x="1139" y="4170"/>
                  </a:lnTo>
                  <a:lnTo>
                    <a:pt x="1151" y="4148"/>
                  </a:lnTo>
                  <a:lnTo>
                    <a:pt x="1139" y="4137"/>
                  </a:lnTo>
                  <a:lnTo>
                    <a:pt x="1172" y="4127"/>
                  </a:lnTo>
                  <a:lnTo>
                    <a:pt x="1134" y="4137"/>
                  </a:lnTo>
                  <a:lnTo>
                    <a:pt x="1118" y="4137"/>
                  </a:lnTo>
                  <a:lnTo>
                    <a:pt x="1118" y="4127"/>
                  </a:lnTo>
                  <a:lnTo>
                    <a:pt x="1134" y="4115"/>
                  </a:lnTo>
                  <a:lnTo>
                    <a:pt x="1134" y="4082"/>
                  </a:lnTo>
                  <a:lnTo>
                    <a:pt x="1125" y="4099"/>
                  </a:lnTo>
                  <a:lnTo>
                    <a:pt x="1134" y="4111"/>
                  </a:lnTo>
                  <a:lnTo>
                    <a:pt x="1118" y="4132"/>
                  </a:lnTo>
                  <a:lnTo>
                    <a:pt x="1087" y="4127"/>
                  </a:lnTo>
                  <a:lnTo>
                    <a:pt x="1096" y="4099"/>
                  </a:lnTo>
                  <a:lnTo>
                    <a:pt x="1070" y="4132"/>
                  </a:lnTo>
                  <a:lnTo>
                    <a:pt x="1063" y="4127"/>
                  </a:lnTo>
                  <a:lnTo>
                    <a:pt x="1033" y="4127"/>
                  </a:lnTo>
                  <a:lnTo>
                    <a:pt x="1042" y="4115"/>
                  </a:lnTo>
                  <a:lnTo>
                    <a:pt x="1033" y="4111"/>
                  </a:lnTo>
                  <a:lnTo>
                    <a:pt x="1080" y="4099"/>
                  </a:lnTo>
                  <a:lnTo>
                    <a:pt x="1087" y="4082"/>
                  </a:lnTo>
                  <a:lnTo>
                    <a:pt x="1080" y="4070"/>
                  </a:lnTo>
                  <a:lnTo>
                    <a:pt x="1080" y="4077"/>
                  </a:lnTo>
                  <a:lnTo>
                    <a:pt x="1070" y="4099"/>
                  </a:lnTo>
                  <a:lnTo>
                    <a:pt x="1042" y="4111"/>
                  </a:lnTo>
                  <a:lnTo>
                    <a:pt x="1049" y="4099"/>
                  </a:lnTo>
                  <a:lnTo>
                    <a:pt x="1042" y="4094"/>
                  </a:lnTo>
                  <a:lnTo>
                    <a:pt x="1011" y="4094"/>
                  </a:lnTo>
                  <a:lnTo>
                    <a:pt x="1042" y="4082"/>
                  </a:lnTo>
                  <a:lnTo>
                    <a:pt x="1004" y="4094"/>
                  </a:lnTo>
                  <a:lnTo>
                    <a:pt x="974" y="4082"/>
                  </a:lnTo>
                  <a:lnTo>
                    <a:pt x="990" y="4094"/>
                  </a:lnTo>
                  <a:lnTo>
                    <a:pt x="978" y="4094"/>
                  </a:lnTo>
                  <a:lnTo>
                    <a:pt x="952" y="4077"/>
                  </a:lnTo>
                  <a:lnTo>
                    <a:pt x="952" y="4070"/>
                  </a:lnTo>
                  <a:lnTo>
                    <a:pt x="995" y="4070"/>
                  </a:lnTo>
                  <a:lnTo>
                    <a:pt x="1004" y="4061"/>
                  </a:lnTo>
                  <a:lnTo>
                    <a:pt x="974" y="4070"/>
                  </a:lnTo>
                  <a:lnTo>
                    <a:pt x="924" y="4061"/>
                  </a:lnTo>
                  <a:lnTo>
                    <a:pt x="924" y="4054"/>
                  </a:lnTo>
                  <a:lnTo>
                    <a:pt x="941" y="4044"/>
                  </a:lnTo>
                  <a:lnTo>
                    <a:pt x="974" y="4044"/>
                  </a:lnTo>
                  <a:lnTo>
                    <a:pt x="974" y="4037"/>
                  </a:lnTo>
                  <a:lnTo>
                    <a:pt x="962" y="4044"/>
                  </a:lnTo>
                  <a:lnTo>
                    <a:pt x="924" y="4044"/>
                  </a:lnTo>
                  <a:lnTo>
                    <a:pt x="941" y="4025"/>
                  </a:lnTo>
                  <a:lnTo>
                    <a:pt x="952" y="4016"/>
                  </a:lnTo>
                  <a:lnTo>
                    <a:pt x="1011" y="4016"/>
                  </a:lnTo>
                  <a:lnTo>
                    <a:pt x="1011" y="4000"/>
                  </a:lnTo>
                  <a:lnTo>
                    <a:pt x="1004" y="4016"/>
                  </a:lnTo>
                  <a:lnTo>
                    <a:pt x="952" y="4016"/>
                  </a:lnTo>
                  <a:lnTo>
                    <a:pt x="957" y="4000"/>
                  </a:lnTo>
                  <a:lnTo>
                    <a:pt x="941" y="4004"/>
                  </a:lnTo>
                  <a:lnTo>
                    <a:pt x="941" y="4021"/>
                  </a:lnTo>
                  <a:lnTo>
                    <a:pt x="936" y="4025"/>
                  </a:lnTo>
                  <a:lnTo>
                    <a:pt x="919" y="4016"/>
                  </a:lnTo>
                  <a:lnTo>
                    <a:pt x="924" y="3988"/>
                  </a:lnTo>
                  <a:lnTo>
                    <a:pt x="936" y="3983"/>
                  </a:lnTo>
                  <a:lnTo>
                    <a:pt x="941" y="3966"/>
                  </a:lnTo>
                  <a:lnTo>
                    <a:pt x="952" y="3971"/>
                  </a:lnTo>
                  <a:lnTo>
                    <a:pt x="941" y="3971"/>
                  </a:lnTo>
                  <a:lnTo>
                    <a:pt x="974" y="3950"/>
                  </a:lnTo>
                  <a:lnTo>
                    <a:pt x="978" y="3950"/>
                  </a:lnTo>
                  <a:lnTo>
                    <a:pt x="1004" y="3983"/>
                  </a:lnTo>
                  <a:lnTo>
                    <a:pt x="990" y="3950"/>
                  </a:lnTo>
                  <a:lnTo>
                    <a:pt x="1004" y="3943"/>
                  </a:lnTo>
                  <a:lnTo>
                    <a:pt x="974" y="3943"/>
                  </a:lnTo>
                  <a:lnTo>
                    <a:pt x="962" y="3933"/>
                  </a:lnTo>
                  <a:lnTo>
                    <a:pt x="990" y="3910"/>
                  </a:lnTo>
                  <a:lnTo>
                    <a:pt x="978" y="3905"/>
                  </a:lnTo>
                  <a:lnTo>
                    <a:pt x="978" y="3917"/>
                  </a:lnTo>
                  <a:lnTo>
                    <a:pt x="941" y="3950"/>
                  </a:lnTo>
                  <a:lnTo>
                    <a:pt x="924" y="3959"/>
                  </a:lnTo>
                  <a:lnTo>
                    <a:pt x="919" y="3933"/>
                  </a:lnTo>
                  <a:lnTo>
                    <a:pt x="908" y="3950"/>
                  </a:lnTo>
                  <a:lnTo>
                    <a:pt x="908" y="3933"/>
                  </a:lnTo>
                  <a:lnTo>
                    <a:pt x="919" y="3926"/>
                  </a:lnTo>
                  <a:lnTo>
                    <a:pt x="903" y="3933"/>
                  </a:lnTo>
                  <a:lnTo>
                    <a:pt x="898" y="3959"/>
                  </a:lnTo>
                  <a:lnTo>
                    <a:pt x="886" y="3950"/>
                  </a:lnTo>
                  <a:lnTo>
                    <a:pt x="898" y="3933"/>
                  </a:lnTo>
                  <a:lnTo>
                    <a:pt x="903" y="3893"/>
                  </a:lnTo>
                  <a:lnTo>
                    <a:pt x="882" y="3905"/>
                  </a:lnTo>
                  <a:lnTo>
                    <a:pt x="870" y="3872"/>
                  </a:lnTo>
                  <a:lnTo>
                    <a:pt x="853" y="3855"/>
                  </a:lnTo>
                  <a:lnTo>
                    <a:pt x="848" y="3832"/>
                  </a:lnTo>
                  <a:lnTo>
                    <a:pt x="853" y="3832"/>
                  </a:lnTo>
                  <a:lnTo>
                    <a:pt x="882" y="3848"/>
                  </a:lnTo>
                  <a:lnTo>
                    <a:pt x="903" y="3839"/>
                  </a:lnTo>
                  <a:lnTo>
                    <a:pt x="924" y="3860"/>
                  </a:lnTo>
                  <a:lnTo>
                    <a:pt x="903" y="3839"/>
                  </a:lnTo>
                  <a:lnTo>
                    <a:pt x="870" y="3839"/>
                  </a:lnTo>
                  <a:lnTo>
                    <a:pt x="853" y="3822"/>
                  </a:lnTo>
                  <a:lnTo>
                    <a:pt x="853" y="3806"/>
                  </a:lnTo>
                  <a:lnTo>
                    <a:pt x="882" y="3799"/>
                  </a:lnTo>
                  <a:lnTo>
                    <a:pt x="865" y="3794"/>
                  </a:lnTo>
                  <a:lnTo>
                    <a:pt x="870" y="3782"/>
                  </a:lnTo>
                  <a:lnTo>
                    <a:pt x="827" y="3822"/>
                  </a:lnTo>
                  <a:lnTo>
                    <a:pt x="827" y="3848"/>
                  </a:lnTo>
                  <a:lnTo>
                    <a:pt x="773" y="3799"/>
                  </a:lnTo>
                  <a:lnTo>
                    <a:pt x="773" y="3766"/>
                  </a:lnTo>
                  <a:lnTo>
                    <a:pt x="811" y="3761"/>
                  </a:lnTo>
                  <a:lnTo>
                    <a:pt x="763" y="3766"/>
                  </a:lnTo>
                  <a:lnTo>
                    <a:pt x="756" y="3749"/>
                  </a:lnTo>
                  <a:lnTo>
                    <a:pt x="740" y="3749"/>
                  </a:lnTo>
                  <a:lnTo>
                    <a:pt x="740" y="3721"/>
                  </a:lnTo>
                  <a:lnTo>
                    <a:pt x="778" y="3749"/>
                  </a:lnTo>
                  <a:lnTo>
                    <a:pt x="747" y="3721"/>
                  </a:lnTo>
                  <a:lnTo>
                    <a:pt x="763" y="3711"/>
                  </a:lnTo>
                  <a:lnTo>
                    <a:pt x="778" y="3728"/>
                  </a:lnTo>
                  <a:lnTo>
                    <a:pt x="756" y="3711"/>
                  </a:lnTo>
                  <a:lnTo>
                    <a:pt x="763" y="3704"/>
                  </a:lnTo>
                  <a:lnTo>
                    <a:pt x="773" y="3688"/>
                  </a:lnTo>
                  <a:lnTo>
                    <a:pt x="801" y="3688"/>
                  </a:lnTo>
                  <a:lnTo>
                    <a:pt x="773" y="3683"/>
                  </a:lnTo>
                  <a:lnTo>
                    <a:pt x="794" y="3638"/>
                  </a:lnTo>
                  <a:lnTo>
                    <a:pt x="811" y="3638"/>
                  </a:lnTo>
                  <a:lnTo>
                    <a:pt x="794" y="3638"/>
                  </a:lnTo>
                  <a:lnTo>
                    <a:pt x="789" y="3633"/>
                  </a:lnTo>
                  <a:lnTo>
                    <a:pt x="789" y="3655"/>
                  </a:lnTo>
                  <a:lnTo>
                    <a:pt x="763" y="3688"/>
                  </a:lnTo>
                  <a:lnTo>
                    <a:pt x="763" y="3683"/>
                  </a:lnTo>
                  <a:lnTo>
                    <a:pt x="778" y="3655"/>
                  </a:lnTo>
                  <a:lnTo>
                    <a:pt x="763" y="3617"/>
                  </a:lnTo>
                  <a:lnTo>
                    <a:pt x="773" y="3593"/>
                  </a:lnTo>
                  <a:lnTo>
                    <a:pt x="763" y="3572"/>
                  </a:lnTo>
                  <a:lnTo>
                    <a:pt x="747" y="3572"/>
                  </a:lnTo>
                  <a:lnTo>
                    <a:pt x="719" y="3544"/>
                  </a:lnTo>
                  <a:lnTo>
                    <a:pt x="664" y="3522"/>
                  </a:lnTo>
                  <a:lnTo>
                    <a:pt x="650" y="3522"/>
                  </a:lnTo>
                  <a:lnTo>
                    <a:pt x="638" y="3506"/>
                  </a:lnTo>
                  <a:lnTo>
                    <a:pt x="626" y="3499"/>
                  </a:lnTo>
                  <a:lnTo>
                    <a:pt x="633" y="3482"/>
                  </a:lnTo>
                  <a:lnTo>
                    <a:pt x="612" y="3473"/>
                  </a:lnTo>
                  <a:lnTo>
                    <a:pt x="617" y="3461"/>
                  </a:lnTo>
                  <a:lnTo>
                    <a:pt x="541" y="3350"/>
                  </a:lnTo>
                  <a:lnTo>
                    <a:pt x="530" y="3333"/>
                  </a:lnTo>
                  <a:lnTo>
                    <a:pt x="504" y="3300"/>
                  </a:lnTo>
                  <a:lnTo>
                    <a:pt x="475" y="3296"/>
                  </a:lnTo>
                  <a:lnTo>
                    <a:pt x="466" y="3263"/>
                  </a:lnTo>
                  <a:lnTo>
                    <a:pt x="423" y="3246"/>
                  </a:lnTo>
                  <a:lnTo>
                    <a:pt x="416" y="3227"/>
                  </a:lnTo>
                  <a:lnTo>
                    <a:pt x="423" y="3211"/>
                  </a:lnTo>
                  <a:lnTo>
                    <a:pt x="385" y="3189"/>
                  </a:lnTo>
                  <a:lnTo>
                    <a:pt x="324" y="3211"/>
                  </a:lnTo>
                  <a:lnTo>
                    <a:pt x="331" y="3222"/>
                  </a:lnTo>
                  <a:lnTo>
                    <a:pt x="315" y="3222"/>
                  </a:lnTo>
                  <a:lnTo>
                    <a:pt x="315" y="3246"/>
                  </a:lnTo>
                  <a:lnTo>
                    <a:pt x="310" y="3251"/>
                  </a:lnTo>
                  <a:lnTo>
                    <a:pt x="293" y="3251"/>
                  </a:lnTo>
                  <a:lnTo>
                    <a:pt x="251" y="3284"/>
                  </a:lnTo>
                  <a:lnTo>
                    <a:pt x="239" y="3246"/>
                  </a:lnTo>
                  <a:lnTo>
                    <a:pt x="168" y="3189"/>
                  </a:lnTo>
                  <a:lnTo>
                    <a:pt x="163" y="3173"/>
                  </a:lnTo>
                  <a:lnTo>
                    <a:pt x="130" y="3156"/>
                  </a:lnTo>
                  <a:lnTo>
                    <a:pt x="142" y="3123"/>
                  </a:lnTo>
                  <a:lnTo>
                    <a:pt x="93" y="3135"/>
                  </a:lnTo>
                  <a:lnTo>
                    <a:pt x="71" y="3151"/>
                  </a:lnTo>
                  <a:lnTo>
                    <a:pt x="38" y="3135"/>
                  </a:lnTo>
                  <a:lnTo>
                    <a:pt x="38" y="3140"/>
                  </a:lnTo>
                  <a:lnTo>
                    <a:pt x="0" y="3135"/>
                  </a:lnTo>
                  <a:lnTo>
                    <a:pt x="0" y="2041"/>
                  </a:lnTo>
                  <a:lnTo>
                    <a:pt x="130" y="2058"/>
                  </a:lnTo>
                  <a:lnTo>
                    <a:pt x="168" y="2086"/>
                  </a:lnTo>
                  <a:lnTo>
                    <a:pt x="260" y="2124"/>
                  </a:lnTo>
                  <a:lnTo>
                    <a:pt x="348" y="2136"/>
                  </a:lnTo>
                  <a:lnTo>
                    <a:pt x="395" y="2157"/>
                  </a:lnTo>
                  <a:lnTo>
                    <a:pt x="411" y="2157"/>
                  </a:lnTo>
                  <a:lnTo>
                    <a:pt x="385" y="2140"/>
                  </a:lnTo>
                  <a:lnTo>
                    <a:pt x="400" y="2140"/>
                  </a:lnTo>
                  <a:lnTo>
                    <a:pt x="378" y="2136"/>
                  </a:lnTo>
                  <a:lnTo>
                    <a:pt x="433" y="2124"/>
                  </a:lnTo>
                  <a:lnTo>
                    <a:pt x="471" y="2157"/>
                  </a:lnTo>
                  <a:lnTo>
                    <a:pt x="475" y="2157"/>
                  </a:lnTo>
                  <a:lnTo>
                    <a:pt x="449" y="2119"/>
                  </a:lnTo>
                  <a:lnTo>
                    <a:pt x="454" y="2115"/>
                  </a:lnTo>
                  <a:lnTo>
                    <a:pt x="520" y="2070"/>
                  </a:lnTo>
                  <a:lnTo>
                    <a:pt x="558" y="2065"/>
                  </a:lnTo>
                  <a:lnTo>
                    <a:pt x="574" y="2041"/>
                  </a:lnTo>
                  <a:lnTo>
                    <a:pt x="600" y="2041"/>
                  </a:lnTo>
                  <a:lnTo>
                    <a:pt x="612" y="2029"/>
                  </a:lnTo>
                  <a:lnTo>
                    <a:pt x="596" y="2029"/>
                  </a:lnTo>
                  <a:lnTo>
                    <a:pt x="600" y="2025"/>
                  </a:lnTo>
                  <a:lnTo>
                    <a:pt x="626" y="2029"/>
                  </a:lnTo>
                  <a:lnTo>
                    <a:pt x="671" y="2003"/>
                  </a:lnTo>
                  <a:lnTo>
                    <a:pt x="688" y="2003"/>
                  </a:lnTo>
                  <a:lnTo>
                    <a:pt x="688" y="2013"/>
                  </a:lnTo>
                  <a:lnTo>
                    <a:pt x="709" y="1987"/>
                  </a:lnTo>
                  <a:lnTo>
                    <a:pt x="735" y="1970"/>
                  </a:lnTo>
                  <a:lnTo>
                    <a:pt x="740" y="1970"/>
                  </a:lnTo>
                  <a:lnTo>
                    <a:pt x="740" y="1975"/>
                  </a:lnTo>
                  <a:lnTo>
                    <a:pt x="773" y="1987"/>
                  </a:lnTo>
                  <a:lnTo>
                    <a:pt x="794" y="1959"/>
                  </a:lnTo>
                  <a:lnTo>
                    <a:pt x="815" y="1975"/>
                  </a:lnTo>
                  <a:lnTo>
                    <a:pt x="811" y="1992"/>
                  </a:lnTo>
                  <a:lnTo>
                    <a:pt x="740" y="2025"/>
                  </a:lnTo>
                  <a:lnTo>
                    <a:pt x="709" y="2048"/>
                  </a:lnTo>
                  <a:lnTo>
                    <a:pt x="702" y="2041"/>
                  </a:lnTo>
                  <a:lnTo>
                    <a:pt x="633" y="2058"/>
                  </a:lnTo>
                  <a:lnTo>
                    <a:pt x="626" y="2065"/>
                  </a:lnTo>
                  <a:lnTo>
                    <a:pt x="626" y="2070"/>
                  </a:lnTo>
                  <a:lnTo>
                    <a:pt x="579" y="2086"/>
                  </a:lnTo>
                  <a:lnTo>
                    <a:pt x="574" y="2115"/>
                  </a:lnTo>
                  <a:lnTo>
                    <a:pt x="546" y="2119"/>
                  </a:lnTo>
                  <a:lnTo>
                    <a:pt x="546" y="2124"/>
                  </a:lnTo>
                  <a:lnTo>
                    <a:pt x="525" y="2140"/>
                  </a:lnTo>
                  <a:lnTo>
                    <a:pt x="574" y="2157"/>
                  </a:lnTo>
                  <a:lnTo>
                    <a:pt x="541" y="2140"/>
                  </a:lnTo>
                  <a:lnTo>
                    <a:pt x="600" y="2140"/>
                  </a:lnTo>
                  <a:lnTo>
                    <a:pt x="600" y="2136"/>
                  </a:lnTo>
                  <a:lnTo>
                    <a:pt x="596" y="2136"/>
                  </a:lnTo>
                  <a:lnTo>
                    <a:pt x="579" y="2136"/>
                  </a:lnTo>
                  <a:lnTo>
                    <a:pt x="574" y="2115"/>
                  </a:lnTo>
                  <a:lnTo>
                    <a:pt x="600" y="2103"/>
                  </a:lnTo>
                  <a:lnTo>
                    <a:pt x="612" y="2086"/>
                  </a:lnTo>
                  <a:lnTo>
                    <a:pt x="617" y="2103"/>
                  </a:lnTo>
                  <a:lnTo>
                    <a:pt x="655" y="2070"/>
                  </a:lnTo>
                  <a:lnTo>
                    <a:pt x="633" y="2070"/>
                  </a:lnTo>
                  <a:lnTo>
                    <a:pt x="655" y="2065"/>
                  </a:lnTo>
                  <a:lnTo>
                    <a:pt x="671" y="2065"/>
                  </a:lnTo>
                  <a:lnTo>
                    <a:pt x="664" y="2081"/>
                  </a:lnTo>
                  <a:lnTo>
                    <a:pt x="688" y="2058"/>
                  </a:lnTo>
                  <a:lnTo>
                    <a:pt x="688" y="2070"/>
                  </a:lnTo>
                  <a:lnTo>
                    <a:pt x="671" y="2081"/>
                  </a:lnTo>
                  <a:lnTo>
                    <a:pt x="681" y="2081"/>
                  </a:lnTo>
                  <a:lnTo>
                    <a:pt x="693" y="2070"/>
                  </a:lnTo>
                  <a:lnTo>
                    <a:pt x="688" y="2048"/>
                  </a:lnTo>
                  <a:lnTo>
                    <a:pt x="693" y="2058"/>
                  </a:lnTo>
                  <a:lnTo>
                    <a:pt x="693" y="2070"/>
                  </a:lnTo>
                  <a:lnTo>
                    <a:pt x="702" y="2065"/>
                  </a:lnTo>
                  <a:lnTo>
                    <a:pt x="688" y="2048"/>
                  </a:lnTo>
                  <a:lnTo>
                    <a:pt x="693" y="2041"/>
                  </a:lnTo>
                  <a:lnTo>
                    <a:pt x="702" y="2065"/>
                  </a:lnTo>
                  <a:lnTo>
                    <a:pt x="693" y="2081"/>
                  </a:lnTo>
                  <a:lnTo>
                    <a:pt x="709" y="2058"/>
                  </a:lnTo>
                  <a:lnTo>
                    <a:pt x="702" y="2081"/>
                  </a:lnTo>
                  <a:lnTo>
                    <a:pt x="709" y="2070"/>
                  </a:lnTo>
                  <a:lnTo>
                    <a:pt x="702" y="2098"/>
                  </a:lnTo>
                  <a:lnTo>
                    <a:pt x="709" y="2103"/>
                  </a:lnTo>
                  <a:lnTo>
                    <a:pt x="709" y="2086"/>
                  </a:lnTo>
                  <a:lnTo>
                    <a:pt x="747" y="2029"/>
                  </a:lnTo>
                  <a:lnTo>
                    <a:pt x="832" y="2008"/>
                  </a:lnTo>
                  <a:lnTo>
                    <a:pt x="848" y="2003"/>
                  </a:lnTo>
                  <a:lnTo>
                    <a:pt x="848" y="2013"/>
                  </a:lnTo>
                  <a:lnTo>
                    <a:pt x="832" y="2013"/>
                  </a:lnTo>
                  <a:lnTo>
                    <a:pt x="832" y="2029"/>
                  </a:lnTo>
                  <a:lnTo>
                    <a:pt x="848" y="2029"/>
                  </a:lnTo>
                  <a:lnTo>
                    <a:pt x="886" y="2003"/>
                  </a:lnTo>
                  <a:lnTo>
                    <a:pt x="886" y="1975"/>
                  </a:lnTo>
                  <a:lnTo>
                    <a:pt x="952" y="1959"/>
                  </a:lnTo>
                  <a:lnTo>
                    <a:pt x="908" y="1954"/>
                  </a:lnTo>
                  <a:lnTo>
                    <a:pt x="919" y="1947"/>
                  </a:lnTo>
                  <a:lnTo>
                    <a:pt x="903" y="1947"/>
                  </a:lnTo>
                  <a:lnTo>
                    <a:pt x="908" y="1914"/>
                  </a:lnTo>
                  <a:lnTo>
                    <a:pt x="974" y="1959"/>
                  </a:lnTo>
                  <a:lnTo>
                    <a:pt x="1004" y="2025"/>
                  </a:lnTo>
                  <a:lnTo>
                    <a:pt x="1033" y="2058"/>
                  </a:lnTo>
                  <a:lnTo>
                    <a:pt x="1096" y="2081"/>
                  </a:lnTo>
                  <a:lnTo>
                    <a:pt x="1096" y="2070"/>
                  </a:lnTo>
                  <a:lnTo>
                    <a:pt x="1118" y="2065"/>
                  </a:lnTo>
                  <a:lnTo>
                    <a:pt x="1080" y="2065"/>
                  </a:lnTo>
                  <a:lnTo>
                    <a:pt x="1087" y="2058"/>
                  </a:lnTo>
                  <a:lnTo>
                    <a:pt x="1118" y="2058"/>
                  </a:lnTo>
                  <a:lnTo>
                    <a:pt x="1096" y="2041"/>
                  </a:lnTo>
                  <a:lnTo>
                    <a:pt x="1096" y="2029"/>
                  </a:lnTo>
                  <a:lnTo>
                    <a:pt x="1118" y="2025"/>
                  </a:lnTo>
                  <a:lnTo>
                    <a:pt x="1125" y="2041"/>
                  </a:lnTo>
                  <a:lnTo>
                    <a:pt x="1134" y="2029"/>
                  </a:lnTo>
                  <a:lnTo>
                    <a:pt x="1101" y="2013"/>
                  </a:lnTo>
                  <a:lnTo>
                    <a:pt x="1118" y="2013"/>
                  </a:lnTo>
                  <a:lnTo>
                    <a:pt x="1134" y="1992"/>
                  </a:lnTo>
                  <a:lnTo>
                    <a:pt x="1113" y="2003"/>
                  </a:lnTo>
                  <a:lnTo>
                    <a:pt x="1113" y="1992"/>
                  </a:lnTo>
                  <a:lnTo>
                    <a:pt x="1125" y="1987"/>
                  </a:lnTo>
                  <a:lnTo>
                    <a:pt x="1118" y="1992"/>
                  </a:lnTo>
                  <a:lnTo>
                    <a:pt x="1151" y="1987"/>
                  </a:lnTo>
                  <a:lnTo>
                    <a:pt x="1156" y="1992"/>
                  </a:lnTo>
                  <a:lnTo>
                    <a:pt x="1167" y="1987"/>
                  </a:lnTo>
                  <a:lnTo>
                    <a:pt x="1139" y="1975"/>
                  </a:lnTo>
                  <a:lnTo>
                    <a:pt x="1167" y="1975"/>
                  </a:lnTo>
                  <a:lnTo>
                    <a:pt x="1167" y="1987"/>
                  </a:lnTo>
                  <a:lnTo>
                    <a:pt x="1156" y="2025"/>
                  </a:lnTo>
                  <a:lnTo>
                    <a:pt x="1189" y="2029"/>
                  </a:lnTo>
                  <a:lnTo>
                    <a:pt x="1156" y="2070"/>
                  </a:lnTo>
                  <a:lnTo>
                    <a:pt x="1167" y="2070"/>
                  </a:lnTo>
                  <a:lnTo>
                    <a:pt x="1231" y="2070"/>
                  </a:lnTo>
                  <a:lnTo>
                    <a:pt x="1231" y="2058"/>
                  </a:lnTo>
                  <a:lnTo>
                    <a:pt x="1248" y="2058"/>
                  </a:lnTo>
                  <a:lnTo>
                    <a:pt x="1259" y="2025"/>
                  </a:lnTo>
                  <a:lnTo>
                    <a:pt x="1264" y="2013"/>
                  </a:lnTo>
                  <a:lnTo>
                    <a:pt x="1356" y="2013"/>
                  </a:lnTo>
                  <a:lnTo>
                    <a:pt x="1420" y="2041"/>
                  </a:lnTo>
                  <a:lnTo>
                    <a:pt x="1458" y="2070"/>
                  </a:lnTo>
                  <a:lnTo>
                    <a:pt x="1555" y="2086"/>
                  </a:lnTo>
                  <a:lnTo>
                    <a:pt x="1609" y="2119"/>
                  </a:lnTo>
                  <a:lnTo>
                    <a:pt x="1675" y="2136"/>
                  </a:lnTo>
                  <a:lnTo>
                    <a:pt x="1760" y="2140"/>
                  </a:lnTo>
                  <a:lnTo>
                    <a:pt x="1730" y="2124"/>
                  </a:lnTo>
                  <a:lnTo>
                    <a:pt x="1782" y="2124"/>
                  </a:lnTo>
                  <a:lnTo>
                    <a:pt x="1869" y="2157"/>
                  </a:lnTo>
                  <a:lnTo>
                    <a:pt x="1890" y="2181"/>
                  </a:lnTo>
                  <a:lnTo>
                    <a:pt x="1890" y="2214"/>
                  </a:lnTo>
                  <a:lnTo>
                    <a:pt x="1803" y="2226"/>
                  </a:lnTo>
                  <a:lnTo>
                    <a:pt x="1803" y="2235"/>
                  </a:lnTo>
                  <a:lnTo>
                    <a:pt x="1819" y="2247"/>
                  </a:lnTo>
                  <a:lnTo>
                    <a:pt x="1789" y="2252"/>
                  </a:lnTo>
                  <a:lnTo>
                    <a:pt x="1819" y="2268"/>
                  </a:lnTo>
                  <a:lnTo>
                    <a:pt x="2004" y="2285"/>
                  </a:lnTo>
                  <a:lnTo>
                    <a:pt x="2091" y="2263"/>
                  </a:lnTo>
                  <a:lnTo>
                    <a:pt x="2105" y="2280"/>
                  </a:lnTo>
                  <a:lnTo>
                    <a:pt x="2167" y="2247"/>
                  </a:lnTo>
                  <a:lnTo>
                    <a:pt x="2176" y="2252"/>
                  </a:lnTo>
                  <a:lnTo>
                    <a:pt x="2176" y="2263"/>
                  </a:lnTo>
                  <a:lnTo>
                    <a:pt x="2193" y="2263"/>
                  </a:lnTo>
                  <a:lnTo>
                    <a:pt x="2193" y="2280"/>
                  </a:lnTo>
                  <a:lnTo>
                    <a:pt x="2235" y="2280"/>
                  </a:lnTo>
                  <a:lnTo>
                    <a:pt x="2252" y="2303"/>
                  </a:lnTo>
                  <a:lnTo>
                    <a:pt x="2247" y="2308"/>
                  </a:lnTo>
                  <a:lnTo>
                    <a:pt x="2263" y="2325"/>
                  </a:lnTo>
                  <a:lnTo>
                    <a:pt x="2263" y="2292"/>
                  </a:lnTo>
                  <a:lnTo>
                    <a:pt x="2268" y="2292"/>
                  </a:lnTo>
                  <a:lnTo>
                    <a:pt x="2285" y="2325"/>
                  </a:lnTo>
                  <a:lnTo>
                    <a:pt x="2289" y="2320"/>
                  </a:lnTo>
                  <a:lnTo>
                    <a:pt x="2318" y="2337"/>
                  </a:lnTo>
                  <a:lnTo>
                    <a:pt x="2322" y="2363"/>
                  </a:lnTo>
                  <a:lnTo>
                    <a:pt x="2301" y="2363"/>
                  </a:lnTo>
                  <a:lnTo>
                    <a:pt x="2268" y="2346"/>
                  </a:lnTo>
                  <a:lnTo>
                    <a:pt x="2273" y="2363"/>
                  </a:lnTo>
                  <a:lnTo>
                    <a:pt x="2306" y="2374"/>
                  </a:lnTo>
                  <a:lnTo>
                    <a:pt x="2322" y="2412"/>
                  </a:lnTo>
                  <a:lnTo>
                    <a:pt x="2322" y="2396"/>
                  </a:lnTo>
                  <a:lnTo>
                    <a:pt x="2370" y="2448"/>
                  </a:lnTo>
                  <a:lnTo>
                    <a:pt x="2344" y="2412"/>
                  </a:lnTo>
                  <a:lnTo>
                    <a:pt x="2327" y="2379"/>
                  </a:lnTo>
                  <a:lnTo>
                    <a:pt x="2339" y="2358"/>
                  </a:lnTo>
                  <a:lnTo>
                    <a:pt x="2356" y="2374"/>
                  </a:lnTo>
                  <a:lnTo>
                    <a:pt x="2339" y="2374"/>
                  </a:lnTo>
                  <a:lnTo>
                    <a:pt x="2344" y="2391"/>
                  </a:lnTo>
                  <a:lnTo>
                    <a:pt x="2360" y="2391"/>
                  </a:lnTo>
                  <a:lnTo>
                    <a:pt x="2356" y="2374"/>
                  </a:lnTo>
                  <a:lnTo>
                    <a:pt x="2381" y="2391"/>
                  </a:lnTo>
                  <a:lnTo>
                    <a:pt x="2360" y="2363"/>
                  </a:lnTo>
                  <a:lnTo>
                    <a:pt x="2360" y="2346"/>
                  </a:lnTo>
                  <a:lnTo>
                    <a:pt x="2356" y="2341"/>
                  </a:lnTo>
                  <a:lnTo>
                    <a:pt x="2339" y="2325"/>
                  </a:lnTo>
                  <a:lnTo>
                    <a:pt x="2344" y="2308"/>
                  </a:lnTo>
                  <a:lnTo>
                    <a:pt x="2318" y="2280"/>
                  </a:lnTo>
                  <a:lnTo>
                    <a:pt x="2322" y="2263"/>
                  </a:lnTo>
                  <a:lnTo>
                    <a:pt x="2339" y="2252"/>
                  </a:lnTo>
                  <a:lnTo>
                    <a:pt x="2322" y="2247"/>
                  </a:lnTo>
                  <a:lnTo>
                    <a:pt x="2322" y="2235"/>
                  </a:lnTo>
                  <a:lnTo>
                    <a:pt x="2339" y="2235"/>
                  </a:lnTo>
                  <a:lnTo>
                    <a:pt x="2327" y="2235"/>
                  </a:lnTo>
                  <a:lnTo>
                    <a:pt x="2327" y="2247"/>
                  </a:lnTo>
                  <a:lnTo>
                    <a:pt x="2360" y="2235"/>
                  </a:lnTo>
                  <a:lnTo>
                    <a:pt x="2398" y="2230"/>
                  </a:lnTo>
                  <a:lnTo>
                    <a:pt x="2398" y="2226"/>
                  </a:lnTo>
                  <a:lnTo>
                    <a:pt x="2415" y="2214"/>
                  </a:lnTo>
                  <a:lnTo>
                    <a:pt x="2424" y="2230"/>
                  </a:lnTo>
                  <a:lnTo>
                    <a:pt x="2431" y="2226"/>
                  </a:lnTo>
                  <a:lnTo>
                    <a:pt x="2424" y="2214"/>
                  </a:lnTo>
                  <a:lnTo>
                    <a:pt x="2424" y="2209"/>
                  </a:lnTo>
                  <a:lnTo>
                    <a:pt x="2478" y="2192"/>
                  </a:lnTo>
                  <a:lnTo>
                    <a:pt x="2478" y="2176"/>
                  </a:lnTo>
                  <a:lnTo>
                    <a:pt x="2483" y="2169"/>
                  </a:lnTo>
                  <a:lnTo>
                    <a:pt x="2415" y="2181"/>
                  </a:lnTo>
                  <a:lnTo>
                    <a:pt x="2415" y="2192"/>
                  </a:lnTo>
                  <a:lnTo>
                    <a:pt x="2424" y="2197"/>
                  </a:lnTo>
                  <a:lnTo>
                    <a:pt x="2415" y="2209"/>
                  </a:lnTo>
                  <a:lnTo>
                    <a:pt x="2398" y="2192"/>
                  </a:lnTo>
                  <a:lnTo>
                    <a:pt x="2370" y="2214"/>
                  </a:lnTo>
                  <a:lnTo>
                    <a:pt x="2344" y="2197"/>
                  </a:lnTo>
                  <a:lnTo>
                    <a:pt x="2327" y="2209"/>
                  </a:lnTo>
                  <a:lnTo>
                    <a:pt x="2322" y="2214"/>
                  </a:lnTo>
                  <a:lnTo>
                    <a:pt x="2344" y="2226"/>
                  </a:lnTo>
                  <a:lnTo>
                    <a:pt x="2289" y="2230"/>
                  </a:lnTo>
                  <a:lnTo>
                    <a:pt x="2285" y="2226"/>
                  </a:lnTo>
                  <a:lnTo>
                    <a:pt x="2289" y="2226"/>
                  </a:lnTo>
                  <a:lnTo>
                    <a:pt x="2289" y="2209"/>
                  </a:lnTo>
                  <a:lnTo>
                    <a:pt x="2263" y="2214"/>
                  </a:lnTo>
                  <a:lnTo>
                    <a:pt x="2289" y="2169"/>
                  </a:lnTo>
                  <a:lnTo>
                    <a:pt x="2370" y="2157"/>
                  </a:lnTo>
                  <a:lnTo>
                    <a:pt x="2436" y="2124"/>
                  </a:lnTo>
                  <a:lnTo>
                    <a:pt x="2469" y="2136"/>
                  </a:lnTo>
                  <a:lnTo>
                    <a:pt x="2490" y="2152"/>
                  </a:lnTo>
                  <a:lnTo>
                    <a:pt x="2490" y="2169"/>
                  </a:lnTo>
                  <a:lnTo>
                    <a:pt x="2500" y="2181"/>
                  </a:lnTo>
                  <a:lnTo>
                    <a:pt x="2483" y="2192"/>
                  </a:lnTo>
                  <a:lnTo>
                    <a:pt x="2521" y="2214"/>
                  </a:lnTo>
                  <a:lnTo>
                    <a:pt x="2537" y="2209"/>
                  </a:lnTo>
                  <a:lnTo>
                    <a:pt x="2533" y="2214"/>
                  </a:lnTo>
                  <a:lnTo>
                    <a:pt x="2554" y="2214"/>
                  </a:lnTo>
                  <a:lnTo>
                    <a:pt x="2542" y="2230"/>
                  </a:lnTo>
                  <a:lnTo>
                    <a:pt x="2559" y="2235"/>
                  </a:lnTo>
                  <a:lnTo>
                    <a:pt x="2613" y="2235"/>
                  </a:lnTo>
                  <a:lnTo>
                    <a:pt x="2641" y="2226"/>
                  </a:lnTo>
                  <a:lnTo>
                    <a:pt x="2646" y="2230"/>
                  </a:lnTo>
                  <a:lnTo>
                    <a:pt x="2641" y="2247"/>
                  </a:lnTo>
                  <a:lnTo>
                    <a:pt x="2717" y="2280"/>
                  </a:lnTo>
                  <a:lnTo>
                    <a:pt x="2738" y="2280"/>
                  </a:lnTo>
                  <a:lnTo>
                    <a:pt x="2769" y="2285"/>
                  </a:lnTo>
                  <a:lnTo>
                    <a:pt x="2844" y="2263"/>
                  </a:lnTo>
                  <a:lnTo>
                    <a:pt x="2911" y="2268"/>
                  </a:lnTo>
                  <a:lnTo>
                    <a:pt x="2932" y="2280"/>
                  </a:lnTo>
                  <a:lnTo>
                    <a:pt x="2991" y="2268"/>
                  </a:lnTo>
                  <a:lnTo>
                    <a:pt x="2965" y="2252"/>
                  </a:lnTo>
                  <a:lnTo>
                    <a:pt x="2965" y="2235"/>
                  </a:lnTo>
                  <a:lnTo>
                    <a:pt x="2970" y="2235"/>
                  </a:lnTo>
                  <a:lnTo>
                    <a:pt x="3007" y="2280"/>
                  </a:lnTo>
                  <a:lnTo>
                    <a:pt x="3057" y="2292"/>
                  </a:lnTo>
                  <a:lnTo>
                    <a:pt x="3078" y="2285"/>
                  </a:lnTo>
                  <a:lnTo>
                    <a:pt x="3078" y="2268"/>
                  </a:lnTo>
                  <a:lnTo>
                    <a:pt x="3071" y="2252"/>
                  </a:lnTo>
                  <a:lnTo>
                    <a:pt x="3062" y="2263"/>
                  </a:lnTo>
                  <a:lnTo>
                    <a:pt x="3041" y="2247"/>
                  </a:lnTo>
                  <a:lnTo>
                    <a:pt x="3019" y="2252"/>
                  </a:lnTo>
                  <a:lnTo>
                    <a:pt x="3007" y="2263"/>
                  </a:lnTo>
                  <a:lnTo>
                    <a:pt x="2974" y="2230"/>
                  </a:lnTo>
                  <a:lnTo>
                    <a:pt x="2986" y="2226"/>
                  </a:lnTo>
                  <a:lnTo>
                    <a:pt x="2991" y="2235"/>
                  </a:lnTo>
                  <a:lnTo>
                    <a:pt x="2991" y="2226"/>
                  </a:lnTo>
                  <a:lnTo>
                    <a:pt x="2970" y="2197"/>
                  </a:lnTo>
                  <a:lnTo>
                    <a:pt x="2974" y="2209"/>
                  </a:lnTo>
                  <a:lnTo>
                    <a:pt x="2986" y="2192"/>
                  </a:lnTo>
                  <a:lnTo>
                    <a:pt x="3003" y="2209"/>
                  </a:lnTo>
                  <a:lnTo>
                    <a:pt x="3029" y="2197"/>
                  </a:lnTo>
                  <a:lnTo>
                    <a:pt x="3019" y="2181"/>
                  </a:lnTo>
                  <a:lnTo>
                    <a:pt x="3024" y="2176"/>
                  </a:lnTo>
                  <a:lnTo>
                    <a:pt x="3045" y="2192"/>
                  </a:lnTo>
                  <a:lnTo>
                    <a:pt x="3071" y="2192"/>
                  </a:lnTo>
                  <a:lnTo>
                    <a:pt x="3083" y="2197"/>
                  </a:lnTo>
                  <a:lnTo>
                    <a:pt x="3078" y="2214"/>
                  </a:lnTo>
                  <a:lnTo>
                    <a:pt x="3133" y="2209"/>
                  </a:lnTo>
                  <a:lnTo>
                    <a:pt x="3100" y="2235"/>
                  </a:lnTo>
                  <a:lnTo>
                    <a:pt x="3109" y="2247"/>
                  </a:lnTo>
                  <a:lnTo>
                    <a:pt x="3154" y="2214"/>
                  </a:lnTo>
                  <a:lnTo>
                    <a:pt x="3137" y="2268"/>
                  </a:lnTo>
                  <a:lnTo>
                    <a:pt x="3147" y="2285"/>
                  </a:lnTo>
                  <a:lnTo>
                    <a:pt x="3126" y="2308"/>
                  </a:lnTo>
                  <a:lnTo>
                    <a:pt x="3147" y="2308"/>
                  </a:lnTo>
                  <a:lnTo>
                    <a:pt x="3137" y="2341"/>
                  </a:lnTo>
                  <a:lnTo>
                    <a:pt x="3147" y="2341"/>
                  </a:lnTo>
                  <a:lnTo>
                    <a:pt x="3185" y="2325"/>
                  </a:lnTo>
                  <a:lnTo>
                    <a:pt x="3185" y="2337"/>
                  </a:lnTo>
                  <a:lnTo>
                    <a:pt x="3170" y="2346"/>
                  </a:lnTo>
                  <a:lnTo>
                    <a:pt x="3192" y="2341"/>
                  </a:lnTo>
                  <a:lnTo>
                    <a:pt x="3201" y="2374"/>
                  </a:lnTo>
                  <a:lnTo>
                    <a:pt x="3163" y="2374"/>
                  </a:lnTo>
                  <a:lnTo>
                    <a:pt x="3154" y="2363"/>
                  </a:lnTo>
                  <a:lnTo>
                    <a:pt x="3163" y="2358"/>
                  </a:lnTo>
                  <a:lnTo>
                    <a:pt x="3147" y="2374"/>
                  </a:lnTo>
                  <a:lnTo>
                    <a:pt x="3137" y="2358"/>
                  </a:lnTo>
                  <a:lnTo>
                    <a:pt x="3126" y="2358"/>
                  </a:lnTo>
                  <a:lnTo>
                    <a:pt x="3170" y="2396"/>
                  </a:lnTo>
                  <a:lnTo>
                    <a:pt x="3170" y="2412"/>
                  </a:lnTo>
                  <a:lnTo>
                    <a:pt x="3180" y="2412"/>
                  </a:lnTo>
                  <a:lnTo>
                    <a:pt x="3147" y="2379"/>
                  </a:lnTo>
                  <a:lnTo>
                    <a:pt x="3208" y="2379"/>
                  </a:lnTo>
                  <a:lnTo>
                    <a:pt x="3208" y="2374"/>
                  </a:lnTo>
                  <a:lnTo>
                    <a:pt x="3201" y="2346"/>
                  </a:lnTo>
                  <a:lnTo>
                    <a:pt x="3218" y="2337"/>
                  </a:lnTo>
                  <a:lnTo>
                    <a:pt x="3201" y="2325"/>
                  </a:lnTo>
                  <a:lnTo>
                    <a:pt x="3201" y="2303"/>
                  </a:lnTo>
                  <a:lnTo>
                    <a:pt x="3180" y="2280"/>
                  </a:lnTo>
                  <a:lnTo>
                    <a:pt x="3185" y="2268"/>
                  </a:lnTo>
                  <a:lnTo>
                    <a:pt x="3201" y="2235"/>
                  </a:lnTo>
                  <a:lnTo>
                    <a:pt x="3192" y="2235"/>
                  </a:lnTo>
                  <a:lnTo>
                    <a:pt x="3244" y="2235"/>
                  </a:lnTo>
                  <a:lnTo>
                    <a:pt x="3289" y="2214"/>
                  </a:lnTo>
                  <a:lnTo>
                    <a:pt x="3289" y="2192"/>
                  </a:lnTo>
                  <a:lnTo>
                    <a:pt x="3326" y="2176"/>
                  </a:lnTo>
                  <a:lnTo>
                    <a:pt x="3326" y="2169"/>
                  </a:lnTo>
                  <a:lnTo>
                    <a:pt x="3315" y="2169"/>
                  </a:lnTo>
                  <a:lnTo>
                    <a:pt x="3326" y="2140"/>
                  </a:lnTo>
                  <a:lnTo>
                    <a:pt x="3326" y="2124"/>
                  </a:lnTo>
                  <a:lnTo>
                    <a:pt x="3298" y="2124"/>
                  </a:lnTo>
                  <a:lnTo>
                    <a:pt x="3293" y="2140"/>
                  </a:lnTo>
                  <a:lnTo>
                    <a:pt x="3310" y="2136"/>
                  </a:lnTo>
                  <a:lnTo>
                    <a:pt x="3293" y="2152"/>
                  </a:lnTo>
                  <a:lnTo>
                    <a:pt x="3260" y="2152"/>
                  </a:lnTo>
                  <a:lnTo>
                    <a:pt x="3256" y="2152"/>
                  </a:lnTo>
                  <a:lnTo>
                    <a:pt x="3256" y="2136"/>
                  </a:lnTo>
                  <a:lnTo>
                    <a:pt x="3256" y="2124"/>
                  </a:lnTo>
                  <a:lnTo>
                    <a:pt x="3293" y="2103"/>
                  </a:lnTo>
                  <a:lnTo>
                    <a:pt x="3277" y="2103"/>
                  </a:lnTo>
                  <a:lnTo>
                    <a:pt x="3277" y="2081"/>
                  </a:lnTo>
                  <a:lnTo>
                    <a:pt x="3331" y="2065"/>
                  </a:lnTo>
                  <a:lnTo>
                    <a:pt x="3310" y="2086"/>
                  </a:lnTo>
                  <a:lnTo>
                    <a:pt x="3310" y="2103"/>
                  </a:lnTo>
                  <a:lnTo>
                    <a:pt x="3343" y="2070"/>
                  </a:lnTo>
                  <a:lnTo>
                    <a:pt x="3326" y="2070"/>
                  </a:lnTo>
                  <a:lnTo>
                    <a:pt x="3343" y="2065"/>
                  </a:lnTo>
                  <a:lnTo>
                    <a:pt x="3331" y="2058"/>
                  </a:lnTo>
                  <a:lnTo>
                    <a:pt x="3277" y="2065"/>
                  </a:lnTo>
                  <a:lnTo>
                    <a:pt x="3256" y="2029"/>
                  </a:lnTo>
                  <a:lnTo>
                    <a:pt x="3239" y="2048"/>
                  </a:lnTo>
                  <a:lnTo>
                    <a:pt x="3180" y="2025"/>
                  </a:lnTo>
                  <a:lnTo>
                    <a:pt x="3163" y="2025"/>
                  </a:lnTo>
                  <a:lnTo>
                    <a:pt x="3147" y="2003"/>
                  </a:lnTo>
                  <a:lnTo>
                    <a:pt x="3116" y="1975"/>
                  </a:lnTo>
                  <a:lnTo>
                    <a:pt x="3116" y="1954"/>
                  </a:lnTo>
                  <a:lnTo>
                    <a:pt x="3137" y="1921"/>
                  </a:lnTo>
                  <a:lnTo>
                    <a:pt x="3170" y="1921"/>
                  </a:lnTo>
                  <a:lnTo>
                    <a:pt x="3154" y="1914"/>
                  </a:lnTo>
                  <a:lnTo>
                    <a:pt x="3170" y="1897"/>
                  </a:lnTo>
                  <a:lnTo>
                    <a:pt x="3147" y="1914"/>
                  </a:lnTo>
                  <a:lnTo>
                    <a:pt x="3116" y="1892"/>
                  </a:lnTo>
                  <a:lnTo>
                    <a:pt x="3126" y="1859"/>
                  </a:lnTo>
                  <a:lnTo>
                    <a:pt x="3133" y="1848"/>
                  </a:lnTo>
                  <a:lnTo>
                    <a:pt x="3116" y="1843"/>
                  </a:lnTo>
                  <a:lnTo>
                    <a:pt x="3126" y="1843"/>
                  </a:lnTo>
                  <a:lnTo>
                    <a:pt x="3126" y="1826"/>
                  </a:lnTo>
                  <a:lnTo>
                    <a:pt x="3154" y="1810"/>
                  </a:lnTo>
                  <a:lnTo>
                    <a:pt x="3185" y="1826"/>
                  </a:lnTo>
                  <a:lnTo>
                    <a:pt x="3192" y="1810"/>
                  </a:lnTo>
                  <a:lnTo>
                    <a:pt x="3185" y="1803"/>
                  </a:lnTo>
                  <a:lnTo>
                    <a:pt x="3163" y="1786"/>
                  </a:lnTo>
                  <a:lnTo>
                    <a:pt x="3208" y="1770"/>
                  </a:lnTo>
                  <a:lnTo>
                    <a:pt x="3208" y="1753"/>
                  </a:lnTo>
                  <a:lnTo>
                    <a:pt x="3256" y="1748"/>
                  </a:lnTo>
                  <a:lnTo>
                    <a:pt x="3208" y="1748"/>
                  </a:lnTo>
                  <a:lnTo>
                    <a:pt x="3218" y="1737"/>
                  </a:lnTo>
                  <a:lnTo>
                    <a:pt x="3260" y="1732"/>
                  </a:lnTo>
                  <a:lnTo>
                    <a:pt x="3272" y="1737"/>
                  </a:lnTo>
                  <a:lnTo>
                    <a:pt x="3256" y="1753"/>
                  </a:lnTo>
                  <a:lnTo>
                    <a:pt x="3256" y="1765"/>
                  </a:lnTo>
                  <a:lnTo>
                    <a:pt x="3260" y="1753"/>
                  </a:lnTo>
                  <a:lnTo>
                    <a:pt x="3272" y="1753"/>
                  </a:lnTo>
                  <a:lnTo>
                    <a:pt x="3272" y="1781"/>
                  </a:lnTo>
                  <a:lnTo>
                    <a:pt x="3289" y="1753"/>
                  </a:lnTo>
                  <a:lnTo>
                    <a:pt x="3315" y="1765"/>
                  </a:lnTo>
                  <a:lnTo>
                    <a:pt x="3310" y="1781"/>
                  </a:lnTo>
                  <a:lnTo>
                    <a:pt x="3369" y="1819"/>
                  </a:lnTo>
                  <a:lnTo>
                    <a:pt x="3381" y="1843"/>
                  </a:lnTo>
                  <a:lnTo>
                    <a:pt x="3369" y="1876"/>
                  </a:lnTo>
                  <a:lnTo>
                    <a:pt x="3364" y="1881"/>
                  </a:lnTo>
                  <a:lnTo>
                    <a:pt x="3423" y="1914"/>
                  </a:lnTo>
                  <a:lnTo>
                    <a:pt x="3418" y="1930"/>
                  </a:lnTo>
                  <a:lnTo>
                    <a:pt x="3440" y="1947"/>
                  </a:lnTo>
                  <a:lnTo>
                    <a:pt x="3440" y="1959"/>
                  </a:lnTo>
                  <a:lnTo>
                    <a:pt x="3449" y="1947"/>
                  </a:lnTo>
                  <a:lnTo>
                    <a:pt x="3456" y="1947"/>
                  </a:lnTo>
                  <a:lnTo>
                    <a:pt x="3470" y="1970"/>
                  </a:lnTo>
                  <a:lnTo>
                    <a:pt x="3440" y="1975"/>
                  </a:lnTo>
                  <a:lnTo>
                    <a:pt x="3418" y="1970"/>
                  </a:lnTo>
                  <a:lnTo>
                    <a:pt x="3407" y="1987"/>
                  </a:lnTo>
                  <a:lnTo>
                    <a:pt x="3440" y="1992"/>
                  </a:lnTo>
                  <a:lnTo>
                    <a:pt x="3385" y="2029"/>
                  </a:lnTo>
                  <a:lnTo>
                    <a:pt x="3402" y="2029"/>
                  </a:lnTo>
                  <a:lnTo>
                    <a:pt x="3369" y="2029"/>
                  </a:lnTo>
                  <a:lnTo>
                    <a:pt x="3418" y="2029"/>
                  </a:lnTo>
                  <a:lnTo>
                    <a:pt x="3433" y="2041"/>
                  </a:lnTo>
                  <a:lnTo>
                    <a:pt x="3418" y="2041"/>
                  </a:lnTo>
                  <a:lnTo>
                    <a:pt x="3433" y="2048"/>
                  </a:lnTo>
                  <a:lnTo>
                    <a:pt x="3449" y="2058"/>
                  </a:lnTo>
                  <a:lnTo>
                    <a:pt x="3470" y="2041"/>
                  </a:lnTo>
                  <a:lnTo>
                    <a:pt x="3494" y="2041"/>
                  </a:lnTo>
                  <a:lnTo>
                    <a:pt x="3504" y="2041"/>
                  </a:lnTo>
                  <a:lnTo>
                    <a:pt x="3470" y="2058"/>
                  </a:lnTo>
                  <a:lnTo>
                    <a:pt x="3494" y="2048"/>
                  </a:lnTo>
                  <a:lnTo>
                    <a:pt x="3525" y="2058"/>
                  </a:lnTo>
                  <a:lnTo>
                    <a:pt x="3525" y="2048"/>
                  </a:lnTo>
                  <a:lnTo>
                    <a:pt x="3558" y="2065"/>
                  </a:lnTo>
                  <a:lnTo>
                    <a:pt x="3525" y="2065"/>
                  </a:lnTo>
                  <a:lnTo>
                    <a:pt x="3541" y="2065"/>
                  </a:lnTo>
                  <a:lnTo>
                    <a:pt x="3525" y="2070"/>
                  </a:lnTo>
                  <a:lnTo>
                    <a:pt x="3515" y="2086"/>
                  </a:lnTo>
                  <a:lnTo>
                    <a:pt x="3478" y="2070"/>
                  </a:lnTo>
                  <a:lnTo>
                    <a:pt x="3532" y="2115"/>
                  </a:lnTo>
                  <a:lnTo>
                    <a:pt x="3532" y="2124"/>
                  </a:lnTo>
                  <a:lnTo>
                    <a:pt x="3546" y="2136"/>
                  </a:lnTo>
                  <a:lnTo>
                    <a:pt x="3541" y="2152"/>
                  </a:lnTo>
                  <a:lnTo>
                    <a:pt x="3541" y="2181"/>
                  </a:lnTo>
                  <a:lnTo>
                    <a:pt x="3532" y="2192"/>
                  </a:lnTo>
                  <a:lnTo>
                    <a:pt x="3558" y="2197"/>
                  </a:lnTo>
                  <a:lnTo>
                    <a:pt x="3546" y="2209"/>
                  </a:lnTo>
                  <a:lnTo>
                    <a:pt x="3558" y="2214"/>
                  </a:lnTo>
                  <a:lnTo>
                    <a:pt x="3570" y="2214"/>
                  </a:lnTo>
                  <a:lnTo>
                    <a:pt x="3584" y="2192"/>
                  </a:lnTo>
                  <a:lnTo>
                    <a:pt x="3579" y="2169"/>
                  </a:lnTo>
                  <a:lnTo>
                    <a:pt x="3596" y="2157"/>
                  </a:lnTo>
                  <a:lnTo>
                    <a:pt x="3596" y="2119"/>
                  </a:lnTo>
                  <a:lnTo>
                    <a:pt x="3622" y="2086"/>
                  </a:lnTo>
                  <a:lnTo>
                    <a:pt x="3650" y="2086"/>
                  </a:lnTo>
                  <a:lnTo>
                    <a:pt x="3721" y="2140"/>
                  </a:lnTo>
                  <a:lnTo>
                    <a:pt x="3730" y="2209"/>
                  </a:lnTo>
                  <a:lnTo>
                    <a:pt x="3726" y="2226"/>
                  </a:lnTo>
                  <a:lnTo>
                    <a:pt x="3704" y="2197"/>
                  </a:lnTo>
                  <a:lnTo>
                    <a:pt x="3688" y="2209"/>
                  </a:lnTo>
                  <a:lnTo>
                    <a:pt x="3693" y="2230"/>
                  </a:lnTo>
                  <a:lnTo>
                    <a:pt x="3693" y="2252"/>
                  </a:lnTo>
                  <a:lnTo>
                    <a:pt x="3709" y="2285"/>
                  </a:lnTo>
                  <a:lnTo>
                    <a:pt x="3763" y="2337"/>
                  </a:lnTo>
                  <a:lnTo>
                    <a:pt x="3747" y="2358"/>
                  </a:lnTo>
                  <a:lnTo>
                    <a:pt x="3785" y="2341"/>
                  </a:lnTo>
                  <a:lnTo>
                    <a:pt x="3780" y="2325"/>
                  </a:lnTo>
                  <a:lnTo>
                    <a:pt x="3796" y="2320"/>
                  </a:lnTo>
                  <a:lnTo>
                    <a:pt x="3818" y="2325"/>
                  </a:lnTo>
                  <a:lnTo>
                    <a:pt x="3827" y="2292"/>
                  </a:lnTo>
                  <a:lnTo>
                    <a:pt x="3818" y="2285"/>
                  </a:lnTo>
                  <a:lnTo>
                    <a:pt x="3865" y="2235"/>
                  </a:lnTo>
                  <a:lnTo>
                    <a:pt x="3872" y="2209"/>
                  </a:lnTo>
                  <a:lnTo>
                    <a:pt x="3881" y="2192"/>
                  </a:lnTo>
                  <a:lnTo>
                    <a:pt x="3881" y="2152"/>
                  </a:lnTo>
                  <a:lnTo>
                    <a:pt x="3893" y="2152"/>
                  </a:lnTo>
                  <a:lnTo>
                    <a:pt x="3941" y="2152"/>
                  </a:lnTo>
                  <a:lnTo>
                    <a:pt x="3941" y="2140"/>
                  </a:lnTo>
                  <a:lnTo>
                    <a:pt x="3910" y="2136"/>
                  </a:lnTo>
                  <a:lnTo>
                    <a:pt x="3924" y="2136"/>
                  </a:lnTo>
                  <a:lnTo>
                    <a:pt x="3919" y="2124"/>
                  </a:lnTo>
                  <a:lnTo>
                    <a:pt x="3941" y="2124"/>
                  </a:lnTo>
                  <a:lnTo>
                    <a:pt x="3936" y="2119"/>
                  </a:lnTo>
                  <a:lnTo>
                    <a:pt x="3962" y="2119"/>
                  </a:lnTo>
                  <a:lnTo>
                    <a:pt x="3919" y="2103"/>
                  </a:lnTo>
                  <a:lnTo>
                    <a:pt x="3924" y="2098"/>
                  </a:lnTo>
                  <a:lnTo>
                    <a:pt x="3903" y="2103"/>
                  </a:lnTo>
                  <a:lnTo>
                    <a:pt x="3910" y="2098"/>
                  </a:lnTo>
                  <a:lnTo>
                    <a:pt x="3893" y="2086"/>
                  </a:lnTo>
                  <a:lnTo>
                    <a:pt x="3893" y="2070"/>
                  </a:lnTo>
                  <a:lnTo>
                    <a:pt x="3903" y="2065"/>
                  </a:lnTo>
                  <a:lnTo>
                    <a:pt x="3886" y="2065"/>
                  </a:lnTo>
                  <a:lnTo>
                    <a:pt x="3893" y="2025"/>
                  </a:lnTo>
                  <a:lnTo>
                    <a:pt x="3903" y="2025"/>
                  </a:lnTo>
                  <a:lnTo>
                    <a:pt x="3886" y="2008"/>
                  </a:lnTo>
                  <a:lnTo>
                    <a:pt x="3924" y="2025"/>
                  </a:lnTo>
                  <a:lnTo>
                    <a:pt x="3974" y="2008"/>
                  </a:lnTo>
                  <a:lnTo>
                    <a:pt x="4016" y="2029"/>
                  </a:lnTo>
                  <a:lnTo>
                    <a:pt x="4120" y="2041"/>
                  </a:lnTo>
                  <a:lnTo>
                    <a:pt x="4096" y="2041"/>
                  </a:lnTo>
                  <a:lnTo>
                    <a:pt x="4104" y="2058"/>
                  </a:lnTo>
                  <a:lnTo>
                    <a:pt x="4049" y="2048"/>
                  </a:lnTo>
                  <a:lnTo>
                    <a:pt x="4120" y="2070"/>
                  </a:lnTo>
                  <a:lnTo>
                    <a:pt x="4120" y="2086"/>
                  </a:lnTo>
                  <a:lnTo>
                    <a:pt x="4158" y="2086"/>
                  </a:lnTo>
                  <a:lnTo>
                    <a:pt x="4189" y="2098"/>
                  </a:lnTo>
                  <a:lnTo>
                    <a:pt x="4189" y="2103"/>
                  </a:lnTo>
                  <a:lnTo>
                    <a:pt x="4163" y="2119"/>
                  </a:lnTo>
                  <a:lnTo>
                    <a:pt x="4134" y="2136"/>
                  </a:lnTo>
                  <a:lnTo>
                    <a:pt x="4179" y="2136"/>
                  </a:lnTo>
                  <a:lnTo>
                    <a:pt x="4189" y="2152"/>
                  </a:lnTo>
                  <a:lnTo>
                    <a:pt x="4189" y="2169"/>
                  </a:lnTo>
                  <a:lnTo>
                    <a:pt x="4141" y="2192"/>
                  </a:lnTo>
                  <a:lnTo>
                    <a:pt x="4120" y="2181"/>
                  </a:lnTo>
                  <a:lnTo>
                    <a:pt x="4125" y="2181"/>
                  </a:lnTo>
                  <a:lnTo>
                    <a:pt x="4120" y="2192"/>
                  </a:lnTo>
                  <a:lnTo>
                    <a:pt x="4096" y="2181"/>
                  </a:lnTo>
                  <a:lnTo>
                    <a:pt x="4108" y="2209"/>
                  </a:lnTo>
                  <a:lnTo>
                    <a:pt x="4104" y="2209"/>
                  </a:lnTo>
                  <a:lnTo>
                    <a:pt x="4120" y="2209"/>
                  </a:lnTo>
                  <a:lnTo>
                    <a:pt x="4108" y="2226"/>
                  </a:lnTo>
                  <a:lnTo>
                    <a:pt x="4125" y="2230"/>
                  </a:lnTo>
                  <a:lnTo>
                    <a:pt x="4141" y="2226"/>
                  </a:lnTo>
                  <a:lnTo>
                    <a:pt x="4125" y="2247"/>
                  </a:lnTo>
                  <a:lnTo>
                    <a:pt x="4134" y="2252"/>
                  </a:lnTo>
                  <a:lnTo>
                    <a:pt x="4189" y="2308"/>
                  </a:lnTo>
                  <a:lnTo>
                    <a:pt x="4172" y="2363"/>
                  </a:lnTo>
                  <a:lnTo>
                    <a:pt x="4141" y="2374"/>
                  </a:lnTo>
                  <a:lnTo>
                    <a:pt x="4096" y="2419"/>
                  </a:lnTo>
                  <a:lnTo>
                    <a:pt x="4066" y="2419"/>
                  </a:lnTo>
                  <a:lnTo>
                    <a:pt x="4033" y="2448"/>
                  </a:lnTo>
                  <a:lnTo>
                    <a:pt x="4028" y="2436"/>
                  </a:lnTo>
                  <a:lnTo>
                    <a:pt x="4033" y="2448"/>
                  </a:lnTo>
                  <a:lnTo>
                    <a:pt x="4016" y="2429"/>
                  </a:lnTo>
                  <a:lnTo>
                    <a:pt x="4000" y="2419"/>
                  </a:lnTo>
                  <a:lnTo>
                    <a:pt x="3995" y="2403"/>
                  </a:lnTo>
                  <a:lnTo>
                    <a:pt x="4000" y="2391"/>
                  </a:lnTo>
                  <a:lnTo>
                    <a:pt x="4000" y="2379"/>
                  </a:lnTo>
                  <a:lnTo>
                    <a:pt x="3990" y="2403"/>
                  </a:lnTo>
                  <a:lnTo>
                    <a:pt x="3978" y="2403"/>
                  </a:lnTo>
                  <a:lnTo>
                    <a:pt x="3962" y="2391"/>
                  </a:lnTo>
                  <a:lnTo>
                    <a:pt x="3974" y="2374"/>
                  </a:lnTo>
                  <a:lnTo>
                    <a:pt x="3936" y="2358"/>
                  </a:lnTo>
                  <a:lnTo>
                    <a:pt x="3936" y="2374"/>
                  </a:lnTo>
                  <a:lnTo>
                    <a:pt x="3957" y="2374"/>
                  </a:lnTo>
                  <a:lnTo>
                    <a:pt x="3924" y="2374"/>
                  </a:lnTo>
                  <a:lnTo>
                    <a:pt x="3910" y="2379"/>
                  </a:lnTo>
                  <a:lnTo>
                    <a:pt x="3957" y="2374"/>
                  </a:lnTo>
                  <a:lnTo>
                    <a:pt x="3945" y="2379"/>
                  </a:lnTo>
                  <a:lnTo>
                    <a:pt x="3962" y="2391"/>
                  </a:lnTo>
                  <a:lnTo>
                    <a:pt x="3945" y="2391"/>
                  </a:lnTo>
                  <a:lnTo>
                    <a:pt x="3962" y="2396"/>
                  </a:lnTo>
                  <a:lnTo>
                    <a:pt x="3962" y="2403"/>
                  </a:lnTo>
                  <a:lnTo>
                    <a:pt x="3990" y="2403"/>
                  </a:lnTo>
                  <a:lnTo>
                    <a:pt x="3990" y="2412"/>
                  </a:lnTo>
                  <a:lnTo>
                    <a:pt x="4016" y="2469"/>
                  </a:lnTo>
                  <a:lnTo>
                    <a:pt x="4011" y="2469"/>
                  </a:lnTo>
                  <a:lnTo>
                    <a:pt x="3962" y="2436"/>
                  </a:lnTo>
                  <a:lnTo>
                    <a:pt x="3957" y="2452"/>
                  </a:lnTo>
                  <a:lnTo>
                    <a:pt x="3974" y="2469"/>
                  </a:lnTo>
                  <a:lnTo>
                    <a:pt x="3910" y="2457"/>
                  </a:lnTo>
                  <a:lnTo>
                    <a:pt x="3893" y="2419"/>
                  </a:lnTo>
                  <a:lnTo>
                    <a:pt x="3872" y="2429"/>
                  </a:lnTo>
                  <a:lnTo>
                    <a:pt x="3801" y="2429"/>
                  </a:lnTo>
                  <a:lnTo>
                    <a:pt x="3811" y="2436"/>
                  </a:lnTo>
                  <a:lnTo>
                    <a:pt x="3801" y="2436"/>
                  </a:lnTo>
                  <a:lnTo>
                    <a:pt x="3811" y="2452"/>
                  </a:lnTo>
                  <a:lnTo>
                    <a:pt x="3865" y="2469"/>
                  </a:lnTo>
                  <a:lnTo>
                    <a:pt x="3855" y="2485"/>
                  </a:lnTo>
                  <a:lnTo>
                    <a:pt x="3827" y="2502"/>
                  </a:lnTo>
                  <a:lnTo>
                    <a:pt x="3818" y="2523"/>
                  </a:lnTo>
                  <a:lnTo>
                    <a:pt x="3763" y="2568"/>
                  </a:lnTo>
                  <a:lnTo>
                    <a:pt x="3721" y="2563"/>
                  </a:lnTo>
                  <a:lnTo>
                    <a:pt x="3655" y="2530"/>
                  </a:lnTo>
                  <a:lnTo>
                    <a:pt x="3676" y="2530"/>
                  </a:lnTo>
                  <a:lnTo>
                    <a:pt x="3650" y="2523"/>
                  </a:lnTo>
                  <a:lnTo>
                    <a:pt x="3600" y="2490"/>
                  </a:lnTo>
                  <a:lnTo>
                    <a:pt x="3579" y="2490"/>
                  </a:lnTo>
                  <a:lnTo>
                    <a:pt x="3596" y="2502"/>
                  </a:lnTo>
                  <a:lnTo>
                    <a:pt x="3596" y="2507"/>
                  </a:lnTo>
                  <a:lnTo>
                    <a:pt x="3546" y="2502"/>
                  </a:lnTo>
                  <a:lnTo>
                    <a:pt x="3563" y="2502"/>
                  </a:lnTo>
                  <a:lnTo>
                    <a:pt x="3478" y="2490"/>
                  </a:lnTo>
                  <a:lnTo>
                    <a:pt x="3508" y="2507"/>
                  </a:lnTo>
                  <a:lnTo>
                    <a:pt x="3504" y="2502"/>
                  </a:lnTo>
                  <a:lnTo>
                    <a:pt x="3579" y="2514"/>
                  </a:lnTo>
                  <a:lnTo>
                    <a:pt x="3638" y="2568"/>
                  </a:lnTo>
                  <a:lnTo>
                    <a:pt x="3763" y="2568"/>
                  </a:lnTo>
                  <a:lnTo>
                    <a:pt x="3796" y="2585"/>
                  </a:lnTo>
                  <a:lnTo>
                    <a:pt x="3747" y="2658"/>
                  </a:lnTo>
                  <a:lnTo>
                    <a:pt x="3730" y="2667"/>
                  </a:lnTo>
                  <a:lnTo>
                    <a:pt x="3721" y="2696"/>
                  </a:lnTo>
                  <a:lnTo>
                    <a:pt x="3709" y="2707"/>
                  </a:lnTo>
                  <a:lnTo>
                    <a:pt x="3667" y="2729"/>
                  </a:lnTo>
                  <a:lnTo>
                    <a:pt x="3638" y="2724"/>
                  </a:lnTo>
                  <a:lnTo>
                    <a:pt x="3633" y="2707"/>
                  </a:lnTo>
                  <a:lnTo>
                    <a:pt x="3650" y="2729"/>
                  </a:lnTo>
                  <a:lnTo>
                    <a:pt x="3612" y="2712"/>
                  </a:lnTo>
                  <a:lnTo>
                    <a:pt x="3612" y="2729"/>
                  </a:lnTo>
                  <a:lnTo>
                    <a:pt x="3584" y="2712"/>
                  </a:lnTo>
                  <a:lnTo>
                    <a:pt x="3596" y="2707"/>
                  </a:lnTo>
                  <a:lnTo>
                    <a:pt x="3596" y="2696"/>
                  </a:lnTo>
                  <a:lnTo>
                    <a:pt x="3584" y="2707"/>
                  </a:lnTo>
                  <a:lnTo>
                    <a:pt x="3570" y="2707"/>
                  </a:lnTo>
                  <a:lnTo>
                    <a:pt x="3579" y="2712"/>
                  </a:lnTo>
                  <a:lnTo>
                    <a:pt x="3584" y="2729"/>
                  </a:lnTo>
                  <a:lnTo>
                    <a:pt x="3558" y="2724"/>
                  </a:lnTo>
                  <a:lnTo>
                    <a:pt x="3579" y="2745"/>
                  </a:lnTo>
                  <a:lnTo>
                    <a:pt x="3563" y="2769"/>
                  </a:lnTo>
                  <a:lnTo>
                    <a:pt x="3532" y="2752"/>
                  </a:lnTo>
                  <a:lnTo>
                    <a:pt x="3525" y="2762"/>
                  </a:lnTo>
                  <a:lnTo>
                    <a:pt x="3532" y="2762"/>
                  </a:lnTo>
                  <a:lnTo>
                    <a:pt x="3541" y="2769"/>
                  </a:lnTo>
                  <a:lnTo>
                    <a:pt x="3508" y="2769"/>
                  </a:lnTo>
                  <a:lnTo>
                    <a:pt x="3470" y="2752"/>
                  </a:lnTo>
                  <a:lnTo>
                    <a:pt x="3423" y="2752"/>
                  </a:lnTo>
                  <a:lnTo>
                    <a:pt x="3343" y="2724"/>
                  </a:lnTo>
                  <a:lnTo>
                    <a:pt x="3310" y="2696"/>
                  </a:lnTo>
                  <a:lnTo>
                    <a:pt x="3326" y="2712"/>
                  </a:lnTo>
                  <a:lnTo>
                    <a:pt x="3315" y="2729"/>
                  </a:lnTo>
                  <a:lnTo>
                    <a:pt x="3331" y="2736"/>
                  </a:lnTo>
                  <a:lnTo>
                    <a:pt x="3352" y="2736"/>
                  </a:lnTo>
                  <a:lnTo>
                    <a:pt x="3331" y="2729"/>
                  </a:lnTo>
                  <a:lnTo>
                    <a:pt x="3343" y="2729"/>
                  </a:lnTo>
                  <a:lnTo>
                    <a:pt x="3433" y="2752"/>
                  </a:lnTo>
                  <a:lnTo>
                    <a:pt x="3402" y="2778"/>
                  </a:lnTo>
                  <a:lnTo>
                    <a:pt x="3456" y="2752"/>
                  </a:lnTo>
                  <a:lnTo>
                    <a:pt x="3461" y="2769"/>
                  </a:lnTo>
                  <a:lnTo>
                    <a:pt x="3515" y="2790"/>
                  </a:lnTo>
                  <a:lnTo>
                    <a:pt x="3508" y="2785"/>
                  </a:lnTo>
                  <a:lnTo>
                    <a:pt x="3525" y="2790"/>
                  </a:lnTo>
                  <a:lnTo>
                    <a:pt x="3532" y="2835"/>
                  </a:lnTo>
                  <a:lnTo>
                    <a:pt x="3525" y="2840"/>
                  </a:lnTo>
                  <a:lnTo>
                    <a:pt x="3504" y="2840"/>
                  </a:lnTo>
                  <a:lnTo>
                    <a:pt x="3478" y="2856"/>
                  </a:lnTo>
                  <a:lnTo>
                    <a:pt x="3407" y="2856"/>
                  </a:lnTo>
                  <a:lnTo>
                    <a:pt x="3418" y="2873"/>
                  </a:lnTo>
                  <a:lnTo>
                    <a:pt x="3449" y="2880"/>
                  </a:lnTo>
                  <a:lnTo>
                    <a:pt x="3433" y="2889"/>
                  </a:lnTo>
                  <a:lnTo>
                    <a:pt x="3418" y="2880"/>
                  </a:lnTo>
                  <a:lnTo>
                    <a:pt x="3385" y="2896"/>
                  </a:lnTo>
                  <a:lnTo>
                    <a:pt x="3385" y="2913"/>
                  </a:lnTo>
                  <a:lnTo>
                    <a:pt x="3402" y="2934"/>
                  </a:lnTo>
                  <a:lnTo>
                    <a:pt x="3385" y="2918"/>
                  </a:lnTo>
                  <a:lnTo>
                    <a:pt x="3352" y="2913"/>
                  </a:lnTo>
                  <a:lnTo>
                    <a:pt x="3385" y="2929"/>
                  </a:lnTo>
                  <a:lnTo>
                    <a:pt x="3364" y="2929"/>
                  </a:lnTo>
                  <a:lnTo>
                    <a:pt x="3369" y="2934"/>
                  </a:lnTo>
                  <a:lnTo>
                    <a:pt x="3352" y="2946"/>
                  </a:lnTo>
                  <a:lnTo>
                    <a:pt x="3343" y="2946"/>
                  </a:lnTo>
                  <a:lnTo>
                    <a:pt x="3352" y="2951"/>
                  </a:lnTo>
                  <a:lnTo>
                    <a:pt x="3348" y="2955"/>
                  </a:lnTo>
                  <a:lnTo>
                    <a:pt x="3326" y="2951"/>
                  </a:lnTo>
                  <a:lnTo>
                    <a:pt x="3326" y="2967"/>
                  </a:lnTo>
                  <a:lnTo>
                    <a:pt x="3348" y="2974"/>
                  </a:lnTo>
                  <a:lnTo>
                    <a:pt x="3298" y="3007"/>
                  </a:lnTo>
                  <a:lnTo>
                    <a:pt x="3310" y="3024"/>
                  </a:lnTo>
                  <a:lnTo>
                    <a:pt x="3272" y="3078"/>
                  </a:lnTo>
                  <a:lnTo>
                    <a:pt x="3260" y="3111"/>
                  </a:lnTo>
                  <a:lnTo>
                    <a:pt x="3244" y="3111"/>
                  </a:lnTo>
                  <a:lnTo>
                    <a:pt x="3256" y="3123"/>
                  </a:lnTo>
                  <a:lnTo>
                    <a:pt x="3239" y="3173"/>
                  </a:lnTo>
                  <a:lnTo>
                    <a:pt x="3239" y="3206"/>
                  </a:lnTo>
                  <a:lnTo>
                    <a:pt x="3244" y="3234"/>
                  </a:lnTo>
                  <a:lnTo>
                    <a:pt x="3239" y="3246"/>
                  </a:lnTo>
                  <a:lnTo>
                    <a:pt x="3239" y="3263"/>
                  </a:lnTo>
                  <a:lnTo>
                    <a:pt x="3260" y="3300"/>
                  </a:lnTo>
                  <a:lnTo>
                    <a:pt x="3277" y="3300"/>
                  </a:lnTo>
                  <a:lnTo>
                    <a:pt x="3272" y="3355"/>
                  </a:lnTo>
                  <a:lnTo>
                    <a:pt x="3277" y="3338"/>
                  </a:lnTo>
                  <a:lnTo>
                    <a:pt x="3277" y="3317"/>
                  </a:lnTo>
                  <a:lnTo>
                    <a:pt x="3289" y="3300"/>
                  </a:lnTo>
                  <a:lnTo>
                    <a:pt x="3352" y="3300"/>
                  </a:lnTo>
                  <a:lnTo>
                    <a:pt x="3407" y="3449"/>
                  </a:lnTo>
                  <a:lnTo>
                    <a:pt x="3395" y="3473"/>
                  </a:lnTo>
                  <a:lnTo>
                    <a:pt x="3381" y="3489"/>
                  </a:lnTo>
                  <a:lnTo>
                    <a:pt x="3407" y="3473"/>
                  </a:lnTo>
                  <a:lnTo>
                    <a:pt x="3423" y="3473"/>
                  </a:lnTo>
                  <a:lnTo>
                    <a:pt x="3402" y="3489"/>
                  </a:lnTo>
                  <a:lnTo>
                    <a:pt x="3508" y="3461"/>
                  </a:lnTo>
                  <a:lnTo>
                    <a:pt x="3667" y="3499"/>
                  </a:lnTo>
                  <a:lnTo>
                    <a:pt x="3721" y="3539"/>
                  </a:lnTo>
                  <a:lnTo>
                    <a:pt x="3742" y="3572"/>
                  </a:lnTo>
                  <a:lnTo>
                    <a:pt x="3763" y="3584"/>
                  </a:lnTo>
                  <a:lnTo>
                    <a:pt x="3881" y="3626"/>
                  </a:lnTo>
                  <a:lnTo>
                    <a:pt x="3903" y="3650"/>
                  </a:lnTo>
                  <a:lnTo>
                    <a:pt x="3919" y="3650"/>
                  </a:lnTo>
                  <a:lnTo>
                    <a:pt x="3893" y="3688"/>
                  </a:lnTo>
                  <a:lnTo>
                    <a:pt x="3910" y="3666"/>
                  </a:lnTo>
                  <a:lnTo>
                    <a:pt x="3924" y="3655"/>
                  </a:lnTo>
                  <a:lnTo>
                    <a:pt x="3957" y="3666"/>
                  </a:lnTo>
                  <a:lnTo>
                    <a:pt x="4000" y="3655"/>
                  </a:lnTo>
                  <a:lnTo>
                    <a:pt x="4028" y="3671"/>
                  </a:lnTo>
                  <a:lnTo>
                    <a:pt x="4016" y="3655"/>
                  </a:lnTo>
                  <a:lnTo>
                    <a:pt x="4070" y="3666"/>
                  </a:lnTo>
                  <a:lnTo>
                    <a:pt x="4108" y="3683"/>
                  </a:lnTo>
                  <a:lnTo>
                    <a:pt x="4120" y="3671"/>
                  </a:lnTo>
                  <a:lnTo>
                    <a:pt x="4125" y="3704"/>
                  </a:lnTo>
                  <a:lnTo>
                    <a:pt x="4108" y="3749"/>
                  </a:lnTo>
                  <a:lnTo>
                    <a:pt x="4108" y="3766"/>
                  </a:lnTo>
                  <a:lnTo>
                    <a:pt x="4120" y="3777"/>
                  </a:lnTo>
                  <a:lnTo>
                    <a:pt x="4125" y="3806"/>
                  </a:lnTo>
                  <a:lnTo>
                    <a:pt x="4125" y="3822"/>
                  </a:lnTo>
                  <a:lnTo>
                    <a:pt x="4125" y="3855"/>
                  </a:lnTo>
                  <a:lnTo>
                    <a:pt x="4120" y="3872"/>
                  </a:lnTo>
                  <a:lnTo>
                    <a:pt x="4120" y="3877"/>
                  </a:lnTo>
                  <a:lnTo>
                    <a:pt x="4172" y="3943"/>
                  </a:lnTo>
                  <a:lnTo>
                    <a:pt x="4172" y="3950"/>
                  </a:lnTo>
                  <a:lnTo>
                    <a:pt x="4151" y="3966"/>
                  </a:lnTo>
                  <a:lnTo>
                    <a:pt x="4172" y="3959"/>
                  </a:lnTo>
                  <a:lnTo>
                    <a:pt x="4179" y="3971"/>
                  </a:lnTo>
                  <a:lnTo>
                    <a:pt x="4210" y="3983"/>
                  </a:lnTo>
                  <a:lnTo>
                    <a:pt x="4233" y="4016"/>
                  </a:lnTo>
                  <a:lnTo>
                    <a:pt x="4248" y="4044"/>
                  </a:lnTo>
                  <a:lnTo>
                    <a:pt x="4205" y="4077"/>
                  </a:lnTo>
                  <a:lnTo>
                    <a:pt x="4248" y="4044"/>
                  </a:lnTo>
                  <a:lnTo>
                    <a:pt x="4271" y="4044"/>
                  </a:lnTo>
                  <a:lnTo>
                    <a:pt x="4297" y="4061"/>
                  </a:lnTo>
                  <a:lnTo>
                    <a:pt x="4323" y="4099"/>
                  </a:lnTo>
                  <a:lnTo>
                    <a:pt x="4297" y="4061"/>
                  </a:lnTo>
                  <a:lnTo>
                    <a:pt x="4302" y="4037"/>
                  </a:lnTo>
                  <a:lnTo>
                    <a:pt x="4323" y="4016"/>
                  </a:lnTo>
                  <a:lnTo>
                    <a:pt x="4335" y="4016"/>
                  </a:lnTo>
                  <a:lnTo>
                    <a:pt x="4323" y="4025"/>
                  </a:lnTo>
                  <a:lnTo>
                    <a:pt x="4352" y="4025"/>
                  </a:lnTo>
                  <a:lnTo>
                    <a:pt x="4352" y="4054"/>
                  </a:lnTo>
                  <a:lnTo>
                    <a:pt x="4356" y="4061"/>
                  </a:lnTo>
                  <a:lnTo>
                    <a:pt x="4356" y="4054"/>
                  </a:lnTo>
                  <a:lnTo>
                    <a:pt x="4368" y="4025"/>
                  </a:lnTo>
                  <a:lnTo>
                    <a:pt x="4368" y="4021"/>
                  </a:lnTo>
                  <a:lnTo>
                    <a:pt x="4340" y="4004"/>
                  </a:lnTo>
                  <a:lnTo>
                    <a:pt x="4356" y="4000"/>
                  </a:lnTo>
                  <a:lnTo>
                    <a:pt x="4356" y="3988"/>
                  </a:lnTo>
                  <a:lnTo>
                    <a:pt x="4378" y="3971"/>
                  </a:lnTo>
                  <a:lnTo>
                    <a:pt x="4378" y="3933"/>
                  </a:lnTo>
                  <a:lnTo>
                    <a:pt x="4368" y="3926"/>
                  </a:lnTo>
                  <a:lnTo>
                    <a:pt x="4373" y="3926"/>
                  </a:lnTo>
                  <a:lnTo>
                    <a:pt x="4368" y="3905"/>
                  </a:lnTo>
                  <a:lnTo>
                    <a:pt x="4368" y="3893"/>
                  </a:lnTo>
                  <a:lnTo>
                    <a:pt x="4356" y="3893"/>
                  </a:lnTo>
                  <a:lnTo>
                    <a:pt x="4356" y="3855"/>
                  </a:lnTo>
                  <a:lnTo>
                    <a:pt x="4340" y="3832"/>
                  </a:lnTo>
                  <a:lnTo>
                    <a:pt x="4356" y="3832"/>
                  </a:lnTo>
                  <a:lnTo>
                    <a:pt x="4335" y="3815"/>
                  </a:lnTo>
                  <a:lnTo>
                    <a:pt x="4340" y="3799"/>
                  </a:lnTo>
                  <a:lnTo>
                    <a:pt x="4356" y="3806"/>
                  </a:lnTo>
                  <a:lnTo>
                    <a:pt x="4340" y="3794"/>
                  </a:lnTo>
                  <a:lnTo>
                    <a:pt x="4340" y="3782"/>
                  </a:lnTo>
                  <a:lnTo>
                    <a:pt x="4352" y="3782"/>
                  </a:lnTo>
                  <a:lnTo>
                    <a:pt x="4340" y="3777"/>
                  </a:lnTo>
                  <a:lnTo>
                    <a:pt x="4340" y="3766"/>
                  </a:lnTo>
                  <a:lnTo>
                    <a:pt x="4323" y="3766"/>
                  </a:lnTo>
                  <a:lnTo>
                    <a:pt x="4314" y="3728"/>
                  </a:lnTo>
                  <a:lnTo>
                    <a:pt x="4297" y="3721"/>
                  </a:lnTo>
                  <a:lnTo>
                    <a:pt x="4394" y="3683"/>
                  </a:lnTo>
                  <a:lnTo>
                    <a:pt x="4432" y="3655"/>
                  </a:lnTo>
                  <a:lnTo>
                    <a:pt x="4474" y="3626"/>
                  </a:lnTo>
                  <a:lnTo>
                    <a:pt x="4512" y="3584"/>
                  </a:lnTo>
                  <a:lnTo>
                    <a:pt x="4519" y="3544"/>
                  </a:lnTo>
                  <a:lnTo>
                    <a:pt x="4519" y="3473"/>
                  </a:lnTo>
                  <a:lnTo>
                    <a:pt x="4498" y="3407"/>
                  </a:lnTo>
                  <a:lnTo>
                    <a:pt x="4460" y="3355"/>
                  </a:lnTo>
                  <a:lnTo>
                    <a:pt x="4422" y="3338"/>
                  </a:lnTo>
                  <a:lnTo>
                    <a:pt x="4389" y="3317"/>
                  </a:lnTo>
                  <a:lnTo>
                    <a:pt x="4394" y="3322"/>
                  </a:lnTo>
                  <a:lnTo>
                    <a:pt x="4378" y="3317"/>
                  </a:lnTo>
                  <a:lnTo>
                    <a:pt x="4389" y="3305"/>
                  </a:lnTo>
                  <a:lnTo>
                    <a:pt x="4378" y="3279"/>
                  </a:lnTo>
                  <a:lnTo>
                    <a:pt x="4394" y="3284"/>
                  </a:lnTo>
                  <a:lnTo>
                    <a:pt x="4411" y="3251"/>
                  </a:lnTo>
                  <a:lnTo>
                    <a:pt x="4444" y="3227"/>
                  </a:lnTo>
                  <a:lnTo>
                    <a:pt x="4427" y="3227"/>
                  </a:lnTo>
                  <a:lnTo>
                    <a:pt x="4432" y="3211"/>
                  </a:lnTo>
                  <a:lnTo>
                    <a:pt x="4432" y="3194"/>
                  </a:lnTo>
                  <a:lnTo>
                    <a:pt x="4465" y="3211"/>
                  </a:lnTo>
                  <a:lnTo>
                    <a:pt x="4448" y="3194"/>
                  </a:lnTo>
                  <a:lnTo>
                    <a:pt x="4465" y="3189"/>
                  </a:lnTo>
                  <a:lnTo>
                    <a:pt x="4460" y="3173"/>
                  </a:lnTo>
                  <a:lnTo>
                    <a:pt x="4503" y="3151"/>
                  </a:lnTo>
                  <a:lnTo>
                    <a:pt x="4474" y="3151"/>
                  </a:lnTo>
                  <a:lnTo>
                    <a:pt x="4465" y="3168"/>
                  </a:lnTo>
                  <a:lnTo>
                    <a:pt x="4448" y="3156"/>
                  </a:lnTo>
                  <a:lnTo>
                    <a:pt x="4460" y="3140"/>
                  </a:lnTo>
                  <a:lnTo>
                    <a:pt x="4432" y="3123"/>
                  </a:lnTo>
                  <a:lnTo>
                    <a:pt x="4460" y="3111"/>
                  </a:lnTo>
                  <a:lnTo>
                    <a:pt x="4427" y="3095"/>
                  </a:lnTo>
                  <a:lnTo>
                    <a:pt x="4448" y="3078"/>
                  </a:lnTo>
                  <a:lnTo>
                    <a:pt x="4406" y="3078"/>
                  </a:lnTo>
                  <a:lnTo>
                    <a:pt x="4444" y="3029"/>
                  </a:lnTo>
                  <a:lnTo>
                    <a:pt x="4432" y="3012"/>
                  </a:lnTo>
                  <a:lnTo>
                    <a:pt x="4448" y="3007"/>
                  </a:lnTo>
                  <a:lnTo>
                    <a:pt x="4448" y="3000"/>
                  </a:lnTo>
                  <a:lnTo>
                    <a:pt x="4460" y="3000"/>
                  </a:lnTo>
                  <a:lnTo>
                    <a:pt x="4422" y="2974"/>
                  </a:lnTo>
                  <a:lnTo>
                    <a:pt x="4406" y="2929"/>
                  </a:lnTo>
                  <a:lnTo>
                    <a:pt x="4422" y="2901"/>
                  </a:lnTo>
                  <a:lnTo>
                    <a:pt x="4448" y="2889"/>
                  </a:lnTo>
                  <a:lnTo>
                    <a:pt x="4498" y="2889"/>
                  </a:lnTo>
                  <a:lnTo>
                    <a:pt x="4583" y="2913"/>
                  </a:lnTo>
                  <a:lnTo>
                    <a:pt x="4567" y="2929"/>
                  </a:lnTo>
                  <a:lnTo>
                    <a:pt x="4604" y="2913"/>
                  </a:lnTo>
                  <a:lnTo>
                    <a:pt x="4659" y="2934"/>
                  </a:lnTo>
                  <a:lnTo>
                    <a:pt x="4642" y="2929"/>
                  </a:lnTo>
                  <a:lnTo>
                    <a:pt x="4718" y="2896"/>
                  </a:lnTo>
                  <a:lnTo>
                    <a:pt x="4772" y="2934"/>
                  </a:lnTo>
                  <a:lnTo>
                    <a:pt x="4798" y="2934"/>
                  </a:lnTo>
                  <a:lnTo>
                    <a:pt x="4798" y="2951"/>
                  </a:lnTo>
                  <a:lnTo>
                    <a:pt x="4789" y="2967"/>
                  </a:lnTo>
                  <a:lnTo>
                    <a:pt x="4798" y="2967"/>
                  </a:lnTo>
                  <a:lnTo>
                    <a:pt x="4798" y="2955"/>
                  </a:lnTo>
                  <a:lnTo>
                    <a:pt x="4822" y="2955"/>
                  </a:lnTo>
                  <a:lnTo>
                    <a:pt x="4836" y="2984"/>
                  </a:lnTo>
                  <a:lnTo>
                    <a:pt x="4822" y="3000"/>
                  </a:lnTo>
                  <a:lnTo>
                    <a:pt x="4843" y="2991"/>
                  </a:lnTo>
                  <a:lnTo>
                    <a:pt x="4843" y="2984"/>
                  </a:lnTo>
                  <a:lnTo>
                    <a:pt x="4864" y="2991"/>
                  </a:lnTo>
                  <a:lnTo>
                    <a:pt x="4874" y="3000"/>
                  </a:lnTo>
                  <a:lnTo>
                    <a:pt x="4843" y="3012"/>
                  </a:lnTo>
                  <a:lnTo>
                    <a:pt x="4859" y="3012"/>
                  </a:lnTo>
                  <a:lnTo>
                    <a:pt x="4881" y="3045"/>
                  </a:lnTo>
                  <a:lnTo>
                    <a:pt x="4944" y="3057"/>
                  </a:lnTo>
                  <a:lnTo>
                    <a:pt x="4966" y="3045"/>
                  </a:lnTo>
                  <a:lnTo>
                    <a:pt x="4973" y="3066"/>
                  </a:lnTo>
                  <a:lnTo>
                    <a:pt x="4982" y="3078"/>
                  </a:lnTo>
                  <a:lnTo>
                    <a:pt x="4999" y="3066"/>
                  </a:lnTo>
                  <a:lnTo>
                    <a:pt x="5004" y="3066"/>
                  </a:lnTo>
                  <a:lnTo>
                    <a:pt x="5004" y="3057"/>
                  </a:lnTo>
                  <a:lnTo>
                    <a:pt x="5015" y="3045"/>
                  </a:lnTo>
                  <a:lnTo>
                    <a:pt x="5020" y="3078"/>
                  </a:lnTo>
                  <a:lnTo>
                    <a:pt x="4999" y="3095"/>
                  </a:lnTo>
                  <a:lnTo>
                    <a:pt x="5004" y="3100"/>
                  </a:lnTo>
                  <a:lnTo>
                    <a:pt x="4987" y="3111"/>
                  </a:lnTo>
                  <a:lnTo>
                    <a:pt x="4999" y="3123"/>
                  </a:lnTo>
                  <a:lnTo>
                    <a:pt x="4999" y="3135"/>
                  </a:lnTo>
                  <a:lnTo>
                    <a:pt x="5004" y="3140"/>
                  </a:lnTo>
                  <a:lnTo>
                    <a:pt x="5004" y="3156"/>
                  </a:lnTo>
                  <a:lnTo>
                    <a:pt x="4944" y="3168"/>
                  </a:lnTo>
                  <a:lnTo>
                    <a:pt x="4911" y="3156"/>
                  </a:lnTo>
                  <a:lnTo>
                    <a:pt x="4935" y="3173"/>
                  </a:lnTo>
                  <a:lnTo>
                    <a:pt x="4999" y="3173"/>
                  </a:lnTo>
                  <a:lnTo>
                    <a:pt x="5004" y="3177"/>
                  </a:lnTo>
                  <a:lnTo>
                    <a:pt x="5015" y="3206"/>
                  </a:lnTo>
                  <a:lnTo>
                    <a:pt x="4999" y="3222"/>
                  </a:lnTo>
                  <a:lnTo>
                    <a:pt x="5004" y="3234"/>
                  </a:lnTo>
                  <a:lnTo>
                    <a:pt x="4999" y="3234"/>
                  </a:lnTo>
                  <a:lnTo>
                    <a:pt x="5020" y="3234"/>
                  </a:lnTo>
                  <a:lnTo>
                    <a:pt x="5025" y="3234"/>
                  </a:lnTo>
                  <a:lnTo>
                    <a:pt x="5037" y="3251"/>
                  </a:lnTo>
                  <a:lnTo>
                    <a:pt x="5015" y="3251"/>
                  </a:lnTo>
                  <a:lnTo>
                    <a:pt x="5015" y="3263"/>
                  </a:lnTo>
                  <a:lnTo>
                    <a:pt x="5025" y="3263"/>
                  </a:lnTo>
                  <a:lnTo>
                    <a:pt x="5015" y="3267"/>
                  </a:lnTo>
                  <a:lnTo>
                    <a:pt x="5020" y="3284"/>
                  </a:lnTo>
                  <a:lnTo>
                    <a:pt x="5015" y="3296"/>
                  </a:lnTo>
                  <a:lnTo>
                    <a:pt x="5004" y="3296"/>
                  </a:lnTo>
                  <a:lnTo>
                    <a:pt x="5004" y="3284"/>
                  </a:lnTo>
                  <a:lnTo>
                    <a:pt x="4987" y="3267"/>
                  </a:lnTo>
                  <a:lnTo>
                    <a:pt x="4987" y="3296"/>
                  </a:lnTo>
                  <a:lnTo>
                    <a:pt x="4966" y="3300"/>
                  </a:lnTo>
                  <a:lnTo>
                    <a:pt x="4982" y="3300"/>
                  </a:lnTo>
                  <a:lnTo>
                    <a:pt x="4987" y="3317"/>
                  </a:lnTo>
                  <a:lnTo>
                    <a:pt x="5025" y="3284"/>
                  </a:lnTo>
                  <a:lnTo>
                    <a:pt x="5070" y="3284"/>
                  </a:lnTo>
                  <a:lnTo>
                    <a:pt x="5096" y="3300"/>
                  </a:lnTo>
                  <a:lnTo>
                    <a:pt x="5107" y="3333"/>
                  </a:lnTo>
                  <a:lnTo>
                    <a:pt x="5096" y="3362"/>
                  </a:lnTo>
                  <a:lnTo>
                    <a:pt x="5020" y="3407"/>
                  </a:lnTo>
                  <a:lnTo>
                    <a:pt x="5091" y="3374"/>
                  </a:lnTo>
                  <a:lnTo>
                    <a:pt x="5107" y="3333"/>
                  </a:lnTo>
                  <a:lnTo>
                    <a:pt x="5124" y="3317"/>
                  </a:lnTo>
                  <a:lnTo>
                    <a:pt x="5129" y="3322"/>
                  </a:lnTo>
                  <a:lnTo>
                    <a:pt x="5129" y="3350"/>
                  </a:lnTo>
                  <a:lnTo>
                    <a:pt x="5112" y="3374"/>
                  </a:lnTo>
                  <a:lnTo>
                    <a:pt x="5138" y="3350"/>
                  </a:lnTo>
                  <a:lnTo>
                    <a:pt x="5129" y="3333"/>
                  </a:lnTo>
                  <a:lnTo>
                    <a:pt x="5138" y="3333"/>
                  </a:lnTo>
                  <a:lnTo>
                    <a:pt x="5145" y="3333"/>
                  </a:lnTo>
                  <a:lnTo>
                    <a:pt x="5138" y="3350"/>
                  </a:lnTo>
                  <a:lnTo>
                    <a:pt x="5145" y="3355"/>
                  </a:lnTo>
                  <a:lnTo>
                    <a:pt x="5138" y="3390"/>
                  </a:lnTo>
                  <a:lnTo>
                    <a:pt x="5150" y="3355"/>
                  </a:lnTo>
                  <a:lnTo>
                    <a:pt x="5183" y="3338"/>
                  </a:lnTo>
                  <a:lnTo>
                    <a:pt x="5192" y="3322"/>
                  </a:lnTo>
                  <a:lnTo>
                    <a:pt x="5214" y="3322"/>
                  </a:lnTo>
                  <a:lnTo>
                    <a:pt x="5221" y="3305"/>
                  </a:lnTo>
                  <a:lnTo>
                    <a:pt x="5230" y="3296"/>
                  </a:lnTo>
                  <a:lnTo>
                    <a:pt x="5268" y="3317"/>
                  </a:lnTo>
                  <a:lnTo>
                    <a:pt x="5252" y="3350"/>
                  </a:lnTo>
                  <a:lnTo>
                    <a:pt x="5268" y="3333"/>
                  </a:lnTo>
                  <a:lnTo>
                    <a:pt x="5259" y="3333"/>
                  </a:lnTo>
                  <a:lnTo>
                    <a:pt x="5268" y="3317"/>
                  </a:lnTo>
                  <a:lnTo>
                    <a:pt x="5252" y="3300"/>
                  </a:lnTo>
                  <a:lnTo>
                    <a:pt x="5259" y="3296"/>
                  </a:lnTo>
                  <a:lnTo>
                    <a:pt x="5275" y="3296"/>
                  </a:lnTo>
                  <a:lnTo>
                    <a:pt x="5259" y="3284"/>
                  </a:lnTo>
                  <a:lnTo>
                    <a:pt x="5275" y="3267"/>
                  </a:lnTo>
                  <a:lnTo>
                    <a:pt x="5306" y="3267"/>
                  </a:lnTo>
                  <a:lnTo>
                    <a:pt x="5285" y="3263"/>
                  </a:lnTo>
                  <a:lnTo>
                    <a:pt x="5275" y="3246"/>
                  </a:lnTo>
                  <a:lnTo>
                    <a:pt x="5289" y="3251"/>
                  </a:lnTo>
                  <a:lnTo>
                    <a:pt x="5289" y="3234"/>
                  </a:lnTo>
                  <a:lnTo>
                    <a:pt x="5306" y="3246"/>
                  </a:lnTo>
                  <a:lnTo>
                    <a:pt x="5289" y="3222"/>
                  </a:lnTo>
                  <a:lnTo>
                    <a:pt x="5327" y="3234"/>
                  </a:lnTo>
                  <a:lnTo>
                    <a:pt x="5301" y="3222"/>
                  </a:lnTo>
                  <a:lnTo>
                    <a:pt x="5289" y="3194"/>
                  </a:lnTo>
                  <a:lnTo>
                    <a:pt x="5306" y="3177"/>
                  </a:lnTo>
                  <a:lnTo>
                    <a:pt x="5327" y="3189"/>
                  </a:lnTo>
                  <a:lnTo>
                    <a:pt x="5313" y="3177"/>
                  </a:lnTo>
                  <a:lnTo>
                    <a:pt x="5339" y="3123"/>
                  </a:lnTo>
                  <a:lnTo>
                    <a:pt x="5365" y="3135"/>
                  </a:lnTo>
                  <a:lnTo>
                    <a:pt x="5344" y="3140"/>
                  </a:lnTo>
                  <a:lnTo>
                    <a:pt x="5365" y="3140"/>
                  </a:lnTo>
                  <a:lnTo>
                    <a:pt x="5377" y="3151"/>
                  </a:lnTo>
                  <a:lnTo>
                    <a:pt x="5365" y="3156"/>
                  </a:lnTo>
                  <a:lnTo>
                    <a:pt x="5344" y="3168"/>
                  </a:lnTo>
                  <a:lnTo>
                    <a:pt x="5377" y="3156"/>
                  </a:lnTo>
                  <a:lnTo>
                    <a:pt x="5377" y="3173"/>
                  </a:lnTo>
                  <a:lnTo>
                    <a:pt x="5365" y="3177"/>
                  </a:lnTo>
                  <a:lnTo>
                    <a:pt x="5377" y="3173"/>
                  </a:lnTo>
                  <a:lnTo>
                    <a:pt x="5377" y="3168"/>
                  </a:lnTo>
                  <a:lnTo>
                    <a:pt x="5393" y="3168"/>
                  </a:lnTo>
                  <a:lnTo>
                    <a:pt x="5393" y="3189"/>
                  </a:lnTo>
                  <a:lnTo>
                    <a:pt x="5381" y="3189"/>
                  </a:lnTo>
                  <a:lnTo>
                    <a:pt x="5398" y="3206"/>
                  </a:lnTo>
                  <a:lnTo>
                    <a:pt x="5393" y="3222"/>
                  </a:lnTo>
                  <a:lnTo>
                    <a:pt x="5398" y="3206"/>
                  </a:lnTo>
                  <a:lnTo>
                    <a:pt x="5419" y="3222"/>
                  </a:lnTo>
                  <a:lnTo>
                    <a:pt x="5415" y="3227"/>
                  </a:lnTo>
                  <a:lnTo>
                    <a:pt x="5398" y="3234"/>
                  </a:lnTo>
                  <a:lnTo>
                    <a:pt x="5415" y="3234"/>
                  </a:lnTo>
                  <a:lnTo>
                    <a:pt x="5415" y="3246"/>
                  </a:lnTo>
                  <a:lnTo>
                    <a:pt x="5431" y="3234"/>
                  </a:lnTo>
                  <a:lnTo>
                    <a:pt x="5448" y="3251"/>
                  </a:lnTo>
                  <a:lnTo>
                    <a:pt x="5431" y="3267"/>
                  </a:lnTo>
                  <a:lnTo>
                    <a:pt x="5398" y="3267"/>
                  </a:lnTo>
                  <a:lnTo>
                    <a:pt x="5462" y="3267"/>
                  </a:lnTo>
                  <a:lnTo>
                    <a:pt x="5448" y="3267"/>
                  </a:lnTo>
                  <a:lnTo>
                    <a:pt x="5462" y="3284"/>
                  </a:lnTo>
                  <a:lnTo>
                    <a:pt x="5448" y="3296"/>
                  </a:lnTo>
                  <a:lnTo>
                    <a:pt x="5469" y="3284"/>
                  </a:lnTo>
                  <a:lnTo>
                    <a:pt x="5485" y="3305"/>
                  </a:lnTo>
                  <a:lnTo>
                    <a:pt x="5431" y="3350"/>
                  </a:lnTo>
                  <a:lnTo>
                    <a:pt x="5452" y="3333"/>
                  </a:lnTo>
                  <a:lnTo>
                    <a:pt x="5500" y="3333"/>
                  </a:lnTo>
                  <a:lnTo>
                    <a:pt x="5500" y="3350"/>
                  </a:lnTo>
                  <a:lnTo>
                    <a:pt x="5485" y="3355"/>
                  </a:lnTo>
                  <a:lnTo>
                    <a:pt x="5500" y="3355"/>
                  </a:lnTo>
                  <a:lnTo>
                    <a:pt x="5474" y="3362"/>
                  </a:lnTo>
                  <a:lnTo>
                    <a:pt x="5448" y="3378"/>
                  </a:lnTo>
                  <a:lnTo>
                    <a:pt x="5462" y="3378"/>
                  </a:lnTo>
                  <a:lnTo>
                    <a:pt x="5474" y="3362"/>
                  </a:lnTo>
                  <a:lnTo>
                    <a:pt x="5507" y="3362"/>
                  </a:lnTo>
                  <a:lnTo>
                    <a:pt x="5507" y="3374"/>
                  </a:lnTo>
                  <a:lnTo>
                    <a:pt x="5516" y="3362"/>
                  </a:lnTo>
                  <a:lnTo>
                    <a:pt x="5523" y="3378"/>
                  </a:lnTo>
                  <a:lnTo>
                    <a:pt x="5490" y="3390"/>
                  </a:lnTo>
                  <a:lnTo>
                    <a:pt x="5528" y="3378"/>
                  </a:lnTo>
                  <a:lnTo>
                    <a:pt x="5537" y="3390"/>
                  </a:lnTo>
                  <a:lnTo>
                    <a:pt x="5528" y="3407"/>
                  </a:lnTo>
                  <a:lnTo>
                    <a:pt x="5544" y="3416"/>
                  </a:lnTo>
                  <a:lnTo>
                    <a:pt x="5523" y="3433"/>
                  </a:lnTo>
                  <a:lnTo>
                    <a:pt x="5500" y="3433"/>
                  </a:lnTo>
                  <a:lnTo>
                    <a:pt x="5516" y="3444"/>
                  </a:lnTo>
                  <a:lnTo>
                    <a:pt x="5544" y="3444"/>
                  </a:lnTo>
                  <a:lnTo>
                    <a:pt x="5554" y="3444"/>
                  </a:lnTo>
                  <a:lnTo>
                    <a:pt x="5537" y="3461"/>
                  </a:lnTo>
                  <a:lnTo>
                    <a:pt x="5582" y="3473"/>
                  </a:lnTo>
                  <a:lnTo>
                    <a:pt x="5582" y="3482"/>
                  </a:lnTo>
                  <a:lnTo>
                    <a:pt x="5575" y="3489"/>
                  </a:lnTo>
                  <a:lnTo>
                    <a:pt x="5561" y="3506"/>
                  </a:lnTo>
                  <a:lnTo>
                    <a:pt x="5544" y="3506"/>
                  </a:lnTo>
                  <a:lnTo>
                    <a:pt x="5544" y="3518"/>
                  </a:lnTo>
                  <a:lnTo>
                    <a:pt x="5561" y="3518"/>
                  </a:lnTo>
                  <a:lnTo>
                    <a:pt x="5554" y="3518"/>
                  </a:lnTo>
                  <a:lnTo>
                    <a:pt x="5561" y="3522"/>
                  </a:lnTo>
                  <a:lnTo>
                    <a:pt x="5507" y="3506"/>
                  </a:lnTo>
                  <a:lnTo>
                    <a:pt x="5537" y="3499"/>
                  </a:lnTo>
                  <a:lnTo>
                    <a:pt x="5500" y="3506"/>
                  </a:lnTo>
                  <a:lnTo>
                    <a:pt x="5537" y="3522"/>
                  </a:lnTo>
                  <a:lnTo>
                    <a:pt x="5523" y="3522"/>
                  </a:lnTo>
                  <a:lnTo>
                    <a:pt x="5561" y="3527"/>
                  </a:lnTo>
                  <a:lnTo>
                    <a:pt x="5528" y="3539"/>
                  </a:lnTo>
                  <a:lnTo>
                    <a:pt x="5554" y="3544"/>
                  </a:lnTo>
                  <a:lnTo>
                    <a:pt x="5561" y="3560"/>
                  </a:lnTo>
                  <a:lnTo>
                    <a:pt x="5537" y="3555"/>
                  </a:lnTo>
                  <a:lnTo>
                    <a:pt x="5537" y="3560"/>
                  </a:lnTo>
                  <a:lnTo>
                    <a:pt x="5582" y="3560"/>
                  </a:lnTo>
                  <a:lnTo>
                    <a:pt x="5575" y="3577"/>
                  </a:lnTo>
                  <a:lnTo>
                    <a:pt x="5592" y="3577"/>
                  </a:lnTo>
                  <a:lnTo>
                    <a:pt x="5575" y="3584"/>
                  </a:lnTo>
                  <a:lnTo>
                    <a:pt x="5599" y="3584"/>
                  </a:lnTo>
                  <a:lnTo>
                    <a:pt x="5608" y="3593"/>
                  </a:lnTo>
                  <a:lnTo>
                    <a:pt x="5599" y="3593"/>
                  </a:lnTo>
                  <a:lnTo>
                    <a:pt x="5608" y="3600"/>
                  </a:lnTo>
                  <a:lnTo>
                    <a:pt x="5629" y="3600"/>
                  </a:lnTo>
                  <a:lnTo>
                    <a:pt x="5625" y="3610"/>
                  </a:lnTo>
                  <a:lnTo>
                    <a:pt x="5637" y="3600"/>
                  </a:lnTo>
                  <a:lnTo>
                    <a:pt x="5629" y="3626"/>
                  </a:lnTo>
                  <a:lnTo>
                    <a:pt x="5646" y="3600"/>
                  </a:lnTo>
                  <a:lnTo>
                    <a:pt x="5663" y="3610"/>
                  </a:lnTo>
                  <a:lnTo>
                    <a:pt x="5646" y="3626"/>
                  </a:lnTo>
                  <a:lnTo>
                    <a:pt x="5663" y="3626"/>
                  </a:lnTo>
                  <a:lnTo>
                    <a:pt x="5646" y="3650"/>
                  </a:lnTo>
                  <a:lnTo>
                    <a:pt x="5663" y="3633"/>
                  </a:lnTo>
                  <a:lnTo>
                    <a:pt x="5667" y="3638"/>
                  </a:lnTo>
                  <a:lnTo>
                    <a:pt x="5651" y="3650"/>
                  </a:lnTo>
                  <a:lnTo>
                    <a:pt x="5646" y="3666"/>
                  </a:lnTo>
                  <a:lnTo>
                    <a:pt x="5651" y="3655"/>
                  </a:lnTo>
                  <a:lnTo>
                    <a:pt x="5629" y="3688"/>
                  </a:lnTo>
                  <a:lnTo>
                    <a:pt x="5663" y="3666"/>
                  </a:lnTo>
                  <a:lnTo>
                    <a:pt x="5679" y="3666"/>
                  </a:lnTo>
                  <a:lnTo>
                    <a:pt x="5663" y="3683"/>
                  </a:lnTo>
                  <a:lnTo>
                    <a:pt x="5700" y="3655"/>
                  </a:lnTo>
                  <a:lnTo>
                    <a:pt x="5700" y="3666"/>
                  </a:lnTo>
                  <a:lnTo>
                    <a:pt x="5684" y="3671"/>
                  </a:lnTo>
                  <a:lnTo>
                    <a:pt x="5722" y="3671"/>
                  </a:lnTo>
                  <a:lnTo>
                    <a:pt x="5684" y="3711"/>
                  </a:lnTo>
                  <a:lnTo>
                    <a:pt x="5738" y="3666"/>
                  </a:lnTo>
                  <a:lnTo>
                    <a:pt x="5722" y="3688"/>
                  </a:lnTo>
                  <a:lnTo>
                    <a:pt x="5743" y="3671"/>
                  </a:lnTo>
                  <a:lnTo>
                    <a:pt x="5755" y="3671"/>
                  </a:lnTo>
                  <a:lnTo>
                    <a:pt x="5755" y="3683"/>
                  </a:lnTo>
                  <a:lnTo>
                    <a:pt x="5759" y="3688"/>
                  </a:lnTo>
                  <a:lnTo>
                    <a:pt x="5743" y="3695"/>
                  </a:lnTo>
                  <a:lnTo>
                    <a:pt x="5755" y="3704"/>
                  </a:lnTo>
                  <a:lnTo>
                    <a:pt x="5830" y="3711"/>
                  </a:lnTo>
                  <a:lnTo>
                    <a:pt x="5868" y="3728"/>
                  </a:lnTo>
                  <a:lnTo>
                    <a:pt x="5863" y="3737"/>
                  </a:lnTo>
                  <a:lnTo>
                    <a:pt x="5840" y="3737"/>
                  </a:lnTo>
                  <a:lnTo>
                    <a:pt x="5863" y="3744"/>
                  </a:lnTo>
                  <a:lnTo>
                    <a:pt x="5847" y="3749"/>
                  </a:lnTo>
                  <a:lnTo>
                    <a:pt x="5809" y="3749"/>
                  </a:lnTo>
                  <a:lnTo>
                    <a:pt x="5797" y="3749"/>
                  </a:lnTo>
                  <a:lnTo>
                    <a:pt x="5814" y="3749"/>
                  </a:lnTo>
                  <a:lnTo>
                    <a:pt x="5809" y="3761"/>
                  </a:lnTo>
                  <a:lnTo>
                    <a:pt x="5771" y="3766"/>
                  </a:lnTo>
                  <a:lnTo>
                    <a:pt x="5705" y="3782"/>
                  </a:lnTo>
                  <a:lnTo>
                    <a:pt x="5733" y="3782"/>
                  </a:lnTo>
                  <a:lnTo>
                    <a:pt x="5792" y="3761"/>
                  </a:lnTo>
                  <a:lnTo>
                    <a:pt x="5776" y="3782"/>
                  </a:lnTo>
                  <a:lnTo>
                    <a:pt x="5743" y="3782"/>
                  </a:lnTo>
                  <a:lnTo>
                    <a:pt x="5755" y="3782"/>
                  </a:lnTo>
                  <a:lnTo>
                    <a:pt x="5717" y="3799"/>
                  </a:lnTo>
                  <a:lnTo>
                    <a:pt x="5679" y="3806"/>
                  </a:lnTo>
                  <a:lnTo>
                    <a:pt x="5679" y="3832"/>
                  </a:lnTo>
                  <a:lnTo>
                    <a:pt x="5667" y="3832"/>
                  </a:lnTo>
                  <a:lnTo>
                    <a:pt x="5625" y="3806"/>
                  </a:lnTo>
                  <a:lnTo>
                    <a:pt x="5625" y="3815"/>
                  </a:lnTo>
                  <a:lnTo>
                    <a:pt x="5646" y="3815"/>
                  </a:lnTo>
                  <a:lnTo>
                    <a:pt x="5679" y="3832"/>
                  </a:lnTo>
                  <a:lnTo>
                    <a:pt x="5651" y="3848"/>
                  </a:lnTo>
                  <a:lnTo>
                    <a:pt x="5667" y="3855"/>
                  </a:lnTo>
                  <a:lnTo>
                    <a:pt x="5651" y="3855"/>
                  </a:lnTo>
                  <a:lnTo>
                    <a:pt x="5667" y="3855"/>
                  </a:lnTo>
                  <a:lnTo>
                    <a:pt x="5700" y="3839"/>
                  </a:lnTo>
                  <a:lnTo>
                    <a:pt x="5689" y="3832"/>
                  </a:lnTo>
                  <a:lnTo>
                    <a:pt x="5743" y="3815"/>
                  </a:lnTo>
                  <a:lnTo>
                    <a:pt x="5743" y="3806"/>
                  </a:lnTo>
                  <a:lnTo>
                    <a:pt x="5788" y="3782"/>
                  </a:lnTo>
                  <a:lnTo>
                    <a:pt x="5840" y="3777"/>
                  </a:lnTo>
                  <a:lnTo>
                    <a:pt x="5792" y="3777"/>
                  </a:lnTo>
                  <a:lnTo>
                    <a:pt x="5792" y="3766"/>
                  </a:lnTo>
                  <a:lnTo>
                    <a:pt x="5863" y="3766"/>
                  </a:lnTo>
                  <a:lnTo>
                    <a:pt x="5885" y="3799"/>
                  </a:lnTo>
                  <a:lnTo>
                    <a:pt x="5852" y="3822"/>
                  </a:lnTo>
                  <a:lnTo>
                    <a:pt x="5868" y="3832"/>
                  </a:lnTo>
                  <a:lnTo>
                    <a:pt x="5868" y="3839"/>
                  </a:lnTo>
                  <a:lnTo>
                    <a:pt x="5894" y="3815"/>
                  </a:lnTo>
                  <a:lnTo>
                    <a:pt x="5932" y="3806"/>
                  </a:lnTo>
                  <a:lnTo>
                    <a:pt x="5932" y="3815"/>
                  </a:lnTo>
                  <a:lnTo>
                    <a:pt x="5915" y="3815"/>
                  </a:lnTo>
                  <a:lnTo>
                    <a:pt x="5960" y="3832"/>
                  </a:lnTo>
                  <a:lnTo>
                    <a:pt x="5939" y="3832"/>
                  </a:lnTo>
                  <a:lnTo>
                    <a:pt x="5960" y="3848"/>
                  </a:lnTo>
                  <a:lnTo>
                    <a:pt x="5977" y="3848"/>
                  </a:lnTo>
                  <a:lnTo>
                    <a:pt x="5977" y="3872"/>
                  </a:lnTo>
                  <a:lnTo>
                    <a:pt x="5970" y="3877"/>
                  </a:lnTo>
                  <a:lnTo>
                    <a:pt x="5948" y="3877"/>
                  </a:lnTo>
                  <a:lnTo>
                    <a:pt x="5970" y="3893"/>
                  </a:lnTo>
                  <a:lnTo>
                    <a:pt x="5977" y="3905"/>
                  </a:lnTo>
                  <a:lnTo>
                    <a:pt x="5953" y="3910"/>
                  </a:lnTo>
                  <a:lnTo>
                    <a:pt x="5977" y="3917"/>
                  </a:lnTo>
                  <a:lnTo>
                    <a:pt x="5953" y="3917"/>
                  </a:lnTo>
                  <a:lnTo>
                    <a:pt x="5960" y="3917"/>
                  </a:lnTo>
                  <a:lnTo>
                    <a:pt x="5948" y="3926"/>
                  </a:lnTo>
                  <a:lnTo>
                    <a:pt x="5922" y="3926"/>
                  </a:lnTo>
                  <a:lnTo>
                    <a:pt x="5986" y="3943"/>
                  </a:lnTo>
                  <a:lnTo>
                    <a:pt x="5986" y="3950"/>
                  </a:lnTo>
                  <a:lnTo>
                    <a:pt x="5977" y="3950"/>
                  </a:lnTo>
                  <a:lnTo>
                    <a:pt x="5948" y="3943"/>
                  </a:lnTo>
                  <a:lnTo>
                    <a:pt x="5986" y="3959"/>
                  </a:lnTo>
                  <a:lnTo>
                    <a:pt x="5986" y="3971"/>
                  </a:lnTo>
                  <a:lnTo>
                    <a:pt x="5894" y="4037"/>
                  </a:lnTo>
                  <a:lnTo>
                    <a:pt x="5878" y="4025"/>
                  </a:lnTo>
                  <a:lnTo>
                    <a:pt x="5840" y="4025"/>
                  </a:lnTo>
                  <a:lnTo>
                    <a:pt x="5826" y="4044"/>
                  </a:lnTo>
                  <a:lnTo>
                    <a:pt x="5776" y="4054"/>
                  </a:lnTo>
                  <a:lnTo>
                    <a:pt x="5776" y="4061"/>
                  </a:lnTo>
                  <a:lnTo>
                    <a:pt x="5755" y="4077"/>
                  </a:lnTo>
                  <a:lnTo>
                    <a:pt x="5755" y="4094"/>
                  </a:lnTo>
                  <a:lnTo>
                    <a:pt x="5743" y="4099"/>
                  </a:lnTo>
                  <a:lnTo>
                    <a:pt x="5743" y="4094"/>
                  </a:lnTo>
                  <a:lnTo>
                    <a:pt x="5705" y="4127"/>
                  </a:lnTo>
                  <a:lnTo>
                    <a:pt x="5689" y="4132"/>
                  </a:lnTo>
                  <a:lnTo>
                    <a:pt x="5689" y="4137"/>
                  </a:lnTo>
                  <a:lnTo>
                    <a:pt x="5684" y="4148"/>
                  </a:lnTo>
                  <a:lnTo>
                    <a:pt x="5592" y="4153"/>
                  </a:lnTo>
                  <a:lnTo>
                    <a:pt x="5561" y="4165"/>
                  </a:lnTo>
                  <a:lnTo>
                    <a:pt x="5570" y="4153"/>
                  </a:lnTo>
                  <a:lnTo>
                    <a:pt x="5561" y="4153"/>
                  </a:lnTo>
                  <a:lnTo>
                    <a:pt x="5554" y="4148"/>
                  </a:lnTo>
                  <a:lnTo>
                    <a:pt x="5516" y="4137"/>
                  </a:lnTo>
                  <a:lnTo>
                    <a:pt x="5452" y="4148"/>
                  </a:lnTo>
                  <a:lnTo>
                    <a:pt x="5415" y="4137"/>
                  </a:lnTo>
                  <a:lnTo>
                    <a:pt x="5313" y="4137"/>
                  </a:lnTo>
                  <a:lnTo>
                    <a:pt x="5259" y="4137"/>
                  </a:lnTo>
                  <a:lnTo>
                    <a:pt x="5252" y="4153"/>
                  </a:lnTo>
                  <a:lnTo>
                    <a:pt x="5230" y="4148"/>
                  </a:lnTo>
                  <a:lnTo>
                    <a:pt x="5183" y="4188"/>
                  </a:lnTo>
                  <a:lnTo>
                    <a:pt x="5176" y="4222"/>
                  </a:lnTo>
                  <a:lnTo>
                    <a:pt x="5162" y="4238"/>
                  </a:lnTo>
                  <a:lnTo>
                    <a:pt x="5112" y="4243"/>
                  </a:lnTo>
                  <a:lnTo>
                    <a:pt x="5107" y="4248"/>
                  </a:lnTo>
                  <a:lnTo>
                    <a:pt x="5074" y="4259"/>
                  </a:lnTo>
                  <a:lnTo>
                    <a:pt x="5041" y="4281"/>
                  </a:lnTo>
                  <a:lnTo>
                    <a:pt x="5037" y="4297"/>
                  </a:lnTo>
                  <a:lnTo>
                    <a:pt x="5004" y="4349"/>
                  </a:lnTo>
                  <a:lnTo>
                    <a:pt x="4982" y="4333"/>
                  </a:lnTo>
                  <a:lnTo>
                    <a:pt x="4907" y="4316"/>
                  </a:lnTo>
                  <a:lnTo>
                    <a:pt x="4982" y="4337"/>
                  </a:lnTo>
                  <a:lnTo>
                    <a:pt x="4999" y="4349"/>
                  </a:lnTo>
                  <a:lnTo>
                    <a:pt x="4982" y="4375"/>
                  </a:lnTo>
                  <a:lnTo>
                    <a:pt x="4966" y="4403"/>
                  </a:lnTo>
                  <a:lnTo>
                    <a:pt x="4944" y="4408"/>
                  </a:lnTo>
                  <a:lnTo>
                    <a:pt x="4928" y="4441"/>
                  </a:lnTo>
                  <a:lnTo>
                    <a:pt x="4890" y="4470"/>
                  </a:lnTo>
                  <a:lnTo>
                    <a:pt x="4944" y="4448"/>
                  </a:lnTo>
                  <a:lnTo>
                    <a:pt x="5020" y="4354"/>
                  </a:lnTo>
                  <a:lnTo>
                    <a:pt x="5107" y="4297"/>
                  </a:lnTo>
                  <a:lnTo>
                    <a:pt x="5247" y="4243"/>
                  </a:lnTo>
                  <a:lnTo>
                    <a:pt x="5301" y="4243"/>
                  </a:lnTo>
                  <a:lnTo>
                    <a:pt x="5344" y="4248"/>
                  </a:lnTo>
                  <a:lnTo>
                    <a:pt x="5381" y="4276"/>
                  </a:lnTo>
                  <a:lnTo>
                    <a:pt x="5393" y="4292"/>
                  </a:lnTo>
                  <a:lnTo>
                    <a:pt x="5360" y="4276"/>
                  </a:lnTo>
                  <a:lnTo>
                    <a:pt x="5393" y="4297"/>
                  </a:lnTo>
                  <a:lnTo>
                    <a:pt x="5381" y="4297"/>
                  </a:lnTo>
                  <a:lnTo>
                    <a:pt x="5381" y="4316"/>
                  </a:lnTo>
                  <a:lnTo>
                    <a:pt x="5306" y="4354"/>
                  </a:lnTo>
                  <a:lnTo>
                    <a:pt x="5268" y="4337"/>
                  </a:lnTo>
                  <a:lnTo>
                    <a:pt x="5200" y="4354"/>
                  </a:lnTo>
                  <a:lnTo>
                    <a:pt x="5237" y="4354"/>
                  </a:lnTo>
                  <a:lnTo>
                    <a:pt x="5275" y="4370"/>
                  </a:lnTo>
                  <a:lnTo>
                    <a:pt x="5285" y="4392"/>
                  </a:lnTo>
                  <a:lnTo>
                    <a:pt x="5313" y="4370"/>
                  </a:lnTo>
                  <a:lnTo>
                    <a:pt x="5344" y="4375"/>
                  </a:lnTo>
                  <a:lnTo>
                    <a:pt x="5355" y="4387"/>
                  </a:lnTo>
                  <a:lnTo>
                    <a:pt x="5339" y="4392"/>
                  </a:lnTo>
                  <a:lnTo>
                    <a:pt x="5339" y="4415"/>
                  </a:lnTo>
                  <a:lnTo>
                    <a:pt x="5306" y="4441"/>
                  </a:lnTo>
                  <a:lnTo>
                    <a:pt x="5344" y="4441"/>
                  </a:lnTo>
                  <a:lnTo>
                    <a:pt x="5339" y="4465"/>
                  </a:lnTo>
                  <a:lnTo>
                    <a:pt x="5355" y="4481"/>
                  </a:lnTo>
                  <a:lnTo>
                    <a:pt x="5365" y="4519"/>
                  </a:lnTo>
                  <a:lnTo>
                    <a:pt x="5415" y="4526"/>
                  </a:lnTo>
                  <a:lnTo>
                    <a:pt x="5393" y="4536"/>
                  </a:lnTo>
                  <a:lnTo>
                    <a:pt x="5419" y="4552"/>
                  </a:lnTo>
                  <a:lnTo>
                    <a:pt x="5436" y="4552"/>
                  </a:lnTo>
                  <a:lnTo>
                    <a:pt x="5448" y="4552"/>
                  </a:lnTo>
                  <a:lnTo>
                    <a:pt x="5431" y="4552"/>
                  </a:lnTo>
                  <a:lnTo>
                    <a:pt x="5452" y="4559"/>
                  </a:lnTo>
                  <a:lnTo>
                    <a:pt x="5448" y="4559"/>
                  </a:lnTo>
                  <a:lnTo>
                    <a:pt x="5490" y="4559"/>
                  </a:lnTo>
                  <a:lnTo>
                    <a:pt x="5507" y="4576"/>
                  </a:lnTo>
                  <a:lnTo>
                    <a:pt x="5544" y="4552"/>
                  </a:lnTo>
                  <a:lnTo>
                    <a:pt x="5544" y="4569"/>
                  </a:lnTo>
                  <a:lnTo>
                    <a:pt x="5570" y="4576"/>
                  </a:lnTo>
                  <a:lnTo>
                    <a:pt x="5575" y="4569"/>
                  </a:lnTo>
                  <a:lnTo>
                    <a:pt x="5592" y="4581"/>
                  </a:lnTo>
                  <a:lnTo>
                    <a:pt x="5575" y="4597"/>
                  </a:lnTo>
                  <a:lnTo>
                    <a:pt x="5613" y="4597"/>
                  </a:lnTo>
                  <a:lnTo>
                    <a:pt x="5608" y="4609"/>
                  </a:lnTo>
                  <a:lnTo>
                    <a:pt x="5592" y="4609"/>
                  </a:lnTo>
                  <a:lnTo>
                    <a:pt x="5582" y="4614"/>
                  </a:lnTo>
                  <a:lnTo>
                    <a:pt x="5507" y="4637"/>
                  </a:lnTo>
                  <a:lnTo>
                    <a:pt x="5485" y="4654"/>
                  </a:lnTo>
                  <a:lnTo>
                    <a:pt x="5469" y="4647"/>
                  </a:lnTo>
                  <a:lnTo>
                    <a:pt x="5469" y="4654"/>
                  </a:lnTo>
                  <a:lnTo>
                    <a:pt x="5462" y="4647"/>
                  </a:lnTo>
                  <a:lnTo>
                    <a:pt x="5436" y="4663"/>
                  </a:lnTo>
                  <a:lnTo>
                    <a:pt x="5419" y="4654"/>
                  </a:lnTo>
                  <a:lnTo>
                    <a:pt x="5436" y="4670"/>
                  </a:lnTo>
                  <a:lnTo>
                    <a:pt x="5431" y="4680"/>
                  </a:lnTo>
                  <a:lnTo>
                    <a:pt x="5410" y="4670"/>
                  </a:lnTo>
                  <a:lnTo>
                    <a:pt x="5410" y="4654"/>
                  </a:lnTo>
                  <a:lnTo>
                    <a:pt x="5398" y="4663"/>
                  </a:lnTo>
                  <a:lnTo>
                    <a:pt x="5398" y="4670"/>
                  </a:lnTo>
                  <a:lnTo>
                    <a:pt x="5393" y="4680"/>
                  </a:lnTo>
                  <a:lnTo>
                    <a:pt x="5381" y="4663"/>
                  </a:lnTo>
                  <a:lnTo>
                    <a:pt x="5377" y="4680"/>
                  </a:lnTo>
                  <a:lnTo>
                    <a:pt x="5381" y="4692"/>
                  </a:lnTo>
                  <a:lnTo>
                    <a:pt x="5360" y="4703"/>
                  </a:lnTo>
                  <a:lnTo>
                    <a:pt x="5355" y="4720"/>
                  </a:lnTo>
                  <a:lnTo>
                    <a:pt x="5344" y="4720"/>
                  </a:lnTo>
                  <a:lnTo>
                    <a:pt x="5327" y="4741"/>
                  </a:lnTo>
                  <a:lnTo>
                    <a:pt x="5306" y="4741"/>
                  </a:lnTo>
                  <a:lnTo>
                    <a:pt x="5301" y="4765"/>
                  </a:lnTo>
                  <a:lnTo>
                    <a:pt x="5289" y="4758"/>
                  </a:lnTo>
                  <a:lnTo>
                    <a:pt x="5275" y="4758"/>
                  </a:lnTo>
                  <a:lnTo>
                    <a:pt x="5268" y="4736"/>
                  </a:lnTo>
                  <a:lnTo>
                    <a:pt x="5259" y="4741"/>
                  </a:lnTo>
                  <a:lnTo>
                    <a:pt x="5247" y="4725"/>
                  </a:lnTo>
                  <a:lnTo>
                    <a:pt x="5247" y="4708"/>
                  </a:lnTo>
                  <a:lnTo>
                    <a:pt x="5252" y="4687"/>
                  </a:lnTo>
                  <a:lnTo>
                    <a:pt x="5268" y="4663"/>
                  </a:lnTo>
                  <a:lnTo>
                    <a:pt x="5247" y="4680"/>
                  </a:lnTo>
                  <a:lnTo>
                    <a:pt x="5259" y="4663"/>
                  </a:lnTo>
                  <a:lnTo>
                    <a:pt x="5285" y="4663"/>
                  </a:lnTo>
                  <a:lnTo>
                    <a:pt x="5289" y="4654"/>
                  </a:lnTo>
                  <a:lnTo>
                    <a:pt x="5285" y="4654"/>
                  </a:lnTo>
                  <a:lnTo>
                    <a:pt x="5285" y="4647"/>
                  </a:lnTo>
                  <a:lnTo>
                    <a:pt x="5377" y="4597"/>
                  </a:lnTo>
                  <a:lnTo>
                    <a:pt x="5365" y="4597"/>
                  </a:lnTo>
                  <a:lnTo>
                    <a:pt x="5377" y="4597"/>
                  </a:lnTo>
                  <a:lnTo>
                    <a:pt x="5377" y="4614"/>
                  </a:lnTo>
                  <a:lnTo>
                    <a:pt x="5381" y="4614"/>
                  </a:lnTo>
                  <a:lnTo>
                    <a:pt x="5393" y="4630"/>
                  </a:lnTo>
                  <a:lnTo>
                    <a:pt x="5393" y="4609"/>
                  </a:lnTo>
                  <a:lnTo>
                    <a:pt x="5448" y="4597"/>
                  </a:lnTo>
                  <a:lnTo>
                    <a:pt x="5360" y="4592"/>
                  </a:lnTo>
                  <a:lnTo>
                    <a:pt x="5339" y="4597"/>
                  </a:lnTo>
                  <a:lnTo>
                    <a:pt x="5344" y="4581"/>
                  </a:lnTo>
                  <a:lnTo>
                    <a:pt x="5381" y="4559"/>
                  </a:lnTo>
                  <a:lnTo>
                    <a:pt x="5377" y="4552"/>
                  </a:lnTo>
                  <a:lnTo>
                    <a:pt x="5365" y="4559"/>
                  </a:lnTo>
                  <a:lnTo>
                    <a:pt x="5344" y="4526"/>
                  </a:lnTo>
                  <a:lnTo>
                    <a:pt x="5360" y="4552"/>
                  </a:lnTo>
                  <a:lnTo>
                    <a:pt x="5344" y="4576"/>
                  </a:lnTo>
                  <a:lnTo>
                    <a:pt x="5339" y="4576"/>
                  </a:lnTo>
                  <a:lnTo>
                    <a:pt x="5268" y="4609"/>
                  </a:lnTo>
                  <a:lnTo>
                    <a:pt x="5252" y="4597"/>
                  </a:lnTo>
                  <a:lnTo>
                    <a:pt x="5259" y="4581"/>
                  </a:lnTo>
                  <a:lnTo>
                    <a:pt x="5247" y="4597"/>
                  </a:lnTo>
                  <a:lnTo>
                    <a:pt x="5252" y="4609"/>
                  </a:lnTo>
                  <a:lnTo>
                    <a:pt x="5230" y="4625"/>
                  </a:lnTo>
                  <a:lnTo>
                    <a:pt x="5221" y="4614"/>
                  </a:lnTo>
                  <a:lnTo>
                    <a:pt x="5204" y="4625"/>
                  </a:lnTo>
                  <a:lnTo>
                    <a:pt x="5192" y="4614"/>
                  </a:lnTo>
                  <a:lnTo>
                    <a:pt x="5176" y="4614"/>
                  </a:lnTo>
                  <a:lnTo>
                    <a:pt x="5176" y="4614"/>
                  </a:lnTo>
                  <a:lnTo>
                    <a:pt x="5176" y="4614"/>
                  </a:lnTo>
                  <a:close/>
                  <a:moveTo>
                    <a:pt x="3201" y="1748"/>
                  </a:moveTo>
                  <a:lnTo>
                    <a:pt x="3208" y="1753"/>
                  </a:lnTo>
                  <a:lnTo>
                    <a:pt x="3208" y="1765"/>
                  </a:lnTo>
                  <a:lnTo>
                    <a:pt x="3192" y="1765"/>
                  </a:lnTo>
                  <a:lnTo>
                    <a:pt x="3201" y="1748"/>
                  </a:lnTo>
                  <a:lnTo>
                    <a:pt x="3201" y="1748"/>
                  </a:lnTo>
                  <a:lnTo>
                    <a:pt x="3201" y="1748"/>
                  </a:lnTo>
                  <a:close/>
                  <a:moveTo>
                    <a:pt x="3095" y="1765"/>
                  </a:moveTo>
                  <a:lnTo>
                    <a:pt x="3100" y="1765"/>
                  </a:lnTo>
                  <a:lnTo>
                    <a:pt x="3083" y="1770"/>
                  </a:lnTo>
                  <a:lnTo>
                    <a:pt x="3095" y="1765"/>
                  </a:lnTo>
                  <a:lnTo>
                    <a:pt x="3095" y="1765"/>
                  </a:lnTo>
                  <a:lnTo>
                    <a:pt x="3095" y="1765"/>
                  </a:lnTo>
                  <a:close/>
                  <a:moveTo>
                    <a:pt x="4751" y="1770"/>
                  </a:moveTo>
                  <a:lnTo>
                    <a:pt x="4755" y="1770"/>
                  </a:lnTo>
                  <a:lnTo>
                    <a:pt x="4734" y="1786"/>
                  </a:lnTo>
                  <a:lnTo>
                    <a:pt x="4751" y="1770"/>
                  </a:lnTo>
                  <a:lnTo>
                    <a:pt x="4751" y="1770"/>
                  </a:lnTo>
                  <a:lnTo>
                    <a:pt x="4751" y="1770"/>
                  </a:lnTo>
                  <a:close/>
                  <a:moveTo>
                    <a:pt x="4772" y="1781"/>
                  </a:moveTo>
                  <a:lnTo>
                    <a:pt x="4789" y="1786"/>
                  </a:lnTo>
                  <a:lnTo>
                    <a:pt x="4784" y="1793"/>
                  </a:lnTo>
                  <a:lnTo>
                    <a:pt x="4767" y="1786"/>
                  </a:lnTo>
                  <a:lnTo>
                    <a:pt x="4772" y="1781"/>
                  </a:lnTo>
                  <a:lnTo>
                    <a:pt x="4772" y="1781"/>
                  </a:lnTo>
                  <a:lnTo>
                    <a:pt x="4772" y="1781"/>
                  </a:lnTo>
                  <a:close/>
                  <a:moveTo>
                    <a:pt x="4767" y="1826"/>
                  </a:moveTo>
                  <a:lnTo>
                    <a:pt x="4751" y="1819"/>
                  </a:lnTo>
                  <a:lnTo>
                    <a:pt x="4746" y="1793"/>
                  </a:lnTo>
                  <a:lnTo>
                    <a:pt x="4755" y="1786"/>
                  </a:lnTo>
                  <a:lnTo>
                    <a:pt x="4767" y="1793"/>
                  </a:lnTo>
                  <a:lnTo>
                    <a:pt x="4755" y="1803"/>
                  </a:lnTo>
                  <a:lnTo>
                    <a:pt x="4772" y="1793"/>
                  </a:lnTo>
                  <a:lnTo>
                    <a:pt x="4784" y="1803"/>
                  </a:lnTo>
                  <a:lnTo>
                    <a:pt x="4767" y="1810"/>
                  </a:lnTo>
                  <a:lnTo>
                    <a:pt x="4772" y="1819"/>
                  </a:lnTo>
                  <a:lnTo>
                    <a:pt x="4767" y="1826"/>
                  </a:lnTo>
                  <a:lnTo>
                    <a:pt x="4767" y="1826"/>
                  </a:lnTo>
                  <a:lnTo>
                    <a:pt x="4767" y="1826"/>
                  </a:lnTo>
                  <a:close/>
                  <a:moveTo>
                    <a:pt x="2953" y="1826"/>
                  </a:moveTo>
                  <a:lnTo>
                    <a:pt x="2948" y="1819"/>
                  </a:lnTo>
                  <a:lnTo>
                    <a:pt x="2953" y="1819"/>
                  </a:lnTo>
                  <a:lnTo>
                    <a:pt x="2953" y="1826"/>
                  </a:lnTo>
                  <a:lnTo>
                    <a:pt x="2953" y="1826"/>
                  </a:lnTo>
                  <a:lnTo>
                    <a:pt x="2953" y="1826"/>
                  </a:lnTo>
                  <a:close/>
                  <a:moveTo>
                    <a:pt x="3116" y="1826"/>
                  </a:moveTo>
                  <a:lnTo>
                    <a:pt x="3126" y="1836"/>
                  </a:lnTo>
                  <a:lnTo>
                    <a:pt x="3116" y="1836"/>
                  </a:lnTo>
                  <a:lnTo>
                    <a:pt x="3116" y="1826"/>
                  </a:lnTo>
                  <a:lnTo>
                    <a:pt x="3116" y="1826"/>
                  </a:lnTo>
                  <a:lnTo>
                    <a:pt x="3116" y="1826"/>
                  </a:lnTo>
                  <a:close/>
                  <a:moveTo>
                    <a:pt x="4852" y="1859"/>
                  </a:moveTo>
                  <a:lnTo>
                    <a:pt x="4881" y="1864"/>
                  </a:lnTo>
                  <a:lnTo>
                    <a:pt x="4881" y="1876"/>
                  </a:lnTo>
                  <a:lnTo>
                    <a:pt x="4843" y="1892"/>
                  </a:lnTo>
                  <a:lnTo>
                    <a:pt x="4822" y="1876"/>
                  </a:lnTo>
                  <a:lnTo>
                    <a:pt x="4836" y="1876"/>
                  </a:lnTo>
                  <a:lnTo>
                    <a:pt x="4836" y="1859"/>
                  </a:lnTo>
                  <a:lnTo>
                    <a:pt x="4852" y="1859"/>
                  </a:lnTo>
                  <a:lnTo>
                    <a:pt x="4852" y="1859"/>
                  </a:lnTo>
                  <a:lnTo>
                    <a:pt x="4852" y="1859"/>
                  </a:lnTo>
                  <a:close/>
                  <a:moveTo>
                    <a:pt x="2844" y="1904"/>
                  </a:moveTo>
                  <a:lnTo>
                    <a:pt x="2861" y="1921"/>
                  </a:lnTo>
                  <a:lnTo>
                    <a:pt x="2861" y="1937"/>
                  </a:lnTo>
                  <a:lnTo>
                    <a:pt x="2830" y="1921"/>
                  </a:lnTo>
                  <a:lnTo>
                    <a:pt x="2830" y="1904"/>
                  </a:lnTo>
                  <a:lnTo>
                    <a:pt x="2844" y="1904"/>
                  </a:lnTo>
                  <a:lnTo>
                    <a:pt x="2844" y="1904"/>
                  </a:lnTo>
                  <a:lnTo>
                    <a:pt x="2844" y="1904"/>
                  </a:lnTo>
                  <a:close/>
                  <a:moveTo>
                    <a:pt x="903" y="1914"/>
                  </a:moveTo>
                  <a:lnTo>
                    <a:pt x="886" y="1921"/>
                  </a:lnTo>
                  <a:lnTo>
                    <a:pt x="898" y="1904"/>
                  </a:lnTo>
                  <a:lnTo>
                    <a:pt x="903" y="1914"/>
                  </a:lnTo>
                  <a:lnTo>
                    <a:pt x="903" y="1914"/>
                  </a:lnTo>
                  <a:lnTo>
                    <a:pt x="903" y="1914"/>
                  </a:lnTo>
                  <a:close/>
                  <a:moveTo>
                    <a:pt x="1675" y="1921"/>
                  </a:moveTo>
                  <a:lnTo>
                    <a:pt x="1663" y="1921"/>
                  </a:lnTo>
                  <a:lnTo>
                    <a:pt x="1692" y="1921"/>
                  </a:lnTo>
                  <a:lnTo>
                    <a:pt x="1675" y="1921"/>
                  </a:lnTo>
                  <a:lnTo>
                    <a:pt x="1675" y="1921"/>
                  </a:lnTo>
                  <a:lnTo>
                    <a:pt x="1675" y="1921"/>
                  </a:lnTo>
                  <a:close/>
                  <a:moveTo>
                    <a:pt x="1760" y="1921"/>
                  </a:moveTo>
                  <a:lnTo>
                    <a:pt x="1765" y="1921"/>
                  </a:lnTo>
                  <a:lnTo>
                    <a:pt x="1751" y="1921"/>
                  </a:lnTo>
                  <a:lnTo>
                    <a:pt x="1760" y="1921"/>
                  </a:lnTo>
                  <a:lnTo>
                    <a:pt x="1760" y="1921"/>
                  </a:lnTo>
                  <a:lnTo>
                    <a:pt x="1760" y="1921"/>
                  </a:lnTo>
                  <a:close/>
                  <a:moveTo>
                    <a:pt x="1734" y="1921"/>
                  </a:moveTo>
                  <a:lnTo>
                    <a:pt x="1744" y="1921"/>
                  </a:lnTo>
                  <a:lnTo>
                    <a:pt x="1718" y="1921"/>
                  </a:lnTo>
                  <a:lnTo>
                    <a:pt x="1734" y="1921"/>
                  </a:lnTo>
                  <a:lnTo>
                    <a:pt x="1734" y="1921"/>
                  </a:lnTo>
                  <a:lnTo>
                    <a:pt x="1734" y="1921"/>
                  </a:lnTo>
                  <a:close/>
                  <a:moveTo>
                    <a:pt x="2823" y="1954"/>
                  </a:moveTo>
                  <a:lnTo>
                    <a:pt x="2823" y="1959"/>
                  </a:lnTo>
                  <a:lnTo>
                    <a:pt x="2814" y="1954"/>
                  </a:lnTo>
                  <a:lnTo>
                    <a:pt x="2823" y="1954"/>
                  </a:lnTo>
                  <a:lnTo>
                    <a:pt x="2823" y="1954"/>
                  </a:lnTo>
                  <a:lnTo>
                    <a:pt x="2823" y="1954"/>
                  </a:lnTo>
                  <a:close/>
                  <a:moveTo>
                    <a:pt x="1966" y="1954"/>
                  </a:moveTo>
                  <a:lnTo>
                    <a:pt x="1949" y="1954"/>
                  </a:lnTo>
                  <a:lnTo>
                    <a:pt x="1966" y="1954"/>
                  </a:lnTo>
                  <a:lnTo>
                    <a:pt x="1966" y="1954"/>
                  </a:lnTo>
                  <a:lnTo>
                    <a:pt x="1966" y="1954"/>
                  </a:lnTo>
                  <a:close/>
                  <a:moveTo>
                    <a:pt x="3773" y="1975"/>
                  </a:moveTo>
                  <a:lnTo>
                    <a:pt x="3811" y="1975"/>
                  </a:lnTo>
                  <a:lnTo>
                    <a:pt x="3827" y="1992"/>
                  </a:lnTo>
                  <a:lnTo>
                    <a:pt x="3780" y="1992"/>
                  </a:lnTo>
                  <a:lnTo>
                    <a:pt x="3763" y="1975"/>
                  </a:lnTo>
                  <a:lnTo>
                    <a:pt x="3773" y="1975"/>
                  </a:lnTo>
                  <a:lnTo>
                    <a:pt x="3773" y="1975"/>
                  </a:lnTo>
                  <a:lnTo>
                    <a:pt x="3773" y="1975"/>
                  </a:lnTo>
                  <a:close/>
                  <a:moveTo>
                    <a:pt x="3062" y="2003"/>
                  </a:moveTo>
                  <a:lnTo>
                    <a:pt x="3071" y="2008"/>
                  </a:lnTo>
                  <a:lnTo>
                    <a:pt x="3057" y="2003"/>
                  </a:lnTo>
                  <a:lnTo>
                    <a:pt x="3062" y="2003"/>
                  </a:lnTo>
                  <a:lnTo>
                    <a:pt x="3062" y="2003"/>
                  </a:lnTo>
                  <a:lnTo>
                    <a:pt x="3062" y="2003"/>
                  </a:lnTo>
                  <a:close/>
                  <a:moveTo>
                    <a:pt x="2932" y="2140"/>
                  </a:moveTo>
                  <a:lnTo>
                    <a:pt x="2911" y="2119"/>
                  </a:lnTo>
                  <a:lnTo>
                    <a:pt x="2915" y="2103"/>
                  </a:lnTo>
                  <a:lnTo>
                    <a:pt x="2948" y="2103"/>
                  </a:lnTo>
                  <a:lnTo>
                    <a:pt x="2991" y="2081"/>
                  </a:lnTo>
                  <a:lnTo>
                    <a:pt x="2974" y="2065"/>
                  </a:lnTo>
                  <a:lnTo>
                    <a:pt x="2986" y="2065"/>
                  </a:lnTo>
                  <a:lnTo>
                    <a:pt x="2974" y="2058"/>
                  </a:lnTo>
                  <a:lnTo>
                    <a:pt x="2974" y="2048"/>
                  </a:lnTo>
                  <a:lnTo>
                    <a:pt x="3019" y="2065"/>
                  </a:lnTo>
                  <a:lnTo>
                    <a:pt x="2991" y="2041"/>
                  </a:lnTo>
                  <a:lnTo>
                    <a:pt x="3003" y="2013"/>
                  </a:lnTo>
                  <a:lnTo>
                    <a:pt x="3024" y="2008"/>
                  </a:lnTo>
                  <a:lnTo>
                    <a:pt x="3062" y="2029"/>
                  </a:lnTo>
                  <a:lnTo>
                    <a:pt x="3057" y="2029"/>
                  </a:lnTo>
                  <a:lnTo>
                    <a:pt x="3062" y="2048"/>
                  </a:lnTo>
                  <a:lnTo>
                    <a:pt x="3071" y="2029"/>
                  </a:lnTo>
                  <a:lnTo>
                    <a:pt x="3095" y="2058"/>
                  </a:lnTo>
                  <a:lnTo>
                    <a:pt x="3137" y="2081"/>
                  </a:lnTo>
                  <a:lnTo>
                    <a:pt x="3137" y="2115"/>
                  </a:lnTo>
                  <a:lnTo>
                    <a:pt x="3147" y="2119"/>
                  </a:lnTo>
                  <a:lnTo>
                    <a:pt x="3147" y="2098"/>
                  </a:lnTo>
                  <a:lnTo>
                    <a:pt x="3154" y="2086"/>
                  </a:lnTo>
                  <a:lnTo>
                    <a:pt x="3170" y="2136"/>
                  </a:lnTo>
                  <a:lnTo>
                    <a:pt x="3208" y="2140"/>
                  </a:lnTo>
                  <a:lnTo>
                    <a:pt x="3192" y="2157"/>
                  </a:lnTo>
                  <a:lnTo>
                    <a:pt x="3170" y="2152"/>
                  </a:lnTo>
                  <a:lnTo>
                    <a:pt x="3137" y="2181"/>
                  </a:lnTo>
                  <a:lnTo>
                    <a:pt x="3116" y="2192"/>
                  </a:lnTo>
                  <a:lnTo>
                    <a:pt x="3007" y="2157"/>
                  </a:lnTo>
                  <a:lnTo>
                    <a:pt x="2991" y="2136"/>
                  </a:lnTo>
                  <a:lnTo>
                    <a:pt x="2986" y="2152"/>
                  </a:lnTo>
                  <a:lnTo>
                    <a:pt x="2974" y="2152"/>
                  </a:lnTo>
                  <a:lnTo>
                    <a:pt x="2953" y="2140"/>
                  </a:lnTo>
                  <a:lnTo>
                    <a:pt x="2953" y="2124"/>
                  </a:lnTo>
                  <a:lnTo>
                    <a:pt x="2932" y="2140"/>
                  </a:lnTo>
                  <a:lnTo>
                    <a:pt x="2932" y="2140"/>
                  </a:lnTo>
                  <a:lnTo>
                    <a:pt x="2932" y="2140"/>
                  </a:lnTo>
                  <a:close/>
                  <a:moveTo>
                    <a:pt x="3470" y="2025"/>
                  </a:moveTo>
                  <a:lnTo>
                    <a:pt x="3456" y="2013"/>
                  </a:lnTo>
                  <a:lnTo>
                    <a:pt x="3478" y="2008"/>
                  </a:lnTo>
                  <a:lnTo>
                    <a:pt x="3470" y="2025"/>
                  </a:lnTo>
                  <a:lnTo>
                    <a:pt x="3470" y="2025"/>
                  </a:lnTo>
                  <a:lnTo>
                    <a:pt x="3470" y="2025"/>
                  </a:lnTo>
                  <a:close/>
                  <a:moveTo>
                    <a:pt x="4096" y="2008"/>
                  </a:moveTo>
                  <a:lnTo>
                    <a:pt x="4108" y="2013"/>
                  </a:lnTo>
                  <a:lnTo>
                    <a:pt x="4087" y="2008"/>
                  </a:lnTo>
                  <a:lnTo>
                    <a:pt x="4096" y="2008"/>
                  </a:lnTo>
                  <a:lnTo>
                    <a:pt x="4096" y="2008"/>
                  </a:lnTo>
                  <a:lnTo>
                    <a:pt x="4096" y="2008"/>
                  </a:lnTo>
                  <a:close/>
                  <a:moveTo>
                    <a:pt x="4028" y="2025"/>
                  </a:moveTo>
                  <a:lnTo>
                    <a:pt x="4016" y="2029"/>
                  </a:lnTo>
                  <a:lnTo>
                    <a:pt x="4000" y="2025"/>
                  </a:lnTo>
                  <a:lnTo>
                    <a:pt x="4028" y="2025"/>
                  </a:lnTo>
                  <a:lnTo>
                    <a:pt x="4028" y="2025"/>
                  </a:lnTo>
                  <a:lnTo>
                    <a:pt x="4028" y="2025"/>
                  </a:lnTo>
                  <a:close/>
                  <a:moveTo>
                    <a:pt x="4297" y="2025"/>
                  </a:moveTo>
                  <a:lnTo>
                    <a:pt x="4314" y="2013"/>
                  </a:lnTo>
                  <a:lnTo>
                    <a:pt x="4323" y="2029"/>
                  </a:lnTo>
                  <a:lnTo>
                    <a:pt x="4302" y="2041"/>
                  </a:lnTo>
                  <a:lnTo>
                    <a:pt x="4271" y="2041"/>
                  </a:lnTo>
                  <a:lnTo>
                    <a:pt x="4281" y="2058"/>
                  </a:lnTo>
                  <a:lnTo>
                    <a:pt x="4243" y="2029"/>
                  </a:lnTo>
                  <a:lnTo>
                    <a:pt x="4217" y="2029"/>
                  </a:lnTo>
                  <a:lnTo>
                    <a:pt x="4248" y="2013"/>
                  </a:lnTo>
                  <a:lnTo>
                    <a:pt x="4297" y="2025"/>
                  </a:lnTo>
                  <a:lnTo>
                    <a:pt x="4297" y="2025"/>
                  </a:lnTo>
                  <a:lnTo>
                    <a:pt x="4297" y="2025"/>
                  </a:lnTo>
                  <a:close/>
                  <a:moveTo>
                    <a:pt x="4082" y="2013"/>
                  </a:moveTo>
                  <a:lnTo>
                    <a:pt x="4104" y="2029"/>
                  </a:lnTo>
                  <a:lnTo>
                    <a:pt x="4082" y="2025"/>
                  </a:lnTo>
                  <a:lnTo>
                    <a:pt x="4082" y="2013"/>
                  </a:lnTo>
                  <a:lnTo>
                    <a:pt x="4082" y="2013"/>
                  </a:lnTo>
                  <a:lnTo>
                    <a:pt x="4082" y="2013"/>
                  </a:lnTo>
                  <a:close/>
                  <a:moveTo>
                    <a:pt x="4411" y="2025"/>
                  </a:moveTo>
                  <a:lnTo>
                    <a:pt x="4422" y="2041"/>
                  </a:lnTo>
                  <a:lnTo>
                    <a:pt x="4356" y="2065"/>
                  </a:lnTo>
                  <a:lnTo>
                    <a:pt x="4411" y="2025"/>
                  </a:lnTo>
                  <a:lnTo>
                    <a:pt x="4411" y="2025"/>
                  </a:lnTo>
                  <a:lnTo>
                    <a:pt x="4411" y="2025"/>
                  </a:lnTo>
                  <a:close/>
                  <a:moveTo>
                    <a:pt x="2731" y="2029"/>
                  </a:moveTo>
                  <a:lnTo>
                    <a:pt x="2731" y="2041"/>
                  </a:lnTo>
                  <a:lnTo>
                    <a:pt x="2722" y="2029"/>
                  </a:lnTo>
                  <a:lnTo>
                    <a:pt x="2731" y="2029"/>
                  </a:lnTo>
                  <a:lnTo>
                    <a:pt x="2731" y="2029"/>
                  </a:lnTo>
                  <a:lnTo>
                    <a:pt x="2731" y="2029"/>
                  </a:lnTo>
                  <a:close/>
                  <a:moveTo>
                    <a:pt x="378" y="2119"/>
                  </a:moveTo>
                  <a:lnTo>
                    <a:pt x="385" y="2119"/>
                  </a:lnTo>
                  <a:lnTo>
                    <a:pt x="357" y="2115"/>
                  </a:lnTo>
                  <a:lnTo>
                    <a:pt x="357" y="2086"/>
                  </a:lnTo>
                  <a:lnTo>
                    <a:pt x="385" y="2103"/>
                  </a:lnTo>
                  <a:lnTo>
                    <a:pt x="362" y="2086"/>
                  </a:lnTo>
                  <a:lnTo>
                    <a:pt x="385" y="2081"/>
                  </a:lnTo>
                  <a:lnTo>
                    <a:pt x="411" y="2086"/>
                  </a:lnTo>
                  <a:lnTo>
                    <a:pt x="400" y="2065"/>
                  </a:lnTo>
                  <a:lnTo>
                    <a:pt x="411" y="2065"/>
                  </a:lnTo>
                  <a:lnTo>
                    <a:pt x="466" y="2065"/>
                  </a:lnTo>
                  <a:lnTo>
                    <a:pt x="466" y="2041"/>
                  </a:lnTo>
                  <a:lnTo>
                    <a:pt x="454" y="2029"/>
                  </a:lnTo>
                  <a:lnTo>
                    <a:pt x="475" y="2029"/>
                  </a:lnTo>
                  <a:lnTo>
                    <a:pt x="475" y="2048"/>
                  </a:lnTo>
                  <a:lnTo>
                    <a:pt x="508" y="2048"/>
                  </a:lnTo>
                  <a:lnTo>
                    <a:pt x="466" y="2103"/>
                  </a:lnTo>
                  <a:lnTo>
                    <a:pt x="449" y="2119"/>
                  </a:lnTo>
                  <a:lnTo>
                    <a:pt x="475" y="2157"/>
                  </a:lnTo>
                  <a:lnTo>
                    <a:pt x="466" y="2157"/>
                  </a:lnTo>
                  <a:lnTo>
                    <a:pt x="433" y="2119"/>
                  </a:lnTo>
                  <a:lnTo>
                    <a:pt x="423" y="2136"/>
                  </a:lnTo>
                  <a:lnTo>
                    <a:pt x="357" y="2124"/>
                  </a:lnTo>
                  <a:lnTo>
                    <a:pt x="357" y="2115"/>
                  </a:lnTo>
                  <a:lnTo>
                    <a:pt x="378" y="2119"/>
                  </a:lnTo>
                  <a:lnTo>
                    <a:pt x="378" y="2119"/>
                  </a:lnTo>
                  <a:lnTo>
                    <a:pt x="378" y="2119"/>
                  </a:lnTo>
                  <a:close/>
                  <a:moveTo>
                    <a:pt x="5129" y="2029"/>
                  </a:moveTo>
                  <a:lnTo>
                    <a:pt x="5129" y="2041"/>
                  </a:lnTo>
                  <a:lnTo>
                    <a:pt x="5129" y="2058"/>
                  </a:lnTo>
                  <a:lnTo>
                    <a:pt x="5107" y="2048"/>
                  </a:lnTo>
                  <a:lnTo>
                    <a:pt x="5129" y="2029"/>
                  </a:lnTo>
                  <a:lnTo>
                    <a:pt x="5129" y="2029"/>
                  </a:lnTo>
                  <a:lnTo>
                    <a:pt x="5129" y="2029"/>
                  </a:lnTo>
                  <a:close/>
                  <a:moveTo>
                    <a:pt x="130" y="2058"/>
                  </a:moveTo>
                  <a:lnTo>
                    <a:pt x="114" y="2048"/>
                  </a:lnTo>
                  <a:lnTo>
                    <a:pt x="130" y="2041"/>
                  </a:lnTo>
                  <a:lnTo>
                    <a:pt x="152" y="2048"/>
                  </a:lnTo>
                  <a:lnTo>
                    <a:pt x="130" y="2058"/>
                  </a:lnTo>
                  <a:lnTo>
                    <a:pt x="130" y="2058"/>
                  </a:lnTo>
                  <a:lnTo>
                    <a:pt x="130" y="2058"/>
                  </a:lnTo>
                  <a:close/>
                  <a:moveTo>
                    <a:pt x="3192" y="2048"/>
                  </a:moveTo>
                  <a:lnTo>
                    <a:pt x="3201" y="2058"/>
                  </a:lnTo>
                  <a:lnTo>
                    <a:pt x="3192" y="2081"/>
                  </a:lnTo>
                  <a:lnTo>
                    <a:pt x="3180" y="2081"/>
                  </a:lnTo>
                  <a:lnTo>
                    <a:pt x="3180" y="2070"/>
                  </a:lnTo>
                  <a:lnTo>
                    <a:pt x="3180" y="2058"/>
                  </a:lnTo>
                  <a:lnTo>
                    <a:pt x="3170" y="2048"/>
                  </a:lnTo>
                  <a:lnTo>
                    <a:pt x="3163" y="2081"/>
                  </a:lnTo>
                  <a:lnTo>
                    <a:pt x="3154" y="2070"/>
                  </a:lnTo>
                  <a:lnTo>
                    <a:pt x="3154" y="2058"/>
                  </a:lnTo>
                  <a:lnTo>
                    <a:pt x="3163" y="2048"/>
                  </a:lnTo>
                  <a:lnTo>
                    <a:pt x="3192" y="2048"/>
                  </a:lnTo>
                  <a:lnTo>
                    <a:pt x="3192" y="2048"/>
                  </a:lnTo>
                  <a:lnTo>
                    <a:pt x="3192" y="2048"/>
                  </a:lnTo>
                  <a:close/>
                  <a:moveTo>
                    <a:pt x="5150" y="2058"/>
                  </a:moveTo>
                  <a:lnTo>
                    <a:pt x="5138" y="2058"/>
                  </a:lnTo>
                  <a:lnTo>
                    <a:pt x="5167" y="2048"/>
                  </a:lnTo>
                  <a:lnTo>
                    <a:pt x="5150" y="2058"/>
                  </a:lnTo>
                  <a:lnTo>
                    <a:pt x="5150" y="2058"/>
                  </a:lnTo>
                  <a:lnTo>
                    <a:pt x="5150" y="2058"/>
                  </a:lnTo>
                  <a:close/>
                  <a:moveTo>
                    <a:pt x="3147" y="2048"/>
                  </a:moveTo>
                  <a:lnTo>
                    <a:pt x="3147" y="2081"/>
                  </a:lnTo>
                  <a:lnTo>
                    <a:pt x="3109" y="2048"/>
                  </a:lnTo>
                  <a:lnTo>
                    <a:pt x="3147" y="2048"/>
                  </a:lnTo>
                  <a:lnTo>
                    <a:pt x="3147" y="2048"/>
                  </a:lnTo>
                  <a:lnTo>
                    <a:pt x="3147" y="2048"/>
                  </a:lnTo>
                  <a:close/>
                  <a:moveTo>
                    <a:pt x="2802" y="2058"/>
                  </a:moveTo>
                  <a:lnTo>
                    <a:pt x="2807" y="2065"/>
                  </a:lnTo>
                  <a:lnTo>
                    <a:pt x="2793" y="2070"/>
                  </a:lnTo>
                  <a:lnTo>
                    <a:pt x="2793" y="2065"/>
                  </a:lnTo>
                  <a:lnTo>
                    <a:pt x="2776" y="2058"/>
                  </a:lnTo>
                  <a:lnTo>
                    <a:pt x="2785" y="2048"/>
                  </a:lnTo>
                  <a:lnTo>
                    <a:pt x="2802" y="2058"/>
                  </a:lnTo>
                  <a:lnTo>
                    <a:pt x="2802" y="2058"/>
                  </a:lnTo>
                  <a:lnTo>
                    <a:pt x="2802" y="2058"/>
                  </a:lnTo>
                  <a:close/>
                  <a:moveTo>
                    <a:pt x="3563" y="2065"/>
                  </a:moveTo>
                  <a:lnTo>
                    <a:pt x="3563" y="2081"/>
                  </a:lnTo>
                  <a:lnTo>
                    <a:pt x="3558" y="2086"/>
                  </a:lnTo>
                  <a:lnTo>
                    <a:pt x="3541" y="2081"/>
                  </a:lnTo>
                  <a:lnTo>
                    <a:pt x="3563" y="2065"/>
                  </a:lnTo>
                  <a:lnTo>
                    <a:pt x="3563" y="2065"/>
                  </a:lnTo>
                  <a:lnTo>
                    <a:pt x="3563" y="2065"/>
                  </a:lnTo>
                  <a:close/>
                  <a:moveTo>
                    <a:pt x="4481" y="2065"/>
                  </a:moveTo>
                  <a:lnTo>
                    <a:pt x="4512" y="2065"/>
                  </a:lnTo>
                  <a:lnTo>
                    <a:pt x="4512" y="2081"/>
                  </a:lnTo>
                  <a:lnTo>
                    <a:pt x="4486" y="2103"/>
                  </a:lnTo>
                  <a:lnTo>
                    <a:pt x="4465" y="2103"/>
                  </a:lnTo>
                  <a:lnTo>
                    <a:pt x="4460" y="2086"/>
                  </a:lnTo>
                  <a:lnTo>
                    <a:pt x="4465" y="2070"/>
                  </a:lnTo>
                  <a:lnTo>
                    <a:pt x="4481" y="2065"/>
                  </a:lnTo>
                  <a:lnTo>
                    <a:pt x="4481" y="2065"/>
                  </a:lnTo>
                  <a:lnTo>
                    <a:pt x="4481" y="2065"/>
                  </a:lnTo>
                  <a:close/>
                  <a:moveTo>
                    <a:pt x="400" y="2081"/>
                  </a:moveTo>
                  <a:lnTo>
                    <a:pt x="385" y="2070"/>
                  </a:lnTo>
                  <a:lnTo>
                    <a:pt x="400" y="2070"/>
                  </a:lnTo>
                  <a:lnTo>
                    <a:pt x="400" y="2081"/>
                  </a:lnTo>
                  <a:lnTo>
                    <a:pt x="400" y="2081"/>
                  </a:lnTo>
                  <a:lnTo>
                    <a:pt x="400" y="2081"/>
                  </a:lnTo>
                  <a:close/>
                  <a:moveTo>
                    <a:pt x="4389" y="2070"/>
                  </a:moveTo>
                  <a:lnTo>
                    <a:pt x="4406" y="2081"/>
                  </a:lnTo>
                  <a:lnTo>
                    <a:pt x="4356" y="2136"/>
                  </a:lnTo>
                  <a:lnTo>
                    <a:pt x="4335" y="2140"/>
                  </a:lnTo>
                  <a:lnTo>
                    <a:pt x="4318" y="2136"/>
                  </a:lnTo>
                  <a:lnTo>
                    <a:pt x="4335" y="2115"/>
                  </a:lnTo>
                  <a:lnTo>
                    <a:pt x="4356" y="2103"/>
                  </a:lnTo>
                  <a:lnTo>
                    <a:pt x="4368" y="2081"/>
                  </a:lnTo>
                  <a:lnTo>
                    <a:pt x="4389" y="2070"/>
                  </a:lnTo>
                  <a:lnTo>
                    <a:pt x="4389" y="2070"/>
                  </a:lnTo>
                  <a:lnTo>
                    <a:pt x="4389" y="2070"/>
                  </a:lnTo>
                  <a:close/>
                  <a:moveTo>
                    <a:pt x="3541" y="2098"/>
                  </a:moveTo>
                  <a:lnTo>
                    <a:pt x="3525" y="2081"/>
                  </a:lnTo>
                  <a:lnTo>
                    <a:pt x="3532" y="2070"/>
                  </a:lnTo>
                  <a:lnTo>
                    <a:pt x="3546" y="2086"/>
                  </a:lnTo>
                  <a:lnTo>
                    <a:pt x="3541" y="2098"/>
                  </a:lnTo>
                  <a:lnTo>
                    <a:pt x="3541" y="2098"/>
                  </a:lnTo>
                  <a:lnTo>
                    <a:pt x="3541" y="2098"/>
                  </a:lnTo>
                  <a:close/>
                  <a:moveTo>
                    <a:pt x="2769" y="2098"/>
                  </a:moveTo>
                  <a:lnTo>
                    <a:pt x="2769" y="2115"/>
                  </a:lnTo>
                  <a:lnTo>
                    <a:pt x="2755" y="2115"/>
                  </a:lnTo>
                  <a:lnTo>
                    <a:pt x="2759" y="2098"/>
                  </a:lnTo>
                  <a:lnTo>
                    <a:pt x="2769" y="2098"/>
                  </a:lnTo>
                  <a:lnTo>
                    <a:pt x="2769" y="2098"/>
                  </a:lnTo>
                  <a:lnTo>
                    <a:pt x="2769" y="2098"/>
                  </a:lnTo>
                  <a:close/>
                  <a:moveTo>
                    <a:pt x="3563" y="2115"/>
                  </a:moveTo>
                  <a:lnTo>
                    <a:pt x="3570" y="2115"/>
                  </a:lnTo>
                  <a:lnTo>
                    <a:pt x="3558" y="2115"/>
                  </a:lnTo>
                  <a:lnTo>
                    <a:pt x="3563" y="2115"/>
                  </a:lnTo>
                  <a:lnTo>
                    <a:pt x="3563" y="2115"/>
                  </a:lnTo>
                  <a:lnTo>
                    <a:pt x="3563" y="2115"/>
                  </a:lnTo>
                  <a:close/>
                  <a:moveTo>
                    <a:pt x="2868" y="2103"/>
                  </a:moveTo>
                  <a:lnTo>
                    <a:pt x="2878" y="2119"/>
                  </a:lnTo>
                  <a:lnTo>
                    <a:pt x="2878" y="2124"/>
                  </a:lnTo>
                  <a:lnTo>
                    <a:pt x="2861" y="2119"/>
                  </a:lnTo>
                  <a:lnTo>
                    <a:pt x="2868" y="2103"/>
                  </a:lnTo>
                  <a:lnTo>
                    <a:pt x="2868" y="2103"/>
                  </a:lnTo>
                  <a:lnTo>
                    <a:pt x="2868" y="2103"/>
                  </a:lnTo>
                  <a:close/>
                  <a:moveTo>
                    <a:pt x="2856" y="2119"/>
                  </a:moveTo>
                  <a:lnTo>
                    <a:pt x="2868" y="2136"/>
                  </a:lnTo>
                  <a:lnTo>
                    <a:pt x="2861" y="2140"/>
                  </a:lnTo>
                  <a:lnTo>
                    <a:pt x="2856" y="2157"/>
                  </a:lnTo>
                  <a:lnTo>
                    <a:pt x="2830" y="2152"/>
                  </a:lnTo>
                  <a:lnTo>
                    <a:pt x="2830" y="2119"/>
                  </a:lnTo>
                  <a:lnTo>
                    <a:pt x="2856" y="2119"/>
                  </a:lnTo>
                  <a:lnTo>
                    <a:pt x="2856" y="2119"/>
                  </a:lnTo>
                  <a:lnTo>
                    <a:pt x="2856" y="2119"/>
                  </a:lnTo>
                  <a:close/>
                  <a:moveTo>
                    <a:pt x="3584" y="2124"/>
                  </a:moveTo>
                  <a:lnTo>
                    <a:pt x="3570" y="2119"/>
                  </a:lnTo>
                  <a:lnTo>
                    <a:pt x="3584" y="2119"/>
                  </a:lnTo>
                  <a:lnTo>
                    <a:pt x="3584" y="2124"/>
                  </a:lnTo>
                  <a:lnTo>
                    <a:pt x="3584" y="2124"/>
                  </a:lnTo>
                  <a:lnTo>
                    <a:pt x="3584" y="2124"/>
                  </a:lnTo>
                  <a:close/>
                  <a:moveTo>
                    <a:pt x="5129" y="2124"/>
                  </a:moveTo>
                  <a:lnTo>
                    <a:pt x="5129" y="2136"/>
                  </a:lnTo>
                  <a:lnTo>
                    <a:pt x="5124" y="2124"/>
                  </a:lnTo>
                  <a:lnTo>
                    <a:pt x="5129" y="2124"/>
                  </a:lnTo>
                  <a:lnTo>
                    <a:pt x="5129" y="2124"/>
                  </a:lnTo>
                  <a:lnTo>
                    <a:pt x="5129" y="2124"/>
                  </a:lnTo>
                  <a:close/>
                  <a:moveTo>
                    <a:pt x="3579" y="2157"/>
                  </a:moveTo>
                  <a:lnTo>
                    <a:pt x="3579" y="2152"/>
                  </a:lnTo>
                  <a:lnTo>
                    <a:pt x="3579" y="2140"/>
                  </a:lnTo>
                  <a:lnTo>
                    <a:pt x="3596" y="2152"/>
                  </a:lnTo>
                  <a:lnTo>
                    <a:pt x="3579" y="2157"/>
                  </a:lnTo>
                  <a:lnTo>
                    <a:pt x="3579" y="2157"/>
                  </a:lnTo>
                  <a:lnTo>
                    <a:pt x="3579" y="2157"/>
                  </a:lnTo>
                  <a:close/>
                  <a:moveTo>
                    <a:pt x="2759" y="2152"/>
                  </a:moveTo>
                  <a:lnTo>
                    <a:pt x="2759" y="2157"/>
                  </a:lnTo>
                  <a:lnTo>
                    <a:pt x="2748" y="2176"/>
                  </a:lnTo>
                  <a:lnTo>
                    <a:pt x="2717" y="2157"/>
                  </a:lnTo>
                  <a:lnTo>
                    <a:pt x="2738" y="2140"/>
                  </a:lnTo>
                  <a:lnTo>
                    <a:pt x="2759" y="2152"/>
                  </a:lnTo>
                  <a:lnTo>
                    <a:pt x="2759" y="2152"/>
                  </a:lnTo>
                  <a:lnTo>
                    <a:pt x="2759" y="2152"/>
                  </a:lnTo>
                  <a:close/>
                  <a:moveTo>
                    <a:pt x="4626" y="2157"/>
                  </a:moveTo>
                  <a:lnTo>
                    <a:pt x="4642" y="2181"/>
                  </a:lnTo>
                  <a:lnTo>
                    <a:pt x="4642" y="2209"/>
                  </a:lnTo>
                  <a:lnTo>
                    <a:pt x="4595" y="2181"/>
                  </a:lnTo>
                  <a:lnTo>
                    <a:pt x="4611" y="2157"/>
                  </a:lnTo>
                  <a:lnTo>
                    <a:pt x="4626" y="2157"/>
                  </a:lnTo>
                  <a:lnTo>
                    <a:pt x="4626" y="2157"/>
                  </a:lnTo>
                  <a:lnTo>
                    <a:pt x="4626" y="2157"/>
                  </a:lnTo>
                  <a:close/>
                  <a:moveTo>
                    <a:pt x="4642" y="2157"/>
                  </a:moveTo>
                  <a:lnTo>
                    <a:pt x="4663" y="2176"/>
                  </a:lnTo>
                  <a:lnTo>
                    <a:pt x="4637" y="2169"/>
                  </a:lnTo>
                  <a:lnTo>
                    <a:pt x="4642" y="2157"/>
                  </a:lnTo>
                  <a:lnTo>
                    <a:pt x="4642" y="2157"/>
                  </a:lnTo>
                  <a:lnTo>
                    <a:pt x="4642" y="2157"/>
                  </a:lnTo>
                  <a:close/>
                  <a:moveTo>
                    <a:pt x="4368" y="2192"/>
                  </a:moveTo>
                  <a:lnTo>
                    <a:pt x="4352" y="2181"/>
                  </a:lnTo>
                  <a:lnTo>
                    <a:pt x="4373" y="2176"/>
                  </a:lnTo>
                  <a:lnTo>
                    <a:pt x="4356" y="2169"/>
                  </a:lnTo>
                  <a:lnTo>
                    <a:pt x="4389" y="2169"/>
                  </a:lnTo>
                  <a:lnTo>
                    <a:pt x="4368" y="2192"/>
                  </a:lnTo>
                  <a:lnTo>
                    <a:pt x="4368" y="2192"/>
                  </a:lnTo>
                  <a:lnTo>
                    <a:pt x="4368" y="2192"/>
                  </a:lnTo>
                  <a:close/>
                  <a:moveTo>
                    <a:pt x="2516" y="2176"/>
                  </a:moveTo>
                  <a:lnTo>
                    <a:pt x="2521" y="2181"/>
                  </a:lnTo>
                  <a:lnTo>
                    <a:pt x="2504" y="2176"/>
                  </a:lnTo>
                  <a:lnTo>
                    <a:pt x="2516" y="2176"/>
                  </a:lnTo>
                  <a:lnTo>
                    <a:pt x="2516" y="2176"/>
                  </a:lnTo>
                  <a:lnTo>
                    <a:pt x="2516" y="2176"/>
                  </a:lnTo>
                  <a:close/>
                  <a:moveTo>
                    <a:pt x="2542" y="2176"/>
                  </a:moveTo>
                  <a:lnTo>
                    <a:pt x="2570" y="2192"/>
                  </a:lnTo>
                  <a:lnTo>
                    <a:pt x="2542" y="2197"/>
                  </a:lnTo>
                  <a:lnTo>
                    <a:pt x="2521" y="2176"/>
                  </a:lnTo>
                  <a:lnTo>
                    <a:pt x="2542" y="2176"/>
                  </a:lnTo>
                  <a:lnTo>
                    <a:pt x="2542" y="2176"/>
                  </a:lnTo>
                  <a:lnTo>
                    <a:pt x="2542" y="2176"/>
                  </a:lnTo>
                  <a:close/>
                  <a:moveTo>
                    <a:pt x="2129" y="2176"/>
                  </a:moveTo>
                  <a:lnTo>
                    <a:pt x="2138" y="2176"/>
                  </a:lnTo>
                  <a:lnTo>
                    <a:pt x="2122" y="2176"/>
                  </a:lnTo>
                  <a:lnTo>
                    <a:pt x="2129" y="2176"/>
                  </a:lnTo>
                  <a:lnTo>
                    <a:pt x="2129" y="2176"/>
                  </a:lnTo>
                  <a:lnTo>
                    <a:pt x="2129" y="2176"/>
                  </a:lnTo>
                  <a:close/>
                  <a:moveTo>
                    <a:pt x="2122" y="2181"/>
                  </a:moveTo>
                  <a:lnTo>
                    <a:pt x="2100" y="2181"/>
                  </a:lnTo>
                  <a:lnTo>
                    <a:pt x="2122" y="2176"/>
                  </a:lnTo>
                  <a:lnTo>
                    <a:pt x="2122" y="2181"/>
                  </a:lnTo>
                  <a:lnTo>
                    <a:pt x="2122" y="2181"/>
                  </a:lnTo>
                  <a:lnTo>
                    <a:pt x="2122" y="2181"/>
                  </a:lnTo>
                  <a:close/>
                  <a:moveTo>
                    <a:pt x="4675" y="2192"/>
                  </a:moveTo>
                  <a:lnTo>
                    <a:pt x="4696" y="2209"/>
                  </a:lnTo>
                  <a:lnTo>
                    <a:pt x="4680" y="2214"/>
                  </a:lnTo>
                  <a:lnTo>
                    <a:pt x="4675" y="2197"/>
                  </a:lnTo>
                  <a:lnTo>
                    <a:pt x="4675" y="2192"/>
                  </a:lnTo>
                  <a:lnTo>
                    <a:pt x="4675" y="2192"/>
                  </a:lnTo>
                  <a:lnTo>
                    <a:pt x="4675" y="2192"/>
                  </a:lnTo>
                  <a:close/>
                  <a:moveTo>
                    <a:pt x="2868" y="2197"/>
                  </a:moveTo>
                  <a:lnTo>
                    <a:pt x="2868" y="2214"/>
                  </a:lnTo>
                  <a:lnTo>
                    <a:pt x="2861" y="2209"/>
                  </a:lnTo>
                  <a:lnTo>
                    <a:pt x="2868" y="2197"/>
                  </a:lnTo>
                  <a:lnTo>
                    <a:pt x="2868" y="2197"/>
                  </a:lnTo>
                  <a:lnTo>
                    <a:pt x="2868" y="2197"/>
                  </a:lnTo>
                  <a:close/>
                  <a:moveTo>
                    <a:pt x="4340" y="2197"/>
                  </a:moveTo>
                  <a:lnTo>
                    <a:pt x="4368" y="2214"/>
                  </a:lnTo>
                  <a:lnTo>
                    <a:pt x="4340" y="2226"/>
                  </a:lnTo>
                  <a:lnTo>
                    <a:pt x="4335" y="2214"/>
                  </a:lnTo>
                  <a:lnTo>
                    <a:pt x="4340" y="2197"/>
                  </a:lnTo>
                  <a:lnTo>
                    <a:pt x="4340" y="2197"/>
                  </a:lnTo>
                  <a:lnTo>
                    <a:pt x="4340" y="2197"/>
                  </a:lnTo>
                  <a:close/>
                  <a:moveTo>
                    <a:pt x="4512" y="2341"/>
                  </a:moveTo>
                  <a:lnTo>
                    <a:pt x="4481" y="2337"/>
                  </a:lnTo>
                  <a:lnTo>
                    <a:pt x="4474" y="2308"/>
                  </a:lnTo>
                  <a:lnTo>
                    <a:pt x="4465" y="2285"/>
                  </a:lnTo>
                  <a:lnTo>
                    <a:pt x="4503" y="2214"/>
                  </a:lnTo>
                  <a:lnTo>
                    <a:pt x="4574" y="2209"/>
                  </a:lnTo>
                  <a:lnTo>
                    <a:pt x="4621" y="2214"/>
                  </a:lnTo>
                  <a:lnTo>
                    <a:pt x="4626" y="2230"/>
                  </a:lnTo>
                  <a:lnTo>
                    <a:pt x="4621" y="2252"/>
                  </a:lnTo>
                  <a:lnTo>
                    <a:pt x="4626" y="2292"/>
                  </a:lnTo>
                  <a:lnTo>
                    <a:pt x="4621" y="2308"/>
                  </a:lnTo>
                  <a:lnTo>
                    <a:pt x="4567" y="2337"/>
                  </a:lnTo>
                  <a:lnTo>
                    <a:pt x="4512" y="2341"/>
                  </a:lnTo>
                  <a:lnTo>
                    <a:pt x="4512" y="2341"/>
                  </a:lnTo>
                  <a:lnTo>
                    <a:pt x="4512" y="2341"/>
                  </a:lnTo>
                  <a:close/>
                  <a:moveTo>
                    <a:pt x="3827" y="2226"/>
                  </a:moveTo>
                  <a:lnTo>
                    <a:pt x="3834" y="2263"/>
                  </a:lnTo>
                  <a:lnTo>
                    <a:pt x="3818" y="2280"/>
                  </a:lnTo>
                  <a:lnTo>
                    <a:pt x="3796" y="2268"/>
                  </a:lnTo>
                  <a:lnTo>
                    <a:pt x="3796" y="2252"/>
                  </a:lnTo>
                  <a:lnTo>
                    <a:pt x="3801" y="2247"/>
                  </a:lnTo>
                  <a:lnTo>
                    <a:pt x="3785" y="2235"/>
                  </a:lnTo>
                  <a:lnTo>
                    <a:pt x="3811" y="2209"/>
                  </a:lnTo>
                  <a:lnTo>
                    <a:pt x="3827" y="2214"/>
                  </a:lnTo>
                  <a:lnTo>
                    <a:pt x="3827" y="2226"/>
                  </a:lnTo>
                  <a:lnTo>
                    <a:pt x="3827" y="2226"/>
                  </a:lnTo>
                  <a:lnTo>
                    <a:pt x="3827" y="2226"/>
                  </a:lnTo>
                  <a:close/>
                  <a:moveTo>
                    <a:pt x="5237" y="2230"/>
                  </a:moveTo>
                  <a:lnTo>
                    <a:pt x="5214" y="2226"/>
                  </a:lnTo>
                  <a:lnTo>
                    <a:pt x="5247" y="2214"/>
                  </a:lnTo>
                  <a:lnTo>
                    <a:pt x="5237" y="2230"/>
                  </a:lnTo>
                  <a:lnTo>
                    <a:pt x="5237" y="2230"/>
                  </a:lnTo>
                  <a:lnTo>
                    <a:pt x="5237" y="2230"/>
                  </a:lnTo>
                  <a:close/>
                  <a:moveTo>
                    <a:pt x="4696" y="2214"/>
                  </a:moveTo>
                  <a:lnTo>
                    <a:pt x="4696" y="2230"/>
                  </a:lnTo>
                  <a:lnTo>
                    <a:pt x="4692" y="2226"/>
                  </a:lnTo>
                  <a:lnTo>
                    <a:pt x="4696" y="2214"/>
                  </a:lnTo>
                  <a:lnTo>
                    <a:pt x="4696" y="2214"/>
                  </a:lnTo>
                  <a:lnTo>
                    <a:pt x="4696" y="2214"/>
                  </a:lnTo>
                  <a:close/>
                  <a:moveTo>
                    <a:pt x="2570" y="2226"/>
                  </a:moveTo>
                  <a:lnTo>
                    <a:pt x="2559" y="2235"/>
                  </a:lnTo>
                  <a:lnTo>
                    <a:pt x="2554" y="2230"/>
                  </a:lnTo>
                  <a:lnTo>
                    <a:pt x="2570" y="2226"/>
                  </a:lnTo>
                  <a:lnTo>
                    <a:pt x="2570" y="2226"/>
                  </a:lnTo>
                  <a:lnTo>
                    <a:pt x="2570" y="2226"/>
                  </a:lnTo>
                  <a:close/>
                  <a:moveTo>
                    <a:pt x="5285" y="2226"/>
                  </a:moveTo>
                  <a:lnTo>
                    <a:pt x="5301" y="2230"/>
                  </a:lnTo>
                  <a:lnTo>
                    <a:pt x="5285" y="2230"/>
                  </a:lnTo>
                  <a:lnTo>
                    <a:pt x="5285" y="2226"/>
                  </a:lnTo>
                  <a:lnTo>
                    <a:pt x="5285" y="2226"/>
                  </a:lnTo>
                  <a:lnTo>
                    <a:pt x="5285" y="2226"/>
                  </a:lnTo>
                  <a:close/>
                  <a:moveTo>
                    <a:pt x="4718" y="2247"/>
                  </a:moveTo>
                  <a:lnTo>
                    <a:pt x="4746" y="2247"/>
                  </a:lnTo>
                  <a:lnTo>
                    <a:pt x="4746" y="2268"/>
                  </a:lnTo>
                  <a:lnTo>
                    <a:pt x="4734" y="2280"/>
                  </a:lnTo>
                  <a:lnTo>
                    <a:pt x="4675" y="2268"/>
                  </a:lnTo>
                  <a:lnTo>
                    <a:pt x="4649" y="2263"/>
                  </a:lnTo>
                  <a:lnTo>
                    <a:pt x="4642" y="2247"/>
                  </a:lnTo>
                  <a:lnTo>
                    <a:pt x="4675" y="2226"/>
                  </a:lnTo>
                  <a:lnTo>
                    <a:pt x="4692" y="2235"/>
                  </a:lnTo>
                  <a:lnTo>
                    <a:pt x="4718" y="2247"/>
                  </a:lnTo>
                  <a:lnTo>
                    <a:pt x="4718" y="2247"/>
                  </a:lnTo>
                  <a:lnTo>
                    <a:pt x="4718" y="2247"/>
                  </a:lnTo>
                  <a:close/>
                  <a:moveTo>
                    <a:pt x="2214" y="2230"/>
                  </a:moveTo>
                  <a:lnTo>
                    <a:pt x="2219" y="2247"/>
                  </a:lnTo>
                  <a:lnTo>
                    <a:pt x="2209" y="2235"/>
                  </a:lnTo>
                  <a:lnTo>
                    <a:pt x="2214" y="2230"/>
                  </a:lnTo>
                  <a:lnTo>
                    <a:pt x="2214" y="2230"/>
                  </a:lnTo>
                  <a:lnTo>
                    <a:pt x="2214" y="2230"/>
                  </a:lnTo>
                  <a:close/>
                  <a:moveTo>
                    <a:pt x="2948" y="2235"/>
                  </a:moveTo>
                  <a:lnTo>
                    <a:pt x="2948" y="2247"/>
                  </a:lnTo>
                  <a:lnTo>
                    <a:pt x="2937" y="2235"/>
                  </a:lnTo>
                  <a:lnTo>
                    <a:pt x="2948" y="2235"/>
                  </a:lnTo>
                  <a:lnTo>
                    <a:pt x="2948" y="2235"/>
                  </a:lnTo>
                  <a:lnTo>
                    <a:pt x="2948" y="2235"/>
                  </a:lnTo>
                  <a:close/>
                  <a:moveTo>
                    <a:pt x="2252" y="2247"/>
                  </a:moveTo>
                  <a:lnTo>
                    <a:pt x="2252" y="2263"/>
                  </a:lnTo>
                  <a:lnTo>
                    <a:pt x="2230" y="2247"/>
                  </a:lnTo>
                  <a:lnTo>
                    <a:pt x="2252" y="2247"/>
                  </a:lnTo>
                  <a:lnTo>
                    <a:pt x="2252" y="2247"/>
                  </a:lnTo>
                  <a:lnTo>
                    <a:pt x="2252" y="2247"/>
                  </a:lnTo>
                  <a:close/>
                  <a:moveTo>
                    <a:pt x="3024" y="2263"/>
                  </a:moveTo>
                  <a:lnTo>
                    <a:pt x="3019" y="2263"/>
                  </a:lnTo>
                  <a:lnTo>
                    <a:pt x="3024" y="2263"/>
                  </a:lnTo>
                  <a:lnTo>
                    <a:pt x="3024" y="2263"/>
                  </a:lnTo>
                  <a:lnTo>
                    <a:pt x="3024" y="2263"/>
                  </a:lnTo>
                  <a:close/>
                  <a:moveTo>
                    <a:pt x="1895" y="2263"/>
                  </a:moveTo>
                  <a:lnTo>
                    <a:pt x="1874" y="2263"/>
                  </a:lnTo>
                  <a:lnTo>
                    <a:pt x="1895" y="2263"/>
                  </a:lnTo>
                  <a:lnTo>
                    <a:pt x="1895" y="2263"/>
                  </a:lnTo>
                  <a:lnTo>
                    <a:pt x="1895" y="2263"/>
                  </a:lnTo>
                  <a:close/>
                  <a:moveTo>
                    <a:pt x="2306" y="2308"/>
                  </a:moveTo>
                  <a:lnTo>
                    <a:pt x="2306" y="2285"/>
                  </a:lnTo>
                  <a:lnTo>
                    <a:pt x="2318" y="2285"/>
                  </a:lnTo>
                  <a:lnTo>
                    <a:pt x="2322" y="2303"/>
                  </a:lnTo>
                  <a:lnTo>
                    <a:pt x="2306" y="2308"/>
                  </a:lnTo>
                  <a:lnTo>
                    <a:pt x="2306" y="2308"/>
                  </a:lnTo>
                  <a:lnTo>
                    <a:pt x="2306" y="2308"/>
                  </a:lnTo>
                  <a:close/>
                  <a:moveTo>
                    <a:pt x="5410" y="2292"/>
                  </a:moveTo>
                  <a:lnTo>
                    <a:pt x="5415" y="2303"/>
                  </a:lnTo>
                  <a:lnTo>
                    <a:pt x="5398" y="2303"/>
                  </a:lnTo>
                  <a:lnTo>
                    <a:pt x="5410" y="2292"/>
                  </a:lnTo>
                  <a:lnTo>
                    <a:pt x="5410" y="2292"/>
                  </a:lnTo>
                  <a:lnTo>
                    <a:pt x="5410" y="2292"/>
                  </a:lnTo>
                  <a:close/>
                  <a:moveTo>
                    <a:pt x="2285" y="2292"/>
                  </a:moveTo>
                  <a:lnTo>
                    <a:pt x="2289" y="2292"/>
                  </a:lnTo>
                  <a:lnTo>
                    <a:pt x="2285" y="2292"/>
                  </a:lnTo>
                  <a:lnTo>
                    <a:pt x="2285" y="2292"/>
                  </a:lnTo>
                  <a:lnTo>
                    <a:pt x="2285" y="2292"/>
                  </a:lnTo>
                  <a:close/>
                  <a:moveTo>
                    <a:pt x="2306" y="2308"/>
                  </a:moveTo>
                  <a:lnTo>
                    <a:pt x="2301" y="2308"/>
                  </a:lnTo>
                  <a:lnTo>
                    <a:pt x="2301" y="2303"/>
                  </a:lnTo>
                  <a:lnTo>
                    <a:pt x="2306" y="2308"/>
                  </a:lnTo>
                  <a:lnTo>
                    <a:pt x="2306" y="2308"/>
                  </a:lnTo>
                  <a:lnTo>
                    <a:pt x="2306" y="2308"/>
                  </a:lnTo>
                  <a:close/>
                  <a:moveTo>
                    <a:pt x="2289" y="2308"/>
                  </a:moveTo>
                  <a:lnTo>
                    <a:pt x="2285" y="2303"/>
                  </a:lnTo>
                  <a:lnTo>
                    <a:pt x="2289" y="2303"/>
                  </a:lnTo>
                  <a:lnTo>
                    <a:pt x="2289" y="2308"/>
                  </a:lnTo>
                  <a:lnTo>
                    <a:pt x="2289" y="2308"/>
                  </a:lnTo>
                  <a:lnTo>
                    <a:pt x="2289" y="2308"/>
                  </a:lnTo>
                  <a:close/>
                  <a:moveTo>
                    <a:pt x="2322" y="2308"/>
                  </a:moveTo>
                  <a:lnTo>
                    <a:pt x="2322" y="2337"/>
                  </a:lnTo>
                  <a:lnTo>
                    <a:pt x="2306" y="2320"/>
                  </a:lnTo>
                  <a:lnTo>
                    <a:pt x="2322" y="2308"/>
                  </a:lnTo>
                  <a:lnTo>
                    <a:pt x="2322" y="2308"/>
                  </a:lnTo>
                  <a:lnTo>
                    <a:pt x="2322" y="2308"/>
                  </a:lnTo>
                  <a:close/>
                  <a:moveTo>
                    <a:pt x="5436" y="2337"/>
                  </a:moveTo>
                  <a:lnTo>
                    <a:pt x="5415" y="2337"/>
                  </a:lnTo>
                  <a:lnTo>
                    <a:pt x="5431" y="2325"/>
                  </a:lnTo>
                  <a:lnTo>
                    <a:pt x="5448" y="2337"/>
                  </a:lnTo>
                  <a:lnTo>
                    <a:pt x="5436" y="2337"/>
                  </a:lnTo>
                  <a:lnTo>
                    <a:pt x="5436" y="2337"/>
                  </a:lnTo>
                  <a:lnTo>
                    <a:pt x="5436" y="2337"/>
                  </a:lnTo>
                  <a:close/>
                  <a:moveTo>
                    <a:pt x="2339" y="2337"/>
                  </a:moveTo>
                  <a:lnTo>
                    <a:pt x="2339" y="2341"/>
                  </a:lnTo>
                  <a:lnTo>
                    <a:pt x="2339" y="2337"/>
                  </a:lnTo>
                  <a:lnTo>
                    <a:pt x="2339" y="2337"/>
                  </a:lnTo>
                  <a:lnTo>
                    <a:pt x="2339" y="2337"/>
                  </a:lnTo>
                  <a:close/>
                  <a:moveTo>
                    <a:pt x="2344" y="2341"/>
                  </a:moveTo>
                  <a:lnTo>
                    <a:pt x="2360" y="2358"/>
                  </a:lnTo>
                  <a:lnTo>
                    <a:pt x="2344" y="2358"/>
                  </a:lnTo>
                  <a:lnTo>
                    <a:pt x="2344" y="2341"/>
                  </a:lnTo>
                  <a:lnTo>
                    <a:pt x="2344" y="2341"/>
                  </a:lnTo>
                  <a:lnTo>
                    <a:pt x="2344" y="2341"/>
                  </a:lnTo>
                  <a:close/>
                  <a:moveTo>
                    <a:pt x="5474" y="2358"/>
                  </a:moveTo>
                  <a:lnTo>
                    <a:pt x="5500" y="2346"/>
                  </a:lnTo>
                  <a:lnTo>
                    <a:pt x="5516" y="2346"/>
                  </a:lnTo>
                  <a:lnTo>
                    <a:pt x="5490" y="2363"/>
                  </a:lnTo>
                  <a:lnTo>
                    <a:pt x="5474" y="2358"/>
                  </a:lnTo>
                  <a:lnTo>
                    <a:pt x="5474" y="2358"/>
                  </a:lnTo>
                  <a:lnTo>
                    <a:pt x="5474" y="2358"/>
                  </a:lnTo>
                  <a:close/>
                  <a:moveTo>
                    <a:pt x="5474" y="2363"/>
                  </a:moveTo>
                  <a:lnTo>
                    <a:pt x="5462" y="2358"/>
                  </a:lnTo>
                  <a:lnTo>
                    <a:pt x="5474" y="2363"/>
                  </a:lnTo>
                  <a:lnTo>
                    <a:pt x="5474" y="2363"/>
                  </a:lnTo>
                  <a:lnTo>
                    <a:pt x="5474" y="2363"/>
                  </a:lnTo>
                  <a:close/>
                  <a:moveTo>
                    <a:pt x="5462" y="2363"/>
                  </a:moveTo>
                  <a:lnTo>
                    <a:pt x="5469" y="2374"/>
                  </a:lnTo>
                  <a:lnTo>
                    <a:pt x="5462" y="2363"/>
                  </a:lnTo>
                  <a:lnTo>
                    <a:pt x="5462" y="2363"/>
                  </a:lnTo>
                  <a:lnTo>
                    <a:pt x="5462" y="2363"/>
                  </a:lnTo>
                  <a:close/>
                  <a:moveTo>
                    <a:pt x="2306" y="2363"/>
                  </a:moveTo>
                  <a:lnTo>
                    <a:pt x="2322" y="2374"/>
                  </a:lnTo>
                  <a:lnTo>
                    <a:pt x="2318" y="2379"/>
                  </a:lnTo>
                  <a:lnTo>
                    <a:pt x="2306" y="2363"/>
                  </a:lnTo>
                  <a:lnTo>
                    <a:pt x="2306" y="2363"/>
                  </a:lnTo>
                  <a:lnTo>
                    <a:pt x="2306" y="2363"/>
                  </a:lnTo>
                  <a:close/>
                  <a:moveTo>
                    <a:pt x="5192" y="2429"/>
                  </a:moveTo>
                  <a:lnTo>
                    <a:pt x="5200" y="2436"/>
                  </a:lnTo>
                  <a:lnTo>
                    <a:pt x="5192" y="2436"/>
                  </a:lnTo>
                  <a:lnTo>
                    <a:pt x="5192" y="2429"/>
                  </a:lnTo>
                  <a:lnTo>
                    <a:pt x="5192" y="2429"/>
                  </a:lnTo>
                  <a:lnTo>
                    <a:pt x="5192" y="2429"/>
                  </a:lnTo>
                  <a:close/>
                  <a:moveTo>
                    <a:pt x="5204" y="2448"/>
                  </a:moveTo>
                  <a:lnTo>
                    <a:pt x="5221" y="2452"/>
                  </a:lnTo>
                  <a:lnTo>
                    <a:pt x="5192" y="2436"/>
                  </a:lnTo>
                  <a:lnTo>
                    <a:pt x="5204" y="2448"/>
                  </a:lnTo>
                  <a:lnTo>
                    <a:pt x="5204" y="2448"/>
                  </a:lnTo>
                  <a:lnTo>
                    <a:pt x="5204" y="2448"/>
                  </a:lnTo>
                  <a:close/>
                  <a:moveTo>
                    <a:pt x="4070" y="2457"/>
                  </a:moveTo>
                  <a:lnTo>
                    <a:pt x="4066" y="2469"/>
                  </a:lnTo>
                  <a:lnTo>
                    <a:pt x="4049" y="2452"/>
                  </a:lnTo>
                  <a:lnTo>
                    <a:pt x="4070" y="2457"/>
                  </a:lnTo>
                  <a:lnTo>
                    <a:pt x="4070" y="2457"/>
                  </a:lnTo>
                  <a:lnTo>
                    <a:pt x="4070" y="2457"/>
                  </a:lnTo>
                  <a:close/>
                  <a:moveTo>
                    <a:pt x="5523" y="2457"/>
                  </a:moveTo>
                  <a:lnTo>
                    <a:pt x="5528" y="2457"/>
                  </a:lnTo>
                  <a:lnTo>
                    <a:pt x="5507" y="2457"/>
                  </a:lnTo>
                  <a:lnTo>
                    <a:pt x="5523" y="2457"/>
                  </a:lnTo>
                  <a:lnTo>
                    <a:pt x="5523" y="2457"/>
                  </a:lnTo>
                  <a:lnTo>
                    <a:pt x="5523" y="2457"/>
                  </a:lnTo>
                  <a:close/>
                  <a:moveTo>
                    <a:pt x="4000" y="2485"/>
                  </a:moveTo>
                  <a:lnTo>
                    <a:pt x="4016" y="2502"/>
                  </a:lnTo>
                  <a:lnTo>
                    <a:pt x="4016" y="2514"/>
                  </a:lnTo>
                  <a:lnTo>
                    <a:pt x="4054" y="2523"/>
                  </a:lnTo>
                  <a:lnTo>
                    <a:pt x="4044" y="2530"/>
                  </a:lnTo>
                  <a:lnTo>
                    <a:pt x="4011" y="2530"/>
                  </a:lnTo>
                  <a:lnTo>
                    <a:pt x="4016" y="2514"/>
                  </a:lnTo>
                  <a:lnTo>
                    <a:pt x="3990" y="2514"/>
                  </a:lnTo>
                  <a:lnTo>
                    <a:pt x="3990" y="2502"/>
                  </a:lnTo>
                  <a:lnTo>
                    <a:pt x="3974" y="2485"/>
                  </a:lnTo>
                  <a:lnTo>
                    <a:pt x="3962" y="2474"/>
                  </a:lnTo>
                  <a:lnTo>
                    <a:pt x="4000" y="2485"/>
                  </a:lnTo>
                  <a:lnTo>
                    <a:pt x="4000" y="2485"/>
                  </a:lnTo>
                  <a:lnTo>
                    <a:pt x="4000" y="2485"/>
                  </a:lnTo>
                  <a:close/>
                  <a:moveTo>
                    <a:pt x="3936" y="2490"/>
                  </a:moveTo>
                  <a:lnTo>
                    <a:pt x="3957" y="2523"/>
                  </a:lnTo>
                  <a:lnTo>
                    <a:pt x="3945" y="2540"/>
                  </a:lnTo>
                  <a:lnTo>
                    <a:pt x="3919" y="2514"/>
                  </a:lnTo>
                  <a:lnTo>
                    <a:pt x="3919" y="2490"/>
                  </a:lnTo>
                  <a:lnTo>
                    <a:pt x="3936" y="2490"/>
                  </a:lnTo>
                  <a:lnTo>
                    <a:pt x="3936" y="2490"/>
                  </a:lnTo>
                  <a:lnTo>
                    <a:pt x="3936" y="2490"/>
                  </a:lnTo>
                  <a:close/>
                  <a:moveTo>
                    <a:pt x="5528" y="2502"/>
                  </a:moveTo>
                  <a:lnTo>
                    <a:pt x="5528" y="2507"/>
                  </a:lnTo>
                  <a:lnTo>
                    <a:pt x="5523" y="2490"/>
                  </a:lnTo>
                  <a:lnTo>
                    <a:pt x="5528" y="2502"/>
                  </a:lnTo>
                  <a:lnTo>
                    <a:pt x="5528" y="2502"/>
                  </a:lnTo>
                  <a:lnTo>
                    <a:pt x="5528" y="2502"/>
                  </a:lnTo>
                  <a:close/>
                  <a:moveTo>
                    <a:pt x="4264" y="2745"/>
                  </a:moveTo>
                  <a:lnTo>
                    <a:pt x="4205" y="2785"/>
                  </a:lnTo>
                  <a:lnTo>
                    <a:pt x="4134" y="2762"/>
                  </a:lnTo>
                  <a:lnTo>
                    <a:pt x="4104" y="2762"/>
                  </a:lnTo>
                  <a:lnTo>
                    <a:pt x="4104" y="2752"/>
                  </a:lnTo>
                  <a:lnTo>
                    <a:pt x="4108" y="2745"/>
                  </a:lnTo>
                  <a:lnTo>
                    <a:pt x="4108" y="2729"/>
                  </a:lnTo>
                  <a:lnTo>
                    <a:pt x="4066" y="2729"/>
                  </a:lnTo>
                  <a:lnTo>
                    <a:pt x="4054" y="2724"/>
                  </a:lnTo>
                  <a:lnTo>
                    <a:pt x="4070" y="2707"/>
                  </a:lnTo>
                  <a:lnTo>
                    <a:pt x="4066" y="2696"/>
                  </a:lnTo>
                  <a:lnTo>
                    <a:pt x="4028" y="2712"/>
                  </a:lnTo>
                  <a:lnTo>
                    <a:pt x="4016" y="2724"/>
                  </a:lnTo>
                  <a:lnTo>
                    <a:pt x="4028" y="2729"/>
                  </a:lnTo>
                  <a:lnTo>
                    <a:pt x="4028" y="2745"/>
                  </a:lnTo>
                  <a:lnTo>
                    <a:pt x="3978" y="2769"/>
                  </a:lnTo>
                  <a:lnTo>
                    <a:pt x="3957" y="2802"/>
                  </a:lnTo>
                  <a:lnTo>
                    <a:pt x="3910" y="2823"/>
                  </a:lnTo>
                  <a:lnTo>
                    <a:pt x="3886" y="2818"/>
                  </a:lnTo>
                  <a:lnTo>
                    <a:pt x="3881" y="2790"/>
                  </a:lnTo>
                  <a:lnTo>
                    <a:pt x="3886" y="2762"/>
                  </a:lnTo>
                  <a:lnTo>
                    <a:pt x="3881" y="2752"/>
                  </a:lnTo>
                  <a:lnTo>
                    <a:pt x="3818" y="2762"/>
                  </a:lnTo>
                  <a:lnTo>
                    <a:pt x="3796" y="2778"/>
                  </a:lnTo>
                  <a:lnTo>
                    <a:pt x="3773" y="2762"/>
                  </a:lnTo>
                  <a:lnTo>
                    <a:pt x="3796" y="2729"/>
                  </a:lnTo>
                  <a:lnTo>
                    <a:pt x="3839" y="2712"/>
                  </a:lnTo>
                  <a:lnTo>
                    <a:pt x="3834" y="2674"/>
                  </a:lnTo>
                  <a:lnTo>
                    <a:pt x="3834" y="2651"/>
                  </a:lnTo>
                  <a:lnTo>
                    <a:pt x="3848" y="2625"/>
                  </a:lnTo>
                  <a:lnTo>
                    <a:pt x="3839" y="2613"/>
                  </a:lnTo>
                  <a:lnTo>
                    <a:pt x="3848" y="2596"/>
                  </a:lnTo>
                  <a:lnTo>
                    <a:pt x="3848" y="2563"/>
                  </a:lnTo>
                  <a:lnTo>
                    <a:pt x="3855" y="2514"/>
                  </a:lnTo>
                  <a:lnTo>
                    <a:pt x="3893" y="2502"/>
                  </a:lnTo>
                  <a:lnTo>
                    <a:pt x="3893" y="2514"/>
                  </a:lnTo>
                  <a:lnTo>
                    <a:pt x="3919" y="2514"/>
                  </a:lnTo>
                  <a:lnTo>
                    <a:pt x="3924" y="2530"/>
                  </a:lnTo>
                  <a:lnTo>
                    <a:pt x="3903" y="2540"/>
                  </a:lnTo>
                  <a:lnTo>
                    <a:pt x="3924" y="2556"/>
                  </a:lnTo>
                  <a:lnTo>
                    <a:pt x="3936" y="2580"/>
                  </a:lnTo>
                  <a:lnTo>
                    <a:pt x="3941" y="2580"/>
                  </a:lnTo>
                  <a:lnTo>
                    <a:pt x="3957" y="2547"/>
                  </a:lnTo>
                  <a:lnTo>
                    <a:pt x="3962" y="2556"/>
                  </a:lnTo>
                  <a:lnTo>
                    <a:pt x="3990" y="2563"/>
                  </a:lnTo>
                  <a:lnTo>
                    <a:pt x="3978" y="2568"/>
                  </a:lnTo>
                  <a:lnTo>
                    <a:pt x="3990" y="2580"/>
                  </a:lnTo>
                  <a:lnTo>
                    <a:pt x="4044" y="2585"/>
                  </a:lnTo>
                  <a:lnTo>
                    <a:pt x="4054" y="2613"/>
                  </a:lnTo>
                  <a:lnTo>
                    <a:pt x="4125" y="2641"/>
                  </a:lnTo>
                  <a:lnTo>
                    <a:pt x="4158" y="2667"/>
                  </a:lnTo>
                  <a:lnTo>
                    <a:pt x="4158" y="2691"/>
                  </a:lnTo>
                  <a:lnTo>
                    <a:pt x="4163" y="2707"/>
                  </a:lnTo>
                  <a:lnTo>
                    <a:pt x="4141" y="2724"/>
                  </a:lnTo>
                  <a:lnTo>
                    <a:pt x="4179" y="2712"/>
                  </a:lnTo>
                  <a:lnTo>
                    <a:pt x="4210" y="2724"/>
                  </a:lnTo>
                  <a:lnTo>
                    <a:pt x="4210" y="2712"/>
                  </a:lnTo>
                  <a:lnTo>
                    <a:pt x="4217" y="2707"/>
                  </a:lnTo>
                  <a:lnTo>
                    <a:pt x="4243" y="2724"/>
                  </a:lnTo>
                  <a:lnTo>
                    <a:pt x="4243" y="2729"/>
                  </a:lnTo>
                  <a:lnTo>
                    <a:pt x="4243" y="2736"/>
                  </a:lnTo>
                  <a:lnTo>
                    <a:pt x="4264" y="2745"/>
                  </a:lnTo>
                  <a:lnTo>
                    <a:pt x="4264" y="2745"/>
                  </a:lnTo>
                  <a:lnTo>
                    <a:pt x="4264" y="2745"/>
                  </a:lnTo>
                  <a:close/>
                  <a:moveTo>
                    <a:pt x="4044" y="2507"/>
                  </a:moveTo>
                  <a:lnTo>
                    <a:pt x="4028" y="2507"/>
                  </a:lnTo>
                  <a:lnTo>
                    <a:pt x="4049" y="2507"/>
                  </a:lnTo>
                  <a:lnTo>
                    <a:pt x="4044" y="2507"/>
                  </a:lnTo>
                  <a:lnTo>
                    <a:pt x="4044" y="2507"/>
                  </a:lnTo>
                  <a:lnTo>
                    <a:pt x="4044" y="2507"/>
                  </a:lnTo>
                  <a:close/>
                  <a:moveTo>
                    <a:pt x="5523" y="2523"/>
                  </a:moveTo>
                  <a:lnTo>
                    <a:pt x="5528" y="2530"/>
                  </a:lnTo>
                  <a:lnTo>
                    <a:pt x="5523" y="2530"/>
                  </a:lnTo>
                  <a:lnTo>
                    <a:pt x="5507" y="2523"/>
                  </a:lnTo>
                  <a:lnTo>
                    <a:pt x="5523" y="2523"/>
                  </a:lnTo>
                  <a:lnTo>
                    <a:pt x="5523" y="2523"/>
                  </a:lnTo>
                  <a:lnTo>
                    <a:pt x="5523" y="2523"/>
                  </a:lnTo>
                  <a:close/>
                  <a:moveTo>
                    <a:pt x="5485" y="2530"/>
                  </a:moveTo>
                  <a:lnTo>
                    <a:pt x="5490" y="2540"/>
                  </a:lnTo>
                  <a:lnTo>
                    <a:pt x="5474" y="2540"/>
                  </a:lnTo>
                  <a:lnTo>
                    <a:pt x="5485" y="2530"/>
                  </a:lnTo>
                  <a:lnTo>
                    <a:pt x="5485" y="2530"/>
                  </a:lnTo>
                  <a:lnTo>
                    <a:pt x="5485" y="2530"/>
                  </a:lnTo>
                  <a:close/>
                  <a:moveTo>
                    <a:pt x="5452" y="2568"/>
                  </a:moveTo>
                  <a:lnTo>
                    <a:pt x="5462" y="2568"/>
                  </a:lnTo>
                  <a:lnTo>
                    <a:pt x="5448" y="2568"/>
                  </a:lnTo>
                  <a:lnTo>
                    <a:pt x="5452" y="2568"/>
                  </a:lnTo>
                  <a:lnTo>
                    <a:pt x="5452" y="2568"/>
                  </a:lnTo>
                  <a:lnTo>
                    <a:pt x="5452" y="2568"/>
                  </a:lnTo>
                  <a:close/>
                  <a:moveTo>
                    <a:pt x="5448" y="2613"/>
                  </a:moveTo>
                  <a:lnTo>
                    <a:pt x="5452" y="2618"/>
                  </a:lnTo>
                  <a:lnTo>
                    <a:pt x="5436" y="2613"/>
                  </a:lnTo>
                  <a:lnTo>
                    <a:pt x="5448" y="2613"/>
                  </a:lnTo>
                  <a:lnTo>
                    <a:pt x="5448" y="2613"/>
                  </a:lnTo>
                  <a:lnTo>
                    <a:pt x="5448" y="2613"/>
                  </a:lnTo>
                  <a:close/>
                  <a:moveTo>
                    <a:pt x="5313" y="2641"/>
                  </a:moveTo>
                  <a:lnTo>
                    <a:pt x="5313" y="2651"/>
                  </a:lnTo>
                  <a:lnTo>
                    <a:pt x="5301" y="2667"/>
                  </a:lnTo>
                  <a:lnTo>
                    <a:pt x="5285" y="2667"/>
                  </a:lnTo>
                  <a:lnTo>
                    <a:pt x="5301" y="2641"/>
                  </a:lnTo>
                  <a:lnTo>
                    <a:pt x="5313" y="2641"/>
                  </a:lnTo>
                  <a:lnTo>
                    <a:pt x="5313" y="2641"/>
                  </a:lnTo>
                  <a:lnTo>
                    <a:pt x="5313" y="2641"/>
                  </a:lnTo>
                  <a:close/>
                  <a:moveTo>
                    <a:pt x="4734" y="2658"/>
                  </a:moveTo>
                  <a:lnTo>
                    <a:pt x="4729" y="2679"/>
                  </a:lnTo>
                  <a:lnTo>
                    <a:pt x="4718" y="2679"/>
                  </a:lnTo>
                  <a:lnTo>
                    <a:pt x="4729" y="2667"/>
                  </a:lnTo>
                  <a:lnTo>
                    <a:pt x="4718" y="2658"/>
                  </a:lnTo>
                  <a:lnTo>
                    <a:pt x="4734" y="2658"/>
                  </a:lnTo>
                  <a:lnTo>
                    <a:pt x="4734" y="2658"/>
                  </a:lnTo>
                  <a:lnTo>
                    <a:pt x="4734" y="2658"/>
                  </a:lnTo>
                  <a:close/>
                  <a:moveTo>
                    <a:pt x="4680" y="2658"/>
                  </a:moveTo>
                  <a:lnTo>
                    <a:pt x="4692" y="2667"/>
                  </a:lnTo>
                  <a:lnTo>
                    <a:pt x="4675" y="2658"/>
                  </a:lnTo>
                  <a:lnTo>
                    <a:pt x="4680" y="2658"/>
                  </a:lnTo>
                  <a:lnTo>
                    <a:pt x="4680" y="2658"/>
                  </a:lnTo>
                  <a:lnTo>
                    <a:pt x="4680" y="2658"/>
                  </a:lnTo>
                  <a:close/>
                  <a:moveTo>
                    <a:pt x="4718" y="2667"/>
                  </a:moveTo>
                  <a:lnTo>
                    <a:pt x="4713" y="2674"/>
                  </a:lnTo>
                  <a:lnTo>
                    <a:pt x="4718" y="2667"/>
                  </a:lnTo>
                  <a:lnTo>
                    <a:pt x="4718" y="2667"/>
                  </a:lnTo>
                  <a:lnTo>
                    <a:pt x="4718" y="2667"/>
                  </a:lnTo>
                  <a:close/>
                  <a:moveTo>
                    <a:pt x="4675" y="2667"/>
                  </a:moveTo>
                  <a:lnTo>
                    <a:pt x="4692" y="2674"/>
                  </a:lnTo>
                  <a:lnTo>
                    <a:pt x="4663" y="2667"/>
                  </a:lnTo>
                  <a:lnTo>
                    <a:pt x="4675" y="2667"/>
                  </a:lnTo>
                  <a:lnTo>
                    <a:pt x="4675" y="2667"/>
                  </a:lnTo>
                  <a:lnTo>
                    <a:pt x="4675" y="2667"/>
                  </a:lnTo>
                  <a:close/>
                  <a:moveTo>
                    <a:pt x="5339" y="2674"/>
                  </a:moveTo>
                  <a:lnTo>
                    <a:pt x="5344" y="2679"/>
                  </a:lnTo>
                  <a:lnTo>
                    <a:pt x="5339" y="2691"/>
                  </a:lnTo>
                  <a:lnTo>
                    <a:pt x="5327" y="2674"/>
                  </a:lnTo>
                  <a:lnTo>
                    <a:pt x="5339" y="2674"/>
                  </a:lnTo>
                  <a:lnTo>
                    <a:pt x="5339" y="2674"/>
                  </a:lnTo>
                  <a:lnTo>
                    <a:pt x="5339" y="2674"/>
                  </a:lnTo>
                  <a:close/>
                  <a:moveTo>
                    <a:pt x="4718" y="2674"/>
                  </a:moveTo>
                  <a:lnTo>
                    <a:pt x="4718" y="2691"/>
                  </a:lnTo>
                  <a:lnTo>
                    <a:pt x="4713" y="2679"/>
                  </a:lnTo>
                  <a:lnTo>
                    <a:pt x="4718" y="2674"/>
                  </a:lnTo>
                  <a:lnTo>
                    <a:pt x="4718" y="2674"/>
                  </a:lnTo>
                  <a:lnTo>
                    <a:pt x="4718" y="2674"/>
                  </a:lnTo>
                  <a:close/>
                  <a:moveTo>
                    <a:pt x="4701" y="2679"/>
                  </a:moveTo>
                  <a:lnTo>
                    <a:pt x="4701" y="2691"/>
                  </a:lnTo>
                  <a:lnTo>
                    <a:pt x="4701" y="2679"/>
                  </a:lnTo>
                  <a:lnTo>
                    <a:pt x="4701" y="2679"/>
                  </a:lnTo>
                  <a:lnTo>
                    <a:pt x="4701" y="2679"/>
                  </a:lnTo>
                  <a:close/>
                  <a:moveTo>
                    <a:pt x="5327" y="2679"/>
                  </a:moveTo>
                  <a:lnTo>
                    <a:pt x="5339" y="2691"/>
                  </a:lnTo>
                  <a:lnTo>
                    <a:pt x="5327" y="2696"/>
                  </a:lnTo>
                  <a:lnTo>
                    <a:pt x="5322" y="2679"/>
                  </a:lnTo>
                  <a:lnTo>
                    <a:pt x="5327" y="2679"/>
                  </a:lnTo>
                  <a:lnTo>
                    <a:pt x="5327" y="2679"/>
                  </a:lnTo>
                  <a:lnTo>
                    <a:pt x="5327" y="2679"/>
                  </a:lnTo>
                  <a:close/>
                  <a:moveTo>
                    <a:pt x="4583" y="2679"/>
                  </a:moveTo>
                  <a:lnTo>
                    <a:pt x="4595" y="2679"/>
                  </a:lnTo>
                  <a:lnTo>
                    <a:pt x="4583" y="2691"/>
                  </a:lnTo>
                  <a:lnTo>
                    <a:pt x="4583" y="2679"/>
                  </a:lnTo>
                  <a:lnTo>
                    <a:pt x="4583" y="2679"/>
                  </a:lnTo>
                  <a:lnTo>
                    <a:pt x="4583" y="2679"/>
                  </a:lnTo>
                  <a:close/>
                  <a:moveTo>
                    <a:pt x="5360" y="2691"/>
                  </a:moveTo>
                  <a:lnTo>
                    <a:pt x="5365" y="2696"/>
                  </a:lnTo>
                  <a:lnTo>
                    <a:pt x="5355" y="2691"/>
                  </a:lnTo>
                  <a:lnTo>
                    <a:pt x="5360" y="2691"/>
                  </a:lnTo>
                  <a:lnTo>
                    <a:pt x="5360" y="2691"/>
                  </a:lnTo>
                  <a:lnTo>
                    <a:pt x="5360" y="2691"/>
                  </a:lnTo>
                  <a:close/>
                  <a:moveTo>
                    <a:pt x="5365" y="2707"/>
                  </a:moveTo>
                  <a:lnTo>
                    <a:pt x="5360" y="2707"/>
                  </a:lnTo>
                  <a:lnTo>
                    <a:pt x="5365" y="2707"/>
                  </a:lnTo>
                  <a:lnTo>
                    <a:pt x="5365" y="2707"/>
                  </a:lnTo>
                  <a:lnTo>
                    <a:pt x="5365" y="2707"/>
                  </a:lnTo>
                  <a:close/>
                  <a:moveTo>
                    <a:pt x="5327" y="2707"/>
                  </a:moveTo>
                  <a:lnTo>
                    <a:pt x="5339" y="2712"/>
                  </a:lnTo>
                  <a:lnTo>
                    <a:pt x="5327" y="2707"/>
                  </a:lnTo>
                  <a:lnTo>
                    <a:pt x="5327" y="2707"/>
                  </a:lnTo>
                  <a:lnTo>
                    <a:pt x="5327" y="2707"/>
                  </a:lnTo>
                  <a:close/>
                  <a:moveTo>
                    <a:pt x="4444" y="2724"/>
                  </a:moveTo>
                  <a:lnTo>
                    <a:pt x="4432" y="2729"/>
                  </a:lnTo>
                  <a:lnTo>
                    <a:pt x="4422" y="2724"/>
                  </a:lnTo>
                  <a:lnTo>
                    <a:pt x="4448" y="2724"/>
                  </a:lnTo>
                  <a:lnTo>
                    <a:pt x="4444" y="2724"/>
                  </a:lnTo>
                  <a:lnTo>
                    <a:pt x="4444" y="2724"/>
                  </a:lnTo>
                  <a:lnTo>
                    <a:pt x="4444" y="2724"/>
                  </a:lnTo>
                  <a:close/>
                  <a:moveTo>
                    <a:pt x="5360" y="2736"/>
                  </a:moveTo>
                  <a:lnTo>
                    <a:pt x="5360" y="2745"/>
                  </a:lnTo>
                  <a:lnTo>
                    <a:pt x="5365" y="2745"/>
                  </a:lnTo>
                  <a:lnTo>
                    <a:pt x="5377" y="2752"/>
                  </a:lnTo>
                  <a:lnTo>
                    <a:pt x="5339" y="2745"/>
                  </a:lnTo>
                  <a:lnTo>
                    <a:pt x="5360" y="2736"/>
                  </a:lnTo>
                  <a:lnTo>
                    <a:pt x="5360" y="2736"/>
                  </a:lnTo>
                  <a:lnTo>
                    <a:pt x="5360" y="2736"/>
                  </a:lnTo>
                  <a:close/>
                  <a:moveTo>
                    <a:pt x="5377" y="2736"/>
                  </a:moveTo>
                  <a:lnTo>
                    <a:pt x="5393" y="2736"/>
                  </a:lnTo>
                  <a:lnTo>
                    <a:pt x="5393" y="2745"/>
                  </a:lnTo>
                  <a:lnTo>
                    <a:pt x="5377" y="2736"/>
                  </a:lnTo>
                  <a:lnTo>
                    <a:pt x="5377" y="2736"/>
                  </a:lnTo>
                  <a:lnTo>
                    <a:pt x="5377" y="2736"/>
                  </a:lnTo>
                  <a:close/>
                  <a:moveTo>
                    <a:pt x="5377" y="2745"/>
                  </a:moveTo>
                  <a:lnTo>
                    <a:pt x="5381" y="2752"/>
                  </a:lnTo>
                  <a:lnTo>
                    <a:pt x="5377" y="2752"/>
                  </a:lnTo>
                  <a:lnTo>
                    <a:pt x="5377" y="2745"/>
                  </a:lnTo>
                  <a:lnTo>
                    <a:pt x="5377" y="2745"/>
                  </a:lnTo>
                  <a:lnTo>
                    <a:pt x="5377" y="2745"/>
                  </a:lnTo>
                  <a:close/>
                  <a:moveTo>
                    <a:pt x="4789" y="2752"/>
                  </a:moveTo>
                  <a:lnTo>
                    <a:pt x="4798" y="2752"/>
                  </a:lnTo>
                  <a:lnTo>
                    <a:pt x="4789" y="2752"/>
                  </a:lnTo>
                  <a:lnTo>
                    <a:pt x="4789" y="2752"/>
                  </a:lnTo>
                  <a:lnTo>
                    <a:pt x="4789" y="2752"/>
                  </a:lnTo>
                  <a:close/>
                  <a:moveTo>
                    <a:pt x="4512" y="2785"/>
                  </a:moveTo>
                  <a:lnTo>
                    <a:pt x="4519" y="2785"/>
                  </a:lnTo>
                  <a:lnTo>
                    <a:pt x="4512" y="2790"/>
                  </a:lnTo>
                  <a:lnTo>
                    <a:pt x="4486" y="2790"/>
                  </a:lnTo>
                  <a:lnTo>
                    <a:pt x="4460" y="2762"/>
                  </a:lnTo>
                  <a:lnTo>
                    <a:pt x="4481" y="2762"/>
                  </a:lnTo>
                  <a:lnTo>
                    <a:pt x="4512" y="2769"/>
                  </a:lnTo>
                  <a:lnTo>
                    <a:pt x="4512" y="2785"/>
                  </a:lnTo>
                  <a:lnTo>
                    <a:pt x="4512" y="2785"/>
                  </a:lnTo>
                  <a:lnTo>
                    <a:pt x="4512" y="2785"/>
                  </a:lnTo>
                  <a:close/>
                  <a:moveTo>
                    <a:pt x="5377" y="2762"/>
                  </a:moveTo>
                  <a:lnTo>
                    <a:pt x="5381" y="2785"/>
                  </a:lnTo>
                  <a:lnTo>
                    <a:pt x="5398" y="2807"/>
                  </a:lnTo>
                  <a:lnTo>
                    <a:pt x="5365" y="2785"/>
                  </a:lnTo>
                  <a:lnTo>
                    <a:pt x="5365" y="2769"/>
                  </a:lnTo>
                  <a:lnTo>
                    <a:pt x="5377" y="2762"/>
                  </a:lnTo>
                  <a:lnTo>
                    <a:pt x="5377" y="2762"/>
                  </a:lnTo>
                  <a:lnTo>
                    <a:pt x="5377" y="2762"/>
                  </a:lnTo>
                  <a:close/>
                  <a:moveTo>
                    <a:pt x="5393" y="2762"/>
                  </a:moveTo>
                  <a:lnTo>
                    <a:pt x="5393" y="2785"/>
                  </a:lnTo>
                  <a:lnTo>
                    <a:pt x="5381" y="2769"/>
                  </a:lnTo>
                  <a:lnTo>
                    <a:pt x="5393" y="2762"/>
                  </a:lnTo>
                  <a:lnTo>
                    <a:pt x="5393" y="2762"/>
                  </a:lnTo>
                  <a:lnTo>
                    <a:pt x="5393" y="2762"/>
                  </a:lnTo>
                  <a:close/>
                  <a:moveTo>
                    <a:pt x="3470" y="2769"/>
                  </a:moveTo>
                  <a:lnTo>
                    <a:pt x="3487" y="2769"/>
                  </a:lnTo>
                  <a:lnTo>
                    <a:pt x="3470" y="2769"/>
                  </a:lnTo>
                  <a:lnTo>
                    <a:pt x="3470" y="2769"/>
                  </a:lnTo>
                  <a:lnTo>
                    <a:pt x="3470" y="2769"/>
                  </a:lnTo>
                  <a:close/>
                  <a:moveTo>
                    <a:pt x="4822" y="2769"/>
                  </a:moveTo>
                  <a:lnTo>
                    <a:pt x="4826" y="2778"/>
                  </a:lnTo>
                  <a:lnTo>
                    <a:pt x="4822" y="2778"/>
                  </a:lnTo>
                  <a:lnTo>
                    <a:pt x="4822" y="2769"/>
                  </a:lnTo>
                  <a:lnTo>
                    <a:pt x="4822" y="2769"/>
                  </a:lnTo>
                  <a:lnTo>
                    <a:pt x="4822" y="2769"/>
                  </a:lnTo>
                  <a:close/>
                  <a:moveTo>
                    <a:pt x="5339" y="2778"/>
                  </a:moveTo>
                  <a:lnTo>
                    <a:pt x="5339" y="2790"/>
                  </a:lnTo>
                  <a:lnTo>
                    <a:pt x="5327" y="2778"/>
                  </a:lnTo>
                  <a:lnTo>
                    <a:pt x="5339" y="2778"/>
                  </a:lnTo>
                  <a:lnTo>
                    <a:pt x="5339" y="2778"/>
                  </a:lnTo>
                  <a:lnTo>
                    <a:pt x="5339" y="2778"/>
                  </a:lnTo>
                  <a:close/>
                  <a:moveTo>
                    <a:pt x="4406" y="2778"/>
                  </a:moveTo>
                  <a:lnTo>
                    <a:pt x="4444" y="2785"/>
                  </a:lnTo>
                  <a:lnTo>
                    <a:pt x="4448" y="2807"/>
                  </a:lnTo>
                  <a:lnTo>
                    <a:pt x="4422" y="2823"/>
                  </a:lnTo>
                  <a:lnTo>
                    <a:pt x="4378" y="2785"/>
                  </a:lnTo>
                  <a:lnTo>
                    <a:pt x="4406" y="2778"/>
                  </a:lnTo>
                  <a:lnTo>
                    <a:pt x="4406" y="2778"/>
                  </a:lnTo>
                  <a:lnTo>
                    <a:pt x="4406" y="2778"/>
                  </a:lnTo>
                  <a:close/>
                  <a:moveTo>
                    <a:pt x="5129" y="2807"/>
                  </a:moveTo>
                  <a:lnTo>
                    <a:pt x="5138" y="2818"/>
                  </a:lnTo>
                  <a:lnTo>
                    <a:pt x="5129" y="2807"/>
                  </a:lnTo>
                  <a:lnTo>
                    <a:pt x="5129" y="2807"/>
                  </a:lnTo>
                  <a:lnTo>
                    <a:pt x="5129" y="2807"/>
                  </a:lnTo>
                  <a:close/>
                  <a:moveTo>
                    <a:pt x="5192" y="2823"/>
                  </a:moveTo>
                  <a:lnTo>
                    <a:pt x="5200" y="2840"/>
                  </a:lnTo>
                  <a:lnTo>
                    <a:pt x="5183" y="2823"/>
                  </a:lnTo>
                  <a:lnTo>
                    <a:pt x="5192" y="2823"/>
                  </a:lnTo>
                  <a:lnTo>
                    <a:pt x="5192" y="2823"/>
                  </a:lnTo>
                  <a:lnTo>
                    <a:pt x="5192" y="2823"/>
                  </a:lnTo>
                  <a:close/>
                  <a:moveTo>
                    <a:pt x="4125" y="2840"/>
                  </a:moveTo>
                  <a:lnTo>
                    <a:pt x="4151" y="2847"/>
                  </a:lnTo>
                  <a:lnTo>
                    <a:pt x="4141" y="2873"/>
                  </a:lnTo>
                  <a:lnTo>
                    <a:pt x="4066" y="2929"/>
                  </a:lnTo>
                  <a:lnTo>
                    <a:pt x="4044" y="2918"/>
                  </a:lnTo>
                  <a:lnTo>
                    <a:pt x="4016" y="2934"/>
                  </a:lnTo>
                  <a:lnTo>
                    <a:pt x="4016" y="2913"/>
                  </a:lnTo>
                  <a:lnTo>
                    <a:pt x="4000" y="2901"/>
                  </a:lnTo>
                  <a:lnTo>
                    <a:pt x="4044" y="2847"/>
                  </a:lnTo>
                  <a:lnTo>
                    <a:pt x="4066" y="2856"/>
                  </a:lnTo>
                  <a:lnTo>
                    <a:pt x="4125" y="2840"/>
                  </a:lnTo>
                  <a:lnTo>
                    <a:pt x="4125" y="2840"/>
                  </a:lnTo>
                  <a:lnTo>
                    <a:pt x="4125" y="2840"/>
                  </a:lnTo>
                  <a:close/>
                  <a:moveTo>
                    <a:pt x="5221" y="2847"/>
                  </a:moveTo>
                  <a:lnTo>
                    <a:pt x="5237" y="2856"/>
                  </a:lnTo>
                  <a:lnTo>
                    <a:pt x="5221" y="2847"/>
                  </a:lnTo>
                  <a:lnTo>
                    <a:pt x="5221" y="2847"/>
                  </a:lnTo>
                  <a:lnTo>
                    <a:pt x="5221" y="2847"/>
                  </a:lnTo>
                  <a:close/>
                  <a:moveTo>
                    <a:pt x="4935" y="2863"/>
                  </a:moveTo>
                  <a:lnTo>
                    <a:pt x="4966" y="2880"/>
                  </a:lnTo>
                  <a:lnTo>
                    <a:pt x="4928" y="2889"/>
                  </a:lnTo>
                  <a:lnTo>
                    <a:pt x="4918" y="2863"/>
                  </a:lnTo>
                  <a:lnTo>
                    <a:pt x="4897" y="2856"/>
                  </a:lnTo>
                  <a:lnTo>
                    <a:pt x="4890" y="2847"/>
                  </a:lnTo>
                  <a:lnTo>
                    <a:pt x="4935" y="2863"/>
                  </a:lnTo>
                  <a:lnTo>
                    <a:pt x="4935" y="2863"/>
                  </a:lnTo>
                  <a:lnTo>
                    <a:pt x="4935" y="2863"/>
                  </a:lnTo>
                  <a:close/>
                  <a:moveTo>
                    <a:pt x="4663" y="2863"/>
                  </a:moveTo>
                  <a:lnTo>
                    <a:pt x="4701" y="2880"/>
                  </a:lnTo>
                  <a:lnTo>
                    <a:pt x="4649" y="2863"/>
                  </a:lnTo>
                  <a:lnTo>
                    <a:pt x="4663" y="2863"/>
                  </a:lnTo>
                  <a:lnTo>
                    <a:pt x="4663" y="2863"/>
                  </a:lnTo>
                  <a:lnTo>
                    <a:pt x="4663" y="2863"/>
                  </a:lnTo>
                  <a:close/>
                  <a:moveTo>
                    <a:pt x="4432" y="2880"/>
                  </a:moveTo>
                  <a:lnTo>
                    <a:pt x="4444" y="2880"/>
                  </a:lnTo>
                  <a:lnTo>
                    <a:pt x="4432" y="2889"/>
                  </a:lnTo>
                  <a:lnTo>
                    <a:pt x="4432" y="2880"/>
                  </a:lnTo>
                  <a:lnTo>
                    <a:pt x="4432" y="2880"/>
                  </a:lnTo>
                  <a:lnTo>
                    <a:pt x="4432" y="2880"/>
                  </a:lnTo>
                  <a:close/>
                  <a:moveTo>
                    <a:pt x="4422" y="2880"/>
                  </a:moveTo>
                  <a:lnTo>
                    <a:pt x="4427" y="2889"/>
                  </a:lnTo>
                  <a:lnTo>
                    <a:pt x="4411" y="2889"/>
                  </a:lnTo>
                  <a:lnTo>
                    <a:pt x="4422" y="2880"/>
                  </a:lnTo>
                  <a:lnTo>
                    <a:pt x="4422" y="2880"/>
                  </a:lnTo>
                  <a:lnTo>
                    <a:pt x="4422" y="2880"/>
                  </a:lnTo>
                  <a:close/>
                  <a:moveTo>
                    <a:pt x="5377" y="2889"/>
                  </a:moveTo>
                  <a:lnTo>
                    <a:pt x="5360" y="2901"/>
                  </a:lnTo>
                  <a:lnTo>
                    <a:pt x="5327" y="2896"/>
                  </a:lnTo>
                  <a:lnTo>
                    <a:pt x="5344" y="2889"/>
                  </a:lnTo>
                  <a:lnTo>
                    <a:pt x="5377" y="2889"/>
                  </a:lnTo>
                  <a:lnTo>
                    <a:pt x="5377" y="2889"/>
                  </a:lnTo>
                  <a:lnTo>
                    <a:pt x="5377" y="2889"/>
                  </a:lnTo>
                  <a:close/>
                  <a:moveTo>
                    <a:pt x="4314" y="2967"/>
                  </a:moveTo>
                  <a:lnTo>
                    <a:pt x="4302" y="2991"/>
                  </a:lnTo>
                  <a:lnTo>
                    <a:pt x="4285" y="3000"/>
                  </a:lnTo>
                  <a:lnTo>
                    <a:pt x="4259" y="2967"/>
                  </a:lnTo>
                  <a:lnTo>
                    <a:pt x="4259" y="2934"/>
                  </a:lnTo>
                  <a:lnTo>
                    <a:pt x="4281" y="2901"/>
                  </a:lnTo>
                  <a:lnTo>
                    <a:pt x="4318" y="2901"/>
                  </a:lnTo>
                  <a:lnTo>
                    <a:pt x="4323" y="2918"/>
                  </a:lnTo>
                  <a:lnTo>
                    <a:pt x="4323" y="2929"/>
                  </a:lnTo>
                  <a:lnTo>
                    <a:pt x="4314" y="2967"/>
                  </a:lnTo>
                  <a:lnTo>
                    <a:pt x="4314" y="2967"/>
                  </a:lnTo>
                  <a:lnTo>
                    <a:pt x="4314" y="2967"/>
                  </a:lnTo>
                  <a:close/>
                  <a:moveTo>
                    <a:pt x="5268" y="2934"/>
                  </a:moveTo>
                  <a:lnTo>
                    <a:pt x="5259" y="2934"/>
                  </a:lnTo>
                  <a:lnTo>
                    <a:pt x="5268" y="2929"/>
                  </a:lnTo>
                  <a:lnTo>
                    <a:pt x="5268" y="2934"/>
                  </a:lnTo>
                  <a:lnTo>
                    <a:pt x="5268" y="2934"/>
                  </a:lnTo>
                  <a:lnTo>
                    <a:pt x="5268" y="2934"/>
                  </a:lnTo>
                  <a:close/>
                  <a:moveTo>
                    <a:pt x="5322" y="2955"/>
                  </a:moveTo>
                  <a:lnTo>
                    <a:pt x="5344" y="2974"/>
                  </a:lnTo>
                  <a:lnTo>
                    <a:pt x="5339" y="2974"/>
                  </a:lnTo>
                  <a:lnTo>
                    <a:pt x="5313" y="2955"/>
                  </a:lnTo>
                  <a:lnTo>
                    <a:pt x="5313" y="2951"/>
                  </a:lnTo>
                  <a:lnTo>
                    <a:pt x="5322" y="2955"/>
                  </a:lnTo>
                  <a:lnTo>
                    <a:pt x="5322" y="2955"/>
                  </a:lnTo>
                  <a:lnTo>
                    <a:pt x="5322" y="2955"/>
                  </a:lnTo>
                  <a:close/>
                  <a:moveTo>
                    <a:pt x="3364" y="2967"/>
                  </a:moveTo>
                  <a:lnTo>
                    <a:pt x="3352" y="2955"/>
                  </a:lnTo>
                  <a:lnTo>
                    <a:pt x="3369" y="2955"/>
                  </a:lnTo>
                  <a:lnTo>
                    <a:pt x="3364" y="2967"/>
                  </a:lnTo>
                  <a:lnTo>
                    <a:pt x="3364" y="2967"/>
                  </a:lnTo>
                  <a:lnTo>
                    <a:pt x="3364" y="2967"/>
                  </a:lnTo>
                  <a:close/>
                  <a:moveTo>
                    <a:pt x="5285" y="2967"/>
                  </a:moveTo>
                  <a:lnTo>
                    <a:pt x="5285" y="2974"/>
                  </a:lnTo>
                  <a:lnTo>
                    <a:pt x="5259" y="2974"/>
                  </a:lnTo>
                  <a:lnTo>
                    <a:pt x="5285" y="2967"/>
                  </a:lnTo>
                  <a:lnTo>
                    <a:pt x="5285" y="2967"/>
                  </a:lnTo>
                  <a:lnTo>
                    <a:pt x="5285" y="2967"/>
                  </a:lnTo>
                  <a:close/>
                  <a:moveTo>
                    <a:pt x="5355" y="2991"/>
                  </a:moveTo>
                  <a:lnTo>
                    <a:pt x="5355" y="3000"/>
                  </a:lnTo>
                  <a:lnTo>
                    <a:pt x="5355" y="3007"/>
                  </a:lnTo>
                  <a:lnTo>
                    <a:pt x="5339" y="3024"/>
                  </a:lnTo>
                  <a:lnTo>
                    <a:pt x="5301" y="2991"/>
                  </a:lnTo>
                  <a:lnTo>
                    <a:pt x="5327" y="2984"/>
                  </a:lnTo>
                  <a:lnTo>
                    <a:pt x="5355" y="2991"/>
                  </a:lnTo>
                  <a:lnTo>
                    <a:pt x="5355" y="2991"/>
                  </a:lnTo>
                  <a:lnTo>
                    <a:pt x="5355" y="2991"/>
                  </a:lnTo>
                  <a:close/>
                  <a:moveTo>
                    <a:pt x="4982" y="3057"/>
                  </a:moveTo>
                  <a:lnTo>
                    <a:pt x="4982" y="3062"/>
                  </a:lnTo>
                  <a:lnTo>
                    <a:pt x="4973" y="3057"/>
                  </a:lnTo>
                  <a:lnTo>
                    <a:pt x="4982" y="3057"/>
                  </a:lnTo>
                  <a:lnTo>
                    <a:pt x="4982" y="3057"/>
                  </a:lnTo>
                  <a:lnTo>
                    <a:pt x="4982" y="3057"/>
                  </a:lnTo>
                  <a:close/>
                  <a:moveTo>
                    <a:pt x="5124" y="3111"/>
                  </a:moveTo>
                  <a:lnTo>
                    <a:pt x="5138" y="3118"/>
                  </a:lnTo>
                  <a:lnTo>
                    <a:pt x="5129" y="3123"/>
                  </a:lnTo>
                  <a:lnTo>
                    <a:pt x="5091" y="3140"/>
                  </a:lnTo>
                  <a:lnTo>
                    <a:pt x="5112" y="3100"/>
                  </a:lnTo>
                  <a:lnTo>
                    <a:pt x="5124" y="3111"/>
                  </a:lnTo>
                  <a:lnTo>
                    <a:pt x="5124" y="3111"/>
                  </a:lnTo>
                  <a:lnTo>
                    <a:pt x="5124" y="3111"/>
                  </a:lnTo>
                  <a:close/>
                  <a:moveTo>
                    <a:pt x="5365" y="3123"/>
                  </a:moveTo>
                  <a:lnTo>
                    <a:pt x="5365" y="3135"/>
                  </a:lnTo>
                  <a:lnTo>
                    <a:pt x="5339" y="3118"/>
                  </a:lnTo>
                  <a:lnTo>
                    <a:pt x="5355" y="3118"/>
                  </a:lnTo>
                  <a:lnTo>
                    <a:pt x="5365" y="3123"/>
                  </a:lnTo>
                  <a:lnTo>
                    <a:pt x="5365" y="3123"/>
                  </a:lnTo>
                  <a:lnTo>
                    <a:pt x="5365" y="3123"/>
                  </a:lnTo>
                  <a:close/>
                  <a:moveTo>
                    <a:pt x="4281" y="3177"/>
                  </a:moveTo>
                  <a:lnTo>
                    <a:pt x="4281" y="3189"/>
                  </a:lnTo>
                  <a:lnTo>
                    <a:pt x="4264" y="3194"/>
                  </a:lnTo>
                  <a:lnTo>
                    <a:pt x="4281" y="3177"/>
                  </a:lnTo>
                  <a:lnTo>
                    <a:pt x="4281" y="3177"/>
                  </a:lnTo>
                  <a:lnTo>
                    <a:pt x="4281" y="3177"/>
                  </a:lnTo>
                  <a:close/>
                  <a:moveTo>
                    <a:pt x="5398" y="3177"/>
                  </a:moveTo>
                  <a:lnTo>
                    <a:pt x="5398" y="3194"/>
                  </a:lnTo>
                  <a:lnTo>
                    <a:pt x="5381" y="3194"/>
                  </a:lnTo>
                  <a:lnTo>
                    <a:pt x="5398" y="3177"/>
                  </a:lnTo>
                  <a:lnTo>
                    <a:pt x="5398" y="3177"/>
                  </a:lnTo>
                  <a:lnTo>
                    <a:pt x="5398" y="3177"/>
                  </a:lnTo>
                  <a:close/>
                  <a:moveTo>
                    <a:pt x="4264" y="3206"/>
                  </a:moveTo>
                  <a:lnTo>
                    <a:pt x="4259" y="3206"/>
                  </a:lnTo>
                  <a:lnTo>
                    <a:pt x="4264" y="3194"/>
                  </a:lnTo>
                  <a:lnTo>
                    <a:pt x="4264" y="3206"/>
                  </a:lnTo>
                  <a:lnTo>
                    <a:pt x="4264" y="3206"/>
                  </a:lnTo>
                  <a:lnTo>
                    <a:pt x="4264" y="3206"/>
                  </a:lnTo>
                  <a:close/>
                  <a:moveTo>
                    <a:pt x="5037" y="3263"/>
                  </a:moveTo>
                  <a:lnTo>
                    <a:pt x="5037" y="3279"/>
                  </a:lnTo>
                  <a:lnTo>
                    <a:pt x="5025" y="3279"/>
                  </a:lnTo>
                  <a:lnTo>
                    <a:pt x="5020" y="3263"/>
                  </a:lnTo>
                  <a:lnTo>
                    <a:pt x="5037" y="3263"/>
                  </a:lnTo>
                  <a:lnTo>
                    <a:pt x="5037" y="3263"/>
                  </a:lnTo>
                  <a:lnTo>
                    <a:pt x="5037" y="3263"/>
                  </a:lnTo>
                  <a:close/>
                  <a:moveTo>
                    <a:pt x="4373" y="3305"/>
                  </a:moveTo>
                  <a:lnTo>
                    <a:pt x="4389" y="3322"/>
                  </a:lnTo>
                  <a:lnTo>
                    <a:pt x="4373" y="3317"/>
                  </a:lnTo>
                  <a:lnTo>
                    <a:pt x="4373" y="3305"/>
                  </a:lnTo>
                  <a:lnTo>
                    <a:pt x="4373" y="3305"/>
                  </a:lnTo>
                  <a:lnTo>
                    <a:pt x="4373" y="3305"/>
                  </a:lnTo>
                  <a:close/>
                  <a:moveTo>
                    <a:pt x="5150" y="3338"/>
                  </a:moveTo>
                  <a:lnTo>
                    <a:pt x="5150" y="3350"/>
                  </a:lnTo>
                  <a:lnTo>
                    <a:pt x="5145" y="3350"/>
                  </a:lnTo>
                  <a:lnTo>
                    <a:pt x="5150" y="3338"/>
                  </a:lnTo>
                  <a:lnTo>
                    <a:pt x="5150" y="3338"/>
                  </a:lnTo>
                  <a:lnTo>
                    <a:pt x="5150" y="3338"/>
                  </a:lnTo>
                  <a:close/>
                  <a:moveTo>
                    <a:pt x="5544" y="3395"/>
                  </a:moveTo>
                  <a:lnTo>
                    <a:pt x="5544" y="3407"/>
                  </a:lnTo>
                  <a:lnTo>
                    <a:pt x="5528" y="3395"/>
                  </a:lnTo>
                  <a:lnTo>
                    <a:pt x="5537" y="3390"/>
                  </a:lnTo>
                  <a:lnTo>
                    <a:pt x="5544" y="3395"/>
                  </a:lnTo>
                  <a:lnTo>
                    <a:pt x="5544" y="3395"/>
                  </a:lnTo>
                  <a:lnTo>
                    <a:pt x="5544" y="3395"/>
                  </a:lnTo>
                  <a:close/>
                  <a:moveTo>
                    <a:pt x="5570" y="3407"/>
                  </a:moveTo>
                  <a:lnTo>
                    <a:pt x="5561" y="3411"/>
                  </a:lnTo>
                  <a:lnTo>
                    <a:pt x="5544" y="3407"/>
                  </a:lnTo>
                  <a:lnTo>
                    <a:pt x="5554" y="3395"/>
                  </a:lnTo>
                  <a:lnTo>
                    <a:pt x="5570" y="3407"/>
                  </a:lnTo>
                  <a:lnTo>
                    <a:pt x="5570" y="3407"/>
                  </a:lnTo>
                  <a:lnTo>
                    <a:pt x="5570" y="3407"/>
                  </a:lnTo>
                  <a:close/>
                  <a:moveTo>
                    <a:pt x="4297" y="3416"/>
                  </a:moveTo>
                  <a:lnTo>
                    <a:pt x="4285" y="3444"/>
                  </a:lnTo>
                  <a:lnTo>
                    <a:pt x="4285" y="3428"/>
                  </a:lnTo>
                  <a:lnTo>
                    <a:pt x="4297" y="3416"/>
                  </a:lnTo>
                  <a:lnTo>
                    <a:pt x="4297" y="3416"/>
                  </a:lnTo>
                  <a:lnTo>
                    <a:pt x="4297" y="3416"/>
                  </a:lnTo>
                  <a:close/>
                  <a:moveTo>
                    <a:pt x="5544" y="3433"/>
                  </a:moveTo>
                  <a:lnTo>
                    <a:pt x="5537" y="3428"/>
                  </a:lnTo>
                  <a:lnTo>
                    <a:pt x="5544" y="3416"/>
                  </a:lnTo>
                  <a:lnTo>
                    <a:pt x="5554" y="3428"/>
                  </a:lnTo>
                  <a:lnTo>
                    <a:pt x="5544" y="3433"/>
                  </a:lnTo>
                  <a:lnTo>
                    <a:pt x="5544" y="3433"/>
                  </a:lnTo>
                  <a:lnTo>
                    <a:pt x="5544" y="3433"/>
                  </a:lnTo>
                  <a:close/>
                  <a:moveTo>
                    <a:pt x="5570" y="3428"/>
                  </a:moveTo>
                  <a:lnTo>
                    <a:pt x="5570" y="3444"/>
                  </a:lnTo>
                  <a:lnTo>
                    <a:pt x="5544" y="3433"/>
                  </a:lnTo>
                  <a:lnTo>
                    <a:pt x="5570" y="3428"/>
                  </a:lnTo>
                  <a:lnTo>
                    <a:pt x="5570" y="3428"/>
                  </a:lnTo>
                  <a:lnTo>
                    <a:pt x="5570" y="3428"/>
                  </a:lnTo>
                  <a:close/>
                  <a:moveTo>
                    <a:pt x="4503" y="3444"/>
                  </a:moveTo>
                  <a:lnTo>
                    <a:pt x="4512" y="3449"/>
                  </a:lnTo>
                  <a:lnTo>
                    <a:pt x="4503" y="3444"/>
                  </a:lnTo>
                  <a:lnTo>
                    <a:pt x="4503" y="3444"/>
                  </a:lnTo>
                  <a:lnTo>
                    <a:pt x="4503" y="3444"/>
                  </a:lnTo>
                  <a:close/>
                  <a:moveTo>
                    <a:pt x="5561" y="3444"/>
                  </a:moveTo>
                  <a:lnTo>
                    <a:pt x="5570" y="3449"/>
                  </a:lnTo>
                  <a:lnTo>
                    <a:pt x="5554" y="3449"/>
                  </a:lnTo>
                  <a:lnTo>
                    <a:pt x="5561" y="3444"/>
                  </a:lnTo>
                  <a:lnTo>
                    <a:pt x="5561" y="3444"/>
                  </a:lnTo>
                  <a:lnTo>
                    <a:pt x="5561" y="3444"/>
                  </a:lnTo>
                  <a:close/>
                  <a:moveTo>
                    <a:pt x="5582" y="3489"/>
                  </a:moveTo>
                  <a:lnTo>
                    <a:pt x="5570" y="3506"/>
                  </a:lnTo>
                  <a:lnTo>
                    <a:pt x="5582" y="3506"/>
                  </a:lnTo>
                  <a:lnTo>
                    <a:pt x="5582" y="3522"/>
                  </a:lnTo>
                  <a:lnTo>
                    <a:pt x="5570" y="3506"/>
                  </a:lnTo>
                  <a:lnTo>
                    <a:pt x="5575" y="3489"/>
                  </a:lnTo>
                  <a:lnTo>
                    <a:pt x="5582" y="3489"/>
                  </a:lnTo>
                  <a:lnTo>
                    <a:pt x="5582" y="3489"/>
                  </a:lnTo>
                  <a:lnTo>
                    <a:pt x="5582" y="3489"/>
                  </a:lnTo>
                  <a:close/>
                  <a:moveTo>
                    <a:pt x="4297" y="3489"/>
                  </a:moveTo>
                  <a:lnTo>
                    <a:pt x="4297" y="3506"/>
                  </a:lnTo>
                  <a:lnTo>
                    <a:pt x="4285" y="3499"/>
                  </a:lnTo>
                  <a:lnTo>
                    <a:pt x="4297" y="3489"/>
                  </a:lnTo>
                  <a:lnTo>
                    <a:pt x="4297" y="3489"/>
                  </a:lnTo>
                  <a:lnTo>
                    <a:pt x="4297" y="3489"/>
                  </a:lnTo>
                  <a:close/>
                  <a:moveTo>
                    <a:pt x="4285" y="3499"/>
                  </a:moveTo>
                  <a:lnTo>
                    <a:pt x="4285" y="3506"/>
                  </a:lnTo>
                  <a:lnTo>
                    <a:pt x="4281" y="3506"/>
                  </a:lnTo>
                  <a:lnTo>
                    <a:pt x="4285" y="3499"/>
                  </a:lnTo>
                  <a:lnTo>
                    <a:pt x="4285" y="3499"/>
                  </a:lnTo>
                  <a:lnTo>
                    <a:pt x="4285" y="3499"/>
                  </a:lnTo>
                  <a:close/>
                  <a:moveTo>
                    <a:pt x="4314" y="3506"/>
                  </a:moveTo>
                  <a:lnTo>
                    <a:pt x="4314" y="3518"/>
                  </a:lnTo>
                  <a:lnTo>
                    <a:pt x="4314" y="3522"/>
                  </a:lnTo>
                  <a:lnTo>
                    <a:pt x="4314" y="3506"/>
                  </a:lnTo>
                  <a:lnTo>
                    <a:pt x="4314" y="3506"/>
                  </a:lnTo>
                  <a:lnTo>
                    <a:pt x="4314" y="3506"/>
                  </a:lnTo>
                  <a:close/>
                  <a:moveTo>
                    <a:pt x="5599" y="3522"/>
                  </a:moveTo>
                  <a:lnTo>
                    <a:pt x="5599" y="3518"/>
                  </a:lnTo>
                  <a:lnTo>
                    <a:pt x="5608" y="3518"/>
                  </a:lnTo>
                  <a:lnTo>
                    <a:pt x="5599" y="3522"/>
                  </a:lnTo>
                  <a:lnTo>
                    <a:pt x="5599" y="3522"/>
                  </a:lnTo>
                  <a:lnTo>
                    <a:pt x="5599" y="3522"/>
                  </a:lnTo>
                  <a:close/>
                  <a:moveTo>
                    <a:pt x="4335" y="3518"/>
                  </a:moveTo>
                  <a:lnTo>
                    <a:pt x="4340" y="3522"/>
                  </a:lnTo>
                  <a:lnTo>
                    <a:pt x="4323" y="3522"/>
                  </a:lnTo>
                  <a:lnTo>
                    <a:pt x="4335" y="3518"/>
                  </a:lnTo>
                  <a:lnTo>
                    <a:pt x="4335" y="3518"/>
                  </a:lnTo>
                  <a:lnTo>
                    <a:pt x="4335" y="3518"/>
                  </a:lnTo>
                  <a:close/>
                  <a:moveTo>
                    <a:pt x="4297" y="3610"/>
                  </a:moveTo>
                  <a:lnTo>
                    <a:pt x="4314" y="3572"/>
                  </a:lnTo>
                  <a:lnTo>
                    <a:pt x="4285" y="3600"/>
                  </a:lnTo>
                  <a:lnTo>
                    <a:pt x="4281" y="3593"/>
                  </a:lnTo>
                  <a:lnTo>
                    <a:pt x="4281" y="3584"/>
                  </a:lnTo>
                  <a:lnTo>
                    <a:pt x="4302" y="3560"/>
                  </a:lnTo>
                  <a:lnTo>
                    <a:pt x="4318" y="3527"/>
                  </a:lnTo>
                  <a:lnTo>
                    <a:pt x="4318" y="3539"/>
                  </a:lnTo>
                  <a:lnTo>
                    <a:pt x="4314" y="3572"/>
                  </a:lnTo>
                  <a:lnTo>
                    <a:pt x="4318" y="3560"/>
                  </a:lnTo>
                  <a:lnTo>
                    <a:pt x="4323" y="3527"/>
                  </a:lnTo>
                  <a:lnTo>
                    <a:pt x="4352" y="3539"/>
                  </a:lnTo>
                  <a:lnTo>
                    <a:pt x="4335" y="3593"/>
                  </a:lnTo>
                  <a:lnTo>
                    <a:pt x="4352" y="3544"/>
                  </a:lnTo>
                  <a:lnTo>
                    <a:pt x="4323" y="3600"/>
                  </a:lnTo>
                  <a:lnTo>
                    <a:pt x="4335" y="3560"/>
                  </a:lnTo>
                  <a:lnTo>
                    <a:pt x="4318" y="3600"/>
                  </a:lnTo>
                  <a:lnTo>
                    <a:pt x="4297" y="3610"/>
                  </a:lnTo>
                  <a:lnTo>
                    <a:pt x="4297" y="3610"/>
                  </a:lnTo>
                  <a:lnTo>
                    <a:pt x="4297" y="3610"/>
                  </a:lnTo>
                  <a:close/>
                  <a:moveTo>
                    <a:pt x="5570" y="3527"/>
                  </a:moveTo>
                  <a:lnTo>
                    <a:pt x="5599" y="3539"/>
                  </a:lnTo>
                  <a:lnTo>
                    <a:pt x="5570" y="3539"/>
                  </a:lnTo>
                  <a:lnTo>
                    <a:pt x="5582" y="3539"/>
                  </a:lnTo>
                  <a:lnTo>
                    <a:pt x="5570" y="3527"/>
                  </a:lnTo>
                  <a:lnTo>
                    <a:pt x="5570" y="3527"/>
                  </a:lnTo>
                  <a:lnTo>
                    <a:pt x="5570" y="3527"/>
                  </a:lnTo>
                  <a:close/>
                  <a:moveTo>
                    <a:pt x="4271" y="3572"/>
                  </a:moveTo>
                  <a:lnTo>
                    <a:pt x="4271" y="3555"/>
                  </a:lnTo>
                  <a:lnTo>
                    <a:pt x="4297" y="3544"/>
                  </a:lnTo>
                  <a:lnTo>
                    <a:pt x="4314" y="3527"/>
                  </a:lnTo>
                  <a:lnTo>
                    <a:pt x="4302" y="3555"/>
                  </a:lnTo>
                  <a:lnTo>
                    <a:pt x="4271" y="3572"/>
                  </a:lnTo>
                  <a:lnTo>
                    <a:pt x="4271" y="3572"/>
                  </a:lnTo>
                  <a:lnTo>
                    <a:pt x="4271" y="3572"/>
                  </a:lnTo>
                  <a:close/>
                  <a:moveTo>
                    <a:pt x="4352" y="3572"/>
                  </a:moveTo>
                  <a:lnTo>
                    <a:pt x="4356" y="3544"/>
                  </a:lnTo>
                  <a:lnTo>
                    <a:pt x="4373" y="3539"/>
                  </a:lnTo>
                  <a:lnTo>
                    <a:pt x="4373" y="3572"/>
                  </a:lnTo>
                  <a:lnTo>
                    <a:pt x="4352" y="3572"/>
                  </a:lnTo>
                  <a:lnTo>
                    <a:pt x="4352" y="3572"/>
                  </a:lnTo>
                  <a:lnTo>
                    <a:pt x="4352" y="3572"/>
                  </a:lnTo>
                  <a:close/>
                  <a:moveTo>
                    <a:pt x="5570" y="3544"/>
                  </a:moveTo>
                  <a:lnTo>
                    <a:pt x="5582" y="3555"/>
                  </a:lnTo>
                  <a:lnTo>
                    <a:pt x="5554" y="3544"/>
                  </a:lnTo>
                  <a:lnTo>
                    <a:pt x="5570" y="3544"/>
                  </a:lnTo>
                  <a:lnTo>
                    <a:pt x="5570" y="3544"/>
                  </a:lnTo>
                  <a:lnTo>
                    <a:pt x="5570" y="3544"/>
                  </a:lnTo>
                  <a:close/>
                  <a:moveTo>
                    <a:pt x="5608" y="3572"/>
                  </a:moveTo>
                  <a:lnTo>
                    <a:pt x="5613" y="3584"/>
                  </a:lnTo>
                  <a:lnTo>
                    <a:pt x="5592" y="3577"/>
                  </a:lnTo>
                  <a:lnTo>
                    <a:pt x="5608" y="3572"/>
                  </a:lnTo>
                  <a:lnTo>
                    <a:pt x="5608" y="3572"/>
                  </a:lnTo>
                  <a:lnTo>
                    <a:pt x="5608" y="3572"/>
                  </a:lnTo>
                  <a:close/>
                  <a:moveTo>
                    <a:pt x="4352" y="3577"/>
                  </a:moveTo>
                  <a:lnTo>
                    <a:pt x="4352" y="3584"/>
                  </a:lnTo>
                  <a:lnTo>
                    <a:pt x="4340" y="3610"/>
                  </a:lnTo>
                  <a:lnTo>
                    <a:pt x="4352" y="3577"/>
                  </a:lnTo>
                  <a:lnTo>
                    <a:pt x="4352" y="3577"/>
                  </a:lnTo>
                  <a:lnTo>
                    <a:pt x="4352" y="3577"/>
                  </a:lnTo>
                  <a:close/>
                  <a:moveTo>
                    <a:pt x="5629" y="3593"/>
                  </a:moveTo>
                  <a:lnTo>
                    <a:pt x="5613" y="3600"/>
                  </a:lnTo>
                  <a:lnTo>
                    <a:pt x="5625" y="3593"/>
                  </a:lnTo>
                  <a:lnTo>
                    <a:pt x="5629" y="3593"/>
                  </a:lnTo>
                  <a:lnTo>
                    <a:pt x="5629" y="3593"/>
                  </a:lnTo>
                  <a:lnTo>
                    <a:pt x="5629" y="3593"/>
                  </a:lnTo>
                  <a:close/>
                  <a:moveTo>
                    <a:pt x="5613" y="3593"/>
                  </a:moveTo>
                  <a:lnTo>
                    <a:pt x="5608" y="3600"/>
                  </a:lnTo>
                  <a:lnTo>
                    <a:pt x="5608" y="3593"/>
                  </a:lnTo>
                  <a:lnTo>
                    <a:pt x="5613" y="3593"/>
                  </a:lnTo>
                  <a:lnTo>
                    <a:pt x="5613" y="3593"/>
                  </a:lnTo>
                  <a:lnTo>
                    <a:pt x="5613" y="3593"/>
                  </a:lnTo>
                  <a:close/>
                  <a:moveTo>
                    <a:pt x="763" y="3683"/>
                  </a:moveTo>
                  <a:lnTo>
                    <a:pt x="756" y="3704"/>
                  </a:lnTo>
                  <a:lnTo>
                    <a:pt x="747" y="3711"/>
                  </a:lnTo>
                  <a:lnTo>
                    <a:pt x="740" y="3704"/>
                  </a:lnTo>
                  <a:lnTo>
                    <a:pt x="763" y="3683"/>
                  </a:lnTo>
                  <a:lnTo>
                    <a:pt x="763" y="3683"/>
                  </a:lnTo>
                  <a:lnTo>
                    <a:pt x="763" y="3683"/>
                  </a:lnTo>
                  <a:close/>
                  <a:moveTo>
                    <a:pt x="5826" y="3695"/>
                  </a:moveTo>
                  <a:lnTo>
                    <a:pt x="5826" y="3704"/>
                  </a:lnTo>
                  <a:lnTo>
                    <a:pt x="5830" y="3704"/>
                  </a:lnTo>
                  <a:lnTo>
                    <a:pt x="5814" y="3711"/>
                  </a:lnTo>
                  <a:lnTo>
                    <a:pt x="5809" y="3704"/>
                  </a:lnTo>
                  <a:lnTo>
                    <a:pt x="5826" y="3695"/>
                  </a:lnTo>
                  <a:lnTo>
                    <a:pt x="5826" y="3695"/>
                  </a:lnTo>
                  <a:lnTo>
                    <a:pt x="5826" y="3695"/>
                  </a:lnTo>
                  <a:close/>
                  <a:moveTo>
                    <a:pt x="740" y="3704"/>
                  </a:moveTo>
                  <a:lnTo>
                    <a:pt x="740" y="3711"/>
                  </a:lnTo>
                  <a:lnTo>
                    <a:pt x="735" y="3711"/>
                  </a:lnTo>
                  <a:lnTo>
                    <a:pt x="740" y="3704"/>
                  </a:lnTo>
                  <a:lnTo>
                    <a:pt x="740" y="3704"/>
                  </a:lnTo>
                  <a:lnTo>
                    <a:pt x="740" y="3704"/>
                  </a:lnTo>
                  <a:close/>
                  <a:moveTo>
                    <a:pt x="719" y="3728"/>
                  </a:moveTo>
                  <a:lnTo>
                    <a:pt x="702" y="3744"/>
                  </a:lnTo>
                  <a:lnTo>
                    <a:pt x="709" y="3721"/>
                  </a:lnTo>
                  <a:lnTo>
                    <a:pt x="719" y="3728"/>
                  </a:lnTo>
                  <a:lnTo>
                    <a:pt x="719" y="3728"/>
                  </a:lnTo>
                  <a:lnTo>
                    <a:pt x="719" y="3728"/>
                  </a:lnTo>
                  <a:close/>
                  <a:moveTo>
                    <a:pt x="5868" y="3728"/>
                  </a:moveTo>
                  <a:lnTo>
                    <a:pt x="5878" y="3737"/>
                  </a:lnTo>
                  <a:lnTo>
                    <a:pt x="5868" y="3737"/>
                  </a:lnTo>
                  <a:lnTo>
                    <a:pt x="5868" y="3728"/>
                  </a:lnTo>
                  <a:lnTo>
                    <a:pt x="5868" y="3728"/>
                  </a:lnTo>
                  <a:lnTo>
                    <a:pt x="5868" y="3728"/>
                  </a:lnTo>
                  <a:close/>
                  <a:moveTo>
                    <a:pt x="719" y="3766"/>
                  </a:moveTo>
                  <a:lnTo>
                    <a:pt x="726" y="3777"/>
                  </a:lnTo>
                  <a:lnTo>
                    <a:pt x="719" y="3766"/>
                  </a:lnTo>
                  <a:lnTo>
                    <a:pt x="719" y="3766"/>
                  </a:lnTo>
                  <a:lnTo>
                    <a:pt x="719" y="3766"/>
                  </a:lnTo>
                  <a:close/>
                  <a:moveTo>
                    <a:pt x="756" y="3766"/>
                  </a:moveTo>
                  <a:lnTo>
                    <a:pt x="763" y="3766"/>
                  </a:lnTo>
                  <a:lnTo>
                    <a:pt x="756" y="3777"/>
                  </a:lnTo>
                  <a:lnTo>
                    <a:pt x="756" y="3766"/>
                  </a:lnTo>
                  <a:lnTo>
                    <a:pt x="756" y="3766"/>
                  </a:lnTo>
                  <a:lnTo>
                    <a:pt x="756" y="3766"/>
                  </a:lnTo>
                  <a:close/>
                  <a:moveTo>
                    <a:pt x="563" y="3815"/>
                  </a:moveTo>
                  <a:lnTo>
                    <a:pt x="558" y="3799"/>
                  </a:lnTo>
                  <a:lnTo>
                    <a:pt x="558" y="3782"/>
                  </a:lnTo>
                  <a:lnTo>
                    <a:pt x="558" y="3766"/>
                  </a:lnTo>
                  <a:lnTo>
                    <a:pt x="596" y="3777"/>
                  </a:lnTo>
                  <a:lnTo>
                    <a:pt x="584" y="3794"/>
                  </a:lnTo>
                  <a:lnTo>
                    <a:pt x="600" y="3777"/>
                  </a:lnTo>
                  <a:lnTo>
                    <a:pt x="617" y="3777"/>
                  </a:lnTo>
                  <a:lnTo>
                    <a:pt x="626" y="3799"/>
                  </a:lnTo>
                  <a:lnTo>
                    <a:pt x="584" y="3815"/>
                  </a:lnTo>
                  <a:lnTo>
                    <a:pt x="600" y="3822"/>
                  </a:lnTo>
                  <a:lnTo>
                    <a:pt x="626" y="3815"/>
                  </a:lnTo>
                  <a:lnTo>
                    <a:pt x="626" y="3782"/>
                  </a:lnTo>
                  <a:lnTo>
                    <a:pt x="655" y="3766"/>
                  </a:lnTo>
                  <a:lnTo>
                    <a:pt x="638" y="3822"/>
                  </a:lnTo>
                  <a:lnTo>
                    <a:pt x="638" y="3848"/>
                  </a:lnTo>
                  <a:lnTo>
                    <a:pt x="633" y="3860"/>
                  </a:lnTo>
                  <a:lnTo>
                    <a:pt x="612" y="3860"/>
                  </a:lnTo>
                  <a:lnTo>
                    <a:pt x="626" y="3872"/>
                  </a:lnTo>
                  <a:lnTo>
                    <a:pt x="600" y="3872"/>
                  </a:lnTo>
                  <a:lnTo>
                    <a:pt x="584" y="3855"/>
                  </a:lnTo>
                  <a:lnTo>
                    <a:pt x="596" y="3855"/>
                  </a:lnTo>
                  <a:lnTo>
                    <a:pt x="579" y="3855"/>
                  </a:lnTo>
                  <a:lnTo>
                    <a:pt x="584" y="3848"/>
                  </a:lnTo>
                  <a:lnTo>
                    <a:pt x="600" y="3855"/>
                  </a:lnTo>
                  <a:lnTo>
                    <a:pt x="574" y="3839"/>
                  </a:lnTo>
                  <a:lnTo>
                    <a:pt x="563" y="3822"/>
                  </a:lnTo>
                  <a:lnTo>
                    <a:pt x="574" y="3822"/>
                  </a:lnTo>
                  <a:lnTo>
                    <a:pt x="563" y="3815"/>
                  </a:lnTo>
                  <a:lnTo>
                    <a:pt x="563" y="3815"/>
                  </a:lnTo>
                  <a:lnTo>
                    <a:pt x="563" y="3815"/>
                  </a:lnTo>
                  <a:close/>
                  <a:moveTo>
                    <a:pt x="747" y="3777"/>
                  </a:moveTo>
                  <a:lnTo>
                    <a:pt x="756" y="3794"/>
                  </a:lnTo>
                  <a:lnTo>
                    <a:pt x="747" y="3799"/>
                  </a:lnTo>
                  <a:lnTo>
                    <a:pt x="740" y="3799"/>
                  </a:lnTo>
                  <a:lnTo>
                    <a:pt x="747" y="3782"/>
                  </a:lnTo>
                  <a:lnTo>
                    <a:pt x="735" y="3794"/>
                  </a:lnTo>
                  <a:lnTo>
                    <a:pt x="726" y="3794"/>
                  </a:lnTo>
                  <a:lnTo>
                    <a:pt x="735" y="3799"/>
                  </a:lnTo>
                  <a:lnTo>
                    <a:pt x="726" y="3799"/>
                  </a:lnTo>
                  <a:lnTo>
                    <a:pt x="726" y="3782"/>
                  </a:lnTo>
                  <a:lnTo>
                    <a:pt x="747" y="3777"/>
                  </a:lnTo>
                  <a:lnTo>
                    <a:pt x="747" y="3777"/>
                  </a:lnTo>
                  <a:lnTo>
                    <a:pt x="747" y="3777"/>
                  </a:lnTo>
                  <a:close/>
                  <a:moveTo>
                    <a:pt x="801" y="3860"/>
                  </a:moveTo>
                  <a:lnTo>
                    <a:pt x="789" y="3848"/>
                  </a:lnTo>
                  <a:lnTo>
                    <a:pt x="778" y="3832"/>
                  </a:lnTo>
                  <a:lnTo>
                    <a:pt x="773" y="3822"/>
                  </a:lnTo>
                  <a:lnTo>
                    <a:pt x="778" y="3822"/>
                  </a:lnTo>
                  <a:lnTo>
                    <a:pt x="763" y="3815"/>
                  </a:lnTo>
                  <a:lnTo>
                    <a:pt x="756" y="3799"/>
                  </a:lnTo>
                  <a:lnTo>
                    <a:pt x="773" y="3806"/>
                  </a:lnTo>
                  <a:lnTo>
                    <a:pt x="811" y="3848"/>
                  </a:lnTo>
                  <a:lnTo>
                    <a:pt x="811" y="3860"/>
                  </a:lnTo>
                  <a:lnTo>
                    <a:pt x="801" y="3860"/>
                  </a:lnTo>
                  <a:lnTo>
                    <a:pt x="801" y="3860"/>
                  </a:lnTo>
                  <a:lnTo>
                    <a:pt x="801" y="3860"/>
                  </a:lnTo>
                  <a:close/>
                  <a:moveTo>
                    <a:pt x="756" y="3806"/>
                  </a:moveTo>
                  <a:lnTo>
                    <a:pt x="763" y="3832"/>
                  </a:lnTo>
                  <a:lnTo>
                    <a:pt x="747" y="3815"/>
                  </a:lnTo>
                  <a:lnTo>
                    <a:pt x="756" y="3806"/>
                  </a:lnTo>
                  <a:lnTo>
                    <a:pt x="756" y="3806"/>
                  </a:lnTo>
                  <a:lnTo>
                    <a:pt x="756" y="3806"/>
                  </a:lnTo>
                  <a:close/>
                  <a:moveTo>
                    <a:pt x="853" y="3815"/>
                  </a:moveTo>
                  <a:lnTo>
                    <a:pt x="832" y="3848"/>
                  </a:lnTo>
                  <a:lnTo>
                    <a:pt x="832" y="3822"/>
                  </a:lnTo>
                  <a:lnTo>
                    <a:pt x="853" y="3815"/>
                  </a:lnTo>
                  <a:lnTo>
                    <a:pt x="853" y="3815"/>
                  </a:lnTo>
                  <a:lnTo>
                    <a:pt x="853" y="3815"/>
                  </a:lnTo>
                  <a:close/>
                  <a:moveTo>
                    <a:pt x="747" y="3822"/>
                  </a:moveTo>
                  <a:lnTo>
                    <a:pt x="778" y="3839"/>
                  </a:lnTo>
                  <a:lnTo>
                    <a:pt x="794" y="3860"/>
                  </a:lnTo>
                  <a:lnTo>
                    <a:pt x="778" y="3872"/>
                  </a:lnTo>
                  <a:lnTo>
                    <a:pt x="735" y="3832"/>
                  </a:lnTo>
                  <a:lnTo>
                    <a:pt x="740" y="3822"/>
                  </a:lnTo>
                  <a:lnTo>
                    <a:pt x="747" y="3822"/>
                  </a:lnTo>
                  <a:lnTo>
                    <a:pt x="747" y="3822"/>
                  </a:lnTo>
                  <a:lnTo>
                    <a:pt x="747" y="3822"/>
                  </a:lnTo>
                  <a:close/>
                  <a:moveTo>
                    <a:pt x="844" y="3832"/>
                  </a:moveTo>
                  <a:lnTo>
                    <a:pt x="848" y="3855"/>
                  </a:lnTo>
                  <a:lnTo>
                    <a:pt x="832" y="3855"/>
                  </a:lnTo>
                  <a:lnTo>
                    <a:pt x="844" y="3832"/>
                  </a:lnTo>
                  <a:lnTo>
                    <a:pt x="844" y="3832"/>
                  </a:lnTo>
                  <a:lnTo>
                    <a:pt x="844" y="3832"/>
                  </a:lnTo>
                  <a:close/>
                  <a:moveTo>
                    <a:pt x="5970" y="3839"/>
                  </a:moveTo>
                  <a:lnTo>
                    <a:pt x="5977" y="3839"/>
                  </a:lnTo>
                  <a:lnTo>
                    <a:pt x="5977" y="3848"/>
                  </a:lnTo>
                  <a:lnTo>
                    <a:pt x="5960" y="3839"/>
                  </a:lnTo>
                  <a:lnTo>
                    <a:pt x="5970" y="3839"/>
                  </a:lnTo>
                  <a:lnTo>
                    <a:pt x="5970" y="3839"/>
                  </a:lnTo>
                  <a:lnTo>
                    <a:pt x="5970" y="3839"/>
                  </a:lnTo>
                  <a:close/>
                  <a:moveTo>
                    <a:pt x="815" y="3848"/>
                  </a:moveTo>
                  <a:lnTo>
                    <a:pt x="815" y="3855"/>
                  </a:lnTo>
                  <a:lnTo>
                    <a:pt x="811" y="3848"/>
                  </a:lnTo>
                  <a:lnTo>
                    <a:pt x="815" y="3848"/>
                  </a:lnTo>
                  <a:lnTo>
                    <a:pt x="815" y="3848"/>
                  </a:lnTo>
                  <a:lnTo>
                    <a:pt x="815" y="3848"/>
                  </a:lnTo>
                  <a:close/>
                  <a:moveTo>
                    <a:pt x="4281" y="3848"/>
                  </a:moveTo>
                  <a:lnTo>
                    <a:pt x="4281" y="3855"/>
                  </a:lnTo>
                  <a:lnTo>
                    <a:pt x="4271" y="3855"/>
                  </a:lnTo>
                  <a:lnTo>
                    <a:pt x="4281" y="3848"/>
                  </a:lnTo>
                  <a:lnTo>
                    <a:pt x="4281" y="3848"/>
                  </a:lnTo>
                  <a:lnTo>
                    <a:pt x="4281" y="3848"/>
                  </a:lnTo>
                  <a:close/>
                  <a:moveTo>
                    <a:pt x="827" y="3855"/>
                  </a:moveTo>
                  <a:lnTo>
                    <a:pt x="832" y="3872"/>
                  </a:lnTo>
                  <a:lnTo>
                    <a:pt x="815" y="3872"/>
                  </a:lnTo>
                  <a:lnTo>
                    <a:pt x="827" y="3855"/>
                  </a:lnTo>
                  <a:lnTo>
                    <a:pt x="827" y="3855"/>
                  </a:lnTo>
                  <a:lnTo>
                    <a:pt x="827" y="3855"/>
                  </a:lnTo>
                  <a:close/>
                  <a:moveTo>
                    <a:pt x="832" y="3905"/>
                  </a:moveTo>
                  <a:lnTo>
                    <a:pt x="853" y="3877"/>
                  </a:lnTo>
                  <a:lnTo>
                    <a:pt x="844" y="3872"/>
                  </a:lnTo>
                  <a:lnTo>
                    <a:pt x="853" y="3877"/>
                  </a:lnTo>
                  <a:lnTo>
                    <a:pt x="832" y="3893"/>
                  </a:lnTo>
                  <a:lnTo>
                    <a:pt x="844" y="3855"/>
                  </a:lnTo>
                  <a:lnTo>
                    <a:pt x="870" y="3872"/>
                  </a:lnTo>
                  <a:lnTo>
                    <a:pt x="870" y="3877"/>
                  </a:lnTo>
                  <a:lnTo>
                    <a:pt x="870" y="3917"/>
                  </a:lnTo>
                  <a:lnTo>
                    <a:pt x="865" y="3926"/>
                  </a:lnTo>
                  <a:lnTo>
                    <a:pt x="865" y="3888"/>
                  </a:lnTo>
                  <a:lnTo>
                    <a:pt x="853" y="3917"/>
                  </a:lnTo>
                  <a:lnTo>
                    <a:pt x="844" y="3910"/>
                  </a:lnTo>
                  <a:lnTo>
                    <a:pt x="832" y="3905"/>
                  </a:lnTo>
                  <a:lnTo>
                    <a:pt x="832" y="3905"/>
                  </a:lnTo>
                  <a:lnTo>
                    <a:pt x="832" y="3905"/>
                  </a:lnTo>
                  <a:close/>
                  <a:moveTo>
                    <a:pt x="617" y="3893"/>
                  </a:moveTo>
                  <a:lnTo>
                    <a:pt x="626" y="3888"/>
                  </a:lnTo>
                  <a:lnTo>
                    <a:pt x="600" y="3877"/>
                  </a:lnTo>
                  <a:lnTo>
                    <a:pt x="596" y="3872"/>
                  </a:lnTo>
                  <a:lnTo>
                    <a:pt x="626" y="3872"/>
                  </a:lnTo>
                  <a:lnTo>
                    <a:pt x="650" y="3860"/>
                  </a:lnTo>
                  <a:lnTo>
                    <a:pt x="664" y="3877"/>
                  </a:lnTo>
                  <a:lnTo>
                    <a:pt x="633" y="3877"/>
                  </a:lnTo>
                  <a:lnTo>
                    <a:pt x="655" y="3888"/>
                  </a:lnTo>
                  <a:lnTo>
                    <a:pt x="655" y="3893"/>
                  </a:lnTo>
                  <a:lnTo>
                    <a:pt x="633" y="3893"/>
                  </a:lnTo>
                  <a:lnTo>
                    <a:pt x="638" y="3893"/>
                  </a:lnTo>
                  <a:lnTo>
                    <a:pt x="671" y="3943"/>
                  </a:lnTo>
                  <a:lnTo>
                    <a:pt x="688" y="3943"/>
                  </a:lnTo>
                  <a:lnTo>
                    <a:pt x="681" y="3950"/>
                  </a:lnTo>
                  <a:lnTo>
                    <a:pt x="693" y="3950"/>
                  </a:lnTo>
                  <a:lnTo>
                    <a:pt x="702" y="3966"/>
                  </a:lnTo>
                  <a:lnTo>
                    <a:pt x="688" y="3966"/>
                  </a:lnTo>
                  <a:lnTo>
                    <a:pt x="664" y="3950"/>
                  </a:lnTo>
                  <a:lnTo>
                    <a:pt x="664" y="3943"/>
                  </a:lnTo>
                  <a:lnTo>
                    <a:pt x="626" y="3910"/>
                  </a:lnTo>
                  <a:lnTo>
                    <a:pt x="638" y="3910"/>
                  </a:lnTo>
                  <a:lnTo>
                    <a:pt x="633" y="3905"/>
                  </a:lnTo>
                  <a:lnTo>
                    <a:pt x="626" y="3910"/>
                  </a:lnTo>
                  <a:lnTo>
                    <a:pt x="612" y="3888"/>
                  </a:lnTo>
                  <a:lnTo>
                    <a:pt x="617" y="3893"/>
                  </a:lnTo>
                  <a:lnTo>
                    <a:pt x="617" y="3893"/>
                  </a:lnTo>
                  <a:lnTo>
                    <a:pt x="617" y="3893"/>
                  </a:lnTo>
                  <a:close/>
                  <a:moveTo>
                    <a:pt x="4205" y="3860"/>
                  </a:moveTo>
                  <a:lnTo>
                    <a:pt x="4226" y="3893"/>
                  </a:lnTo>
                  <a:lnTo>
                    <a:pt x="4226" y="3910"/>
                  </a:lnTo>
                  <a:lnTo>
                    <a:pt x="4134" y="3877"/>
                  </a:lnTo>
                  <a:lnTo>
                    <a:pt x="4151" y="3860"/>
                  </a:lnTo>
                  <a:lnTo>
                    <a:pt x="4205" y="3860"/>
                  </a:lnTo>
                  <a:lnTo>
                    <a:pt x="4205" y="3860"/>
                  </a:lnTo>
                  <a:lnTo>
                    <a:pt x="4205" y="3860"/>
                  </a:lnTo>
                  <a:close/>
                  <a:moveTo>
                    <a:pt x="811" y="3860"/>
                  </a:moveTo>
                  <a:lnTo>
                    <a:pt x="827" y="3888"/>
                  </a:lnTo>
                  <a:lnTo>
                    <a:pt x="801" y="3872"/>
                  </a:lnTo>
                  <a:lnTo>
                    <a:pt x="811" y="3860"/>
                  </a:lnTo>
                  <a:lnTo>
                    <a:pt x="811" y="3860"/>
                  </a:lnTo>
                  <a:lnTo>
                    <a:pt x="811" y="3860"/>
                  </a:lnTo>
                  <a:close/>
                  <a:moveTo>
                    <a:pt x="4285" y="3872"/>
                  </a:moveTo>
                  <a:lnTo>
                    <a:pt x="4297" y="3872"/>
                  </a:lnTo>
                  <a:lnTo>
                    <a:pt x="4281" y="3877"/>
                  </a:lnTo>
                  <a:lnTo>
                    <a:pt x="4285" y="3872"/>
                  </a:lnTo>
                  <a:lnTo>
                    <a:pt x="4285" y="3872"/>
                  </a:lnTo>
                  <a:lnTo>
                    <a:pt x="4285" y="3872"/>
                  </a:lnTo>
                  <a:close/>
                  <a:moveTo>
                    <a:pt x="794" y="3872"/>
                  </a:moveTo>
                  <a:lnTo>
                    <a:pt x="801" y="3877"/>
                  </a:lnTo>
                  <a:lnTo>
                    <a:pt x="794" y="3872"/>
                  </a:lnTo>
                  <a:lnTo>
                    <a:pt x="794" y="3872"/>
                  </a:lnTo>
                  <a:lnTo>
                    <a:pt x="794" y="3872"/>
                  </a:lnTo>
                  <a:close/>
                  <a:moveTo>
                    <a:pt x="5977" y="3877"/>
                  </a:moveTo>
                  <a:lnTo>
                    <a:pt x="5970" y="3877"/>
                  </a:lnTo>
                  <a:lnTo>
                    <a:pt x="5977" y="3877"/>
                  </a:lnTo>
                  <a:lnTo>
                    <a:pt x="5977" y="3877"/>
                  </a:lnTo>
                  <a:lnTo>
                    <a:pt x="5977" y="3877"/>
                  </a:lnTo>
                  <a:close/>
                  <a:moveTo>
                    <a:pt x="801" y="3877"/>
                  </a:moveTo>
                  <a:lnTo>
                    <a:pt x="811" y="3877"/>
                  </a:lnTo>
                  <a:lnTo>
                    <a:pt x="794" y="3877"/>
                  </a:lnTo>
                  <a:lnTo>
                    <a:pt x="801" y="3877"/>
                  </a:lnTo>
                  <a:lnTo>
                    <a:pt x="801" y="3877"/>
                  </a:lnTo>
                  <a:lnTo>
                    <a:pt x="801" y="3877"/>
                  </a:lnTo>
                  <a:close/>
                  <a:moveTo>
                    <a:pt x="801" y="3888"/>
                  </a:moveTo>
                  <a:lnTo>
                    <a:pt x="794" y="3877"/>
                  </a:lnTo>
                  <a:lnTo>
                    <a:pt x="801" y="3888"/>
                  </a:lnTo>
                  <a:lnTo>
                    <a:pt x="801" y="3888"/>
                  </a:lnTo>
                  <a:lnTo>
                    <a:pt x="801" y="3888"/>
                  </a:lnTo>
                  <a:close/>
                  <a:moveTo>
                    <a:pt x="903" y="3905"/>
                  </a:moveTo>
                  <a:lnTo>
                    <a:pt x="898" y="3926"/>
                  </a:lnTo>
                  <a:lnTo>
                    <a:pt x="886" y="3905"/>
                  </a:lnTo>
                  <a:lnTo>
                    <a:pt x="903" y="3905"/>
                  </a:lnTo>
                  <a:lnTo>
                    <a:pt x="903" y="3905"/>
                  </a:lnTo>
                  <a:lnTo>
                    <a:pt x="903" y="3905"/>
                  </a:lnTo>
                  <a:close/>
                  <a:moveTo>
                    <a:pt x="827" y="3905"/>
                  </a:moveTo>
                  <a:lnTo>
                    <a:pt x="848" y="3917"/>
                  </a:lnTo>
                  <a:lnTo>
                    <a:pt x="848" y="3933"/>
                  </a:lnTo>
                  <a:lnTo>
                    <a:pt x="827" y="3910"/>
                  </a:lnTo>
                  <a:lnTo>
                    <a:pt x="827" y="3905"/>
                  </a:lnTo>
                  <a:lnTo>
                    <a:pt x="827" y="3905"/>
                  </a:lnTo>
                  <a:lnTo>
                    <a:pt x="827" y="3905"/>
                  </a:lnTo>
                  <a:close/>
                  <a:moveTo>
                    <a:pt x="886" y="3905"/>
                  </a:moveTo>
                  <a:lnTo>
                    <a:pt x="898" y="3933"/>
                  </a:lnTo>
                  <a:lnTo>
                    <a:pt x="882" y="3943"/>
                  </a:lnTo>
                  <a:lnTo>
                    <a:pt x="882" y="3910"/>
                  </a:lnTo>
                  <a:lnTo>
                    <a:pt x="886" y="3905"/>
                  </a:lnTo>
                  <a:lnTo>
                    <a:pt x="886" y="3905"/>
                  </a:lnTo>
                  <a:lnTo>
                    <a:pt x="886" y="3905"/>
                  </a:lnTo>
                  <a:close/>
                  <a:moveTo>
                    <a:pt x="671" y="3910"/>
                  </a:moveTo>
                  <a:lnTo>
                    <a:pt x="671" y="3917"/>
                  </a:lnTo>
                  <a:lnTo>
                    <a:pt x="664" y="3926"/>
                  </a:lnTo>
                  <a:lnTo>
                    <a:pt x="655" y="3910"/>
                  </a:lnTo>
                  <a:lnTo>
                    <a:pt x="671" y="3910"/>
                  </a:lnTo>
                  <a:lnTo>
                    <a:pt x="671" y="3910"/>
                  </a:lnTo>
                  <a:lnTo>
                    <a:pt x="671" y="3910"/>
                  </a:lnTo>
                  <a:close/>
                  <a:moveTo>
                    <a:pt x="870" y="3917"/>
                  </a:moveTo>
                  <a:lnTo>
                    <a:pt x="882" y="3943"/>
                  </a:lnTo>
                  <a:lnTo>
                    <a:pt x="853" y="3926"/>
                  </a:lnTo>
                  <a:lnTo>
                    <a:pt x="870" y="3917"/>
                  </a:lnTo>
                  <a:lnTo>
                    <a:pt x="870" y="3917"/>
                  </a:lnTo>
                  <a:lnTo>
                    <a:pt x="870" y="3917"/>
                  </a:lnTo>
                  <a:close/>
                  <a:moveTo>
                    <a:pt x="870" y="3933"/>
                  </a:moveTo>
                  <a:lnTo>
                    <a:pt x="865" y="3959"/>
                  </a:lnTo>
                  <a:lnTo>
                    <a:pt x="853" y="3933"/>
                  </a:lnTo>
                  <a:lnTo>
                    <a:pt x="870" y="3933"/>
                  </a:lnTo>
                  <a:lnTo>
                    <a:pt x="870" y="3933"/>
                  </a:lnTo>
                  <a:lnTo>
                    <a:pt x="870" y="3933"/>
                  </a:lnTo>
                  <a:close/>
                  <a:moveTo>
                    <a:pt x="941" y="3966"/>
                  </a:moveTo>
                  <a:lnTo>
                    <a:pt x="936" y="3983"/>
                  </a:lnTo>
                  <a:lnTo>
                    <a:pt x="919" y="3983"/>
                  </a:lnTo>
                  <a:lnTo>
                    <a:pt x="924" y="3959"/>
                  </a:lnTo>
                  <a:lnTo>
                    <a:pt x="962" y="3943"/>
                  </a:lnTo>
                  <a:lnTo>
                    <a:pt x="962" y="3950"/>
                  </a:lnTo>
                  <a:lnTo>
                    <a:pt x="941" y="3966"/>
                  </a:lnTo>
                  <a:lnTo>
                    <a:pt x="941" y="3966"/>
                  </a:lnTo>
                  <a:lnTo>
                    <a:pt x="941" y="3966"/>
                  </a:lnTo>
                  <a:close/>
                  <a:moveTo>
                    <a:pt x="903" y="3943"/>
                  </a:moveTo>
                  <a:lnTo>
                    <a:pt x="908" y="3950"/>
                  </a:lnTo>
                  <a:lnTo>
                    <a:pt x="898" y="3950"/>
                  </a:lnTo>
                  <a:lnTo>
                    <a:pt x="903" y="3943"/>
                  </a:lnTo>
                  <a:lnTo>
                    <a:pt x="903" y="3943"/>
                  </a:lnTo>
                  <a:lnTo>
                    <a:pt x="903" y="3943"/>
                  </a:lnTo>
                  <a:close/>
                  <a:moveTo>
                    <a:pt x="919" y="3950"/>
                  </a:moveTo>
                  <a:lnTo>
                    <a:pt x="919" y="3966"/>
                  </a:lnTo>
                  <a:lnTo>
                    <a:pt x="903" y="3959"/>
                  </a:lnTo>
                  <a:lnTo>
                    <a:pt x="919" y="3950"/>
                  </a:lnTo>
                  <a:lnTo>
                    <a:pt x="919" y="3950"/>
                  </a:lnTo>
                  <a:lnTo>
                    <a:pt x="919" y="3950"/>
                  </a:lnTo>
                  <a:close/>
                  <a:moveTo>
                    <a:pt x="898" y="3966"/>
                  </a:moveTo>
                  <a:lnTo>
                    <a:pt x="886" y="3959"/>
                  </a:lnTo>
                  <a:lnTo>
                    <a:pt x="898" y="3959"/>
                  </a:lnTo>
                  <a:lnTo>
                    <a:pt x="898" y="3966"/>
                  </a:lnTo>
                  <a:lnTo>
                    <a:pt x="898" y="3966"/>
                  </a:lnTo>
                  <a:lnTo>
                    <a:pt x="898" y="3966"/>
                  </a:lnTo>
                  <a:close/>
                  <a:moveTo>
                    <a:pt x="886" y="3959"/>
                  </a:moveTo>
                  <a:lnTo>
                    <a:pt x="882" y="3966"/>
                  </a:lnTo>
                  <a:lnTo>
                    <a:pt x="886" y="3959"/>
                  </a:lnTo>
                  <a:lnTo>
                    <a:pt x="886" y="3959"/>
                  </a:lnTo>
                  <a:lnTo>
                    <a:pt x="886" y="3959"/>
                  </a:lnTo>
                  <a:close/>
                  <a:moveTo>
                    <a:pt x="903" y="3966"/>
                  </a:moveTo>
                  <a:lnTo>
                    <a:pt x="898" y="3983"/>
                  </a:lnTo>
                  <a:lnTo>
                    <a:pt x="898" y="3966"/>
                  </a:lnTo>
                  <a:lnTo>
                    <a:pt x="903" y="3966"/>
                  </a:lnTo>
                  <a:lnTo>
                    <a:pt x="903" y="3966"/>
                  </a:lnTo>
                  <a:lnTo>
                    <a:pt x="903" y="3966"/>
                  </a:lnTo>
                  <a:close/>
                  <a:moveTo>
                    <a:pt x="908" y="3966"/>
                  </a:moveTo>
                  <a:lnTo>
                    <a:pt x="919" y="3966"/>
                  </a:lnTo>
                  <a:lnTo>
                    <a:pt x="919" y="3971"/>
                  </a:lnTo>
                  <a:lnTo>
                    <a:pt x="903" y="3971"/>
                  </a:lnTo>
                  <a:lnTo>
                    <a:pt x="908" y="3966"/>
                  </a:lnTo>
                  <a:lnTo>
                    <a:pt x="908" y="3966"/>
                  </a:lnTo>
                  <a:lnTo>
                    <a:pt x="908" y="3966"/>
                  </a:lnTo>
                  <a:close/>
                  <a:moveTo>
                    <a:pt x="693" y="3966"/>
                  </a:moveTo>
                  <a:lnTo>
                    <a:pt x="702" y="3971"/>
                  </a:lnTo>
                  <a:lnTo>
                    <a:pt x="702" y="3988"/>
                  </a:lnTo>
                  <a:lnTo>
                    <a:pt x="693" y="3971"/>
                  </a:lnTo>
                  <a:lnTo>
                    <a:pt x="693" y="3966"/>
                  </a:lnTo>
                  <a:lnTo>
                    <a:pt x="693" y="3966"/>
                  </a:lnTo>
                  <a:lnTo>
                    <a:pt x="693" y="3966"/>
                  </a:lnTo>
                  <a:close/>
                  <a:moveTo>
                    <a:pt x="4323" y="3971"/>
                  </a:moveTo>
                  <a:lnTo>
                    <a:pt x="4318" y="3988"/>
                  </a:lnTo>
                  <a:lnTo>
                    <a:pt x="4302" y="3988"/>
                  </a:lnTo>
                  <a:lnTo>
                    <a:pt x="4302" y="3983"/>
                  </a:lnTo>
                  <a:lnTo>
                    <a:pt x="4323" y="3971"/>
                  </a:lnTo>
                  <a:lnTo>
                    <a:pt x="4323" y="3971"/>
                  </a:lnTo>
                  <a:lnTo>
                    <a:pt x="4323" y="3971"/>
                  </a:lnTo>
                  <a:close/>
                  <a:moveTo>
                    <a:pt x="919" y="3971"/>
                  </a:moveTo>
                  <a:lnTo>
                    <a:pt x="908" y="4004"/>
                  </a:lnTo>
                  <a:lnTo>
                    <a:pt x="903" y="4004"/>
                  </a:lnTo>
                  <a:lnTo>
                    <a:pt x="898" y="4000"/>
                  </a:lnTo>
                  <a:lnTo>
                    <a:pt x="903" y="3971"/>
                  </a:lnTo>
                  <a:lnTo>
                    <a:pt x="919" y="3971"/>
                  </a:lnTo>
                  <a:lnTo>
                    <a:pt x="919" y="3971"/>
                  </a:lnTo>
                  <a:lnTo>
                    <a:pt x="919" y="3971"/>
                  </a:lnTo>
                  <a:close/>
                  <a:moveTo>
                    <a:pt x="908" y="4004"/>
                  </a:moveTo>
                  <a:lnTo>
                    <a:pt x="919" y="4037"/>
                  </a:lnTo>
                  <a:lnTo>
                    <a:pt x="903" y="4021"/>
                  </a:lnTo>
                  <a:lnTo>
                    <a:pt x="908" y="4004"/>
                  </a:lnTo>
                  <a:lnTo>
                    <a:pt x="908" y="4004"/>
                  </a:lnTo>
                  <a:lnTo>
                    <a:pt x="908" y="4004"/>
                  </a:lnTo>
                  <a:close/>
                  <a:moveTo>
                    <a:pt x="6116" y="4316"/>
                  </a:moveTo>
                  <a:lnTo>
                    <a:pt x="6133" y="4304"/>
                  </a:lnTo>
                  <a:lnTo>
                    <a:pt x="6133" y="4316"/>
                  </a:lnTo>
                  <a:lnTo>
                    <a:pt x="6137" y="4297"/>
                  </a:lnTo>
                  <a:lnTo>
                    <a:pt x="6154" y="4304"/>
                  </a:lnTo>
                  <a:lnTo>
                    <a:pt x="6170" y="4292"/>
                  </a:lnTo>
                  <a:lnTo>
                    <a:pt x="6170" y="4297"/>
                  </a:lnTo>
                  <a:lnTo>
                    <a:pt x="6154" y="4321"/>
                  </a:lnTo>
                  <a:lnTo>
                    <a:pt x="6149" y="4321"/>
                  </a:lnTo>
                  <a:lnTo>
                    <a:pt x="6121" y="4337"/>
                  </a:lnTo>
                  <a:lnTo>
                    <a:pt x="6111" y="4337"/>
                  </a:lnTo>
                  <a:lnTo>
                    <a:pt x="6111" y="4349"/>
                  </a:lnTo>
                  <a:lnTo>
                    <a:pt x="6121" y="4354"/>
                  </a:lnTo>
                  <a:lnTo>
                    <a:pt x="6111" y="4354"/>
                  </a:lnTo>
                  <a:lnTo>
                    <a:pt x="6133" y="4354"/>
                  </a:lnTo>
                  <a:lnTo>
                    <a:pt x="6111" y="4375"/>
                  </a:lnTo>
                  <a:lnTo>
                    <a:pt x="6116" y="4392"/>
                  </a:lnTo>
                  <a:lnTo>
                    <a:pt x="6133" y="4403"/>
                  </a:lnTo>
                  <a:lnTo>
                    <a:pt x="6137" y="4375"/>
                  </a:lnTo>
                  <a:lnTo>
                    <a:pt x="6154" y="4354"/>
                  </a:lnTo>
                  <a:lnTo>
                    <a:pt x="6170" y="4354"/>
                  </a:lnTo>
                  <a:lnTo>
                    <a:pt x="6175" y="4337"/>
                  </a:lnTo>
                  <a:lnTo>
                    <a:pt x="6187" y="4349"/>
                  </a:lnTo>
                  <a:lnTo>
                    <a:pt x="6175" y="4354"/>
                  </a:lnTo>
                  <a:lnTo>
                    <a:pt x="6154" y="4392"/>
                  </a:lnTo>
                  <a:lnTo>
                    <a:pt x="6163" y="4408"/>
                  </a:lnTo>
                  <a:lnTo>
                    <a:pt x="6175" y="4392"/>
                  </a:lnTo>
                  <a:lnTo>
                    <a:pt x="6187" y="4375"/>
                  </a:lnTo>
                  <a:lnTo>
                    <a:pt x="6201" y="4403"/>
                  </a:lnTo>
                  <a:lnTo>
                    <a:pt x="6187" y="4415"/>
                  </a:lnTo>
                  <a:lnTo>
                    <a:pt x="6175" y="4465"/>
                  </a:lnTo>
                  <a:lnTo>
                    <a:pt x="6163" y="4481"/>
                  </a:lnTo>
                  <a:lnTo>
                    <a:pt x="6149" y="4470"/>
                  </a:lnTo>
                  <a:lnTo>
                    <a:pt x="6133" y="4481"/>
                  </a:lnTo>
                  <a:lnTo>
                    <a:pt x="6133" y="4432"/>
                  </a:lnTo>
                  <a:lnTo>
                    <a:pt x="6100" y="4465"/>
                  </a:lnTo>
                  <a:lnTo>
                    <a:pt x="6083" y="4465"/>
                  </a:lnTo>
                  <a:lnTo>
                    <a:pt x="6095" y="4448"/>
                  </a:lnTo>
                  <a:lnTo>
                    <a:pt x="6111" y="4408"/>
                  </a:lnTo>
                  <a:lnTo>
                    <a:pt x="6100" y="4375"/>
                  </a:lnTo>
                  <a:lnTo>
                    <a:pt x="6083" y="4370"/>
                  </a:lnTo>
                  <a:lnTo>
                    <a:pt x="6066" y="4408"/>
                  </a:lnTo>
                  <a:lnTo>
                    <a:pt x="6057" y="4415"/>
                  </a:lnTo>
                  <a:lnTo>
                    <a:pt x="6066" y="4392"/>
                  </a:lnTo>
                  <a:lnTo>
                    <a:pt x="6057" y="4408"/>
                  </a:lnTo>
                  <a:lnTo>
                    <a:pt x="6041" y="4408"/>
                  </a:lnTo>
                  <a:lnTo>
                    <a:pt x="6015" y="4460"/>
                  </a:lnTo>
                  <a:lnTo>
                    <a:pt x="5986" y="4465"/>
                  </a:lnTo>
                  <a:lnTo>
                    <a:pt x="5960" y="4448"/>
                  </a:lnTo>
                  <a:lnTo>
                    <a:pt x="5970" y="4441"/>
                  </a:lnTo>
                  <a:lnTo>
                    <a:pt x="6003" y="4432"/>
                  </a:lnTo>
                  <a:lnTo>
                    <a:pt x="6015" y="4408"/>
                  </a:lnTo>
                  <a:lnTo>
                    <a:pt x="6041" y="4392"/>
                  </a:lnTo>
                  <a:lnTo>
                    <a:pt x="6029" y="4392"/>
                  </a:lnTo>
                  <a:lnTo>
                    <a:pt x="6041" y="4375"/>
                  </a:lnTo>
                  <a:lnTo>
                    <a:pt x="6024" y="4392"/>
                  </a:lnTo>
                  <a:lnTo>
                    <a:pt x="6003" y="4387"/>
                  </a:lnTo>
                  <a:lnTo>
                    <a:pt x="6003" y="4403"/>
                  </a:lnTo>
                  <a:lnTo>
                    <a:pt x="5991" y="4408"/>
                  </a:lnTo>
                  <a:lnTo>
                    <a:pt x="5986" y="4403"/>
                  </a:lnTo>
                  <a:lnTo>
                    <a:pt x="5970" y="4408"/>
                  </a:lnTo>
                  <a:lnTo>
                    <a:pt x="5977" y="4392"/>
                  </a:lnTo>
                  <a:lnTo>
                    <a:pt x="5948" y="4403"/>
                  </a:lnTo>
                  <a:lnTo>
                    <a:pt x="5986" y="4387"/>
                  </a:lnTo>
                  <a:lnTo>
                    <a:pt x="5970" y="4387"/>
                  </a:lnTo>
                  <a:lnTo>
                    <a:pt x="5977" y="4359"/>
                  </a:lnTo>
                  <a:lnTo>
                    <a:pt x="5970" y="4375"/>
                  </a:lnTo>
                  <a:lnTo>
                    <a:pt x="5953" y="4387"/>
                  </a:lnTo>
                  <a:lnTo>
                    <a:pt x="5953" y="4375"/>
                  </a:lnTo>
                  <a:lnTo>
                    <a:pt x="5948" y="4392"/>
                  </a:lnTo>
                  <a:lnTo>
                    <a:pt x="5901" y="4403"/>
                  </a:lnTo>
                  <a:lnTo>
                    <a:pt x="5814" y="4387"/>
                  </a:lnTo>
                  <a:lnTo>
                    <a:pt x="5738" y="4392"/>
                  </a:lnTo>
                  <a:lnTo>
                    <a:pt x="5733" y="4392"/>
                  </a:lnTo>
                  <a:lnTo>
                    <a:pt x="5722" y="4370"/>
                  </a:lnTo>
                  <a:lnTo>
                    <a:pt x="5792" y="4316"/>
                  </a:lnTo>
                  <a:lnTo>
                    <a:pt x="5776" y="4304"/>
                  </a:lnTo>
                  <a:lnTo>
                    <a:pt x="5733" y="4316"/>
                  </a:lnTo>
                  <a:lnTo>
                    <a:pt x="5771" y="4281"/>
                  </a:lnTo>
                  <a:lnTo>
                    <a:pt x="5755" y="4297"/>
                  </a:lnTo>
                  <a:lnTo>
                    <a:pt x="5771" y="4304"/>
                  </a:lnTo>
                  <a:lnTo>
                    <a:pt x="5792" y="4248"/>
                  </a:lnTo>
                  <a:lnTo>
                    <a:pt x="5792" y="4259"/>
                  </a:lnTo>
                  <a:lnTo>
                    <a:pt x="5830" y="4264"/>
                  </a:lnTo>
                  <a:lnTo>
                    <a:pt x="5814" y="4264"/>
                  </a:lnTo>
                  <a:lnTo>
                    <a:pt x="5809" y="4248"/>
                  </a:lnTo>
                  <a:lnTo>
                    <a:pt x="5826" y="4248"/>
                  </a:lnTo>
                  <a:lnTo>
                    <a:pt x="5830" y="4248"/>
                  </a:lnTo>
                  <a:lnTo>
                    <a:pt x="5814" y="4248"/>
                  </a:lnTo>
                  <a:lnTo>
                    <a:pt x="5826" y="4243"/>
                  </a:lnTo>
                  <a:lnTo>
                    <a:pt x="5809" y="4243"/>
                  </a:lnTo>
                  <a:lnTo>
                    <a:pt x="5809" y="4226"/>
                  </a:lnTo>
                  <a:lnTo>
                    <a:pt x="5826" y="4210"/>
                  </a:lnTo>
                  <a:lnTo>
                    <a:pt x="5840" y="4222"/>
                  </a:lnTo>
                  <a:lnTo>
                    <a:pt x="5830" y="4210"/>
                  </a:lnTo>
                  <a:lnTo>
                    <a:pt x="5826" y="4205"/>
                  </a:lnTo>
                  <a:lnTo>
                    <a:pt x="5863" y="4115"/>
                  </a:lnTo>
                  <a:lnTo>
                    <a:pt x="5878" y="4111"/>
                  </a:lnTo>
                  <a:lnTo>
                    <a:pt x="5863" y="4111"/>
                  </a:lnTo>
                  <a:lnTo>
                    <a:pt x="5894" y="4082"/>
                  </a:lnTo>
                  <a:lnTo>
                    <a:pt x="5901" y="4077"/>
                  </a:lnTo>
                  <a:lnTo>
                    <a:pt x="5894" y="4070"/>
                  </a:lnTo>
                  <a:lnTo>
                    <a:pt x="5906" y="4061"/>
                  </a:lnTo>
                  <a:lnTo>
                    <a:pt x="5906" y="4054"/>
                  </a:lnTo>
                  <a:lnTo>
                    <a:pt x="5915" y="4044"/>
                  </a:lnTo>
                  <a:lnTo>
                    <a:pt x="5970" y="4016"/>
                  </a:lnTo>
                  <a:lnTo>
                    <a:pt x="5970" y="4025"/>
                  </a:lnTo>
                  <a:lnTo>
                    <a:pt x="5986" y="4025"/>
                  </a:lnTo>
                  <a:lnTo>
                    <a:pt x="5977" y="4021"/>
                  </a:lnTo>
                  <a:lnTo>
                    <a:pt x="6003" y="4021"/>
                  </a:lnTo>
                  <a:lnTo>
                    <a:pt x="5991" y="4044"/>
                  </a:lnTo>
                  <a:lnTo>
                    <a:pt x="5953" y="4044"/>
                  </a:lnTo>
                  <a:lnTo>
                    <a:pt x="5960" y="4061"/>
                  </a:lnTo>
                  <a:lnTo>
                    <a:pt x="5977" y="4054"/>
                  </a:lnTo>
                  <a:lnTo>
                    <a:pt x="5977" y="4070"/>
                  </a:lnTo>
                  <a:lnTo>
                    <a:pt x="5953" y="4099"/>
                  </a:lnTo>
                  <a:lnTo>
                    <a:pt x="5953" y="4082"/>
                  </a:lnTo>
                  <a:lnTo>
                    <a:pt x="5948" y="4115"/>
                  </a:lnTo>
                  <a:lnTo>
                    <a:pt x="5906" y="4170"/>
                  </a:lnTo>
                  <a:lnTo>
                    <a:pt x="5906" y="4188"/>
                  </a:lnTo>
                  <a:lnTo>
                    <a:pt x="5901" y="4193"/>
                  </a:lnTo>
                  <a:lnTo>
                    <a:pt x="5906" y="4193"/>
                  </a:lnTo>
                  <a:lnTo>
                    <a:pt x="5901" y="4210"/>
                  </a:lnTo>
                  <a:lnTo>
                    <a:pt x="5953" y="4153"/>
                  </a:lnTo>
                  <a:lnTo>
                    <a:pt x="5977" y="4181"/>
                  </a:lnTo>
                  <a:lnTo>
                    <a:pt x="6003" y="4170"/>
                  </a:lnTo>
                  <a:lnTo>
                    <a:pt x="6003" y="4181"/>
                  </a:lnTo>
                  <a:lnTo>
                    <a:pt x="5953" y="4205"/>
                  </a:lnTo>
                  <a:lnTo>
                    <a:pt x="5970" y="4205"/>
                  </a:lnTo>
                  <a:lnTo>
                    <a:pt x="5953" y="4226"/>
                  </a:lnTo>
                  <a:lnTo>
                    <a:pt x="5970" y="4222"/>
                  </a:lnTo>
                  <a:lnTo>
                    <a:pt x="5986" y="4226"/>
                  </a:lnTo>
                  <a:lnTo>
                    <a:pt x="5991" y="4222"/>
                  </a:lnTo>
                  <a:lnTo>
                    <a:pt x="5991" y="4226"/>
                  </a:lnTo>
                  <a:lnTo>
                    <a:pt x="6007" y="4222"/>
                  </a:lnTo>
                  <a:lnTo>
                    <a:pt x="6007" y="4238"/>
                  </a:lnTo>
                  <a:lnTo>
                    <a:pt x="6007" y="4210"/>
                  </a:lnTo>
                  <a:lnTo>
                    <a:pt x="6024" y="4210"/>
                  </a:lnTo>
                  <a:lnTo>
                    <a:pt x="6007" y="4259"/>
                  </a:lnTo>
                  <a:lnTo>
                    <a:pt x="6024" y="4226"/>
                  </a:lnTo>
                  <a:lnTo>
                    <a:pt x="6045" y="4243"/>
                  </a:lnTo>
                  <a:lnTo>
                    <a:pt x="6062" y="4210"/>
                  </a:lnTo>
                  <a:lnTo>
                    <a:pt x="6066" y="4222"/>
                  </a:lnTo>
                  <a:lnTo>
                    <a:pt x="6066" y="4243"/>
                  </a:lnTo>
                  <a:lnTo>
                    <a:pt x="6078" y="4226"/>
                  </a:lnTo>
                  <a:lnTo>
                    <a:pt x="6083" y="4226"/>
                  </a:lnTo>
                  <a:lnTo>
                    <a:pt x="6100" y="4222"/>
                  </a:lnTo>
                  <a:lnTo>
                    <a:pt x="6116" y="4226"/>
                  </a:lnTo>
                  <a:lnTo>
                    <a:pt x="6137" y="4243"/>
                  </a:lnTo>
                  <a:lnTo>
                    <a:pt x="6133" y="4259"/>
                  </a:lnTo>
                  <a:lnTo>
                    <a:pt x="6116" y="4259"/>
                  </a:lnTo>
                  <a:lnTo>
                    <a:pt x="6121" y="4264"/>
                  </a:lnTo>
                  <a:lnTo>
                    <a:pt x="6095" y="4281"/>
                  </a:lnTo>
                  <a:lnTo>
                    <a:pt x="6116" y="4281"/>
                  </a:lnTo>
                  <a:lnTo>
                    <a:pt x="6111" y="4297"/>
                  </a:lnTo>
                  <a:lnTo>
                    <a:pt x="6116" y="4292"/>
                  </a:lnTo>
                  <a:lnTo>
                    <a:pt x="6111" y="4297"/>
                  </a:lnTo>
                  <a:lnTo>
                    <a:pt x="6111" y="4292"/>
                  </a:lnTo>
                  <a:lnTo>
                    <a:pt x="6133" y="4292"/>
                  </a:lnTo>
                  <a:lnTo>
                    <a:pt x="6100" y="4304"/>
                  </a:lnTo>
                  <a:lnTo>
                    <a:pt x="6116" y="4304"/>
                  </a:lnTo>
                  <a:lnTo>
                    <a:pt x="6116" y="4316"/>
                  </a:lnTo>
                  <a:lnTo>
                    <a:pt x="6116" y="4316"/>
                  </a:lnTo>
                  <a:lnTo>
                    <a:pt x="6116" y="4316"/>
                  </a:lnTo>
                  <a:close/>
                  <a:moveTo>
                    <a:pt x="6100" y="4316"/>
                  </a:moveTo>
                  <a:lnTo>
                    <a:pt x="6095" y="4321"/>
                  </a:lnTo>
                  <a:lnTo>
                    <a:pt x="6116" y="4316"/>
                  </a:lnTo>
                  <a:lnTo>
                    <a:pt x="6100" y="4316"/>
                  </a:lnTo>
                  <a:lnTo>
                    <a:pt x="6100" y="4316"/>
                  </a:lnTo>
                  <a:lnTo>
                    <a:pt x="6100" y="4316"/>
                  </a:lnTo>
                  <a:close/>
                  <a:moveTo>
                    <a:pt x="5991" y="4077"/>
                  </a:moveTo>
                  <a:lnTo>
                    <a:pt x="5991" y="4082"/>
                  </a:lnTo>
                  <a:lnTo>
                    <a:pt x="5986" y="4082"/>
                  </a:lnTo>
                  <a:lnTo>
                    <a:pt x="5991" y="4077"/>
                  </a:lnTo>
                  <a:lnTo>
                    <a:pt x="5991" y="4077"/>
                  </a:lnTo>
                  <a:lnTo>
                    <a:pt x="5991" y="4077"/>
                  </a:lnTo>
                  <a:close/>
                  <a:moveTo>
                    <a:pt x="936" y="4082"/>
                  </a:moveTo>
                  <a:lnTo>
                    <a:pt x="936" y="4094"/>
                  </a:lnTo>
                  <a:lnTo>
                    <a:pt x="924" y="4082"/>
                  </a:lnTo>
                  <a:lnTo>
                    <a:pt x="936" y="4082"/>
                  </a:lnTo>
                  <a:lnTo>
                    <a:pt x="936" y="4082"/>
                  </a:lnTo>
                  <a:lnTo>
                    <a:pt x="936" y="4082"/>
                  </a:lnTo>
                  <a:close/>
                  <a:moveTo>
                    <a:pt x="1096" y="4137"/>
                  </a:moveTo>
                  <a:lnTo>
                    <a:pt x="1113" y="4181"/>
                  </a:lnTo>
                  <a:lnTo>
                    <a:pt x="1134" y="4193"/>
                  </a:lnTo>
                  <a:lnTo>
                    <a:pt x="1125" y="4205"/>
                  </a:lnTo>
                  <a:lnTo>
                    <a:pt x="1139" y="4222"/>
                  </a:lnTo>
                  <a:lnTo>
                    <a:pt x="1193" y="4243"/>
                  </a:lnTo>
                  <a:lnTo>
                    <a:pt x="1222" y="4281"/>
                  </a:lnTo>
                  <a:lnTo>
                    <a:pt x="1226" y="4297"/>
                  </a:lnTo>
                  <a:lnTo>
                    <a:pt x="1231" y="4292"/>
                  </a:lnTo>
                  <a:lnTo>
                    <a:pt x="1243" y="4321"/>
                  </a:lnTo>
                  <a:lnTo>
                    <a:pt x="1231" y="4316"/>
                  </a:lnTo>
                  <a:lnTo>
                    <a:pt x="1222" y="4333"/>
                  </a:lnTo>
                  <a:lnTo>
                    <a:pt x="1118" y="4292"/>
                  </a:lnTo>
                  <a:lnTo>
                    <a:pt x="1113" y="4281"/>
                  </a:lnTo>
                  <a:lnTo>
                    <a:pt x="1134" y="4259"/>
                  </a:lnTo>
                  <a:lnTo>
                    <a:pt x="1134" y="4243"/>
                  </a:lnTo>
                  <a:lnTo>
                    <a:pt x="1125" y="4264"/>
                  </a:lnTo>
                  <a:lnTo>
                    <a:pt x="1087" y="4276"/>
                  </a:lnTo>
                  <a:lnTo>
                    <a:pt x="1070" y="4259"/>
                  </a:lnTo>
                  <a:lnTo>
                    <a:pt x="1080" y="4243"/>
                  </a:lnTo>
                  <a:lnTo>
                    <a:pt x="1070" y="4248"/>
                  </a:lnTo>
                  <a:lnTo>
                    <a:pt x="1063" y="4238"/>
                  </a:lnTo>
                  <a:lnTo>
                    <a:pt x="1049" y="4243"/>
                  </a:lnTo>
                  <a:lnTo>
                    <a:pt x="1059" y="4226"/>
                  </a:lnTo>
                  <a:lnTo>
                    <a:pt x="1059" y="4238"/>
                  </a:lnTo>
                  <a:lnTo>
                    <a:pt x="1042" y="4226"/>
                  </a:lnTo>
                  <a:lnTo>
                    <a:pt x="1016" y="4226"/>
                  </a:lnTo>
                  <a:lnTo>
                    <a:pt x="1011" y="4210"/>
                  </a:lnTo>
                  <a:lnTo>
                    <a:pt x="1049" y="4205"/>
                  </a:lnTo>
                  <a:lnTo>
                    <a:pt x="1011" y="4193"/>
                  </a:lnTo>
                  <a:lnTo>
                    <a:pt x="1004" y="4181"/>
                  </a:lnTo>
                  <a:lnTo>
                    <a:pt x="995" y="4181"/>
                  </a:lnTo>
                  <a:lnTo>
                    <a:pt x="974" y="4188"/>
                  </a:lnTo>
                  <a:lnTo>
                    <a:pt x="962" y="4170"/>
                  </a:lnTo>
                  <a:lnTo>
                    <a:pt x="974" y="4165"/>
                  </a:lnTo>
                  <a:lnTo>
                    <a:pt x="957" y="4170"/>
                  </a:lnTo>
                  <a:lnTo>
                    <a:pt x="941" y="4153"/>
                  </a:lnTo>
                  <a:lnTo>
                    <a:pt x="919" y="4165"/>
                  </a:lnTo>
                  <a:lnTo>
                    <a:pt x="924" y="4148"/>
                  </a:lnTo>
                  <a:lnTo>
                    <a:pt x="924" y="4137"/>
                  </a:lnTo>
                  <a:lnTo>
                    <a:pt x="919" y="4137"/>
                  </a:lnTo>
                  <a:lnTo>
                    <a:pt x="919" y="4127"/>
                  </a:lnTo>
                  <a:lnTo>
                    <a:pt x="941" y="4127"/>
                  </a:lnTo>
                  <a:lnTo>
                    <a:pt x="952" y="4132"/>
                  </a:lnTo>
                  <a:lnTo>
                    <a:pt x="941" y="4127"/>
                  </a:lnTo>
                  <a:lnTo>
                    <a:pt x="957" y="4115"/>
                  </a:lnTo>
                  <a:lnTo>
                    <a:pt x="919" y="4111"/>
                  </a:lnTo>
                  <a:lnTo>
                    <a:pt x="941" y="4115"/>
                  </a:lnTo>
                  <a:lnTo>
                    <a:pt x="908" y="4132"/>
                  </a:lnTo>
                  <a:lnTo>
                    <a:pt x="886" y="4115"/>
                  </a:lnTo>
                  <a:lnTo>
                    <a:pt x="886" y="4099"/>
                  </a:lnTo>
                  <a:lnTo>
                    <a:pt x="919" y="4094"/>
                  </a:lnTo>
                  <a:lnTo>
                    <a:pt x="962" y="4111"/>
                  </a:lnTo>
                  <a:lnTo>
                    <a:pt x="1096" y="4137"/>
                  </a:lnTo>
                  <a:lnTo>
                    <a:pt x="1096" y="4137"/>
                  </a:lnTo>
                  <a:lnTo>
                    <a:pt x="1096" y="4137"/>
                  </a:lnTo>
                  <a:close/>
                  <a:moveTo>
                    <a:pt x="995" y="4099"/>
                  </a:moveTo>
                  <a:lnTo>
                    <a:pt x="990" y="4094"/>
                  </a:lnTo>
                  <a:lnTo>
                    <a:pt x="1011" y="4094"/>
                  </a:lnTo>
                  <a:lnTo>
                    <a:pt x="995" y="4099"/>
                  </a:lnTo>
                  <a:lnTo>
                    <a:pt x="995" y="4099"/>
                  </a:lnTo>
                  <a:lnTo>
                    <a:pt x="995" y="4099"/>
                  </a:lnTo>
                  <a:close/>
                  <a:moveTo>
                    <a:pt x="1033" y="4094"/>
                  </a:moveTo>
                  <a:lnTo>
                    <a:pt x="1042" y="4099"/>
                  </a:lnTo>
                  <a:lnTo>
                    <a:pt x="1033" y="4111"/>
                  </a:lnTo>
                  <a:lnTo>
                    <a:pt x="1011" y="4111"/>
                  </a:lnTo>
                  <a:lnTo>
                    <a:pt x="1033" y="4094"/>
                  </a:lnTo>
                  <a:lnTo>
                    <a:pt x="1033" y="4094"/>
                  </a:lnTo>
                  <a:lnTo>
                    <a:pt x="1033" y="4094"/>
                  </a:lnTo>
                  <a:close/>
                  <a:moveTo>
                    <a:pt x="1004" y="4099"/>
                  </a:moveTo>
                  <a:lnTo>
                    <a:pt x="1016" y="4099"/>
                  </a:lnTo>
                  <a:lnTo>
                    <a:pt x="1011" y="4111"/>
                  </a:lnTo>
                  <a:lnTo>
                    <a:pt x="1004" y="4099"/>
                  </a:lnTo>
                  <a:lnTo>
                    <a:pt x="1004" y="4099"/>
                  </a:lnTo>
                  <a:lnTo>
                    <a:pt x="1004" y="4099"/>
                  </a:lnTo>
                  <a:close/>
                  <a:moveTo>
                    <a:pt x="990" y="4115"/>
                  </a:moveTo>
                  <a:lnTo>
                    <a:pt x="974" y="4111"/>
                  </a:lnTo>
                  <a:lnTo>
                    <a:pt x="995" y="4111"/>
                  </a:lnTo>
                  <a:lnTo>
                    <a:pt x="990" y="4115"/>
                  </a:lnTo>
                  <a:lnTo>
                    <a:pt x="990" y="4115"/>
                  </a:lnTo>
                  <a:lnTo>
                    <a:pt x="990" y="4115"/>
                  </a:lnTo>
                  <a:close/>
                  <a:moveTo>
                    <a:pt x="1016" y="4111"/>
                  </a:moveTo>
                  <a:lnTo>
                    <a:pt x="1026" y="4115"/>
                  </a:lnTo>
                  <a:lnTo>
                    <a:pt x="1011" y="4115"/>
                  </a:lnTo>
                  <a:lnTo>
                    <a:pt x="1016" y="4111"/>
                  </a:lnTo>
                  <a:lnTo>
                    <a:pt x="1016" y="4111"/>
                  </a:lnTo>
                  <a:lnTo>
                    <a:pt x="1016" y="4111"/>
                  </a:lnTo>
                  <a:close/>
                  <a:moveTo>
                    <a:pt x="1033" y="4115"/>
                  </a:moveTo>
                  <a:lnTo>
                    <a:pt x="1011" y="4127"/>
                  </a:lnTo>
                  <a:lnTo>
                    <a:pt x="1033" y="4115"/>
                  </a:lnTo>
                  <a:lnTo>
                    <a:pt x="1033" y="4115"/>
                  </a:lnTo>
                  <a:lnTo>
                    <a:pt x="1033" y="4115"/>
                  </a:lnTo>
                  <a:close/>
                  <a:moveTo>
                    <a:pt x="1063" y="4127"/>
                  </a:moveTo>
                  <a:lnTo>
                    <a:pt x="1070" y="4132"/>
                  </a:lnTo>
                  <a:lnTo>
                    <a:pt x="1059" y="4132"/>
                  </a:lnTo>
                  <a:lnTo>
                    <a:pt x="1063" y="4127"/>
                  </a:lnTo>
                  <a:lnTo>
                    <a:pt x="1063" y="4127"/>
                  </a:lnTo>
                  <a:lnTo>
                    <a:pt x="1063" y="4127"/>
                  </a:lnTo>
                  <a:close/>
                  <a:moveTo>
                    <a:pt x="1096" y="4127"/>
                  </a:moveTo>
                  <a:lnTo>
                    <a:pt x="1096" y="4132"/>
                  </a:lnTo>
                  <a:lnTo>
                    <a:pt x="1087" y="4132"/>
                  </a:lnTo>
                  <a:lnTo>
                    <a:pt x="1096" y="4127"/>
                  </a:lnTo>
                  <a:lnTo>
                    <a:pt x="1096" y="4127"/>
                  </a:lnTo>
                  <a:lnTo>
                    <a:pt x="1096" y="4127"/>
                  </a:lnTo>
                  <a:close/>
                  <a:moveTo>
                    <a:pt x="1101" y="4132"/>
                  </a:moveTo>
                  <a:lnTo>
                    <a:pt x="1118" y="4148"/>
                  </a:lnTo>
                  <a:lnTo>
                    <a:pt x="1113" y="4153"/>
                  </a:lnTo>
                  <a:lnTo>
                    <a:pt x="1113" y="4137"/>
                  </a:lnTo>
                  <a:lnTo>
                    <a:pt x="1096" y="4137"/>
                  </a:lnTo>
                  <a:lnTo>
                    <a:pt x="1101" y="4132"/>
                  </a:lnTo>
                  <a:lnTo>
                    <a:pt x="1101" y="4132"/>
                  </a:lnTo>
                  <a:lnTo>
                    <a:pt x="1101" y="4132"/>
                  </a:lnTo>
                  <a:close/>
                  <a:moveTo>
                    <a:pt x="1080" y="4132"/>
                  </a:moveTo>
                  <a:lnTo>
                    <a:pt x="1070" y="4132"/>
                  </a:lnTo>
                  <a:lnTo>
                    <a:pt x="1087" y="4132"/>
                  </a:lnTo>
                  <a:lnTo>
                    <a:pt x="1080" y="4132"/>
                  </a:lnTo>
                  <a:lnTo>
                    <a:pt x="1080" y="4132"/>
                  </a:lnTo>
                  <a:lnTo>
                    <a:pt x="1080" y="4132"/>
                  </a:lnTo>
                  <a:close/>
                  <a:moveTo>
                    <a:pt x="1139" y="4137"/>
                  </a:moveTo>
                  <a:lnTo>
                    <a:pt x="1151" y="4148"/>
                  </a:lnTo>
                  <a:lnTo>
                    <a:pt x="1139" y="4153"/>
                  </a:lnTo>
                  <a:lnTo>
                    <a:pt x="1134" y="4148"/>
                  </a:lnTo>
                  <a:lnTo>
                    <a:pt x="1139" y="4137"/>
                  </a:lnTo>
                  <a:lnTo>
                    <a:pt x="1139" y="4137"/>
                  </a:lnTo>
                  <a:lnTo>
                    <a:pt x="1139" y="4137"/>
                  </a:lnTo>
                  <a:close/>
                  <a:moveTo>
                    <a:pt x="1134" y="4137"/>
                  </a:moveTo>
                  <a:lnTo>
                    <a:pt x="1139" y="4153"/>
                  </a:lnTo>
                  <a:lnTo>
                    <a:pt x="1134" y="4165"/>
                  </a:lnTo>
                  <a:lnTo>
                    <a:pt x="1125" y="4148"/>
                  </a:lnTo>
                  <a:lnTo>
                    <a:pt x="1134" y="4137"/>
                  </a:lnTo>
                  <a:lnTo>
                    <a:pt x="1134" y="4137"/>
                  </a:lnTo>
                  <a:lnTo>
                    <a:pt x="1134" y="4137"/>
                  </a:lnTo>
                  <a:close/>
                  <a:moveTo>
                    <a:pt x="1096" y="4148"/>
                  </a:moveTo>
                  <a:lnTo>
                    <a:pt x="1113" y="4148"/>
                  </a:lnTo>
                  <a:lnTo>
                    <a:pt x="1113" y="4170"/>
                  </a:lnTo>
                  <a:lnTo>
                    <a:pt x="1096" y="4148"/>
                  </a:lnTo>
                  <a:lnTo>
                    <a:pt x="1096" y="4148"/>
                  </a:lnTo>
                  <a:lnTo>
                    <a:pt x="1096" y="4148"/>
                  </a:lnTo>
                  <a:close/>
                  <a:moveTo>
                    <a:pt x="1125" y="4148"/>
                  </a:moveTo>
                  <a:lnTo>
                    <a:pt x="1134" y="4165"/>
                  </a:lnTo>
                  <a:lnTo>
                    <a:pt x="1125" y="4165"/>
                  </a:lnTo>
                  <a:lnTo>
                    <a:pt x="1118" y="4165"/>
                  </a:lnTo>
                  <a:lnTo>
                    <a:pt x="1125" y="4148"/>
                  </a:lnTo>
                  <a:lnTo>
                    <a:pt x="1125" y="4148"/>
                  </a:lnTo>
                  <a:lnTo>
                    <a:pt x="1125" y="4148"/>
                  </a:lnTo>
                  <a:close/>
                  <a:moveTo>
                    <a:pt x="5436" y="4188"/>
                  </a:moveTo>
                  <a:lnTo>
                    <a:pt x="5500" y="4210"/>
                  </a:lnTo>
                  <a:lnTo>
                    <a:pt x="5523" y="4226"/>
                  </a:lnTo>
                  <a:lnTo>
                    <a:pt x="5544" y="4238"/>
                  </a:lnTo>
                  <a:lnTo>
                    <a:pt x="5561" y="4248"/>
                  </a:lnTo>
                  <a:lnTo>
                    <a:pt x="5528" y="4259"/>
                  </a:lnTo>
                  <a:lnTo>
                    <a:pt x="5462" y="4243"/>
                  </a:lnTo>
                  <a:lnTo>
                    <a:pt x="5431" y="4226"/>
                  </a:lnTo>
                  <a:lnTo>
                    <a:pt x="5410" y="4205"/>
                  </a:lnTo>
                  <a:lnTo>
                    <a:pt x="5365" y="4188"/>
                  </a:lnTo>
                  <a:lnTo>
                    <a:pt x="5381" y="4170"/>
                  </a:lnTo>
                  <a:lnTo>
                    <a:pt x="5436" y="4188"/>
                  </a:lnTo>
                  <a:lnTo>
                    <a:pt x="5436" y="4188"/>
                  </a:lnTo>
                  <a:lnTo>
                    <a:pt x="5436" y="4188"/>
                  </a:lnTo>
                  <a:close/>
                  <a:moveTo>
                    <a:pt x="1004" y="4181"/>
                  </a:moveTo>
                  <a:lnTo>
                    <a:pt x="1011" y="4193"/>
                  </a:lnTo>
                  <a:lnTo>
                    <a:pt x="1011" y="4210"/>
                  </a:lnTo>
                  <a:lnTo>
                    <a:pt x="990" y="4193"/>
                  </a:lnTo>
                  <a:lnTo>
                    <a:pt x="990" y="4188"/>
                  </a:lnTo>
                  <a:lnTo>
                    <a:pt x="1004" y="4181"/>
                  </a:lnTo>
                  <a:lnTo>
                    <a:pt x="1004" y="4181"/>
                  </a:lnTo>
                  <a:lnTo>
                    <a:pt x="1004" y="4181"/>
                  </a:lnTo>
                  <a:close/>
                  <a:moveTo>
                    <a:pt x="1189" y="4222"/>
                  </a:moveTo>
                  <a:lnTo>
                    <a:pt x="1151" y="4188"/>
                  </a:lnTo>
                  <a:lnTo>
                    <a:pt x="1172" y="4193"/>
                  </a:lnTo>
                  <a:lnTo>
                    <a:pt x="1189" y="4222"/>
                  </a:lnTo>
                  <a:lnTo>
                    <a:pt x="1189" y="4222"/>
                  </a:lnTo>
                  <a:lnTo>
                    <a:pt x="1189" y="4222"/>
                  </a:lnTo>
                  <a:close/>
                  <a:moveTo>
                    <a:pt x="1193" y="4193"/>
                  </a:moveTo>
                  <a:lnTo>
                    <a:pt x="1189" y="4205"/>
                  </a:lnTo>
                  <a:lnTo>
                    <a:pt x="1177" y="4205"/>
                  </a:lnTo>
                  <a:lnTo>
                    <a:pt x="1193" y="4193"/>
                  </a:lnTo>
                  <a:lnTo>
                    <a:pt x="1193" y="4193"/>
                  </a:lnTo>
                  <a:lnTo>
                    <a:pt x="1193" y="4193"/>
                  </a:lnTo>
                  <a:close/>
                  <a:moveTo>
                    <a:pt x="6095" y="4193"/>
                  </a:moveTo>
                  <a:lnTo>
                    <a:pt x="6100" y="4205"/>
                  </a:lnTo>
                  <a:lnTo>
                    <a:pt x="6078" y="4210"/>
                  </a:lnTo>
                  <a:lnTo>
                    <a:pt x="6078" y="4193"/>
                  </a:lnTo>
                  <a:lnTo>
                    <a:pt x="6095" y="4193"/>
                  </a:lnTo>
                  <a:lnTo>
                    <a:pt x="6095" y="4193"/>
                  </a:lnTo>
                  <a:lnTo>
                    <a:pt x="6095" y="4193"/>
                  </a:lnTo>
                  <a:close/>
                  <a:moveTo>
                    <a:pt x="6062" y="4205"/>
                  </a:moveTo>
                  <a:lnTo>
                    <a:pt x="6041" y="4222"/>
                  </a:lnTo>
                  <a:lnTo>
                    <a:pt x="6041" y="4210"/>
                  </a:lnTo>
                  <a:lnTo>
                    <a:pt x="6045" y="4210"/>
                  </a:lnTo>
                  <a:lnTo>
                    <a:pt x="6062" y="4205"/>
                  </a:lnTo>
                  <a:lnTo>
                    <a:pt x="6062" y="4205"/>
                  </a:lnTo>
                  <a:lnTo>
                    <a:pt x="6062" y="4205"/>
                  </a:lnTo>
                  <a:close/>
                  <a:moveTo>
                    <a:pt x="5986" y="4205"/>
                  </a:moveTo>
                  <a:lnTo>
                    <a:pt x="5991" y="4210"/>
                  </a:lnTo>
                  <a:lnTo>
                    <a:pt x="5977" y="4210"/>
                  </a:lnTo>
                  <a:lnTo>
                    <a:pt x="5986" y="4205"/>
                  </a:lnTo>
                  <a:lnTo>
                    <a:pt x="5986" y="4205"/>
                  </a:lnTo>
                  <a:lnTo>
                    <a:pt x="5986" y="4205"/>
                  </a:lnTo>
                  <a:close/>
                  <a:moveTo>
                    <a:pt x="1243" y="4222"/>
                  </a:moveTo>
                  <a:lnTo>
                    <a:pt x="1231" y="4226"/>
                  </a:lnTo>
                  <a:lnTo>
                    <a:pt x="1231" y="4222"/>
                  </a:lnTo>
                  <a:lnTo>
                    <a:pt x="1243" y="4222"/>
                  </a:lnTo>
                  <a:lnTo>
                    <a:pt x="1243" y="4222"/>
                  </a:lnTo>
                  <a:lnTo>
                    <a:pt x="1243" y="4222"/>
                  </a:lnTo>
                  <a:close/>
                  <a:moveTo>
                    <a:pt x="1042" y="4226"/>
                  </a:moveTo>
                  <a:lnTo>
                    <a:pt x="1049" y="4243"/>
                  </a:lnTo>
                  <a:lnTo>
                    <a:pt x="1033" y="4238"/>
                  </a:lnTo>
                  <a:lnTo>
                    <a:pt x="1033" y="4226"/>
                  </a:lnTo>
                  <a:lnTo>
                    <a:pt x="1042" y="4226"/>
                  </a:lnTo>
                  <a:lnTo>
                    <a:pt x="1042" y="4226"/>
                  </a:lnTo>
                  <a:lnTo>
                    <a:pt x="1042" y="4226"/>
                  </a:lnTo>
                  <a:close/>
                  <a:moveTo>
                    <a:pt x="1063" y="4243"/>
                  </a:moveTo>
                  <a:lnTo>
                    <a:pt x="1063" y="4248"/>
                  </a:lnTo>
                  <a:lnTo>
                    <a:pt x="1059" y="4243"/>
                  </a:lnTo>
                  <a:lnTo>
                    <a:pt x="1063" y="4243"/>
                  </a:lnTo>
                  <a:lnTo>
                    <a:pt x="1063" y="4243"/>
                  </a:lnTo>
                  <a:lnTo>
                    <a:pt x="1063" y="4243"/>
                  </a:lnTo>
                  <a:close/>
                  <a:moveTo>
                    <a:pt x="1205" y="4248"/>
                  </a:moveTo>
                  <a:lnTo>
                    <a:pt x="1210" y="4248"/>
                  </a:lnTo>
                  <a:lnTo>
                    <a:pt x="1205" y="4248"/>
                  </a:lnTo>
                  <a:lnTo>
                    <a:pt x="1205" y="4248"/>
                  </a:lnTo>
                  <a:lnTo>
                    <a:pt x="1205" y="4248"/>
                  </a:lnTo>
                  <a:close/>
                  <a:moveTo>
                    <a:pt x="1222" y="4259"/>
                  </a:moveTo>
                  <a:lnTo>
                    <a:pt x="1243" y="4276"/>
                  </a:lnTo>
                  <a:lnTo>
                    <a:pt x="1226" y="4264"/>
                  </a:lnTo>
                  <a:lnTo>
                    <a:pt x="1222" y="4259"/>
                  </a:lnTo>
                  <a:lnTo>
                    <a:pt x="1222" y="4259"/>
                  </a:lnTo>
                  <a:lnTo>
                    <a:pt x="1222" y="4259"/>
                  </a:lnTo>
                  <a:close/>
                  <a:moveTo>
                    <a:pt x="1226" y="4276"/>
                  </a:moveTo>
                  <a:lnTo>
                    <a:pt x="1231" y="4292"/>
                  </a:lnTo>
                  <a:lnTo>
                    <a:pt x="1226" y="4292"/>
                  </a:lnTo>
                  <a:lnTo>
                    <a:pt x="1226" y="4276"/>
                  </a:lnTo>
                  <a:lnTo>
                    <a:pt x="1226" y="4276"/>
                  </a:lnTo>
                  <a:lnTo>
                    <a:pt x="1226" y="4276"/>
                  </a:lnTo>
                  <a:close/>
                  <a:moveTo>
                    <a:pt x="6133" y="4337"/>
                  </a:moveTo>
                  <a:lnTo>
                    <a:pt x="6133" y="4349"/>
                  </a:lnTo>
                  <a:lnTo>
                    <a:pt x="6121" y="4354"/>
                  </a:lnTo>
                  <a:lnTo>
                    <a:pt x="6111" y="4337"/>
                  </a:lnTo>
                  <a:lnTo>
                    <a:pt x="6133" y="4337"/>
                  </a:lnTo>
                  <a:lnTo>
                    <a:pt x="6133" y="4337"/>
                  </a:lnTo>
                  <a:lnTo>
                    <a:pt x="6133" y="4337"/>
                  </a:lnTo>
                  <a:close/>
                  <a:moveTo>
                    <a:pt x="5365" y="4354"/>
                  </a:moveTo>
                  <a:lnTo>
                    <a:pt x="5365" y="4359"/>
                  </a:lnTo>
                  <a:lnTo>
                    <a:pt x="5360" y="4359"/>
                  </a:lnTo>
                  <a:lnTo>
                    <a:pt x="5365" y="4354"/>
                  </a:lnTo>
                  <a:lnTo>
                    <a:pt x="5365" y="4354"/>
                  </a:lnTo>
                  <a:lnTo>
                    <a:pt x="5365" y="4354"/>
                  </a:lnTo>
                  <a:close/>
                  <a:moveTo>
                    <a:pt x="5365" y="4359"/>
                  </a:moveTo>
                  <a:lnTo>
                    <a:pt x="5360" y="4375"/>
                  </a:lnTo>
                  <a:lnTo>
                    <a:pt x="5355" y="4375"/>
                  </a:lnTo>
                  <a:lnTo>
                    <a:pt x="5355" y="4370"/>
                  </a:lnTo>
                  <a:lnTo>
                    <a:pt x="5365" y="4359"/>
                  </a:lnTo>
                  <a:lnTo>
                    <a:pt x="5365" y="4359"/>
                  </a:lnTo>
                  <a:lnTo>
                    <a:pt x="5365" y="4359"/>
                  </a:lnTo>
                  <a:close/>
                  <a:moveTo>
                    <a:pt x="5970" y="4387"/>
                  </a:moveTo>
                  <a:lnTo>
                    <a:pt x="5970" y="4392"/>
                  </a:lnTo>
                  <a:lnTo>
                    <a:pt x="5953" y="4387"/>
                  </a:lnTo>
                  <a:lnTo>
                    <a:pt x="5970" y="4387"/>
                  </a:lnTo>
                  <a:lnTo>
                    <a:pt x="5970" y="4387"/>
                  </a:lnTo>
                  <a:lnTo>
                    <a:pt x="5970" y="4387"/>
                  </a:lnTo>
                  <a:close/>
                  <a:moveTo>
                    <a:pt x="6095" y="4392"/>
                  </a:moveTo>
                  <a:lnTo>
                    <a:pt x="6083" y="4408"/>
                  </a:lnTo>
                  <a:lnTo>
                    <a:pt x="6078" y="4408"/>
                  </a:lnTo>
                  <a:lnTo>
                    <a:pt x="6095" y="4392"/>
                  </a:lnTo>
                  <a:lnTo>
                    <a:pt x="6095" y="4392"/>
                  </a:lnTo>
                  <a:lnTo>
                    <a:pt x="6095" y="4392"/>
                  </a:lnTo>
                  <a:close/>
                  <a:moveTo>
                    <a:pt x="5582" y="4392"/>
                  </a:moveTo>
                  <a:lnTo>
                    <a:pt x="5570" y="4403"/>
                  </a:lnTo>
                  <a:lnTo>
                    <a:pt x="5544" y="4425"/>
                  </a:lnTo>
                  <a:lnTo>
                    <a:pt x="5554" y="4425"/>
                  </a:lnTo>
                  <a:lnTo>
                    <a:pt x="5537" y="4425"/>
                  </a:lnTo>
                  <a:lnTo>
                    <a:pt x="5544" y="4408"/>
                  </a:lnTo>
                  <a:lnTo>
                    <a:pt x="5582" y="4392"/>
                  </a:lnTo>
                  <a:lnTo>
                    <a:pt x="5582" y="4392"/>
                  </a:lnTo>
                  <a:lnTo>
                    <a:pt x="5582" y="4392"/>
                  </a:lnTo>
                  <a:close/>
                  <a:moveTo>
                    <a:pt x="5523" y="4503"/>
                  </a:moveTo>
                  <a:lnTo>
                    <a:pt x="5500" y="4519"/>
                  </a:lnTo>
                  <a:lnTo>
                    <a:pt x="5507" y="4526"/>
                  </a:lnTo>
                  <a:lnTo>
                    <a:pt x="5507" y="4536"/>
                  </a:lnTo>
                  <a:lnTo>
                    <a:pt x="5485" y="4543"/>
                  </a:lnTo>
                  <a:lnTo>
                    <a:pt x="5474" y="4526"/>
                  </a:lnTo>
                  <a:lnTo>
                    <a:pt x="5462" y="4519"/>
                  </a:lnTo>
                  <a:lnTo>
                    <a:pt x="5474" y="4514"/>
                  </a:lnTo>
                  <a:lnTo>
                    <a:pt x="5452" y="4526"/>
                  </a:lnTo>
                  <a:lnTo>
                    <a:pt x="5419" y="4519"/>
                  </a:lnTo>
                  <a:lnTo>
                    <a:pt x="5415" y="4514"/>
                  </a:lnTo>
                  <a:lnTo>
                    <a:pt x="5415" y="4503"/>
                  </a:lnTo>
                  <a:lnTo>
                    <a:pt x="5393" y="4503"/>
                  </a:lnTo>
                  <a:lnTo>
                    <a:pt x="5393" y="4481"/>
                  </a:lnTo>
                  <a:lnTo>
                    <a:pt x="5377" y="4481"/>
                  </a:lnTo>
                  <a:lnTo>
                    <a:pt x="5365" y="4470"/>
                  </a:lnTo>
                  <a:lnTo>
                    <a:pt x="5398" y="4441"/>
                  </a:lnTo>
                  <a:lnTo>
                    <a:pt x="5398" y="4460"/>
                  </a:lnTo>
                  <a:lnTo>
                    <a:pt x="5393" y="4465"/>
                  </a:lnTo>
                  <a:lnTo>
                    <a:pt x="5415" y="4481"/>
                  </a:lnTo>
                  <a:lnTo>
                    <a:pt x="5415" y="4498"/>
                  </a:lnTo>
                  <a:lnTo>
                    <a:pt x="5419" y="4498"/>
                  </a:lnTo>
                  <a:lnTo>
                    <a:pt x="5419" y="4486"/>
                  </a:lnTo>
                  <a:lnTo>
                    <a:pt x="5452" y="4503"/>
                  </a:lnTo>
                  <a:lnTo>
                    <a:pt x="5544" y="4498"/>
                  </a:lnTo>
                  <a:lnTo>
                    <a:pt x="5523" y="4503"/>
                  </a:lnTo>
                  <a:lnTo>
                    <a:pt x="5523" y="4503"/>
                  </a:lnTo>
                  <a:lnTo>
                    <a:pt x="5523" y="4503"/>
                  </a:lnTo>
                  <a:close/>
                  <a:moveTo>
                    <a:pt x="5608" y="4552"/>
                  </a:moveTo>
                  <a:lnTo>
                    <a:pt x="5599" y="4569"/>
                  </a:lnTo>
                  <a:lnTo>
                    <a:pt x="5625" y="4569"/>
                  </a:lnTo>
                  <a:lnTo>
                    <a:pt x="5646" y="4543"/>
                  </a:lnTo>
                  <a:lnTo>
                    <a:pt x="5651" y="4536"/>
                  </a:lnTo>
                  <a:lnTo>
                    <a:pt x="5629" y="4552"/>
                  </a:lnTo>
                  <a:lnTo>
                    <a:pt x="5625" y="4543"/>
                  </a:lnTo>
                  <a:lnTo>
                    <a:pt x="5663" y="4519"/>
                  </a:lnTo>
                  <a:lnTo>
                    <a:pt x="5637" y="4536"/>
                  </a:lnTo>
                  <a:lnTo>
                    <a:pt x="5663" y="4514"/>
                  </a:lnTo>
                  <a:lnTo>
                    <a:pt x="5689" y="4519"/>
                  </a:lnTo>
                  <a:lnTo>
                    <a:pt x="5689" y="4526"/>
                  </a:lnTo>
                  <a:lnTo>
                    <a:pt x="5689" y="4543"/>
                  </a:lnTo>
                  <a:lnTo>
                    <a:pt x="5667" y="4552"/>
                  </a:lnTo>
                  <a:lnTo>
                    <a:pt x="5663" y="4569"/>
                  </a:lnTo>
                  <a:lnTo>
                    <a:pt x="5646" y="4576"/>
                  </a:lnTo>
                  <a:lnTo>
                    <a:pt x="5599" y="4576"/>
                  </a:lnTo>
                  <a:lnTo>
                    <a:pt x="5582" y="4576"/>
                  </a:lnTo>
                  <a:lnTo>
                    <a:pt x="5575" y="4569"/>
                  </a:lnTo>
                  <a:lnTo>
                    <a:pt x="5575" y="4536"/>
                  </a:lnTo>
                  <a:lnTo>
                    <a:pt x="5575" y="4526"/>
                  </a:lnTo>
                  <a:lnTo>
                    <a:pt x="5592" y="4519"/>
                  </a:lnTo>
                  <a:lnTo>
                    <a:pt x="5637" y="4448"/>
                  </a:lnTo>
                  <a:lnTo>
                    <a:pt x="5646" y="4448"/>
                  </a:lnTo>
                  <a:lnTo>
                    <a:pt x="5646" y="4460"/>
                  </a:lnTo>
                  <a:lnTo>
                    <a:pt x="5663" y="4465"/>
                  </a:lnTo>
                  <a:lnTo>
                    <a:pt x="5637" y="4519"/>
                  </a:lnTo>
                  <a:lnTo>
                    <a:pt x="5651" y="4514"/>
                  </a:lnTo>
                  <a:lnTo>
                    <a:pt x="5637" y="4526"/>
                  </a:lnTo>
                  <a:lnTo>
                    <a:pt x="5599" y="4543"/>
                  </a:lnTo>
                  <a:lnTo>
                    <a:pt x="5629" y="4536"/>
                  </a:lnTo>
                  <a:lnTo>
                    <a:pt x="5625" y="4543"/>
                  </a:lnTo>
                  <a:lnTo>
                    <a:pt x="5608" y="4552"/>
                  </a:lnTo>
                  <a:lnTo>
                    <a:pt x="5613" y="4552"/>
                  </a:lnTo>
                  <a:lnTo>
                    <a:pt x="5608" y="4552"/>
                  </a:lnTo>
                  <a:lnTo>
                    <a:pt x="5608" y="4552"/>
                  </a:lnTo>
                  <a:lnTo>
                    <a:pt x="5608" y="4552"/>
                  </a:lnTo>
                  <a:close/>
                  <a:moveTo>
                    <a:pt x="5613" y="4576"/>
                  </a:moveTo>
                  <a:lnTo>
                    <a:pt x="5608" y="4581"/>
                  </a:lnTo>
                  <a:lnTo>
                    <a:pt x="5599" y="4581"/>
                  </a:lnTo>
                  <a:lnTo>
                    <a:pt x="5613" y="4576"/>
                  </a:lnTo>
                  <a:lnTo>
                    <a:pt x="5613" y="4576"/>
                  </a:lnTo>
                  <a:lnTo>
                    <a:pt x="5613" y="4576"/>
                  </a:lnTo>
                  <a:close/>
                  <a:moveTo>
                    <a:pt x="5204" y="4647"/>
                  </a:moveTo>
                  <a:lnTo>
                    <a:pt x="5204" y="4654"/>
                  </a:lnTo>
                  <a:lnTo>
                    <a:pt x="5200" y="4663"/>
                  </a:lnTo>
                  <a:lnTo>
                    <a:pt x="5204" y="4647"/>
                  </a:lnTo>
                  <a:lnTo>
                    <a:pt x="5204" y="4647"/>
                  </a:lnTo>
                  <a:lnTo>
                    <a:pt x="5204" y="4647"/>
                  </a:lnTo>
                  <a:close/>
                  <a:moveTo>
                    <a:pt x="5679" y="4720"/>
                  </a:moveTo>
                  <a:lnTo>
                    <a:pt x="5700" y="4720"/>
                  </a:lnTo>
                  <a:lnTo>
                    <a:pt x="5689" y="4725"/>
                  </a:lnTo>
                  <a:lnTo>
                    <a:pt x="5679" y="4720"/>
                  </a:lnTo>
                  <a:lnTo>
                    <a:pt x="5679" y="4720"/>
                  </a:lnTo>
                  <a:lnTo>
                    <a:pt x="5679" y="472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0" name="Freeform 409">
              <a:extLst>
                <a:ext uri="{FF2B5EF4-FFF2-40B4-BE49-F238E27FC236}">
                  <a16:creationId xmlns:a16="http://schemas.microsoft.com/office/drawing/2014/main" id="{D610723F-76EE-444A-81CD-CE11DDD9C9AD}"/>
                </a:ext>
              </a:extLst>
            </p:cNvPr>
            <p:cNvSpPr>
              <a:spLocks noEditPoints="1"/>
            </p:cNvSpPr>
            <p:nvPr/>
          </p:nvSpPr>
          <p:spPr bwMode="gray">
            <a:xfrm>
              <a:off x="16093173" y="3766490"/>
              <a:ext cx="119791" cy="102117"/>
            </a:xfrm>
            <a:custGeom>
              <a:avLst/>
              <a:gdLst>
                <a:gd name="T0" fmla="*/ 28 w 366"/>
                <a:gd name="T1" fmla="*/ 187 h 312"/>
                <a:gd name="T2" fmla="*/ 12 w 366"/>
                <a:gd name="T3" fmla="*/ 147 h 312"/>
                <a:gd name="T4" fmla="*/ 0 w 366"/>
                <a:gd name="T5" fmla="*/ 97 h 312"/>
                <a:gd name="T6" fmla="*/ 21 w 366"/>
                <a:gd name="T7" fmla="*/ 76 h 312"/>
                <a:gd name="T8" fmla="*/ 28 w 366"/>
                <a:gd name="T9" fmla="*/ 66 h 312"/>
                <a:gd name="T10" fmla="*/ 59 w 366"/>
                <a:gd name="T11" fmla="*/ 22 h 312"/>
                <a:gd name="T12" fmla="*/ 114 w 366"/>
                <a:gd name="T13" fmla="*/ 22 h 312"/>
                <a:gd name="T14" fmla="*/ 189 w 366"/>
                <a:gd name="T15" fmla="*/ 22 h 312"/>
                <a:gd name="T16" fmla="*/ 199 w 366"/>
                <a:gd name="T17" fmla="*/ 22 h 312"/>
                <a:gd name="T18" fmla="*/ 227 w 366"/>
                <a:gd name="T19" fmla="*/ 38 h 312"/>
                <a:gd name="T20" fmla="*/ 258 w 366"/>
                <a:gd name="T21" fmla="*/ 55 h 312"/>
                <a:gd name="T22" fmla="*/ 258 w 366"/>
                <a:gd name="T23" fmla="*/ 22 h 312"/>
                <a:gd name="T24" fmla="*/ 274 w 366"/>
                <a:gd name="T25" fmla="*/ 10 h 312"/>
                <a:gd name="T26" fmla="*/ 295 w 366"/>
                <a:gd name="T27" fmla="*/ 5 h 312"/>
                <a:gd name="T28" fmla="*/ 366 w 366"/>
                <a:gd name="T29" fmla="*/ 0 h 312"/>
                <a:gd name="T30" fmla="*/ 359 w 366"/>
                <a:gd name="T31" fmla="*/ 55 h 312"/>
                <a:gd name="T32" fmla="*/ 366 w 366"/>
                <a:gd name="T33" fmla="*/ 81 h 312"/>
                <a:gd name="T34" fmla="*/ 366 w 366"/>
                <a:gd name="T35" fmla="*/ 147 h 312"/>
                <a:gd name="T36" fmla="*/ 359 w 366"/>
                <a:gd name="T37" fmla="*/ 175 h 312"/>
                <a:gd name="T38" fmla="*/ 333 w 366"/>
                <a:gd name="T39" fmla="*/ 170 h 312"/>
                <a:gd name="T40" fmla="*/ 279 w 366"/>
                <a:gd name="T41" fmla="*/ 192 h 312"/>
                <a:gd name="T42" fmla="*/ 258 w 366"/>
                <a:gd name="T43" fmla="*/ 208 h 312"/>
                <a:gd name="T44" fmla="*/ 241 w 366"/>
                <a:gd name="T45" fmla="*/ 225 h 312"/>
                <a:gd name="T46" fmla="*/ 269 w 366"/>
                <a:gd name="T47" fmla="*/ 263 h 312"/>
                <a:gd name="T48" fmla="*/ 241 w 366"/>
                <a:gd name="T49" fmla="*/ 263 h 312"/>
                <a:gd name="T50" fmla="*/ 215 w 366"/>
                <a:gd name="T51" fmla="*/ 274 h 312"/>
                <a:gd name="T52" fmla="*/ 189 w 366"/>
                <a:gd name="T53" fmla="*/ 274 h 312"/>
                <a:gd name="T54" fmla="*/ 182 w 366"/>
                <a:gd name="T55" fmla="*/ 296 h 312"/>
                <a:gd name="T56" fmla="*/ 151 w 366"/>
                <a:gd name="T57" fmla="*/ 312 h 312"/>
                <a:gd name="T58" fmla="*/ 114 w 366"/>
                <a:gd name="T59" fmla="*/ 296 h 312"/>
                <a:gd name="T60" fmla="*/ 80 w 366"/>
                <a:gd name="T61" fmla="*/ 296 h 312"/>
                <a:gd name="T62" fmla="*/ 97 w 366"/>
                <a:gd name="T63" fmla="*/ 274 h 312"/>
                <a:gd name="T64" fmla="*/ 76 w 366"/>
                <a:gd name="T65" fmla="*/ 274 h 312"/>
                <a:gd name="T66" fmla="*/ 54 w 366"/>
                <a:gd name="T67" fmla="*/ 241 h 312"/>
                <a:gd name="T68" fmla="*/ 43 w 366"/>
                <a:gd name="T69" fmla="*/ 220 h 312"/>
                <a:gd name="T70" fmla="*/ 43 w 366"/>
                <a:gd name="T71" fmla="*/ 220 h 312"/>
                <a:gd name="T72" fmla="*/ 43 w 366"/>
                <a:gd name="T73" fmla="*/ 225 h 312"/>
                <a:gd name="T74" fmla="*/ 43 w 366"/>
                <a:gd name="T75" fmla="*/ 220 h 312"/>
                <a:gd name="T76" fmla="*/ 66 w 366"/>
                <a:gd name="T77" fmla="*/ 286 h 312"/>
                <a:gd name="T78" fmla="*/ 66 w 366"/>
                <a:gd name="T79" fmla="*/ 286 h 312"/>
                <a:gd name="T80" fmla="*/ 66 w 366"/>
                <a:gd name="T81" fmla="*/ 286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6" h="312">
                  <a:moveTo>
                    <a:pt x="43" y="220"/>
                  </a:moveTo>
                  <a:lnTo>
                    <a:pt x="28" y="187"/>
                  </a:lnTo>
                  <a:lnTo>
                    <a:pt x="28" y="163"/>
                  </a:lnTo>
                  <a:lnTo>
                    <a:pt x="12" y="147"/>
                  </a:lnTo>
                  <a:lnTo>
                    <a:pt x="12" y="121"/>
                  </a:lnTo>
                  <a:lnTo>
                    <a:pt x="0" y="97"/>
                  </a:lnTo>
                  <a:lnTo>
                    <a:pt x="7" y="76"/>
                  </a:lnTo>
                  <a:lnTo>
                    <a:pt x="21" y="76"/>
                  </a:lnTo>
                  <a:lnTo>
                    <a:pt x="12" y="66"/>
                  </a:lnTo>
                  <a:lnTo>
                    <a:pt x="28" y="66"/>
                  </a:lnTo>
                  <a:lnTo>
                    <a:pt x="43" y="38"/>
                  </a:lnTo>
                  <a:lnTo>
                    <a:pt x="59" y="22"/>
                  </a:lnTo>
                  <a:lnTo>
                    <a:pt x="92" y="10"/>
                  </a:lnTo>
                  <a:lnTo>
                    <a:pt x="114" y="22"/>
                  </a:lnTo>
                  <a:lnTo>
                    <a:pt x="173" y="10"/>
                  </a:lnTo>
                  <a:lnTo>
                    <a:pt x="189" y="22"/>
                  </a:lnTo>
                  <a:lnTo>
                    <a:pt x="189" y="38"/>
                  </a:lnTo>
                  <a:lnTo>
                    <a:pt x="199" y="22"/>
                  </a:lnTo>
                  <a:lnTo>
                    <a:pt x="215" y="43"/>
                  </a:lnTo>
                  <a:lnTo>
                    <a:pt x="227" y="38"/>
                  </a:lnTo>
                  <a:lnTo>
                    <a:pt x="253" y="55"/>
                  </a:lnTo>
                  <a:lnTo>
                    <a:pt x="258" y="55"/>
                  </a:lnTo>
                  <a:lnTo>
                    <a:pt x="269" y="43"/>
                  </a:lnTo>
                  <a:lnTo>
                    <a:pt x="258" y="22"/>
                  </a:lnTo>
                  <a:lnTo>
                    <a:pt x="274" y="22"/>
                  </a:lnTo>
                  <a:lnTo>
                    <a:pt x="274" y="10"/>
                  </a:lnTo>
                  <a:lnTo>
                    <a:pt x="279" y="10"/>
                  </a:lnTo>
                  <a:lnTo>
                    <a:pt x="295" y="5"/>
                  </a:lnTo>
                  <a:lnTo>
                    <a:pt x="312" y="26"/>
                  </a:lnTo>
                  <a:lnTo>
                    <a:pt x="366" y="0"/>
                  </a:lnTo>
                  <a:lnTo>
                    <a:pt x="350" y="38"/>
                  </a:lnTo>
                  <a:lnTo>
                    <a:pt x="359" y="55"/>
                  </a:lnTo>
                  <a:lnTo>
                    <a:pt x="359" y="59"/>
                  </a:lnTo>
                  <a:lnTo>
                    <a:pt x="366" y="81"/>
                  </a:lnTo>
                  <a:lnTo>
                    <a:pt x="359" y="121"/>
                  </a:lnTo>
                  <a:lnTo>
                    <a:pt x="366" y="147"/>
                  </a:lnTo>
                  <a:lnTo>
                    <a:pt x="366" y="170"/>
                  </a:lnTo>
                  <a:lnTo>
                    <a:pt x="359" y="175"/>
                  </a:lnTo>
                  <a:lnTo>
                    <a:pt x="350" y="170"/>
                  </a:lnTo>
                  <a:lnTo>
                    <a:pt x="333" y="170"/>
                  </a:lnTo>
                  <a:lnTo>
                    <a:pt x="307" y="192"/>
                  </a:lnTo>
                  <a:lnTo>
                    <a:pt x="279" y="192"/>
                  </a:lnTo>
                  <a:lnTo>
                    <a:pt x="291" y="220"/>
                  </a:lnTo>
                  <a:lnTo>
                    <a:pt x="258" y="208"/>
                  </a:lnTo>
                  <a:lnTo>
                    <a:pt x="253" y="220"/>
                  </a:lnTo>
                  <a:lnTo>
                    <a:pt x="241" y="225"/>
                  </a:lnTo>
                  <a:lnTo>
                    <a:pt x="241" y="246"/>
                  </a:lnTo>
                  <a:lnTo>
                    <a:pt x="269" y="263"/>
                  </a:lnTo>
                  <a:lnTo>
                    <a:pt x="269" y="279"/>
                  </a:lnTo>
                  <a:lnTo>
                    <a:pt x="241" y="263"/>
                  </a:lnTo>
                  <a:lnTo>
                    <a:pt x="220" y="274"/>
                  </a:lnTo>
                  <a:lnTo>
                    <a:pt x="215" y="274"/>
                  </a:lnTo>
                  <a:lnTo>
                    <a:pt x="199" y="274"/>
                  </a:lnTo>
                  <a:lnTo>
                    <a:pt x="189" y="274"/>
                  </a:lnTo>
                  <a:lnTo>
                    <a:pt x="189" y="286"/>
                  </a:lnTo>
                  <a:lnTo>
                    <a:pt x="182" y="296"/>
                  </a:lnTo>
                  <a:lnTo>
                    <a:pt x="161" y="303"/>
                  </a:lnTo>
                  <a:lnTo>
                    <a:pt x="151" y="312"/>
                  </a:lnTo>
                  <a:lnTo>
                    <a:pt x="135" y="296"/>
                  </a:lnTo>
                  <a:lnTo>
                    <a:pt x="114" y="296"/>
                  </a:lnTo>
                  <a:lnTo>
                    <a:pt x="92" y="303"/>
                  </a:lnTo>
                  <a:lnTo>
                    <a:pt x="80" y="296"/>
                  </a:lnTo>
                  <a:lnTo>
                    <a:pt x="97" y="286"/>
                  </a:lnTo>
                  <a:lnTo>
                    <a:pt x="97" y="274"/>
                  </a:lnTo>
                  <a:lnTo>
                    <a:pt x="80" y="258"/>
                  </a:lnTo>
                  <a:lnTo>
                    <a:pt x="76" y="274"/>
                  </a:lnTo>
                  <a:lnTo>
                    <a:pt x="59" y="274"/>
                  </a:lnTo>
                  <a:lnTo>
                    <a:pt x="54" y="241"/>
                  </a:lnTo>
                  <a:lnTo>
                    <a:pt x="43" y="225"/>
                  </a:lnTo>
                  <a:lnTo>
                    <a:pt x="43" y="220"/>
                  </a:lnTo>
                  <a:lnTo>
                    <a:pt x="54" y="220"/>
                  </a:lnTo>
                  <a:lnTo>
                    <a:pt x="43" y="220"/>
                  </a:lnTo>
                  <a:lnTo>
                    <a:pt x="38" y="208"/>
                  </a:lnTo>
                  <a:lnTo>
                    <a:pt x="43" y="225"/>
                  </a:lnTo>
                  <a:lnTo>
                    <a:pt x="43" y="220"/>
                  </a:lnTo>
                  <a:lnTo>
                    <a:pt x="43" y="220"/>
                  </a:lnTo>
                  <a:lnTo>
                    <a:pt x="43" y="220"/>
                  </a:lnTo>
                  <a:close/>
                  <a:moveTo>
                    <a:pt x="66" y="286"/>
                  </a:moveTo>
                  <a:lnTo>
                    <a:pt x="59" y="279"/>
                  </a:lnTo>
                  <a:lnTo>
                    <a:pt x="66" y="286"/>
                  </a:lnTo>
                  <a:lnTo>
                    <a:pt x="66" y="286"/>
                  </a:lnTo>
                  <a:lnTo>
                    <a:pt x="66" y="286"/>
                  </a:lnTo>
                  <a:lnTo>
                    <a:pt x="66" y="286"/>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1" name="Freeform 410">
              <a:extLst>
                <a:ext uri="{FF2B5EF4-FFF2-40B4-BE49-F238E27FC236}">
                  <a16:creationId xmlns:a16="http://schemas.microsoft.com/office/drawing/2014/main" id="{8A0D9A3F-A35E-4697-9A6A-34B63A2A2F9D}"/>
                </a:ext>
              </a:extLst>
            </p:cNvPr>
            <p:cNvSpPr>
              <a:spLocks/>
            </p:cNvSpPr>
            <p:nvPr/>
          </p:nvSpPr>
          <p:spPr bwMode="gray">
            <a:xfrm>
              <a:off x="14052806" y="3551783"/>
              <a:ext cx="241218" cy="384246"/>
            </a:xfrm>
            <a:custGeom>
              <a:avLst/>
              <a:gdLst>
                <a:gd name="T0" fmla="*/ 17 w 737"/>
                <a:gd name="T1" fmla="*/ 720 h 1174"/>
                <a:gd name="T2" fmla="*/ 17 w 737"/>
                <a:gd name="T3" fmla="*/ 659 h 1174"/>
                <a:gd name="T4" fmla="*/ 69 w 737"/>
                <a:gd name="T5" fmla="*/ 569 h 1174"/>
                <a:gd name="T6" fmla="*/ 161 w 737"/>
                <a:gd name="T7" fmla="*/ 264 h 1174"/>
                <a:gd name="T8" fmla="*/ 156 w 737"/>
                <a:gd name="T9" fmla="*/ 198 h 1174"/>
                <a:gd name="T10" fmla="*/ 123 w 737"/>
                <a:gd name="T11" fmla="*/ 144 h 1174"/>
                <a:gd name="T12" fmla="*/ 107 w 737"/>
                <a:gd name="T13" fmla="*/ 33 h 1174"/>
                <a:gd name="T14" fmla="*/ 452 w 737"/>
                <a:gd name="T15" fmla="*/ 137 h 1174"/>
                <a:gd name="T16" fmla="*/ 737 w 737"/>
                <a:gd name="T17" fmla="*/ 581 h 1174"/>
                <a:gd name="T18" fmla="*/ 666 w 737"/>
                <a:gd name="T19" fmla="*/ 588 h 1174"/>
                <a:gd name="T20" fmla="*/ 666 w 737"/>
                <a:gd name="T21" fmla="*/ 621 h 1174"/>
                <a:gd name="T22" fmla="*/ 645 w 737"/>
                <a:gd name="T23" fmla="*/ 654 h 1174"/>
                <a:gd name="T24" fmla="*/ 641 w 737"/>
                <a:gd name="T25" fmla="*/ 692 h 1174"/>
                <a:gd name="T26" fmla="*/ 607 w 737"/>
                <a:gd name="T27" fmla="*/ 720 h 1174"/>
                <a:gd name="T28" fmla="*/ 603 w 737"/>
                <a:gd name="T29" fmla="*/ 770 h 1174"/>
                <a:gd name="T30" fmla="*/ 603 w 737"/>
                <a:gd name="T31" fmla="*/ 803 h 1174"/>
                <a:gd name="T32" fmla="*/ 615 w 737"/>
                <a:gd name="T33" fmla="*/ 791 h 1174"/>
                <a:gd name="T34" fmla="*/ 631 w 737"/>
                <a:gd name="T35" fmla="*/ 819 h 1174"/>
                <a:gd name="T36" fmla="*/ 641 w 737"/>
                <a:gd name="T37" fmla="*/ 881 h 1174"/>
                <a:gd name="T38" fmla="*/ 662 w 737"/>
                <a:gd name="T39" fmla="*/ 885 h 1174"/>
                <a:gd name="T40" fmla="*/ 662 w 737"/>
                <a:gd name="T41" fmla="*/ 930 h 1174"/>
                <a:gd name="T42" fmla="*/ 577 w 737"/>
                <a:gd name="T43" fmla="*/ 952 h 1174"/>
                <a:gd name="T44" fmla="*/ 570 w 737"/>
                <a:gd name="T45" fmla="*/ 987 h 1174"/>
                <a:gd name="T46" fmla="*/ 548 w 737"/>
                <a:gd name="T47" fmla="*/ 996 h 1174"/>
                <a:gd name="T48" fmla="*/ 494 w 737"/>
                <a:gd name="T49" fmla="*/ 1046 h 1174"/>
                <a:gd name="T50" fmla="*/ 463 w 737"/>
                <a:gd name="T51" fmla="*/ 1053 h 1174"/>
                <a:gd name="T52" fmla="*/ 392 w 737"/>
                <a:gd name="T53" fmla="*/ 1070 h 1174"/>
                <a:gd name="T54" fmla="*/ 397 w 737"/>
                <a:gd name="T55" fmla="*/ 1098 h 1174"/>
                <a:gd name="T56" fmla="*/ 291 w 737"/>
                <a:gd name="T57" fmla="*/ 1141 h 1174"/>
                <a:gd name="T58" fmla="*/ 220 w 737"/>
                <a:gd name="T59" fmla="*/ 1157 h 1174"/>
                <a:gd name="T60" fmla="*/ 211 w 737"/>
                <a:gd name="T61" fmla="*/ 1164 h 1174"/>
                <a:gd name="T62" fmla="*/ 144 w 737"/>
                <a:gd name="T63" fmla="*/ 1174 h 1174"/>
                <a:gd name="T64" fmla="*/ 144 w 737"/>
                <a:gd name="T65" fmla="*/ 1152 h 1174"/>
                <a:gd name="T66" fmla="*/ 59 w 737"/>
                <a:gd name="T67" fmla="*/ 1053 h 1174"/>
                <a:gd name="T68" fmla="*/ 52 w 737"/>
                <a:gd name="T69" fmla="*/ 996 h 1174"/>
                <a:gd name="T70" fmla="*/ 161 w 737"/>
                <a:gd name="T71" fmla="*/ 996 h 1174"/>
                <a:gd name="T72" fmla="*/ 114 w 737"/>
                <a:gd name="T73" fmla="*/ 935 h 1174"/>
                <a:gd name="T74" fmla="*/ 114 w 737"/>
                <a:gd name="T75" fmla="*/ 885 h 1174"/>
                <a:gd name="T76" fmla="*/ 102 w 737"/>
                <a:gd name="T77" fmla="*/ 843 h 1174"/>
                <a:gd name="T78" fmla="*/ 76 w 737"/>
                <a:gd name="T79" fmla="*/ 791 h 1174"/>
                <a:gd name="T80" fmla="*/ 48 w 737"/>
                <a:gd name="T81" fmla="*/ 770 h 1174"/>
                <a:gd name="T82" fmla="*/ 48 w 737"/>
                <a:gd name="T83" fmla="*/ 770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7" h="1174">
                  <a:moveTo>
                    <a:pt x="48" y="770"/>
                  </a:moveTo>
                  <a:lnTo>
                    <a:pt x="17" y="720"/>
                  </a:lnTo>
                  <a:lnTo>
                    <a:pt x="0" y="663"/>
                  </a:lnTo>
                  <a:lnTo>
                    <a:pt x="17" y="659"/>
                  </a:lnTo>
                  <a:lnTo>
                    <a:pt x="31" y="626"/>
                  </a:lnTo>
                  <a:lnTo>
                    <a:pt x="69" y="569"/>
                  </a:lnTo>
                  <a:lnTo>
                    <a:pt x="144" y="486"/>
                  </a:lnTo>
                  <a:lnTo>
                    <a:pt x="161" y="264"/>
                  </a:lnTo>
                  <a:lnTo>
                    <a:pt x="178" y="231"/>
                  </a:lnTo>
                  <a:lnTo>
                    <a:pt x="156" y="198"/>
                  </a:lnTo>
                  <a:lnTo>
                    <a:pt x="156" y="182"/>
                  </a:lnTo>
                  <a:lnTo>
                    <a:pt x="123" y="144"/>
                  </a:lnTo>
                  <a:lnTo>
                    <a:pt x="123" y="104"/>
                  </a:lnTo>
                  <a:lnTo>
                    <a:pt x="107" y="33"/>
                  </a:lnTo>
                  <a:lnTo>
                    <a:pt x="178" y="0"/>
                  </a:lnTo>
                  <a:lnTo>
                    <a:pt x="452" y="137"/>
                  </a:lnTo>
                  <a:lnTo>
                    <a:pt x="737" y="293"/>
                  </a:lnTo>
                  <a:lnTo>
                    <a:pt x="737" y="581"/>
                  </a:lnTo>
                  <a:lnTo>
                    <a:pt x="678" y="581"/>
                  </a:lnTo>
                  <a:lnTo>
                    <a:pt x="666" y="588"/>
                  </a:lnTo>
                  <a:lnTo>
                    <a:pt x="666" y="604"/>
                  </a:lnTo>
                  <a:lnTo>
                    <a:pt x="666" y="621"/>
                  </a:lnTo>
                  <a:lnTo>
                    <a:pt x="645" y="642"/>
                  </a:lnTo>
                  <a:lnTo>
                    <a:pt x="645" y="654"/>
                  </a:lnTo>
                  <a:lnTo>
                    <a:pt x="631" y="659"/>
                  </a:lnTo>
                  <a:lnTo>
                    <a:pt x="641" y="692"/>
                  </a:lnTo>
                  <a:lnTo>
                    <a:pt x="615" y="708"/>
                  </a:lnTo>
                  <a:lnTo>
                    <a:pt x="607" y="720"/>
                  </a:lnTo>
                  <a:lnTo>
                    <a:pt x="624" y="748"/>
                  </a:lnTo>
                  <a:lnTo>
                    <a:pt x="603" y="770"/>
                  </a:lnTo>
                  <a:lnTo>
                    <a:pt x="586" y="791"/>
                  </a:lnTo>
                  <a:lnTo>
                    <a:pt x="603" y="803"/>
                  </a:lnTo>
                  <a:lnTo>
                    <a:pt x="607" y="803"/>
                  </a:lnTo>
                  <a:lnTo>
                    <a:pt x="615" y="791"/>
                  </a:lnTo>
                  <a:lnTo>
                    <a:pt x="631" y="803"/>
                  </a:lnTo>
                  <a:lnTo>
                    <a:pt x="631" y="819"/>
                  </a:lnTo>
                  <a:lnTo>
                    <a:pt x="645" y="848"/>
                  </a:lnTo>
                  <a:lnTo>
                    <a:pt x="641" y="881"/>
                  </a:lnTo>
                  <a:lnTo>
                    <a:pt x="657" y="885"/>
                  </a:lnTo>
                  <a:lnTo>
                    <a:pt x="662" y="885"/>
                  </a:lnTo>
                  <a:lnTo>
                    <a:pt x="666" y="902"/>
                  </a:lnTo>
                  <a:lnTo>
                    <a:pt x="662" y="930"/>
                  </a:lnTo>
                  <a:lnTo>
                    <a:pt x="631" y="919"/>
                  </a:lnTo>
                  <a:lnTo>
                    <a:pt x="577" y="952"/>
                  </a:lnTo>
                  <a:lnTo>
                    <a:pt x="577" y="975"/>
                  </a:lnTo>
                  <a:lnTo>
                    <a:pt x="570" y="987"/>
                  </a:lnTo>
                  <a:lnTo>
                    <a:pt x="555" y="996"/>
                  </a:lnTo>
                  <a:lnTo>
                    <a:pt x="548" y="996"/>
                  </a:lnTo>
                  <a:lnTo>
                    <a:pt x="518" y="1041"/>
                  </a:lnTo>
                  <a:lnTo>
                    <a:pt x="494" y="1046"/>
                  </a:lnTo>
                  <a:lnTo>
                    <a:pt x="485" y="1063"/>
                  </a:lnTo>
                  <a:lnTo>
                    <a:pt x="463" y="1053"/>
                  </a:lnTo>
                  <a:lnTo>
                    <a:pt x="452" y="1063"/>
                  </a:lnTo>
                  <a:lnTo>
                    <a:pt x="392" y="1070"/>
                  </a:lnTo>
                  <a:lnTo>
                    <a:pt x="383" y="1079"/>
                  </a:lnTo>
                  <a:lnTo>
                    <a:pt x="397" y="1098"/>
                  </a:lnTo>
                  <a:lnTo>
                    <a:pt x="359" y="1136"/>
                  </a:lnTo>
                  <a:lnTo>
                    <a:pt x="291" y="1141"/>
                  </a:lnTo>
                  <a:lnTo>
                    <a:pt x="237" y="1174"/>
                  </a:lnTo>
                  <a:lnTo>
                    <a:pt x="220" y="1157"/>
                  </a:lnTo>
                  <a:lnTo>
                    <a:pt x="220" y="1152"/>
                  </a:lnTo>
                  <a:lnTo>
                    <a:pt x="211" y="1164"/>
                  </a:lnTo>
                  <a:lnTo>
                    <a:pt x="178" y="1174"/>
                  </a:lnTo>
                  <a:lnTo>
                    <a:pt x="144" y="1174"/>
                  </a:lnTo>
                  <a:lnTo>
                    <a:pt x="156" y="1157"/>
                  </a:lnTo>
                  <a:lnTo>
                    <a:pt x="144" y="1152"/>
                  </a:lnTo>
                  <a:lnTo>
                    <a:pt x="123" y="1103"/>
                  </a:lnTo>
                  <a:lnTo>
                    <a:pt x="59" y="1053"/>
                  </a:lnTo>
                  <a:lnTo>
                    <a:pt x="38" y="1025"/>
                  </a:lnTo>
                  <a:lnTo>
                    <a:pt x="52" y="996"/>
                  </a:lnTo>
                  <a:lnTo>
                    <a:pt x="90" y="996"/>
                  </a:lnTo>
                  <a:lnTo>
                    <a:pt x="161" y="996"/>
                  </a:lnTo>
                  <a:lnTo>
                    <a:pt x="140" y="975"/>
                  </a:lnTo>
                  <a:lnTo>
                    <a:pt x="114" y="935"/>
                  </a:lnTo>
                  <a:lnTo>
                    <a:pt x="114" y="902"/>
                  </a:lnTo>
                  <a:lnTo>
                    <a:pt x="114" y="885"/>
                  </a:lnTo>
                  <a:lnTo>
                    <a:pt x="114" y="843"/>
                  </a:lnTo>
                  <a:lnTo>
                    <a:pt x="102" y="843"/>
                  </a:lnTo>
                  <a:lnTo>
                    <a:pt x="102" y="803"/>
                  </a:lnTo>
                  <a:lnTo>
                    <a:pt x="76" y="791"/>
                  </a:lnTo>
                  <a:lnTo>
                    <a:pt x="69" y="770"/>
                  </a:lnTo>
                  <a:lnTo>
                    <a:pt x="48" y="770"/>
                  </a:lnTo>
                  <a:lnTo>
                    <a:pt x="48" y="770"/>
                  </a:lnTo>
                  <a:lnTo>
                    <a:pt x="48" y="77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2" name="Freeform 411">
              <a:extLst>
                <a:ext uri="{FF2B5EF4-FFF2-40B4-BE49-F238E27FC236}">
                  <a16:creationId xmlns:a16="http://schemas.microsoft.com/office/drawing/2014/main" id="{01D4CCAF-770A-4D80-9170-771B640AE6BB}"/>
                </a:ext>
              </a:extLst>
            </p:cNvPr>
            <p:cNvSpPr>
              <a:spLocks noEditPoints="1"/>
            </p:cNvSpPr>
            <p:nvPr/>
          </p:nvSpPr>
          <p:spPr bwMode="gray">
            <a:xfrm>
              <a:off x="15572117" y="3881698"/>
              <a:ext cx="51058" cy="91970"/>
            </a:xfrm>
            <a:custGeom>
              <a:avLst/>
              <a:gdLst>
                <a:gd name="T0" fmla="*/ 17 w 156"/>
                <a:gd name="T1" fmla="*/ 182 h 281"/>
                <a:gd name="T2" fmla="*/ 12 w 156"/>
                <a:gd name="T3" fmla="*/ 116 h 281"/>
                <a:gd name="T4" fmla="*/ 12 w 156"/>
                <a:gd name="T5" fmla="*/ 111 h 281"/>
                <a:gd name="T6" fmla="*/ 12 w 156"/>
                <a:gd name="T7" fmla="*/ 133 h 281"/>
                <a:gd name="T8" fmla="*/ 17 w 156"/>
                <a:gd name="T9" fmla="*/ 133 h 281"/>
                <a:gd name="T10" fmla="*/ 17 w 156"/>
                <a:gd name="T11" fmla="*/ 95 h 281"/>
                <a:gd name="T12" fmla="*/ 28 w 156"/>
                <a:gd name="T13" fmla="*/ 88 h 281"/>
                <a:gd name="T14" fmla="*/ 28 w 156"/>
                <a:gd name="T15" fmla="*/ 59 h 281"/>
                <a:gd name="T16" fmla="*/ 33 w 156"/>
                <a:gd name="T17" fmla="*/ 55 h 281"/>
                <a:gd name="T18" fmla="*/ 33 w 156"/>
                <a:gd name="T19" fmla="*/ 33 h 281"/>
                <a:gd name="T20" fmla="*/ 38 w 156"/>
                <a:gd name="T21" fmla="*/ 22 h 281"/>
                <a:gd name="T22" fmla="*/ 33 w 156"/>
                <a:gd name="T23" fmla="*/ 17 h 281"/>
                <a:gd name="T24" fmla="*/ 71 w 156"/>
                <a:gd name="T25" fmla="*/ 33 h 281"/>
                <a:gd name="T26" fmla="*/ 28 w 156"/>
                <a:gd name="T27" fmla="*/ 5 h 281"/>
                <a:gd name="T28" fmla="*/ 28 w 156"/>
                <a:gd name="T29" fmla="*/ 0 h 281"/>
                <a:gd name="T30" fmla="*/ 33 w 156"/>
                <a:gd name="T31" fmla="*/ 0 h 281"/>
                <a:gd name="T32" fmla="*/ 54 w 156"/>
                <a:gd name="T33" fmla="*/ 17 h 281"/>
                <a:gd name="T34" fmla="*/ 38 w 156"/>
                <a:gd name="T35" fmla="*/ 0 h 281"/>
                <a:gd name="T36" fmla="*/ 50 w 156"/>
                <a:gd name="T37" fmla="*/ 0 h 281"/>
                <a:gd name="T38" fmla="*/ 85 w 156"/>
                <a:gd name="T39" fmla="*/ 38 h 281"/>
                <a:gd name="T40" fmla="*/ 92 w 156"/>
                <a:gd name="T41" fmla="*/ 59 h 281"/>
                <a:gd name="T42" fmla="*/ 102 w 156"/>
                <a:gd name="T43" fmla="*/ 59 h 281"/>
                <a:gd name="T44" fmla="*/ 106 w 156"/>
                <a:gd name="T45" fmla="*/ 88 h 281"/>
                <a:gd name="T46" fmla="*/ 118 w 156"/>
                <a:gd name="T47" fmla="*/ 95 h 281"/>
                <a:gd name="T48" fmla="*/ 106 w 156"/>
                <a:gd name="T49" fmla="*/ 95 h 281"/>
                <a:gd name="T50" fmla="*/ 123 w 156"/>
                <a:gd name="T51" fmla="*/ 95 h 281"/>
                <a:gd name="T52" fmla="*/ 123 w 156"/>
                <a:gd name="T53" fmla="*/ 116 h 281"/>
                <a:gd name="T54" fmla="*/ 156 w 156"/>
                <a:gd name="T55" fmla="*/ 170 h 281"/>
                <a:gd name="T56" fmla="*/ 156 w 156"/>
                <a:gd name="T57" fmla="*/ 206 h 281"/>
                <a:gd name="T58" fmla="*/ 139 w 156"/>
                <a:gd name="T59" fmla="*/ 244 h 281"/>
                <a:gd name="T60" fmla="*/ 118 w 156"/>
                <a:gd name="T61" fmla="*/ 260 h 281"/>
                <a:gd name="T62" fmla="*/ 71 w 156"/>
                <a:gd name="T63" fmla="*/ 281 h 281"/>
                <a:gd name="T64" fmla="*/ 38 w 156"/>
                <a:gd name="T65" fmla="*/ 277 h 281"/>
                <a:gd name="T66" fmla="*/ 33 w 156"/>
                <a:gd name="T67" fmla="*/ 260 h 281"/>
                <a:gd name="T68" fmla="*/ 17 w 156"/>
                <a:gd name="T69" fmla="*/ 222 h 281"/>
                <a:gd name="T70" fmla="*/ 17 w 156"/>
                <a:gd name="T71" fmla="*/ 182 h 281"/>
                <a:gd name="T72" fmla="*/ 17 w 156"/>
                <a:gd name="T73" fmla="*/ 182 h 281"/>
                <a:gd name="T74" fmla="*/ 17 w 156"/>
                <a:gd name="T75" fmla="*/ 182 h 281"/>
                <a:gd name="T76" fmla="*/ 17 w 156"/>
                <a:gd name="T77" fmla="*/ 5 h 281"/>
                <a:gd name="T78" fmla="*/ 28 w 156"/>
                <a:gd name="T79" fmla="*/ 17 h 281"/>
                <a:gd name="T80" fmla="*/ 17 w 156"/>
                <a:gd name="T81" fmla="*/ 5 h 281"/>
                <a:gd name="T82" fmla="*/ 17 w 156"/>
                <a:gd name="T83" fmla="*/ 5 h 281"/>
                <a:gd name="T84" fmla="*/ 17 w 156"/>
                <a:gd name="T85" fmla="*/ 5 h 281"/>
                <a:gd name="T86" fmla="*/ 17 w 156"/>
                <a:gd name="T87" fmla="*/ 5 h 281"/>
                <a:gd name="T88" fmla="*/ 12 w 156"/>
                <a:gd name="T89" fmla="*/ 55 h 281"/>
                <a:gd name="T90" fmla="*/ 17 w 156"/>
                <a:gd name="T91" fmla="*/ 59 h 281"/>
                <a:gd name="T92" fmla="*/ 0 w 156"/>
                <a:gd name="T93" fmla="*/ 55 h 281"/>
                <a:gd name="T94" fmla="*/ 12 w 156"/>
                <a:gd name="T95" fmla="*/ 55 h 281"/>
                <a:gd name="T96" fmla="*/ 12 w 156"/>
                <a:gd name="T97" fmla="*/ 55 h 281"/>
                <a:gd name="T98" fmla="*/ 12 w 156"/>
                <a:gd name="T99" fmla="*/ 55 h 281"/>
                <a:gd name="T100" fmla="*/ 144 w 156"/>
                <a:gd name="T101" fmla="*/ 154 h 281"/>
                <a:gd name="T102" fmla="*/ 156 w 156"/>
                <a:gd name="T103" fmla="*/ 170 h 281"/>
                <a:gd name="T104" fmla="*/ 144 w 156"/>
                <a:gd name="T105" fmla="*/ 149 h 281"/>
                <a:gd name="T106" fmla="*/ 144 w 156"/>
                <a:gd name="T107" fmla="*/ 154 h 281"/>
                <a:gd name="T108" fmla="*/ 144 w 156"/>
                <a:gd name="T109" fmla="*/ 154 h 281"/>
                <a:gd name="T110" fmla="*/ 144 w 156"/>
                <a:gd name="T111" fmla="*/ 15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6" h="281">
                  <a:moveTo>
                    <a:pt x="17" y="182"/>
                  </a:moveTo>
                  <a:lnTo>
                    <a:pt x="12" y="116"/>
                  </a:lnTo>
                  <a:lnTo>
                    <a:pt x="12" y="111"/>
                  </a:lnTo>
                  <a:lnTo>
                    <a:pt x="12" y="133"/>
                  </a:lnTo>
                  <a:lnTo>
                    <a:pt x="17" y="133"/>
                  </a:lnTo>
                  <a:lnTo>
                    <a:pt x="17" y="95"/>
                  </a:lnTo>
                  <a:lnTo>
                    <a:pt x="28" y="88"/>
                  </a:lnTo>
                  <a:lnTo>
                    <a:pt x="28" y="59"/>
                  </a:lnTo>
                  <a:lnTo>
                    <a:pt x="33" y="55"/>
                  </a:lnTo>
                  <a:lnTo>
                    <a:pt x="33" y="33"/>
                  </a:lnTo>
                  <a:lnTo>
                    <a:pt x="38" y="22"/>
                  </a:lnTo>
                  <a:lnTo>
                    <a:pt x="33" y="17"/>
                  </a:lnTo>
                  <a:lnTo>
                    <a:pt x="71" y="33"/>
                  </a:lnTo>
                  <a:lnTo>
                    <a:pt x="28" y="5"/>
                  </a:lnTo>
                  <a:lnTo>
                    <a:pt x="28" y="0"/>
                  </a:lnTo>
                  <a:lnTo>
                    <a:pt x="33" y="0"/>
                  </a:lnTo>
                  <a:lnTo>
                    <a:pt x="54" y="17"/>
                  </a:lnTo>
                  <a:lnTo>
                    <a:pt x="38" y="0"/>
                  </a:lnTo>
                  <a:lnTo>
                    <a:pt x="50" y="0"/>
                  </a:lnTo>
                  <a:lnTo>
                    <a:pt x="85" y="38"/>
                  </a:lnTo>
                  <a:lnTo>
                    <a:pt x="92" y="59"/>
                  </a:lnTo>
                  <a:lnTo>
                    <a:pt x="102" y="59"/>
                  </a:lnTo>
                  <a:lnTo>
                    <a:pt x="106" y="88"/>
                  </a:lnTo>
                  <a:lnTo>
                    <a:pt x="118" y="95"/>
                  </a:lnTo>
                  <a:lnTo>
                    <a:pt x="106" y="95"/>
                  </a:lnTo>
                  <a:lnTo>
                    <a:pt x="123" y="95"/>
                  </a:lnTo>
                  <a:lnTo>
                    <a:pt x="123" y="116"/>
                  </a:lnTo>
                  <a:lnTo>
                    <a:pt x="156" y="170"/>
                  </a:lnTo>
                  <a:lnTo>
                    <a:pt x="156" y="206"/>
                  </a:lnTo>
                  <a:lnTo>
                    <a:pt x="139" y="244"/>
                  </a:lnTo>
                  <a:lnTo>
                    <a:pt x="118" y="260"/>
                  </a:lnTo>
                  <a:lnTo>
                    <a:pt x="71" y="281"/>
                  </a:lnTo>
                  <a:lnTo>
                    <a:pt x="38" y="277"/>
                  </a:lnTo>
                  <a:lnTo>
                    <a:pt x="33" y="260"/>
                  </a:lnTo>
                  <a:lnTo>
                    <a:pt x="17" y="222"/>
                  </a:lnTo>
                  <a:lnTo>
                    <a:pt x="17" y="182"/>
                  </a:lnTo>
                  <a:lnTo>
                    <a:pt x="17" y="182"/>
                  </a:lnTo>
                  <a:lnTo>
                    <a:pt x="17" y="182"/>
                  </a:lnTo>
                  <a:close/>
                  <a:moveTo>
                    <a:pt x="17" y="5"/>
                  </a:moveTo>
                  <a:lnTo>
                    <a:pt x="28" y="17"/>
                  </a:lnTo>
                  <a:lnTo>
                    <a:pt x="17" y="5"/>
                  </a:lnTo>
                  <a:lnTo>
                    <a:pt x="17" y="5"/>
                  </a:lnTo>
                  <a:lnTo>
                    <a:pt x="17" y="5"/>
                  </a:lnTo>
                  <a:lnTo>
                    <a:pt x="17" y="5"/>
                  </a:lnTo>
                  <a:close/>
                  <a:moveTo>
                    <a:pt x="12" y="55"/>
                  </a:moveTo>
                  <a:lnTo>
                    <a:pt x="17" y="59"/>
                  </a:lnTo>
                  <a:lnTo>
                    <a:pt x="0" y="55"/>
                  </a:lnTo>
                  <a:lnTo>
                    <a:pt x="12" y="55"/>
                  </a:lnTo>
                  <a:lnTo>
                    <a:pt x="12" y="55"/>
                  </a:lnTo>
                  <a:lnTo>
                    <a:pt x="12" y="55"/>
                  </a:lnTo>
                  <a:close/>
                  <a:moveTo>
                    <a:pt x="144" y="154"/>
                  </a:moveTo>
                  <a:lnTo>
                    <a:pt x="156" y="170"/>
                  </a:lnTo>
                  <a:lnTo>
                    <a:pt x="144" y="149"/>
                  </a:lnTo>
                  <a:lnTo>
                    <a:pt x="144" y="154"/>
                  </a:lnTo>
                  <a:lnTo>
                    <a:pt x="144" y="154"/>
                  </a:lnTo>
                  <a:lnTo>
                    <a:pt x="144" y="154"/>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3" name="Freeform 412">
              <a:extLst>
                <a:ext uri="{FF2B5EF4-FFF2-40B4-BE49-F238E27FC236}">
                  <a16:creationId xmlns:a16="http://schemas.microsoft.com/office/drawing/2014/main" id="{DA8F54AF-709C-4279-BA5D-D9E8F4EA7393}"/>
                </a:ext>
              </a:extLst>
            </p:cNvPr>
            <p:cNvSpPr>
              <a:spLocks/>
            </p:cNvSpPr>
            <p:nvPr/>
          </p:nvSpPr>
          <p:spPr bwMode="gray">
            <a:xfrm>
              <a:off x="13999457" y="4027018"/>
              <a:ext cx="170849" cy="205870"/>
            </a:xfrm>
            <a:custGeom>
              <a:avLst/>
              <a:gdLst>
                <a:gd name="T0" fmla="*/ 123 w 522"/>
                <a:gd name="T1" fmla="*/ 589 h 629"/>
                <a:gd name="T2" fmla="*/ 107 w 522"/>
                <a:gd name="T3" fmla="*/ 596 h 629"/>
                <a:gd name="T4" fmla="*/ 85 w 522"/>
                <a:gd name="T5" fmla="*/ 612 h 629"/>
                <a:gd name="T6" fmla="*/ 59 w 522"/>
                <a:gd name="T7" fmla="*/ 629 h 629"/>
                <a:gd name="T8" fmla="*/ 48 w 522"/>
                <a:gd name="T9" fmla="*/ 596 h 629"/>
                <a:gd name="T10" fmla="*/ 5 w 522"/>
                <a:gd name="T11" fmla="*/ 534 h 629"/>
                <a:gd name="T12" fmla="*/ 48 w 522"/>
                <a:gd name="T13" fmla="*/ 534 h 629"/>
                <a:gd name="T14" fmla="*/ 52 w 522"/>
                <a:gd name="T15" fmla="*/ 522 h 629"/>
                <a:gd name="T16" fmla="*/ 38 w 522"/>
                <a:gd name="T17" fmla="*/ 501 h 629"/>
                <a:gd name="T18" fmla="*/ 38 w 522"/>
                <a:gd name="T19" fmla="*/ 468 h 629"/>
                <a:gd name="T20" fmla="*/ 38 w 522"/>
                <a:gd name="T21" fmla="*/ 452 h 629"/>
                <a:gd name="T22" fmla="*/ 48 w 522"/>
                <a:gd name="T23" fmla="*/ 444 h 629"/>
                <a:gd name="T24" fmla="*/ 69 w 522"/>
                <a:gd name="T25" fmla="*/ 444 h 629"/>
                <a:gd name="T26" fmla="*/ 90 w 522"/>
                <a:gd name="T27" fmla="*/ 407 h 629"/>
                <a:gd name="T28" fmla="*/ 107 w 522"/>
                <a:gd name="T29" fmla="*/ 395 h 629"/>
                <a:gd name="T30" fmla="*/ 128 w 522"/>
                <a:gd name="T31" fmla="*/ 440 h 629"/>
                <a:gd name="T32" fmla="*/ 182 w 522"/>
                <a:gd name="T33" fmla="*/ 423 h 629"/>
                <a:gd name="T34" fmla="*/ 211 w 522"/>
                <a:gd name="T35" fmla="*/ 444 h 629"/>
                <a:gd name="T36" fmla="*/ 232 w 522"/>
                <a:gd name="T37" fmla="*/ 407 h 629"/>
                <a:gd name="T38" fmla="*/ 232 w 522"/>
                <a:gd name="T39" fmla="*/ 340 h 629"/>
                <a:gd name="T40" fmla="*/ 232 w 522"/>
                <a:gd name="T41" fmla="*/ 300 h 629"/>
                <a:gd name="T42" fmla="*/ 211 w 522"/>
                <a:gd name="T43" fmla="*/ 284 h 629"/>
                <a:gd name="T44" fmla="*/ 194 w 522"/>
                <a:gd name="T45" fmla="*/ 279 h 629"/>
                <a:gd name="T46" fmla="*/ 211 w 522"/>
                <a:gd name="T47" fmla="*/ 229 h 629"/>
                <a:gd name="T48" fmla="*/ 237 w 522"/>
                <a:gd name="T49" fmla="*/ 201 h 629"/>
                <a:gd name="T50" fmla="*/ 182 w 522"/>
                <a:gd name="T51" fmla="*/ 168 h 629"/>
                <a:gd name="T52" fmla="*/ 144 w 522"/>
                <a:gd name="T53" fmla="*/ 168 h 629"/>
                <a:gd name="T54" fmla="*/ 156 w 522"/>
                <a:gd name="T55" fmla="*/ 111 h 629"/>
                <a:gd name="T56" fmla="*/ 265 w 522"/>
                <a:gd name="T57" fmla="*/ 118 h 629"/>
                <a:gd name="T58" fmla="*/ 345 w 522"/>
                <a:gd name="T59" fmla="*/ 152 h 629"/>
                <a:gd name="T60" fmla="*/ 345 w 522"/>
                <a:gd name="T61" fmla="*/ 111 h 629"/>
                <a:gd name="T62" fmla="*/ 378 w 522"/>
                <a:gd name="T63" fmla="*/ 62 h 629"/>
                <a:gd name="T64" fmla="*/ 383 w 522"/>
                <a:gd name="T65" fmla="*/ 7 h 629"/>
                <a:gd name="T66" fmla="*/ 447 w 522"/>
                <a:gd name="T67" fmla="*/ 0 h 629"/>
                <a:gd name="T68" fmla="*/ 468 w 522"/>
                <a:gd name="T69" fmla="*/ 7 h 629"/>
                <a:gd name="T70" fmla="*/ 492 w 522"/>
                <a:gd name="T71" fmla="*/ 19 h 629"/>
                <a:gd name="T72" fmla="*/ 522 w 522"/>
                <a:gd name="T73" fmla="*/ 19 h 629"/>
                <a:gd name="T74" fmla="*/ 485 w 522"/>
                <a:gd name="T75" fmla="*/ 102 h 629"/>
                <a:gd name="T76" fmla="*/ 480 w 522"/>
                <a:gd name="T77" fmla="*/ 201 h 629"/>
                <a:gd name="T78" fmla="*/ 463 w 522"/>
                <a:gd name="T79" fmla="*/ 279 h 629"/>
                <a:gd name="T80" fmla="*/ 437 w 522"/>
                <a:gd name="T81" fmla="*/ 340 h 629"/>
                <a:gd name="T82" fmla="*/ 378 w 522"/>
                <a:gd name="T83" fmla="*/ 407 h 629"/>
                <a:gd name="T84" fmla="*/ 362 w 522"/>
                <a:gd name="T85" fmla="*/ 506 h 629"/>
                <a:gd name="T86" fmla="*/ 307 w 522"/>
                <a:gd name="T87" fmla="*/ 555 h 629"/>
                <a:gd name="T88" fmla="*/ 286 w 522"/>
                <a:gd name="T89" fmla="*/ 579 h 629"/>
                <a:gd name="T90" fmla="*/ 248 w 522"/>
                <a:gd name="T91" fmla="*/ 617 h 629"/>
                <a:gd name="T92" fmla="*/ 232 w 522"/>
                <a:gd name="T93" fmla="*/ 596 h 629"/>
                <a:gd name="T94" fmla="*/ 232 w 522"/>
                <a:gd name="T95" fmla="*/ 579 h 629"/>
                <a:gd name="T96" fmla="*/ 182 w 522"/>
                <a:gd name="T97" fmla="*/ 589 h 629"/>
                <a:gd name="T98" fmla="*/ 166 w 522"/>
                <a:gd name="T99" fmla="*/ 612 h 629"/>
                <a:gd name="T100" fmla="*/ 140 w 522"/>
                <a:gd name="T101" fmla="*/ 596 h 629"/>
                <a:gd name="T102" fmla="*/ 140 w 522"/>
                <a:gd name="T103" fmla="*/ 605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2" h="629">
                  <a:moveTo>
                    <a:pt x="140" y="605"/>
                  </a:moveTo>
                  <a:lnTo>
                    <a:pt x="123" y="589"/>
                  </a:lnTo>
                  <a:lnTo>
                    <a:pt x="114" y="589"/>
                  </a:lnTo>
                  <a:lnTo>
                    <a:pt x="107" y="596"/>
                  </a:lnTo>
                  <a:lnTo>
                    <a:pt x="90" y="605"/>
                  </a:lnTo>
                  <a:lnTo>
                    <a:pt x="85" y="612"/>
                  </a:lnTo>
                  <a:lnTo>
                    <a:pt x="76" y="612"/>
                  </a:lnTo>
                  <a:lnTo>
                    <a:pt x="59" y="629"/>
                  </a:lnTo>
                  <a:lnTo>
                    <a:pt x="48" y="612"/>
                  </a:lnTo>
                  <a:lnTo>
                    <a:pt x="48" y="596"/>
                  </a:lnTo>
                  <a:lnTo>
                    <a:pt x="0" y="551"/>
                  </a:lnTo>
                  <a:lnTo>
                    <a:pt x="5" y="534"/>
                  </a:lnTo>
                  <a:lnTo>
                    <a:pt x="31" y="522"/>
                  </a:lnTo>
                  <a:lnTo>
                    <a:pt x="48" y="534"/>
                  </a:lnTo>
                  <a:lnTo>
                    <a:pt x="52" y="534"/>
                  </a:lnTo>
                  <a:lnTo>
                    <a:pt x="52" y="522"/>
                  </a:lnTo>
                  <a:lnTo>
                    <a:pt x="59" y="506"/>
                  </a:lnTo>
                  <a:lnTo>
                    <a:pt x="38" y="501"/>
                  </a:lnTo>
                  <a:lnTo>
                    <a:pt x="48" y="485"/>
                  </a:lnTo>
                  <a:lnTo>
                    <a:pt x="38" y="468"/>
                  </a:lnTo>
                  <a:lnTo>
                    <a:pt x="31" y="478"/>
                  </a:lnTo>
                  <a:lnTo>
                    <a:pt x="38" y="452"/>
                  </a:lnTo>
                  <a:lnTo>
                    <a:pt x="31" y="440"/>
                  </a:lnTo>
                  <a:lnTo>
                    <a:pt x="48" y="444"/>
                  </a:lnTo>
                  <a:lnTo>
                    <a:pt x="59" y="440"/>
                  </a:lnTo>
                  <a:lnTo>
                    <a:pt x="69" y="444"/>
                  </a:lnTo>
                  <a:lnTo>
                    <a:pt x="90" y="440"/>
                  </a:lnTo>
                  <a:lnTo>
                    <a:pt x="90" y="407"/>
                  </a:lnTo>
                  <a:lnTo>
                    <a:pt x="102" y="407"/>
                  </a:lnTo>
                  <a:lnTo>
                    <a:pt x="107" y="395"/>
                  </a:lnTo>
                  <a:lnTo>
                    <a:pt x="123" y="407"/>
                  </a:lnTo>
                  <a:lnTo>
                    <a:pt x="128" y="440"/>
                  </a:lnTo>
                  <a:lnTo>
                    <a:pt x="166" y="444"/>
                  </a:lnTo>
                  <a:lnTo>
                    <a:pt x="182" y="423"/>
                  </a:lnTo>
                  <a:lnTo>
                    <a:pt x="194" y="444"/>
                  </a:lnTo>
                  <a:lnTo>
                    <a:pt x="211" y="444"/>
                  </a:lnTo>
                  <a:lnTo>
                    <a:pt x="220" y="411"/>
                  </a:lnTo>
                  <a:lnTo>
                    <a:pt x="232" y="407"/>
                  </a:lnTo>
                  <a:lnTo>
                    <a:pt x="237" y="357"/>
                  </a:lnTo>
                  <a:lnTo>
                    <a:pt x="232" y="340"/>
                  </a:lnTo>
                  <a:lnTo>
                    <a:pt x="237" y="312"/>
                  </a:lnTo>
                  <a:lnTo>
                    <a:pt x="232" y="300"/>
                  </a:lnTo>
                  <a:lnTo>
                    <a:pt x="215" y="300"/>
                  </a:lnTo>
                  <a:lnTo>
                    <a:pt x="211" y="284"/>
                  </a:lnTo>
                  <a:lnTo>
                    <a:pt x="194" y="284"/>
                  </a:lnTo>
                  <a:lnTo>
                    <a:pt x="194" y="279"/>
                  </a:lnTo>
                  <a:lnTo>
                    <a:pt x="199" y="246"/>
                  </a:lnTo>
                  <a:lnTo>
                    <a:pt x="211" y="229"/>
                  </a:lnTo>
                  <a:lnTo>
                    <a:pt x="220" y="222"/>
                  </a:lnTo>
                  <a:lnTo>
                    <a:pt x="237" y="201"/>
                  </a:lnTo>
                  <a:lnTo>
                    <a:pt x="215" y="168"/>
                  </a:lnTo>
                  <a:lnTo>
                    <a:pt x="182" y="168"/>
                  </a:lnTo>
                  <a:lnTo>
                    <a:pt x="144" y="185"/>
                  </a:lnTo>
                  <a:lnTo>
                    <a:pt x="144" y="168"/>
                  </a:lnTo>
                  <a:lnTo>
                    <a:pt x="140" y="147"/>
                  </a:lnTo>
                  <a:lnTo>
                    <a:pt x="156" y="111"/>
                  </a:lnTo>
                  <a:lnTo>
                    <a:pt x="237" y="111"/>
                  </a:lnTo>
                  <a:lnTo>
                    <a:pt x="265" y="118"/>
                  </a:lnTo>
                  <a:lnTo>
                    <a:pt x="324" y="128"/>
                  </a:lnTo>
                  <a:lnTo>
                    <a:pt x="345" y="152"/>
                  </a:lnTo>
                  <a:lnTo>
                    <a:pt x="355" y="147"/>
                  </a:lnTo>
                  <a:lnTo>
                    <a:pt x="345" y="111"/>
                  </a:lnTo>
                  <a:lnTo>
                    <a:pt x="355" y="102"/>
                  </a:lnTo>
                  <a:lnTo>
                    <a:pt x="378" y="62"/>
                  </a:lnTo>
                  <a:lnTo>
                    <a:pt x="378" y="41"/>
                  </a:lnTo>
                  <a:lnTo>
                    <a:pt x="383" y="7"/>
                  </a:lnTo>
                  <a:lnTo>
                    <a:pt x="437" y="7"/>
                  </a:lnTo>
                  <a:lnTo>
                    <a:pt x="447" y="0"/>
                  </a:lnTo>
                  <a:lnTo>
                    <a:pt x="468" y="7"/>
                  </a:lnTo>
                  <a:lnTo>
                    <a:pt x="468" y="7"/>
                  </a:lnTo>
                  <a:lnTo>
                    <a:pt x="492" y="7"/>
                  </a:lnTo>
                  <a:lnTo>
                    <a:pt x="492" y="19"/>
                  </a:lnTo>
                  <a:lnTo>
                    <a:pt x="518" y="0"/>
                  </a:lnTo>
                  <a:lnTo>
                    <a:pt x="522" y="19"/>
                  </a:lnTo>
                  <a:lnTo>
                    <a:pt x="522" y="41"/>
                  </a:lnTo>
                  <a:lnTo>
                    <a:pt x="485" y="102"/>
                  </a:lnTo>
                  <a:lnTo>
                    <a:pt x="485" y="156"/>
                  </a:lnTo>
                  <a:lnTo>
                    <a:pt x="480" y="201"/>
                  </a:lnTo>
                  <a:lnTo>
                    <a:pt x="480" y="239"/>
                  </a:lnTo>
                  <a:lnTo>
                    <a:pt x="463" y="279"/>
                  </a:lnTo>
                  <a:lnTo>
                    <a:pt x="463" y="312"/>
                  </a:lnTo>
                  <a:lnTo>
                    <a:pt x="437" y="340"/>
                  </a:lnTo>
                  <a:lnTo>
                    <a:pt x="400" y="357"/>
                  </a:lnTo>
                  <a:lnTo>
                    <a:pt x="378" y="407"/>
                  </a:lnTo>
                  <a:lnTo>
                    <a:pt x="355" y="423"/>
                  </a:lnTo>
                  <a:lnTo>
                    <a:pt x="362" y="506"/>
                  </a:lnTo>
                  <a:lnTo>
                    <a:pt x="329" y="551"/>
                  </a:lnTo>
                  <a:lnTo>
                    <a:pt x="307" y="555"/>
                  </a:lnTo>
                  <a:lnTo>
                    <a:pt x="307" y="572"/>
                  </a:lnTo>
                  <a:lnTo>
                    <a:pt x="286" y="579"/>
                  </a:lnTo>
                  <a:lnTo>
                    <a:pt x="265" y="612"/>
                  </a:lnTo>
                  <a:lnTo>
                    <a:pt x="248" y="617"/>
                  </a:lnTo>
                  <a:lnTo>
                    <a:pt x="232" y="617"/>
                  </a:lnTo>
                  <a:lnTo>
                    <a:pt x="232" y="596"/>
                  </a:lnTo>
                  <a:lnTo>
                    <a:pt x="237" y="589"/>
                  </a:lnTo>
                  <a:lnTo>
                    <a:pt x="232" y="579"/>
                  </a:lnTo>
                  <a:lnTo>
                    <a:pt x="199" y="589"/>
                  </a:lnTo>
                  <a:lnTo>
                    <a:pt x="182" y="589"/>
                  </a:lnTo>
                  <a:lnTo>
                    <a:pt x="182" y="612"/>
                  </a:lnTo>
                  <a:lnTo>
                    <a:pt x="166" y="612"/>
                  </a:lnTo>
                  <a:lnTo>
                    <a:pt x="161" y="617"/>
                  </a:lnTo>
                  <a:lnTo>
                    <a:pt x="140" y="596"/>
                  </a:lnTo>
                  <a:lnTo>
                    <a:pt x="140" y="605"/>
                  </a:lnTo>
                  <a:lnTo>
                    <a:pt x="140" y="605"/>
                  </a:lnTo>
                  <a:lnTo>
                    <a:pt x="140" y="605"/>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4" name="Freeform 413">
              <a:extLst>
                <a:ext uri="{FF2B5EF4-FFF2-40B4-BE49-F238E27FC236}">
                  <a16:creationId xmlns:a16="http://schemas.microsoft.com/office/drawing/2014/main" id="{2218A85C-0DCE-4758-B052-3E052DDBCA07}"/>
                </a:ext>
              </a:extLst>
            </p:cNvPr>
            <p:cNvSpPr>
              <a:spLocks noEditPoints="1"/>
            </p:cNvSpPr>
            <p:nvPr/>
          </p:nvSpPr>
          <p:spPr bwMode="gray">
            <a:xfrm>
              <a:off x="14024331" y="3987087"/>
              <a:ext cx="439887" cy="446760"/>
            </a:xfrm>
            <a:custGeom>
              <a:avLst/>
              <a:gdLst>
                <a:gd name="T0" fmla="*/ 38 w 1344"/>
                <a:gd name="T1" fmla="*/ 819 h 1365"/>
                <a:gd name="T2" fmla="*/ 28 w 1344"/>
                <a:gd name="T3" fmla="*/ 748 h 1365"/>
                <a:gd name="T4" fmla="*/ 87 w 1344"/>
                <a:gd name="T5" fmla="*/ 737 h 1365"/>
                <a:gd name="T6" fmla="*/ 125 w 1344"/>
                <a:gd name="T7" fmla="*/ 708 h 1365"/>
                <a:gd name="T8" fmla="*/ 158 w 1344"/>
                <a:gd name="T9" fmla="*/ 737 h 1365"/>
                <a:gd name="T10" fmla="*/ 234 w 1344"/>
                <a:gd name="T11" fmla="*/ 692 h 1365"/>
                <a:gd name="T12" fmla="*/ 281 w 1344"/>
                <a:gd name="T13" fmla="*/ 543 h 1365"/>
                <a:gd name="T14" fmla="*/ 390 w 1344"/>
                <a:gd name="T15" fmla="*/ 432 h 1365"/>
                <a:gd name="T16" fmla="*/ 411 w 1344"/>
                <a:gd name="T17" fmla="*/ 276 h 1365"/>
                <a:gd name="T18" fmla="*/ 458 w 1344"/>
                <a:gd name="T19" fmla="*/ 99 h 1365"/>
                <a:gd name="T20" fmla="*/ 503 w 1344"/>
                <a:gd name="T21" fmla="*/ 16 h 1365"/>
                <a:gd name="T22" fmla="*/ 588 w 1344"/>
                <a:gd name="T23" fmla="*/ 70 h 1365"/>
                <a:gd name="T24" fmla="*/ 713 w 1344"/>
                <a:gd name="T25" fmla="*/ 87 h 1365"/>
                <a:gd name="T26" fmla="*/ 751 w 1344"/>
                <a:gd name="T27" fmla="*/ 44 h 1365"/>
                <a:gd name="T28" fmla="*/ 857 w 1344"/>
                <a:gd name="T29" fmla="*/ 16 h 1365"/>
                <a:gd name="T30" fmla="*/ 933 w 1344"/>
                <a:gd name="T31" fmla="*/ 0 h 1365"/>
                <a:gd name="T32" fmla="*/ 1020 w 1344"/>
                <a:gd name="T33" fmla="*/ 16 h 1365"/>
                <a:gd name="T34" fmla="*/ 1091 w 1344"/>
                <a:gd name="T35" fmla="*/ 44 h 1365"/>
                <a:gd name="T36" fmla="*/ 1198 w 1344"/>
                <a:gd name="T37" fmla="*/ 70 h 1365"/>
                <a:gd name="T38" fmla="*/ 1235 w 1344"/>
                <a:gd name="T39" fmla="*/ 70 h 1365"/>
                <a:gd name="T40" fmla="*/ 1290 w 1344"/>
                <a:gd name="T41" fmla="*/ 127 h 1365"/>
                <a:gd name="T42" fmla="*/ 1311 w 1344"/>
                <a:gd name="T43" fmla="*/ 144 h 1365"/>
                <a:gd name="T44" fmla="*/ 1311 w 1344"/>
                <a:gd name="T45" fmla="*/ 214 h 1365"/>
                <a:gd name="T46" fmla="*/ 1268 w 1344"/>
                <a:gd name="T47" fmla="*/ 304 h 1365"/>
                <a:gd name="T48" fmla="*/ 1231 w 1344"/>
                <a:gd name="T49" fmla="*/ 382 h 1365"/>
                <a:gd name="T50" fmla="*/ 1188 w 1344"/>
                <a:gd name="T51" fmla="*/ 526 h 1365"/>
                <a:gd name="T52" fmla="*/ 1181 w 1344"/>
                <a:gd name="T53" fmla="*/ 588 h 1365"/>
                <a:gd name="T54" fmla="*/ 1205 w 1344"/>
                <a:gd name="T55" fmla="*/ 682 h 1365"/>
                <a:gd name="T56" fmla="*/ 1214 w 1344"/>
                <a:gd name="T57" fmla="*/ 819 h 1365"/>
                <a:gd name="T58" fmla="*/ 1273 w 1344"/>
                <a:gd name="T59" fmla="*/ 904 h 1365"/>
                <a:gd name="T60" fmla="*/ 1167 w 1344"/>
                <a:gd name="T61" fmla="*/ 1025 h 1365"/>
                <a:gd name="T62" fmla="*/ 1150 w 1344"/>
                <a:gd name="T63" fmla="*/ 1126 h 1365"/>
                <a:gd name="T64" fmla="*/ 1143 w 1344"/>
                <a:gd name="T65" fmla="*/ 1247 h 1365"/>
                <a:gd name="T66" fmla="*/ 1214 w 1344"/>
                <a:gd name="T67" fmla="*/ 1287 h 1365"/>
                <a:gd name="T68" fmla="*/ 1219 w 1344"/>
                <a:gd name="T69" fmla="*/ 1358 h 1365"/>
                <a:gd name="T70" fmla="*/ 1181 w 1344"/>
                <a:gd name="T71" fmla="*/ 1358 h 1365"/>
                <a:gd name="T72" fmla="*/ 1096 w 1344"/>
                <a:gd name="T73" fmla="*/ 1280 h 1365"/>
                <a:gd name="T74" fmla="*/ 1053 w 1344"/>
                <a:gd name="T75" fmla="*/ 1225 h 1365"/>
                <a:gd name="T76" fmla="*/ 966 w 1344"/>
                <a:gd name="T77" fmla="*/ 1247 h 1365"/>
                <a:gd name="T78" fmla="*/ 881 w 1344"/>
                <a:gd name="T79" fmla="*/ 1209 h 1365"/>
                <a:gd name="T80" fmla="*/ 827 w 1344"/>
                <a:gd name="T81" fmla="*/ 1176 h 1365"/>
                <a:gd name="T82" fmla="*/ 730 w 1344"/>
                <a:gd name="T83" fmla="*/ 1181 h 1365"/>
                <a:gd name="T84" fmla="*/ 713 w 1344"/>
                <a:gd name="T85" fmla="*/ 1136 h 1365"/>
                <a:gd name="T86" fmla="*/ 680 w 1344"/>
                <a:gd name="T87" fmla="*/ 1003 h 1365"/>
                <a:gd name="T88" fmla="*/ 588 w 1344"/>
                <a:gd name="T89" fmla="*/ 914 h 1365"/>
                <a:gd name="T90" fmla="*/ 520 w 1344"/>
                <a:gd name="T91" fmla="*/ 892 h 1365"/>
                <a:gd name="T92" fmla="*/ 444 w 1344"/>
                <a:gd name="T93" fmla="*/ 959 h 1365"/>
                <a:gd name="T94" fmla="*/ 406 w 1344"/>
                <a:gd name="T95" fmla="*/ 970 h 1365"/>
                <a:gd name="T96" fmla="*/ 319 w 1344"/>
                <a:gd name="T97" fmla="*/ 848 h 1365"/>
                <a:gd name="T98" fmla="*/ 272 w 1344"/>
                <a:gd name="T99" fmla="*/ 810 h 1365"/>
                <a:gd name="T100" fmla="*/ 54 w 1344"/>
                <a:gd name="T101" fmla="*/ 810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4" h="1365">
                  <a:moveTo>
                    <a:pt x="272" y="810"/>
                  </a:moveTo>
                  <a:lnTo>
                    <a:pt x="71" y="810"/>
                  </a:lnTo>
                  <a:lnTo>
                    <a:pt x="50" y="810"/>
                  </a:lnTo>
                  <a:lnTo>
                    <a:pt x="38" y="819"/>
                  </a:lnTo>
                  <a:lnTo>
                    <a:pt x="16" y="819"/>
                  </a:lnTo>
                  <a:lnTo>
                    <a:pt x="0" y="803"/>
                  </a:lnTo>
                  <a:lnTo>
                    <a:pt x="28" y="803"/>
                  </a:lnTo>
                  <a:lnTo>
                    <a:pt x="28" y="748"/>
                  </a:lnTo>
                  <a:lnTo>
                    <a:pt x="50" y="732"/>
                  </a:lnTo>
                  <a:lnTo>
                    <a:pt x="66" y="725"/>
                  </a:lnTo>
                  <a:lnTo>
                    <a:pt x="66" y="715"/>
                  </a:lnTo>
                  <a:lnTo>
                    <a:pt x="87" y="737"/>
                  </a:lnTo>
                  <a:lnTo>
                    <a:pt x="92" y="732"/>
                  </a:lnTo>
                  <a:lnTo>
                    <a:pt x="109" y="732"/>
                  </a:lnTo>
                  <a:lnTo>
                    <a:pt x="109" y="708"/>
                  </a:lnTo>
                  <a:lnTo>
                    <a:pt x="125" y="708"/>
                  </a:lnTo>
                  <a:lnTo>
                    <a:pt x="158" y="699"/>
                  </a:lnTo>
                  <a:lnTo>
                    <a:pt x="163" y="708"/>
                  </a:lnTo>
                  <a:lnTo>
                    <a:pt x="158" y="715"/>
                  </a:lnTo>
                  <a:lnTo>
                    <a:pt x="158" y="737"/>
                  </a:lnTo>
                  <a:lnTo>
                    <a:pt x="172" y="737"/>
                  </a:lnTo>
                  <a:lnTo>
                    <a:pt x="189" y="732"/>
                  </a:lnTo>
                  <a:lnTo>
                    <a:pt x="210" y="699"/>
                  </a:lnTo>
                  <a:lnTo>
                    <a:pt x="234" y="692"/>
                  </a:lnTo>
                  <a:lnTo>
                    <a:pt x="234" y="675"/>
                  </a:lnTo>
                  <a:lnTo>
                    <a:pt x="255" y="670"/>
                  </a:lnTo>
                  <a:lnTo>
                    <a:pt x="286" y="625"/>
                  </a:lnTo>
                  <a:lnTo>
                    <a:pt x="281" y="543"/>
                  </a:lnTo>
                  <a:lnTo>
                    <a:pt x="302" y="526"/>
                  </a:lnTo>
                  <a:lnTo>
                    <a:pt x="324" y="477"/>
                  </a:lnTo>
                  <a:lnTo>
                    <a:pt x="361" y="460"/>
                  </a:lnTo>
                  <a:lnTo>
                    <a:pt x="390" y="432"/>
                  </a:lnTo>
                  <a:lnTo>
                    <a:pt x="390" y="399"/>
                  </a:lnTo>
                  <a:lnTo>
                    <a:pt x="406" y="359"/>
                  </a:lnTo>
                  <a:lnTo>
                    <a:pt x="406" y="321"/>
                  </a:lnTo>
                  <a:lnTo>
                    <a:pt x="411" y="276"/>
                  </a:lnTo>
                  <a:lnTo>
                    <a:pt x="411" y="222"/>
                  </a:lnTo>
                  <a:lnTo>
                    <a:pt x="449" y="160"/>
                  </a:lnTo>
                  <a:lnTo>
                    <a:pt x="449" y="139"/>
                  </a:lnTo>
                  <a:lnTo>
                    <a:pt x="458" y="99"/>
                  </a:lnTo>
                  <a:lnTo>
                    <a:pt x="449" y="70"/>
                  </a:lnTo>
                  <a:lnTo>
                    <a:pt x="458" y="70"/>
                  </a:lnTo>
                  <a:lnTo>
                    <a:pt x="482" y="33"/>
                  </a:lnTo>
                  <a:lnTo>
                    <a:pt x="503" y="16"/>
                  </a:lnTo>
                  <a:lnTo>
                    <a:pt x="534" y="16"/>
                  </a:lnTo>
                  <a:lnTo>
                    <a:pt x="572" y="44"/>
                  </a:lnTo>
                  <a:lnTo>
                    <a:pt x="583" y="54"/>
                  </a:lnTo>
                  <a:lnTo>
                    <a:pt x="588" y="70"/>
                  </a:lnTo>
                  <a:lnTo>
                    <a:pt x="621" y="66"/>
                  </a:lnTo>
                  <a:lnTo>
                    <a:pt x="638" y="82"/>
                  </a:lnTo>
                  <a:lnTo>
                    <a:pt x="676" y="82"/>
                  </a:lnTo>
                  <a:lnTo>
                    <a:pt x="713" y="87"/>
                  </a:lnTo>
                  <a:lnTo>
                    <a:pt x="730" y="82"/>
                  </a:lnTo>
                  <a:lnTo>
                    <a:pt x="730" y="66"/>
                  </a:lnTo>
                  <a:lnTo>
                    <a:pt x="735" y="66"/>
                  </a:lnTo>
                  <a:lnTo>
                    <a:pt x="751" y="44"/>
                  </a:lnTo>
                  <a:lnTo>
                    <a:pt x="789" y="54"/>
                  </a:lnTo>
                  <a:lnTo>
                    <a:pt x="798" y="49"/>
                  </a:lnTo>
                  <a:lnTo>
                    <a:pt x="857" y="28"/>
                  </a:lnTo>
                  <a:lnTo>
                    <a:pt x="857" y="16"/>
                  </a:lnTo>
                  <a:lnTo>
                    <a:pt x="881" y="33"/>
                  </a:lnTo>
                  <a:lnTo>
                    <a:pt x="919" y="28"/>
                  </a:lnTo>
                  <a:lnTo>
                    <a:pt x="928" y="0"/>
                  </a:lnTo>
                  <a:lnTo>
                    <a:pt x="933" y="0"/>
                  </a:lnTo>
                  <a:lnTo>
                    <a:pt x="966" y="11"/>
                  </a:lnTo>
                  <a:lnTo>
                    <a:pt x="983" y="11"/>
                  </a:lnTo>
                  <a:lnTo>
                    <a:pt x="1004" y="28"/>
                  </a:lnTo>
                  <a:lnTo>
                    <a:pt x="1020" y="16"/>
                  </a:lnTo>
                  <a:lnTo>
                    <a:pt x="1025" y="28"/>
                  </a:lnTo>
                  <a:lnTo>
                    <a:pt x="1042" y="11"/>
                  </a:lnTo>
                  <a:lnTo>
                    <a:pt x="1075" y="28"/>
                  </a:lnTo>
                  <a:lnTo>
                    <a:pt x="1091" y="44"/>
                  </a:lnTo>
                  <a:lnTo>
                    <a:pt x="1096" y="54"/>
                  </a:lnTo>
                  <a:lnTo>
                    <a:pt x="1134" y="82"/>
                  </a:lnTo>
                  <a:lnTo>
                    <a:pt x="1167" y="54"/>
                  </a:lnTo>
                  <a:lnTo>
                    <a:pt x="1198" y="70"/>
                  </a:lnTo>
                  <a:lnTo>
                    <a:pt x="1214" y="49"/>
                  </a:lnTo>
                  <a:lnTo>
                    <a:pt x="1219" y="49"/>
                  </a:lnTo>
                  <a:lnTo>
                    <a:pt x="1235" y="54"/>
                  </a:lnTo>
                  <a:lnTo>
                    <a:pt x="1235" y="70"/>
                  </a:lnTo>
                  <a:lnTo>
                    <a:pt x="1257" y="87"/>
                  </a:lnTo>
                  <a:lnTo>
                    <a:pt x="1268" y="103"/>
                  </a:lnTo>
                  <a:lnTo>
                    <a:pt x="1290" y="103"/>
                  </a:lnTo>
                  <a:lnTo>
                    <a:pt x="1290" y="127"/>
                  </a:lnTo>
                  <a:lnTo>
                    <a:pt x="1306" y="120"/>
                  </a:lnTo>
                  <a:lnTo>
                    <a:pt x="1311" y="139"/>
                  </a:lnTo>
                  <a:lnTo>
                    <a:pt x="1311" y="139"/>
                  </a:lnTo>
                  <a:lnTo>
                    <a:pt x="1311" y="144"/>
                  </a:lnTo>
                  <a:lnTo>
                    <a:pt x="1306" y="165"/>
                  </a:lnTo>
                  <a:lnTo>
                    <a:pt x="1311" y="181"/>
                  </a:lnTo>
                  <a:lnTo>
                    <a:pt x="1294" y="210"/>
                  </a:lnTo>
                  <a:lnTo>
                    <a:pt x="1311" y="214"/>
                  </a:lnTo>
                  <a:lnTo>
                    <a:pt x="1323" y="214"/>
                  </a:lnTo>
                  <a:lnTo>
                    <a:pt x="1344" y="231"/>
                  </a:lnTo>
                  <a:lnTo>
                    <a:pt x="1285" y="304"/>
                  </a:lnTo>
                  <a:lnTo>
                    <a:pt x="1268" y="304"/>
                  </a:lnTo>
                  <a:lnTo>
                    <a:pt x="1257" y="321"/>
                  </a:lnTo>
                  <a:lnTo>
                    <a:pt x="1242" y="325"/>
                  </a:lnTo>
                  <a:lnTo>
                    <a:pt x="1242" y="349"/>
                  </a:lnTo>
                  <a:lnTo>
                    <a:pt x="1231" y="382"/>
                  </a:lnTo>
                  <a:lnTo>
                    <a:pt x="1219" y="453"/>
                  </a:lnTo>
                  <a:lnTo>
                    <a:pt x="1219" y="486"/>
                  </a:lnTo>
                  <a:lnTo>
                    <a:pt x="1198" y="505"/>
                  </a:lnTo>
                  <a:lnTo>
                    <a:pt x="1188" y="526"/>
                  </a:lnTo>
                  <a:lnTo>
                    <a:pt x="1188" y="548"/>
                  </a:lnTo>
                  <a:lnTo>
                    <a:pt x="1167" y="559"/>
                  </a:lnTo>
                  <a:lnTo>
                    <a:pt x="1176" y="581"/>
                  </a:lnTo>
                  <a:lnTo>
                    <a:pt x="1181" y="588"/>
                  </a:lnTo>
                  <a:lnTo>
                    <a:pt x="1181" y="588"/>
                  </a:lnTo>
                  <a:lnTo>
                    <a:pt x="1198" y="604"/>
                  </a:lnTo>
                  <a:lnTo>
                    <a:pt x="1198" y="670"/>
                  </a:lnTo>
                  <a:lnTo>
                    <a:pt x="1205" y="682"/>
                  </a:lnTo>
                  <a:lnTo>
                    <a:pt x="1205" y="708"/>
                  </a:lnTo>
                  <a:lnTo>
                    <a:pt x="1205" y="748"/>
                  </a:lnTo>
                  <a:lnTo>
                    <a:pt x="1219" y="803"/>
                  </a:lnTo>
                  <a:lnTo>
                    <a:pt x="1214" y="819"/>
                  </a:lnTo>
                  <a:lnTo>
                    <a:pt x="1219" y="843"/>
                  </a:lnTo>
                  <a:lnTo>
                    <a:pt x="1231" y="864"/>
                  </a:lnTo>
                  <a:lnTo>
                    <a:pt x="1252" y="881"/>
                  </a:lnTo>
                  <a:lnTo>
                    <a:pt x="1273" y="904"/>
                  </a:lnTo>
                  <a:lnTo>
                    <a:pt x="1306" y="975"/>
                  </a:lnTo>
                  <a:lnTo>
                    <a:pt x="1176" y="1003"/>
                  </a:lnTo>
                  <a:lnTo>
                    <a:pt x="1176" y="1015"/>
                  </a:lnTo>
                  <a:lnTo>
                    <a:pt x="1167" y="1025"/>
                  </a:lnTo>
                  <a:lnTo>
                    <a:pt x="1134" y="1058"/>
                  </a:lnTo>
                  <a:lnTo>
                    <a:pt x="1143" y="1065"/>
                  </a:lnTo>
                  <a:lnTo>
                    <a:pt x="1160" y="1098"/>
                  </a:lnTo>
                  <a:lnTo>
                    <a:pt x="1150" y="1126"/>
                  </a:lnTo>
                  <a:lnTo>
                    <a:pt x="1160" y="1159"/>
                  </a:lnTo>
                  <a:lnTo>
                    <a:pt x="1150" y="1176"/>
                  </a:lnTo>
                  <a:lnTo>
                    <a:pt x="1134" y="1225"/>
                  </a:lnTo>
                  <a:lnTo>
                    <a:pt x="1143" y="1247"/>
                  </a:lnTo>
                  <a:lnTo>
                    <a:pt x="1167" y="1263"/>
                  </a:lnTo>
                  <a:lnTo>
                    <a:pt x="1181" y="1287"/>
                  </a:lnTo>
                  <a:lnTo>
                    <a:pt x="1198" y="1287"/>
                  </a:lnTo>
                  <a:lnTo>
                    <a:pt x="1214" y="1287"/>
                  </a:lnTo>
                  <a:lnTo>
                    <a:pt x="1214" y="1270"/>
                  </a:lnTo>
                  <a:lnTo>
                    <a:pt x="1235" y="1270"/>
                  </a:lnTo>
                  <a:lnTo>
                    <a:pt x="1235" y="1365"/>
                  </a:lnTo>
                  <a:lnTo>
                    <a:pt x="1219" y="1358"/>
                  </a:lnTo>
                  <a:lnTo>
                    <a:pt x="1231" y="1346"/>
                  </a:lnTo>
                  <a:lnTo>
                    <a:pt x="1219" y="1346"/>
                  </a:lnTo>
                  <a:lnTo>
                    <a:pt x="1188" y="1358"/>
                  </a:lnTo>
                  <a:lnTo>
                    <a:pt x="1181" y="1358"/>
                  </a:lnTo>
                  <a:lnTo>
                    <a:pt x="1160" y="1325"/>
                  </a:lnTo>
                  <a:lnTo>
                    <a:pt x="1150" y="1320"/>
                  </a:lnTo>
                  <a:lnTo>
                    <a:pt x="1143" y="1292"/>
                  </a:lnTo>
                  <a:lnTo>
                    <a:pt x="1096" y="1280"/>
                  </a:lnTo>
                  <a:lnTo>
                    <a:pt x="1079" y="1280"/>
                  </a:lnTo>
                  <a:lnTo>
                    <a:pt x="1075" y="1254"/>
                  </a:lnTo>
                  <a:lnTo>
                    <a:pt x="1058" y="1237"/>
                  </a:lnTo>
                  <a:lnTo>
                    <a:pt x="1053" y="1225"/>
                  </a:lnTo>
                  <a:lnTo>
                    <a:pt x="1042" y="1230"/>
                  </a:lnTo>
                  <a:lnTo>
                    <a:pt x="1037" y="1247"/>
                  </a:lnTo>
                  <a:lnTo>
                    <a:pt x="1025" y="1254"/>
                  </a:lnTo>
                  <a:lnTo>
                    <a:pt x="966" y="1247"/>
                  </a:lnTo>
                  <a:lnTo>
                    <a:pt x="928" y="1230"/>
                  </a:lnTo>
                  <a:lnTo>
                    <a:pt x="919" y="1209"/>
                  </a:lnTo>
                  <a:lnTo>
                    <a:pt x="919" y="1197"/>
                  </a:lnTo>
                  <a:lnTo>
                    <a:pt x="881" y="1209"/>
                  </a:lnTo>
                  <a:lnTo>
                    <a:pt x="857" y="1214"/>
                  </a:lnTo>
                  <a:lnTo>
                    <a:pt x="853" y="1209"/>
                  </a:lnTo>
                  <a:lnTo>
                    <a:pt x="857" y="1192"/>
                  </a:lnTo>
                  <a:lnTo>
                    <a:pt x="827" y="1176"/>
                  </a:lnTo>
                  <a:lnTo>
                    <a:pt x="820" y="1181"/>
                  </a:lnTo>
                  <a:lnTo>
                    <a:pt x="789" y="1181"/>
                  </a:lnTo>
                  <a:lnTo>
                    <a:pt x="768" y="1192"/>
                  </a:lnTo>
                  <a:lnTo>
                    <a:pt x="730" y="1181"/>
                  </a:lnTo>
                  <a:lnTo>
                    <a:pt x="702" y="1197"/>
                  </a:lnTo>
                  <a:lnTo>
                    <a:pt x="702" y="1176"/>
                  </a:lnTo>
                  <a:lnTo>
                    <a:pt x="713" y="1169"/>
                  </a:lnTo>
                  <a:lnTo>
                    <a:pt x="713" y="1136"/>
                  </a:lnTo>
                  <a:lnTo>
                    <a:pt x="697" y="1103"/>
                  </a:lnTo>
                  <a:lnTo>
                    <a:pt x="680" y="1086"/>
                  </a:lnTo>
                  <a:lnTo>
                    <a:pt x="676" y="1065"/>
                  </a:lnTo>
                  <a:lnTo>
                    <a:pt x="680" y="1003"/>
                  </a:lnTo>
                  <a:lnTo>
                    <a:pt x="676" y="959"/>
                  </a:lnTo>
                  <a:lnTo>
                    <a:pt x="680" y="930"/>
                  </a:lnTo>
                  <a:lnTo>
                    <a:pt x="676" y="914"/>
                  </a:lnTo>
                  <a:lnTo>
                    <a:pt x="588" y="914"/>
                  </a:lnTo>
                  <a:lnTo>
                    <a:pt x="595" y="892"/>
                  </a:lnTo>
                  <a:lnTo>
                    <a:pt x="572" y="892"/>
                  </a:lnTo>
                  <a:lnTo>
                    <a:pt x="572" y="892"/>
                  </a:lnTo>
                  <a:lnTo>
                    <a:pt x="520" y="892"/>
                  </a:lnTo>
                  <a:lnTo>
                    <a:pt x="520" y="930"/>
                  </a:lnTo>
                  <a:lnTo>
                    <a:pt x="503" y="937"/>
                  </a:lnTo>
                  <a:lnTo>
                    <a:pt x="503" y="959"/>
                  </a:lnTo>
                  <a:lnTo>
                    <a:pt x="444" y="959"/>
                  </a:lnTo>
                  <a:lnTo>
                    <a:pt x="444" y="959"/>
                  </a:lnTo>
                  <a:lnTo>
                    <a:pt x="416" y="970"/>
                  </a:lnTo>
                  <a:lnTo>
                    <a:pt x="416" y="970"/>
                  </a:lnTo>
                  <a:lnTo>
                    <a:pt x="406" y="970"/>
                  </a:lnTo>
                  <a:lnTo>
                    <a:pt x="378" y="970"/>
                  </a:lnTo>
                  <a:lnTo>
                    <a:pt x="335" y="904"/>
                  </a:lnTo>
                  <a:lnTo>
                    <a:pt x="335" y="892"/>
                  </a:lnTo>
                  <a:lnTo>
                    <a:pt x="319" y="848"/>
                  </a:lnTo>
                  <a:lnTo>
                    <a:pt x="319" y="836"/>
                  </a:lnTo>
                  <a:lnTo>
                    <a:pt x="307" y="819"/>
                  </a:lnTo>
                  <a:lnTo>
                    <a:pt x="272" y="810"/>
                  </a:lnTo>
                  <a:lnTo>
                    <a:pt x="272" y="810"/>
                  </a:lnTo>
                  <a:lnTo>
                    <a:pt x="272" y="810"/>
                  </a:lnTo>
                  <a:close/>
                  <a:moveTo>
                    <a:pt x="38" y="819"/>
                  </a:moveTo>
                  <a:lnTo>
                    <a:pt x="50" y="810"/>
                  </a:lnTo>
                  <a:lnTo>
                    <a:pt x="54" y="810"/>
                  </a:lnTo>
                  <a:lnTo>
                    <a:pt x="38" y="819"/>
                  </a:lnTo>
                  <a:lnTo>
                    <a:pt x="38" y="819"/>
                  </a:lnTo>
                  <a:lnTo>
                    <a:pt x="38" y="81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5" name="Freeform 414">
              <a:extLst>
                <a:ext uri="{FF2B5EF4-FFF2-40B4-BE49-F238E27FC236}">
                  <a16:creationId xmlns:a16="http://schemas.microsoft.com/office/drawing/2014/main" id="{F6EAE736-70F5-4FF0-AEE5-787E47DBECA0}"/>
                </a:ext>
              </a:extLst>
            </p:cNvPr>
            <p:cNvSpPr>
              <a:spLocks noEditPoints="1"/>
            </p:cNvSpPr>
            <p:nvPr/>
          </p:nvSpPr>
          <p:spPr bwMode="gray">
            <a:xfrm>
              <a:off x="15434653" y="2715867"/>
              <a:ext cx="1403121" cy="966507"/>
            </a:xfrm>
            <a:custGeom>
              <a:avLst/>
              <a:gdLst>
                <a:gd name="T0" fmla="*/ 361 w 4287"/>
                <a:gd name="T1" fmla="*/ 1833 h 2953"/>
                <a:gd name="T2" fmla="*/ 314 w 4287"/>
                <a:gd name="T3" fmla="*/ 1606 h 2953"/>
                <a:gd name="T4" fmla="*/ 54 w 4287"/>
                <a:gd name="T5" fmla="*/ 1462 h 2953"/>
                <a:gd name="T6" fmla="*/ 7 w 4287"/>
                <a:gd name="T7" fmla="*/ 1273 h 2953"/>
                <a:gd name="T8" fmla="*/ 233 w 4287"/>
                <a:gd name="T9" fmla="*/ 1146 h 2953"/>
                <a:gd name="T10" fmla="*/ 474 w 4287"/>
                <a:gd name="T11" fmla="*/ 869 h 2953"/>
                <a:gd name="T12" fmla="*/ 777 w 4287"/>
                <a:gd name="T13" fmla="*/ 614 h 2953"/>
                <a:gd name="T14" fmla="*/ 999 w 4287"/>
                <a:gd name="T15" fmla="*/ 432 h 2953"/>
                <a:gd name="T16" fmla="*/ 1216 w 4287"/>
                <a:gd name="T17" fmla="*/ 680 h 2953"/>
                <a:gd name="T18" fmla="*/ 1821 w 4287"/>
                <a:gd name="T19" fmla="*/ 1014 h 2953"/>
                <a:gd name="T20" fmla="*/ 2581 w 4287"/>
                <a:gd name="T21" fmla="*/ 985 h 2953"/>
                <a:gd name="T22" fmla="*/ 3030 w 4287"/>
                <a:gd name="T23" fmla="*/ 669 h 2953"/>
                <a:gd name="T24" fmla="*/ 3099 w 4287"/>
                <a:gd name="T25" fmla="*/ 520 h 2953"/>
                <a:gd name="T26" fmla="*/ 3191 w 4287"/>
                <a:gd name="T27" fmla="*/ 298 h 2953"/>
                <a:gd name="T28" fmla="*/ 3569 w 4287"/>
                <a:gd name="T29" fmla="*/ 26 h 2953"/>
                <a:gd name="T30" fmla="*/ 3732 w 4287"/>
                <a:gd name="T31" fmla="*/ 222 h 2953"/>
                <a:gd name="T32" fmla="*/ 3947 w 4287"/>
                <a:gd name="T33" fmla="*/ 425 h 2953"/>
                <a:gd name="T34" fmla="*/ 4287 w 4287"/>
                <a:gd name="T35" fmla="*/ 553 h 2953"/>
                <a:gd name="T36" fmla="*/ 4055 w 4287"/>
                <a:gd name="T37" fmla="*/ 796 h 2953"/>
                <a:gd name="T38" fmla="*/ 3921 w 4287"/>
                <a:gd name="T39" fmla="*/ 1025 h 2953"/>
                <a:gd name="T40" fmla="*/ 3607 w 4287"/>
                <a:gd name="T41" fmla="*/ 1195 h 2953"/>
                <a:gd name="T42" fmla="*/ 3363 w 4287"/>
                <a:gd name="T43" fmla="*/ 1295 h 2953"/>
                <a:gd name="T44" fmla="*/ 3283 w 4287"/>
                <a:gd name="T45" fmla="*/ 1207 h 2953"/>
                <a:gd name="T46" fmla="*/ 3203 w 4287"/>
                <a:gd name="T47" fmla="*/ 1472 h 2953"/>
                <a:gd name="T48" fmla="*/ 3408 w 4287"/>
                <a:gd name="T49" fmla="*/ 1495 h 2953"/>
                <a:gd name="T50" fmla="*/ 3278 w 4287"/>
                <a:gd name="T51" fmla="*/ 1540 h 2953"/>
                <a:gd name="T52" fmla="*/ 3354 w 4287"/>
                <a:gd name="T53" fmla="*/ 1862 h 2953"/>
                <a:gd name="T54" fmla="*/ 3300 w 4287"/>
                <a:gd name="T55" fmla="*/ 1888 h 2953"/>
                <a:gd name="T56" fmla="*/ 3370 w 4287"/>
                <a:gd name="T57" fmla="*/ 2048 h 2953"/>
                <a:gd name="T58" fmla="*/ 3363 w 4287"/>
                <a:gd name="T59" fmla="*/ 2105 h 2953"/>
                <a:gd name="T60" fmla="*/ 3295 w 4287"/>
                <a:gd name="T61" fmla="*/ 2199 h 2953"/>
                <a:gd name="T62" fmla="*/ 3245 w 4287"/>
                <a:gd name="T63" fmla="*/ 2294 h 2953"/>
                <a:gd name="T64" fmla="*/ 3191 w 4287"/>
                <a:gd name="T65" fmla="*/ 2343 h 2953"/>
                <a:gd name="T66" fmla="*/ 3170 w 4287"/>
                <a:gd name="T67" fmla="*/ 2426 h 2953"/>
                <a:gd name="T68" fmla="*/ 3120 w 4287"/>
                <a:gd name="T69" fmla="*/ 2492 h 2953"/>
                <a:gd name="T70" fmla="*/ 2938 w 4287"/>
                <a:gd name="T71" fmla="*/ 2608 h 2953"/>
                <a:gd name="T72" fmla="*/ 2841 w 4287"/>
                <a:gd name="T73" fmla="*/ 2624 h 2953"/>
                <a:gd name="T74" fmla="*/ 2787 w 4287"/>
                <a:gd name="T75" fmla="*/ 2653 h 2953"/>
                <a:gd name="T76" fmla="*/ 2624 w 4287"/>
                <a:gd name="T77" fmla="*/ 2698 h 2953"/>
                <a:gd name="T78" fmla="*/ 2591 w 4287"/>
                <a:gd name="T79" fmla="*/ 2776 h 2953"/>
                <a:gd name="T80" fmla="*/ 2522 w 4287"/>
                <a:gd name="T81" fmla="*/ 2698 h 2953"/>
                <a:gd name="T82" fmla="*/ 2430 w 4287"/>
                <a:gd name="T83" fmla="*/ 2691 h 2953"/>
                <a:gd name="T84" fmla="*/ 2241 w 4287"/>
                <a:gd name="T85" fmla="*/ 2580 h 2953"/>
                <a:gd name="T86" fmla="*/ 1972 w 4287"/>
                <a:gd name="T87" fmla="*/ 2624 h 2953"/>
                <a:gd name="T88" fmla="*/ 1851 w 4287"/>
                <a:gd name="T89" fmla="*/ 2681 h 2953"/>
                <a:gd name="T90" fmla="*/ 1691 w 4287"/>
                <a:gd name="T91" fmla="*/ 2525 h 2953"/>
                <a:gd name="T92" fmla="*/ 1766 w 4287"/>
                <a:gd name="T93" fmla="*/ 2294 h 2953"/>
                <a:gd name="T94" fmla="*/ 1582 w 4287"/>
                <a:gd name="T95" fmla="*/ 2126 h 2953"/>
                <a:gd name="T96" fmla="*/ 1313 w 4287"/>
                <a:gd name="T97" fmla="*/ 2216 h 2953"/>
                <a:gd name="T98" fmla="*/ 1015 w 4287"/>
                <a:gd name="T99" fmla="*/ 2204 h 2953"/>
                <a:gd name="T100" fmla="*/ 810 w 4287"/>
                <a:gd name="T101" fmla="*/ 2150 h 2953"/>
                <a:gd name="T102" fmla="*/ 529 w 4287"/>
                <a:gd name="T103" fmla="*/ 2039 h 2953"/>
                <a:gd name="T104" fmla="*/ 3229 w 4287"/>
                <a:gd name="T105" fmla="*/ 1866 h 2953"/>
                <a:gd name="T106" fmla="*/ 3401 w 4287"/>
                <a:gd name="T107" fmla="*/ 2032 h 2953"/>
                <a:gd name="T108" fmla="*/ 3418 w 4287"/>
                <a:gd name="T109" fmla="*/ 2048 h 2953"/>
                <a:gd name="T110" fmla="*/ 3337 w 4287"/>
                <a:gd name="T111" fmla="*/ 2192 h 2953"/>
                <a:gd name="T112" fmla="*/ 3115 w 4287"/>
                <a:gd name="T113" fmla="*/ 2476 h 2953"/>
                <a:gd name="T114" fmla="*/ 2851 w 4287"/>
                <a:gd name="T115" fmla="*/ 2641 h 2953"/>
                <a:gd name="T116" fmla="*/ 2683 w 4287"/>
                <a:gd name="T117" fmla="*/ 2691 h 2953"/>
                <a:gd name="T118" fmla="*/ 2570 w 4287"/>
                <a:gd name="T119" fmla="*/ 2731 h 2953"/>
                <a:gd name="T120" fmla="*/ 2560 w 4287"/>
                <a:gd name="T121" fmla="*/ 2809 h 2953"/>
                <a:gd name="T122" fmla="*/ 2527 w 4287"/>
                <a:gd name="T123" fmla="*/ 2941 h 2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87" h="2953">
                  <a:moveTo>
                    <a:pt x="524" y="2032"/>
                  </a:moveTo>
                  <a:lnTo>
                    <a:pt x="491" y="2010"/>
                  </a:lnTo>
                  <a:lnTo>
                    <a:pt x="460" y="1999"/>
                  </a:lnTo>
                  <a:lnTo>
                    <a:pt x="470" y="1982"/>
                  </a:lnTo>
                  <a:lnTo>
                    <a:pt x="437" y="1973"/>
                  </a:lnTo>
                  <a:lnTo>
                    <a:pt x="415" y="1973"/>
                  </a:lnTo>
                  <a:lnTo>
                    <a:pt x="385" y="1928"/>
                  </a:lnTo>
                  <a:lnTo>
                    <a:pt x="368" y="1944"/>
                  </a:lnTo>
                  <a:lnTo>
                    <a:pt x="361" y="1937"/>
                  </a:lnTo>
                  <a:lnTo>
                    <a:pt x="361" y="1921"/>
                  </a:lnTo>
                  <a:lnTo>
                    <a:pt x="368" y="1916"/>
                  </a:lnTo>
                  <a:lnTo>
                    <a:pt x="352" y="1904"/>
                  </a:lnTo>
                  <a:lnTo>
                    <a:pt x="361" y="1888"/>
                  </a:lnTo>
                  <a:lnTo>
                    <a:pt x="340" y="1866"/>
                  </a:lnTo>
                  <a:lnTo>
                    <a:pt x="340" y="1845"/>
                  </a:lnTo>
                  <a:lnTo>
                    <a:pt x="361" y="1833"/>
                  </a:lnTo>
                  <a:lnTo>
                    <a:pt x="361" y="1850"/>
                  </a:lnTo>
                  <a:lnTo>
                    <a:pt x="378" y="1862"/>
                  </a:lnTo>
                  <a:lnTo>
                    <a:pt x="394" y="1850"/>
                  </a:lnTo>
                  <a:lnTo>
                    <a:pt x="399" y="1850"/>
                  </a:lnTo>
                  <a:lnTo>
                    <a:pt x="415" y="1828"/>
                  </a:lnTo>
                  <a:lnTo>
                    <a:pt x="399" y="1812"/>
                  </a:lnTo>
                  <a:lnTo>
                    <a:pt x="406" y="1795"/>
                  </a:lnTo>
                  <a:lnTo>
                    <a:pt x="378" y="1776"/>
                  </a:lnTo>
                  <a:lnTo>
                    <a:pt x="361" y="1760"/>
                  </a:lnTo>
                  <a:lnTo>
                    <a:pt x="361" y="1717"/>
                  </a:lnTo>
                  <a:lnTo>
                    <a:pt x="378" y="1706"/>
                  </a:lnTo>
                  <a:lnTo>
                    <a:pt x="378" y="1701"/>
                  </a:lnTo>
                  <a:lnTo>
                    <a:pt x="352" y="1684"/>
                  </a:lnTo>
                  <a:lnTo>
                    <a:pt x="330" y="1677"/>
                  </a:lnTo>
                  <a:lnTo>
                    <a:pt x="309" y="1623"/>
                  </a:lnTo>
                  <a:lnTo>
                    <a:pt x="314" y="1606"/>
                  </a:lnTo>
                  <a:lnTo>
                    <a:pt x="297" y="1606"/>
                  </a:lnTo>
                  <a:lnTo>
                    <a:pt x="271" y="1606"/>
                  </a:lnTo>
                  <a:lnTo>
                    <a:pt x="233" y="1595"/>
                  </a:lnTo>
                  <a:lnTo>
                    <a:pt x="205" y="1583"/>
                  </a:lnTo>
                  <a:lnTo>
                    <a:pt x="205" y="1573"/>
                  </a:lnTo>
                  <a:lnTo>
                    <a:pt x="184" y="1583"/>
                  </a:lnTo>
                  <a:lnTo>
                    <a:pt x="179" y="1566"/>
                  </a:lnTo>
                  <a:lnTo>
                    <a:pt x="163" y="1557"/>
                  </a:lnTo>
                  <a:lnTo>
                    <a:pt x="167" y="1540"/>
                  </a:lnTo>
                  <a:lnTo>
                    <a:pt x="163" y="1512"/>
                  </a:lnTo>
                  <a:lnTo>
                    <a:pt x="146" y="1500"/>
                  </a:lnTo>
                  <a:lnTo>
                    <a:pt x="129" y="1500"/>
                  </a:lnTo>
                  <a:lnTo>
                    <a:pt x="125" y="1484"/>
                  </a:lnTo>
                  <a:lnTo>
                    <a:pt x="108" y="1479"/>
                  </a:lnTo>
                  <a:lnTo>
                    <a:pt x="70" y="1479"/>
                  </a:lnTo>
                  <a:lnTo>
                    <a:pt x="54" y="1462"/>
                  </a:lnTo>
                  <a:lnTo>
                    <a:pt x="82" y="1455"/>
                  </a:lnTo>
                  <a:lnTo>
                    <a:pt x="82" y="1462"/>
                  </a:lnTo>
                  <a:lnTo>
                    <a:pt x="92" y="1462"/>
                  </a:lnTo>
                  <a:lnTo>
                    <a:pt x="113" y="1446"/>
                  </a:lnTo>
                  <a:lnTo>
                    <a:pt x="92" y="1422"/>
                  </a:lnTo>
                  <a:lnTo>
                    <a:pt x="96" y="1417"/>
                  </a:lnTo>
                  <a:lnTo>
                    <a:pt x="82" y="1389"/>
                  </a:lnTo>
                  <a:lnTo>
                    <a:pt x="92" y="1363"/>
                  </a:lnTo>
                  <a:lnTo>
                    <a:pt x="54" y="1347"/>
                  </a:lnTo>
                  <a:lnTo>
                    <a:pt x="37" y="1347"/>
                  </a:lnTo>
                  <a:lnTo>
                    <a:pt x="28" y="1351"/>
                  </a:lnTo>
                  <a:lnTo>
                    <a:pt x="16" y="1347"/>
                  </a:lnTo>
                  <a:lnTo>
                    <a:pt x="7" y="1318"/>
                  </a:lnTo>
                  <a:lnTo>
                    <a:pt x="16" y="1311"/>
                  </a:lnTo>
                  <a:lnTo>
                    <a:pt x="0" y="1295"/>
                  </a:lnTo>
                  <a:lnTo>
                    <a:pt x="7" y="1273"/>
                  </a:lnTo>
                  <a:lnTo>
                    <a:pt x="16" y="1273"/>
                  </a:lnTo>
                  <a:lnTo>
                    <a:pt x="21" y="1262"/>
                  </a:lnTo>
                  <a:lnTo>
                    <a:pt x="16" y="1252"/>
                  </a:lnTo>
                  <a:lnTo>
                    <a:pt x="28" y="1224"/>
                  </a:lnTo>
                  <a:lnTo>
                    <a:pt x="54" y="1219"/>
                  </a:lnTo>
                  <a:lnTo>
                    <a:pt x="75" y="1202"/>
                  </a:lnTo>
                  <a:lnTo>
                    <a:pt x="92" y="1202"/>
                  </a:lnTo>
                  <a:lnTo>
                    <a:pt x="82" y="1186"/>
                  </a:lnTo>
                  <a:lnTo>
                    <a:pt x="113" y="1195"/>
                  </a:lnTo>
                  <a:lnTo>
                    <a:pt x="134" y="1179"/>
                  </a:lnTo>
                  <a:lnTo>
                    <a:pt x="146" y="1202"/>
                  </a:lnTo>
                  <a:lnTo>
                    <a:pt x="179" y="1195"/>
                  </a:lnTo>
                  <a:lnTo>
                    <a:pt x="189" y="1202"/>
                  </a:lnTo>
                  <a:lnTo>
                    <a:pt x="217" y="1179"/>
                  </a:lnTo>
                  <a:lnTo>
                    <a:pt x="217" y="1162"/>
                  </a:lnTo>
                  <a:lnTo>
                    <a:pt x="233" y="1146"/>
                  </a:lnTo>
                  <a:lnTo>
                    <a:pt x="314" y="1141"/>
                  </a:lnTo>
                  <a:lnTo>
                    <a:pt x="330" y="1125"/>
                  </a:lnTo>
                  <a:lnTo>
                    <a:pt x="340" y="1108"/>
                  </a:lnTo>
                  <a:lnTo>
                    <a:pt x="399" y="1075"/>
                  </a:lnTo>
                  <a:lnTo>
                    <a:pt x="432" y="1068"/>
                  </a:lnTo>
                  <a:lnTo>
                    <a:pt x="437" y="1058"/>
                  </a:lnTo>
                  <a:lnTo>
                    <a:pt x="460" y="1051"/>
                  </a:lnTo>
                  <a:lnTo>
                    <a:pt x="460" y="1042"/>
                  </a:lnTo>
                  <a:lnTo>
                    <a:pt x="470" y="1035"/>
                  </a:lnTo>
                  <a:lnTo>
                    <a:pt x="460" y="1002"/>
                  </a:lnTo>
                  <a:lnTo>
                    <a:pt x="470" y="985"/>
                  </a:lnTo>
                  <a:lnTo>
                    <a:pt x="491" y="980"/>
                  </a:lnTo>
                  <a:lnTo>
                    <a:pt x="474" y="969"/>
                  </a:lnTo>
                  <a:lnTo>
                    <a:pt x="507" y="957"/>
                  </a:lnTo>
                  <a:lnTo>
                    <a:pt x="503" y="931"/>
                  </a:lnTo>
                  <a:lnTo>
                    <a:pt x="474" y="869"/>
                  </a:lnTo>
                  <a:lnTo>
                    <a:pt x="474" y="829"/>
                  </a:lnTo>
                  <a:lnTo>
                    <a:pt x="486" y="820"/>
                  </a:lnTo>
                  <a:lnTo>
                    <a:pt x="470" y="813"/>
                  </a:lnTo>
                  <a:lnTo>
                    <a:pt x="448" y="813"/>
                  </a:lnTo>
                  <a:lnTo>
                    <a:pt x="437" y="803"/>
                  </a:lnTo>
                  <a:lnTo>
                    <a:pt x="453" y="791"/>
                  </a:lnTo>
                  <a:lnTo>
                    <a:pt x="566" y="763"/>
                  </a:lnTo>
                  <a:lnTo>
                    <a:pt x="583" y="780"/>
                  </a:lnTo>
                  <a:lnTo>
                    <a:pt x="611" y="775"/>
                  </a:lnTo>
                  <a:lnTo>
                    <a:pt x="633" y="780"/>
                  </a:lnTo>
                  <a:lnTo>
                    <a:pt x="633" y="758"/>
                  </a:lnTo>
                  <a:lnTo>
                    <a:pt x="611" y="742"/>
                  </a:lnTo>
                  <a:lnTo>
                    <a:pt x="663" y="614"/>
                  </a:lnTo>
                  <a:lnTo>
                    <a:pt x="663" y="593"/>
                  </a:lnTo>
                  <a:lnTo>
                    <a:pt x="725" y="614"/>
                  </a:lnTo>
                  <a:lnTo>
                    <a:pt x="777" y="614"/>
                  </a:lnTo>
                  <a:lnTo>
                    <a:pt x="784" y="626"/>
                  </a:lnTo>
                  <a:lnTo>
                    <a:pt x="784" y="631"/>
                  </a:lnTo>
                  <a:lnTo>
                    <a:pt x="815" y="610"/>
                  </a:lnTo>
                  <a:lnTo>
                    <a:pt x="838" y="610"/>
                  </a:lnTo>
                  <a:lnTo>
                    <a:pt x="848" y="593"/>
                  </a:lnTo>
                  <a:lnTo>
                    <a:pt x="848" y="581"/>
                  </a:lnTo>
                  <a:lnTo>
                    <a:pt x="838" y="569"/>
                  </a:lnTo>
                  <a:lnTo>
                    <a:pt x="838" y="527"/>
                  </a:lnTo>
                  <a:lnTo>
                    <a:pt x="852" y="487"/>
                  </a:lnTo>
                  <a:lnTo>
                    <a:pt x="907" y="470"/>
                  </a:lnTo>
                  <a:lnTo>
                    <a:pt x="923" y="458"/>
                  </a:lnTo>
                  <a:lnTo>
                    <a:pt x="918" y="432"/>
                  </a:lnTo>
                  <a:lnTo>
                    <a:pt x="935" y="416"/>
                  </a:lnTo>
                  <a:lnTo>
                    <a:pt x="961" y="425"/>
                  </a:lnTo>
                  <a:lnTo>
                    <a:pt x="999" y="416"/>
                  </a:lnTo>
                  <a:lnTo>
                    <a:pt x="999" y="432"/>
                  </a:lnTo>
                  <a:lnTo>
                    <a:pt x="994" y="442"/>
                  </a:lnTo>
                  <a:lnTo>
                    <a:pt x="1015" y="458"/>
                  </a:lnTo>
                  <a:lnTo>
                    <a:pt x="1011" y="470"/>
                  </a:lnTo>
                  <a:lnTo>
                    <a:pt x="1048" y="487"/>
                  </a:lnTo>
                  <a:lnTo>
                    <a:pt x="1053" y="503"/>
                  </a:lnTo>
                  <a:lnTo>
                    <a:pt x="1086" y="520"/>
                  </a:lnTo>
                  <a:lnTo>
                    <a:pt x="1117" y="520"/>
                  </a:lnTo>
                  <a:lnTo>
                    <a:pt x="1133" y="536"/>
                  </a:lnTo>
                  <a:lnTo>
                    <a:pt x="1155" y="536"/>
                  </a:lnTo>
                  <a:lnTo>
                    <a:pt x="1155" y="543"/>
                  </a:lnTo>
                  <a:lnTo>
                    <a:pt x="1178" y="569"/>
                  </a:lnTo>
                  <a:lnTo>
                    <a:pt x="1188" y="581"/>
                  </a:lnTo>
                  <a:lnTo>
                    <a:pt x="1204" y="610"/>
                  </a:lnTo>
                  <a:lnTo>
                    <a:pt x="1216" y="626"/>
                  </a:lnTo>
                  <a:lnTo>
                    <a:pt x="1226" y="652"/>
                  </a:lnTo>
                  <a:lnTo>
                    <a:pt x="1216" y="680"/>
                  </a:lnTo>
                  <a:lnTo>
                    <a:pt x="1226" y="704"/>
                  </a:lnTo>
                  <a:lnTo>
                    <a:pt x="1204" y="725"/>
                  </a:lnTo>
                  <a:lnTo>
                    <a:pt x="1192" y="747"/>
                  </a:lnTo>
                  <a:lnTo>
                    <a:pt x="1209" y="775"/>
                  </a:lnTo>
                  <a:lnTo>
                    <a:pt x="1259" y="791"/>
                  </a:lnTo>
                  <a:lnTo>
                    <a:pt x="1405" y="796"/>
                  </a:lnTo>
                  <a:lnTo>
                    <a:pt x="1481" y="853"/>
                  </a:lnTo>
                  <a:lnTo>
                    <a:pt x="1502" y="858"/>
                  </a:lnTo>
                  <a:lnTo>
                    <a:pt x="1528" y="858"/>
                  </a:lnTo>
                  <a:lnTo>
                    <a:pt x="1528" y="886"/>
                  </a:lnTo>
                  <a:lnTo>
                    <a:pt x="1540" y="886"/>
                  </a:lnTo>
                  <a:lnTo>
                    <a:pt x="1566" y="947"/>
                  </a:lnTo>
                  <a:lnTo>
                    <a:pt x="1594" y="980"/>
                  </a:lnTo>
                  <a:lnTo>
                    <a:pt x="1594" y="997"/>
                  </a:lnTo>
                  <a:lnTo>
                    <a:pt x="1646" y="985"/>
                  </a:lnTo>
                  <a:lnTo>
                    <a:pt x="1821" y="1014"/>
                  </a:lnTo>
                  <a:lnTo>
                    <a:pt x="1873" y="997"/>
                  </a:lnTo>
                  <a:lnTo>
                    <a:pt x="1911" y="997"/>
                  </a:lnTo>
                  <a:lnTo>
                    <a:pt x="1981" y="1014"/>
                  </a:lnTo>
                  <a:lnTo>
                    <a:pt x="1998" y="1035"/>
                  </a:lnTo>
                  <a:lnTo>
                    <a:pt x="2040" y="1042"/>
                  </a:lnTo>
                  <a:lnTo>
                    <a:pt x="2090" y="1068"/>
                  </a:lnTo>
                  <a:lnTo>
                    <a:pt x="2123" y="1075"/>
                  </a:lnTo>
                  <a:lnTo>
                    <a:pt x="2166" y="1068"/>
                  </a:lnTo>
                  <a:lnTo>
                    <a:pt x="2166" y="1084"/>
                  </a:lnTo>
                  <a:lnTo>
                    <a:pt x="2199" y="1091"/>
                  </a:lnTo>
                  <a:lnTo>
                    <a:pt x="2203" y="1091"/>
                  </a:lnTo>
                  <a:lnTo>
                    <a:pt x="2220" y="1084"/>
                  </a:lnTo>
                  <a:lnTo>
                    <a:pt x="2258" y="1058"/>
                  </a:lnTo>
                  <a:lnTo>
                    <a:pt x="2376" y="1018"/>
                  </a:lnTo>
                  <a:lnTo>
                    <a:pt x="2506" y="1018"/>
                  </a:lnTo>
                  <a:lnTo>
                    <a:pt x="2581" y="985"/>
                  </a:lnTo>
                  <a:lnTo>
                    <a:pt x="2624" y="940"/>
                  </a:lnTo>
                  <a:lnTo>
                    <a:pt x="2690" y="907"/>
                  </a:lnTo>
                  <a:lnTo>
                    <a:pt x="2683" y="886"/>
                  </a:lnTo>
                  <a:lnTo>
                    <a:pt x="2652" y="853"/>
                  </a:lnTo>
                  <a:lnTo>
                    <a:pt x="2678" y="796"/>
                  </a:lnTo>
                  <a:lnTo>
                    <a:pt x="2700" y="780"/>
                  </a:lnTo>
                  <a:lnTo>
                    <a:pt x="2721" y="791"/>
                  </a:lnTo>
                  <a:lnTo>
                    <a:pt x="2754" y="803"/>
                  </a:lnTo>
                  <a:lnTo>
                    <a:pt x="2808" y="813"/>
                  </a:lnTo>
                  <a:lnTo>
                    <a:pt x="2867" y="775"/>
                  </a:lnTo>
                  <a:lnTo>
                    <a:pt x="2867" y="758"/>
                  </a:lnTo>
                  <a:lnTo>
                    <a:pt x="2938" y="758"/>
                  </a:lnTo>
                  <a:lnTo>
                    <a:pt x="2985" y="737"/>
                  </a:lnTo>
                  <a:lnTo>
                    <a:pt x="3002" y="692"/>
                  </a:lnTo>
                  <a:lnTo>
                    <a:pt x="3023" y="680"/>
                  </a:lnTo>
                  <a:lnTo>
                    <a:pt x="3030" y="669"/>
                  </a:lnTo>
                  <a:lnTo>
                    <a:pt x="3068" y="669"/>
                  </a:lnTo>
                  <a:lnTo>
                    <a:pt x="3068" y="652"/>
                  </a:lnTo>
                  <a:lnTo>
                    <a:pt x="3099" y="652"/>
                  </a:lnTo>
                  <a:lnTo>
                    <a:pt x="3137" y="636"/>
                  </a:lnTo>
                  <a:lnTo>
                    <a:pt x="3170" y="647"/>
                  </a:lnTo>
                  <a:lnTo>
                    <a:pt x="3174" y="636"/>
                  </a:lnTo>
                  <a:lnTo>
                    <a:pt x="3207" y="647"/>
                  </a:lnTo>
                  <a:lnTo>
                    <a:pt x="3229" y="652"/>
                  </a:lnTo>
                  <a:lnTo>
                    <a:pt x="3245" y="636"/>
                  </a:lnTo>
                  <a:lnTo>
                    <a:pt x="3245" y="626"/>
                  </a:lnTo>
                  <a:lnTo>
                    <a:pt x="3229" y="598"/>
                  </a:lnTo>
                  <a:lnTo>
                    <a:pt x="3191" y="569"/>
                  </a:lnTo>
                  <a:lnTo>
                    <a:pt x="3191" y="553"/>
                  </a:lnTo>
                  <a:lnTo>
                    <a:pt x="3170" y="543"/>
                  </a:lnTo>
                  <a:lnTo>
                    <a:pt x="3153" y="520"/>
                  </a:lnTo>
                  <a:lnTo>
                    <a:pt x="3099" y="520"/>
                  </a:lnTo>
                  <a:lnTo>
                    <a:pt x="3068" y="553"/>
                  </a:lnTo>
                  <a:lnTo>
                    <a:pt x="3040" y="536"/>
                  </a:lnTo>
                  <a:lnTo>
                    <a:pt x="2992" y="536"/>
                  </a:lnTo>
                  <a:lnTo>
                    <a:pt x="2969" y="553"/>
                  </a:lnTo>
                  <a:lnTo>
                    <a:pt x="2948" y="527"/>
                  </a:lnTo>
                  <a:lnTo>
                    <a:pt x="2938" y="515"/>
                  </a:lnTo>
                  <a:lnTo>
                    <a:pt x="2959" y="499"/>
                  </a:lnTo>
                  <a:lnTo>
                    <a:pt x="2959" y="470"/>
                  </a:lnTo>
                  <a:lnTo>
                    <a:pt x="2976" y="449"/>
                  </a:lnTo>
                  <a:lnTo>
                    <a:pt x="3023" y="354"/>
                  </a:lnTo>
                  <a:lnTo>
                    <a:pt x="3111" y="388"/>
                  </a:lnTo>
                  <a:lnTo>
                    <a:pt x="3153" y="347"/>
                  </a:lnTo>
                  <a:lnTo>
                    <a:pt x="3191" y="338"/>
                  </a:lnTo>
                  <a:lnTo>
                    <a:pt x="3207" y="331"/>
                  </a:lnTo>
                  <a:lnTo>
                    <a:pt x="3207" y="305"/>
                  </a:lnTo>
                  <a:lnTo>
                    <a:pt x="3191" y="298"/>
                  </a:lnTo>
                  <a:lnTo>
                    <a:pt x="3219" y="265"/>
                  </a:lnTo>
                  <a:lnTo>
                    <a:pt x="3224" y="248"/>
                  </a:lnTo>
                  <a:lnTo>
                    <a:pt x="3240" y="239"/>
                  </a:lnTo>
                  <a:lnTo>
                    <a:pt x="3262" y="182"/>
                  </a:lnTo>
                  <a:lnTo>
                    <a:pt x="3300" y="154"/>
                  </a:lnTo>
                  <a:lnTo>
                    <a:pt x="3309" y="132"/>
                  </a:lnTo>
                  <a:lnTo>
                    <a:pt x="3300" y="116"/>
                  </a:lnTo>
                  <a:lnTo>
                    <a:pt x="3300" y="95"/>
                  </a:lnTo>
                  <a:lnTo>
                    <a:pt x="3283" y="83"/>
                  </a:lnTo>
                  <a:lnTo>
                    <a:pt x="3262" y="95"/>
                  </a:lnTo>
                  <a:lnTo>
                    <a:pt x="3257" y="71"/>
                  </a:lnTo>
                  <a:lnTo>
                    <a:pt x="3309" y="21"/>
                  </a:lnTo>
                  <a:lnTo>
                    <a:pt x="3510" y="0"/>
                  </a:lnTo>
                  <a:lnTo>
                    <a:pt x="3543" y="17"/>
                  </a:lnTo>
                  <a:lnTo>
                    <a:pt x="3552" y="17"/>
                  </a:lnTo>
                  <a:lnTo>
                    <a:pt x="3569" y="26"/>
                  </a:lnTo>
                  <a:lnTo>
                    <a:pt x="3597" y="38"/>
                  </a:lnTo>
                  <a:lnTo>
                    <a:pt x="3618" y="26"/>
                  </a:lnTo>
                  <a:lnTo>
                    <a:pt x="3649" y="43"/>
                  </a:lnTo>
                  <a:lnTo>
                    <a:pt x="3656" y="54"/>
                  </a:lnTo>
                  <a:lnTo>
                    <a:pt x="3649" y="62"/>
                  </a:lnTo>
                  <a:lnTo>
                    <a:pt x="3677" y="78"/>
                  </a:lnTo>
                  <a:lnTo>
                    <a:pt x="3673" y="95"/>
                  </a:lnTo>
                  <a:lnTo>
                    <a:pt x="3687" y="95"/>
                  </a:lnTo>
                  <a:lnTo>
                    <a:pt x="3703" y="111"/>
                  </a:lnTo>
                  <a:lnTo>
                    <a:pt x="3694" y="132"/>
                  </a:lnTo>
                  <a:lnTo>
                    <a:pt x="3715" y="132"/>
                  </a:lnTo>
                  <a:lnTo>
                    <a:pt x="3703" y="149"/>
                  </a:lnTo>
                  <a:lnTo>
                    <a:pt x="3725" y="170"/>
                  </a:lnTo>
                  <a:lnTo>
                    <a:pt x="3732" y="203"/>
                  </a:lnTo>
                  <a:lnTo>
                    <a:pt x="3741" y="203"/>
                  </a:lnTo>
                  <a:lnTo>
                    <a:pt x="3732" y="222"/>
                  </a:lnTo>
                  <a:lnTo>
                    <a:pt x="3741" y="210"/>
                  </a:lnTo>
                  <a:lnTo>
                    <a:pt x="3741" y="239"/>
                  </a:lnTo>
                  <a:lnTo>
                    <a:pt x="3762" y="265"/>
                  </a:lnTo>
                  <a:lnTo>
                    <a:pt x="3770" y="281"/>
                  </a:lnTo>
                  <a:lnTo>
                    <a:pt x="3762" y="293"/>
                  </a:lnTo>
                  <a:lnTo>
                    <a:pt x="3770" y="305"/>
                  </a:lnTo>
                  <a:lnTo>
                    <a:pt x="3786" y="314"/>
                  </a:lnTo>
                  <a:lnTo>
                    <a:pt x="3779" y="331"/>
                  </a:lnTo>
                  <a:lnTo>
                    <a:pt x="3779" y="354"/>
                  </a:lnTo>
                  <a:lnTo>
                    <a:pt x="3800" y="376"/>
                  </a:lnTo>
                  <a:lnTo>
                    <a:pt x="3871" y="376"/>
                  </a:lnTo>
                  <a:lnTo>
                    <a:pt x="3892" y="404"/>
                  </a:lnTo>
                  <a:lnTo>
                    <a:pt x="3921" y="392"/>
                  </a:lnTo>
                  <a:lnTo>
                    <a:pt x="3925" y="404"/>
                  </a:lnTo>
                  <a:lnTo>
                    <a:pt x="3930" y="409"/>
                  </a:lnTo>
                  <a:lnTo>
                    <a:pt x="3947" y="425"/>
                  </a:lnTo>
                  <a:lnTo>
                    <a:pt x="3975" y="442"/>
                  </a:lnTo>
                  <a:lnTo>
                    <a:pt x="4001" y="442"/>
                  </a:lnTo>
                  <a:lnTo>
                    <a:pt x="3996" y="465"/>
                  </a:lnTo>
                  <a:lnTo>
                    <a:pt x="4013" y="499"/>
                  </a:lnTo>
                  <a:lnTo>
                    <a:pt x="4001" y="515"/>
                  </a:lnTo>
                  <a:lnTo>
                    <a:pt x="4018" y="527"/>
                  </a:lnTo>
                  <a:lnTo>
                    <a:pt x="4027" y="553"/>
                  </a:lnTo>
                  <a:lnTo>
                    <a:pt x="4136" y="553"/>
                  </a:lnTo>
                  <a:lnTo>
                    <a:pt x="4140" y="536"/>
                  </a:lnTo>
                  <a:lnTo>
                    <a:pt x="4174" y="515"/>
                  </a:lnTo>
                  <a:lnTo>
                    <a:pt x="4202" y="520"/>
                  </a:lnTo>
                  <a:lnTo>
                    <a:pt x="4216" y="499"/>
                  </a:lnTo>
                  <a:lnTo>
                    <a:pt x="4266" y="487"/>
                  </a:lnTo>
                  <a:lnTo>
                    <a:pt x="4287" y="499"/>
                  </a:lnTo>
                  <a:lnTo>
                    <a:pt x="4270" y="520"/>
                  </a:lnTo>
                  <a:lnTo>
                    <a:pt x="4287" y="553"/>
                  </a:lnTo>
                  <a:lnTo>
                    <a:pt x="4270" y="569"/>
                  </a:lnTo>
                  <a:lnTo>
                    <a:pt x="4249" y="581"/>
                  </a:lnTo>
                  <a:lnTo>
                    <a:pt x="4249" y="610"/>
                  </a:lnTo>
                  <a:lnTo>
                    <a:pt x="4244" y="610"/>
                  </a:lnTo>
                  <a:lnTo>
                    <a:pt x="4233" y="647"/>
                  </a:lnTo>
                  <a:lnTo>
                    <a:pt x="4228" y="664"/>
                  </a:lnTo>
                  <a:lnTo>
                    <a:pt x="4233" y="669"/>
                  </a:lnTo>
                  <a:lnTo>
                    <a:pt x="4228" y="680"/>
                  </a:lnTo>
                  <a:lnTo>
                    <a:pt x="4195" y="721"/>
                  </a:lnTo>
                  <a:lnTo>
                    <a:pt x="4195" y="742"/>
                  </a:lnTo>
                  <a:lnTo>
                    <a:pt x="4174" y="758"/>
                  </a:lnTo>
                  <a:lnTo>
                    <a:pt x="4174" y="780"/>
                  </a:lnTo>
                  <a:lnTo>
                    <a:pt x="4157" y="791"/>
                  </a:lnTo>
                  <a:lnTo>
                    <a:pt x="4093" y="775"/>
                  </a:lnTo>
                  <a:lnTo>
                    <a:pt x="4088" y="763"/>
                  </a:lnTo>
                  <a:lnTo>
                    <a:pt x="4055" y="796"/>
                  </a:lnTo>
                  <a:lnTo>
                    <a:pt x="4018" y="803"/>
                  </a:lnTo>
                  <a:lnTo>
                    <a:pt x="4034" y="820"/>
                  </a:lnTo>
                  <a:lnTo>
                    <a:pt x="4051" y="874"/>
                  </a:lnTo>
                  <a:lnTo>
                    <a:pt x="4039" y="924"/>
                  </a:lnTo>
                  <a:lnTo>
                    <a:pt x="4051" y="940"/>
                  </a:lnTo>
                  <a:lnTo>
                    <a:pt x="4034" y="964"/>
                  </a:lnTo>
                  <a:lnTo>
                    <a:pt x="4034" y="980"/>
                  </a:lnTo>
                  <a:lnTo>
                    <a:pt x="3985" y="997"/>
                  </a:lnTo>
                  <a:lnTo>
                    <a:pt x="3996" y="1002"/>
                  </a:lnTo>
                  <a:lnTo>
                    <a:pt x="3996" y="1018"/>
                  </a:lnTo>
                  <a:lnTo>
                    <a:pt x="3996" y="1014"/>
                  </a:lnTo>
                  <a:lnTo>
                    <a:pt x="3975" y="997"/>
                  </a:lnTo>
                  <a:lnTo>
                    <a:pt x="3975" y="980"/>
                  </a:lnTo>
                  <a:lnTo>
                    <a:pt x="3947" y="969"/>
                  </a:lnTo>
                  <a:lnTo>
                    <a:pt x="3930" y="1018"/>
                  </a:lnTo>
                  <a:lnTo>
                    <a:pt x="3921" y="1025"/>
                  </a:lnTo>
                  <a:lnTo>
                    <a:pt x="3909" y="1018"/>
                  </a:lnTo>
                  <a:lnTo>
                    <a:pt x="3904" y="1035"/>
                  </a:lnTo>
                  <a:lnTo>
                    <a:pt x="3876" y="1058"/>
                  </a:lnTo>
                  <a:lnTo>
                    <a:pt x="3817" y="1058"/>
                  </a:lnTo>
                  <a:lnTo>
                    <a:pt x="3824" y="1075"/>
                  </a:lnTo>
                  <a:lnTo>
                    <a:pt x="3833" y="1091"/>
                  </a:lnTo>
                  <a:lnTo>
                    <a:pt x="3824" y="1113"/>
                  </a:lnTo>
                  <a:lnTo>
                    <a:pt x="3762" y="1108"/>
                  </a:lnTo>
                  <a:lnTo>
                    <a:pt x="3741" y="1075"/>
                  </a:lnTo>
                  <a:lnTo>
                    <a:pt x="3715" y="1091"/>
                  </a:lnTo>
                  <a:lnTo>
                    <a:pt x="3711" y="1113"/>
                  </a:lnTo>
                  <a:lnTo>
                    <a:pt x="3677" y="1151"/>
                  </a:lnTo>
                  <a:lnTo>
                    <a:pt x="3656" y="1151"/>
                  </a:lnTo>
                  <a:lnTo>
                    <a:pt x="3635" y="1169"/>
                  </a:lnTo>
                  <a:lnTo>
                    <a:pt x="3607" y="1186"/>
                  </a:lnTo>
                  <a:lnTo>
                    <a:pt x="3607" y="1195"/>
                  </a:lnTo>
                  <a:lnTo>
                    <a:pt x="3597" y="1186"/>
                  </a:lnTo>
                  <a:lnTo>
                    <a:pt x="3564" y="1219"/>
                  </a:lnTo>
                  <a:lnTo>
                    <a:pt x="3552" y="1236"/>
                  </a:lnTo>
                  <a:lnTo>
                    <a:pt x="3543" y="1240"/>
                  </a:lnTo>
                  <a:lnTo>
                    <a:pt x="3514" y="1240"/>
                  </a:lnTo>
                  <a:lnTo>
                    <a:pt x="3493" y="1252"/>
                  </a:lnTo>
                  <a:lnTo>
                    <a:pt x="3477" y="1240"/>
                  </a:lnTo>
                  <a:lnTo>
                    <a:pt x="3488" y="1257"/>
                  </a:lnTo>
                  <a:lnTo>
                    <a:pt x="3422" y="1278"/>
                  </a:lnTo>
                  <a:lnTo>
                    <a:pt x="3392" y="1311"/>
                  </a:lnTo>
                  <a:lnTo>
                    <a:pt x="3370" y="1311"/>
                  </a:lnTo>
                  <a:lnTo>
                    <a:pt x="3370" y="1330"/>
                  </a:lnTo>
                  <a:lnTo>
                    <a:pt x="3333" y="1335"/>
                  </a:lnTo>
                  <a:lnTo>
                    <a:pt x="3333" y="1318"/>
                  </a:lnTo>
                  <a:lnTo>
                    <a:pt x="3370" y="1306"/>
                  </a:lnTo>
                  <a:lnTo>
                    <a:pt x="3363" y="1295"/>
                  </a:lnTo>
                  <a:lnTo>
                    <a:pt x="3380" y="1278"/>
                  </a:lnTo>
                  <a:lnTo>
                    <a:pt x="3363" y="1278"/>
                  </a:lnTo>
                  <a:lnTo>
                    <a:pt x="3354" y="1273"/>
                  </a:lnTo>
                  <a:lnTo>
                    <a:pt x="3337" y="1262"/>
                  </a:lnTo>
                  <a:lnTo>
                    <a:pt x="3363" y="1257"/>
                  </a:lnTo>
                  <a:lnTo>
                    <a:pt x="3354" y="1240"/>
                  </a:lnTo>
                  <a:lnTo>
                    <a:pt x="3385" y="1236"/>
                  </a:lnTo>
                  <a:lnTo>
                    <a:pt x="3418" y="1186"/>
                  </a:lnTo>
                  <a:lnTo>
                    <a:pt x="3401" y="1162"/>
                  </a:lnTo>
                  <a:lnTo>
                    <a:pt x="3337" y="1151"/>
                  </a:lnTo>
                  <a:lnTo>
                    <a:pt x="3325" y="1162"/>
                  </a:lnTo>
                  <a:lnTo>
                    <a:pt x="3316" y="1162"/>
                  </a:lnTo>
                  <a:lnTo>
                    <a:pt x="3325" y="1169"/>
                  </a:lnTo>
                  <a:lnTo>
                    <a:pt x="3309" y="1169"/>
                  </a:lnTo>
                  <a:lnTo>
                    <a:pt x="3295" y="1195"/>
                  </a:lnTo>
                  <a:lnTo>
                    <a:pt x="3283" y="1207"/>
                  </a:lnTo>
                  <a:lnTo>
                    <a:pt x="3224" y="1240"/>
                  </a:lnTo>
                  <a:lnTo>
                    <a:pt x="3207" y="1252"/>
                  </a:lnTo>
                  <a:lnTo>
                    <a:pt x="3203" y="1278"/>
                  </a:lnTo>
                  <a:lnTo>
                    <a:pt x="3174" y="1306"/>
                  </a:lnTo>
                  <a:lnTo>
                    <a:pt x="3186" y="1295"/>
                  </a:lnTo>
                  <a:lnTo>
                    <a:pt x="3153" y="1295"/>
                  </a:lnTo>
                  <a:lnTo>
                    <a:pt x="3137" y="1311"/>
                  </a:lnTo>
                  <a:lnTo>
                    <a:pt x="3115" y="1295"/>
                  </a:lnTo>
                  <a:lnTo>
                    <a:pt x="3094" y="1306"/>
                  </a:lnTo>
                  <a:lnTo>
                    <a:pt x="3082" y="1347"/>
                  </a:lnTo>
                  <a:lnTo>
                    <a:pt x="3094" y="1368"/>
                  </a:lnTo>
                  <a:lnTo>
                    <a:pt x="3120" y="1384"/>
                  </a:lnTo>
                  <a:lnTo>
                    <a:pt x="3170" y="1384"/>
                  </a:lnTo>
                  <a:lnTo>
                    <a:pt x="3186" y="1406"/>
                  </a:lnTo>
                  <a:lnTo>
                    <a:pt x="3174" y="1455"/>
                  </a:lnTo>
                  <a:lnTo>
                    <a:pt x="3203" y="1472"/>
                  </a:lnTo>
                  <a:lnTo>
                    <a:pt x="3240" y="1472"/>
                  </a:lnTo>
                  <a:lnTo>
                    <a:pt x="3245" y="1462"/>
                  </a:lnTo>
                  <a:lnTo>
                    <a:pt x="3245" y="1446"/>
                  </a:lnTo>
                  <a:lnTo>
                    <a:pt x="3309" y="1406"/>
                  </a:lnTo>
                  <a:lnTo>
                    <a:pt x="3316" y="1417"/>
                  </a:lnTo>
                  <a:lnTo>
                    <a:pt x="3333" y="1429"/>
                  </a:lnTo>
                  <a:lnTo>
                    <a:pt x="3363" y="1446"/>
                  </a:lnTo>
                  <a:lnTo>
                    <a:pt x="3401" y="1429"/>
                  </a:lnTo>
                  <a:lnTo>
                    <a:pt x="3408" y="1446"/>
                  </a:lnTo>
                  <a:lnTo>
                    <a:pt x="3434" y="1446"/>
                  </a:lnTo>
                  <a:lnTo>
                    <a:pt x="3439" y="1462"/>
                  </a:lnTo>
                  <a:lnTo>
                    <a:pt x="3422" y="1472"/>
                  </a:lnTo>
                  <a:lnTo>
                    <a:pt x="3422" y="1479"/>
                  </a:lnTo>
                  <a:lnTo>
                    <a:pt x="3434" y="1479"/>
                  </a:lnTo>
                  <a:lnTo>
                    <a:pt x="3434" y="1484"/>
                  </a:lnTo>
                  <a:lnTo>
                    <a:pt x="3408" y="1495"/>
                  </a:lnTo>
                  <a:lnTo>
                    <a:pt x="3408" y="1484"/>
                  </a:lnTo>
                  <a:lnTo>
                    <a:pt x="3392" y="1479"/>
                  </a:lnTo>
                  <a:lnTo>
                    <a:pt x="3363" y="1500"/>
                  </a:lnTo>
                  <a:lnTo>
                    <a:pt x="3363" y="1495"/>
                  </a:lnTo>
                  <a:lnTo>
                    <a:pt x="3325" y="1517"/>
                  </a:lnTo>
                  <a:lnTo>
                    <a:pt x="3309" y="1512"/>
                  </a:lnTo>
                  <a:lnTo>
                    <a:pt x="3309" y="1517"/>
                  </a:lnTo>
                  <a:lnTo>
                    <a:pt x="3316" y="1512"/>
                  </a:lnTo>
                  <a:lnTo>
                    <a:pt x="3325" y="1517"/>
                  </a:lnTo>
                  <a:lnTo>
                    <a:pt x="3316" y="1533"/>
                  </a:lnTo>
                  <a:lnTo>
                    <a:pt x="3309" y="1528"/>
                  </a:lnTo>
                  <a:lnTo>
                    <a:pt x="3300" y="1528"/>
                  </a:lnTo>
                  <a:lnTo>
                    <a:pt x="3300" y="1550"/>
                  </a:lnTo>
                  <a:lnTo>
                    <a:pt x="3278" y="1557"/>
                  </a:lnTo>
                  <a:lnTo>
                    <a:pt x="3278" y="1550"/>
                  </a:lnTo>
                  <a:lnTo>
                    <a:pt x="3278" y="1540"/>
                  </a:lnTo>
                  <a:lnTo>
                    <a:pt x="3262" y="1550"/>
                  </a:lnTo>
                  <a:lnTo>
                    <a:pt x="3271" y="1566"/>
                  </a:lnTo>
                  <a:lnTo>
                    <a:pt x="3245" y="1583"/>
                  </a:lnTo>
                  <a:lnTo>
                    <a:pt x="3245" y="1590"/>
                  </a:lnTo>
                  <a:lnTo>
                    <a:pt x="3229" y="1595"/>
                  </a:lnTo>
                  <a:lnTo>
                    <a:pt x="3207" y="1639"/>
                  </a:lnTo>
                  <a:lnTo>
                    <a:pt x="3203" y="1639"/>
                  </a:lnTo>
                  <a:lnTo>
                    <a:pt x="3191" y="1651"/>
                  </a:lnTo>
                  <a:lnTo>
                    <a:pt x="3203" y="1661"/>
                  </a:lnTo>
                  <a:lnTo>
                    <a:pt x="3219" y="1668"/>
                  </a:lnTo>
                  <a:lnTo>
                    <a:pt x="3229" y="1684"/>
                  </a:lnTo>
                  <a:lnTo>
                    <a:pt x="3271" y="1701"/>
                  </a:lnTo>
                  <a:lnTo>
                    <a:pt x="3283" y="1755"/>
                  </a:lnTo>
                  <a:lnTo>
                    <a:pt x="3316" y="1812"/>
                  </a:lnTo>
                  <a:lnTo>
                    <a:pt x="3316" y="1833"/>
                  </a:lnTo>
                  <a:lnTo>
                    <a:pt x="3354" y="1862"/>
                  </a:lnTo>
                  <a:lnTo>
                    <a:pt x="3354" y="1871"/>
                  </a:lnTo>
                  <a:lnTo>
                    <a:pt x="3380" y="1888"/>
                  </a:lnTo>
                  <a:lnTo>
                    <a:pt x="3385" y="1904"/>
                  </a:lnTo>
                  <a:lnTo>
                    <a:pt x="3385" y="1916"/>
                  </a:lnTo>
                  <a:lnTo>
                    <a:pt x="3347" y="1899"/>
                  </a:lnTo>
                  <a:lnTo>
                    <a:pt x="3325" y="1899"/>
                  </a:lnTo>
                  <a:lnTo>
                    <a:pt x="3295" y="1883"/>
                  </a:lnTo>
                  <a:lnTo>
                    <a:pt x="3262" y="1888"/>
                  </a:lnTo>
                  <a:lnTo>
                    <a:pt x="3240" y="1862"/>
                  </a:lnTo>
                  <a:lnTo>
                    <a:pt x="3229" y="1866"/>
                  </a:lnTo>
                  <a:lnTo>
                    <a:pt x="3224" y="1871"/>
                  </a:lnTo>
                  <a:lnTo>
                    <a:pt x="3240" y="1871"/>
                  </a:lnTo>
                  <a:lnTo>
                    <a:pt x="3245" y="1888"/>
                  </a:lnTo>
                  <a:lnTo>
                    <a:pt x="3262" y="1888"/>
                  </a:lnTo>
                  <a:lnTo>
                    <a:pt x="3283" y="1883"/>
                  </a:lnTo>
                  <a:lnTo>
                    <a:pt x="3300" y="1888"/>
                  </a:lnTo>
                  <a:lnTo>
                    <a:pt x="3309" y="1899"/>
                  </a:lnTo>
                  <a:lnTo>
                    <a:pt x="3300" y="1899"/>
                  </a:lnTo>
                  <a:lnTo>
                    <a:pt x="3333" y="1904"/>
                  </a:lnTo>
                  <a:lnTo>
                    <a:pt x="3370" y="1937"/>
                  </a:lnTo>
                  <a:lnTo>
                    <a:pt x="3385" y="1973"/>
                  </a:lnTo>
                  <a:lnTo>
                    <a:pt x="3385" y="1977"/>
                  </a:lnTo>
                  <a:lnTo>
                    <a:pt x="3354" y="1977"/>
                  </a:lnTo>
                  <a:lnTo>
                    <a:pt x="3325" y="1999"/>
                  </a:lnTo>
                  <a:lnTo>
                    <a:pt x="3309" y="2015"/>
                  </a:lnTo>
                  <a:lnTo>
                    <a:pt x="3283" y="2015"/>
                  </a:lnTo>
                  <a:lnTo>
                    <a:pt x="3262" y="2032"/>
                  </a:lnTo>
                  <a:lnTo>
                    <a:pt x="3295" y="2015"/>
                  </a:lnTo>
                  <a:lnTo>
                    <a:pt x="3295" y="2032"/>
                  </a:lnTo>
                  <a:lnTo>
                    <a:pt x="3309" y="2039"/>
                  </a:lnTo>
                  <a:lnTo>
                    <a:pt x="3347" y="2027"/>
                  </a:lnTo>
                  <a:lnTo>
                    <a:pt x="3370" y="2048"/>
                  </a:lnTo>
                  <a:lnTo>
                    <a:pt x="3401" y="2055"/>
                  </a:lnTo>
                  <a:lnTo>
                    <a:pt x="3370" y="2081"/>
                  </a:lnTo>
                  <a:lnTo>
                    <a:pt x="3363" y="2081"/>
                  </a:lnTo>
                  <a:lnTo>
                    <a:pt x="3354" y="2088"/>
                  </a:lnTo>
                  <a:lnTo>
                    <a:pt x="3380" y="2081"/>
                  </a:lnTo>
                  <a:lnTo>
                    <a:pt x="3380" y="2088"/>
                  </a:lnTo>
                  <a:lnTo>
                    <a:pt x="3385" y="2081"/>
                  </a:lnTo>
                  <a:lnTo>
                    <a:pt x="3380" y="2081"/>
                  </a:lnTo>
                  <a:lnTo>
                    <a:pt x="3385" y="2072"/>
                  </a:lnTo>
                  <a:lnTo>
                    <a:pt x="3392" y="2081"/>
                  </a:lnTo>
                  <a:lnTo>
                    <a:pt x="3385" y="2105"/>
                  </a:lnTo>
                  <a:lnTo>
                    <a:pt x="3392" y="2105"/>
                  </a:lnTo>
                  <a:lnTo>
                    <a:pt x="3385" y="2110"/>
                  </a:lnTo>
                  <a:lnTo>
                    <a:pt x="3380" y="2093"/>
                  </a:lnTo>
                  <a:lnTo>
                    <a:pt x="3380" y="2110"/>
                  </a:lnTo>
                  <a:lnTo>
                    <a:pt x="3363" y="2105"/>
                  </a:lnTo>
                  <a:lnTo>
                    <a:pt x="3354" y="2110"/>
                  </a:lnTo>
                  <a:lnTo>
                    <a:pt x="3370" y="2121"/>
                  </a:lnTo>
                  <a:lnTo>
                    <a:pt x="3370" y="2126"/>
                  </a:lnTo>
                  <a:lnTo>
                    <a:pt x="3354" y="2126"/>
                  </a:lnTo>
                  <a:lnTo>
                    <a:pt x="3370" y="2138"/>
                  </a:lnTo>
                  <a:lnTo>
                    <a:pt x="3363" y="2143"/>
                  </a:lnTo>
                  <a:lnTo>
                    <a:pt x="3347" y="2143"/>
                  </a:lnTo>
                  <a:lnTo>
                    <a:pt x="3333" y="2138"/>
                  </a:lnTo>
                  <a:lnTo>
                    <a:pt x="3354" y="2150"/>
                  </a:lnTo>
                  <a:lnTo>
                    <a:pt x="3370" y="2176"/>
                  </a:lnTo>
                  <a:lnTo>
                    <a:pt x="3363" y="2183"/>
                  </a:lnTo>
                  <a:lnTo>
                    <a:pt x="3354" y="2176"/>
                  </a:lnTo>
                  <a:lnTo>
                    <a:pt x="3347" y="2192"/>
                  </a:lnTo>
                  <a:lnTo>
                    <a:pt x="3337" y="2176"/>
                  </a:lnTo>
                  <a:lnTo>
                    <a:pt x="3316" y="2199"/>
                  </a:lnTo>
                  <a:lnTo>
                    <a:pt x="3295" y="2199"/>
                  </a:lnTo>
                  <a:lnTo>
                    <a:pt x="3316" y="2204"/>
                  </a:lnTo>
                  <a:lnTo>
                    <a:pt x="3316" y="2216"/>
                  </a:lnTo>
                  <a:lnTo>
                    <a:pt x="3295" y="2232"/>
                  </a:lnTo>
                  <a:lnTo>
                    <a:pt x="3300" y="2249"/>
                  </a:lnTo>
                  <a:lnTo>
                    <a:pt x="3283" y="2258"/>
                  </a:lnTo>
                  <a:lnTo>
                    <a:pt x="3278" y="2254"/>
                  </a:lnTo>
                  <a:lnTo>
                    <a:pt x="3271" y="2254"/>
                  </a:lnTo>
                  <a:lnTo>
                    <a:pt x="3271" y="2258"/>
                  </a:lnTo>
                  <a:lnTo>
                    <a:pt x="3283" y="2270"/>
                  </a:lnTo>
                  <a:lnTo>
                    <a:pt x="3271" y="2270"/>
                  </a:lnTo>
                  <a:lnTo>
                    <a:pt x="3271" y="2287"/>
                  </a:lnTo>
                  <a:lnTo>
                    <a:pt x="3257" y="2287"/>
                  </a:lnTo>
                  <a:lnTo>
                    <a:pt x="3262" y="2310"/>
                  </a:lnTo>
                  <a:lnTo>
                    <a:pt x="3245" y="2315"/>
                  </a:lnTo>
                  <a:lnTo>
                    <a:pt x="3262" y="2294"/>
                  </a:lnTo>
                  <a:lnTo>
                    <a:pt x="3245" y="2294"/>
                  </a:lnTo>
                  <a:lnTo>
                    <a:pt x="3245" y="2310"/>
                  </a:lnTo>
                  <a:lnTo>
                    <a:pt x="3240" y="2294"/>
                  </a:lnTo>
                  <a:lnTo>
                    <a:pt x="3229" y="2294"/>
                  </a:lnTo>
                  <a:lnTo>
                    <a:pt x="3229" y="2303"/>
                  </a:lnTo>
                  <a:lnTo>
                    <a:pt x="3224" y="2294"/>
                  </a:lnTo>
                  <a:lnTo>
                    <a:pt x="3224" y="2310"/>
                  </a:lnTo>
                  <a:lnTo>
                    <a:pt x="3229" y="2310"/>
                  </a:lnTo>
                  <a:lnTo>
                    <a:pt x="3240" y="2327"/>
                  </a:lnTo>
                  <a:lnTo>
                    <a:pt x="3229" y="2315"/>
                  </a:lnTo>
                  <a:lnTo>
                    <a:pt x="3224" y="2327"/>
                  </a:lnTo>
                  <a:lnTo>
                    <a:pt x="3229" y="2332"/>
                  </a:lnTo>
                  <a:lnTo>
                    <a:pt x="3240" y="2327"/>
                  </a:lnTo>
                  <a:lnTo>
                    <a:pt x="3245" y="2327"/>
                  </a:lnTo>
                  <a:lnTo>
                    <a:pt x="3229" y="2332"/>
                  </a:lnTo>
                  <a:lnTo>
                    <a:pt x="3219" y="2360"/>
                  </a:lnTo>
                  <a:lnTo>
                    <a:pt x="3191" y="2343"/>
                  </a:lnTo>
                  <a:lnTo>
                    <a:pt x="3207" y="2360"/>
                  </a:lnTo>
                  <a:lnTo>
                    <a:pt x="3224" y="2348"/>
                  </a:lnTo>
                  <a:lnTo>
                    <a:pt x="3229" y="2360"/>
                  </a:lnTo>
                  <a:lnTo>
                    <a:pt x="3224" y="2365"/>
                  </a:lnTo>
                  <a:lnTo>
                    <a:pt x="3224" y="2381"/>
                  </a:lnTo>
                  <a:lnTo>
                    <a:pt x="3219" y="2381"/>
                  </a:lnTo>
                  <a:lnTo>
                    <a:pt x="3229" y="2402"/>
                  </a:lnTo>
                  <a:lnTo>
                    <a:pt x="3207" y="2386"/>
                  </a:lnTo>
                  <a:lnTo>
                    <a:pt x="3191" y="2402"/>
                  </a:lnTo>
                  <a:lnTo>
                    <a:pt x="3207" y="2414"/>
                  </a:lnTo>
                  <a:lnTo>
                    <a:pt x="3191" y="2426"/>
                  </a:lnTo>
                  <a:lnTo>
                    <a:pt x="3186" y="2419"/>
                  </a:lnTo>
                  <a:lnTo>
                    <a:pt x="3186" y="2414"/>
                  </a:lnTo>
                  <a:lnTo>
                    <a:pt x="3174" y="2414"/>
                  </a:lnTo>
                  <a:lnTo>
                    <a:pt x="3186" y="2419"/>
                  </a:lnTo>
                  <a:lnTo>
                    <a:pt x="3170" y="2426"/>
                  </a:lnTo>
                  <a:lnTo>
                    <a:pt x="3186" y="2438"/>
                  </a:lnTo>
                  <a:lnTo>
                    <a:pt x="3165" y="2443"/>
                  </a:lnTo>
                  <a:lnTo>
                    <a:pt x="3165" y="2438"/>
                  </a:lnTo>
                  <a:lnTo>
                    <a:pt x="3153" y="2443"/>
                  </a:lnTo>
                  <a:lnTo>
                    <a:pt x="3153" y="2454"/>
                  </a:lnTo>
                  <a:lnTo>
                    <a:pt x="3170" y="2454"/>
                  </a:lnTo>
                  <a:lnTo>
                    <a:pt x="3153" y="2471"/>
                  </a:lnTo>
                  <a:lnTo>
                    <a:pt x="3148" y="2459"/>
                  </a:lnTo>
                  <a:lnTo>
                    <a:pt x="3132" y="2471"/>
                  </a:lnTo>
                  <a:lnTo>
                    <a:pt x="3120" y="2459"/>
                  </a:lnTo>
                  <a:lnTo>
                    <a:pt x="3111" y="2471"/>
                  </a:lnTo>
                  <a:lnTo>
                    <a:pt x="3115" y="2471"/>
                  </a:lnTo>
                  <a:lnTo>
                    <a:pt x="3115" y="2476"/>
                  </a:lnTo>
                  <a:lnTo>
                    <a:pt x="3099" y="2476"/>
                  </a:lnTo>
                  <a:lnTo>
                    <a:pt x="3115" y="2476"/>
                  </a:lnTo>
                  <a:lnTo>
                    <a:pt x="3120" y="2492"/>
                  </a:lnTo>
                  <a:lnTo>
                    <a:pt x="3094" y="2513"/>
                  </a:lnTo>
                  <a:lnTo>
                    <a:pt x="3099" y="2509"/>
                  </a:lnTo>
                  <a:lnTo>
                    <a:pt x="3082" y="2525"/>
                  </a:lnTo>
                  <a:lnTo>
                    <a:pt x="3061" y="2530"/>
                  </a:lnTo>
                  <a:lnTo>
                    <a:pt x="3056" y="2537"/>
                  </a:lnTo>
                  <a:lnTo>
                    <a:pt x="3040" y="2530"/>
                  </a:lnTo>
                  <a:lnTo>
                    <a:pt x="3023" y="2563"/>
                  </a:lnTo>
                  <a:lnTo>
                    <a:pt x="3007" y="2554"/>
                  </a:lnTo>
                  <a:lnTo>
                    <a:pt x="3030" y="2570"/>
                  </a:lnTo>
                  <a:lnTo>
                    <a:pt x="3007" y="2570"/>
                  </a:lnTo>
                  <a:lnTo>
                    <a:pt x="3007" y="2587"/>
                  </a:lnTo>
                  <a:lnTo>
                    <a:pt x="2992" y="2591"/>
                  </a:lnTo>
                  <a:lnTo>
                    <a:pt x="2959" y="2603"/>
                  </a:lnTo>
                  <a:lnTo>
                    <a:pt x="2948" y="2591"/>
                  </a:lnTo>
                  <a:lnTo>
                    <a:pt x="2938" y="2591"/>
                  </a:lnTo>
                  <a:lnTo>
                    <a:pt x="2938" y="2608"/>
                  </a:lnTo>
                  <a:lnTo>
                    <a:pt x="2917" y="2603"/>
                  </a:lnTo>
                  <a:lnTo>
                    <a:pt x="2893" y="2608"/>
                  </a:lnTo>
                  <a:lnTo>
                    <a:pt x="2893" y="2620"/>
                  </a:lnTo>
                  <a:lnTo>
                    <a:pt x="2884" y="2620"/>
                  </a:lnTo>
                  <a:lnTo>
                    <a:pt x="2884" y="2603"/>
                  </a:lnTo>
                  <a:lnTo>
                    <a:pt x="2867" y="2608"/>
                  </a:lnTo>
                  <a:lnTo>
                    <a:pt x="2879" y="2624"/>
                  </a:lnTo>
                  <a:lnTo>
                    <a:pt x="2867" y="2624"/>
                  </a:lnTo>
                  <a:lnTo>
                    <a:pt x="2863" y="2620"/>
                  </a:lnTo>
                  <a:lnTo>
                    <a:pt x="2846" y="2620"/>
                  </a:lnTo>
                  <a:lnTo>
                    <a:pt x="2851" y="2624"/>
                  </a:lnTo>
                  <a:lnTo>
                    <a:pt x="2863" y="2624"/>
                  </a:lnTo>
                  <a:lnTo>
                    <a:pt x="2851" y="2636"/>
                  </a:lnTo>
                  <a:lnTo>
                    <a:pt x="2851" y="2641"/>
                  </a:lnTo>
                  <a:lnTo>
                    <a:pt x="2829" y="2636"/>
                  </a:lnTo>
                  <a:lnTo>
                    <a:pt x="2841" y="2624"/>
                  </a:lnTo>
                  <a:lnTo>
                    <a:pt x="2825" y="2624"/>
                  </a:lnTo>
                  <a:lnTo>
                    <a:pt x="2813" y="2603"/>
                  </a:lnTo>
                  <a:lnTo>
                    <a:pt x="2808" y="2591"/>
                  </a:lnTo>
                  <a:lnTo>
                    <a:pt x="2796" y="2580"/>
                  </a:lnTo>
                  <a:lnTo>
                    <a:pt x="2825" y="2580"/>
                  </a:lnTo>
                  <a:lnTo>
                    <a:pt x="2813" y="2570"/>
                  </a:lnTo>
                  <a:lnTo>
                    <a:pt x="2796" y="2580"/>
                  </a:lnTo>
                  <a:lnTo>
                    <a:pt x="2796" y="2591"/>
                  </a:lnTo>
                  <a:lnTo>
                    <a:pt x="2792" y="2591"/>
                  </a:lnTo>
                  <a:lnTo>
                    <a:pt x="2796" y="2620"/>
                  </a:lnTo>
                  <a:lnTo>
                    <a:pt x="2796" y="2641"/>
                  </a:lnTo>
                  <a:lnTo>
                    <a:pt x="2796" y="2653"/>
                  </a:lnTo>
                  <a:lnTo>
                    <a:pt x="2792" y="2653"/>
                  </a:lnTo>
                  <a:lnTo>
                    <a:pt x="2775" y="2620"/>
                  </a:lnTo>
                  <a:lnTo>
                    <a:pt x="2792" y="2653"/>
                  </a:lnTo>
                  <a:lnTo>
                    <a:pt x="2787" y="2653"/>
                  </a:lnTo>
                  <a:lnTo>
                    <a:pt x="2775" y="2658"/>
                  </a:lnTo>
                  <a:lnTo>
                    <a:pt x="2770" y="2658"/>
                  </a:lnTo>
                  <a:lnTo>
                    <a:pt x="2770" y="2641"/>
                  </a:lnTo>
                  <a:lnTo>
                    <a:pt x="2759" y="2674"/>
                  </a:lnTo>
                  <a:lnTo>
                    <a:pt x="2754" y="2665"/>
                  </a:lnTo>
                  <a:lnTo>
                    <a:pt x="2737" y="2681"/>
                  </a:lnTo>
                  <a:lnTo>
                    <a:pt x="2733" y="2674"/>
                  </a:lnTo>
                  <a:lnTo>
                    <a:pt x="2716" y="2681"/>
                  </a:lnTo>
                  <a:lnTo>
                    <a:pt x="2683" y="2665"/>
                  </a:lnTo>
                  <a:lnTo>
                    <a:pt x="2690" y="2681"/>
                  </a:lnTo>
                  <a:lnTo>
                    <a:pt x="2683" y="2691"/>
                  </a:lnTo>
                  <a:lnTo>
                    <a:pt x="2666" y="2674"/>
                  </a:lnTo>
                  <a:lnTo>
                    <a:pt x="2678" y="2691"/>
                  </a:lnTo>
                  <a:lnTo>
                    <a:pt x="2666" y="2698"/>
                  </a:lnTo>
                  <a:lnTo>
                    <a:pt x="2629" y="2707"/>
                  </a:lnTo>
                  <a:lnTo>
                    <a:pt x="2624" y="2698"/>
                  </a:lnTo>
                  <a:lnTo>
                    <a:pt x="2624" y="2707"/>
                  </a:lnTo>
                  <a:lnTo>
                    <a:pt x="2629" y="2698"/>
                  </a:lnTo>
                  <a:lnTo>
                    <a:pt x="2607" y="2707"/>
                  </a:lnTo>
                  <a:lnTo>
                    <a:pt x="2598" y="2714"/>
                  </a:lnTo>
                  <a:lnTo>
                    <a:pt x="2607" y="2707"/>
                  </a:lnTo>
                  <a:lnTo>
                    <a:pt x="2598" y="2707"/>
                  </a:lnTo>
                  <a:lnTo>
                    <a:pt x="2598" y="2719"/>
                  </a:lnTo>
                  <a:lnTo>
                    <a:pt x="2591" y="2719"/>
                  </a:lnTo>
                  <a:lnTo>
                    <a:pt x="2581" y="2719"/>
                  </a:lnTo>
                  <a:lnTo>
                    <a:pt x="2581" y="2707"/>
                  </a:lnTo>
                  <a:lnTo>
                    <a:pt x="2581" y="2719"/>
                  </a:lnTo>
                  <a:lnTo>
                    <a:pt x="2560" y="2736"/>
                  </a:lnTo>
                  <a:lnTo>
                    <a:pt x="2560" y="2747"/>
                  </a:lnTo>
                  <a:lnTo>
                    <a:pt x="2577" y="2747"/>
                  </a:lnTo>
                  <a:lnTo>
                    <a:pt x="2577" y="2764"/>
                  </a:lnTo>
                  <a:lnTo>
                    <a:pt x="2591" y="2776"/>
                  </a:lnTo>
                  <a:lnTo>
                    <a:pt x="2577" y="2792"/>
                  </a:lnTo>
                  <a:lnTo>
                    <a:pt x="2553" y="2792"/>
                  </a:lnTo>
                  <a:lnTo>
                    <a:pt x="2544" y="2792"/>
                  </a:lnTo>
                  <a:lnTo>
                    <a:pt x="2544" y="2785"/>
                  </a:lnTo>
                  <a:lnTo>
                    <a:pt x="2553" y="2776"/>
                  </a:lnTo>
                  <a:lnTo>
                    <a:pt x="2539" y="2764"/>
                  </a:lnTo>
                  <a:lnTo>
                    <a:pt x="2527" y="2747"/>
                  </a:lnTo>
                  <a:lnTo>
                    <a:pt x="2539" y="2714"/>
                  </a:lnTo>
                  <a:lnTo>
                    <a:pt x="2553" y="2707"/>
                  </a:lnTo>
                  <a:lnTo>
                    <a:pt x="2539" y="2707"/>
                  </a:lnTo>
                  <a:lnTo>
                    <a:pt x="2539" y="2691"/>
                  </a:lnTo>
                  <a:lnTo>
                    <a:pt x="2539" y="2698"/>
                  </a:lnTo>
                  <a:lnTo>
                    <a:pt x="2527" y="2698"/>
                  </a:lnTo>
                  <a:lnTo>
                    <a:pt x="2522" y="2681"/>
                  </a:lnTo>
                  <a:lnTo>
                    <a:pt x="2522" y="2691"/>
                  </a:lnTo>
                  <a:lnTo>
                    <a:pt x="2522" y="2698"/>
                  </a:lnTo>
                  <a:lnTo>
                    <a:pt x="2489" y="2707"/>
                  </a:lnTo>
                  <a:lnTo>
                    <a:pt x="2489" y="2691"/>
                  </a:lnTo>
                  <a:lnTo>
                    <a:pt x="2473" y="2681"/>
                  </a:lnTo>
                  <a:lnTo>
                    <a:pt x="2468" y="2674"/>
                  </a:lnTo>
                  <a:lnTo>
                    <a:pt x="2473" y="2691"/>
                  </a:lnTo>
                  <a:lnTo>
                    <a:pt x="2468" y="2691"/>
                  </a:lnTo>
                  <a:lnTo>
                    <a:pt x="2463" y="2665"/>
                  </a:lnTo>
                  <a:lnTo>
                    <a:pt x="2447" y="2665"/>
                  </a:lnTo>
                  <a:lnTo>
                    <a:pt x="2447" y="2674"/>
                  </a:lnTo>
                  <a:lnTo>
                    <a:pt x="2451" y="2681"/>
                  </a:lnTo>
                  <a:lnTo>
                    <a:pt x="2447" y="2691"/>
                  </a:lnTo>
                  <a:lnTo>
                    <a:pt x="2435" y="2698"/>
                  </a:lnTo>
                  <a:lnTo>
                    <a:pt x="2447" y="2691"/>
                  </a:lnTo>
                  <a:lnTo>
                    <a:pt x="2435" y="2681"/>
                  </a:lnTo>
                  <a:lnTo>
                    <a:pt x="2430" y="2698"/>
                  </a:lnTo>
                  <a:lnTo>
                    <a:pt x="2430" y="2691"/>
                  </a:lnTo>
                  <a:lnTo>
                    <a:pt x="2414" y="2698"/>
                  </a:lnTo>
                  <a:lnTo>
                    <a:pt x="2397" y="2691"/>
                  </a:lnTo>
                  <a:lnTo>
                    <a:pt x="2364" y="2691"/>
                  </a:lnTo>
                  <a:lnTo>
                    <a:pt x="2359" y="2681"/>
                  </a:lnTo>
                  <a:lnTo>
                    <a:pt x="2343" y="2674"/>
                  </a:lnTo>
                  <a:lnTo>
                    <a:pt x="2343" y="2665"/>
                  </a:lnTo>
                  <a:lnTo>
                    <a:pt x="2322" y="2658"/>
                  </a:lnTo>
                  <a:lnTo>
                    <a:pt x="2322" y="2641"/>
                  </a:lnTo>
                  <a:lnTo>
                    <a:pt x="2312" y="2624"/>
                  </a:lnTo>
                  <a:lnTo>
                    <a:pt x="2326" y="2603"/>
                  </a:lnTo>
                  <a:lnTo>
                    <a:pt x="2322" y="2591"/>
                  </a:lnTo>
                  <a:lnTo>
                    <a:pt x="2305" y="2587"/>
                  </a:lnTo>
                  <a:lnTo>
                    <a:pt x="2289" y="2591"/>
                  </a:lnTo>
                  <a:lnTo>
                    <a:pt x="2284" y="2587"/>
                  </a:lnTo>
                  <a:lnTo>
                    <a:pt x="2258" y="2591"/>
                  </a:lnTo>
                  <a:lnTo>
                    <a:pt x="2241" y="2580"/>
                  </a:lnTo>
                  <a:lnTo>
                    <a:pt x="2229" y="2563"/>
                  </a:lnTo>
                  <a:lnTo>
                    <a:pt x="2199" y="2570"/>
                  </a:lnTo>
                  <a:lnTo>
                    <a:pt x="2182" y="2603"/>
                  </a:lnTo>
                  <a:lnTo>
                    <a:pt x="2175" y="2591"/>
                  </a:lnTo>
                  <a:lnTo>
                    <a:pt x="2161" y="2608"/>
                  </a:lnTo>
                  <a:lnTo>
                    <a:pt x="2149" y="2603"/>
                  </a:lnTo>
                  <a:lnTo>
                    <a:pt x="2149" y="2591"/>
                  </a:lnTo>
                  <a:lnTo>
                    <a:pt x="2133" y="2603"/>
                  </a:lnTo>
                  <a:lnTo>
                    <a:pt x="2128" y="2624"/>
                  </a:lnTo>
                  <a:lnTo>
                    <a:pt x="2107" y="2603"/>
                  </a:lnTo>
                  <a:lnTo>
                    <a:pt x="2095" y="2620"/>
                  </a:lnTo>
                  <a:lnTo>
                    <a:pt x="2078" y="2603"/>
                  </a:lnTo>
                  <a:lnTo>
                    <a:pt x="2069" y="2624"/>
                  </a:lnTo>
                  <a:lnTo>
                    <a:pt x="2024" y="2603"/>
                  </a:lnTo>
                  <a:lnTo>
                    <a:pt x="2003" y="2636"/>
                  </a:lnTo>
                  <a:lnTo>
                    <a:pt x="1972" y="2624"/>
                  </a:lnTo>
                  <a:lnTo>
                    <a:pt x="1960" y="2641"/>
                  </a:lnTo>
                  <a:lnTo>
                    <a:pt x="1965" y="2665"/>
                  </a:lnTo>
                  <a:lnTo>
                    <a:pt x="1972" y="2674"/>
                  </a:lnTo>
                  <a:lnTo>
                    <a:pt x="1972" y="2714"/>
                  </a:lnTo>
                  <a:lnTo>
                    <a:pt x="1981" y="2719"/>
                  </a:lnTo>
                  <a:lnTo>
                    <a:pt x="1972" y="2731"/>
                  </a:lnTo>
                  <a:lnTo>
                    <a:pt x="1960" y="2719"/>
                  </a:lnTo>
                  <a:lnTo>
                    <a:pt x="1944" y="2719"/>
                  </a:lnTo>
                  <a:lnTo>
                    <a:pt x="1934" y="2691"/>
                  </a:lnTo>
                  <a:lnTo>
                    <a:pt x="1927" y="2681"/>
                  </a:lnTo>
                  <a:lnTo>
                    <a:pt x="1889" y="2707"/>
                  </a:lnTo>
                  <a:lnTo>
                    <a:pt x="1880" y="2698"/>
                  </a:lnTo>
                  <a:lnTo>
                    <a:pt x="1863" y="2707"/>
                  </a:lnTo>
                  <a:lnTo>
                    <a:pt x="1859" y="2698"/>
                  </a:lnTo>
                  <a:lnTo>
                    <a:pt x="1859" y="2691"/>
                  </a:lnTo>
                  <a:lnTo>
                    <a:pt x="1851" y="2681"/>
                  </a:lnTo>
                  <a:lnTo>
                    <a:pt x="1851" y="2658"/>
                  </a:lnTo>
                  <a:lnTo>
                    <a:pt x="1788" y="2653"/>
                  </a:lnTo>
                  <a:lnTo>
                    <a:pt x="1809" y="2624"/>
                  </a:lnTo>
                  <a:lnTo>
                    <a:pt x="1804" y="2608"/>
                  </a:lnTo>
                  <a:lnTo>
                    <a:pt x="1821" y="2587"/>
                  </a:lnTo>
                  <a:lnTo>
                    <a:pt x="1821" y="2580"/>
                  </a:lnTo>
                  <a:lnTo>
                    <a:pt x="1788" y="2580"/>
                  </a:lnTo>
                  <a:lnTo>
                    <a:pt x="1771" y="2570"/>
                  </a:lnTo>
                  <a:lnTo>
                    <a:pt x="1771" y="2554"/>
                  </a:lnTo>
                  <a:lnTo>
                    <a:pt x="1766" y="2547"/>
                  </a:lnTo>
                  <a:lnTo>
                    <a:pt x="1766" y="2530"/>
                  </a:lnTo>
                  <a:lnTo>
                    <a:pt x="1755" y="2525"/>
                  </a:lnTo>
                  <a:lnTo>
                    <a:pt x="1755" y="2513"/>
                  </a:lnTo>
                  <a:lnTo>
                    <a:pt x="1771" y="2497"/>
                  </a:lnTo>
                  <a:lnTo>
                    <a:pt x="1717" y="2497"/>
                  </a:lnTo>
                  <a:lnTo>
                    <a:pt x="1691" y="2525"/>
                  </a:lnTo>
                  <a:lnTo>
                    <a:pt x="1679" y="2513"/>
                  </a:lnTo>
                  <a:lnTo>
                    <a:pt x="1696" y="2497"/>
                  </a:lnTo>
                  <a:lnTo>
                    <a:pt x="1691" y="2476"/>
                  </a:lnTo>
                  <a:lnTo>
                    <a:pt x="1679" y="2476"/>
                  </a:lnTo>
                  <a:lnTo>
                    <a:pt x="1679" y="2454"/>
                  </a:lnTo>
                  <a:lnTo>
                    <a:pt x="1696" y="2438"/>
                  </a:lnTo>
                  <a:lnTo>
                    <a:pt x="1696" y="2414"/>
                  </a:lnTo>
                  <a:lnTo>
                    <a:pt x="1700" y="2419"/>
                  </a:lnTo>
                  <a:lnTo>
                    <a:pt x="1712" y="2414"/>
                  </a:lnTo>
                  <a:lnTo>
                    <a:pt x="1729" y="2386"/>
                  </a:lnTo>
                  <a:lnTo>
                    <a:pt x="1733" y="2386"/>
                  </a:lnTo>
                  <a:lnTo>
                    <a:pt x="1750" y="2365"/>
                  </a:lnTo>
                  <a:lnTo>
                    <a:pt x="1755" y="2365"/>
                  </a:lnTo>
                  <a:lnTo>
                    <a:pt x="1750" y="2348"/>
                  </a:lnTo>
                  <a:lnTo>
                    <a:pt x="1766" y="2343"/>
                  </a:lnTo>
                  <a:lnTo>
                    <a:pt x="1766" y="2294"/>
                  </a:lnTo>
                  <a:lnTo>
                    <a:pt x="1755" y="2237"/>
                  </a:lnTo>
                  <a:lnTo>
                    <a:pt x="1745" y="2232"/>
                  </a:lnTo>
                  <a:lnTo>
                    <a:pt x="1733" y="2237"/>
                  </a:lnTo>
                  <a:lnTo>
                    <a:pt x="1717" y="2192"/>
                  </a:lnTo>
                  <a:lnTo>
                    <a:pt x="1712" y="2183"/>
                  </a:lnTo>
                  <a:lnTo>
                    <a:pt x="1679" y="2159"/>
                  </a:lnTo>
                  <a:lnTo>
                    <a:pt x="1674" y="2176"/>
                  </a:lnTo>
                  <a:lnTo>
                    <a:pt x="1663" y="2183"/>
                  </a:lnTo>
                  <a:lnTo>
                    <a:pt x="1646" y="2176"/>
                  </a:lnTo>
                  <a:lnTo>
                    <a:pt x="1641" y="2176"/>
                  </a:lnTo>
                  <a:lnTo>
                    <a:pt x="1620" y="2166"/>
                  </a:lnTo>
                  <a:lnTo>
                    <a:pt x="1594" y="2176"/>
                  </a:lnTo>
                  <a:lnTo>
                    <a:pt x="1594" y="2159"/>
                  </a:lnTo>
                  <a:lnTo>
                    <a:pt x="1608" y="2143"/>
                  </a:lnTo>
                  <a:lnTo>
                    <a:pt x="1603" y="2121"/>
                  </a:lnTo>
                  <a:lnTo>
                    <a:pt x="1582" y="2126"/>
                  </a:lnTo>
                  <a:lnTo>
                    <a:pt x="1582" y="2121"/>
                  </a:lnTo>
                  <a:lnTo>
                    <a:pt x="1594" y="2105"/>
                  </a:lnTo>
                  <a:lnTo>
                    <a:pt x="1587" y="2105"/>
                  </a:lnTo>
                  <a:lnTo>
                    <a:pt x="1570" y="2088"/>
                  </a:lnTo>
                  <a:lnTo>
                    <a:pt x="1540" y="2105"/>
                  </a:lnTo>
                  <a:lnTo>
                    <a:pt x="1528" y="2121"/>
                  </a:lnTo>
                  <a:lnTo>
                    <a:pt x="1485" y="2110"/>
                  </a:lnTo>
                  <a:lnTo>
                    <a:pt x="1474" y="2093"/>
                  </a:lnTo>
                  <a:lnTo>
                    <a:pt x="1448" y="2121"/>
                  </a:lnTo>
                  <a:lnTo>
                    <a:pt x="1426" y="2150"/>
                  </a:lnTo>
                  <a:lnTo>
                    <a:pt x="1389" y="2150"/>
                  </a:lnTo>
                  <a:lnTo>
                    <a:pt x="1372" y="2176"/>
                  </a:lnTo>
                  <a:lnTo>
                    <a:pt x="1339" y="2192"/>
                  </a:lnTo>
                  <a:lnTo>
                    <a:pt x="1339" y="2204"/>
                  </a:lnTo>
                  <a:lnTo>
                    <a:pt x="1322" y="2216"/>
                  </a:lnTo>
                  <a:lnTo>
                    <a:pt x="1313" y="2216"/>
                  </a:lnTo>
                  <a:lnTo>
                    <a:pt x="1285" y="2221"/>
                  </a:lnTo>
                  <a:lnTo>
                    <a:pt x="1263" y="2221"/>
                  </a:lnTo>
                  <a:lnTo>
                    <a:pt x="1263" y="2204"/>
                  </a:lnTo>
                  <a:lnTo>
                    <a:pt x="1242" y="2199"/>
                  </a:lnTo>
                  <a:lnTo>
                    <a:pt x="1226" y="2204"/>
                  </a:lnTo>
                  <a:lnTo>
                    <a:pt x="1178" y="2199"/>
                  </a:lnTo>
                  <a:lnTo>
                    <a:pt x="1178" y="2183"/>
                  </a:lnTo>
                  <a:lnTo>
                    <a:pt x="1150" y="2176"/>
                  </a:lnTo>
                  <a:lnTo>
                    <a:pt x="1117" y="2199"/>
                  </a:lnTo>
                  <a:lnTo>
                    <a:pt x="1070" y="2254"/>
                  </a:lnTo>
                  <a:lnTo>
                    <a:pt x="1065" y="2237"/>
                  </a:lnTo>
                  <a:lnTo>
                    <a:pt x="1070" y="2216"/>
                  </a:lnTo>
                  <a:lnTo>
                    <a:pt x="1070" y="2199"/>
                  </a:lnTo>
                  <a:lnTo>
                    <a:pt x="1053" y="2192"/>
                  </a:lnTo>
                  <a:lnTo>
                    <a:pt x="1041" y="2199"/>
                  </a:lnTo>
                  <a:lnTo>
                    <a:pt x="1015" y="2204"/>
                  </a:lnTo>
                  <a:lnTo>
                    <a:pt x="1015" y="2216"/>
                  </a:lnTo>
                  <a:lnTo>
                    <a:pt x="999" y="2204"/>
                  </a:lnTo>
                  <a:lnTo>
                    <a:pt x="989" y="2216"/>
                  </a:lnTo>
                  <a:lnTo>
                    <a:pt x="956" y="2216"/>
                  </a:lnTo>
                  <a:lnTo>
                    <a:pt x="918" y="2192"/>
                  </a:lnTo>
                  <a:lnTo>
                    <a:pt x="907" y="2192"/>
                  </a:lnTo>
                  <a:lnTo>
                    <a:pt x="902" y="2204"/>
                  </a:lnTo>
                  <a:lnTo>
                    <a:pt x="885" y="2199"/>
                  </a:lnTo>
                  <a:lnTo>
                    <a:pt x="885" y="2192"/>
                  </a:lnTo>
                  <a:lnTo>
                    <a:pt x="881" y="2192"/>
                  </a:lnTo>
                  <a:lnTo>
                    <a:pt x="881" y="2204"/>
                  </a:lnTo>
                  <a:lnTo>
                    <a:pt x="869" y="2204"/>
                  </a:lnTo>
                  <a:lnTo>
                    <a:pt x="864" y="2192"/>
                  </a:lnTo>
                  <a:lnTo>
                    <a:pt x="848" y="2183"/>
                  </a:lnTo>
                  <a:lnTo>
                    <a:pt x="810" y="2176"/>
                  </a:lnTo>
                  <a:lnTo>
                    <a:pt x="810" y="2150"/>
                  </a:lnTo>
                  <a:lnTo>
                    <a:pt x="800" y="2150"/>
                  </a:lnTo>
                  <a:lnTo>
                    <a:pt x="784" y="2159"/>
                  </a:lnTo>
                  <a:lnTo>
                    <a:pt x="763" y="2143"/>
                  </a:lnTo>
                  <a:lnTo>
                    <a:pt x="746" y="2126"/>
                  </a:lnTo>
                  <a:lnTo>
                    <a:pt x="739" y="2105"/>
                  </a:lnTo>
                  <a:lnTo>
                    <a:pt x="725" y="2105"/>
                  </a:lnTo>
                  <a:lnTo>
                    <a:pt x="708" y="2110"/>
                  </a:lnTo>
                  <a:lnTo>
                    <a:pt x="701" y="2110"/>
                  </a:lnTo>
                  <a:lnTo>
                    <a:pt x="670" y="2072"/>
                  </a:lnTo>
                  <a:lnTo>
                    <a:pt x="649" y="2072"/>
                  </a:lnTo>
                  <a:lnTo>
                    <a:pt x="616" y="2039"/>
                  </a:lnTo>
                  <a:lnTo>
                    <a:pt x="600" y="2039"/>
                  </a:lnTo>
                  <a:lnTo>
                    <a:pt x="595" y="2015"/>
                  </a:lnTo>
                  <a:lnTo>
                    <a:pt x="545" y="2015"/>
                  </a:lnTo>
                  <a:lnTo>
                    <a:pt x="545" y="2032"/>
                  </a:lnTo>
                  <a:lnTo>
                    <a:pt x="529" y="2039"/>
                  </a:lnTo>
                  <a:lnTo>
                    <a:pt x="524" y="2039"/>
                  </a:lnTo>
                  <a:lnTo>
                    <a:pt x="524" y="2032"/>
                  </a:lnTo>
                  <a:lnTo>
                    <a:pt x="524" y="2032"/>
                  </a:lnTo>
                  <a:lnTo>
                    <a:pt x="524" y="2032"/>
                  </a:lnTo>
                  <a:close/>
                  <a:moveTo>
                    <a:pt x="3354" y="1278"/>
                  </a:moveTo>
                  <a:lnTo>
                    <a:pt x="3337" y="1278"/>
                  </a:lnTo>
                  <a:lnTo>
                    <a:pt x="3354" y="1273"/>
                  </a:lnTo>
                  <a:lnTo>
                    <a:pt x="3354" y="1278"/>
                  </a:lnTo>
                  <a:lnTo>
                    <a:pt x="3354" y="1278"/>
                  </a:lnTo>
                  <a:lnTo>
                    <a:pt x="3354" y="1278"/>
                  </a:lnTo>
                  <a:close/>
                  <a:moveTo>
                    <a:pt x="3229" y="1866"/>
                  </a:moveTo>
                  <a:lnTo>
                    <a:pt x="3240" y="1866"/>
                  </a:lnTo>
                  <a:lnTo>
                    <a:pt x="3245" y="1883"/>
                  </a:lnTo>
                  <a:lnTo>
                    <a:pt x="3229" y="1866"/>
                  </a:lnTo>
                  <a:lnTo>
                    <a:pt x="3229" y="1866"/>
                  </a:lnTo>
                  <a:lnTo>
                    <a:pt x="3229" y="1866"/>
                  </a:lnTo>
                  <a:close/>
                  <a:moveTo>
                    <a:pt x="3337" y="1904"/>
                  </a:moveTo>
                  <a:lnTo>
                    <a:pt x="3347" y="1899"/>
                  </a:lnTo>
                  <a:lnTo>
                    <a:pt x="3385" y="1928"/>
                  </a:lnTo>
                  <a:lnTo>
                    <a:pt x="3363" y="1921"/>
                  </a:lnTo>
                  <a:lnTo>
                    <a:pt x="3337" y="1904"/>
                  </a:lnTo>
                  <a:lnTo>
                    <a:pt x="3337" y="1904"/>
                  </a:lnTo>
                  <a:lnTo>
                    <a:pt x="3337" y="1904"/>
                  </a:lnTo>
                  <a:close/>
                  <a:moveTo>
                    <a:pt x="3401" y="2027"/>
                  </a:moveTo>
                  <a:lnTo>
                    <a:pt x="3408" y="2015"/>
                  </a:lnTo>
                  <a:lnTo>
                    <a:pt x="3408" y="2027"/>
                  </a:lnTo>
                  <a:lnTo>
                    <a:pt x="3401" y="2027"/>
                  </a:lnTo>
                  <a:lnTo>
                    <a:pt x="3401" y="2027"/>
                  </a:lnTo>
                  <a:lnTo>
                    <a:pt x="3401" y="2027"/>
                  </a:lnTo>
                  <a:close/>
                  <a:moveTo>
                    <a:pt x="3392" y="2039"/>
                  </a:moveTo>
                  <a:lnTo>
                    <a:pt x="3392" y="2032"/>
                  </a:lnTo>
                  <a:lnTo>
                    <a:pt x="3401" y="2032"/>
                  </a:lnTo>
                  <a:lnTo>
                    <a:pt x="3418" y="2039"/>
                  </a:lnTo>
                  <a:lnTo>
                    <a:pt x="3418" y="2048"/>
                  </a:lnTo>
                  <a:lnTo>
                    <a:pt x="3392" y="2039"/>
                  </a:lnTo>
                  <a:lnTo>
                    <a:pt x="3392" y="2039"/>
                  </a:lnTo>
                  <a:lnTo>
                    <a:pt x="3392" y="2039"/>
                  </a:lnTo>
                  <a:close/>
                  <a:moveTo>
                    <a:pt x="3385" y="2039"/>
                  </a:moveTo>
                  <a:lnTo>
                    <a:pt x="3385" y="2048"/>
                  </a:lnTo>
                  <a:lnTo>
                    <a:pt x="3385" y="2039"/>
                  </a:lnTo>
                  <a:lnTo>
                    <a:pt x="3385" y="2039"/>
                  </a:lnTo>
                  <a:lnTo>
                    <a:pt x="3385" y="2039"/>
                  </a:lnTo>
                  <a:close/>
                  <a:moveTo>
                    <a:pt x="3418" y="2048"/>
                  </a:moveTo>
                  <a:lnTo>
                    <a:pt x="3422" y="2048"/>
                  </a:lnTo>
                  <a:lnTo>
                    <a:pt x="3422" y="2055"/>
                  </a:lnTo>
                  <a:lnTo>
                    <a:pt x="3418" y="2048"/>
                  </a:lnTo>
                  <a:lnTo>
                    <a:pt x="3418" y="2048"/>
                  </a:lnTo>
                  <a:lnTo>
                    <a:pt x="3418" y="2048"/>
                  </a:lnTo>
                  <a:close/>
                  <a:moveTo>
                    <a:pt x="3401" y="2072"/>
                  </a:moveTo>
                  <a:lnTo>
                    <a:pt x="3392" y="2065"/>
                  </a:lnTo>
                  <a:lnTo>
                    <a:pt x="3401" y="2065"/>
                  </a:lnTo>
                  <a:lnTo>
                    <a:pt x="3408" y="2072"/>
                  </a:lnTo>
                  <a:lnTo>
                    <a:pt x="3401" y="2072"/>
                  </a:lnTo>
                  <a:lnTo>
                    <a:pt x="3401" y="2072"/>
                  </a:lnTo>
                  <a:lnTo>
                    <a:pt x="3401" y="2072"/>
                  </a:lnTo>
                  <a:close/>
                  <a:moveTo>
                    <a:pt x="3385" y="2121"/>
                  </a:moveTo>
                  <a:lnTo>
                    <a:pt x="3385" y="2110"/>
                  </a:lnTo>
                  <a:lnTo>
                    <a:pt x="3392" y="2110"/>
                  </a:lnTo>
                  <a:lnTo>
                    <a:pt x="3385" y="2121"/>
                  </a:lnTo>
                  <a:lnTo>
                    <a:pt x="3385" y="2121"/>
                  </a:lnTo>
                  <a:lnTo>
                    <a:pt x="3385" y="2121"/>
                  </a:lnTo>
                  <a:close/>
                  <a:moveTo>
                    <a:pt x="3333" y="2192"/>
                  </a:moveTo>
                  <a:lnTo>
                    <a:pt x="3337" y="2183"/>
                  </a:lnTo>
                  <a:lnTo>
                    <a:pt x="3337" y="2192"/>
                  </a:lnTo>
                  <a:lnTo>
                    <a:pt x="3337" y="2199"/>
                  </a:lnTo>
                  <a:lnTo>
                    <a:pt x="3333" y="2192"/>
                  </a:lnTo>
                  <a:lnTo>
                    <a:pt x="3333" y="2192"/>
                  </a:lnTo>
                  <a:lnTo>
                    <a:pt x="3333" y="2192"/>
                  </a:lnTo>
                  <a:close/>
                  <a:moveTo>
                    <a:pt x="3229" y="2398"/>
                  </a:moveTo>
                  <a:lnTo>
                    <a:pt x="3229" y="2386"/>
                  </a:lnTo>
                  <a:lnTo>
                    <a:pt x="3240" y="2381"/>
                  </a:lnTo>
                  <a:lnTo>
                    <a:pt x="3240" y="2386"/>
                  </a:lnTo>
                  <a:lnTo>
                    <a:pt x="3240" y="2402"/>
                  </a:lnTo>
                  <a:lnTo>
                    <a:pt x="3229" y="2398"/>
                  </a:lnTo>
                  <a:lnTo>
                    <a:pt x="3229" y="2398"/>
                  </a:lnTo>
                  <a:lnTo>
                    <a:pt x="3229" y="2398"/>
                  </a:lnTo>
                  <a:close/>
                  <a:moveTo>
                    <a:pt x="3115" y="2476"/>
                  </a:moveTo>
                  <a:lnTo>
                    <a:pt x="3120" y="2471"/>
                  </a:lnTo>
                  <a:lnTo>
                    <a:pt x="3115" y="2476"/>
                  </a:lnTo>
                  <a:lnTo>
                    <a:pt x="3115" y="2476"/>
                  </a:lnTo>
                  <a:lnTo>
                    <a:pt x="3115" y="2476"/>
                  </a:lnTo>
                  <a:close/>
                  <a:moveTo>
                    <a:pt x="3077" y="2530"/>
                  </a:moveTo>
                  <a:lnTo>
                    <a:pt x="3068" y="2537"/>
                  </a:lnTo>
                  <a:lnTo>
                    <a:pt x="3061" y="2537"/>
                  </a:lnTo>
                  <a:lnTo>
                    <a:pt x="3068" y="2525"/>
                  </a:lnTo>
                  <a:lnTo>
                    <a:pt x="3077" y="2530"/>
                  </a:lnTo>
                  <a:lnTo>
                    <a:pt x="3077" y="2530"/>
                  </a:lnTo>
                  <a:lnTo>
                    <a:pt x="3077" y="2530"/>
                  </a:lnTo>
                  <a:close/>
                  <a:moveTo>
                    <a:pt x="3056" y="2547"/>
                  </a:moveTo>
                  <a:lnTo>
                    <a:pt x="3056" y="2554"/>
                  </a:lnTo>
                  <a:lnTo>
                    <a:pt x="3040" y="2554"/>
                  </a:lnTo>
                  <a:lnTo>
                    <a:pt x="3056" y="2547"/>
                  </a:lnTo>
                  <a:lnTo>
                    <a:pt x="3056" y="2547"/>
                  </a:lnTo>
                  <a:lnTo>
                    <a:pt x="3056" y="2547"/>
                  </a:lnTo>
                  <a:close/>
                  <a:moveTo>
                    <a:pt x="2846" y="2641"/>
                  </a:moveTo>
                  <a:lnTo>
                    <a:pt x="2851" y="2641"/>
                  </a:lnTo>
                  <a:lnTo>
                    <a:pt x="2846" y="2641"/>
                  </a:lnTo>
                  <a:lnTo>
                    <a:pt x="2846" y="2641"/>
                  </a:lnTo>
                  <a:lnTo>
                    <a:pt x="2846" y="2641"/>
                  </a:lnTo>
                  <a:close/>
                  <a:moveTo>
                    <a:pt x="2792" y="2658"/>
                  </a:moveTo>
                  <a:lnTo>
                    <a:pt x="2787" y="2658"/>
                  </a:lnTo>
                  <a:lnTo>
                    <a:pt x="2792" y="2658"/>
                  </a:lnTo>
                  <a:lnTo>
                    <a:pt x="2792" y="2658"/>
                  </a:lnTo>
                  <a:lnTo>
                    <a:pt x="2792" y="2658"/>
                  </a:lnTo>
                  <a:close/>
                  <a:moveTo>
                    <a:pt x="2742" y="2691"/>
                  </a:moveTo>
                  <a:lnTo>
                    <a:pt x="2742" y="2681"/>
                  </a:lnTo>
                  <a:lnTo>
                    <a:pt x="2754" y="2681"/>
                  </a:lnTo>
                  <a:lnTo>
                    <a:pt x="2742" y="2691"/>
                  </a:lnTo>
                  <a:lnTo>
                    <a:pt x="2742" y="2691"/>
                  </a:lnTo>
                  <a:lnTo>
                    <a:pt x="2742" y="2691"/>
                  </a:lnTo>
                  <a:close/>
                  <a:moveTo>
                    <a:pt x="2683" y="2698"/>
                  </a:moveTo>
                  <a:lnTo>
                    <a:pt x="2683" y="2691"/>
                  </a:lnTo>
                  <a:lnTo>
                    <a:pt x="2690" y="2691"/>
                  </a:lnTo>
                  <a:lnTo>
                    <a:pt x="2683" y="2698"/>
                  </a:lnTo>
                  <a:lnTo>
                    <a:pt x="2683" y="2698"/>
                  </a:lnTo>
                  <a:lnTo>
                    <a:pt x="2683" y="2698"/>
                  </a:lnTo>
                  <a:close/>
                  <a:moveTo>
                    <a:pt x="2591" y="2719"/>
                  </a:moveTo>
                  <a:lnTo>
                    <a:pt x="2598" y="2719"/>
                  </a:lnTo>
                  <a:lnTo>
                    <a:pt x="2591" y="2731"/>
                  </a:lnTo>
                  <a:lnTo>
                    <a:pt x="2581" y="2719"/>
                  </a:lnTo>
                  <a:lnTo>
                    <a:pt x="2591" y="2719"/>
                  </a:lnTo>
                  <a:lnTo>
                    <a:pt x="2591" y="2719"/>
                  </a:lnTo>
                  <a:lnTo>
                    <a:pt x="2591" y="2719"/>
                  </a:lnTo>
                  <a:close/>
                  <a:moveTo>
                    <a:pt x="2581" y="2731"/>
                  </a:moveTo>
                  <a:lnTo>
                    <a:pt x="2591" y="2731"/>
                  </a:lnTo>
                  <a:lnTo>
                    <a:pt x="2591" y="2736"/>
                  </a:lnTo>
                  <a:lnTo>
                    <a:pt x="2570" y="2736"/>
                  </a:lnTo>
                  <a:lnTo>
                    <a:pt x="2570" y="2731"/>
                  </a:lnTo>
                  <a:lnTo>
                    <a:pt x="2581" y="2731"/>
                  </a:lnTo>
                  <a:lnTo>
                    <a:pt x="2581" y="2731"/>
                  </a:lnTo>
                  <a:lnTo>
                    <a:pt x="2581" y="2731"/>
                  </a:lnTo>
                  <a:close/>
                  <a:moveTo>
                    <a:pt x="2527" y="2941"/>
                  </a:moveTo>
                  <a:lnTo>
                    <a:pt x="2522" y="2953"/>
                  </a:lnTo>
                  <a:lnTo>
                    <a:pt x="2515" y="2941"/>
                  </a:lnTo>
                  <a:lnTo>
                    <a:pt x="2463" y="2920"/>
                  </a:lnTo>
                  <a:lnTo>
                    <a:pt x="2451" y="2880"/>
                  </a:lnTo>
                  <a:lnTo>
                    <a:pt x="2463" y="2858"/>
                  </a:lnTo>
                  <a:lnTo>
                    <a:pt x="2506" y="2830"/>
                  </a:lnTo>
                  <a:lnTo>
                    <a:pt x="2489" y="2830"/>
                  </a:lnTo>
                  <a:lnTo>
                    <a:pt x="2506" y="2818"/>
                  </a:lnTo>
                  <a:lnTo>
                    <a:pt x="2515" y="2825"/>
                  </a:lnTo>
                  <a:lnTo>
                    <a:pt x="2522" y="2809"/>
                  </a:lnTo>
                  <a:lnTo>
                    <a:pt x="2553" y="2818"/>
                  </a:lnTo>
                  <a:lnTo>
                    <a:pt x="2560" y="2809"/>
                  </a:lnTo>
                  <a:lnTo>
                    <a:pt x="2591" y="2809"/>
                  </a:lnTo>
                  <a:lnTo>
                    <a:pt x="2598" y="2802"/>
                  </a:lnTo>
                  <a:lnTo>
                    <a:pt x="2607" y="2809"/>
                  </a:lnTo>
                  <a:lnTo>
                    <a:pt x="2614" y="2809"/>
                  </a:lnTo>
                  <a:lnTo>
                    <a:pt x="2624" y="2842"/>
                  </a:lnTo>
                  <a:lnTo>
                    <a:pt x="2607" y="2847"/>
                  </a:lnTo>
                  <a:lnTo>
                    <a:pt x="2591" y="2875"/>
                  </a:lnTo>
                  <a:lnTo>
                    <a:pt x="2581" y="2875"/>
                  </a:lnTo>
                  <a:lnTo>
                    <a:pt x="2591" y="2880"/>
                  </a:lnTo>
                  <a:lnTo>
                    <a:pt x="2591" y="2901"/>
                  </a:lnTo>
                  <a:lnTo>
                    <a:pt x="2560" y="2920"/>
                  </a:lnTo>
                  <a:lnTo>
                    <a:pt x="2553" y="2936"/>
                  </a:lnTo>
                  <a:lnTo>
                    <a:pt x="2539" y="2936"/>
                  </a:lnTo>
                  <a:lnTo>
                    <a:pt x="2527" y="2941"/>
                  </a:lnTo>
                  <a:lnTo>
                    <a:pt x="2527" y="2941"/>
                  </a:lnTo>
                  <a:lnTo>
                    <a:pt x="2527" y="2941"/>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6" name="Freeform 415">
              <a:extLst>
                <a:ext uri="{FF2B5EF4-FFF2-40B4-BE49-F238E27FC236}">
                  <a16:creationId xmlns:a16="http://schemas.microsoft.com/office/drawing/2014/main" id="{BA69FCE7-BCFF-4053-9DE0-C4B3116CCE64}"/>
                </a:ext>
              </a:extLst>
            </p:cNvPr>
            <p:cNvSpPr>
              <a:spLocks noEditPoints="1"/>
            </p:cNvSpPr>
            <p:nvPr/>
          </p:nvSpPr>
          <p:spPr bwMode="gray">
            <a:xfrm>
              <a:off x="11232491" y="4530400"/>
              <a:ext cx="987454" cy="1061423"/>
            </a:xfrm>
            <a:custGeom>
              <a:avLst/>
              <a:gdLst>
                <a:gd name="T0" fmla="*/ 2915 w 3017"/>
                <a:gd name="T1" fmla="*/ 404 h 3243"/>
                <a:gd name="T2" fmla="*/ 2736 w 3017"/>
                <a:gd name="T3" fmla="*/ 1103 h 3243"/>
                <a:gd name="T4" fmla="*/ 2698 w 3017"/>
                <a:gd name="T5" fmla="*/ 1609 h 3243"/>
                <a:gd name="T6" fmla="*/ 2643 w 3017"/>
                <a:gd name="T7" fmla="*/ 2086 h 3243"/>
                <a:gd name="T8" fmla="*/ 2596 w 3017"/>
                <a:gd name="T9" fmla="*/ 2490 h 3243"/>
                <a:gd name="T10" fmla="*/ 2811 w 3017"/>
                <a:gd name="T11" fmla="*/ 2877 h 3243"/>
                <a:gd name="T12" fmla="*/ 2651 w 3017"/>
                <a:gd name="T13" fmla="*/ 2939 h 3243"/>
                <a:gd name="T14" fmla="*/ 2596 w 3017"/>
                <a:gd name="T15" fmla="*/ 2917 h 3243"/>
                <a:gd name="T16" fmla="*/ 2551 w 3017"/>
                <a:gd name="T17" fmla="*/ 2877 h 3243"/>
                <a:gd name="T18" fmla="*/ 2537 w 3017"/>
                <a:gd name="T19" fmla="*/ 2872 h 3243"/>
                <a:gd name="T20" fmla="*/ 2466 w 3017"/>
                <a:gd name="T21" fmla="*/ 2712 h 3243"/>
                <a:gd name="T22" fmla="*/ 2483 w 3017"/>
                <a:gd name="T23" fmla="*/ 2580 h 3243"/>
                <a:gd name="T24" fmla="*/ 2504 w 3017"/>
                <a:gd name="T25" fmla="*/ 2457 h 3243"/>
                <a:gd name="T26" fmla="*/ 2407 w 3017"/>
                <a:gd name="T27" fmla="*/ 2358 h 3243"/>
                <a:gd name="T28" fmla="*/ 2483 w 3017"/>
                <a:gd name="T29" fmla="*/ 2346 h 3243"/>
                <a:gd name="T30" fmla="*/ 2542 w 3017"/>
                <a:gd name="T31" fmla="*/ 2069 h 3243"/>
                <a:gd name="T32" fmla="*/ 2483 w 3017"/>
                <a:gd name="T33" fmla="*/ 1857 h 3243"/>
                <a:gd name="T34" fmla="*/ 2665 w 3017"/>
                <a:gd name="T35" fmla="*/ 1165 h 3243"/>
                <a:gd name="T36" fmla="*/ 2736 w 3017"/>
                <a:gd name="T37" fmla="*/ 421 h 3243"/>
                <a:gd name="T38" fmla="*/ 2462 w 3017"/>
                <a:gd name="T39" fmla="*/ 2053 h 3243"/>
                <a:gd name="T40" fmla="*/ 2513 w 3017"/>
                <a:gd name="T41" fmla="*/ 2029 h 3243"/>
                <a:gd name="T42" fmla="*/ 2445 w 3017"/>
                <a:gd name="T43" fmla="*/ 2086 h 3243"/>
                <a:gd name="T44" fmla="*/ 2483 w 3017"/>
                <a:gd name="T45" fmla="*/ 2135 h 3243"/>
                <a:gd name="T46" fmla="*/ 2499 w 3017"/>
                <a:gd name="T47" fmla="*/ 2152 h 3243"/>
                <a:gd name="T48" fmla="*/ 2537 w 3017"/>
                <a:gd name="T49" fmla="*/ 2173 h 3243"/>
                <a:gd name="T50" fmla="*/ 2483 w 3017"/>
                <a:gd name="T51" fmla="*/ 2173 h 3243"/>
                <a:gd name="T52" fmla="*/ 2466 w 3017"/>
                <a:gd name="T53" fmla="*/ 2190 h 3243"/>
                <a:gd name="T54" fmla="*/ 2483 w 3017"/>
                <a:gd name="T55" fmla="*/ 2197 h 3243"/>
                <a:gd name="T56" fmla="*/ 2504 w 3017"/>
                <a:gd name="T57" fmla="*/ 2235 h 3243"/>
                <a:gd name="T58" fmla="*/ 2450 w 3017"/>
                <a:gd name="T59" fmla="*/ 2263 h 3243"/>
                <a:gd name="T60" fmla="*/ 2450 w 3017"/>
                <a:gd name="T61" fmla="*/ 2272 h 3243"/>
                <a:gd name="T62" fmla="*/ 2488 w 3017"/>
                <a:gd name="T63" fmla="*/ 2301 h 3243"/>
                <a:gd name="T64" fmla="*/ 2488 w 3017"/>
                <a:gd name="T65" fmla="*/ 2395 h 3243"/>
                <a:gd name="T66" fmla="*/ 2488 w 3017"/>
                <a:gd name="T67" fmla="*/ 2473 h 3243"/>
                <a:gd name="T68" fmla="*/ 2395 w 3017"/>
                <a:gd name="T69" fmla="*/ 2490 h 3243"/>
                <a:gd name="T70" fmla="*/ 2450 w 3017"/>
                <a:gd name="T71" fmla="*/ 2511 h 3243"/>
                <a:gd name="T72" fmla="*/ 2395 w 3017"/>
                <a:gd name="T73" fmla="*/ 2551 h 3243"/>
                <a:gd name="T74" fmla="*/ 2412 w 3017"/>
                <a:gd name="T75" fmla="*/ 2622 h 3243"/>
                <a:gd name="T76" fmla="*/ 2407 w 3017"/>
                <a:gd name="T77" fmla="*/ 2561 h 3243"/>
                <a:gd name="T78" fmla="*/ 2424 w 3017"/>
                <a:gd name="T79" fmla="*/ 2601 h 3243"/>
                <a:gd name="T80" fmla="*/ 2428 w 3017"/>
                <a:gd name="T81" fmla="*/ 2679 h 3243"/>
                <a:gd name="T82" fmla="*/ 2391 w 3017"/>
                <a:gd name="T83" fmla="*/ 2745 h 3243"/>
                <a:gd name="T84" fmla="*/ 2462 w 3017"/>
                <a:gd name="T85" fmla="*/ 2745 h 3243"/>
                <a:gd name="T86" fmla="*/ 2424 w 3017"/>
                <a:gd name="T87" fmla="*/ 2790 h 3243"/>
                <a:gd name="T88" fmla="*/ 2391 w 3017"/>
                <a:gd name="T89" fmla="*/ 2823 h 3243"/>
                <a:gd name="T90" fmla="*/ 2488 w 3017"/>
                <a:gd name="T91" fmla="*/ 2823 h 3243"/>
                <a:gd name="T92" fmla="*/ 2504 w 3017"/>
                <a:gd name="T93" fmla="*/ 2877 h 3243"/>
                <a:gd name="T94" fmla="*/ 2445 w 3017"/>
                <a:gd name="T95" fmla="*/ 2877 h 3243"/>
                <a:gd name="T96" fmla="*/ 2731 w 3017"/>
                <a:gd name="T97" fmla="*/ 3116 h 3243"/>
                <a:gd name="T98" fmla="*/ 2752 w 3017"/>
                <a:gd name="T99" fmla="*/ 3106 h 3243"/>
                <a:gd name="T100" fmla="*/ 2736 w 3017"/>
                <a:gd name="T101" fmla="*/ 2950 h 3243"/>
                <a:gd name="T102" fmla="*/ 2530 w 3017"/>
                <a:gd name="T103" fmla="*/ 2983 h 3243"/>
                <a:gd name="T104" fmla="*/ 2537 w 3017"/>
                <a:gd name="T105" fmla="*/ 3012 h 3243"/>
                <a:gd name="T106" fmla="*/ 2499 w 3017"/>
                <a:gd name="T107" fmla="*/ 3012 h 3243"/>
                <a:gd name="T108" fmla="*/ 2643 w 3017"/>
                <a:gd name="T109" fmla="*/ 3045 h 3243"/>
                <a:gd name="T110" fmla="*/ 2747 w 3017"/>
                <a:gd name="T111" fmla="*/ 3078 h 3243"/>
                <a:gd name="T112" fmla="*/ 2714 w 3017"/>
                <a:gd name="T113" fmla="*/ 3139 h 3243"/>
                <a:gd name="T114" fmla="*/ 2953 w 3017"/>
                <a:gd name="T115" fmla="*/ 3149 h 3243"/>
                <a:gd name="T116" fmla="*/ 2891 w 3017"/>
                <a:gd name="T117" fmla="*/ 3177 h 3243"/>
                <a:gd name="T118" fmla="*/ 2967 w 3017"/>
                <a:gd name="T119" fmla="*/ 3156 h 3243"/>
                <a:gd name="T120" fmla="*/ 2785 w 3017"/>
                <a:gd name="T121" fmla="*/ 3194 h 3243"/>
                <a:gd name="T122" fmla="*/ 2929 w 3017"/>
                <a:gd name="T123" fmla="*/ 3243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17" h="3243">
                  <a:moveTo>
                    <a:pt x="2736" y="66"/>
                  </a:moveTo>
                  <a:lnTo>
                    <a:pt x="2769" y="54"/>
                  </a:lnTo>
                  <a:lnTo>
                    <a:pt x="2785" y="38"/>
                  </a:lnTo>
                  <a:lnTo>
                    <a:pt x="2773" y="17"/>
                  </a:lnTo>
                  <a:lnTo>
                    <a:pt x="2790" y="17"/>
                  </a:lnTo>
                  <a:lnTo>
                    <a:pt x="2802" y="0"/>
                  </a:lnTo>
                  <a:lnTo>
                    <a:pt x="2811" y="38"/>
                  </a:lnTo>
                  <a:lnTo>
                    <a:pt x="2828" y="38"/>
                  </a:lnTo>
                  <a:lnTo>
                    <a:pt x="2823" y="50"/>
                  </a:lnTo>
                  <a:lnTo>
                    <a:pt x="2839" y="111"/>
                  </a:lnTo>
                  <a:lnTo>
                    <a:pt x="2877" y="144"/>
                  </a:lnTo>
                  <a:lnTo>
                    <a:pt x="2854" y="165"/>
                  </a:lnTo>
                  <a:lnTo>
                    <a:pt x="2865" y="182"/>
                  </a:lnTo>
                  <a:lnTo>
                    <a:pt x="2865" y="189"/>
                  </a:lnTo>
                  <a:lnTo>
                    <a:pt x="2854" y="199"/>
                  </a:lnTo>
                  <a:lnTo>
                    <a:pt x="2854" y="215"/>
                  </a:lnTo>
                  <a:lnTo>
                    <a:pt x="2854" y="222"/>
                  </a:lnTo>
                  <a:lnTo>
                    <a:pt x="2877" y="239"/>
                  </a:lnTo>
                  <a:lnTo>
                    <a:pt x="2865" y="250"/>
                  </a:lnTo>
                  <a:lnTo>
                    <a:pt x="2865" y="255"/>
                  </a:lnTo>
                  <a:lnTo>
                    <a:pt x="2877" y="260"/>
                  </a:lnTo>
                  <a:lnTo>
                    <a:pt x="2891" y="288"/>
                  </a:lnTo>
                  <a:lnTo>
                    <a:pt x="2891" y="310"/>
                  </a:lnTo>
                  <a:lnTo>
                    <a:pt x="2899" y="343"/>
                  </a:lnTo>
                  <a:lnTo>
                    <a:pt x="2908" y="350"/>
                  </a:lnTo>
                  <a:lnTo>
                    <a:pt x="2915" y="383"/>
                  </a:lnTo>
                  <a:lnTo>
                    <a:pt x="2915" y="404"/>
                  </a:lnTo>
                  <a:lnTo>
                    <a:pt x="2936" y="404"/>
                  </a:lnTo>
                  <a:lnTo>
                    <a:pt x="2962" y="404"/>
                  </a:lnTo>
                  <a:lnTo>
                    <a:pt x="2979" y="416"/>
                  </a:lnTo>
                  <a:lnTo>
                    <a:pt x="2953" y="494"/>
                  </a:lnTo>
                  <a:lnTo>
                    <a:pt x="2882" y="527"/>
                  </a:lnTo>
                  <a:lnTo>
                    <a:pt x="2865" y="548"/>
                  </a:lnTo>
                  <a:lnTo>
                    <a:pt x="2882" y="581"/>
                  </a:lnTo>
                  <a:lnTo>
                    <a:pt x="2865" y="581"/>
                  </a:lnTo>
                  <a:lnTo>
                    <a:pt x="2861" y="605"/>
                  </a:lnTo>
                  <a:lnTo>
                    <a:pt x="2877" y="659"/>
                  </a:lnTo>
                  <a:lnTo>
                    <a:pt x="2865" y="666"/>
                  </a:lnTo>
                  <a:lnTo>
                    <a:pt x="2861" y="683"/>
                  </a:lnTo>
                  <a:lnTo>
                    <a:pt x="2882" y="716"/>
                  </a:lnTo>
                  <a:lnTo>
                    <a:pt x="2877" y="732"/>
                  </a:lnTo>
                  <a:lnTo>
                    <a:pt x="2844" y="732"/>
                  </a:lnTo>
                  <a:lnTo>
                    <a:pt x="2823" y="803"/>
                  </a:lnTo>
                  <a:lnTo>
                    <a:pt x="2790" y="832"/>
                  </a:lnTo>
                  <a:lnTo>
                    <a:pt x="2785" y="886"/>
                  </a:lnTo>
                  <a:lnTo>
                    <a:pt x="2757" y="905"/>
                  </a:lnTo>
                  <a:lnTo>
                    <a:pt x="2773" y="976"/>
                  </a:lnTo>
                  <a:lnTo>
                    <a:pt x="2769" y="980"/>
                  </a:lnTo>
                  <a:lnTo>
                    <a:pt x="2752" y="992"/>
                  </a:lnTo>
                  <a:lnTo>
                    <a:pt x="2747" y="1025"/>
                  </a:lnTo>
                  <a:lnTo>
                    <a:pt x="2747" y="1037"/>
                  </a:lnTo>
                  <a:lnTo>
                    <a:pt x="2731" y="1054"/>
                  </a:lnTo>
                  <a:lnTo>
                    <a:pt x="2719" y="1082"/>
                  </a:lnTo>
                  <a:lnTo>
                    <a:pt x="2736" y="1103"/>
                  </a:lnTo>
                  <a:lnTo>
                    <a:pt x="2752" y="1108"/>
                  </a:lnTo>
                  <a:lnTo>
                    <a:pt x="2736" y="1124"/>
                  </a:lnTo>
                  <a:lnTo>
                    <a:pt x="2747" y="1136"/>
                  </a:lnTo>
                  <a:lnTo>
                    <a:pt x="2752" y="1160"/>
                  </a:lnTo>
                  <a:lnTo>
                    <a:pt x="2752" y="1176"/>
                  </a:lnTo>
                  <a:lnTo>
                    <a:pt x="2769" y="1193"/>
                  </a:lnTo>
                  <a:lnTo>
                    <a:pt x="2757" y="1214"/>
                  </a:lnTo>
                  <a:lnTo>
                    <a:pt x="2769" y="1219"/>
                  </a:lnTo>
                  <a:lnTo>
                    <a:pt x="2773" y="1219"/>
                  </a:lnTo>
                  <a:lnTo>
                    <a:pt x="2785" y="1231"/>
                  </a:lnTo>
                  <a:lnTo>
                    <a:pt x="2769" y="1259"/>
                  </a:lnTo>
                  <a:lnTo>
                    <a:pt x="2773" y="1292"/>
                  </a:lnTo>
                  <a:lnTo>
                    <a:pt x="2757" y="1304"/>
                  </a:lnTo>
                  <a:lnTo>
                    <a:pt x="2736" y="1370"/>
                  </a:lnTo>
                  <a:lnTo>
                    <a:pt x="2719" y="1380"/>
                  </a:lnTo>
                  <a:lnTo>
                    <a:pt x="2736" y="1387"/>
                  </a:lnTo>
                  <a:lnTo>
                    <a:pt x="2747" y="1424"/>
                  </a:lnTo>
                  <a:lnTo>
                    <a:pt x="2736" y="1453"/>
                  </a:lnTo>
                  <a:lnTo>
                    <a:pt x="2714" y="1458"/>
                  </a:lnTo>
                  <a:lnTo>
                    <a:pt x="2714" y="1474"/>
                  </a:lnTo>
                  <a:lnTo>
                    <a:pt x="2693" y="1481"/>
                  </a:lnTo>
                  <a:lnTo>
                    <a:pt x="2681" y="1507"/>
                  </a:lnTo>
                  <a:lnTo>
                    <a:pt x="2693" y="1531"/>
                  </a:lnTo>
                  <a:lnTo>
                    <a:pt x="2681" y="1547"/>
                  </a:lnTo>
                  <a:lnTo>
                    <a:pt x="2693" y="1564"/>
                  </a:lnTo>
                  <a:lnTo>
                    <a:pt x="2681" y="1580"/>
                  </a:lnTo>
                  <a:lnTo>
                    <a:pt x="2698" y="1609"/>
                  </a:lnTo>
                  <a:lnTo>
                    <a:pt x="2698" y="1642"/>
                  </a:lnTo>
                  <a:lnTo>
                    <a:pt x="2702" y="1658"/>
                  </a:lnTo>
                  <a:lnTo>
                    <a:pt x="2698" y="1663"/>
                  </a:lnTo>
                  <a:lnTo>
                    <a:pt x="2665" y="1680"/>
                  </a:lnTo>
                  <a:lnTo>
                    <a:pt x="2665" y="1713"/>
                  </a:lnTo>
                  <a:lnTo>
                    <a:pt x="2660" y="1746"/>
                  </a:lnTo>
                  <a:lnTo>
                    <a:pt x="2643" y="1736"/>
                  </a:lnTo>
                  <a:lnTo>
                    <a:pt x="2651" y="1769"/>
                  </a:lnTo>
                  <a:lnTo>
                    <a:pt x="2639" y="1791"/>
                  </a:lnTo>
                  <a:lnTo>
                    <a:pt x="2643" y="1802"/>
                  </a:lnTo>
                  <a:lnTo>
                    <a:pt x="2639" y="1807"/>
                  </a:lnTo>
                  <a:lnTo>
                    <a:pt x="2627" y="1840"/>
                  </a:lnTo>
                  <a:lnTo>
                    <a:pt x="2639" y="1857"/>
                  </a:lnTo>
                  <a:lnTo>
                    <a:pt x="2639" y="1913"/>
                  </a:lnTo>
                  <a:lnTo>
                    <a:pt x="2627" y="1918"/>
                  </a:lnTo>
                  <a:lnTo>
                    <a:pt x="2643" y="1951"/>
                  </a:lnTo>
                  <a:lnTo>
                    <a:pt x="2627" y="1958"/>
                  </a:lnTo>
                  <a:lnTo>
                    <a:pt x="2622" y="1958"/>
                  </a:lnTo>
                  <a:lnTo>
                    <a:pt x="2613" y="1975"/>
                  </a:lnTo>
                  <a:lnTo>
                    <a:pt x="2622" y="1975"/>
                  </a:lnTo>
                  <a:lnTo>
                    <a:pt x="2613" y="1996"/>
                  </a:lnTo>
                  <a:lnTo>
                    <a:pt x="2613" y="2041"/>
                  </a:lnTo>
                  <a:lnTo>
                    <a:pt x="2643" y="2046"/>
                  </a:lnTo>
                  <a:lnTo>
                    <a:pt x="2643" y="2062"/>
                  </a:lnTo>
                  <a:lnTo>
                    <a:pt x="2627" y="2062"/>
                  </a:lnTo>
                  <a:lnTo>
                    <a:pt x="2627" y="2069"/>
                  </a:lnTo>
                  <a:lnTo>
                    <a:pt x="2643" y="2086"/>
                  </a:lnTo>
                  <a:lnTo>
                    <a:pt x="2643" y="2095"/>
                  </a:lnTo>
                  <a:lnTo>
                    <a:pt x="2639" y="2102"/>
                  </a:lnTo>
                  <a:lnTo>
                    <a:pt x="2651" y="2119"/>
                  </a:lnTo>
                  <a:lnTo>
                    <a:pt x="2639" y="2135"/>
                  </a:lnTo>
                  <a:lnTo>
                    <a:pt x="2639" y="2157"/>
                  </a:lnTo>
                  <a:lnTo>
                    <a:pt x="2681" y="2157"/>
                  </a:lnTo>
                  <a:lnTo>
                    <a:pt x="2693" y="2161"/>
                  </a:lnTo>
                  <a:lnTo>
                    <a:pt x="2676" y="2190"/>
                  </a:lnTo>
                  <a:lnTo>
                    <a:pt x="2622" y="2190"/>
                  </a:lnTo>
                  <a:lnTo>
                    <a:pt x="2622" y="2206"/>
                  </a:lnTo>
                  <a:lnTo>
                    <a:pt x="2651" y="2206"/>
                  </a:lnTo>
                  <a:lnTo>
                    <a:pt x="2676" y="2235"/>
                  </a:lnTo>
                  <a:lnTo>
                    <a:pt x="2660" y="2251"/>
                  </a:lnTo>
                  <a:lnTo>
                    <a:pt x="2643" y="2263"/>
                  </a:lnTo>
                  <a:lnTo>
                    <a:pt x="2639" y="2268"/>
                  </a:lnTo>
                  <a:lnTo>
                    <a:pt x="2643" y="2284"/>
                  </a:lnTo>
                  <a:lnTo>
                    <a:pt x="2651" y="2301"/>
                  </a:lnTo>
                  <a:lnTo>
                    <a:pt x="2627" y="2317"/>
                  </a:lnTo>
                  <a:lnTo>
                    <a:pt x="2643" y="2324"/>
                  </a:lnTo>
                  <a:lnTo>
                    <a:pt x="2643" y="2362"/>
                  </a:lnTo>
                  <a:lnTo>
                    <a:pt x="2627" y="2374"/>
                  </a:lnTo>
                  <a:lnTo>
                    <a:pt x="2627" y="2395"/>
                  </a:lnTo>
                  <a:lnTo>
                    <a:pt x="2639" y="2412"/>
                  </a:lnTo>
                  <a:lnTo>
                    <a:pt x="2596" y="2433"/>
                  </a:lnTo>
                  <a:lnTo>
                    <a:pt x="2596" y="2440"/>
                  </a:lnTo>
                  <a:lnTo>
                    <a:pt x="2589" y="2473"/>
                  </a:lnTo>
                  <a:lnTo>
                    <a:pt x="2596" y="2490"/>
                  </a:lnTo>
                  <a:lnTo>
                    <a:pt x="2606" y="2511"/>
                  </a:lnTo>
                  <a:lnTo>
                    <a:pt x="2584" y="2523"/>
                  </a:lnTo>
                  <a:lnTo>
                    <a:pt x="2584" y="2551"/>
                  </a:lnTo>
                  <a:lnTo>
                    <a:pt x="2551" y="2568"/>
                  </a:lnTo>
                  <a:lnTo>
                    <a:pt x="2542" y="2596"/>
                  </a:lnTo>
                  <a:lnTo>
                    <a:pt x="2551" y="2601"/>
                  </a:lnTo>
                  <a:lnTo>
                    <a:pt x="2542" y="2601"/>
                  </a:lnTo>
                  <a:lnTo>
                    <a:pt x="2521" y="2601"/>
                  </a:lnTo>
                  <a:lnTo>
                    <a:pt x="2513" y="2622"/>
                  </a:lnTo>
                  <a:lnTo>
                    <a:pt x="2521" y="2650"/>
                  </a:lnTo>
                  <a:lnTo>
                    <a:pt x="2513" y="2655"/>
                  </a:lnTo>
                  <a:lnTo>
                    <a:pt x="2521" y="2662"/>
                  </a:lnTo>
                  <a:lnTo>
                    <a:pt x="2521" y="2679"/>
                  </a:lnTo>
                  <a:lnTo>
                    <a:pt x="2537" y="2695"/>
                  </a:lnTo>
                  <a:lnTo>
                    <a:pt x="2542" y="2733"/>
                  </a:lnTo>
                  <a:lnTo>
                    <a:pt x="2575" y="2728"/>
                  </a:lnTo>
                  <a:lnTo>
                    <a:pt x="2606" y="2728"/>
                  </a:lnTo>
                  <a:lnTo>
                    <a:pt x="2606" y="2761"/>
                  </a:lnTo>
                  <a:lnTo>
                    <a:pt x="2596" y="2773"/>
                  </a:lnTo>
                  <a:lnTo>
                    <a:pt x="2606" y="2783"/>
                  </a:lnTo>
                  <a:lnTo>
                    <a:pt x="2596" y="2806"/>
                  </a:lnTo>
                  <a:lnTo>
                    <a:pt x="2606" y="2828"/>
                  </a:lnTo>
                  <a:lnTo>
                    <a:pt x="2627" y="2844"/>
                  </a:lnTo>
                  <a:lnTo>
                    <a:pt x="2627" y="2856"/>
                  </a:lnTo>
                  <a:lnTo>
                    <a:pt x="2769" y="2856"/>
                  </a:lnTo>
                  <a:lnTo>
                    <a:pt x="2877" y="2894"/>
                  </a:lnTo>
                  <a:lnTo>
                    <a:pt x="2811" y="2877"/>
                  </a:lnTo>
                  <a:lnTo>
                    <a:pt x="2802" y="2884"/>
                  </a:lnTo>
                  <a:lnTo>
                    <a:pt x="2802" y="2894"/>
                  </a:lnTo>
                  <a:lnTo>
                    <a:pt x="2790" y="2910"/>
                  </a:lnTo>
                  <a:lnTo>
                    <a:pt x="2773" y="2901"/>
                  </a:lnTo>
                  <a:lnTo>
                    <a:pt x="2702" y="2927"/>
                  </a:lnTo>
                  <a:lnTo>
                    <a:pt x="2702" y="2950"/>
                  </a:lnTo>
                  <a:lnTo>
                    <a:pt x="2698" y="2988"/>
                  </a:lnTo>
                  <a:lnTo>
                    <a:pt x="2698" y="3028"/>
                  </a:lnTo>
                  <a:lnTo>
                    <a:pt x="2676" y="3045"/>
                  </a:lnTo>
                  <a:lnTo>
                    <a:pt x="2613" y="3021"/>
                  </a:lnTo>
                  <a:lnTo>
                    <a:pt x="2589" y="2995"/>
                  </a:lnTo>
                  <a:lnTo>
                    <a:pt x="2606" y="2983"/>
                  </a:lnTo>
                  <a:lnTo>
                    <a:pt x="2613" y="2983"/>
                  </a:lnTo>
                  <a:lnTo>
                    <a:pt x="2622" y="2988"/>
                  </a:lnTo>
                  <a:lnTo>
                    <a:pt x="2606" y="2995"/>
                  </a:lnTo>
                  <a:lnTo>
                    <a:pt x="2613" y="2995"/>
                  </a:lnTo>
                  <a:lnTo>
                    <a:pt x="2622" y="2988"/>
                  </a:lnTo>
                  <a:lnTo>
                    <a:pt x="2622" y="2972"/>
                  </a:lnTo>
                  <a:lnTo>
                    <a:pt x="2639" y="2972"/>
                  </a:lnTo>
                  <a:lnTo>
                    <a:pt x="2639" y="2995"/>
                  </a:lnTo>
                  <a:lnTo>
                    <a:pt x="2622" y="3012"/>
                  </a:lnTo>
                  <a:lnTo>
                    <a:pt x="2639" y="3005"/>
                  </a:lnTo>
                  <a:lnTo>
                    <a:pt x="2643" y="2972"/>
                  </a:lnTo>
                  <a:lnTo>
                    <a:pt x="2665" y="2967"/>
                  </a:lnTo>
                  <a:lnTo>
                    <a:pt x="2681" y="2939"/>
                  </a:lnTo>
                  <a:lnTo>
                    <a:pt x="2681" y="2934"/>
                  </a:lnTo>
                  <a:lnTo>
                    <a:pt x="2651" y="2939"/>
                  </a:lnTo>
                  <a:lnTo>
                    <a:pt x="2622" y="2967"/>
                  </a:lnTo>
                  <a:lnTo>
                    <a:pt x="2606" y="2955"/>
                  </a:lnTo>
                  <a:lnTo>
                    <a:pt x="2584" y="2967"/>
                  </a:lnTo>
                  <a:lnTo>
                    <a:pt x="2613" y="2972"/>
                  </a:lnTo>
                  <a:lnTo>
                    <a:pt x="2589" y="2972"/>
                  </a:lnTo>
                  <a:lnTo>
                    <a:pt x="2596" y="2983"/>
                  </a:lnTo>
                  <a:lnTo>
                    <a:pt x="2589" y="2988"/>
                  </a:lnTo>
                  <a:lnTo>
                    <a:pt x="2575" y="2988"/>
                  </a:lnTo>
                  <a:lnTo>
                    <a:pt x="2596" y="3005"/>
                  </a:lnTo>
                  <a:lnTo>
                    <a:pt x="2537" y="2972"/>
                  </a:lnTo>
                  <a:lnTo>
                    <a:pt x="2537" y="2967"/>
                  </a:lnTo>
                  <a:lnTo>
                    <a:pt x="2558" y="2972"/>
                  </a:lnTo>
                  <a:lnTo>
                    <a:pt x="2575" y="2983"/>
                  </a:lnTo>
                  <a:lnTo>
                    <a:pt x="2568" y="2972"/>
                  </a:lnTo>
                  <a:lnTo>
                    <a:pt x="2575" y="2967"/>
                  </a:lnTo>
                  <a:lnTo>
                    <a:pt x="2558" y="2967"/>
                  </a:lnTo>
                  <a:lnTo>
                    <a:pt x="2568" y="2955"/>
                  </a:lnTo>
                  <a:lnTo>
                    <a:pt x="2558" y="2939"/>
                  </a:lnTo>
                  <a:lnTo>
                    <a:pt x="2575" y="2927"/>
                  </a:lnTo>
                  <a:lnTo>
                    <a:pt x="2589" y="2934"/>
                  </a:lnTo>
                  <a:lnTo>
                    <a:pt x="2613" y="2917"/>
                  </a:lnTo>
                  <a:lnTo>
                    <a:pt x="2639" y="2927"/>
                  </a:lnTo>
                  <a:lnTo>
                    <a:pt x="2660" y="2917"/>
                  </a:lnTo>
                  <a:lnTo>
                    <a:pt x="2660" y="2910"/>
                  </a:lnTo>
                  <a:lnTo>
                    <a:pt x="2613" y="2910"/>
                  </a:lnTo>
                  <a:lnTo>
                    <a:pt x="2596" y="2910"/>
                  </a:lnTo>
                  <a:lnTo>
                    <a:pt x="2596" y="2917"/>
                  </a:lnTo>
                  <a:lnTo>
                    <a:pt x="2584" y="2917"/>
                  </a:lnTo>
                  <a:lnTo>
                    <a:pt x="2596" y="2910"/>
                  </a:lnTo>
                  <a:lnTo>
                    <a:pt x="2568" y="2910"/>
                  </a:lnTo>
                  <a:lnTo>
                    <a:pt x="2558" y="2917"/>
                  </a:lnTo>
                  <a:lnTo>
                    <a:pt x="2575" y="2917"/>
                  </a:lnTo>
                  <a:lnTo>
                    <a:pt x="2551" y="2939"/>
                  </a:lnTo>
                  <a:lnTo>
                    <a:pt x="2558" y="2955"/>
                  </a:lnTo>
                  <a:lnTo>
                    <a:pt x="2542" y="2967"/>
                  </a:lnTo>
                  <a:lnTo>
                    <a:pt x="2521" y="2955"/>
                  </a:lnTo>
                  <a:lnTo>
                    <a:pt x="2537" y="2939"/>
                  </a:lnTo>
                  <a:lnTo>
                    <a:pt x="2513" y="2934"/>
                  </a:lnTo>
                  <a:lnTo>
                    <a:pt x="2537" y="2934"/>
                  </a:lnTo>
                  <a:lnTo>
                    <a:pt x="2542" y="2910"/>
                  </a:lnTo>
                  <a:lnTo>
                    <a:pt x="2558" y="2910"/>
                  </a:lnTo>
                  <a:lnTo>
                    <a:pt x="2542" y="2901"/>
                  </a:lnTo>
                  <a:lnTo>
                    <a:pt x="2537" y="2927"/>
                  </a:lnTo>
                  <a:lnTo>
                    <a:pt x="2530" y="2917"/>
                  </a:lnTo>
                  <a:lnTo>
                    <a:pt x="2504" y="2927"/>
                  </a:lnTo>
                  <a:lnTo>
                    <a:pt x="2504" y="2917"/>
                  </a:lnTo>
                  <a:lnTo>
                    <a:pt x="2513" y="2910"/>
                  </a:lnTo>
                  <a:lnTo>
                    <a:pt x="2504" y="2901"/>
                  </a:lnTo>
                  <a:lnTo>
                    <a:pt x="2513" y="2884"/>
                  </a:lnTo>
                  <a:lnTo>
                    <a:pt x="2504" y="2861"/>
                  </a:lnTo>
                  <a:lnTo>
                    <a:pt x="2513" y="2877"/>
                  </a:lnTo>
                  <a:lnTo>
                    <a:pt x="2530" y="2877"/>
                  </a:lnTo>
                  <a:lnTo>
                    <a:pt x="2551" y="2861"/>
                  </a:lnTo>
                  <a:lnTo>
                    <a:pt x="2551" y="2877"/>
                  </a:lnTo>
                  <a:lnTo>
                    <a:pt x="2568" y="2884"/>
                  </a:lnTo>
                  <a:lnTo>
                    <a:pt x="2568" y="2861"/>
                  </a:lnTo>
                  <a:lnTo>
                    <a:pt x="2558" y="2877"/>
                  </a:lnTo>
                  <a:lnTo>
                    <a:pt x="2558" y="2861"/>
                  </a:lnTo>
                  <a:lnTo>
                    <a:pt x="2568" y="2856"/>
                  </a:lnTo>
                  <a:lnTo>
                    <a:pt x="2575" y="2856"/>
                  </a:lnTo>
                  <a:lnTo>
                    <a:pt x="2589" y="2877"/>
                  </a:lnTo>
                  <a:lnTo>
                    <a:pt x="2584" y="2884"/>
                  </a:lnTo>
                  <a:lnTo>
                    <a:pt x="2558" y="2901"/>
                  </a:lnTo>
                  <a:lnTo>
                    <a:pt x="2589" y="2884"/>
                  </a:lnTo>
                  <a:lnTo>
                    <a:pt x="2589" y="2877"/>
                  </a:lnTo>
                  <a:lnTo>
                    <a:pt x="2575" y="2856"/>
                  </a:lnTo>
                  <a:lnTo>
                    <a:pt x="2589" y="2856"/>
                  </a:lnTo>
                  <a:lnTo>
                    <a:pt x="2589" y="2839"/>
                  </a:lnTo>
                  <a:lnTo>
                    <a:pt x="2575" y="2816"/>
                  </a:lnTo>
                  <a:lnTo>
                    <a:pt x="2537" y="2806"/>
                  </a:lnTo>
                  <a:lnTo>
                    <a:pt x="2584" y="2839"/>
                  </a:lnTo>
                  <a:lnTo>
                    <a:pt x="2575" y="2839"/>
                  </a:lnTo>
                  <a:lnTo>
                    <a:pt x="2537" y="2823"/>
                  </a:lnTo>
                  <a:lnTo>
                    <a:pt x="2537" y="2828"/>
                  </a:lnTo>
                  <a:lnTo>
                    <a:pt x="2551" y="2839"/>
                  </a:lnTo>
                  <a:lnTo>
                    <a:pt x="2542" y="2844"/>
                  </a:lnTo>
                  <a:lnTo>
                    <a:pt x="2558" y="2844"/>
                  </a:lnTo>
                  <a:lnTo>
                    <a:pt x="2542" y="2856"/>
                  </a:lnTo>
                  <a:lnTo>
                    <a:pt x="2537" y="2861"/>
                  </a:lnTo>
                  <a:lnTo>
                    <a:pt x="2530" y="2823"/>
                  </a:lnTo>
                  <a:lnTo>
                    <a:pt x="2537" y="2872"/>
                  </a:lnTo>
                  <a:lnTo>
                    <a:pt x="2513" y="2861"/>
                  </a:lnTo>
                  <a:lnTo>
                    <a:pt x="2504" y="2839"/>
                  </a:lnTo>
                  <a:lnTo>
                    <a:pt x="2530" y="2861"/>
                  </a:lnTo>
                  <a:lnTo>
                    <a:pt x="2513" y="2828"/>
                  </a:lnTo>
                  <a:lnTo>
                    <a:pt x="2521" y="2828"/>
                  </a:lnTo>
                  <a:lnTo>
                    <a:pt x="2504" y="2839"/>
                  </a:lnTo>
                  <a:lnTo>
                    <a:pt x="2499" y="2823"/>
                  </a:lnTo>
                  <a:lnTo>
                    <a:pt x="2488" y="2823"/>
                  </a:lnTo>
                  <a:lnTo>
                    <a:pt x="2488" y="2799"/>
                  </a:lnTo>
                  <a:lnTo>
                    <a:pt x="2513" y="2823"/>
                  </a:lnTo>
                  <a:lnTo>
                    <a:pt x="2499" y="2783"/>
                  </a:lnTo>
                  <a:lnTo>
                    <a:pt x="2504" y="2790"/>
                  </a:lnTo>
                  <a:lnTo>
                    <a:pt x="2504" y="2773"/>
                  </a:lnTo>
                  <a:lnTo>
                    <a:pt x="2488" y="2783"/>
                  </a:lnTo>
                  <a:lnTo>
                    <a:pt x="2476" y="2783"/>
                  </a:lnTo>
                  <a:lnTo>
                    <a:pt x="2466" y="2761"/>
                  </a:lnTo>
                  <a:lnTo>
                    <a:pt x="2476" y="2750"/>
                  </a:lnTo>
                  <a:lnTo>
                    <a:pt x="2499" y="2750"/>
                  </a:lnTo>
                  <a:lnTo>
                    <a:pt x="2504" y="2728"/>
                  </a:lnTo>
                  <a:lnTo>
                    <a:pt x="2521" y="2733"/>
                  </a:lnTo>
                  <a:lnTo>
                    <a:pt x="2521" y="2728"/>
                  </a:lnTo>
                  <a:lnTo>
                    <a:pt x="2504" y="2717"/>
                  </a:lnTo>
                  <a:lnTo>
                    <a:pt x="2513" y="2707"/>
                  </a:lnTo>
                  <a:lnTo>
                    <a:pt x="2499" y="2717"/>
                  </a:lnTo>
                  <a:lnTo>
                    <a:pt x="2499" y="2745"/>
                  </a:lnTo>
                  <a:lnTo>
                    <a:pt x="2483" y="2745"/>
                  </a:lnTo>
                  <a:lnTo>
                    <a:pt x="2466" y="2712"/>
                  </a:lnTo>
                  <a:lnTo>
                    <a:pt x="2488" y="2717"/>
                  </a:lnTo>
                  <a:lnTo>
                    <a:pt x="2466" y="2707"/>
                  </a:lnTo>
                  <a:lnTo>
                    <a:pt x="2433" y="2688"/>
                  </a:lnTo>
                  <a:lnTo>
                    <a:pt x="2445" y="2679"/>
                  </a:lnTo>
                  <a:lnTo>
                    <a:pt x="2462" y="2672"/>
                  </a:lnTo>
                  <a:lnTo>
                    <a:pt x="2466" y="2688"/>
                  </a:lnTo>
                  <a:lnTo>
                    <a:pt x="2499" y="2695"/>
                  </a:lnTo>
                  <a:lnTo>
                    <a:pt x="2476" y="2688"/>
                  </a:lnTo>
                  <a:lnTo>
                    <a:pt x="2462" y="2662"/>
                  </a:lnTo>
                  <a:lnTo>
                    <a:pt x="2466" y="2662"/>
                  </a:lnTo>
                  <a:lnTo>
                    <a:pt x="2488" y="2672"/>
                  </a:lnTo>
                  <a:lnTo>
                    <a:pt x="2466" y="2655"/>
                  </a:lnTo>
                  <a:lnTo>
                    <a:pt x="2462" y="2650"/>
                  </a:lnTo>
                  <a:lnTo>
                    <a:pt x="2483" y="2639"/>
                  </a:lnTo>
                  <a:lnTo>
                    <a:pt x="2466" y="2639"/>
                  </a:lnTo>
                  <a:lnTo>
                    <a:pt x="2462" y="2634"/>
                  </a:lnTo>
                  <a:lnTo>
                    <a:pt x="2488" y="2622"/>
                  </a:lnTo>
                  <a:lnTo>
                    <a:pt x="2504" y="2639"/>
                  </a:lnTo>
                  <a:lnTo>
                    <a:pt x="2499" y="2634"/>
                  </a:lnTo>
                  <a:lnTo>
                    <a:pt x="2488" y="2622"/>
                  </a:lnTo>
                  <a:lnTo>
                    <a:pt x="2476" y="2617"/>
                  </a:lnTo>
                  <a:lnTo>
                    <a:pt x="2483" y="2601"/>
                  </a:lnTo>
                  <a:lnTo>
                    <a:pt x="2499" y="2606"/>
                  </a:lnTo>
                  <a:lnTo>
                    <a:pt x="2483" y="2601"/>
                  </a:lnTo>
                  <a:lnTo>
                    <a:pt x="2483" y="2584"/>
                  </a:lnTo>
                  <a:lnTo>
                    <a:pt x="2499" y="2580"/>
                  </a:lnTo>
                  <a:lnTo>
                    <a:pt x="2483" y="2580"/>
                  </a:lnTo>
                  <a:lnTo>
                    <a:pt x="2466" y="2622"/>
                  </a:lnTo>
                  <a:lnTo>
                    <a:pt x="2462" y="2617"/>
                  </a:lnTo>
                  <a:lnTo>
                    <a:pt x="2450" y="2551"/>
                  </a:lnTo>
                  <a:lnTo>
                    <a:pt x="2462" y="2544"/>
                  </a:lnTo>
                  <a:lnTo>
                    <a:pt x="2483" y="2551"/>
                  </a:lnTo>
                  <a:lnTo>
                    <a:pt x="2462" y="2544"/>
                  </a:lnTo>
                  <a:lnTo>
                    <a:pt x="2462" y="2539"/>
                  </a:lnTo>
                  <a:lnTo>
                    <a:pt x="2466" y="2523"/>
                  </a:lnTo>
                  <a:lnTo>
                    <a:pt x="2483" y="2528"/>
                  </a:lnTo>
                  <a:lnTo>
                    <a:pt x="2483" y="2523"/>
                  </a:lnTo>
                  <a:lnTo>
                    <a:pt x="2466" y="2511"/>
                  </a:lnTo>
                  <a:lnTo>
                    <a:pt x="2476" y="2511"/>
                  </a:lnTo>
                  <a:lnTo>
                    <a:pt x="2433" y="2485"/>
                  </a:lnTo>
                  <a:lnTo>
                    <a:pt x="2450" y="2485"/>
                  </a:lnTo>
                  <a:lnTo>
                    <a:pt x="2466" y="2506"/>
                  </a:lnTo>
                  <a:lnTo>
                    <a:pt x="2462" y="2485"/>
                  </a:lnTo>
                  <a:lnTo>
                    <a:pt x="2499" y="2485"/>
                  </a:lnTo>
                  <a:lnTo>
                    <a:pt x="2513" y="2506"/>
                  </a:lnTo>
                  <a:lnTo>
                    <a:pt x="2521" y="2495"/>
                  </a:lnTo>
                  <a:lnTo>
                    <a:pt x="2530" y="2495"/>
                  </a:lnTo>
                  <a:lnTo>
                    <a:pt x="2537" y="2490"/>
                  </a:lnTo>
                  <a:lnTo>
                    <a:pt x="2530" y="2495"/>
                  </a:lnTo>
                  <a:lnTo>
                    <a:pt x="2521" y="2490"/>
                  </a:lnTo>
                  <a:lnTo>
                    <a:pt x="2504" y="2473"/>
                  </a:lnTo>
                  <a:lnTo>
                    <a:pt x="2537" y="2485"/>
                  </a:lnTo>
                  <a:lnTo>
                    <a:pt x="2521" y="2473"/>
                  </a:lnTo>
                  <a:lnTo>
                    <a:pt x="2504" y="2457"/>
                  </a:lnTo>
                  <a:lnTo>
                    <a:pt x="2504" y="2452"/>
                  </a:lnTo>
                  <a:lnTo>
                    <a:pt x="2504" y="2433"/>
                  </a:lnTo>
                  <a:lnTo>
                    <a:pt x="2499" y="2457"/>
                  </a:lnTo>
                  <a:lnTo>
                    <a:pt x="2488" y="2469"/>
                  </a:lnTo>
                  <a:lnTo>
                    <a:pt x="2433" y="2457"/>
                  </a:lnTo>
                  <a:lnTo>
                    <a:pt x="2445" y="2440"/>
                  </a:lnTo>
                  <a:lnTo>
                    <a:pt x="2462" y="2440"/>
                  </a:lnTo>
                  <a:lnTo>
                    <a:pt x="2466" y="2457"/>
                  </a:lnTo>
                  <a:lnTo>
                    <a:pt x="2476" y="2457"/>
                  </a:lnTo>
                  <a:lnTo>
                    <a:pt x="2466" y="2457"/>
                  </a:lnTo>
                  <a:lnTo>
                    <a:pt x="2466" y="2452"/>
                  </a:lnTo>
                  <a:lnTo>
                    <a:pt x="2483" y="2440"/>
                  </a:lnTo>
                  <a:lnTo>
                    <a:pt x="2462" y="2440"/>
                  </a:lnTo>
                  <a:lnTo>
                    <a:pt x="2445" y="2428"/>
                  </a:lnTo>
                  <a:lnTo>
                    <a:pt x="2462" y="2412"/>
                  </a:lnTo>
                  <a:lnTo>
                    <a:pt x="2476" y="2412"/>
                  </a:lnTo>
                  <a:lnTo>
                    <a:pt x="2476" y="2417"/>
                  </a:lnTo>
                  <a:lnTo>
                    <a:pt x="2476" y="2412"/>
                  </a:lnTo>
                  <a:lnTo>
                    <a:pt x="2488" y="2395"/>
                  </a:lnTo>
                  <a:lnTo>
                    <a:pt x="2476" y="2384"/>
                  </a:lnTo>
                  <a:lnTo>
                    <a:pt x="2466" y="2374"/>
                  </a:lnTo>
                  <a:lnTo>
                    <a:pt x="2445" y="2374"/>
                  </a:lnTo>
                  <a:lnTo>
                    <a:pt x="2450" y="2379"/>
                  </a:lnTo>
                  <a:lnTo>
                    <a:pt x="2412" y="2374"/>
                  </a:lnTo>
                  <a:lnTo>
                    <a:pt x="2407" y="2358"/>
                  </a:lnTo>
                  <a:lnTo>
                    <a:pt x="2424" y="2341"/>
                  </a:lnTo>
                  <a:lnTo>
                    <a:pt x="2407" y="2358"/>
                  </a:lnTo>
                  <a:lnTo>
                    <a:pt x="2369" y="2374"/>
                  </a:lnTo>
                  <a:lnTo>
                    <a:pt x="2379" y="2362"/>
                  </a:lnTo>
                  <a:lnTo>
                    <a:pt x="2391" y="2379"/>
                  </a:lnTo>
                  <a:lnTo>
                    <a:pt x="2379" y="2384"/>
                  </a:lnTo>
                  <a:lnTo>
                    <a:pt x="2374" y="2384"/>
                  </a:lnTo>
                  <a:lnTo>
                    <a:pt x="2369" y="2362"/>
                  </a:lnTo>
                  <a:lnTo>
                    <a:pt x="2369" y="2346"/>
                  </a:lnTo>
                  <a:lnTo>
                    <a:pt x="2395" y="2329"/>
                  </a:lnTo>
                  <a:lnTo>
                    <a:pt x="2395" y="2341"/>
                  </a:lnTo>
                  <a:lnTo>
                    <a:pt x="2407" y="2317"/>
                  </a:lnTo>
                  <a:lnTo>
                    <a:pt x="2428" y="2308"/>
                  </a:lnTo>
                  <a:lnTo>
                    <a:pt x="2433" y="2284"/>
                  </a:lnTo>
                  <a:lnTo>
                    <a:pt x="2462" y="2284"/>
                  </a:lnTo>
                  <a:lnTo>
                    <a:pt x="2476" y="2284"/>
                  </a:lnTo>
                  <a:lnTo>
                    <a:pt x="2483" y="2301"/>
                  </a:lnTo>
                  <a:lnTo>
                    <a:pt x="2476" y="2308"/>
                  </a:lnTo>
                  <a:lnTo>
                    <a:pt x="2483" y="2301"/>
                  </a:lnTo>
                  <a:lnTo>
                    <a:pt x="2488" y="2308"/>
                  </a:lnTo>
                  <a:lnTo>
                    <a:pt x="2462" y="2324"/>
                  </a:lnTo>
                  <a:lnTo>
                    <a:pt x="2450" y="2317"/>
                  </a:lnTo>
                  <a:lnTo>
                    <a:pt x="2462" y="2324"/>
                  </a:lnTo>
                  <a:lnTo>
                    <a:pt x="2483" y="2317"/>
                  </a:lnTo>
                  <a:lnTo>
                    <a:pt x="2499" y="2329"/>
                  </a:lnTo>
                  <a:lnTo>
                    <a:pt x="2483" y="2317"/>
                  </a:lnTo>
                  <a:lnTo>
                    <a:pt x="2488" y="2317"/>
                  </a:lnTo>
                  <a:lnTo>
                    <a:pt x="2499" y="2324"/>
                  </a:lnTo>
                  <a:lnTo>
                    <a:pt x="2483" y="2346"/>
                  </a:lnTo>
                  <a:lnTo>
                    <a:pt x="2499" y="2358"/>
                  </a:lnTo>
                  <a:lnTo>
                    <a:pt x="2521" y="2308"/>
                  </a:lnTo>
                  <a:lnTo>
                    <a:pt x="2504" y="2329"/>
                  </a:lnTo>
                  <a:lnTo>
                    <a:pt x="2504" y="2301"/>
                  </a:lnTo>
                  <a:lnTo>
                    <a:pt x="2530" y="2272"/>
                  </a:lnTo>
                  <a:lnTo>
                    <a:pt x="2542" y="2268"/>
                  </a:lnTo>
                  <a:lnTo>
                    <a:pt x="2530" y="2268"/>
                  </a:lnTo>
                  <a:lnTo>
                    <a:pt x="2513" y="2272"/>
                  </a:lnTo>
                  <a:lnTo>
                    <a:pt x="2521" y="2251"/>
                  </a:lnTo>
                  <a:lnTo>
                    <a:pt x="2537" y="2235"/>
                  </a:lnTo>
                  <a:lnTo>
                    <a:pt x="2551" y="2251"/>
                  </a:lnTo>
                  <a:lnTo>
                    <a:pt x="2568" y="2247"/>
                  </a:lnTo>
                  <a:lnTo>
                    <a:pt x="2537" y="2230"/>
                  </a:lnTo>
                  <a:lnTo>
                    <a:pt x="2521" y="2235"/>
                  </a:lnTo>
                  <a:lnTo>
                    <a:pt x="2521" y="2230"/>
                  </a:lnTo>
                  <a:lnTo>
                    <a:pt x="2537" y="2218"/>
                  </a:lnTo>
                  <a:lnTo>
                    <a:pt x="2530" y="2206"/>
                  </a:lnTo>
                  <a:lnTo>
                    <a:pt x="2568" y="2190"/>
                  </a:lnTo>
                  <a:lnTo>
                    <a:pt x="2584" y="2161"/>
                  </a:lnTo>
                  <a:lnTo>
                    <a:pt x="2584" y="2157"/>
                  </a:lnTo>
                  <a:lnTo>
                    <a:pt x="2575" y="2161"/>
                  </a:lnTo>
                  <a:lnTo>
                    <a:pt x="2537" y="2135"/>
                  </a:lnTo>
                  <a:lnTo>
                    <a:pt x="2551" y="2102"/>
                  </a:lnTo>
                  <a:lnTo>
                    <a:pt x="2568" y="2102"/>
                  </a:lnTo>
                  <a:lnTo>
                    <a:pt x="2568" y="2095"/>
                  </a:lnTo>
                  <a:lnTo>
                    <a:pt x="2551" y="2095"/>
                  </a:lnTo>
                  <a:lnTo>
                    <a:pt x="2542" y="2069"/>
                  </a:lnTo>
                  <a:lnTo>
                    <a:pt x="2551" y="2062"/>
                  </a:lnTo>
                  <a:lnTo>
                    <a:pt x="2558" y="2053"/>
                  </a:lnTo>
                  <a:lnTo>
                    <a:pt x="2568" y="2041"/>
                  </a:lnTo>
                  <a:lnTo>
                    <a:pt x="2575" y="2041"/>
                  </a:lnTo>
                  <a:lnTo>
                    <a:pt x="2568" y="1996"/>
                  </a:lnTo>
                  <a:lnTo>
                    <a:pt x="2568" y="1991"/>
                  </a:lnTo>
                  <a:lnTo>
                    <a:pt x="2589" y="1996"/>
                  </a:lnTo>
                  <a:lnTo>
                    <a:pt x="2568" y="1968"/>
                  </a:lnTo>
                  <a:lnTo>
                    <a:pt x="2584" y="1958"/>
                  </a:lnTo>
                  <a:lnTo>
                    <a:pt x="2596" y="1984"/>
                  </a:lnTo>
                  <a:lnTo>
                    <a:pt x="2589" y="1942"/>
                  </a:lnTo>
                  <a:lnTo>
                    <a:pt x="2575" y="1942"/>
                  </a:lnTo>
                  <a:lnTo>
                    <a:pt x="2568" y="1935"/>
                  </a:lnTo>
                  <a:lnTo>
                    <a:pt x="2575" y="1930"/>
                  </a:lnTo>
                  <a:lnTo>
                    <a:pt x="2596" y="1918"/>
                  </a:lnTo>
                  <a:lnTo>
                    <a:pt x="2606" y="1897"/>
                  </a:lnTo>
                  <a:lnTo>
                    <a:pt x="2596" y="1918"/>
                  </a:lnTo>
                  <a:lnTo>
                    <a:pt x="2584" y="1918"/>
                  </a:lnTo>
                  <a:lnTo>
                    <a:pt x="2558" y="1902"/>
                  </a:lnTo>
                  <a:lnTo>
                    <a:pt x="2551" y="1902"/>
                  </a:lnTo>
                  <a:lnTo>
                    <a:pt x="2551" y="1918"/>
                  </a:lnTo>
                  <a:lnTo>
                    <a:pt x="2537" y="1930"/>
                  </a:lnTo>
                  <a:lnTo>
                    <a:pt x="2504" y="1930"/>
                  </a:lnTo>
                  <a:lnTo>
                    <a:pt x="2521" y="1902"/>
                  </a:lnTo>
                  <a:lnTo>
                    <a:pt x="2504" y="1913"/>
                  </a:lnTo>
                  <a:lnTo>
                    <a:pt x="2488" y="1902"/>
                  </a:lnTo>
                  <a:lnTo>
                    <a:pt x="2483" y="1857"/>
                  </a:lnTo>
                  <a:lnTo>
                    <a:pt x="2504" y="1819"/>
                  </a:lnTo>
                  <a:lnTo>
                    <a:pt x="2504" y="1791"/>
                  </a:lnTo>
                  <a:lnTo>
                    <a:pt x="2504" y="1786"/>
                  </a:lnTo>
                  <a:lnTo>
                    <a:pt x="2504" y="1774"/>
                  </a:lnTo>
                  <a:lnTo>
                    <a:pt x="2530" y="1769"/>
                  </a:lnTo>
                  <a:lnTo>
                    <a:pt x="2537" y="1729"/>
                  </a:lnTo>
                  <a:lnTo>
                    <a:pt x="2513" y="1642"/>
                  </a:lnTo>
                  <a:lnTo>
                    <a:pt x="2521" y="1609"/>
                  </a:lnTo>
                  <a:lnTo>
                    <a:pt x="2504" y="1585"/>
                  </a:lnTo>
                  <a:lnTo>
                    <a:pt x="2513" y="1564"/>
                  </a:lnTo>
                  <a:lnTo>
                    <a:pt x="2504" y="1552"/>
                  </a:lnTo>
                  <a:lnTo>
                    <a:pt x="2513" y="1535"/>
                  </a:lnTo>
                  <a:lnTo>
                    <a:pt x="2530" y="1535"/>
                  </a:lnTo>
                  <a:lnTo>
                    <a:pt x="2542" y="1531"/>
                  </a:lnTo>
                  <a:lnTo>
                    <a:pt x="2542" y="1498"/>
                  </a:lnTo>
                  <a:lnTo>
                    <a:pt x="2551" y="1498"/>
                  </a:lnTo>
                  <a:lnTo>
                    <a:pt x="2568" y="1436"/>
                  </a:lnTo>
                  <a:lnTo>
                    <a:pt x="2584" y="1424"/>
                  </a:lnTo>
                  <a:lnTo>
                    <a:pt x="2584" y="1403"/>
                  </a:lnTo>
                  <a:lnTo>
                    <a:pt x="2606" y="1363"/>
                  </a:lnTo>
                  <a:lnTo>
                    <a:pt x="2627" y="1309"/>
                  </a:lnTo>
                  <a:lnTo>
                    <a:pt x="2622" y="1287"/>
                  </a:lnTo>
                  <a:lnTo>
                    <a:pt x="2639" y="1259"/>
                  </a:lnTo>
                  <a:lnTo>
                    <a:pt x="2651" y="1252"/>
                  </a:lnTo>
                  <a:lnTo>
                    <a:pt x="2643" y="1202"/>
                  </a:lnTo>
                  <a:lnTo>
                    <a:pt x="2651" y="1198"/>
                  </a:lnTo>
                  <a:lnTo>
                    <a:pt x="2665" y="1165"/>
                  </a:lnTo>
                  <a:lnTo>
                    <a:pt x="2665" y="1148"/>
                  </a:lnTo>
                  <a:lnTo>
                    <a:pt x="2660" y="1136"/>
                  </a:lnTo>
                  <a:lnTo>
                    <a:pt x="2660" y="1091"/>
                  </a:lnTo>
                  <a:lnTo>
                    <a:pt x="2643" y="1013"/>
                  </a:lnTo>
                  <a:lnTo>
                    <a:pt x="2643" y="980"/>
                  </a:lnTo>
                  <a:lnTo>
                    <a:pt x="2665" y="976"/>
                  </a:lnTo>
                  <a:lnTo>
                    <a:pt x="2676" y="954"/>
                  </a:lnTo>
                  <a:lnTo>
                    <a:pt x="2676" y="914"/>
                  </a:lnTo>
                  <a:lnTo>
                    <a:pt x="2660" y="898"/>
                  </a:lnTo>
                  <a:lnTo>
                    <a:pt x="2660" y="869"/>
                  </a:lnTo>
                  <a:lnTo>
                    <a:pt x="2681" y="827"/>
                  </a:lnTo>
                  <a:lnTo>
                    <a:pt x="2693" y="787"/>
                  </a:lnTo>
                  <a:lnTo>
                    <a:pt x="2698" y="770"/>
                  </a:lnTo>
                  <a:lnTo>
                    <a:pt x="2698" y="737"/>
                  </a:lnTo>
                  <a:lnTo>
                    <a:pt x="2702" y="721"/>
                  </a:lnTo>
                  <a:lnTo>
                    <a:pt x="2702" y="716"/>
                  </a:lnTo>
                  <a:lnTo>
                    <a:pt x="2719" y="666"/>
                  </a:lnTo>
                  <a:lnTo>
                    <a:pt x="2719" y="643"/>
                  </a:lnTo>
                  <a:lnTo>
                    <a:pt x="2714" y="626"/>
                  </a:lnTo>
                  <a:lnTo>
                    <a:pt x="2736" y="593"/>
                  </a:lnTo>
                  <a:lnTo>
                    <a:pt x="2719" y="548"/>
                  </a:lnTo>
                  <a:lnTo>
                    <a:pt x="2731" y="482"/>
                  </a:lnTo>
                  <a:lnTo>
                    <a:pt x="2736" y="461"/>
                  </a:lnTo>
                  <a:lnTo>
                    <a:pt x="2731" y="454"/>
                  </a:lnTo>
                  <a:lnTo>
                    <a:pt x="2719" y="454"/>
                  </a:lnTo>
                  <a:lnTo>
                    <a:pt x="2719" y="421"/>
                  </a:lnTo>
                  <a:lnTo>
                    <a:pt x="2736" y="421"/>
                  </a:lnTo>
                  <a:lnTo>
                    <a:pt x="2747" y="404"/>
                  </a:lnTo>
                  <a:lnTo>
                    <a:pt x="2752" y="317"/>
                  </a:lnTo>
                  <a:lnTo>
                    <a:pt x="2757" y="293"/>
                  </a:lnTo>
                  <a:lnTo>
                    <a:pt x="2752" y="250"/>
                  </a:lnTo>
                  <a:lnTo>
                    <a:pt x="2757" y="189"/>
                  </a:lnTo>
                  <a:lnTo>
                    <a:pt x="2747" y="104"/>
                  </a:lnTo>
                  <a:lnTo>
                    <a:pt x="2747" y="71"/>
                  </a:lnTo>
                  <a:lnTo>
                    <a:pt x="2736" y="66"/>
                  </a:lnTo>
                  <a:lnTo>
                    <a:pt x="2736" y="66"/>
                  </a:lnTo>
                  <a:lnTo>
                    <a:pt x="2736" y="66"/>
                  </a:lnTo>
                  <a:close/>
                  <a:moveTo>
                    <a:pt x="0" y="737"/>
                  </a:moveTo>
                  <a:lnTo>
                    <a:pt x="0" y="732"/>
                  </a:lnTo>
                  <a:lnTo>
                    <a:pt x="17" y="732"/>
                  </a:lnTo>
                  <a:lnTo>
                    <a:pt x="0" y="737"/>
                  </a:lnTo>
                  <a:lnTo>
                    <a:pt x="0" y="737"/>
                  </a:lnTo>
                  <a:lnTo>
                    <a:pt x="0" y="737"/>
                  </a:lnTo>
                  <a:close/>
                  <a:moveTo>
                    <a:pt x="2138" y="1252"/>
                  </a:moveTo>
                  <a:lnTo>
                    <a:pt x="2143" y="1247"/>
                  </a:lnTo>
                  <a:lnTo>
                    <a:pt x="2152" y="1247"/>
                  </a:lnTo>
                  <a:lnTo>
                    <a:pt x="2138" y="1252"/>
                  </a:lnTo>
                  <a:lnTo>
                    <a:pt x="2138" y="1252"/>
                  </a:lnTo>
                  <a:lnTo>
                    <a:pt x="2138" y="1252"/>
                  </a:lnTo>
                  <a:close/>
                  <a:moveTo>
                    <a:pt x="2513" y="2029"/>
                  </a:moveTo>
                  <a:lnTo>
                    <a:pt x="2521" y="2046"/>
                  </a:lnTo>
                  <a:lnTo>
                    <a:pt x="2499" y="2046"/>
                  </a:lnTo>
                  <a:lnTo>
                    <a:pt x="2504" y="2069"/>
                  </a:lnTo>
                  <a:lnTo>
                    <a:pt x="2462" y="2053"/>
                  </a:lnTo>
                  <a:lnTo>
                    <a:pt x="2476" y="2024"/>
                  </a:lnTo>
                  <a:lnTo>
                    <a:pt x="2476" y="1996"/>
                  </a:lnTo>
                  <a:lnTo>
                    <a:pt x="2466" y="1991"/>
                  </a:lnTo>
                  <a:lnTo>
                    <a:pt x="2476" y="1968"/>
                  </a:lnTo>
                  <a:lnTo>
                    <a:pt x="2483" y="1951"/>
                  </a:lnTo>
                  <a:lnTo>
                    <a:pt x="2483" y="1930"/>
                  </a:lnTo>
                  <a:lnTo>
                    <a:pt x="2488" y="1930"/>
                  </a:lnTo>
                  <a:lnTo>
                    <a:pt x="2483" y="1935"/>
                  </a:lnTo>
                  <a:lnTo>
                    <a:pt x="2488" y="1935"/>
                  </a:lnTo>
                  <a:lnTo>
                    <a:pt x="2504" y="1930"/>
                  </a:lnTo>
                  <a:lnTo>
                    <a:pt x="2521" y="1935"/>
                  </a:lnTo>
                  <a:lnTo>
                    <a:pt x="2521" y="1942"/>
                  </a:lnTo>
                  <a:lnTo>
                    <a:pt x="2521" y="1951"/>
                  </a:lnTo>
                  <a:lnTo>
                    <a:pt x="2521" y="1958"/>
                  </a:lnTo>
                  <a:lnTo>
                    <a:pt x="2530" y="1968"/>
                  </a:lnTo>
                  <a:lnTo>
                    <a:pt x="2530" y="1975"/>
                  </a:lnTo>
                  <a:lnTo>
                    <a:pt x="2504" y="1975"/>
                  </a:lnTo>
                  <a:lnTo>
                    <a:pt x="2513" y="1991"/>
                  </a:lnTo>
                  <a:lnTo>
                    <a:pt x="2504" y="1991"/>
                  </a:lnTo>
                  <a:lnTo>
                    <a:pt x="2499" y="1984"/>
                  </a:lnTo>
                  <a:lnTo>
                    <a:pt x="2499" y="1991"/>
                  </a:lnTo>
                  <a:lnTo>
                    <a:pt x="2499" y="1996"/>
                  </a:lnTo>
                  <a:lnTo>
                    <a:pt x="2521" y="2013"/>
                  </a:lnTo>
                  <a:lnTo>
                    <a:pt x="2521" y="2024"/>
                  </a:lnTo>
                  <a:lnTo>
                    <a:pt x="2504" y="2024"/>
                  </a:lnTo>
                  <a:lnTo>
                    <a:pt x="2513" y="2029"/>
                  </a:lnTo>
                  <a:lnTo>
                    <a:pt x="2513" y="2029"/>
                  </a:lnTo>
                  <a:lnTo>
                    <a:pt x="2513" y="2029"/>
                  </a:lnTo>
                  <a:close/>
                  <a:moveTo>
                    <a:pt x="2589" y="1958"/>
                  </a:moveTo>
                  <a:lnTo>
                    <a:pt x="2584" y="1958"/>
                  </a:lnTo>
                  <a:lnTo>
                    <a:pt x="2589" y="1951"/>
                  </a:lnTo>
                  <a:lnTo>
                    <a:pt x="2589" y="1958"/>
                  </a:lnTo>
                  <a:lnTo>
                    <a:pt x="2589" y="1958"/>
                  </a:lnTo>
                  <a:lnTo>
                    <a:pt x="2589" y="1958"/>
                  </a:lnTo>
                  <a:close/>
                  <a:moveTo>
                    <a:pt x="2542" y="1975"/>
                  </a:moveTo>
                  <a:lnTo>
                    <a:pt x="2542" y="1968"/>
                  </a:lnTo>
                  <a:lnTo>
                    <a:pt x="2551" y="1968"/>
                  </a:lnTo>
                  <a:lnTo>
                    <a:pt x="2542" y="1975"/>
                  </a:lnTo>
                  <a:lnTo>
                    <a:pt x="2542" y="1975"/>
                  </a:lnTo>
                  <a:lnTo>
                    <a:pt x="2542" y="1975"/>
                  </a:lnTo>
                  <a:close/>
                  <a:moveTo>
                    <a:pt x="2521" y="1996"/>
                  </a:moveTo>
                  <a:lnTo>
                    <a:pt x="2504" y="1984"/>
                  </a:lnTo>
                  <a:lnTo>
                    <a:pt x="2521" y="1984"/>
                  </a:lnTo>
                  <a:lnTo>
                    <a:pt x="2521" y="1996"/>
                  </a:lnTo>
                  <a:lnTo>
                    <a:pt x="2521" y="1996"/>
                  </a:lnTo>
                  <a:lnTo>
                    <a:pt x="2521" y="1996"/>
                  </a:lnTo>
                  <a:close/>
                  <a:moveTo>
                    <a:pt x="2513" y="1996"/>
                  </a:moveTo>
                  <a:lnTo>
                    <a:pt x="2504" y="1996"/>
                  </a:lnTo>
                  <a:lnTo>
                    <a:pt x="2513" y="1996"/>
                  </a:lnTo>
                  <a:lnTo>
                    <a:pt x="2513" y="1996"/>
                  </a:lnTo>
                  <a:lnTo>
                    <a:pt x="2513" y="1996"/>
                  </a:lnTo>
                  <a:close/>
                  <a:moveTo>
                    <a:pt x="2428" y="2095"/>
                  </a:moveTo>
                  <a:lnTo>
                    <a:pt x="2424" y="2086"/>
                  </a:lnTo>
                  <a:lnTo>
                    <a:pt x="2445" y="2086"/>
                  </a:lnTo>
                  <a:lnTo>
                    <a:pt x="2428" y="2095"/>
                  </a:lnTo>
                  <a:lnTo>
                    <a:pt x="2428" y="2095"/>
                  </a:lnTo>
                  <a:lnTo>
                    <a:pt x="2428" y="2095"/>
                  </a:lnTo>
                  <a:close/>
                  <a:moveTo>
                    <a:pt x="2483" y="2119"/>
                  </a:moveTo>
                  <a:lnTo>
                    <a:pt x="2476" y="2107"/>
                  </a:lnTo>
                  <a:lnTo>
                    <a:pt x="2476" y="2102"/>
                  </a:lnTo>
                  <a:lnTo>
                    <a:pt x="2499" y="2102"/>
                  </a:lnTo>
                  <a:lnTo>
                    <a:pt x="2499" y="2107"/>
                  </a:lnTo>
                  <a:lnTo>
                    <a:pt x="2488" y="2107"/>
                  </a:lnTo>
                  <a:lnTo>
                    <a:pt x="2483" y="2119"/>
                  </a:lnTo>
                  <a:lnTo>
                    <a:pt x="2483" y="2119"/>
                  </a:lnTo>
                  <a:lnTo>
                    <a:pt x="2483" y="2119"/>
                  </a:lnTo>
                  <a:close/>
                  <a:moveTo>
                    <a:pt x="2542" y="2124"/>
                  </a:moveTo>
                  <a:lnTo>
                    <a:pt x="2537" y="2119"/>
                  </a:lnTo>
                  <a:lnTo>
                    <a:pt x="2537" y="2107"/>
                  </a:lnTo>
                  <a:lnTo>
                    <a:pt x="2542" y="2107"/>
                  </a:lnTo>
                  <a:lnTo>
                    <a:pt x="2542" y="2124"/>
                  </a:lnTo>
                  <a:lnTo>
                    <a:pt x="2542" y="2124"/>
                  </a:lnTo>
                  <a:lnTo>
                    <a:pt x="2542" y="2124"/>
                  </a:lnTo>
                  <a:close/>
                  <a:moveTo>
                    <a:pt x="2504" y="2135"/>
                  </a:moveTo>
                  <a:lnTo>
                    <a:pt x="2504" y="2119"/>
                  </a:lnTo>
                  <a:lnTo>
                    <a:pt x="2513" y="2124"/>
                  </a:lnTo>
                  <a:lnTo>
                    <a:pt x="2504" y="2135"/>
                  </a:lnTo>
                  <a:lnTo>
                    <a:pt x="2504" y="2135"/>
                  </a:lnTo>
                  <a:lnTo>
                    <a:pt x="2504" y="2135"/>
                  </a:lnTo>
                  <a:close/>
                  <a:moveTo>
                    <a:pt x="2488" y="2140"/>
                  </a:moveTo>
                  <a:lnTo>
                    <a:pt x="2483" y="2135"/>
                  </a:lnTo>
                  <a:lnTo>
                    <a:pt x="2488" y="2135"/>
                  </a:lnTo>
                  <a:lnTo>
                    <a:pt x="2488" y="2140"/>
                  </a:lnTo>
                  <a:lnTo>
                    <a:pt x="2488" y="2140"/>
                  </a:lnTo>
                  <a:lnTo>
                    <a:pt x="2488" y="2140"/>
                  </a:lnTo>
                  <a:close/>
                  <a:moveTo>
                    <a:pt x="2462" y="2140"/>
                  </a:moveTo>
                  <a:lnTo>
                    <a:pt x="2462" y="2135"/>
                  </a:lnTo>
                  <a:lnTo>
                    <a:pt x="2466" y="2135"/>
                  </a:lnTo>
                  <a:lnTo>
                    <a:pt x="2462" y="2140"/>
                  </a:lnTo>
                  <a:lnTo>
                    <a:pt x="2462" y="2140"/>
                  </a:lnTo>
                  <a:lnTo>
                    <a:pt x="2462" y="2140"/>
                  </a:lnTo>
                  <a:close/>
                  <a:moveTo>
                    <a:pt x="2483" y="2152"/>
                  </a:moveTo>
                  <a:lnTo>
                    <a:pt x="2476" y="2140"/>
                  </a:lnTo>
                  <a:lnTo>
                    <a:pt x="2483" y="2135"/>
                  </a:lnTo>
                  <a:lnTo>
                    <a:pt x="2488" y="2140"/>
                  </a:lnTo>
                  <a:lnTo>
                    <a:pt x="2483" y="2152"/>
                  </a:lnTo>
                  <a:lnTo>
                    <a:pt x="2483" y="2152"/>
                  </a:lnTo>
                  <a:lnTo>
                    <a:pt x="2483" y="2152"/>
                  </a:lnTo>
                  <a:close/>
                  <a:moveTo>
                    <a:pt x="2504" y="2152"/>
                  </a:moveTo>
                  <a:lnTo>
                    <a:pt x="2499" y="2140"/>
                  </a:lnTo>
                  <a:lnTo>
                    <a:pt x="2504" y="2140"/>
                  </a:lnTo>
                  <a:lnTo>
                    <a:pt x="2504" y="2152"/>
                  </a:lnTo>
                  <a:lnTo>
                    <a:pt x="2504" y="2152"/>
                  </a:lnTo>
                  <a:lnTo>
                    <a:pt x="2504" y="2152"/>
                  </a:lnTo>
                  <a:close/>
                  <a:moveTo>
                    <a:pt x="2499" y="2152"/>
                  </a:moveTo>
                  <a:lnTo>
                    <a:pt x="2488" y="2152"/>
                  </a:lnTo>
                  <a:lnTo>
                    <a:pt x="2499" y="2140"/>
                  </a:lnTo>
                  <a:lnTo>
                    <a:pt x="2499" y="2152"/>
                  </a:lnTo>
                  <a:lnTo>
                    <a:pt x="2499" y="2152"/>
                  </a:lnTo>
                  <a:lnTo>
                    <a:pt x="2499" y="2152"/>
                  </a:lnTo>
                  <a:close/>
                  <a:moveTo>
                    <a:pt x="2537" y="2157"/>
                  </a:moveTo>
                  <a:lnTo>
                    <a:pt x="2537" y="2152"/>
                  </a:lnTo>
                  <a:lnTo>
                    <a:pt x="2542" y="2157"/>
                  </a:lnTo>
                  <a:lnTo>
                    <a:pt x="2537" y="2157"/>
                  </a:lnTo>
                  <a:lnTo>
                    <a:pt x="2537" y="2157"/>
                  </a:lnTo>
                  <a:lnTo>
                    <a:pt x="2537" y="2157"/>
                  </a:lnTo>
                  <a:close/>
                  <a:moveTo>
                    <a:pt x="2488" y="2157"/>
                  </a:moveTo>
                  <a:lnTo>
                    <a:pt x="2476" y="2152"/>
                  </a:lnTo>
                  <a:lnTo>
                    <a:pt x="2488" y="2152"/>
                  </a:lnTo>
                  <a:lnTo>
                    <a:pt x="2488" y="2157"/>
                  </a:lnTo>
                  <a:lnTo>
                    <a:pt x="2488" y="2157"/>
                  </a:lnTo>
                  <a:lnTo>
                    <a:pt x="2488" y="2157"/>
                  </a:lnTo>
                  <a:close/>
                  <a:moveTo>
                    <a:pt x="2504" y="2157"/>
                  </a:moveTo>
                  <a:lnTo>
                    <a:pt x="2499" y="2157"/>
                  </a:lnTo>
                  <a:lnTo>
                    <a:pt x="2504" y="2152"/>
                  </a:lnTo>
                  <a:lnTo>
                    <a:pt x="2504" y="2157"/>
                  </a:lnTo>
                  <a:lnTo>
                    <a:pt x="2504" y="2157"/>
                  </a:lnTo>
                  <a:lnTo>
                    <a:pt x="2504" y="2157"/>
                  </a:lnTo>
                  <a:close/>
                  <a:moveTo>
                    <a:pt x="2568" y="2190"/>
                  </a:moveTo>
                  <a:lnTo>
                    <a:pt x="2537" y="2206"/>
                  </a:lnTo>
                  <a:lnTo>
                    <a:pt x="2530" y="2197"/>
                  </a:lnTo>
                  <a:lnTo>
                    <a:pt x="2537" y="2190"/>
                  </a:lnTo>
                  <a:lnTo>
                    <a:pt x="2530" y="2190"/>
                  </a:lnTo>
                  <a:lnTo>
                    <a:pt x="2521" y="2180"/>
                  </a:lnTo>
                  <a:lnTo>
                    <a:pt x="2537" y="2173"/>
                  </a:lnTo>
                  <a:lnTo>
                    <a:pt x="2537" y="2157"/>
                  </a:lnTo>
                  <a:lnTo>
                    <a:pt x="2551" y="2157"/>
                  </a:lnTo>
                  <a:lnTo>
                    <a:pt x="2575" y="2161"/>
                  </a:lnTo>
                  <a:lnTo>
                    <a:pt x="2568" y="2180"/>
                  </a:lnTo>
                  <a:lnTo>
                    <a:pt x="2551" y="2173"/>
                  </a:lnTo>
                  <a:lnTo>
                    <a:pt x="2568" y="2180"/>
                  </a:lnTo>
                  <a:lnTo>
                    <a:pt x="2568" y="2190"/>
                  </a:lnTo>
                  <a:lnTo>
                    <a:pt x="2568" y="2190"/>
                  </a:lnTo>
                  <a:lnTo>
                    <a:pt x="2568" y="2190"/>
                  </a:lnTo>
                  <a:close/>
                  <a:moveTo>
                    <a:pt x="2488" y="2161"/>
                  </a:moveTo>
                  <a:lnTo>
                    <a:pt x="2488" y="2157"/>
                  </a:lnTo>
                  <a:lnTo>
                    <a:pt x="2499" y="2157"/>
                  </a:lnTo>
                  <a:lnTo>
                    <a:pt x="2488" y="2161"/>
                  </a:lnTo>
                  <a:lnTo>
                    <a:pt x="2488" y="2161"/>
                  </a:lnTo>
                  <a:lnTo>
                    <a:pt x="2488" y="2161"/>
                  </a:lnTo>
                  <a:close/>
                  <a:moveTo>
                    <a:pt x="2462" y="2173"/>
                  </a:moveTo>
                  <a:lnTo>
                    <a:pt x="2445" y="2161"/>
                  </a:lnTo>
                  <a:lnTo>
                    <a:pt x="2462" y="2157"/>
                  </a:lnTo>
                  <a:lnTo>
                    <a:pt x="2466" y="2161"/>
                  </a:lnTo>
                  <a:lnTo>
                    <a:pt x="2462" y="2173"/>
                  </a:lnTo>
                  <a:lnTo>
                    <a:pt x="2462" y="2173"/>
                  </a:lnTo>
                  <a:lnTo>
                    <a:pt x="2462" y="2173"/>
                  </a:lnTo>
                  <a:close/>
                  <a:moveTo>
                    <a:pt x="2483" y="2173"/>
                  </a:moveTo>
                  <a:lnTo>
                    <a:pt x="2476" y="2157"/>
                  </a:lnTo>
                  <a:lnTo>
                    <a:pt x="2488" y="2161"/>
                  </a:lnTo>
                  <a:lnTo>
                    <a:pt x="2488" y="2173"/>
                  </a:lnTo>
                  <a:lnTo>
                    <a:pt x="2483" y="2173"/>
                  </a:lnTo>
                  <a:lnTo>
                    <a:pt x="2483" y="2173"/>
                  </a:lnTo>
                  <a:lnTo>
                    <a:pt x="2483" y="2173"/>
                  </a:lnTo>
                  <a:close/>
                  <a:moveTo>
                    <a:pt x="2462" y="2173"/>
                  </a:moveTo>
                  <a:lnTo>
                    <a:pt x="2462" y="2161"/>
                  </a:lnTo>
                  <a:lnTo>
                    <a:pt x="2466" y="2161"/>
                  </a:lnTo>
                  <a:lnTo>
                    <a:pt x="2476" y="2173"/>
                  </a:lnTo>
                  <a:lnTo>
                    <a:pt x="2462" y="2173"/>
                  </a:lnTo>
                  <a:lnTo>
                    <a:pt x="2462" y="2173"/>
                  </a:lnTo>
                  <a:lnTo>
                    <a:pt x="2462" y="2173"/>
                  </a:lnTo>
                  <a:close/>
                  <a:moveTo>
                    <a:pt x="2504" y="2190"/>
                  </a:moveTo>
                  <a:lnTo>
                    <a:pt x="2499" y="2173"/>
                  </a:lnTo>
                  <a:lnTo>
                    <a:pt x="2504" y="2173"/>
                  </a:lnTo>
                  <a:lnTo>
                    <a:pt x="2513" y="2180"/>
                  </a:lnTo>
                  <a:lnTo>
                    <a:pt x="2504" y="2190"/>
                  </a:lnTo>
                  <a:lnTo>
                    <a:pt x="2504" y="2190"/>
                  </a:lnTo>
                  <a:lnTo>
                    <a:pt x="2504" y="2190"/>
                  </a:lnTo>
                  <a:close/>
                  <a:moveTo>
                    <a:pt x="2428" y="2180"/>
                  </a:moveTo>
                  <a:lnTo>
                    <a:pt x="2428" y="2173"/>
                  </a:lnTo>
                  <a:lnTo>
                    <a:pt x="2433" y="2173"/>
                  </a:lnTo>
                  <a:lnTo>
                    <a:pt x="2428" y="2180"/>
                  </a:lnTo>
                  <a:lnTo>
                    <a:pt x="2428" y="2180"/>
                  </a:lnTo>
                  <a:lnTo>
                    <a:pt x="2428" y="2180"/>
                  </a:lnTo>
                  <a:close/>
                  <a:moveTo>
                    <a:pt x="2466" y="2190"/>
                  </a:moveTo>
                  <a:lnTo>
                    <a:pt x="2462" y="2180"/>
                  </a:lnTo>
                  <a:lnTo>
                    <a:pt x="2483" y="2173"/>
                  </a:lnTo>
                  <a:lnTo>
                    <a:pt x="2488" y="2180"/>
                  </a:lnTo>
                  <a:lnTo>
                    <a:pt x="2466" y="2190"/>
                  </a:lnTo>
                  <a:lnTo>
                    <a:pt x="2466" y="2190"/>
                  </a:lnTo>
                  <a:lnTo>
                    <a:pt x="2466" y="2190"/>
                  </a:lnTo>
                  <a:close/>
                  <a:moveTo>
                    <a:pt x="2450" y="2180"/>
                  </a:moveTo>
                  <a:lnTo>
                    <a:pt x="2433" y="2180"/>
                  </a:lnTo>
                  <a:lnTo>
                    <a:pt x="2445" y="2173"/>
                  </a:lnTo>
                  <a:lnTo>
                    <a:pt x="2450" y="2180"/>
                  </a:lnTo>
                  <a:lnTo>
                    <a:pt x="2450" y="2180"/>
                  </a:lnTo>
                  <a:lnTo>
                    <a:pt x="2450" y="2180"/>
                  </a:lnTo>
                  <a:close/>
                  <a:moveTo>
                    <a:pt x="2462" y="2197"/>
                  </a:moveTo>
                  <a:lnTo>
                    <a:pt x="2445" y="2190"/>
                  </a:lnTo>
                  <a:lnTo>
                    <a:pt x="2450" y="2190"/>
                  </a:lnTo>
                  <a:lnTo>
                    <a:pt x="2462" y="2197"/>
                  </a:lnTo>
                  <a:lnTo>
                    <a:pt x="2462" y="2197"/>
                  </a:lnTo>
                  <a:lnTo>
                    <a:pt x="2462" y="2197"/>
                  </a:lnTo>
                  <a:close/>
                  <a:moveTo>
                    <a:pt x="2504" y="2197"/>
                  </a:moveTo>
                  <a:lnTo>
                    <a:pt x="2504" y="2190"/>
                  </a:lnTo>
                  <a:lnTo>
                    <a:pt x="2513" y="2190"/>
                  </a:lnTo>
                  <a:lnTo>
                    <a:pt x="2504" y="2197"/>
                  </a:lnTo>
                  <a:lnTo>
                    <a:pt x="2504" y="2197"/>
                  </a:lnTo>
                  <a:lnTo>
                    <a:pt x="2504" y="2197"/>
                  </a:lnTo>
                  <a:close/>
                  <a:moveTo>
                    <a:pt x="2499" y="2206"/>
                  </a:moveTo>
                  <a:lnTo>
                    <a:pt x="2488" y="2197"/>
                  </a:lnTo>
                  <a:lnTo>
                    <a:pt x="2488" y="2190"/>
                  </a:lnTo>
                  <a:lnTo>
                    <a:pt x="2499" y="2206"/>
                  </a:lnTo>
                  <a:lnTo>
                    <a:pt x="2499" y="2206"/>
                  </a:lnTo>
                  <a:lnTo>
                    <a:pt x="2499" y="2206"/>
                  </a:lnTo>
                  <a:close/>
                  <a:moveTo>
                    <a:pt x="2483" y="2197"/>
                  </a:moveTo>
                  <a:lnTo>
                    <a:pt x="2476" y="2197"/>
                  </a:lnTo>
                  <a:lnTo>
                    <a:pt x="2488" y="2190"/>
                  </a:lnTo>
                  <a:lnTo>
                    <a:pt x="2483" y="2197"/>
                  </a:lnTo>
                  <a:lnTo>
                    <a:pt x="2483" y="2197"/>
                  </a:lnTo>
                  <a:lnTo>
                    <a:pt x="2483" y="2197"/>
                  </a:lnTo>
                  <a:close/>
                  <a:moveTo>
                    <a:pt x="2407" y="2206"/>
                  </a:moveTo>
                  <a:lnTo>
                    <a:pt x="2407" y="2197"/>
                  </a:lnTo>
                  <a:lnTo>
                    <a:pt x="2407" y="2190"/>
                  </a:lnTo>
                  <a:lnTo>
                    <a:pt x="2412" y="2197"/>
                  </a:lnTo>
                  <a:lnTo>
                    <a:pt x="2407" y="2206"/>
                  </a:lnTo>
                  <a:lnTo>
                    <a:pt x="2407" y="2206"/>
                  </a:lnTo>
                  <a:lnTo>
                    <a:pt x="2407" y="2206"/>
                  </a:lnTo>
                  <a:close/>
                  <a:moveTo>
                    <a:pt x="2466" y="2213"/>
                  </a:moveTo>
                  <a:lnTo>
                    <a:pt x="2462" y="2213"/>
                  </a:lnTo>
                  <a:lnTo>
                    <a:pt x="2476" y="2197"/>
                  </a:lnTo>
                  <a:lnTo>
                    <a:pt x="2488" y="2206"/>
                  </a:lnTo>
                  <a:lnTo>
                    <a:pt x="2466" y="2213"/>
                  </a:lnTo>
                  <a:lnTo>
                    <a:pt x="2466" y="2213"/>
                  </a:lnTo>
                  <a:lnTo>
                    <a:pt x="2466" y="2213"/>
                  </a:lnTo>
                  <a:close/>
                  <a:moveTo>
                    <a:pt x="2504" y="2235"/>
                  </a:moveTo>
                  <a:lnTo>
                    <a:pt x="2466" y="2230"/>
                  </a:lnTo>
                  <a:lnTo>
                    <a:pt x="2466" y="2218"/>
                  </a:lnTo>
                  <a:lnTo>
                    <a:pt x="2499" y="2213"/>
                  </a:lnTo>
                  <a:lnTo>
                    <a:pt x="2504" y="2218"/>
                  </a:lnTo>
                  <a:lnTo>
                    <a:pt x="2504" y="2235"/>
                  </a:lnTo>
                  <a:lnTo>
                    <a:pt x="2504" y="2235"/>
                  </a:lnTo>
                  <a:lnTo>
                    <a:pt x="2504" y="2235"/>
                  </a:lnTo>
                  <a:close/>
                  <a:moveTo>
                    <a:pt x="2462" y="2235"/>
                  </a:moveTo>
                  <a:lnTo>
                    <a:pt x="2450" y="2230"/>
                  </a:lnTo>
                  <a:lnTo>
                    <a:pt x="2462" y="2218"/>
                  </a:lnTo>
                  <a:lnTo>
                    <a:pt x="2466" y="2230"/>
                  </a:lnTo>
                  <a:lnTo>
                    <a:pt x="2462" y="2235"/>
                  </a:lnTo>
                  <a:lnTo>
                    <a:pt x="2462" y="2235"/>
                  </a:lnTo>
                  <a:lnTo>
                    <a:pt x="2462" y="2235"/>
                  </a:lnTo>
                  <a:close/>
                  <a:moveTo>
                    <a:pt x="2483" y="2247"/>
                  </a:moveTo>
                  <a:lnTo>
                    <a:pt x="2476" y="2230"/>
                  </a:lnTo>
                  <a:lnTo>
                    <a:pt x="2483" y="2230"/>
                  </a:lnTo>
                  <a:lnTo>
                    <a:pt x="2499" y="2235"/>
                  </a:lnTo>
                  <a:lnTo>
                    <a:pt x="2483" y="2247"/>
                  </a:lnTo>
                  <a:lnTo>
                    <a:pt x="2483" y="2247"/>
                  </a:lnTo>
                  <a:lnTo>
                    <a:pt x="2483" y="2247"/>
                  </a:lnTo>
                  <a:close/>
                  <a:moveTo>
                    <a:pt x="2462" y="2247"/>
                  </a:moveTo>
                  <a:lnTo>
                    <a:pt x="2445" y="2235"/>
                  </a:lnTo>
                  <a:lnTo>
                    <a:pt x="2462" y="2235"/>
                  </a:lnTo>
                  <a:lnTo>
                    <a:pt x="2462" y="2247"/>
                  </a:lnTo>
                  <a:lnTo>
                    <a:pt x="2462" y="2247"/>
                  </a:lnTo>
                  <a:lnTo>
                    <a:pt x="2462" y="2247"/>
                  </a:lnTo>
                  <a:close/>
                  <a:moveTo>
                    <a:pt x="2488" y="2251"/>
                  </a:moveTo>
                  <a:lnTo>
                    <a:pt x="2483" y="2247"/>
                  </a:lnTo>
                  <a:lnTo>
                    <a:pt x="2499" y="2247"/>
                  </a:lnTo>
                  <a:lnTo>
                    <a:pt x="2488" y="2251"/>
                  </a:lnTo>
                  <a:lnTo>
                    <a:pt x="2488" y="2251"/>
                  </a:lnTo>
                  <a:lnTo>
                    <a:pt x="2488" y="2251"/>
                  </a:lnTo>
                  <a:close/>
                  <a:moveTo>
                    <a:pt x="2450" y="2263"/>
                  </a:moveTo>
                  <a:lnTo>
                    <a:pt x="2445" y="2263"/>
                  </a:lnTo>
                  <a:lnTo>
                    <a:pt x="2450" y="2247"/>
                  </a:lnTo>
                  <a:lnTo>
                    <a:pt x="2450" y="2263"/>
                  </a:lnTo>
                  <a:lnTo>
                    <a:pt x="2450" y="2263"/>
                  </a:lnTo>
                  <a:lnTo>
                    <a:pt x="2450" y="2263"/>
                  </a:lnTo>
                  <a:close/>
                  <a:moveTo>
                    <a:pt x="2476" y="2263"/>
                  </a:moveTo>
                  <a:lnTo>
                    <a:pt x="2483" y="2247"/>
                  </a:lnTo>
                  <a:lnTo>
                    <a:pt x="2499" y="2251"/>
                  </a:lnTo>
                  <a:lnTo>
                    <a:pt x="2499" y="2263"/>
                  </a:lnTo>
                  <a:lnTo>
                    <a:pt x="2483" y="2251"/>
                  </a:lnTo>
                  <a:lnTo>
                    <a:pt x="2476" y="2263"/>
                  </a:lnTo>
                  <a:lnTo>
                    <a:pt x="2476" y="2263"/>
                  </a:lnTo>
                  <a:lnTo>
                    <a:pt x="2476" y="2263"/>
                  </a:lnTo>
                  <a:close/>
                  <a:moveTo>
                    <a:pt x="2504" y="2272"/>
                  </a:moveTo>
                  <a:lnTo>
                    <a:pt x="2499" y="2268"/>
                  </a:lnTo>
                  <a:lnTo>
                    <a:pt x="2504" y="2251"/>
                  </a:lnTo>
                  <a:lnTo>
                    <a:pt x="2513" y="2251"/>
                  </a:lnTo>
                  <a:lnTo>
                    <a:pt x="2504" y="2272"/>
                  </a:lnTo>
                  <a:lnTo>
                    <a:pt x="2504" y="2272"/>
                  </a:lnTo>
                  <a:lnTo>
                    <a:pt x="2504" y="2272"/>
                  </a:lnTo>
                  <a:close/>
                  <a:moveTo>
                    <a:pt x="2450" y="2272"/>
                  </a:moveTo>
                  <a:lnTo>
                    <a:pt x="2450" y="2263"/>
                  </a:lnTo>
                  <a:lnTo>
                    <a:pt x="2462" y="2251"/>
                  </a:lnTo>
                  <a:lnTo>
                    <a:pt x="2466" y="2268"/>
                  </a:lnTo>
                  <a:lnTo>
                    <a:pt x="2450" y="2272"/>
                  </a:lnTo>
                  <a:lnTo>
                    <a:pt x="2450" y="2272"/>
                  </a:lnTo>
                  <a:lnTo>
                    <a:pt x="2450" y="2272"/>
                  </a:lnTo>
                  <a:close/>
                  <a:moveTo>
                    <a:pt x="2483" y="2272"/>
                  </a:moveTo>
                  <a:lnTo>
                    <a:pt x="2476" y="2263"/>
                  </a:lnTo>
                  <a:lnTo>
                    <a:pt x="2483" y="2263"/>
                  </a:lnTo>
                  <a:lnTo>
                    <a:pt x="2488" y="2268"/>
                  </a:lnTo>
                  <a:lnTo>
                    <a:pt x="2483" y="2272"/>
                  </a:lnTo>
                  <a:lnTo>
                    <a:pt x="2483" y="2272"/>
                  </a:lnTo>
                  <a:lnTo>
                    <a:pt x="2483" y="2272"/>
                  </a:lnTo>
                  <a:close/>
                  <a:moveTo>
                    <a:pt x="2433" y="2272"/>
                  </a:moveTo>
                  <a:lnTo>
                    <a:pt x="2433" y="2268"/>
                  </a:lnTo>
                  <a:lnTo>
                    <a:pt x="2445" y="2263"/>
                  </a:lnTo>
                  <a:lnTo>
                    <a:pt x="2445" y="2272"/>
                  </a:lnTo>
                  <a:lnTo>
                    <a:pt x="2433" y="2272"/>
                  </a:lnTo>
                  <a:lnTo>
                    <a:pt x="2433" y="2272"/>
                  </a:lnTo>
                  <a:lnTo>
                    <a:pt x="2433" y="2272"/>
                  </a:lnTo>
                  <a:close/>
                  <a:moveTo>
                    <a:pt x="2483" y="2289"/>
                  </a:moveTo>
                  <a:lnTo>
                    <a:pt x="2476" y="2284"/>
                  </a:lnTo>
                  <a:lnTo>
                    <a:pt x="2483" y="2272"/>
                  </a:lnTo>
                  <a:lnTo>
                    <a:pt x="2488" y="2284"/>
                  </a:lnTo>
                  <a:lnTo>
                    <a:pt x="2483" y="2289"/>
                  </a:lnTo>
                  <a:lnTo>
                    <a:pt x="2483" y="2289"/>
                  </a:lnTo>
                  <a:lnTo>
                    <a:pt x="2483" y="2289"/>
                  </a:lnTo>
                  <a:close/>
                  <a:moveTo>
                    <a:pt x="2488" y="2301"/>
                  </a:moveTo>
                  <a:lnTo>
                    <a:pt x="2488" y="2289"/>
                  </a:lnTo>
                  <a:lnTo>
                    <a:pt x="2504" y="2284"/>
                  </a:lnTo>
                  <a:lnTo>
                    <a:pt x="2504" y="2289"/>
                  </a:lnTo>
                  <a:lnTo>
                    <a:pt x="2488" y="2301"/>
                  </a:lnTo>
                  <a:lnTo>
                    <a:pt x="2488" y="2301"/>
                  </a:lnTo>
                  <a:lnTo>
                    <a:pt x="2488" y="2301"/>
                  </a:lnTo>
                  <a:close/>
                  <a:moveTo>
                    <a:pt x="2412" y="2308"/>
                  </a:moveTo>
                  <a:lnTo>
                    <a:pt x="2407" y="2301"/>
                  </a:lnTo>
                  <a:lnTo>
                    <a:pt x="2424" y="2301"/>
                  </a:lnTo>
                  <a:lnTo>
                    <a:pt x="2412" y="2301"/>
                  </a:lnTo>
                  <a:lnTo>
                    <a:pt x="2407" y="2289"/>
                  </a:lnTo>
                  <a:lnTo>
                    <a:pt x="2424" y="2289"/>
                  </a:lnTo>
                  <a:lnTo>
                    <a:pt x="2433" y="2284"/>
                  </a:lnTo>
                  <a:lnTo>
                    <a:pt x="2428" y="2301"/>
                  </a:lnTo>
                  <a:lnTo>
                    <a:pt x="2412" y="2308"/>
                  </a:lnTo>
                  <a:lnTo>
                    <a:pt x="2412" y="2308"/>
                  </a:lnTo>
                  <a:lnTo>
                    <a:pt x="2412" y="2308"/>
                  </a:lnTo>
                  <a:close/>
                  <a:moveTo>
                    <a:pt x="2504" y="2301"/>
                  </a:moveTo>
                  <a:lnTo>
                    <a:pt x="2499" y="2301"/>
                  </a:lnTo>
                  <a:lnTo>
                    <a:pt x="2499" y="2289"/>
                  </a:lnTo>
                  <a:lnTo>
                    <a:pt x="2504" y="2301"/>
                  </a:lnTo>
                  <a:lnTo>
                    <a:pt x="2504" y="2301"/>
                  </a:lnTo>
                  <a:lnTo>
                    <a:pt x="2504" y="2301"/>
                  </a:lnTo>
                  <a:close/>
                  <a:moveTo>
                    <a:pt x="2499" y="2317"/>
                  </a:moveTo>
                  <a:lnTo>
                    <a:pt x="2488" y="2301"/>
                  </a:lnTo>
                  <a:lnTo>
                    <a:pt x="2504" y="2308"/>
                  </a:lnTo>
                  <a:lnTo>
                    <a:pt x="2499" y="2317"/>
                  </a:lnTo>
                  <a:lnTo>
                    <a:pt x="2499" y="2317"/>
                  </a:lnTo>
                  <a:lnTo>
                    <a:pt x="2499" y="2317"/>
                  </a:lnTo>
                  <a:close/>
                  <a:moveTo>
                    <a:pt x="2476" y="2400"/>
                  </a:moveTo>
                  <a:lnTo>
                    <a:pt x="2476" y="2395"/>
                  </a:lnTo>
                  <a:lnTo>
                    <a:pt x="2488" y="2395"/>
                  </a:lnTo>
                  <a:lnTo>
                    <a:pt x="2476" y="2400"/>
                  </a:lnTo>
                  <a:lnTo>
                    <a:pt x="2476" y="2400"/>
                  </a:lnTo>
                  <a:lnTo>
                    <a:pt x="2476" y="2400"/>
                  </a:lnTo>
                  <a:close/>
                  <a:moveTo>
                    <a:pt x="2450" y="2400"/>
                  </a:moveTo>
                  <a:lnTo>
                    <a:pt x="2450" y="2395"/>
                  </a:lnTo>
                  <a:lnTo>
                    <a:pt x="2462" y="2395"/>
                  </a:lnTo>
                  <a:lnTo>
                    <a:pt x="2450" y="2400"/>
                  </a:lnTo>
                  <a:lnTo>
                    <a:pt x="2450" y="2400"/>
                  </a:lnTo>
                  <a:lnTo>
                    <a:pt x="2450" y="2400"/>
                  </a:lnTo>
                  <a:close/>
                  <a:moveTo>
                    <a:pt x="2412" y="2457"/>
                  </a:moveTo>
                  <a:lnTo>
                    <a:pt x="2407" y="2452"/>
                  </a:lnTo>
                  <a:lnTo>
                    <a:pt x="2424" y="2457"/>
                  </a:lnTo>
                  <a:lnTo>
                    <a:pt x="2412" y="2457"/>
                  </a:lnTo>
                  <a:lnTo>
                    <a:pt x="2412" y="2457"/>
                  </a:lnTo>
                  <a:lnTo>
                    <a:pt x="2412" y="2457"/>
                  </a:lnTo>
                  <a:close/>
                  <a:moveTo>
                    <a:pt x="2407" y="2469"/>
                  </a:moveTo>
                  <a:lnTo>
                    <a:pt x="2391" y="2457"/>
                  </a:lnTo>
                  <a:lnTo>
                    <a:pt x="2407" y="2452"/>
                  </a:lnTo>
                  <a:lnTo>
                    <a:pt x="2412" y="2469"/>
                  </a:lnTo>
                  <a:lnTo>
                    <a:pt x="2407" y="2469"/>
                  </a:lnTo>
                  <a:lnTo>
                    <a:pt x="2407" y="2469"/>
                  </a:lnTo>
                  <a:lnTo>
                    <a:pt x="2407" y="2469"/>
                  </a:lnTo>
                  <a:close/>
                  <a:moveTo>
                    <a:pt x="2462" y="2485"/>
                  </a:moveTo>
                  <a:lnTo>
                    <a:pt x="2450" y="2473"/>
                  </a:lnTo>
                  <a:lnTo>
                    <a:pt x="2466" y="2469"/>
                  </a:lnTo>
                  <a:lnTo>
                    <a:pt x="2499" y="2473"/>
                  </a:lnTo>
                  <a:lnTo>
                    <a:pt x="2488" y="2473"/>
                  </a:lnTo>
                  <a:lnTo>
                    <a:pt x="2462" y="2485"/>
                  </a:lnTo>
                  <a:lnTo>
                    <a:pt x="2462" y="2485"/>
                  </a:lnTo>
                  <a:lnTo>
                    <a:pt x="2462" y="2485"/>
                  </a:lnTo>
                  <a:close/>
                  <a:moveTo>
                    <a:pt x="2424" y="2490"/>
                  </a:moveTo>
                  <a:lnTo>
                    <a:pt x="2412" y="2485"/>
                  </a:lnTo>
                  <a:lnTo>
                    <a:pt x="2395" y="2485"/>
                  </a:lnTo>
                  <a:lnTo>
                    <a:pt x="2428" y="2469"/>
                  </a:lnTo>
                  <a:lnTo>
                    <a:pt x="2428" y="2485"/>
                  </a:lnTo>
                  <a:lnTo>
                    <a:pt x="2424" y="2490"/>
                  </a:lnTo>
                  <a:lnTo>
                    <a:pt x="2424" y="2490"/>
                  </a:lnTo>
                  <a:lnTo>
                    <a:pt x="2424" y="2490"/>
                  </a:lnTo>
                  <a:close/>
                  <a:moveTo>
                    <a:pt x="2395" y="2544"/>
                  </a:moveTo>
                  <a:lnTo>
                    <a:pt x="2395" y="2539"/>
                  </a:lnTo>
                  <a:lnTo>
                    <a:pt x="2391" y="2523"/>
                  </a:lnTo>
                  <a:lnTo>
                    <a:pt x="2374" y="2523"/>
                  </a:lnTo>
                  <a:lnTo>
                    <a:pt x="2391" y="2506"/>
                  </a:lnTo>
                  <a:lnTo>
                    <a:pt x="2374" y="2511"/>
                  </a:lnTo>
                  <a:lnTo>
                    <a:pt x="2374" y="2490"/>
                  </a:lnTo>
                  <a:lnTo>
                    <a:pt x="2379" y="2485"/>
                  </a:lnTo>
                  <a:lnTo>
                    <a:pt x="2391" y="2485"/>
                  </a:lnTo>
                  <a:lnTo>
                    <a:pt x="2407" y="2528"/>
                  </a:lnTo>
                  <a:lnTo>
                    <a:pt x="2407" y="2539"/>
                  </a:lnTo>
                  <a:lnTo>
                    <a:pt x="2395" y="2544"/>
                  </a:lnTo>
                  <a:lnTo>
                    <a:pt x="2395" y="2544"/>
                  </a:lnTo>
                  <a:lnTo>
                    <a:pt x="2395" y="2544"/>
                  </a:lnTo>
                  <a:close/>
                  <a:moveTo>
                    <a:pt x="2412" y="2523"/>
                  </a:moveTo>
                  <a:lnTo>
                    <a:pt x="2395" y="2490"/>
                  </a:lnTo>
                  <a:lnTo>
                    <a:pt x="2428" y="2495"/>
                  </a:lnTo>
                  <a:lnTo>
                    <a:pt x="2428" y="2511"/>
                  </a:lnTo>
                  <a:lnTo>
                    <a:pt x="2412" y="2523"/>
                  </a:lnTo>
                  <a:lnTo>
                    <a:pt x="2412" y="2523"/>
                  </a:lnTo>
                  <a:lnTo>
                    <a:pt x="2412" y="2523"/>
                  </a:lnTo>
                  <a:close/>
                  <a:moveTo>
                    <a:pt x="2445" y="2511"/>
                  </a:moveTo>
                  <a:lnTo>
                    <a:pt x="2445" y="2506"/>
                  </a:lnTo>
                  <a:lnTo>
                    <a:pt x="2445" y="2490"/>
                  </a:lnTo>
                  <a:lnTo>
                    <a:pt x="2462" y="2506"/>
                  </a:lnTo>
                  <a:lnTo>
                    <a:pt x="2445" y="2511"/>
                  </a:lnTo>
                  <a:lnTo>
                    <a:pt x="2445" y="2511"/>
                  </a:lnTo>
                  <a:lnTo>
                    <a:pt x="2445" y="2511"/>
                  </a:lnTo>
                  <a:close/>
                  <a:moveTo>
                    <a:pt x="2445" y="2544"/>
                  </a:moveTo>
                  <a:lnTo>
                    <a:pt x="2412" y="2539"/>
                  </a:lnTo>
                  <a:lnTo>
                    <a:pt x="2412" y="2528"/>
                  </a:lnTo>
                  <a:lnTo>
                    <a:pt x="2424" y="2523"/>
                  </a:lnTo>
                  <a:lnTo>
                    <a:pt x="2433" y="2523"/>
                  </a:lnTo>
                  <a:lnTo>
                    <a:pt x="2428" y="2511"/>
                  </a:lnTo>
                  <a:lnTo>
                    <a:pt x="2433" y="2490"/>
                  </a:lnTo>
                  <a:lnTo>
                    <a:pt x="2445" y="2523"/>
                  </a:lnTo>
                  <a:lnTo>
                    <a:pt x="2445" y="2539"/>
                  </a:lnTo>
                  <a:lnTo>
                    <a:pt x="2450" y="2539"/>
                  </a:lnTo>
                  <a:lnTo>
                    <a:pt x="2445" y="2544"/>
                  </a:lnTo>
                  <a:lnTo>
                    <a:pt x="2445" y="2544"/>
                  </a:lnTo>
                  <a:lnTo>
                    <a:pt x="2445" y="2544"/>
                  </a:lnTo>
                  <a:close/>
                  <a:moveTo>
                    <a:pt x="2466" y="2523"/>
                  </a:moveTo>
                  <a:lnTo>
                    <a:pt x="2450" y="2511"/>
                  </a:lnTo>
                  <a:lnTo>
                    <a:pt x="2462" y="2506"/>
                  </a:lnTo>
                  <a:lnTo>
                    <a:pt x="2466" y="2523"/>
                  </a:lnTo>
                  <a:lnTo>
                    <a:pt x="2466" y="2523"/>
                  </a:lnTo>
                  <a:lnTo>
                    <a:pt x="2466" y="2523"/>
                  </a:lnTo>
                  <a:close/>
                  <a:moveTo>
                    <a:pt x="2483" y="2528"/>
                  </a:moveTo>
                  <a:lnTo>
                    <a:pt x="2466" y="2511"/>
                  </a:lnTo>
                  <a:lnTo>
                    <a:pt x="2483" y="2523"/>
                  </a:lnTo>
                  <a:lnTo>
                    <a:pt x="2483" y="2528"/>
                  </a:lnTo>
                  <a:lnTo>
                    <a:pt x="2483" y="2528"/>
                  </a:lnTo>
                  <a:lnTo>
                    <a:pt x="2483" y="2528"/>
                  </a:lnTo>
                  <a:close/>
                  <a:moveTo>
                    <a:pt x="2450" y="2528"/>
                  </a:moveTo>
                  <a:lnTo>
                    <a:pt x="2450" y="2523"/>
                  </a:lnTo>
                  <a:lnTo>
                    <a:pt x="2466" y="2523"/>
                  </a:lnTo>
                  <a:lnTo>
                    <a:pt x="2450" y="2528"/>
                  </a:lnTo>
                  <a:lnTo>
                    <a:pt x="2450" y="2528"/>
                  </a:lnTo>
                  <a:lnTo>
                    <a:pt x="2450" y="2528"/>
                  </a:lnTo>
                  <a:close/>
                  <a:moveTo>
                    <a:pt x="2374" y="2544"/>
                  </a:moveTo>
                  <a:lnTo>
                    <a:pt x="2379" y="2539"/>
                  </a:lnTo>
                  <a:lnTo>
                    <a:pt x="2369" y="2539"/>
                  </a:lnTo>
                  <a:lnTo>
                    <a:pt x="2374" y="2523"/>
                  </a:lnTo>
                  <a:lnTo>
                    <a:pt x="2391" y="2523"/>
                  </a:lnTo>
                  <a:lnTo>
                    <a:pt x="2391" y="2539"/>
                  </a:lnTo>
                  <a:lnTo>
                    <a:pt x="2374" y="2544"/>
                  </a:lnTo>
                  <a:lnTo>
                    <a:pt x="2374" y="2544"/>
                  </a:lnTo>
                  <a:lnTo>
                    <a:pt x="2374" y="2544"/>
                  </a:lnTo>
                  <a:close/>
                  <a:moveTo>
                    <a:pt x="2407" y="2561"/>
                  </a:moveTo>
                  <a:lnTo>
                    <a:pt x="2395" y="2551"/>
                  </a:lnTo>
                  <a:lnTo>
                    <a:pt x="2412" y="2539"/>
                  </a:lnTo>
                  <a:lnTo>
                    <a:pt x="2407" y="2561"/>
                  </a:lnTo>
                  <a:lnTo>
                    <a:pt x="2407" y="2561"/>
                  </a:lnTo>
                  <a:lnTo>
                    <a:pt x="2407" y="2561"/>
                  </a:lnTo>
                  <a:close/>
                  <a:moveTo>
                    <a:pt x="2374" y="2551"/>
                  </a:moveTo>
                  <a:lnTo>
                    <a:pt x="2369" y="2544"/>
                  </a:lnTo>
                  <a:lnTo>
                    <a:pt x="2391" y="2539"/>
                  </a:lnTo>
                  <a:lnTo>
                    <a:pt x="2395" y="2544"/>
                  </a:lnTo>
                  <a:lnTo>
                    <a:pt x="2374" y="2551"/>
                  </a:lnTo>
                  <a:lnTo>
                    <a:pt x="2374" y="2551"/>
                  </a:lnTo>
                  <a:lnTo>
                    <a:pt x="2374" y="2551"/>
                  </a:lnTo>
                  <a:close/>
                  <a:moveTo>
                    <a:pt x="2412" y="2551"/>
                  </a:moveTo>
                  <a:lnTo>
                    <a:pt x="2412" y="2539"/>
                  </a:lnTo>
                  <a:lnTo>
                    <a:pt x="2428" y="2544"/>
                  </a:lnTo>
                  <a:lnTo>
                    <a:pt x="2412" y="2551"/>
                  </a:lnTo>
                  <a:lnTo>
                    <a:pt x="2412" y="2551"/>
                  </a:lnTo>
                  <a:lnTo>
                    <a:pt x="2412" y="2551"/>
                  </a:lnTo>
                  <a:close/>
                  <a:moveTo>
                    <a:pt x="2428" y="2672"/>
                  </a:moveTo>
                  <a:lnTo>
                    <a:pt x="2424" y="2662"/>
                  </a:lnTo>
                  <a:lnTo>
                    <a:pt x="2433" y="2662"/>
                  </a:lnTo>
                  <a:lnTo>
                    <a:pt x="2433" y="2655"/>
                  </a:lnTo>
                  <a:lnTo>
                    <a:pt x="2424" y="2662"/>
                  </a:lnTo>
                  <a:lnTo>
                    <a:pt x="2424" y="2639"/>
                  </a:lnTo>
                  <a:lnTo>
                    <a:pt x="2424" y="2622"/>
                  </a:lnTo>
                  <a:lnTo>
                    <a:pt x="2433" y="2606"/>
                  </a:lnTo>
                  <a:lnTo>
                    <a:pt x="2424" y="2622"/>
                  </a:lnTo>
                  <a:lnTo>
                    <a:pt x="2412" y="2622"/>
                  </a:lnTo>
                  <a:lnTo>
                    <a:pt x="2412" y="2655"/>
                  </a:lnTo>
                  <a:lnTo>
                    <a:pt x="2407" y="2655"/>
                  </a:lnTo>
                  <a:lnTo>
                    <a:pt x="2391" y="2634"/>
                  </a:lnTo>
                  <a:lnTo>
                    <a:pt x="2395" y="2617"/>
                  </a:lnTo>
                  <a:lnTo>
                    <a:pt x="2379" y="2617"/>
                  </a:lnTo>
                  <a:lnTo>
                    <a:pt x="2379" y="2601"/>
                  </a:lnTo>
                  <a:lnTo>
                    <a:pt x="2391" y="2601"/>
                  </a:lnTo>
                  <a:lnTo>
                    <a:pt x="2407" y="2617"/>
                  </a:lnTo>
                  <a:lnTo>
                    <a:pt x="2391" y="2601"/>
                  </a:lnTo>
                  <a:lnTo>
                    <a:pt x="2407" y="2606"/>
                  </a:lnTo>
                  <a:lnTo>
                    <a:pt x="2407" y="2596"/>
                  </a:lnTo>
                  <a:lnTo>
                    <a:pt x="2424" y="2601"/>
                  </a:lnTo>
                  <a:lnTo>
                    <a:pt x="2428" y="2584"/>
                  </a:lnTo>
                  <a:lnTo>
                    <a:pt x="2412" y="2561"/>
                  </a:lnTo>
                  <a:lnTo>
                    <a:pt x="2428" y="2544"/>
                  </a:lnTo>
                  <a:lnTo>
                    <a:pt x="2450" y="2544"/>
                  </a:lnTo>
                  <a:lnTo>
                    <a:pt x="2450" y="2601"/>
                  </a:lnTo>
                  <a:lnTo>
                    <a:pt x="2445" y="2639"/>
                  </a:lnTo>
                  <a:lnTo>
                    <a:pt x="2450" y="2634"/>
                  </a:lnTo>
                  <a:lnTo>
                    <a:pt x="2462" y="2639"/>
                  </a:lnTo>
                  <a:lnTo>
                    <a:pt x="2450" y="2662"/>
                  </a:lnTo>
                  <a:lnTo>
                    <a:pt x="2428" y="2672"/>
                  </a:lnTo>
                  <a:lnTo>
                    <a:pt x="2428" y="2672"/>
                  </a:lnTo>
                  <a:lnTo>
                    <a:pt x="2428" y="2672"/>
                  </a:lnTo>
                  <a:close/>
                  <a:moveTo>
                    <a:pt x="2395" y="2568"/>
                  </a:moveTo>
                  <a:lnTo>
                    <a:pt x="2391" y="2551"/>
                  </a:lnTo>
                  <a:lnTo>
                    <a:pt x="2407" y="2561"/>
                  </a:lnTo>
                  <a:lnTo>
                    <a:pt x="2412" y="2568"/>
                  </a:lnTo>
                  <a:lnTo>
                    <a:pt x="2395" y="2568"/>
                  </a:lnTo>
                  <a:lnTo>
                    <a:pt x="2395" y="2568"/>
                  </a:lnTo>
                  <a:lnTo>
                    <a:pt x="2395" y="2568"/>
                  </a:lnTo>
                  <a:close/>
                  <a:moveTo>
                    <a:pt x="2395" y="2584"/>
                  </a:moveTo>
                  <a:lnTo>
                    <a:pt x="2391" y="2568"/>
                  </a:lnTo>
                  <a:lnTo>
                    <a:pt x="2379" y="2580"/>
                  </a:lnTo>
                  <a:lnTo>
                    <a:pt x="2369" y="2561"/>
                  </a:lnTo>
                  <a:lnTo>
                    <a:pt x="2391" y="2561"/>
                  </a:lnTo>
                  <a:lnTo>
                    <a:pt x="2395" y="2580"/>
                  </a:lnTo>
                  <a:lnTo>
                    <a:pt x="2395" y="2584"/>
                  </a:lnTo>
                  <a:lnTo>
                    <a:pt x="2395" y="2584"/>
                  </a:lnTo>
                  <a:lnTo>
                    <a:pt x="2395" y="2584"/>
                  </a:lnTo>
                  <a:close/>
                  <a:moveTo>
                    <a:pt x="2374" y="2601"/>
                  </a:moveTo>
                  <a:lnTo>
                    <a:pt x="2369" y="2596"/>
                  </a:lnTo>
                  <a:lnTo>
                    <a:pt x="2391" y="2568"/>
                  </a:lnTo>
                  <a:lnTo>
                    <a:pt x="2395" y="2584"/>
                  </a:lnTo>
                  <a:lnTo>
                    <a:pt x="2374" y="2601"/>
                  </a:lnTo>
                  <a:lnTo>
                    <a:pt x="2374" y="2601"/>
                  </a:lnTo>
                  <a:lnTo>
                    <a:pt x="2374" y="2601"/>
                  </a:lnTo>
                  <a:close/>
                  <a:moveTo>
                    <a:pt x="2424" y="2601"/>
                  </a:moveTo>
                  <a:lnTo>
                    <a:pt x="2395" y="2584"/>
                  </a:lnTo>
                  <a:lnTo>
                    <a:pt x="2407" y="2580"/>
                  </a:lnTo>
                  <a:lnTo>
                    <a:pt x="2412" y="2580"/>
                  </a:lnTo>
                  <a:lnTo>
                    <a:pt x="2424" y="2584"/>
                  </a:lnTo>
                  <a:lnTo>
                    <a:pt x="2424" y="2601"/>
                  </a:lnTo>
                  <a:lnTo>
                    <a:pt x="2424" y="2601"/>
                  </a:lnTo>
                  <a:lnTo>
                    <a:pt x="2424" y="2601"/>
                  </a:lnTo>
                  <a:close/>
                  <a:moveTo>
                    <a:pt x="2450" y="2634"/>
                  </a:moveTo>
                  <a:lnTo>
                    <a:pt x="2450" y="2617"/>
                  </a:lnTo>
                  <a:lnTo>
                    <a:pt x="2466" y="2622"/>
                  </a:lnTo>
                  <a:lnTo>
                    <a:pt x="2450" y="2634"/>
                  </a:lnTo>
                  <a:lnTo>
                    <a:pt x="2450" y="2634"/>
                  </a:lnTo>
                  <a:lnTo>
                    <a:pt x="2450" y="2634"/>
                  </a:lnTo>
                  <a:close/>
                  <a:moveTo>
                    <a:pt x="2407" y="2655"/>
                  </a:moveTo>
                  <a:lnTo>
                    <a:pt x="2379" y="2650"/>
                  </a:lnTo>
                  <a:lnTo>
                    <a:pt x="2374" y="2650"/>
                  </a:lnTo>
                  <a:lnTo>
                    <a:pt x="2374" y="2634"/>
                  </a:lnTo>
                  <a:lnTo>
                    <a:pt x="2391" y="2634"/>
                  </a:lnTo>
                  <a:lnTo>
                    <a:pt x="2407" y="2655"/>
                  </a:lnTo>
                  <a:lnTo>
                    <a:pt x="2407" y="2655"/>
                  </a:lnTo>
                  <a:lnTo>
                    <a:pt x="2407" y="2655"/>
                  </a:lnTo>
                  <a:close/>
                  <a:moveTo>
                    <a:pt x="2412" y="2695"/>
                  </a:moveTo>
                  <a:lnTo>
                    <a:pt x="2395" y="2712"/>
                  </a:lnTo>
                  <a:lnTo>
                    <a:pt x="2391" y="2707"/>
                  </a:lnTo>
                  <a:lnTo>
                    <a:pt x="2395" y="2695"/>
                  </a:lnTo>
                  <a:lnTo>
                    <a:pt x="2379" y="2707"/>
                  </a:lnTo>
                  <a:lnTo>
                    <a:pt x="2391" y="2679"/>
                  </a:lnTo>
                  <a:lnTo>
                    <a:pt x="2407" y="2688"/>
                  </a:lnTo>
                  <a:lnTo>
                    <a:pt x="2391" y="2672"/>
                  </a:lnTo>
                  <a:lnTo>
                    <a:pt x="2407" y="2672"/>
                  </a:lnTo>
                  <a:lnTo>
                    <a:pt x="2412" y="2679"/>
                  </a:lnTo>
                  <a:lnTo>
                    <a:pt x="2412" y="2688"/>
                  </a:lnTo>
                  <a:lnTo>
                    <a:pt x="2428" y="2679"/>
                  </a:lnTo>
                  <a:lnTo>
                    <a:pt x="2428" y="2688"/>
                  </a:lnTo>
                  <a:lnTo>
                    <a:pt x="2412" y="2695"/>
                  </a:lnTo>
                  <a:lnTo>
                    <a:pt x="2412" y="2695"/>
                  </a:lnTo>
                  <a:lnTo>
                    <a:pt x="2412" y="2695"/>
                  </a:lnTo>
                  <a:close/>
                  <a:moveTo>
                    <a:pt x="2428" y="2712"/>
                  </a:moveTo>
                  <a:lnTo>
                    <a:pt x="2428" y="2707"/>
                  </a:lnTo>
                  <a:lnTo>
                    <a:pt x="2445" y="2707"/>
                  </a:lnTo>
                  <a:lnTo>
                    <a:pt x="2428" y="2712"/>
                  </a:lnTo>
                  <a:lnTo>
                    <a:pt x="2428" y="2712"/>
                  </a:lnTo>
                  <a:lnTo>
                    <a:pt x="2428" y="2712"/>
                  </a:lnTo>
                  <a:close/>
                  <a:moveTo>
                    <a:pt x="2466" y="2745"/>
                  </a:moveTo>
                  <a:lnTo>
                    <a:pt x="2445" y="2728"/>
                  </a:lnTo>
                  <a:lnTo>
                    <a:pt x="2450" y="2717"/>
                  </a:lnTo>
                  <a:lnTo>
                    <a:pt x="2433" y="2712"/>
                  </a:lnTo>
                  <a:lnTo>
                    <a:pt x="2445" y="2707"/>
                  </a:lnTo>
                  <a:lnTo>
                    <a:pt x="2462" y="2712"/>
                  </a:lnTo>
                  <a:lnTo>
                    <a:pt x="2476" y="2745"/>
                  </a:lnTo>
                  <a:lnTo>
                    <a:pt x="2466" y="2745"/>
                  </a:lnTo>
                  <a:lnTo>
                    <a:pt x="2466" y="2745"/>
                  </a:lnTo>
                  <a:lnTo>
                    <a:pt x="2466" y="2745"/>
                  </a:lnTo>
                  <a:close/>
                  <a:moveTo>
                    <a:pt x="2391" y="2745"/>
                  </a:moveTo>
                  <a:lnTo>
                    <a:pt x="2374" y="2728"/>
                  </a:lnTo>
                  <a:lnTo>
                    <a:pt x="2391" y="2728"/>
                  </a:lnTo>
                  <a:lnTo>
                    <a:pt x="2379" y="2712"/>
                  </a:lnTo>
                  <a:lnTo>
                    <a:pt x="2407" y="2712"/>
                  </a:lnTo>
                  <a:lnTo>
                    <a:pt x="2395" y="2717"/>
                  </a:lnTo>
                  <a:lnTo>
                    <a:pt x="2391" y="2745"/>
                  </a:lnTo>
                  <a:lnTo>
                    <a:pt x="2391" y="2745"/>
                  </a:lnTo>
                  <a:lnTo>
                    <a:pt x="2391" y="2745"/>
                  </a:lnTo>
                  <a:close/>
                  <a:moveTo>
                    <a:pt x="2433" y="2717"/>
                  </a:moveTo>
                  <a:lnTo>
                    <a:pt x="2433" y="2712"/>
                  </a:lnTo>
                  <a:lnTo>
                    <a:pt x="2445" y="2717"/>
                  </a:lnTo>
                  <a:lnTo>
                    <a:pt x="2433" y="2717"/>
                  </a:lnTo>
                  <a:lnTo>
                    <a:pt x="2433" y="2717"/>
                  </a:lnTo>
                  <a:lnTo>
                    <a:pt x="2433" y="2717"/>
                  </a:lnTo>
                  <a:close/>
                  <a:moveTo>
                    <a:pt x="2412" y="2745"/>
                  </a:moveTo>
                  <a:lnTo>
                    <a:pt x="2407" y="2733"/>
                  </a:lnTo>
                  <a:lnTo>
                    <a:pt x="2412" y="2728"/>
                  </a:lnTo>
                  <a:lnTo>
                    <a:pt x="2412" y="2745"/>
                  </a:lnTo>
                  <a:lnTo>
                    <a:pt x="2412" y="2745"/>
                  </a:lnTo>
                  <a:lnTo>
                    <a:pt x="2412" y="2745"/>
                  </a:lnTo>
                  <a:close/>
                  <a:moveTo>
                    <a:pt x="2433" y="2750"/>
                  </a:moveTo>
                  <a:lnTo>
                    <a:pt x="2424" y="2750"/>
                  </a:lnTo>
                  <a:lnTo>
                    <a:pt x="2424" y="2733"/>
                  </a:lnTo>
                  <a:lnTo>
                    <a:pt x="2428" y="2733"/>
                  </a:lnTo>
                  <a:lnTo>
                    <a:pt x="2433" y="2750"/>
                  </a:lnTo>
                  <a:lnTo>
                    <a:pt x="2433" y="2750"/>
                  </a:lnTo>
                  <a:lnTo>
                    <a:pt x="2433" y="2750"/>
                  </a:lnTo>
                  <a:close/>
                  <a:moveTo>
                    <a:pt x="2433" y="2773"/>
                  </a:moveTo>
                  <a:lnTo>
                    <a:pt x="2424" y="2766"/>
                  </a:lnTo>
                  <a:lnTo>
                    <a:pt x="2424" y="2750"/>
                  </a:lnTo>
                  <a:lnTo>
                    <a:pt x="2445" y="2750"/>
                  </a:lnTo>
                  <a:lnTo>
                    <a:pt x="2433" y="2733"/>
                  </a:lnTo>
                  <a:lnTo>
                    <a:pt x="2462" y="2745"/>
                  </a:lnTo>
                  <a:lnTo>
                    <a:pt x="2462" y="2766"/>
                  </a:lnTo>
                  <a:lnTo>
                    <a:pt x="2450" y="2761"/>
                  </a:lnTo>
                  <a:lnTo>
                    <a:pt x="2433" y="2773"/>
                  </a:lnTo>
                  <a:lnTo>
                    <a:pt x="2433" y="2773"/>
                  </a:lnTo>
                  <a:lnTo>
                    <a:pt x="2433" y="2773"/>
                  </a:lnTo>
                  <a:close/>
                  <a:moveTo>
                    <a:pt x="2466" y="2783"/>
                  </a:moveTo>
                  <a:lnTo>
                    <a:pt x="2462" y="2750"/>
                  </a:lnTo>
                  <a:lnTo>
                    <a:pt x="2476" y="2783"/>
                  </a:lnTo>
                  <a:lnTo>
                    <a:pt x="2466" y="2783"/>
                  </a:lnTo>
                  <a:lnTo>
                    <a:pt x="2466" y="2783"/>
                  </a:lnTo>
                  <a:lnTo>
                    <a:pt x="2466" y="2783"/>
                  </a:lnTo>
                  <a:close/>
                  <a:moveTo>
                    <a:pt x="2450" y="2783"/>
                  </a:moveTo>
                  <a:lnTo>
                    <a:pt x="2445" y="2766"/>
                  </a:lnTo>
                  <a:lnTo>
                    <a:pt x="2450" y="2766"/>
                  </a:lnTo>
                  <a:lnTo>
                    <a:pt x="2462" y="2773"/>
                  </a:lnTo>
                  <a:lnTo>
                    <a:pt x="2450" y="2783"/>
                  </a:lnTo>
                  <a:lnTo>
                    <a:pt x="2450" y="2783"/>
                  </a:lnTo>
                  <a:lnTo>
                    <a:pt x="2450" y="2783"/>
                  </a:lnTo>
                  <a:close/>
                  <a:moveTo>
                    <a:pt x="2412" y="2773"/>
                  </a:moveTo>
                  <a:lnTo>
                    <a:pt x="2424" y="2766"/>
                  </a:lnTo>
                  <a:lnTo>
                    <a:pt x="2424" y="2773"/>
                  </a:lnTo>
                  <a:lnTo>
                    <a:pt x="2412" y="2773"/>
                  </a:lnTo>
                  <a:lnTo>
                    <a:pt x="2412" y="2773"/>
                  </a:lnTo>
                  <a:lnTo>
                    <a:pt x="2412" y="2773"/>
                  </a:lnTo>
                  <a:close/>
                  <a:moveTo>
                    <a:pt x="2412" y="2806"/>
                  </a:moveTo>
                  <a:lnTo>
                    <a:pt x="2428" y="2790"/>
                  </a:lnTo>
                  <a:lnTo>
                    <a:pt x="2424" y="2790"/>
                  </a:lnTo>
                  <a:lnTo>
                    <a:pt x="2428" y="2783"/>
                  </a:lnTo>
                  <a:lnTo>
                    <a:pt x="2445" y="2783"/>
                  </a:lnTo>
                  <a:lnTo>
                    <a:pt x="2445" y="2790"/>
                  </a:lnTo>
                  <a:lnTo>
                    <a:pt x="2445" y="2799"/>
                  </a:lnTo>
                  <a:lnTo>
                    <a:pt x="2433" y="2790"/>
                  </a:lnTo>
                  <a:lnTo>
                    <a:pt x="2412" y="2806"/>
                  </a:lnTo>
                  <a:lnTo>
                    <a:pt x="2412" y="2806"/>
                  </a:lnTo>
                  <a:lnTo>
                    <a:pt x="2412" y="2806"/>
                  </a:lnTo>
                  <a:close/>
                  <a:moveTo>
                    <a:pt x="2483" y="2799"/>
                  </a:moveTo>
                  <a:lnTo>
                    <a:pt x="2476" y="2783"/>
                  </a:lnTo>
                  <a:lnTo>
                    <a:pt x="2488" y="2783"/>
                  </a:lnTo>
                  <a:lnTo>
                    <a:pt x="2488" y="2790"/>
                  </a:lnTo>
                  <a:lnTo>
                    <a:pt x="2483" y="2799"/>
                  </a:lnTo>
                  <a:lnTo>
                    <a:pt x="2483" y="2799"/>
                  </a:lnTo>
                  <a:lnTo>
                    <a:pt x="2483" y="2799"/>
                  </a:lnTo>
                  <a:close/>
                  <a:moveTo>
                    <a:pt x="2499" y="2799"/>
                  </a:moveTo>
                  <a:lnTo>
                    <a:pt x="2488" y="2790"/>
                  </a:lnTo>
                  <a:lnTo>
                    <a:pt x="2499" y="2783"/>
                  </a:lnTo>
                  <a:lnTo>
                    <a:pt x="2499" y="2799"/>
                  </a:lnTo>
                  <a:lnTo>
                    <a:pt x="2499" y="2799"/>
                  </a:lnTo>
                  <a:lnTo>
                    <a:pt x="2499" y="2799"/>
                  </a:lnTo>
                  <a:close/>
                  <a:moveTo>
                    <a:pt x="2391" y="2823"/>
                  </a:moveTo>
                  <a:lnTo>
                    <a:pt x="2395" y="2790"/>
                  </a:lnTo>
                  <a:lnTo>
                    <a:pt x="2412" y="2790"/>
                  </a:lnTo>
                  <a:lnTo>
                    <a:pt x="2407" y="2816"/>
                  </a:lnTo>
                  <a:lnTo>
                    <a:pt x="2391" y="2823"/>
                  </a:lnTo>
                  <a:lnTo>
                    <a:pt x="2391" y="2823"/>
                  </a:lnTo>
                  <a:lnTo>
                    <a:pt x="2391" y="2823"/>
                  </a:lnTo>
                  <a:close/>
                  <a:moveTo>
                    <a:pt x="2476" y="2806"/>
                  </a:moveTo>
                  <a:lnTo>
                    <a:pt x="2466" y="2799"/>
                  </a:lnTo>
                  <a:lnTo>
                    <a:pt x="2466" y="2790"/>
                  </a:lnTo>
                  <a:lnTo>
                    <a:pt x="2476" y="2790"/>
                  </a:lnTo>
                  <a:lnTo>
                    <a:pt x="2476" y="2806"/>
                  </a:lnTo>
                  <a:lnTo>
                    <a:pt x="2476" y="2806"/>
                  </a:lnTo>
                  <a:lnTo>
                    <a:pt x="2476" y="2806"/>
                  </a:lnTo>
                  <a:close/>
                  <a:moveTo>
                    <a:pt x="2483" y="2839"/>
                  </a:moveTo>
                  <a:lnTo>
                    <a:pt x="2466" y="2828"/>
                  </a:lnTo>
                  <a:lnTo>
                    <a:pt x="2476" y="2816"/>
                  </a:lnTo>
                  <a:lnTo>
                    <a:pt x="2488" y="2828"/>
                  </a:lnTo>
                  <a:lnTo>
                    <a:pt x="2483" y="2839"/>
                  </a:lnTo>
                  <a:lnTo>
                    <a:pt x="2483" y="2839"/>
                  </a:lnTo>
                  <a:lnTo>
                    <a:pt x="2483" y="2839"/>
                  </a:lnTo>
                  <a:close/>
                  <a:moveTo>
                    <a:pt x="2412" y="2872"/>
                  </a:moveTo>
                  <a:lnTo>
                    <a:pt x="2412" y="2856"/>
                  </a:lnTo>
                  <a:lnTo>
                    <a:pt x="2424" y="2839"/>
                  </a:lnTo>
                  <a:lnTo>
                    <a:pt x="2428" y="2839"/>
                  </a:lnTo>
                  <a:lnTo>
                    <a:pt x="2424" y="2823"/>
                  </a:lnTo>
                  <a:lnTo>
                    <a:pt x="2428" y="2823"/>
                  </a:lnTo>
                  <a:lnTo>
                    <a:pt x="2428" y="2839"/>
                  </a:lnTo>
                  <a:lnTo>
                    <a:pt x="2412" y="2872"/>
                  </a:lnTo>
                  <a:lnTo>
                    <a:pt x="2412" y="2872"/>
                  </a:lnTo>
                  <a:lnTo>
                    <a:pt x="2412" y="2872"/>
                  </a:lnTo>
                  <a:close/>
                  <a:moveTo>
                    <a:pt x="2499" y="2839"/>
                  </a:moveTo>
                  <a:lnTo>
                    <a:pt x="2488" y="2823"/>
                  </a:lnTo>
                  <a:lnTo>
                    <a:pt x="2499" y="2828"/>
                  </a:lnTo>
                  <a:lnTo>
                    <a:pt x="2499" y="2839"/>
                  </a:lnTo>
                  <a:lnTo>
                    <a:pt x="2499" y="2839"/>
                  </a:lnTo>
                  <a:lnTo>
                    <a:pt x="2499" y="2839"/>
                  </a:lnTo>
                  <a:close/>
                  <a:moveTo>
                    <a:pt x="2476" y="2856"/>
                  </a:moveTo>
                  <a:lnTo>
                    <a:pt x="2462" y="2844"/>
                  </a:lnTo>
                  <a:lnTo>
                    <a:pt x="2450" y="2828"/>
                  </a:lnTo>
                  <a:lnTo>
                    <a:pt x="2476" y="2844"/>
                  </a:lnTo>
                  <a:lnTo>
                    <a:pt x="2476" y="2856"/>
                  </a:lnTo>
                  <a:lnTo>
                    <a:pt x="2476" y="2856"/>
                  </a:lnTo>
                  <a:lnTo>
                    <a:pt x="2476" y="2856"/>
                  </a:lnTo>
                  <a:close/>
                  <a:moveTo>
                    <a:pt x="2407" y="2844"/>
                  </a:moveTo>
                  <a:lnTo>
                    <a:pt x="2412" y="2828"/>
                  </a:lnTo>
                  <a:lnTo>
                    <a:pt x="2407" y="2844"/>
                  </a:lnTo>
                  <a:lnTo>
                    <a:pt x="2407" y="2844"/>
                  </a:lnTo>
                  <a:lnTo>
                    <a:pt x="2407" y="2844"/>
                  </a:lnTo>
                  <a:close/>
                  <a:moveTo>
                    <a:pt x="2424" y="2872"/>
                  </a:moveTo>
                  <a:lnTo>
                    <a:pt x="2428" y="2839"/>
                  </a:lnTo>
                  <a:lnTo>
                    <a:pt x="2445" y="2839"/>
                  </a:lnTo>
                  <a:lnTo>
                    <a:pt x="2424" y="2872"/>
                  </a:lnTo>
                  <a:lnTo>
                    <a:pt x="2424" y="2872"/>
                  </a:lnTo>
                  <a:lnTo>
                    <a:pt x="2424" y="2872"/>
                  </a:lnTo>
                  <a:close/>
                  <a:moveTo>
                    <a:pt x="2504" y="2877"/>
                  </a:moveTo>
                  <a:lnTo>
                    <a:pt x="2476" y="2856"/>
                  </a:lnTo>
                  <a:lnTo>
                    <a:pt x="2476" y="2844"/>
                  </a:lnTo>
                  <a:lnTo>
                    <a:pt x="2499" y="2861"/>
                  </a:lnTo>
                  <a:lnTo>
                    <a:pt x="2504" y="2877"/>
                  </a:lnTo>
                  <a:lnTo>
                    <a:pt x="2504" y="2877"/>
                  </a:lnTo>
                  <a:lnTo>
                    <a:pt x="2504" y="2877"/>
                  </a:lnTo>
                  <a:close/>
                  <a:moveTo>
                    <a:pt x="2428" y="2877"/>
                  </a:moveTo>
                  <a:lnTo>
                    <a:pt x="2428" y="2872"/>
                  </a:lnTo>
                  <a:lnTo>
                    <a:pt x="2445" y="2861"/>
                  </a:lnTo>
                  <a:lnTo>
                    <a:pt x="2428" y="2877"/>
                  </a:lnTo>
                  <a:lnTo>
                    <a:pt x="2428" y="2877"/>
                  </a:lnTo>
                  <a:lnTo>
                    <a:pt x="2428" y="2877"/>
                  </a:lnTo>
                  <a:close/>
                  <a:moveTo>
                    <a:pt x="2476" y="2894"/>
                  </a:moveTo>
                  <a:lnTo>
                    <a:pt x="2466" y="2877"/>
                  </a:lnTo>
                  <a:lnTo>
                    <a:pt x="2476" y="2877"/>
                  </a:lnTo>
                  <a:lnTo>
                    <a:pt x="2450" y="2872"/>
                  </a:lnTo>
                  <a:lnTo>
                    <a:pt x="2466" y="2861"/>
                  </a:lnTo>
                  <a:lnTo>
                    <a:pt x="2488" y="2884"/>
                  </a:lnTo>
                  <a:lnTo>
                    <a:pt x="2476" y="2894"/>
                  </a:lnTo>
                  <a:lnTo>
                    <a:pt x="2476" y="2894"/>
                  </a:lnTo>
                  <a:lnTo>
                    <a:pt x="2476" y="2894"/>
                  </a:lnTo>
                  <a:close/>
                  <a:moveTo>
                    <a:pt x="2499" y="2894"/>
                  </a:moveTo>
                  <a:lnTo>
                    <a:pt x="2476" y="2872"/>
                  </a:lnTo>
                  <a:lnTo>
                    <a:pt x="2499" y="2884"/>
                  </a:lnTo>
                  <a:lnTo>
                    <a:pt x="2504" y="2894"/>
                  </a:lnTo>
                  <a:lnTo>
                    <a:pt x="2499" y="2894"/>
                  </a:lnTo>
                  <a:lnTo>
                    <a:pt x="2499" y="2894"/>
                  </a:lnTo>
                  <a:lnTo>
                    <a:pt x="2499" y="2894"/>
                  </a:lnTo>
                  <a:close/>
                  <a:moveTo>
                    <a:pt x="2428" y="2884"/>
                  </a:moveTo>
                  <a:lnTo>
                    <a:pt x="2428" y="2877"/>
                  </a:lnTo>
                  <a:lnTo>
                    <a:pt x="2445" y="2877"/>
                  </a:lnTo>
                  <a:lnTo>
                    <a:pt x="2428" y="2884"/>
                  </a:lnTo>
                  <a:lnTo>
                    <a:pt x="2428" y="2884"/>
                  </a:lnTo>
                  <a:lnTo>
                    <a:pt x="2428" y="2884"/>
                  </a:lnTo>
                  <a:close/>
                  <a:moveTo>
                    <a:pt x="2488" y="2927"/>
                  </a:moveTo>
                  <a:lnTo>
                    <a:pt x="2483" y="2910"/>
                  </a:lnTo>
                  <a:lnTo>
                    <a:pt x="2504" y="2894"/>
                  </a:lnTo>
                  <a:lnTo>
                    <a:pt x="2504" y="2901"/>
                  </a:lnTo>
                  <a:lnTo>
                    <a:pt x="2504" y="2917"/>
                  </a:lnTo>
                  <a:lnTo>
                    <a:pt x="2488" y="2927"/>
                  </a:lnTo>
                  <a:lnTo>
                    <a:pt x="2488" y="2927"/>
                  </a:lnTo>
                  <a:lnTo>
                    <a:pt x="2488" y="2927"/>
                  </a:lnTo>
                  <a:close/>
                  <a:moveTo>
                    <a:pt x="2861" y="2917"/>
                  </a:moveTo>
                  <a:lnTo>
                    <a:pt x="2861" y="3132"/>
                  </a:lnTo>
                  <a:lnTo>
                    <a:pt x="2861" y="3139"/>
                  </a:lnTo>
                  <a:lnTo>
                    <a:pt x="2844" y="3132"/>
                  </a:lnTo>
                  <a:lnTo>
                    <a:pt x="2854" y="3139"/>
                  </a:lnTo>
                  <a:lnTo>
                    <a:pt x="2828" y="3149"/>
                  </a:lnTo>
                  <a:lnTo>
                    <a:pt x="2790" y="3132"/>
                  </a:lnTo>
                  <a:lnTo>
                    <a:pt x="2790" y="3123"/>
                  </a:lnTo>
                  <a:lnTo>
                    <a:pt x="2785" y="3132"/>
                  </a:lnTo>
                  <a:lnTo>
                    <a:pt x="2747" y="3139"/>
                  </a:lnTo>
                  <a:lnTo>
                    <a:pt x="2747" y="3132"/>
                  </a:lnTo>
                  <a:lnTo>
                    <a:pt x="2747" y="3123"/>
                  </a:lnTo>
                  <a:lnTo>
                    <a:pt x="2736" y="3132"/>
                  </a:lnTo>
                  <a:lnTo>
                    <a:pt x="2714" y="3139"/>
                  </a:lnTo>
                  <a:lnTo>
                    <a:pt x="2702" y="3132"/>
                  </a:lnTo>
                  <a:lnTo>
                    <a:pt x="2731" y="3116"/>
                  </a:lnTo>
                  <a:lnTo>
                    <a:pt x="2693" y="3132"/>
                  </a:lnTo>
                  <a:lnTo>
                    <a:pt x="2698" y="3116"/>
                  </a:lnTo>
                  <a:lnTo>
                    <a:pt x="2676" y="3123"/>
                  </a:lnTo>
                  <a:lnTo>
                    <a:pt x="2665" y="3106"/>
                  </a:lnTo>
                  <a:lnTo>
                    <a:pt x="2660" y="3123"/>
                  </a:lnTo>
                  <a:lnTo>
                    <a:pt x="2643" y="3116"/>
                  </a:lnTo>
                  <a:lnTo>
                    <a:pt x="2627" y="3116"/>
                  </a:lnTo>
                  <a:lnTo>
                    <a:pt x="2622" y="3099"/>
                  </a:lnTo>
                  <a:lnTo>
                    <a:pt x="2627" y="3099"/>
                  </a:lnTo>
                  <a:lnTo>
                    <a:pt x="2643" y="3106"/>
                  </a:lnTo>
                  <a:lnTo>
                    <a:pt x="2651" y="3106"/>
                  </a:lnTo>
                  <a:lnTo>
                    <a:pt x="2639" y="3095"/>
                  </a:lnTo>
                  <a:lnTo>
                    <a:pt x="2643" y="3095"/>
                  </a:lnTo>
                  <a:lnTo>
                    <a:pt x="2651" y="3099"/>
                  </a:lnTo>
                  <a:lnTo>
                    <a:pt x="2660" y="3099"/>
                  </a:lnTo>
                  <a:lnTo>
                    <a:pt x="2651" y="3095"/>
                  </a:lnTo>
                  <a:lnTo>
                    <a:pt x="2665" y="3095"/>
                  </a:lnTo>
                  <a:lnTo>
                    <a:pt x="2698" y="3099"/>
                  </a:lnTo>
                  <a:lnTo>
                    <a:pt x="2698" y="3083"/>
                  </a:lnTo>
                  <a:lnTo>
                    <a:pt x="2702" y="3083"/>
                  </a:lnTo>
                  <a:lnTo>
                    <a:pt x="2719" y="3083"/>
                  </a:lnTo>
                  <a:lnTo>
                    <a:pt x="2714" y="3106"/>
                  </a:lnTo>
                  <a:lnTo>
                    <a:pt x="2719" y="3116"/>
                  </a:lnTo>
                  <a:lnTo>
                    <a:pt x="2714" y="3106"/>
                  </a:lnTo>
                  <a:lnTo>
                    <a:pt x="2719" y="3095"/>
                  </a:lnTo>
                  <a:lnTo>
                    <a:pt x="2747" y="3106"/>
                  </a:lnTo>
                  <a:lnTo>
                    <a:pt x="2752" y="3106"/>
                  </a:lnTo>
                  <a:lnTo>
                    <a:pt x="2736" y="3095"/>
                  </a:lnTo>
                  <a:lnTo>
                    <a:pt x="2719" y="3083"/>
                  </a:lnTo>
                  <a:lnTo>
                    <a:pt x="2702" y="3078"/>
                  </a:lnTo>
                  <a:lnTo>
                    <a:pt x="2702" y="3066"/>
                  </a:lnTo>
                  <a:lnTo>
                    <a:pt x="2752" y="3095"/>
                  </a:lnTo>
                  <a:lnTo>
                    <a:pt x="2757" y="3095"/>
                  </a:lnTo>
                  <a:lnTo>
                    <a:pt x="2752" y="3083"/>
                  </a:lnTo>
                  <a:lnTo>
                    <a:pt x="2757" y="3078"/>
                  </a:lnTo>
                  <a:lnTo>
                    <a:pt x="2785" y="3106"/>
                  </a:lnTo>
                  <a:lnTo>
                    <a:pt x="2773" y="3083"/>
                  </a:lnTo>
                  <a:lnTo>
                    <a:pt x="2823" y="3099"/>
                  </a:lnTo>
                  <a:lnTo>
                    <a:pt x="2806" y="3116"/>
                  </a:lnTo>
                  <a:lnTo>
                    <a:pt x="2806" y="3123"/>
                  </a:lnTo>
                  <a:lnTo>
                    <a:pt x="2811" y="3106"/>
                  </a:lnTo>
                  <a:lnTo>
                    <a:pt x="2823" y="3106"/>
                  </a:lnTo>
                  <a:lnTo>
                    <a:pt x="2823" y="3099"/>
                  </a:lnTo>
                  <a:lnTo>
                    <a:pt x="2839" y="3095"/>
                  </a:lnTo>
                  <a:lnTo>
                    <a:pt x="2757" y="3061"/>
                  </a:lnTo>
                  <a:lnTo>
                    <a:pt x="2752" y="3038"/>
                  </a:lnTo>
                  <a:lnTo>
                    <a:pt x="2769" y="3021"/>
                  </a:lnTo>
                  <a:lnTo>
                    <a:pt x="2811" y="3005"/>
                  </a:lnTo>
                  <a:lnTo>
                    <a:pt x="2806" y="2988"/>
                  </a:lnTo>
                  <a:lnTo>
                    <a:pt x="2773" y="2988"/>
                  </a:lnTo>
                  <a:lnTo>
                    <a:pt x="2752" y="2995"/>
                  </a:lnTo>
                  <a:lnTo>
                    <a:pt x="2736" y="2988"/>
                  </a:lnTo>
                  <a:lnTo>
                    <a:pt x="2736" y="2955"/>
                  </a:lnTo>
                  <a:lnTo>
                    <a:pt x="2736" y="2950"/>
                  </a:lnTo>
                  <a:lnTo>
                    <a:pt x="2747" y="2955"/>
                  </a:lnTo>
                  <a:lnTo>
                    <a:pt x="2752" y="2955"/>
                  </a:lnTo>
                  <a:lnTo>
                    <a:pt x="2757" y="2939"/>
                  </a:lnTo>
                  <a:lnTo>
                    <a:pt x="2736" y="2934"/>
                  </a:lnTo>
                  <a:lnTo>
                    <a:pt x="2752" y="2927"/>
                  </a:lnTo>
                  <a:lnTo>
                    <a:pt x="2769" y="2934"/>
                  </a:lnTo>
                  <a:lnTo>
                    <a:pt x="2785" y="2934"/>
                  </a:lnTo>
                  <a:lnTo>
                    <a:pt x="2790" y="2910"/>
                  </a:lnTo>
                  <a:lnTo>
                    <a:pt x="2806" y="2901"/>
                  </a:lnTo>
                  <a:lnTo>
                    <a:pt x="2823" y="2927"/>
                  </a:lnTo>
                  <a:lnTo>
                    <a:pt x="2844" y="2910"/>
                  </a:lnTo>
                  <a:lnTo>
                    <a:pt x="2861" y="2917"/>
                  </a:lnTo>
                  <a:lnTo>
                    <a:pt x="2861" y="2917"/>
                  </a:lnTo>
                  <a:lnTo>
                    <a:pt x="2861" y="2917"/>
                  </a:lnTo>
                  <a:close/>
                  <a:moveTo>
                    <a:pt x="2530" y="2983"/>
                  </a:moveTo>
                  <a:lnTo>
                    <a:pt x="2551" y="2988"/>
                  </a:lnTo>
                  <a:lnTo>
                    <a:pt x="2521" y="2988"/>
                  </a:lnTo>
                  <a:lnTo>
                    <a:pt x="2488" y="2955"/>
                  </a:lnTo>
                  <a:lnTo>
                    <a:pt x="2462" y="2967"/>
                  </a:lnTo>
                  <a:lnTo>
                    <a:pt x="2433" y="2934"/>
                  </a:lnTo>
                  <a:lnTo>
                    <a:pt x="2433" y="2927"/>
                  </a:lnTo>
                  <a:lnTo>
                    <a:pt x="2462" y="2950"/>
                  </a:lnTo>
                  <a:lnTo>
                    <a:pt x="2513" y="2955"/>
                  </a:lnTo>
                  <a:lnTo>
                    <a:pt x="2521" y="2983"/>
                  </a:lnTo>
                  <a:lnTo>
                    <a:pt x="2521" y="2967"/>
                  </a:lnTo>
                  <a:lnTo>
                    <a:pt x="2537" y="2983"/>
                  </a:lnTo>
                  <a:lnTo>
                    <a:pt x="2530" y="2983"/>
                  </a:lnTo>
                  <a:lnTo>
                    <a:pt x="2530" y="2983"/>
                  </a:lnTo>
                  <a:lnTo>
                    <a:pt x="2530" y="2983"/>
                  </a:lnTo>
                  <a:close/>
                  <a:moveTo>
                    <a:pt x="2530" y="2950"/>
                  </a:moveTo>
                  <a:lnTo>
                    <a:pt x="2504" y="2939"/>
                  </a:lnTo>
                  <a:lnTo>
                    <a:pt x="2521" y="2939"/>
                  </a:lnTo>
                  <a:lnTo>
                    <a:pt x="2530" y="2950"/>
                  </a:lnTo>
                  <a:lnTo>
                    <a:pt x="2530" y="2950"/>
                  </a:lnTo>
                  <a:lnTo>
                    <a:pt x="2530" y="2950"/>
                  </a:lnTo>
                  <a:close/>
                  <a:moveTo>
                    <a:pt x="2521" y="2995"/>
                  </a:moveTo>
                  <a:lnTo>
                    <a:pt x="2530" y="3005"/>
                  </a:lnTo>
                  <a:lnTo>
                    <a:pt x="2521" y="3012"/>
                  </a:lnTo>
                  <a:lnTo>
                    <a:pt x="2499" y="2995"/>
                  </a:lnTo>
                  <a:lnTo>
                    <a:pt x="2513" y="2995"/>
                  </a:lnTo>
                  <a:lnTo>
                    <a:pt x="2521" y="2995"/>
                  </a:lnTo>
                  <a:lnTo>
                    <a:pt x="2513" y="2988"/>
                  </a:lnTo>
                  <a:lnTo>
                    <a:pt x="2521" y="2995"/>
                  </a:lnTo>
                  <a:lnTo>
                    <a:pt x="2521" y="2995"/>
                  </a:lnTo>
                  <a:lnTo>
                    <a:pt x="2521" y="2995"/>
                  </a:lnTo>
                  <a:close/>
                  <a:moveTo>
                    <a:pt x="2537" y="3038"/>
                  </a:moveTo>
                  <a:lnTo>
                    <a:pt x="2537" y="3021"/>
                  </a:lnTo>
                  <a:lnTo>
                    <a:pt x="2513" y="3028"/>
                  </a:lnTo>
                  <a:lnTo>
                    <a:pt x="2521" y="3021"/>
                  </a:lnTo>
                  <a:lnTo>
                    <a:pt x="2513" y="3012"/>
                  </a:lnTo>
                  <a:lnTo>
                    <a:pt x="2521" y="3012"/>
                  </a:lnTo>
                  <a:lnTo>
                    <a:pt x="2537" y="3021"/>
                  </a:lnTo>
                  <a:lnTo>
                    <a:pt x="2558" y="3021"/>
                  </a:lnTo>
                  <a:lnTo>
                    <a:pt x="2537" y="3012"/>
                  </a:lnTo>
                  <a:lnTo>
                    <a:pt x="2521" y="2995"/>
                  </a:lnTo>
                  <a:lnTo>
                    <a:pt x="2542" y="3005"/>
                  </a:lnTo>
                  <a:lnTo>
                    <a:pt x="2542" y="2995"/>
                  </a:lnTo>
                  <a:lnTo>
                    <a:pt x="2551" y="2995"/>
                  </a:lnTo>
                  <a:lnTo>
                    <a:pt x="2558" y="2995"/>
                  </a:lnTo>
                  <a:lnTo>
                    <a:pt x="2558" y="3021"/>
                  </a:lnTo>
                  <a:lnTo>
                    <a:pt x="2568" y="2995"/>
                  </a:lnTo>
                  <a:lnTo>
                    <a:pt x="2575" y="3012"/>
                  </a:lnTo>
                  <a:lnTo>
                    <a:pt x="2589" y="3012"/>
                  </a:lnTo>
                  <a:lnTo>
                    <a:pt x="2589" y="3028"/>
                  </a:lnTo>
                  <a:lnTo>
                    <a:pt x="2596" y="3021"/>
                  </a:lnTo>
                  <a:lnTo>
                    <a:pt x="2613" y="3038"/>
                  </a:lnTo>
                  <a:lnTo>
                    <a:pt x="2596" y="3045"/>
                  </a:lnTo>
                  <a:lnTo>
                    <a:pt x="2596" y="3061"/>
                  </a:lnTo>
                  <a:lnTo>
                    <a:pt x="2568" y="3066"/>
                  </a:lnTo>
                  <a:lnTo>
                    <a:pt x="2551" y="3061"/>
                  </a:lnTo>
                  <a:lnTo>
                    <a:pt x="2568" y="3050"/>
                  </a:lnTo>
                  <a:lnTo>
                    <a:pt x="2575" y="3038"/>
                  </a:lnTo>
                  <a:lnTo>
                    <a:pt x="2551" y="3038"/>
                  </a:lnTo>
                  <a:lnTo>
                    <a:pt x="2542" y="3050"/>
                  </a:lnTo>
                  <a:lnTo>
                    <a:pt x="2537" y="3038"/>
                  </a:lnTo>
                  <a:lnTo>
                    <a:pt x="2537" y="3038"/>
                  </a:lnTo>
                  <a:lnTo>
                    <a:pt x="2537" y="3038"/>
                  </a:lnTo>
                  <a:close/>
                  <a:moveTo>
                    <a:pt x="2499" y="3012"/>
                  </a:moveTo>
                  <a:lnTo>
                    <a:pt x="2499" y="2995"/>
                  </a:lnTo>
                  <a:lnTo>
                    <a:pt x="2504" y="3005"/>
                  </a:lnTo>
                  <a:lnTo>
                    <a:pt x="2499" y="3012"/>
                  </a:lnTo>
                  <a:lnTo>
                    <a:pt x="2499" y="3012"/>
                  </a:lnTo>
                  <a:lnTo>
                    <a:pt x="2499" y="3012"/>
                  </a:lnTo>
                  <a:close/>
                  <a:moveTo>
                    <a:pt x="2731" y="3078"/>
                  </a:moveTo>
                  <a:lnTo>
                    <a:pt x="2702" y="3061"/>
                  </a:lnTo>
                  <a:lnTo>
                    <a:pt x="2698" y="3038"/>
                  </a:lnTo>
                  <a:lnTo>
                    <a:pt x="2719" y="3038"/>
                  </a:lnTo>
                  <a:lnTo>
                    <a:pt x="2714" y="3021"/>
                  </a:lnTo>
                  <a:lnTo>
                    <a:pt x="2731" y="3012"/>
                  </a:lnTo>
                  <a:lnTo>
                    <a:pt x="2736" y="3050"/>
                  </a:lnTo>
                  <a:lnTo>
                    <a:pt x="2731" y="3050"/>
                  </a:lnTo>
                  <a:lnTo>
                    <a:pt x="2719" y="3045"/>
                  </a:lnTo>
                  <a:lnTo>
                    <a:pt x="2731" y="3078"/>
                  </a:lnTo>
                  <a:lnTo>
                    <a:pt x="2731" y="3078"/>
                  </a:lnTo>
                  <a:lnTo>
                    <a:pt x="2731" y="3078"/>
                  </a:lnTo>
                  <a:close/>
                  <a:moveTo>
                    <a:pt x="2643" y="3045"/>
                  </a:moveTo>
                  <a:lnTo>
                    <a:pt x="2651" y="3061"/>
                  </a:lnTo>
                  <a:lnTo>
                    <a:pt x="2643" y="3066"/>
                  </a:lnTo>
                  <a:lnTo>
                    <a:pt x="2627" y="3050"/>
                  </a:lnTo>
                  <a:lnTo>
                    <a:pt x="2643" y="3078"/>
                  </a:lnTo>
                  <a:lnTo>
                    <a:pt x="2639" y="3083"/>
                  </a:lnTo>
                  <a:lnTo>
                    <a:pt x="2613" y="3061"/>
                  </a:lnTo>
                  <a:lnTo>
                    <a:pt x="2606" y="3045"/>
                  </a:lnTo>
                  <a:lnTo>
                    <a:pt x="2622" y="3050"/>
                  </a:lnTo>
                  <a:lnTo>
                    <a:pt x="2627" y="3038"/>
                  </a:lnTo>
                  <a:lnTo>
                    <a:pt x="2643" y="3045"/>
                  </a:lnTo>
                  <a:lnTo>
                    <a:pt x="2643" y="3045"/>
                  </a:lnTo>
                  <a:lnTo>
                    <a:pt x="2643" y="3045"/>
                  </a:lnTo>
                  <a:close/>
                  <a:moveTo>
                    <a:pt x="2676" y="3050"/>
                  </a:moveTo>
                  <a:lnTo>
                    <a:pt x="2693" y="3061"/>
                  </a:lnTo>
                  <a:lnTo>
                    <a:pt x="2698" y="3078"/>
                  </a:lnTo>
                  <a:lnTo>
                    <a:pt x="2681" y="3095"/>
                  </a:lnTo>
                  <a:lnTo>
                    <a:pt x="2665" y="3083"/>
                  </a:lnTo>
                  <a:lnTo>
                    <a:pt x="2660" y="3066"/>
                  </a:lnTo>
                  <a:lnTo>
                    <a:pt x="2665" y="3061"/>
                  </a:lnTo>
                  <a:lnTo>
                    <a:pt x="2660" y="3078"/>
                  </a:lnTo>
                  <a:lnTo>
                    <a:pt x="2643" y="3066"/>
                  </a:lnTo>
                  <a:lnTo>
                    <a:pt x="2651" y="3045"/>
                  </a:lnTo>
                  <a:lnTo>
                    <a:pt x="2676" y="3050"/>
                  </a:lnTo>
                  <a:lnTo>
                    <a:pt x="2676" y="3050"/>
                  </a:lnTo>
                  <a:lnTo>
                    <a:pt x="2676" y="3050"/>
                  </a:lnTo>
                  <a:close/>
                  <a:moveTo>
                    <a:pt x="2537" y="3066"/>
                  </a:moveTo>
                  <a:lnTo>
                    <a:pt x="2521" y="3061"/>
                  </a:lnTo>
                  <a:lnTo>
                    <a:pt x="2542" y="3061"/>
                  </a:lnTo>
                  <a:lnTo>
                    <a:pt x="2537" y="3066"/>
                  </a:lnTo>
                  <a:lnTo>
                    <a:pt x="2537" y="3066"/>
                  </a:lnTo>
                  <a:lnTo>
                    <a:pt x="2537" y="3066"/>
                  </a:lnTo>
                  <a:close/>
                  <a:moveTo>
                    <a:pt x="2606" y="3061"/>
                  </a:moveTo>
                  <a:lnTo>
                    <a:pt x="2613" y="3066"/>
                  </a:lnTo>
                  <a:lnTo>
                    <a:pt x="2606" y="3078"/>
                  </a:lnTo>
                  <a:lnTo>
                    <a:pt x="2589" y="3078"/>
                  </a:lnTo>
                  <a:lnTo>
                    <a:pt x="2606" y="3061"/>
                  </a:lnTo>
                  <a:lnTo>
                    <a:pt x="2606" y="3061"/>
                  </a:lnTo>
                  <a:lnTo>
                    <a:pt x="2606" y="3061"/>
                  </a:lnTo>
                  <a:close/>
                  <a:moveTo>
                    <a:pt x="2747" y="3078"/>
                  </a:moveTo>
                  <a:lnTo>
                    <a:pt x="2731" y="3066"/>
                  </a:lnTo>
                  <a:lnTo>
                    <a:pt x="2752" y="3078"/>
                  </a:lnTo>
                  <a:lnTo>
                    <a:pt x="2747" y="3078"/>
                  </a:lnTo>
                  <a:lnTo>
                    <a:pt x="2747" y="3078"/>
                  </a:lnTo>
                  <a:lnTo>
                    <a:pt x="2747" y="3078"/>
                  </a:lnTo>
                  <a:close/>
                  <a:moveTo>
                    <a:pt x="2589" y="3095"/>
                  </a:moveTo>
                  <a:lnTo>
                    <a:pt x="2589" y="3083"/>
                  </a:lnTo>
                  <a:lnTo>
                    <a:pt x="2606" y="3083"/>
                  </a:lnTo>
                  <a:lnTo>
                    <a:pt x="2589" y="3095"/>
                  </a:lnTo>
                  <a:lnTo>
                    <a:pt x="2589" y="3095"/>
                  </a:lnTo>
                  <a:lnTo>
                    <a:pt x="2589" y="3095"/>
                  </a:lnTo>
                  <a:close/>
                  <a:moveTo>
                    <a:pt x="2627" y="3132"/>
                  </a:moveTo>
                  <a:lnTo>
                    <a:pt x="2622" y="3116"/>
                  </a:lnTo>
                  <a:lnTo>
                    <a:pt x="2627" y="3123"/>
                  </a:lnTo>
                  <a:lnTo>
                    <a:pt x="2627" y="3132"/>
                  </a:lnTo>
                  <a:lnTo>
                    <a:pt x="2627" y="3132"/>
                  </a:lnTo>
                  <a:lnTo>
                    <a:pt x="2627" y="3132"/>
                  </a:lnTo>
                  <a:close/>
                  <a:moveTo>
                    <a:pt x="2693" y="3149"/>
                  </a:moveTo>
                  <a:lnTo>
                    <a:pt x="2660" y="3139"/>
                  </a:lnTo>
                  <a:lnTo>
                    <a:pt x="2665" y="3132"/>
                  </a:lnTo>
                  <a:lnTo>
                    <a:pt x="2698" y="3149"/>
                  </a:lnTo>
                  <a:lnTo>
                    <a:pt x="2693" y="3149"/>
                  </a:lnTo>
                  <a:lnTo>
                    <a:pt x="2693" y="3149"/>
                  </a:lnTo>
                  <a:lnTo>
                    <a:pt x="2693" y="3149"/>
                  </a:lnTo>
                  <a:close/>
                  <a:moveTo>
                    <a:pt x="2731" y="3139"/>
                  </a:moveTo>
                  <a:lnTo>
                    <a:pt x="2736" y="3139"/>
                  </a:lnTo>
                  <a:lnTo>
                    <a:pt x="2714" y="3139"/>
                  </a:lnTo>
                  <a:lnTo>
                    <a:pt x="2731" y="3139"/>
                  </a:lnTo>
                  <a:lnTo>
                    <a:pt x="2731" y="3139"/>
                  </a:lnTo>
                  <a:lnTo>
                    <a:pt x="2731" y="3139"/>
                  </a:lnTo>
                  <a:close/>
                  <a:moveTo>
                    <a:pt x="2769" y="3156"/>
                  </a:moveTo>
                  <a:lnTo>
                    <a:pt x="2769" y="3149"/>
                  </a:lnTo>
                  <a:lnTo>
                    <a:pt x="2773" y="3139"/>
                  </a:lnTo>
                  <a:lnTo>
                    <a:pt x="2823" y="3149"/>
                  </a:lnTo>
                  <a:lnTo>
                    <a:pt x="2769" y="3156"/>
                  </a:lnTo>
                  <a:lnTo>
                    <a:pt x="2769" y="3156"/>
                  </a:lnTo>
                  <a:lnTo>
                    <a:pt x="2769" y="3156"/>
                  </a:lnTo>
                  <a:close/>
                  <a:moveTo>
                    <a:pt x="2736" y="3139"/>
                  </a:moveTo>
                  <a:lnTo>
                    <a:pt x="2714" y="3156"/>
                  </a:lnTo>
                  <a:lnTo>
                    <a:pt x="2747" y="3156"/>
                  </a:lnTo>
                  <a:lnTo>
                    <a:pt x="2747" y="3161"/>
                  </a:lnTo>
                  <a:lnTo>
                    <a:pt x="2736" y="3161"/>
                  </a:lnTo>
                  <a:lnTo>
                    <a:pt x="2736" y="3172"/>
                  </a:lnTo>
                  <a:lnTo>
                    <a:pt x="2731" y="3172"/>
                  </a:lnTo>
                  <a:lnTo>
                    <a:pt x="2719" y="3161"/>
                  </a:lnTo>
                  <a:lnTo>
                    <a:pt x="2714" y="3161"/>
                  </a:lnTo>
                  <a:lnTo>
                    <a:pt x="2693" y="3156"/>
                  </a:lnTo>
                  <a:lnTo>
                    <a:pt x="2698" y="3149"/>
                  </a:lnTo>
                  <a:lnTo>
                    <a:pt x="2719" y="3149"/>
                  </a:lnTo>
                  <a:lnTo>
                    <a:pt x="2736" y="3139"/>
                  </a:lnTo>
                  <a:lnTo>
                    <a:pt x="2736" y="3139"/>
                  </a:lnTo>
                  <a:lnTo>
                    <a:pt x="2736" y="3139"/>
                  </a:lnTo>
                  <a:close/>
                  <a:moveTo>
                    <a:pt x="2899" y="3139"/>
                  </a:moveTo>
                  <a:lnTo>
                    <a:pt x="2953" y="3149"/>
                  </a:lnTo>
                  <a:lnTo>
                    <a:pt x="2967" y="3161"/>
                  </a:lnTo>
                  <a:lnTo>
                    <a:pt x="2962" y="3177"/>
                  </a:lnTo>
                  <a:lnTo>
                    <a:pt x="2946" y="3177"/>
                  </a:lnTo>
                  <a:lnTo>
                    <a:pt x="2946" y="3172"/>
                  </a:lnTo>
                  <a:lnTo>
                    <a:pt x="2936" y="3172"/>
                  </a:lnTo>
                  <a:lnTo>
                    <a:pt x="2929" y="3177"/>
                  </a:lnTo>
                  <a:lnTo>
                    <a:pt x="2915" y="3177"/>
                  </a:lnTo>
                  <a:lnTo>
                    <a:pt x="2915" y="3172"/>
                  </a:lnTo>
                  <a:lnTo>
                    <a:pt x="2899" y="3177"/>
                  </a:lnTo>
                  <a:lnTo>
                    <a:pt x="2891" y="3149"/>
                  </a:lnTo>
                  <a:lnTo>
                    <a:pt x="2877" y="3149"/>
                  </a:lnTo>
                  <a:lnTo>
                    <a:pt x="2899" y="3139"/>
                  </a:lnTo>
                  <a:lnTo>
                    <a:pt x="2899" y="3139"/>
                  </a:lnTo>
                  <a:lnTo>
                    <a:pt x="2899" y="3139"/>
                  </a:lnTo>
                  <a:close/>
                  <a:moveTo>
                    <a:pt x="2802" y="3189"/>
                  </a:moveTo>
                  <a:lnTo>
                    <a:pt x="2785" y="3177"/>
                  </a:lnTo>
                  <a:lnTo>
                    <a:pt x="2802" y="3172"/>
                  </a:lnTo>
                  <a:lnTo>
                    <a:pt x="2773" y="3177"/>
                  </a:lnTo>
                  <a:lnTo>
                    <a:pt x="2757" y="3161"/>
                  </a:lnTo>
                  <a:lnTo>
                    <a:pt x="2773" y="3156"/>
                  </a:lnTo>
                  <a:lnTo>
                    <a:pt x="2865" y="3149"/>
                  </a:lnTo>
                  <a:lnTo>
                    <a:pt x="2882" y="3156"/>
                  </a:lnTo>
                  <a:lnTo>
                    <a:pt x="2861" y="3172"/>
                  </a:lnTo>
                  <a:lnTo>
                    <a:pt x="2828" y="3156"/>
                  </a:lnTo>
                  <a:lnTo>
                    <a:pt x="2854" y="3172"/>
                  </a:lnTo>
                  <a:lnTo>
                    <a:pt x="2882" y="3172"/>
                  </a:lnTo>
                  <a:lnTo>
                    <a:pt x="2891" y="3177"/>
                  </a:lnTo>
                  <a:lnTo>
                    <a:pt x="2854" y="3177"/>
                  </a:lnTo>
                  <a:lnTo>
                    <a:pt x="2891" y="3194"/>
                  </a:lnTo>
                  <a:lnTo>
                    <a:pt x="2908" y="3210"/>
                  </a:lnTo>
                  <a:lnTo>
                    <a:pt x="2899" y="3227"/>
                  </a:lnTo>
                  <a:lnTo>
                    <a:pt x="2877" y="3206"/>
                  </a:lnTo>
                  <a:lnTo>
                    <a:pt x="2844" y="3206"/>
                  </a:lnTo>
                  <a:lnTo>
                    <a:pt x="2839" y="3194"/>
                  </a:lnTo>
                  <a:lnTo>
                    <a:pt x="2854" y="3189"/>
                  </a:lnTo>
                  <a:lnTo>
                    <a:pt x="2844" y="3189"/>
                  </a:lnTo>
                  <a:lnTo>
                    <a:pt x="2844" y="3172"/>
                  </a:lnTo>
                  <a:lnTo>
                    <a:pt x="2828" y="3177"/>
                  </a:lnTo>
                  <a:lnTo>
                    <a:pt x="2823" y="3161"/>
                  </a:lnTo>
                  <a:lnTo>
                    <a:pt x="2806" y="3172"/>
                  </a:lnTo>
                  <a:lnTo>
                    <a:pt x="2811" y="3172"/>
                  </a:lnTo>
                  <a:lnTo>
                    <a:pt x="2806" y="3177"/>
                  </a:lnTo>
                  <a:lnTo>
                    <a:pt x="2811" y="3194"/>
                  </a:lnTo>
                  <a:lnTo>
                    <a:pt x="2823" y="3194"/>
                  </a:lnTo>
                  <a:lnTo>
                    <a:pt x="2823" y="3206"/>
                  </a:lnTo>
                  <a:lnTo>
                    <a:pt x="2806" y="3206"/>
                  </a:lnTo>
                  <a:lnTo>
                    <a:pt x="2802" y="3194"/>
                  </a:lnTo>
                  <a:lnTo>
                    <a:pt x="2806" y="3189"/>
                  </a:lnTo>
                  <a:lnTo>
                    <a:pt x="2802" y="3189"/>
                  </a:lnTo>
                  <a:lnTo>
                    <a:pt x="2802" y="3189"/>
                  </a:lnTo>
                  <a:lnTo>
                    <a:pt x="2802" y="3189"/>
                  </a:lnTo>
                  <a:close/>
                  <a:moveTo>
                    <a:pt x="2979" y="3156"/>
                  </a:moveTo>
                  <a:lnTo>
                    <a:pt x="2988" y="3161"/>
                  </a:lnTo>
                  <a:lnTo>
                    <a:pt x="2967" y="3156"/>
                  </a:lnTo>
                  <a:lnTo>
                    <a:pt x="2979" y="3156"/>
                  </a:lnTo>
                  <a:lnTo>
                    <a:pt x="2979" y="3156"/>
                  </a:lnTo>
                  <a:lnTo>
                    <a:pt x="2979" y="3156"/>
                  </a:lnTo>
                  <a:close/>
                  <a:moveTo>
                    <a:pt x="3005" y="3177"/>
                  </a:moveTo>
                  <a:lnTo>
                    <a:pt x="3000" y="3172"/>
                  </a:lnTo>
                  <a:lnTo>
                    <a:pt x="3017" y="3172"/>
                  </a:lnTo>
                  <a:lnTo>
                    <a:pt x="3005" y="3177"/>
                  </a:lnTo>
                  <a:lnTo>
                    <a:pt x="3005" y="3177"/>
                  </a:lnTo>
                  <a:lnTo>
                    <a:pt x="3005" y="3177"/>
                  </a:lnTo>
                  <a:close/>
                  <a:moveTo>
                    <a:pt x="2984" y="3177"/>
                  </a:moveTo>
                  <a:lnTo>
                    <a:pt x="2984" y="3189"/>
                  </a:lnTo>
                  <a:lnTo>
                    <a:pt x="2967" y="3189"/>
                  </a:lnTo>
                  <a:lnTo>
                    <a:pt x="2979" y="3177"/>
                  </a:lnTo>
                  <a:lnTo>
                    <a:pt x="2984" y="3177"/>
                  </a:lnTo>
                  <a:lnTo>
                    <a:pt x="2984" y="3177"/>
                  </a:lnTo>
                  <a:lnTo>
                    <a:pt x="2984" y="3177"/>
                  </a:lnTo>
                  <a:close/>
                  <a:moveTo>
                    <a:pt x="2769" y="3189"/>
                  </a:moveTo>
                  <a:lnTo>
                    <a:pt x="2757" y="3177"/>
                  </a:lnTo>
                  <a:lnTo>
                    <a:pt x="2769" y="3177"/>
                  </a:lnTo>
                  <a:lnTo>
                    <a:pt x="2769" y="3189"/>
                  </a:lnTo>
                  <a:lnTo>
                    <a:pt x="2769" y="3189"/>
                  </a:lnTo>
                  <a:lnTo>
                    <a:pt x="2769" y="3189"/>
                  </a:lnTo>
                  <a:close/>
                  <a:moveTo>
                    <a:pt x="2785" y="3194"/>
                  </a:moveTo>
                  <a:lnTo>
                    <a:pt x="2785" y="3189"/>
                  </a:lnTo>
                  <a:lnTo>
                    <a:pt x="2790" y="3189"/>
                  </a:lnTo>
                  <a:lnTo>
                    <a:pt x="2785" y="3194"/>
                  </a:lnTo>
                  <a:lnTo>
                    <a:pt x="2785" y="3194"/>
                  </a:lnTo>
                  <a:lnTo>
                    <a:pt x="2785" y="3194"/>
                  </a:lnTo>
                  <a:close/>
                  <a:moveTo>
                    <a:pt x="2925" y="3210"/>
                  </a:moveTo>
                  <a:lnTo>
                    <a:pt x="2929" y="3206"/>
                  </a:lnTo>
                  <a:lnTo>
                    <a:pt x="2936" y="3206"/>
                  </a:lnTo>
                  <a:lnTo>
                    <a:pt x="2925" y="3210"/>
                  </a:lnTo>
                  <a:lnTo>
                    <a:pt x="2925" y="3210"/>
                  </a:lnTo>
                  <a:lnTo>
                    <a:pt x="2925" y="3210"/>
                  </a:lnTo>
                  <a:close/>
                  <a:moveTo>
                    <a:pt x="2953" y="3234"/>
                  </a:moveTo>
                  <a:lnTo>
                    <a:pt x="2936" y="3227"/>
                  </a:lnTo>
                  <a:lnTo>
                    <a:pt x="2936" y="3217"/>
                  </a:lnTo>
                  <a:lnTo>
                    <a:pt x="2953" y="3210"/>
                  </a:lnTo>
                  <a:lnTo>
                    <a:pt x="2962" y="3227"/>
                  </a:lnTo>
                  <a:lnTo>
                    <a:pt x="2953" y="3234"/>
                  </a:lnTo>
                  <a:lnTo>
                    <a:pt x="2953" y="3234"/>
                  </a:lnTo>
                  <a:lnTo>
                    <a:pt x="2953" y="3234"/>
                  </a:lnTo>
                  <a:close/>
                  <a:moveTo>
                    <a:pt x="2967" y="3243"/>
                  </a:moveTo>
                  <a:lnTo>
                    <a:pt x="2962" y="3243"/>
                  </a:lnTo>
                  <a:lnTo>
                    <a:pt x="2967" y="3234"/>
                  </a:lnTo>
                  <a:lnTo>
                    <a:pt x="2967" y="3243"/>
                  </a:lnTo>
                  <a:lnTo>
                    <a:pt x="2967" y="3243"/>
                  </a:lnTo>
                  <a:lnTo>
                    <a:pt x="2967" y="3243"/>
                  </a:lnTo>
                  <a:close/>
                  <a:moveTo>
                    <a:pt x="2929" y="3243"/>
                  </a:moveTo>
                  <a:lnTo>
                    <a:pt x="2915" y="3234"/>
                  </a:lnTo>
                  <a:lnTo>
                    <a:pt x="2936" y="3234"/>
                  </a:lnTo>
                  <a:lnTo>
                    <a:pt x="2929" y="3243"/>
                  </a:lnTo>
                  <a:lnTo>
                    <a:pt x="2929" y="3243"/>
                  </a:lnTo>
                  <a:lnTo>
                    <a:pt x="2929" y="3243"/>
                  </a:lnTo>
                  <a:close/>
                  <a:moveTo>
                    <a:pt x="2962" y="3243"/>
                  </a:moveTo>
                  <a:lnTo>
                    <a:pt x="2946" y="3234"/>
                  </a:lnTo>
                  <a:lnTo>
                    <a:pt x="2962" y="3234"/>
                  </a:lnTo>
                  <a:lnTo>
                    <a:pt x="2962" y="3243"/>
                  </a:lnTo>
                  <a:lnTo>
                    <a:pt x="2962" y="3243"/>
                  </a:lnTo>
                  <a:lnTo>
                    <a:pt x="2962" y="3243"/>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7" name="Freeform 416">
              <a:extLst>
                <a:ext uri="{FF2B5EF4-FFF2-40B4-BE49-F238E27FC236}">
                  <a16:creationId xmlns:a16="http://schemas.microsoft.com/office/drawing/2014/main" id="{29B0D498-F83E-49DB-B5D2-5A10AE20FA5F}"/>
                </a:ext>
              </a:extLst>
            </p:cNvPr>
            <p:cNvSpPr>
              <a:spLocks/>
            </p:cNvSpPr>
            <p:nvPr/>
          </p:nvSpPr>
          <p:spPr bwMode="gray">
            <a:xfrm>
              <a:off x="13939234" y="3804456"/>
              <a:ext cx="176413" cy="272311"/>
            </a:xfrm>
            <a:custGeom>
              <a:avLst/>
              <a:gdLst>
                <a:gd name="T0" fmla="*/ 21 w 539"/>
                <a:gd name="T1" fmla="*/ 572 h 832"/>
                <a:gd name="T2" fmla="*/ 26 w 539"/>
                <a:gd name="T3" fmla="*/ 522 h 832"/>
                <a:gd name="T4" fmla="*/ 80 w 539"/>
                <a:gd name="T5" fmla="*/ 477 h 832"/>
                <a:gd name="T6" fmla="*/ 97 w 539"/>
                <a:gd name="T7" fmla="*/ 461 h 832"/>
                <a:gd name="T8" fmla="*/ 123 w 539"/>
                <a:gd name="T9" fmla="*/ 449 h 832"/>
                <a:gd name="T10" fmla="*/ 144 w 539"/>
                <a:gd name="T11" fmla="*/ 437 h 832"/>
                <a:gd name="T12" fmla="*/ 182 w 539"/>
                <a:gd name="T13" fmla="*/ 482 h 832"/>
                <a:gd name="T14" fmla="*/ 215 w 539"/>
                <a:gd name="T15" fmla="*/ 465 h 832"/>
                <a:gd name="T16" fmla="*/ 236 w 539"/>
                <a:gd name="T17" fmla="*/ 437 h 832"/>
                <a:gd name="T18" fmla="*/ 232 w 539"/>
                <a:gd name="T19" fmla="*/ 421 h 832"/>
                <a:gd name="T20" fmla="*/ 243 w 539"/>
                <a:gd name="T21" fmla="*/ 387 h 832"/>
                <a:gd name="T22" fmla="*/ 258 w 539"/>
                <a:gd name="T23" fmla="*/ 338 h 832"/>
                <a:gd name="T24" fmla="*/ 274 w 539"/>
                <a:gd name="T25" fmla="*/ 326 h 832"/>
                <a:gd name="T26" fmla="*/ 295 w 539"/>
                <a:gd name="T27" fmla="*/ 317 h 832"/>
                <a:gd name="T28" fmla="*/ 328 w 539"/>
                <a:gd name="T29" fmla="*/ 255 h 832"/>
                <a:gd name="T30" fmla="*/ 345 w 539"/>
                <a:gd name="T31" fmla="*/ 215 h 832"/>
                <a:gd name="T32" fmla="*/ 366 w 539"/>
                <a:gd name="T33" fmla="*/ 149 h 832"/>
                <a:gd name="T34" fmla="*/ 399 w 539"/>
                <a:gd name="T35" fmla="*/ 132 h 832"/>
                <a:gd name="T36" fmla="*/ 432 w 539"/>
                <a:gd name="T37" fmla="*/ 95 h 832"/>
                <a:gd name="T38" fmla="*/ 421 w 539"/>
                <a:gd name="T39" fmla="*/ 54 h 832"/>
                <a:gd name="T40" fmla="*/ 395 w 539"/>
                <a:gd name="T41" fmla="*/ 0 h 832"/>
                <a:gd name="T42" fmla="*/ 421 w 539"/>
                <a:gd name="T43" fmla="*/ 21 h 832"/>
                <a:gd name="T44" fmla="*/ 449 w 539"/>
                <a:gd name="T45" fmla="*/ 71 h 832"/>
                <a:gd name="T46" fmla="*/ 458 w 539"/>
                <a:gd name="T47" fmla="*/ 116 h 832"/>
                <a:gd name="T48" fmla="*/ 458 w 539"/>
                <a:gd name="T49" fmla="*/ 165 h 832"/>
                <a:gd name="T50" fmla="*/ 508 w 539"/>
                <a:gd name="T51" fmla="*/ 227 h 832"/>
                <a:gd name="T52" fmla="*/ 399 w 539"/>
                <a:gd name="T53" fmla="*/ 227 h 832"/>
                <a:gd name="T54" fmla="*/ 404 w 539"/>
                <a:gd name="T55" fmla="*/ 281 h 832"/>
                <a:gd name="T56" fmla="*/ 491 w 539"/>
                <a:gd name="T57" fmla="*/ 383 h 832"/>
                <a:gd name="T58" fmla="*/ 491 w 539"/>
                <a:gd name="T59" fmla="*/ 404 h 832"/>
                <a:gd name="T60" fmla="*/ 449 w 539"/>
                <a:gd name="T61" fmla="*/ 494 h 832"/>
                <a:gd name="T62" fmla="*/ 421 w 539"/>
                <a:gd name="T63" fmla="*/ 522 h 832"/>
                <a:gd name="T64" fmla="*/ 432 w 539"/>
                <a:gd name="T65" fmla="*/ 548 h 832"/>
                <a:gd name="T66" fmla="*/ 432 w 539"/>
                <a:gd name="T67" fmla="*/ 572 h 832"/>
                <a:gd name="T68" fmla="*/ 458 w 539"/>
                <a:gd name="T69" fmla="*/ 631 h 832"/>
                <a:gd name="T70" fmla="*/ 458 w 539"/>
                <a:gd name="T71" fmla="*/ 659 h 832"/>
                <a:gd name="T72" fmla="*/ 529 w 539"/>
                <a:gd name="T73" fmla="*/ 737 h 832"/>
                <a:gd name="T74" fmla="*/ 539 w 539"/>
                <a:gd name="T75" fmla="*/ 782 h 832"/>
                <a:gd name="T76" fmla="*/ 539 w 539"/>
                <a:gd name="T77" fmla="*/ 827 h 832"/>
                <a:gd name="T78" fmla="*/ 508 w 539"/>
                <a:gd name="T79" fmla="*/ 810 h 832"/>
                <a:gd name="T80" fmla="*/ 421 w 539"/>
                <a:gd name="T81" fmla="*/ 794 h 832"/>
                <a:gd name="T82" fmla="*/ 328 w 539"/>
                <a:gd name="T83" fmla="*/ 782 h 832"/>
                <a:gd name="T84" fmla="*/ 269 w 539"/>
                <a:gd name="T85" fmla="*/ 782 h 832"/>
                <a:gd name="T86" fmla="*/ 199 w 539"/>
                <a:gd name="T87" fmla="*/ 794 h 832"/>
                <a:gd name="T88" fmla="*/ 90 w 539"/>
                <a:gd name="T89" fmla="*/ 777 h 832"/>
                <a:gd name="T90" fmla="*/ 97 w 539"/>
                <a:gd name="T91" fmla="*/ 716 h 832"/>
                <a:gd name="T92" fmla="*/ 90 w 539"/>
                <a:gd name="T93" fmla="*/ 687 h 832"/>
                <a:gd name="T94" fmla="*/ 76 w 539"/>
                <a:gd name="T95" fmla="*/ 671 h 832"/>
                <a:gd name="T96" fmla="*/ 69 w 539"/>
                <a:gd name="T97" fmla="*/ 650 h 832"/>
                <a:gd name="T98" fmla="*/ 69 w 539"/>
                <a:gd name="T99" fmla="*/ 666 h 832"/>
                <a:gd name="T100" fmla="*/ 26 w 539"/>
                <a:gd name="T101" fmla="*/ 614 h 832"/>
                <a:gd name="T102" fmla="*/ 26 w 539"/>
                <a:gd name="T103" fmla="*/ 614 h 832"/>
                <a:gd name="T104" fmla="*/ 14 w 539"/>
                <a:gd name="T105" fmla="*/ 626 h 832"/>
                <a:gd name="T106" fmla="*/ 5 w 539"/>
                <a:gd name="T107" fmla="*/ 605 h 832"/>
                <a:gd name="T108" fmla="*/ 5 w 539"/>
                <a:gd name="T109" fmla="*/ 605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9" h="832">
                  <a:moveTo>
                    <a:pt x="5" y="605"/>
                  </a:moveTo>
                  <a:lnTo>
                    <a:pt x="21" y="572"/>
                  </a:lnTo>
                  <a:lnTo>
                    <a:pt x="26" y="548"/>
                  </a:lnTo>
                  <a:lnTo>
                    <a:pt x="26" y="522"/>
                  </a:lnTo>
                  <a:lnTo>
                    <a:pt x="59" y="494"/>
                  </a:lnTo>
                  <a:lnTo>
                    <a:pt x="80" y="477"/>
                  </a:lnTo>
                  <a:lnTo>
                    <a:pt x="90" y="461"/>
                  </a:lnTo>
                  <a:lnTo>
                    <a:pt x="97" y="461"/>
                  </a:lnTo>
                  <a:lnTo>
                    <a:pt x="113" y="444"/>
                  </a:lnTo>
                  <a:lnTo>
                    <a:pt x="123" y="449"/>
                  </a:lnTo>
                  <a:lnTo>
                    <a:pt x="144" y="449"/>
                  </a:lnTo>
                  <a:lnTo>
                    <a:pt x="144" y="437"/>
                  </a:lnTo>
                  <a:lnTo>
                    <a:pt x="182" y="461"/>
                  </a:lnTo>
                  <a:lnTo>
                    <a:pt x="182" y="482"/>
                  </a:lnTo>
                  <a:lnTo>
                    <a:pt x="199" y="482"/>
                  </a:lnTo>
                  <a:lnTo>
                    <a:pt x="215" y="465"/>
                  </a:lnTo>
                  <a:lnTo>
                    <a:pt x="215" y="449"/>
                  </a:lnTo>
                  <a:lnTo>
                    <a:pt x="236" y="437"/>
                  </a:lnTo>
                  <a:lnTo>
                    <a:pt x="232" y="421"/>
                  </a:lnTo>
                  <a:lnTo>
                    <a:pt x="232" y="421"/>
                  </a:lnTo>
                  <a:lnTo>
                    <a:pt x="243" y="404"/>
                  </a:lnTo>
                  <a:lnTo>
                    <a:pt x="243" y="387"/>
                  </a:lnTo>
                  <a:lnTo>
                    <a:pt x="258" y="371"/>
                  </a:lnTo>
                  <a:lnTo>
                    <a:pt x="258" y="338"/>
                  </a:lnTo>
                  <a:lnTo>
                    <a:pt x="274" y="333"/>
                  </a:lnTo>
                  <a:lnTo>
                    <a:pt x="274" y="326"/>
                  </a:lnTo>
                  <a:lnTo>
                    <a:pt x="291" y="326"/>
                  </a:lnTo>
                  <a:lnTo>
                    <a:pt x="295" y="317"/>
                  </a:lnTo>
                  <a:lnTo>
                    <a:pt x="307" y="272"/>
                  </a:lnTo>
                  <a:lnTo>
                    <a:pt x="328" y="255"/>
                  </a:lnTo>
                  <a:lnTo>
                    <a:pt x="340" y="222"/>
                  </a:lnTo>
                  <a:lnTo>
                    <a:pt x="345" y="215"/>
                  </a:lnTo>
                  <a:lnTo>
                    <a:pt x="350" y="182"/>
                  </a:lnTo>
                  <a:lnTo>
                    <a:pt x="366" y="149"/>
                  </a:lnTo>
                  <a:lnTo>
                    <a:pt x="383" y="132"/>
                  </a:lnTo>
                  <a:lnTo>
                    <a:pt x="399" y="132"/>
                  </a:lnTo>
                  <a:lnTo>
                    <a:pt x="432" y="111"/>
                  </a:lnTo>
                  <a:lnTo>
                    <a:pt x="432" y="95"/>
                  </a:lnTo>
                  <a:lnTo>
                    <a:pt x="432" y="59"/>
                  </a:lnTo>
                  <a:lnTo>
                    <a:pt x="421" y="54"/>
                  </a:lnTo>
                  <a:lnTo>
                    <a:pt x="399" y="50"/>
                  </a:lnTo>
                  <a:lnTo>
                    <a:pt x="395" y="0"/>
                  </a:lnTo>
                  <a:lnTo>
                    <a:pt x="416" y="0"/>
                  </a:lnTo>
                  <a:lnTo>
                    <a:pt x="421" y="21"/>
                  </a:lnTo>
                  <a:lnTo>
                    <a:pt x="449" y="33"/>
                  </a:lnTo>
                  <a:lnTo>
                    <a:pt x="449" y="71"/>
                  </a:lnTo>
                  <a:lnTo>
                    <a:pt x="458" y="71"/>
                  </a:lnTo>
                  <a:lnTo>
                    <a:pt x="458" y="116"/>
                  </a:lnTo>
                  <a:lnTo>
                    <a:pt x="458" y="132"/>
                  </a:lnTo>
                  <a:lnTo>
                    <a:pt x="458" y="165"/>
                  </a:lnTo>
                  <a:lnTo>
                    <a:pt x="487" y="206"/>
                  </a:lnTo>
                  <a:lnTo>
                    <a:pt x="508" y="227"/>
                  </a:lnTo>
                  <a:lnTo>
                    <a:pt x="437" y="227"/>
                  </a:lnTo>
                  <a:lnTo>
                    <a:pt x="399" y="227"/>
                  </a:lnTo>
                  <a:lnTo>
                    <a:pt x="383" y="255"/>
                  </a:lnTo>
                  <a:lnTo>
                    <a:pt x="404" y="281"/>
                  </a:lnTo>
                  <a:lnTo>
                    <a:pt x="470" y="333"/>
                  </a:lnTo>
                  <a:lnTo>
                    <a:pt x="491" y="383"/>
                  </a:lnTo>
                  <a:lnTo>
                    <a:pt x="501" y="387"/>
                  </a:lnTo>
                  <a:lnTo>
                    <a:pt x="491" y="404"/>
                  </a:lnTo>
                  <a:lnTo>
                    <a:pt x="470" y="428"/>
                  </a:lnTo>
                  <a:lnTo>
                    <a:pt x="449" y="494"/>
                  </a:lnTo>
                  <a:lnTo>
                    <a:pt x="416" y="515"/>
                  </a:lnTo>
                  <a:lnTo>
                    <a:pt x="421" y="522"/>
                  </a:lnTo>
                  <a:lnTo>
                    <a:pt x="432" y="522"/>
                  </a:lnTo>
                  <a:lnTo>
                    <a:pt x="432" y="548"/>
                  </a:lnTo>
                  <a:lnTo>
                    <a:pt x="421" y="560"/>
                  </a:lnTo>
                  <a:lnTo>
                    <a:pt x="432" y="572"/>
                  </a:lnTo>
                  <a:lnTo>
                    <a:pt x="437" y="614"/>
                  </a:lnTo>
                  <a:lnTo>
                    <a:pt x="458" y="631"/>
                  </a:lnTo>
                  <a:lnTo>
                    <a:pt x="470" y="659"/>
                  </a:lnTo>
                  <a:lnTo>
                    <a:pt x="458" y="659"/>
                  </a:lnTo>
                  <a:lnTo>
                    <a:pt x="475" y="683"/>
                  </a:lnTo>
                  <a:lnTo>
                    <a:pt x="529" y="737"/>
                  </a:lnTo>
                  <a:lnTo>
                    <a:pt x="529" y="770"/>
                  </a:lnTo>
                  <a:lnTo>
                    <a:pt x="539" y="782"/>
                  </a:lnTo>
                  <a:lnTo>
                    <a:pt x="529" y="794"/>
                  </a:lnTo>
                  <a:lnTo>
                    <a:pt x="539" y="827"/>
                  </a:lnTo>
                  <a:lnTo>
                    <a:pt x="529" y="832"/>
                  </a:lnTo>
                  <a:lnTo>
                    <a:pt x="508" y="810"/>
                  </a:lnTo>
                  <a:lnTo>
                    <a:pt x="449" y="798"/>
                  </a:lnTo>
                  <a:lnTo>
                    <a:pt x="421" y="794"/>
                  </a:lnTo>
                  <a:lnTo>
                    <a:pt x="340" y="794"/>
                  </a:lnTo>
                  <a:lnTo>
                    <a:pt x="328" y="782"/>
                  </a:lnTo>
                  <a:lnTo>
                    <a:pt x="295" y="782"/>
                  </a:lnTo>
                  <a:lnTo>
                    <a:pt x="269" y="782"/>
                  </a:lnTo>
                  <a:lnTo>
                    <a:pt x="199" y="782"/>
                  </a:lnTo>
                  <a:lnTo>
                    <a:pt x="199" y="794"/>
                  </a:lnTo>
                  <a:lnTo>
                    <a:pt x="106" y="794"/>
                  </a:lnTo>
                  <a:lnTo>
                    <a:pt x="90" y="777"/>
                  </a:lnTo>
                  <a:lnTo>
                    <a:pt x="106" y="725"/>
                  </a:lnTo>
                  <a:lnTo>
                    <a:pt x="97" y="716"/>
                  </a:lnTo>
                  <a:lnTo>
                    <a:pt x="80" y="687"/>
                  </a:lnTo>
                  <a:lnTo>
                    <a:pt x="90" y="687"/>
                  </a:lnTo>
                  <a:lnTo>
                    <a:pt x="80" y="687"/>
                  </a:lnTo>
                  <a:lnTo>
                    <a:pt x="76" y="671"/>
                  </a:lnTo>
                  <a:lnTo>
                    <a:pt x="80" y="666"/>
                  </a:lnTo>
                  <a:lnTo>
                    <a:pt x="69" y="650"/>
                  </a:lnTo>
                  <a:lnTo>
                    <a:pt x="76" y="659"/>
                  </a:lnTo>
                  <a:lnTo>
                    <a:pt x="69" y="666"/>
                  </a:lnTo>
                  <a:lnTo>
                    <a:pt x="38" y="650"/>
                  </a:lnTo>
                  <a:lnTo>
                    <a:pt x="26" y="614"/>
                  </a:lnTo>
                  <a:lnTo>
                    <a:pt x="21" y="609"/>
                  </a:lnTo>
                  <a:lnTo>
                    <a:pt x="26" y="614"/>
                  </a:lnTo>
                  <a:lnTo>
                    <a:pt x="14" y="609"/>
                  </a:lnTo>
                  <a:lnTo>
                    <a:pt x="14" y="626"/>
                  </a:lnTo>
                  <a:lnTo>
                    <a:pt x="0" y="614"/>
                  </a:lnTo>
                  <a:lnTo>
                    <a:pt x="5" y="605"/>
                  </a:lnTo>
                  <a:lnTo>
                    <a:pt x="5" y="605"/>
                  </a:lnTo>
                  <a:lnTo>
                    <a:pt x="5" y="605"/>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8" name="Freeform 417">
              <a:extLst>
                <a:ext uri="{FF2B5EF4-FFF2-40B4-BE49-F238E27FC236}">
                  <a16:creationId xmlns:a16="http://schemas.microsoft.com/office/drawing/2014/main" id="{7B414860-C0A1-4EBF-984A-34BCC39D43E2}"/>
                </a:ext>
              </a:extLst>
            </p:cNvPr>
            <p:cNvSpPr>
              <a:spLocks noEditPoints="1"/>
            </p:cNvSpPr>
            <p:nvPr/>
          </p:nvSpPr>
          <p:spPr bwMode="gray">
            <a:xfrm>
              <a:off x="14736529" y="4384426"/>
              <a:ext cx="30111" cy="23893"/>
            </a:xfrm>
            <a:custGeom>
              <a:avLst/>
              <a:gdLst>
                <a:gd name="T0" fmla="*/ 16 w 92"/>
                <a:gd name="T1" fmla="*/ 40 h 73"/>
                <a:gd name="T2" fmla="*/ 0 w 92"/>
                <a:gd name="T3" fmla="*/ 21 h 73"/>
                <a:gd name="T4" fmla="*/ 0 w 92"/>
                <a:gd name="T5" fmla="*/ 0 h 73"/>
                <a:gd name="T6" fmla="*/ 16 w 92"/>
                <a:gd name="T7" fmla="*/ 0 h 73"/>
                <a:gd name="T8" fmla="*/ 16 w 92"/>
                <a:gd name="T9" fmla="*/ 40 h 73"/>
                <a:gd name="T10" fmla="*/ 16 w 92"/>
                <a:gd name="T11" fmla="*/ 40 h 73"/>
                <a:gd name="T12" fmla="*/ 16 w 92"/>
                <a:gd name="T13" fmla="*/ 40 h 73"/>
                <a:gd name="T14" fmla="*/ 92 w 92"/>
                <a:gd name="T15" fmla="*/ 73 h 73"/>
                <a:gd name="T16" fmla="*/ 70 w 92"/>
                <a:gd name="T17" fmla="*/ 56 h 73"/>
                <a:gd name="T18" fmla="*/ 80 w 92"/>
                <a:gd name="T19" fmla="*/ 56 h 73"/>
                <a:gd name="T20" fmla="*/ 85 w 92"/>
                <a:gd name="T21" fmla="*/ 49 h 73"/>
                <a:gd name="T22" fmla="*/ 92 w 92"/>
                <a:gd name="T23" fmla="*/ 73 h 73"/>
                <a:gd name="T24" fmla="*/ 92 w 92"/>
                <a:gd name="T25" fmla="*/ 73 h 73"/>
                <a:gd name="T26" fmla="*/ 92 w 92"/>
                <a:gd name="T27" fmla="*/ 73 h 73"/>
                <a:gd name="T28" fmla="*/ 49 w 92"/>
                <a:gd name="T29" fmla="*/ 73 h 73"/>
                <a:gd name="T30" fmla="*/ 33 w 92"/>
                <a:gd name="T31" fmla="*/ 73 h 73"/>
                <a:gd name="T32" fmla="*/ 33 w 92"/>
                <a:gd name="T33" fmla="*/ 66 h 73"/>
                <a:gd name="T34" fmla="*/ 49 w 92"/>
                <a:gd name="T35" fmla="*/ 73 h 73"/>
                <a:gd name="T36" fmla="*/ 49 w 92"/>
                <a:gd name="T37" fmla="*/ 73 h 73"/>
                <a:gd name="T38" fmla="*/ 49 w 92"/>
                <a:gd name="T3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 h="73">
                  <a:moveTo>
                    <a:pt x="16" y="40"/>
                  </a:moveTo>
                  <a:lnTo>
                    <a:pt x="0" y="21"/>
                  </a:lnTo>
                  <a:lnTo>
                    <a:pt x="0" y="0"/>
                  </a:lnTo>
                  <a:lnTo>
                    <a:pt x="16" y="0"/>
                  </a:lnTo>
                  <a:lnTo>
                    <a:pt x="16" y="40"/>
                  </a:lnTo>
                  <a:lnTo>
                    <a:pt x="16" y="40"/>
                  </a:lnTo>
                  <a:lnTo>
                    <a:pt x="16" y="40"/>
                  </a:lnTo>
                  <a:close/>
                  <a:moveTo>
                    <a:pt x="92" y="73"/>
                  </a:moveTo>
                  <a:lnTo>
                    <a:pt x="70" y="56"/>
                  </a:lnTo>
                  <a:lnTo>
                    <a:pt x="80" y="56"/>
                  </a:lnTo>
                  <a:lnTo>
                    <a:pt x="85" y="49"/>
                  </a:lnTo>
                  <a:lnTo>
                    <a:pt x="92" y="73"/>
                  </a:lnTo>
                  <a:lnTo>
                    <a:pt x="92" y="73"/>
                  </a:lnTo>
                  <a:lnTo>
                    <a:pt x="92" y="73"/>
                  </a:lnTo>
                  <a:close/>
                  <a:moveTo>
                    <a:pt x="49" y="73"/>
                  </a:moveTo>
                  <a:lnTo>
                    <a:pt x="33" y="73"/>
                  </a:lnTo>
                  <a:lnTo>
                    <a:pt x="33" y="66"/>
                  </a:lnTo>
                  <a:lnTo>
                    <a:pt x="49" y="73"/>
                  </a:lnTo>
                  <a:lnTo>
                    <a:pt x="49" y="73"/>
                  </a:lnTo>
                  <a:lnTo>
                    <a:pt x="49" y="73"/>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9" name="Freeform 418">
              <a:extLst>
                <a:ext uri="{FF2B5EF4-FFF2-40B4-BE49-F238E27FC236}">
                  <a16:creationId xmlns:a16="http://schemas.microsoft.com/office/drawing/2014/main" id="{642A3839-40C1-49B1-A12D-289C1810751F}"/>
                </a:ext>
              </a:extLst>
            </p:cNvPr>
            <p:cNvSpPr>
              <a:spLocks noEditPoints="1"/>
            </p:cNvSpPr>
            <p:nvPr/>
          </p:nvSpPr>
          <p:spPr bwMode="gray">
            <a:xfrm>
              <a:off x="11927669" y="3820821"/>
              <a:ext cx="280493" cy="393411"/>
            </a:xfrm>
            <a:custGeom>
              <a:avLst/>
              <a:gdLst>
                <a:gd name="T0" fmla="*/ 92 w 857"/>
                <a:gd name="T1" fmla="*/ 337 h 1202"/>
                <a:gd name="T2" fmla="*/ 134 w 857"/>
                <a:gd name="T3" fmla="*/ 321 h 1202"/>
                <a:gd name="T4" fmla="*/ 146 w 857"/>
                <a:gd name="T5" fmla="*/ 304 h 1202"/>
                <a:gd name="T6" fmla="*/ 163 w 857"/>
                <a:gd name="T7" fmla="*/ 288 h 1202"/>
                <a:gd name="T8" fmla="*/ 243 w 857"/>
                <a:gd name="T9" fmla="*/ 212 h 1202"/>
                <a:gd name="T10" fmla="*/ 269 w 857"/>
                <a:gd name="T11" fmla="*/ 122 h 1202"/>
                <a:gd name="T12" fmla="*/ 323 w 857"/>
                <a:gd name="T13" fmla="*/ 101 h 1202"/>
                <a:gd name="T14" fmla="*/ 335 w 857"/>
                <a:gd name="T15" fmla="*/ 122 h 1202"/>
                <a:gd name="T16" fmla="*/ 479 w 857"/>
                <a:gd name="T17" fmla="*/ 40 h 1202"/>
                <a:gd name="T18" fmla="*/ 496 w 857"/>
                <a:gd name="T19" fmla="*/ 11 h 1202"/>
                <a:gd name="T20" fmla="*/ 517 w 857"/>
                <a:gd name="T21" fmla="*/ 0 h 1202"/>
                <a:gd name="T22" fmla="*/ 503 w 857"/>
                <a:gd name="T23" fmla="*/ 56 h 1202"/>
                <a:gd name="T24" fmla="*/ 427 w 857"/>
                <a:gd name="T25" fmla="*/ 193 h 1202"/>
                <a:gd name="T26" fmla="*/ 441 w 857"/>
                <a:gd name="T27" fmla="*/ 245 h 1202"/>
                <a:gd name="T28" fmla="*/ 465 w 857"/>
                <a:gd name="T29" fmla="*/ 321 h 1202"/>
                <a:gd name="T30" fmla="*/ 524 w 857"/>
                <a:gd name="T31" fmla="*/ 389 h 1202"/>
                <a:gd name="T32" fmla="*/ 630 w 857"/>
                <a:gd name="T33" fmla="*/ 394 h 1202"/>
                <a:gd name="T34" fmla="*/ 701 w 857"/>
                <a:gd name="T35" fmla="*/ 448 h 1202"/>
                <a:gd name="T36" fmla="*/ 819 w 857"/>
                <a:gd name="T37" fmla="*/ 448 h 1202"/>
                <a:gd name="T38" fmla="*/ 789 w 857"/>
                <a:gd name="T39" fmla="*/ 510 h 1202"/>
                <a:gd name="T40" fmla="*/ 827 w 857"/>
                <a:gd name="T41" fmla="*/ 654 h 1202"/>
                <a:gd name="T42" fmla="*/ 836 w 857"/>
                <a:gd name="T43" fmla="*/ 732 h 1202"/>
                <a:gd name="T44" fmla="*/ 827 w 857"/>
                <a:gd name="T45" fmla="*/ 744 h 1202"/>
                <a:gd name="T46" fmla="*/ 756 w 857"/>
                <a:gd name="T47" fmla="*/ 765 h 1202"/>
                <a:gd name="T48" fmla="*/ 647 w 857"/>
                <a:gd name="T49" fmla="*/ 819 h 1202"/>
                <a:gd name="T50" fmla="*/ 685 w 857"/>
                <a:gd name="T51" fmla="*/ 852 h 1202"/>
                <a:gd name="T52" fmla="*/ 664 w 857"/>
                <a:gd name="T53" fmla="*/ 930 h 1202"/>
                <a:gd name="T54" fmla="*/ 642 w 857"/>
                <a:gd name="T55" fmla="*/ 1202 h 1202"/>
                <a:gd name="T56" fmla="*/ 630 w 857"/>
                <a:gd name="T57" fmla="*/ 1098 h 1202"/>
                <a:gd name="T58" fmla="*/ 541 w 857"/>
                <a:gd name="T59" fmla="*/ 1070 h 1202"/>
                <a:gd name="T60" fmla="*/ 479 w 857"/>
                <a:gd name="T61" fmla="*/ 1074 h 1202"/>
                <a:gd name="T62" fmla="*/ 415 w 857"/>
                <a:gd name="T63" fmla="*/ 1070 h 1202"/>
                <a:gd name="T64" fmla="*/ 411 w 857"/>
                <a:gd name="T65" fmla="*/ 1037 h 1202"/>
                <a:gd name="T66" fmla="*/ 340 w 857"/>
                <a:gd name="T67" fmla="*/ 970 h 1202"/>
                <a:gd name="T68" fmla="*/ 297 w 857"/>
                <a:gd name="T69" fmla="*/ 914 h 1202"/>
                <a:gd name="T70" fmla="*/ 215 w 857"/>
                <a:gd name="T71" fmla="*/ 876 h 1202"/>
                <a:gd name="T72" fmla="*/ 177 w 857"/>
                <a:gd name="T73" fmla="*/ 888 h 1202"/>
                <a:gd name="T74" fmla="*/ 101 w 857"/>
                <a:gd name="T75" fmla="*/ 836 h 1202"/>
                <a:gd name="T76" fmla="*/ 16 w 857"/>
                <a:gd name="T77" fmla="*/ 786 h 1202"/>
                <a:gd name="T78" fmla="*/ 38 w 857"/>
                <a:gd name="T79" fmla="*/ 760 h 1202"/>
                <a:gd name="T80" fmla="*/ 54 w 857"/>
                <a:gd name="T81" fmla="*/ 720 h 1202"/>
                <a:gd name="T82" fmla="*/ 87 w 857"/>
                <a:gd name="T83" fmla="*/ 708 h 1202"/>
                <a:gd name="T84" fmla="*/ 118 w 857"/>
                <a:gd name="T85" fmla="*/ 654 h 1202"/>
                <a:gd name="T86" fmla="*/ 125 w 857"/>
                <a:gd name="T87" fmla="*/ 616 h 1202"/>
                <a:gd name="T88" fmla="*/ 118 w 857"/>
                <a:gd name="T89" fmla="*/ 609 h 1202"/>
                <a:gd name="T90" fmla="*/ 125 w 857"/>
                <a:gd name="T91" fmla="*/ 567 h 1202"/>
                <a:gd name="T92" fmla="*/ 134 w 857"/>
                <a:gd name="T93" fmla="*/ 482 h 1202"/>
                <a:gd name="T94" fmla="*/ 125 w 857"/>
                <a:gd name="T95" fmla="*/ 427 h 1202"/>
                <a:gd name="T96" fmla="*/ 118 w 857"/>
                <a:gd name="T97" fmla="*/ 583 h 1202"/>
                <a:gd name="T98" fmla="*/ 118 w 857"/>
                <a:gd name="T99" fmla="*/ 583 h 1202"/>
                <a:gd name="T100" fmla="*/ 118 w 857"/>
                <a:gd name="T101" fmla="*/ 609 h 1202"/>
                <a:gd name="T102" fmla="*/ 118 w 857"/>
                <a:gd name="T103" fmla="*/ 666 h 1202"/>
                <a:gd name="T104" fmla="*/ 118 w 857"/>
                <a:gd name="T105" fmla="*/ 666 h 1202"/>
                <a:gd name="T106" fmla="*/ 108 w 857"/>
                <a:gd name="T107" fmla="*/ 675 h 1202"/>
                <a:gd name="T108" fmla="*/ 108 w 857"/>
                <a:gd name="T109" fmla="*/ 671 h 1202"/>
                <a:gd name="T110" fmla="*/ 87 w 857"/>
                <a:gd name="T111" fmla="*/ 708 h 1202"/>
                <a:gd name="T112" fmla="*/ 71 w 857"/>
                <a:gd name="T113" fmla="*/ 708 h 1202"/>
                <a:gd name="T114" fmla="*/ 80 w 857"/>
                <a:gd name="T115" fmla="*/ 720 h 1202"/>
                <a:gd name="T116" fmla="*/ 71 w 857"/>
                <a:gd name="T117" fmla="*/ 72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7" h="1202">
                  <a:moveTo>
                    <a:pt x="87" y="378"/>
                  </a:moveTo>
                  <a:lnTo>
                    <a:pt x="92" y="361"/>
                  </a:lnTo>
                  <a:lnTo>
                    <a:pt x="92" y="354"/>
                  </a:lnTo>
                  <a:lnTo>
                    <a:pt x="92" y="337"/>
                  </a:lnTo>
                  <a:lnTo>
                    <a:pt x="108" y="354"/>
                  </a:lnTo>
                  <a:lnTo>
                    <a:pt x="125" y="345"/>
                  </a:lnTo>
                  <a:lnTo>
                    <a:pt x="125" y="337"/>
                  </a:lnTo>
                  <a:lnTo>
                    <a:pt x="134" y="321"/>
                  </a:lnTo>
                  <a:lnTo>
                    <a:pt x="134" y="316"/>
                  </a:lnTo>
                  <a:lnTo>
                    <a:pt x="118" y="283"/>
                  </a:lnTo>
                  <a:lnTo>
                    <a:pt x="125" y="278"/>
                  </a:lnTo>
                  <a:lnTo>
                    <a:pt x="146" y="304"/>
                  </a:lnTo>
                  <a:lnTo>
                    <a:pt x="156" y="316"/>
                  </a:lnTo>
                  <a:lnTo>
                    <a:pt x="156" y="321"/>
                  </a:lnTo>
                  <a:lnTo>
                    <a:pt x="163" y="333"/>
                  </a:lnTo>
                  <a:lnTo>
                    <a:pt x="163" y="288"/>
                  </a:lnTo>
                  <a:lnTo>
                    <a:pt x="156" y="283"/>
                  </a:lnTo>
                  <a:lnTo>
                    <a:pt x="193" y="250"/>
                  </a:lnTo>
                  <a:lnTo>
                    <a:pt x="210" y="229"/>
                  </a:lnTo>
                  <a:lnTo>
                    <a:pt x="243" y="212"/>
                  </a:lnTo>
                  <a:lnTo>
                    <a:pt x="248" y="205"/>
                  </a:lnTo>
                  <a:lnTo>
                    <a:pt x="243" y="193"/>
                  </a:lnTo>
                  <a:lnTo>
                    <a:pt x="252" y="134"/>
                  </a:lnTo>
                  <a:lnTo>
                    <a:pt x="269" y="122"/>
                  </a:lnTo>
                  <a:lnTo>
                    <a:pt x="269" y="118"/>
                  </a:lnTo>
                  <a:lnTo>
                    <a:pt x="286" y="111"/>
                  </a:lnTo>
                  <a:lnTo>
                    <a:pt x="297" y="94"/>
                  </a:lnTo>
                  <a:lnTo>
                    <a:pt x="323" y="101"/>
                  </a:lnTo>
                  <a:lnTo>
                    <a:pt x="340" y="101"/>
                  </a:lnTo>
                  <a:lnTo>
                    <a:pt x="319" y="111"/>
                  </a:lnTo>
                  <a:lnTo>
                    <a:pt x="319" y="118"/>
                  </a:lnTo>
                  <a:lnTo>
                    <a:pt x="335" y="122"/>
                  </a:lnTo>
                  <a:lnTo>
                    <a:pt x="352" y="78"/>
                  </a:lnTo>
                  <a:lnTo>
                    <a:pt x="411" y="85"/>
                  </a:lnTo>
                  <a:lnTo>
                    <a:pt x="449" y="56"/>
                  </a:lnTo>
                  <a:lnTo>
                    <a:pt x="479" y="40"/>
                  </a:lnTo>
                  <a:lnTo>
                    <a:pt x="486" y="23"/>
                  </a:lnTo>
                  <a:lnTo>
                    <a:pt x="486" y="11"/>
                  </a:lnTo>
                  <a:lnTo>
                    <a:pt x="503" y="11"/>
                  </a:lnTo>
                  <a:lnTo>
                    <a:pt x="496" y="11"/>
                  </a:lnTo>
                  <a:lnTo>
                    <a:pt x="503" y="23"/>
                  </a:lnTo>
                  <a:lnTo>
                    <a:pt x="524" y="0"/>
                  </a:lnTo>
                  <a:lnTo>
                    <a:pt x="517" y="0"/>
                  </a:lnTo>
                  <a:lnTo>
                    <a:pt x="517" y="0"/>
                  </a:lnTo>
                  <a:lnTo>
                    <a:pt x="555" y="7"/>
                  </a:lnTo>
                  <a:lnTo>
                    <a:pt x="555" y="28"/>
                  </a:lnTo>
                  <a:lnTo>
                    <a:pt x="550" y="40"/>
                  </a:lnTo>
                  <a:lnTo>
                    <a:pt x="503" y="56"/>
                  </a:lnTo>
                  <a:lnTo>
                    <a:pt x="486" y="85"/>
                  </a:lnTo>
                  <a:lnTo>
                    <a:pt x="465" y="94"/>
                  </a:lnTo>
                  <a:lnTo>
                    <a:pt x="432" y="139"/>
                  </a:lnTo>
                  <a:lnTo>
                    <a:pt x="427" y="193"/>
                  </a:lnTo>
                  <a:lnTo>
                    <a:pt x="404" y="234"/>
                  </a:lnTo>
                  <a:lnTo>
                    <a:pt x="427" y="229"/>
                  </a:lnTo>
                  <a:lnTo>
                    <a:pt x="432" y="234"/>
                  </a:lnTo>
                  <a:lnTo>
                    <a:pt x="441" y="245"/>
                  </a:lnTo>
                  <a:lnTo>
                    <a:pt x="449" y="278"/>
                  </a:lnTo>
                  <a:lnTo>
                    <a:pt x="470" y="288"/>
                  </a:lnTo>
                  <a:lnTo>
                    <a:pt x="470" y="316"/>
                  </a:lnTo>
                  <a:lnTo>
                    <a:pt x="465" y="321"/>
                  </a:lnTo>
                  <a:lnTo>
                    <a:pt x="465" y="354"/>
                  </a:lnTo>
                  <a:lnTo>
                    <a:pt x="486" y="373"/>
                  </a:lnTo>
                  <a:lnTo>
                    <a:pt x="496" y="394"/>
                  </a:lnTo>
                  <a:lnTo>
                    <a:pt x="524" y="389"/>
                  </a:lnTo>
                  <a:lnTo>
                    <a:pt x="555" y="394"/>
                  </a:lnTo>
                  <a:lnTo>
                    <a:pt x="588" y="389"/>
                  </a:lnTo>
                  <a:lnTo>
                    <a:pt x="621" y="394"/>
                  </a:lnTo>
                  <a:lnTo>
                    <a:pt x="630" y="394"/>
                  </a:lnTo>
                  <a:lnTo>
                    <a:pt x="680" y="456"/>
                  </a:lnTo>
                  <a:lnTo>
                    <a:pt x="685" y="456"/>
                  </a:lnTo>
                  <a:lnTo>
                    <a:pt x="697" y="456"/>
                  </a:lnTo>
                  <a:lnTo>
                    <a:pt x="701" y="448"/>
                  </a:lnTo>
                  <a:lnTo>
                    <a:pt x="734" y="456"/>
                  </a:lnTo>
                  <a:lnTo>
                    <a:pt x="782" y="448"/>
                  </a:lnTo>
                  <a:lnTo>
                    <a:pt x="789" y="444"/>
                  </a:lnTo>
                  <a:lnTo>
                    <a:pt x="819" y="448"/>
                  </a:lnTo>
                  <a:lnTo>
                    <a:pt x="819" y="465"/>
                  </a:lnTo>
                  <a:lnTo>
                    <a:pt x="805" y="482"/>
                  </a:lnTo>
                  <a:lnTo>
                    <a:pt x="805" y="498"/>
                  </a:lnTo>
                  <a:lnTo>
                    <a:pt x="789" y="510"/>
                  </a:lnTo>
                  <a:lnTo>
                    <a:pt x="789" y="567"/>
                  </a:lnTo>
                  <a:lnTo>
                    <a:pt x="805" y="621"/>
                  </a:lnTo>
                  <a:lnTo>
                    <a:pt x="810" y="633"/>
                  </a:lnTo>
                  <a:lnTo>
                    <a:pt x="827" y="654"/>
                  </a:lnTo>
                  <a:lnTo>
                    <a:pt x="789" y="692"/>
                  </a:lnTo>
                  <a:lnTo>
                    <a:pt x="805" y="692"/>
                  </a:lnTo>
                  <a:lnTo>
                    <a:pt x="836" y="727"/>
                  </a:lnTo>
                  <a:lnTo>
                    <a:pt x="836" y="732"/>
                  </a:lnTo>
                  <a:lnTo>
                    <a:pt x="857" y="815"/>
                  </a:lnTo>
                  <a:lnTo>
                    <a:pt x="843" y="815"/>
                  </a:lnTo>
                  <a:lnTo>
                    <a:pt x="843" y="782"/>
                  </a:lnTo>
                  <a:lnTo>
                    <a:pt x="827" y="744"/>
                  </a:lnTo>
                  <a:lnTo>
                    <a:pt x="819" y="744"/>
                  </a:lnTo>
                  <a:lnTo>
                    <a:pt x="789" y="777"/>
                  </a:lnTo>
                  <a:lnTo>
                    <a:pt x="767" y="760"/>
                  </a:lnTo>
                  <a:lnTo>
                    <a:pt x="756" y="765"/>
                  </a:lnTo>
                  <a:lnTo>
                    <a:pt x="767" y="777"/>
                  </a:lnTo>
                  <a:lnTo>
                    <a:pt x="675" y="765"/>
                  </a:lnTo>
                  <a:lnTo>
                    <a:pt x="647" y="777"/>
                  </a:lnTo>
                  <a:lnTo>
                    <a:pt x="647" y="819"/>
                  </a:lnTo>
                  <a:lnTo>
                    <a:pt x="685" y="819"/>
                  </a:lnTo>
                  <a:lnTo>
                    <a:pt x="697" y="836"/>
                  </a:lnTo>
                  <a:lnTo>
                    <a:pt x="701" y="852"/>
                  </a:lnTo>
                  <a:lnTo>
                    <a:pt x="685" y="852"/>
                  </a:lnTo>
                  <a:lnTo>
                    <a:pt x="680" y="848"/>
                  </a:lnTo>
                  <a:lnTo>
                    <a:pt x="630" y="852"/>
                  </a:lnTo>
                  <a:lnTo>
                    <a:pt x="630" y="909"/>
                  </a:lnTo>
                  <a:lnTo>
                    <a:pt x="664" y="930"/>
                  </a:lnTo>
                  <a:lnTo>
                    <a:pt x="664" y="947"/>
                  </a:lnTo>
                  <a:lnTo>
                    <a:pt x="680" y="970"/>
                  </a:lnTo>
                  <a:lnTo>
                    <a:pt x="680" y="996"/>
                  </a:lnTo>
                  <a:lnTo>
                    <a:pt x="642" y="1202"/>
                  </a:lnTo>
                  <a:lnTo>
                    <a:pt x="621" y="1169"/>
                  </a:lnTo>
                  <a:lnTo>
                    <a:pt x="604" y="1181"/>
                  </a:lnTo>
                  <a:lnTo>
                    <a:pt x="588" y="1169"/>
                  </a:lnTo>
                  <a:lnTo>
                    <a:pt x="630" y="1098"/>
                  </a:lnTo>
                  <a:lnTo>
                    <a:pt x="621" y="1074"/>
                  </a:lnTo>
                  <a:lnTo>
                    <a:pt x="593" y="1074"/>
                  </a:lnTo>
                  <a:lnTo>
                    <a:pt x="578" y="1058"/>
                  </a:lnTo>
                  <a:lnTo>
                    <a:pt x="541" y="1070"/>
                  </a:lnTo>
                  <a:lnTo>
                    <a:pt x="517" y="1058"/>
                  </a:lnTo>
                  <a:lnTo>
                    <a:pt x="517" y="1053"/>
                  </a:lnTo>
                  <a:lnTo>
                    <a:pt x="503" y="1070"/>
                  </a:lnTo>
                  <a:lnTo>
                    <a:pt x="479" y="1074"/>
                  </a:lnTo>
                  <a:lnTo>
                    <a:pt x="458" y="1070"/>
                  </a:lnTo>
                  <a:lnTo>
                    <a:pt x="432" y="1074"/>
                  </a:lnTo>
                  <a:lnTo>
                    <a:pt x="432" y="1070"/>
                  </a:lnTo>
                  <a:lnTo>
                    <a:pt x="415" y="1070"/>
                  </a:lnTo>
                  <a:lnTo>
                    <a:pt x="427" y="1053"/>
                  </a:lnTo>
                  <a:lnTo>
                    <a:pt x="415" y="1025"/>
                  </a:lnTo>
                  <a:lnTo>
                    <a:pt x="415" y="1025"/>
                  </a:lnTo>
                  <a:lnTo>
                    <a:pt x="411" y="1037"/>
                  </a:lnTo>
                  <a:lnTo>
                    <a:pt x="394" y="1020"/>
                  </a:lnTo>
                  <a:lnTo>
                    <a:pt x="394" y="1013"/>
                  </a:lnTo>
                  <a:lnTo>
                    <a:pt x="389" y="996"/>
                  </a:lnTo>
                  <a:lnTo>
                    <a:pt x="340" y="970"/>
                  </a:lnTo>
                  <a:lnTo>
                    <a:pt x="335" y="942"/>
                  </a:lnTo>
                  <a:lnTo>
                    <a:pt x="307" y="926"/>
                  </a:lnTo>
                  <a:lnTo>
                    <a:pt x="302" y="909"/>
                  </a:lnTo>
                  <a:lnTo>
                    <a:pt x="297" y="914"/>
                  </a:lnTo>
                  <a:lnTo>
                    <a:pt x="269" y="904"/>
                  </a:lnTo>
                  <a:lnTo>
                    <a:pt x="269" y="909"/>
                  </a:lnTo>
                  <a:lnTo>
                    <a:pt x="231" y="893"/>
                  </a:lnTo>
                  <a:lnTo>
                    <a:pt x="215" y="876"/>
                  </a:lnTo>
                  <a:lnTo>
                    <a:pt x="201" y="869"/>
                  </a:lnTo>
                  <a:lnTo>
                    <a:pt x="189" y="869"/>
                  </a:lnTo>
                  <a:lnTo>
                    <a:pt x="189" y="876"/>
                  </a:lnTo>
                  <a:lnTo>
                    <a:pt x="177" y="888"/>
                  </a:lnTo>
                  <a:lnTo>
                    <a:pt x="125" y="869"/>
                  </a:lnTo>
                  <a:lnTo>
                    <a:pt x="118" y="852"/>
                  </a:lnTo>
                  <a:lnTo>
                    <a:pt x="101" y="848"/>
                  </a:lnTo>
                  <a:lnTo>
                    <a:pt x="101" y="836"/>
                  </a:lnTo>
                  <a:lnTo>
                    <a:pt x="87" y="836"/>
                  </a:lnTo>
                  <a:lnTo>
                    <a:pt x="71" y="831"/>
                  </a:lnTo>
                  <a:lnTo>
                    <a:pt x="26" y="798"/>
                  </a:lnTo>
                  <a:lnTo>
                    <a:pt x="16" y="786"/>
                  </a:lnTo>
                  <a:lnTo>
                    <a:pt x="0" y="782"/>
                  </a:lnTo>
                  <a:lnTo>
                    <a:pt x="16" y="765"/>
                  </a:lnTo>
                  <a:lnTo>
                    <a:pt x="38" y="777"/>
                  </a:lnTo>
                  <a:lnTo>
                    <a:pt x="38" y="760"/>
                  </a:lnTo>
                  <a:lnTo>
                    <a:pt x="33" y="744"/>
                  </a:lnTo>
                  <a:lnTo>
                    <a:pt x="38" y="727"/>
                  </a:lnTo>
                  <a:lnTo>
                    <a:pt x="49" y="720"/>
                  </a:lnTo>
                  <a:lnTo>
                    <a:pt x="54" y="720"/>
                  </a:lnTo>
                  <a:lnTo>
                    <a:pt x="64" y="720"/>
                  </a:lnTo>
                  <a:lnTo>
                    <a:pt x="80" y="720"/>
                  </a:lnTo>
                  <a:lnTo>
                    <a:pt x="80" y="704"/>
                  </a:lnTo>
                  <a:lnTo>
                    <a:pt x="87" y="708"/>
                  </a:lnTo>
                  <a:lnTo>
                    <a:pt x="92" y="708"/>
                  </a:lnTo>
                  <a:lnTo>
                    <a:pt x="92" y="704"/>
                  </a:lnTo>
                  <a:lnTo>
                    <a:pt x="118" y="666"/>
                  </a:lnTo>
                  <a:lnTo>
                    <a:pt x="118" y="654"/>
                  </a:lnTo>
                  <a:lnTo>
                    <a:pt x="139" y="633"/>
                  </a:lnTo>
                  <a:lnTo>
                    <a:pt x="146" y="616"/>
                  </a:lnTo>
                  <a:lnTo>
                    <a:pt x="134" y="621"/>
                  </a:lnTo>
                  <a:lnTo>
                    <a:pt x="125" y="616"/>
                  </a:lnTo>
                  <a:lnTo>
                    <a:pt x="134" y="609"/>
                  </a:lnTo>
                  <a:lnTo>
                    <a:pt x="134" y="600"/>
                  </a:lnTo>
                  <a:lnTo>
                    <a:pt x="125" y="616"/>
                  </a:lnTo>
                  <a:lnTo>
                    <a:pt x="118" y="609"/>
                  </a:lnTo>
                  <a:lnTo>
                    <a:pt x="118" y="600"/>
                  </a:lnTo>
                  <a:lnTo>
                    <a:pt x="134" y="593"/>
                  </a:lnTo>
                  <a:lnTo>
                    <a:pt x="118" y="583"/>
                  </a:lnTo>
                  <a:lnTo>
                    <a:pt x="125" y="567"/>
                  </a:lnTo>
                  <a:lnTo>
                    <a:pt x="125" y="522"/>
                  </a:lnTo>
                  <a:lnTo>
                    <a:pt x="118" y="505"/>
                  </a:lnTo>
                  <a:lnTo>
                    <a:pt x="108" y="498"/>
                  </a:lnTo>
                  <a:lnTo>
                    <a:pt x="134" y="482"/>
                  </a:lnTo>
                  <a:lnTo>
                    <a:pt x="118" y="448"/>
                  </a:lnTo>
                  <a:lnTo>
                    <a:pt x="118" y="444"/>
                  </a:lnTo>
                  <a:lnTo>
                    <a:pt x="118" y="448"/>
                  </a:lnTo>
                  <a:lnTo>
                    <a:pt x="125" y="427"/>
                  </a:lnTo>
                  <a:lnTo>
                    <a:pt x="87" y="378"/>
                  </a:lnTo>
                  <a:lnTo>
                    <a:pt x="87" y="378"/>
                  </a:lnTo>
                  <a:lnTo>
                    <a:pt x="87" y="378"/>
                  </a:lnTo>
                  <a:close/>
                  <a:moveTo>
                    <a:pt x="118" y="583"/>
                  </a:moveTo>
                  <a:lnTo>
                    <a:pt x="125" y="593"/>
                  </a:lnTo>
                  <a:lnTo>
                    <a:pt x="108" y="593"/>
                  </a:lnTo>
                  <a:lnTo>
                    <a:pt x="118" y="583"/>
                  </a:lnTo>
                  <a:lnTo>
                    <a:pt x="118" y="583"/>
                  </a:lnTo>
                  <a:lnTo>
                    <a:pt x="118" y="583"/>
                  </a:lnTo>
                  <a:close/>
                  <a:moveTo>
                    <a:pt x="108" y="600"/>
                  </a:moveTo>
                  <a:lnTo>
                    <a:pt x="118" y="600"/>
                  </a:lnTo>
                  <a:lnTo>
                    <a:pt x="118" y="609"/>
                  </a:lnTo>
                  <a:lnTo>
                    <a:pt x="108" y="600"/>
                  </a:lnTo>
                  <a:lnTo>
                    <a:pt x="108" y="600"/>
                  </a:lnTo>
                  <a:lnTo>
                    <a:pt x="108" y="600"/>
                  </a:lnTo>
                  <a:close/>
                  <a:moveTo>
                    <a:pt x="118" y="666"/>
                  </a:moveTo>
                  <a:lnTo>
                    <a:pt x="108" y="666"/>
                  </a:lnTo>
                  <a:lnTo>
                    <a:pt x="118" y="666"/>
                  </a:lnTo>
                  <a:lnTo>
                    <a:pt x="118" y="666"/>
                  </a:lnTo>
                  <a:lnTo>
                    <a:pt x="118" y="666"/>
                  </a:lnTo>
                  <a:lnTo>
                    <a:pt x="118" y="666"/>
                  </a:lnTo>
                  <a:close/>
                  <a:moveTo>
                    <a:pt x="108" y="671"/>
                  </a:moveTo>
                  <a:lnTo>
                    <a:pt x="108" y="666"/>
                  </a:lnTo>
                  <a:lnTo>
                    <a:pt x="108" y="675"/>
                  </a:lnTo>
                  <a:lnTo>
                    <a:pt x="101" y="675"/>
                  </a:lnTo>
                  <a:lnTo>
                    <a:pt x="108" y="671"/>
                  </a:lnTo>
                  <a:lnTo>
                    <a:pt x="108" y="671"/>
                  </a:lnTo>
                  <a:lnTo>
                    <a:pt x="108" y="671"/>
                  </a:lnTo>
                  <a:close/>
                  <a:moveTo>
                    <a:pt x="87" y="708"/>
                  </a:moveTo>
                  <a:lnTo>
                    <a:pt x="87" y="704"/>
                  </a:lnTo>
                  <a:lnTo>
                    <a:pt x="92" y="708"/>
                  </a:lnTo>
                  <a:lnTo>
                    <a:pt x="87" y="708"/>
                  </a:lnTo>
                  <a:lnTo>
                    <a:pt x="87" y="708"/>
                  </a:lnTo>
                  <a:lnTo>
                    <a:pt x="87" y="708"/>
                  </a:lnTo>
                  <a:close/>
                  <a:moveTo>
                    <a:pt x="80" y="720"/>
                  </a:moveTo>
                  <a:lnTo>
                    <a:pt x="71" y="708"/>
                  </a:lnTo>
                  <a:lnTo>
                    <a:pt x="80" y="704"/>
                  </a:lnTo>
                  <a:lnTo>
                    <a:pt x="80" y="720"/>
                  </a:lnTo>
                  <a:lnTo>
                    <a:pt x="80" y="720"/>
                  </a:lnTo>
                  <a:lnTo>
                    <a:pt x="80" y="720"/>
                  </a:lnTo>
                  <a:close/>
                  <a:moveTo>
                    <a:pt x="71" y="720"/>
                  </a:moveTo>
                  <a:lnTo>
                    <a:pt x="64" y="708"/>
                  </a:lnTo>
                  <a:lnTo>
                    <a:pt x="71" y="708"/>
                  </a:lnTo>
                  <a:lnTo>
                    <a:pt x="71" y="720"/>
                  </a:lnTo>
                  <a:lnTo>
                    <a:pt x="71" y="720"/>
                  </a:lnTo>
                  <a:lnTo>
                    <a:pt x="71" y="72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0" name="Freeform 419">
              <a:extLst>
                <a:ext uri="{FF2B5EF4-FFF2-40B4-BE49-F238E27FC236}">
                  <a16:creationId xmlns:a16="http://schemas.microsoft.com/office/drawing/2014/main" id="{4AE62755-6058-422A-A276-A4D8C8821B59}"/>
                </a:ext>
              </a:extLst>
            </p:cNvPr>
            <p:cNvSpPr>
              <a:spLocks noEditPoints="1"/>
            </p:cNvSpPr>
            <p:nvPr/>
          </p:nvSpPr>
          <p:spPr bwMode="gray">
            <a:xfrm>
              <a:off x="17073427" y="3751107"/>
              <a:ext cx="18656" cy="29457"/>
            </a:xfrm>
            <a:custGeom>
              <a:avLst/>
              <a:gdLst>
                <a:gd name="T0" fmla="*/ 52 w 57"/>
                <a:gd name="T1" fmla="*/ 10 h 90"/>
                <a:gd name="T2" fmla="*/ 52 w 57"/>
                <a:gd name="T3" fmla="*/ 10 h 90"/>
                <a:gd name="T4" fmla="*/ 57 w 57"/>
                <a:gd name="T5" fmla="*/ 0 h 90"/>
                <a:gd name="T6" fmla="*/ 52 w 57"/>
                <a:gd name="T7" fmla="*/ 10 h 90"/>
                <a:gd name="T8" fmla="*/ 52 w 57"/>
                <a:gd name="T9" fmla="*/ 10 h 90"/>
                <a:gd name="T10" fmla="*/ 52 w 57"/>
                <a:gd name="T11" fmla="*/ 10 h 90"/>
                <a:gd name="T12" fmla="*/ 45 w 57"/>
                <a:gd name="T13" fmla="*/ 28 h 90"/>
                <a:gd name="T14" fmla="*/ 33 w 57"/>
                <a:gd name="T15" fmla="*/ 17 h 90"/>
                <a:gd name="T16" fmla="*/ 45 w 57"/>
                <a:gd name="T17" fmla="*/ 10 h 90"/>
                <a:gd name="T18" fmla="*/ 45 w 57"/>
                <a:gd name="T19" fmla="*/ 28 h 90"/>
                <a:gd name="T20" fmla="*/ 45 w 57"/>
                <a:gd name="T21" fmla="*/ 28 h 90"/>
                <a:gd name="T22" fmla="*/ 45 w 57"/>
                <a:gd name="T23" fmla="*/ 28 h 90"/>
                <a:gd name="T24" fmla="*/ 12 w 57"/>
                <a:gd name="T25" fmla="*/ 90 h 90"/>
                <a:gd name="T26" fmla="*/ 0 w 57"/>
                <a:gd name="T27" fmla="*/ 83 h 90"/>
                <a:gd name="T28" fmla="*/ 17 w 57"/>
                <a:gd name="T29" fmla="*/ 83 h 90"/>
                <a:gd name="T30" fmla="*/ 12 w 57"/>
                <a:gd name="T31" fmla="*/ 90 h 90"/>
                <a:gd name="T32" fmla="*/ 12 w 57"/>
                <a:gd name="T33" fmla="*/ 90 h 90"/>
                <a:gd name="T34" fmla="*/ 12 w 57"/>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90">
                  <a:moveTo>
                    <a:pt x="52" y="10"/>
                  </a:moveTo>
                  <a:lnTo>
                    <a:pt x="52" y="10"/>
                  </a:lnTo>
                  <a:lnTo>
                    <a:pt x="57" y="0"/>
                  </a:lnTo>
                  <a:lnTo>
                    <a:pt x="52" y="10"/>
                  </a:lnTo>
                  <a:lnTo>
                    <a:pt x="52" y="10"/>
                  </a:lnTo>
                  <a:lnTo>
                    <a:pt x="52" y="10"/>
                  </a:lnTo>
                  <a:close/>
                  <a:moveTo>
                    <a:pt x="45" y="28"/>
                  </a:moveTo>
                  <a:lnTo>
                    <a:pt x="33" y="17"/>
                  </a:lnTo>
                  <a:lnTo>
                    <a:pt x="45" y="10"/>
                  </a:lnTo>
                  <a:lnTo>
                    <a:pt x="45" y="28"/>
                  </a:lnTo>
                  <a:lnTo>
                    <a:pt x="45" y="28"/>
                  </a:lnTo>
                  <a:lnTo>
                    <a:pt x="45" y="28"/>
                  </a:lnTo>
                  <a:close/>
                  <a:moveTo>
                    <a:pt x="12" y="90"/>
                  </a:moveTo>
                  <a:lnTo>
                    <a:pt x="0" y="83"/>
                  </a:lnTo>
                  <a:lnTo>
                    <a:pt x="17" y="83"/>
                  </a:lnTo>
                  <a:lnTo>
                    <a:pt x="12" y="90"/>
                  </a:lnTo>
                  <a:lnTo>
                    <a:pt x="12" y="90"/>
                  </a:lnTo>
                  <a:lnTo>
                    <a:pt x="12" y="9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1" name="Freeform 420">
              <a:extLst>
                <a:ext uri="{FF2B5EF4-FFF2-40B4-BE49-F238E27FC236}">
                  <a16:creationId xmlns:a16="http://schemas.microsoft.com/office/drawing/2014/main" id="{05D39E5A-CD8A-431B-B670-679582A6E50A}"/>
                </a:ext>
              </a:extLst>
            </p:cNvPr>
            <p:cNvSpPr>
              <a:spLocks/>
            </p:cNvSpPr>
            <p:nvPr/>
          </p:nvSpPr>
          <p:spPr bwMode="gray">
            <a:xfrm>
              <a:off x="11772858" y="3847659"/>
              <a:ext cx="75933" cy="75933"/>
            </a:xfrm>
            <a:custGeom>
              <a:avLst/>
              <a:gdLst>
                <a:gd name="T0" fmla="*/ 232 w 232"/>
                <a:gd name="T1" fmla="*/ 121 h 232"/>
                <a:gd name="T2" fmla="*/ 232 w 232"/>
                <a:gd name="T3" fmla="*/ 128 h 232"/>
                <a:gd name="T4" fmla="*/ 215 w 232"/>
                <a:gd name="T5" fmla="*/ 121 h 232"/>
                <a:gd name="T6" fmla="*/ 206 w 232"/>
                <a:gd name="T7" fmla="*/ 128 h 232"/>
                <a:gd name="T8" fmla="*/ 206 w 232"/>
                <a:gd name="T9" fmla="*/ 161 h 232"/>
                <a:gd name="T10" fmla="*/ 222 w 232"/>
                <a:gd name="T11" fmla="*/ 166 h 232"/>
                <a:gd name="T12" fmla="*/ 206 w 232"/>
                <a:gd name="T13" fmla="*/ 182 h 232"/>
                <a:gd name="T14" fmla="*/ 215 w 232"/>
                <a:gd name="T15" fmla="*/ 199 h 232"/>
                <a:gd name="T16" fmla="*/ 201 w 232"/>
                <a:gd name="T17" fmla="*/ 215 h 232"/>
                <a:gd name="T18" fmla="*/ 206 w 232"/>
                <a:gd name="T19" fmla="*/ 215 h 232"/>
                <a:gd name="T20" fmla="*/ 206 w 232"/>
                <a:gd name="T21" fmla="*/ 232 h 232"/>
                <a:gd name="T22" fmla="*/ 206 w 232"/>
                <a:gd name="T23" fmla="*/ 220 h 232"/>
                <a:gd name="T24" fmla="*/ 189 w 232"/>
                <a:gd name="T25" fmla="*/ 203 h 232"/>
                <a:gd name="T26" fmla="*/ 201 w 232"/>
                <a:gd name="T27" fmla="*/ 203 h 232"/>
                <a:gd name="T28" fmla="*/ 189 w 232"/>
                <a:gd name="T29" fmla="*/ 194 h 232"/>
                <a:gd name="T30" fmla="*/ 180 w 232"/>
                <a:gd name="T31" fmla="*/ 182 h 232"/>
                <a:gd name="T32" fmla="*/ 168 w 232"/>
                <a:gd name="T33" fmla="*/ 182 h 232"/>
                <a:gd name="T34" fmla="*/ 185 w 232"/>
                <a:gd name="T35" fmla="*/ 199 h 232"/>
                <a:gd name="T36" fmla="*/ 185 w 232"/>
                <a:gd name="T37" fmla="*/ 203 h 232"/>
                <a:gd name="T38" fmla="*/ 151 w 232"/>
                <a:gd name="T39" fmla="*/ 194 h 232"/>
                <a:gd name="T40" fmla="*/ 163 w 232"/>
                <a:gd name="T41" fmla="*/ 177 h 232"/>
                <a:gd name="T42" fmla="*/ 163 w 232"/>
                <a:gd name="T43" fmla="*/ 161 h 232"/>
                <a:gd name="T44" fmla="*/ 114 w 232"/>
                <a:gd name="T45" fmla="*/ 128 h 232"/>
                <a:gd name="T46" fmla="*/ 92 w 232"/>
                <a:gd name="T47" fmla="*/ 121 h 232"/>
                <a:gd name="T48" fmla="*/ 81 w 232"/>
                <a:gd name="T49" fmla="*/ 95 h 232"/>
                <a:gd name="T50" fmla="*/ 43 w 232"/>
                <a:gd name="T51" fmla="*/ 83 h 232"/>
                <a:gd name="T52" fmla="*/ 43 w 232"/>
                <a:gd name="T53" fmla="*/ 88 h 232"/>
                <a:gd name="T54" fmla="*/ 71 w 232"/>
                <a:gd name="T55" fmla="*/ 104 h 232"/>
                <a:gd name="T56" fmla="*/ 55 w 232"/>
                <a:gd name="T57" fmla="*/ 121 h 232"/>
                <a:gd name="T58" fmla="*/ 38 w 232"/>
                <a:gd name="T59" fmla="*/ 104 h 232"/>
                <a:gd name="T60" fmla="*/ 17 w 232"/>
                <a:gd name="T61" fmla="*/ 95 h 232"/>
                <a:gd name="T62" fmla="*/ 0 w 232"/>
                <a:gd name="T63" fmla="*/ 66 h 232"/>
                <a:gd name="T64" fmla="*/ 22 w 232"/>
                <a:gd name="T65" fmla="*/ 50 h 232"/>
                <a:gd name="T66" fmla="*/ 17 w 232"/>
                <a:gd name="T67" fmla="*/ 33 h 232"/>
                <a:gd name="T68" fmla="*/ 0 w 232"/>
                <a:gd name="T69" fmla="*/ 29 h 232"/>
                <a:gd name="T70" fmla="*/ 17 w 232"/>
                <a:gd name="T71" fmla="*/ 29 h 232"/>
                <a:gd name="T72" fmla="*/ 17 w 232"/>
                <a:gd name="T73" fmla="*/ 17 h 232"/>
                <a:gd name="T74" fmla="*/ 22 w 232"/>
                <a:gd name="T75" fmla="*/ 0 h 232"/>
                <a:gd name="T76" fmla="*/ 71 w 232"/>
                <a:gd name="T77" fmla="*/ 29 h 232"/>
                <a:gd name="T78" fmla="*/ 81 w 232"/>
                <a:gd name="T79" fmla="*/ 17 h 232"/>
                <a:gd name="T80" fmla="*/ 135 w 232"/>
                <a:gd name="T81" fmla="*/ 38 h 232"/>
                <a:gd name="T82" fmla="*/ 151 w 232"/>
                <a:gd name="T83" fmla="*/ 33 h 232"/>
                <a:gd name="T84" fmla="*/ 163 w 232"/>
                <a:gd name="T85" fmla="*/ 29 h 232"/>
                <a:gd name="T86" fmla="*/ 180 w 232"/>
                <a:gd name="T87" fmla="*/ 71 h 232"/>
                <a:gd name="T88" fmla="*/ 222 w 232"/>
                <a:gd name="T89" fmla="*/ 121 h 232"/>
                <a:gd name="T90" fmla="*/ 232 w 232"/>
                <a:gd name="T91" fmla="*/ 121 h 232"/>
                <a:gd name="T92" fmla="*/ 232 w 232"/>
                <a:gd name="T93" fmla="*/ 121 h 232"/>
                <a:gd name="T94" fmla="*/ 232 w 232"/>
                <a:gd name="T95" fmla="*/ 12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2" h="232">
                  <a:moveTo>
                    <a:pt x="232" y="121"/>
                  </a:moveTo>
                  <a:lnTo>
                    <a:pt x="232" y="128"/>
                  </a:lnTo>
                  <a:lnTo>
                    <a:pt x="215" y="121"/>
                  </a:lnTo>
                  <a:lnTo>
                    <a:pt x="206" y="128"/>
                  </a:lnTo>
                  <a:lnTo>
                    <a:pt x="206" y="161"/>
                  </a:lnTo>
                  <a:lnTo>
                    <a:pt x="222" y="166"/>
                  </a:lnTo>
                  <a:lnTo>
                    <a:pt x="206" y="182"/>
                  </a:lnTo>
                  <a:lnTo>
                    <a:pt x="215" y="199"/>
                  </a:lnTo>
                  <a:lnTo>
                    <a:pt x="201" y="215"/>
                  </a:lnTo>
                  <a:lnTo>
                    <a:pt x="206" y="215"/>
                  </a:lnTo>
                  <a:lnTo>
                    <a:pt x="206" y="232"/>
                  </a:lnTo>
                  <a:lnTo>
                    <a:pt x="206" y="220"/>
                  </a:lnTo>
                  <a:lnTo>
                    <a:pt x="189" y="203"/>
                  </a:lnTo>
                  <a:lnTo>
                    <a:pt x="201" y="203"/>
                  </a:lnTo>
                  <a:lnTo>
                    <a:pt x="189" y="194"/>
                  </a:lnTo>
                  <a:lnTo>
                    <a:pt x="180" y="182"/>
                  </a:lnTo>
                  <a:lnTo>
                    <a:pt x="168" y="182"/>
                  </a:lnTo>
                  <a:lnTo>
                    <a:pt x="185" y="199"/>
                  </a:lnTo>
                  <a:lnTo>
                    <a:pt x="185" y="203"/>
                  </a:lnTo>
                  <a:lnTo>
                    <a:pt x="151" y="194"/>
                  </a:lnTo>
                  <a:lnTo>
                    <a:pt x="163" y="177"/>
                  </a:lnTo>
                  <a:lnTo>
                    <a:pt x="163" y="161"/>
                  </a:lnTo>
                  <a:lnTo>
                    <a:pt x="114" y="128"/>
                  </a:lnTo>
                  <a:lnTo>
                    <a:pt x="92" y="121"/>
                  </a:lnTo>
                  <a:lnTo>
                    <a:pt x="81" y="95"/>
                  </a:lnTo>
                  <a:lnTo>
                    <a:pt x="43" y="83"/>
                  </a:lnTo>
                  <a:lnTo>
                    <a:pt x="43" y="88"/>
                  </a:lnTo>
                  <a:lnTo>
                    <a:pt x="71" y="104"/>
                  </a:lnTo>
                  <a:lnTo>
                    <a:pt x="55" y="121"/>
                  </a:lnTo>
                  <a:lnTo>
                    <a:pt x="38" y="104"/>
                  </a:lnTo>
                  <a:lnTo>
                    <a:pt x="17" y="95"/>
                  </a:lnTo>
                  <a:lnTo>
                    <a:pt x="0" y="66"/>
                  </a:lnTo>
                  <a:lnTo>
                    <a:pt x="22" y="50"/>
                  </a:lnTo>
                  <a:lnTo>
                    <a:pt x="17" y="33"/>
                  </a:lnTo>
                  <a:lnTo>
                    <a:pt x="0" y="29"/>
                  </a:lnTo>
                  <a:lnTo>
                    <a:pt x="17" y="29"/>
                  </a:lnTo>
                  <a:lnTo>
                    <a:pt x="17" y="17"/>
                  </a:lnTo>
                  <a:lnTo>
                    <a:pt x="22" y="0"/>
                  </a:lnTo>
                  <a:lnTo>
                    <a:pt x="71" y="29"/>
                  </a:lnTo>
                  <a:lnTo>
                    <a:pt x="81" y="17"/>
                  </a:lnTo>
                  <a:lnTo>
                    <a:pt x="135" y="38"/>
                  </a:lnTo>
                  <a:lnTo>
                    <a:pt x="151" y="33"/>
                  </a:lnTo>
                  <a:lnTo>
                    <a:pt x="163" y="29"/>
                  </a:lnTo>
                  <a:lnTo>
                    <a:pt x="180" y="71"/>
                  </a:lnTo>
                  <a:lnTo>
                    <a:pt x="222" y="121"/>
                  </a:lnTo>
                  <a:lnTo>
                    <a:pt x="232" y="121"/>
                  </a:lnTo>
                  <a:lnTo>
                    <a:pt x="232" y="121"/>
                  </a:lnTo>
                  <a:lnTo>
                    <a:pt x="232" y="121"/>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2" name="Freeform 421">
              <a:extLst>
                <a:ext uri="{FF2B5EF4-FFF2-40B4-BE49-F238E27FC236}">
                  <a16:creationId xmlns:a16="http://schemas.microsoft.com/office/drawing/2014/main" id="{FD881E87-9575-4654-B113-ED462CAC4A55}"/>
                </a:ext>
              </a:extLst>
            </p:cNvPr>
            <p:cNvSpPr>
              <a:spLocks/>
            </p:cNvSpPr>
            <p:nvPr/>
          </p:nvSpPr>
          <p:spPr bwMode="gray">
            <a:xfrm>
              <a:off x="14075390" y="3853223"/>
              <a:ext cx="299804" cy="206524"/>
            </a:xfrm>
            <a:custGeom>
              <a:avLst/>
              <a:gdLst>
                <a:gd name="T0" fmla="*/ 416 w 916"/>
                <a:gd name="T1" fmla="*/ 453 h 631"/>
                <a:gd name="T2" fmla="*/ 345 w 916"/>
                <a:gd name="T3" fmla="*/ 427 h 631"/>
                <a:gd name="T4" fmla="*/ 302 w 916"/>
                <a:gd name="T5" fmla="*/ 482 h 631"/>
                <a:gd name="T6" fmla="*/ 302 w 916"/>
                <a:gd name="T7" fmla="*/ 510 h 631"/>
                <a:gd name="T8" fmla="*/ 286 w 916"/>
                <a:gd name="T9" fmla="*/ 531 h 631"/>
                <a:gd name="T10" fmla="*/ 260 w 916"/>
                <a:gd name="T11" fmla="*/ 536 h 631"/>
                <a:gd name="T12" fmla="*/ 236 w 916"/>
                <a:gd name="T13" fmla="*/ 536 h 631"/>
                <a:gd name="T14" fmla="*/ 205 w 916"/>
                <a:gd name="T15" fmla="*/ 536 h 631"/>
                <a:gd name="T16" fmla="*/ 144 w 916"/>
                <a:gd name="T17" fmla="*/ 572 h 631"/>
                <a:gd name="T18" fmla="*/ 123 w 916"/>
                <a:gd name="T19" fmla="*/ 631 h 631"/>
                <a:gd name="T20" fmla="*/ 113 w 916"/>
                <a:gd name="T21" fmla="*/ 588 h 631"/>
                <a:gd name="T22" fmla="*/ 42 w 916"/>
                <a:gd name="T23" fmla="*/ 510 h 631"/>
                <a:gd name="T24" fmla="*/ 42 w 916"/>
                <a:gd name="T25" fmla="*/ 482 h 631"/>
                <a:gd name="T26" fmla="*/ 16 w 916"/>
                <a:gd name="T27" fmla="*/ 420 h 631"/>
                <a:gd name="T28" fmla="*/ 16 w 916"/>
                <a:gd name="T29" fmla="*/ 399 h 631"/>
                <a:gd name="T30" fmla="*/ 5 w 916"/>
                <a:gd name="T31" fmla="*/ 371 h 631"/>
                <a:gd name="T32" fmla="*/ 31 w 916"/>
                <a:gd name="T33" fmla="*/ 342 h 631"/>
                <a:gd name="T34" fmla="*/ 75 w 916"/>
                <a:gd name="T35" fmla="*/ 255 h 631"/>
                <a:gd name="T36" fmla="*/ 139 w 916"/>
                <a:gd name="T37" fmla="*/ 243 h 631"/>
                <a:gd name="T38" fmla="*/ 151 w 916"/>
                <a:gd name="T39" fmla="*/ 238 h 631"/>
                <a:gd name="T40" fmla="*/ 220 w 916"/>
                <a:gd name="T41" fmla="*/ 222 h 631"/>
                <a:gd name="T42" fmla="*/ 328 w 916"/>
                <a:gd name="T43" fmla="*/ 177 h 631"/>
                <a:gd name="T44" fmla="*/ 323 w 916"/>
                <a:gd name="T45" fmla="*/ 149 h 631"/>
                <a:gd name="T46" fmla="*/ 394 w 916"/>
                <a:gd name="T47" fmla="*/ 132 h 631"/>
                <a:gd name="T48" fmla="*/ 425 w 916"/>
                <a:gd name="T49" fmla="*/ 127 h 631"/>
                <a:gd name="T50" fmla="*/ 479 w 916"/>
                <a:gd name="T51" fmla="*/ 78 h 631"/>
                <a:gd name="T52" fmla="*/ 501 w 916"/>
                <a:gd name="T53" fmla="*/ 66 h 631"/>
                <a:gd name="T54" fmla="*/ 508 w 916"/>
                <a:gd name="T55" fmla="*/ 33 h 631"/>
                <a:gd name="T56" fmla="*/ 593 w 916"/>
                <a:gd name="T57" fmla="*/ 12 h 631"/>
                <a:gd name="T58" fmla="*/ 647 w 916"/>
                <a:gd name="T59" fmla="*/ 90 h 631"/>
                <a:gd name="T60" fmla="*/ 642 w 916"/>
                <a:gd name="T61" fmla="*/ 132 h 631"/>
                <a:gd name="T62" fmla="*/ 642 w 916"/>
                <a:gd name="T63" fmla="*/ 149 h 631"/>
                <a:gd name="T64" fmla="*/ 685 w 916"/>
                <a:gd name="T65" fmla="*/ 168 h 631"/>
                <a:gd name="T66" fmla="*/ 685 w 916"/>
                <a:gd name="T67" fmla="*/ 184 h 631"/>
                <a:gd name="T68" fmla="*/ 723 w 916"/>
                <a:gd name="T69" fmla="*/ 205 h 631"/>
                <a:gd name="T70" fmla="*/ 760 w 916"/>
                <a:gd name="T71" fmla="*/ 234 h 631"/>
                <a:gd name="T72" fmla="*/ 756 w 916"/>
                <a:gd name="T73" fmla="*/ 255 h 631"/>
                <a:gd name="T74" fmla="*/ 810 w 916"/>
                <a:gd name="T75" fmla="*/ 293 h 631"/>
                <a:gd name="T76" fmla="*/ 841 w 916"/>
                <a:gd name="T77" fmla="*/ 316 h 631"/>
                <a:gd name="T78" fmla="*/ 848 w 916"/>
                <a:gd name="T79" fmla="*/ 349 h 631"/>
                <a:gd name="T80" fmla="*/ 869 w 916"/>
                <a:gd name="T81" fmla="*/ 366 h 631"/>
                <a:gd name="T82" fmla="*/ 902 w 916"/>
                <a:gd name="T83" fmla="*/ 399 h 631"/>
                <a:gd name="T84" fmla="*/ 916 w 916"/>
                <a:gd name="T85" fmla="*/ 437 h 631"/>
                <a:gd name="T86" fmla="*/ 869 w 916"/>
                <a:gd name="T87" fmla="*/ 437 h 631"/>
                <a:gd name="T88" fmla="*/ 848 w 916"/>
                <a:gd name="T89" fmla="*/ 437 h 631"/>
                <a:gd name="T90" fmla="*/ 810 w 916"/>
                <a:gd name="T91" fmla="*/ 420 h 631"/>
                <a:gd name="T92" fmla="*/ 772 w 916"/>
                <a:gd name="T93" fmla="*/ 411 h 631"/>
                <a:gd name="T94" fmla="*/ 723 w 916"/>
                <a:gd name="T95" fmla="*/ 444 h 631"/>
                <a:gd name="T96" fmla="*/ 701 w 916"/>
                <a:gd name="T97" fmla="*/ 437 h 631"/>
                <a:gd name="T98" fmla="*/ 631 w 916"/>
                <a:gd name="T99" fmla="*/ 465 h 631"/>
                <a:gd name="T100" fmla="*/ 576 w 916"/>
                <a:gd name="T101" fmla="*/ 477 h 631"/>
                <a:gd name="T102" fmla="*/ 572 w 916"/>
                <a:gd name="T103" fmla="*/ 494 h 631"/>
                <a:gd name="T104" fmla="*/ 517 w 916"/>
                <a:gd name="T105" fmla="*/ 494 h 631"/>
                <a:gd name="T106" fmla="*/ 463 w 916"/>
                <a:gd name="T107" fmla="*/ 477 h 631"/>
                <a:gd name="T108" fmla="*/ 425 w 916"/>
                <a:gd name="T109" fmla="*/ 465 h 631"/>
                <a:gd name="T110" fmla="*/ 425 w 916"/>
                <a:gd name="T111" fmla="*/ 465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16" h="631">
                  <a:moveTo>
                    <a:pt x="425" y="465"/>
                  </a:moveTo>
                  <a:lnTo>
                    <a:pt x="416" y="453"/>
                  </a:lnTo>
                  <a:lnTo>
                    <a:pt x="378" y="427"/>
                  </a:lnTo>
                  <a:lnTo>
                    <a:pt x="345" y="427"/>
                  </a:lnTo>
                  <a:lnTo>
                    <a:pt x="323" y="444"/>
                  </a:lnTo>
                  <a:lnTo>
                    <a:pt x="302" y="482"/>
                  </a:lnTo>
                  <a:lnTo>
                    <a:pt x="290" y="482"/>
                  </a:lnTo>
                  <a:lnTo>
                    <a:pt x="302" y="510"/>
                  </a:lnTo>
                  <a:lnTo>
                    <a:pt x="290" y="548"/>
                  </a:lnTo>
                  <a:lnTo>
                    <a:pt x="286" y="531"/>
                  </a:lnTo>
                  <a:lnTo>
                    <a:pt x="260" y="548"/>
                  </a:lnTo>
                  <a:lnTo>
                    <a:pt x="260" y="536"/>
                  </a:lnTo>
                  <a:lnTo>
                    <a:pt x="236" y="536"/>
                  </a:lnTo>
                  <a:lnTo>
                    <a:pt x="236" y="536"/>
                  </a:lnTo>
                  <a:lnTo>
                    <a:pt x="215" y="531"/>
                  </a:lnTo>
                  <a:lnTo>
                    <a:pt x="205" y="536"/>
                  </a:lnTo>
                  <a:lnTo>
                    <a:pt x="151" y="536"/>
                  </a:lnTo>
                  <a:lnTo>
                    <a:pt x="144" y="572"/>
                  </a:lnTo>
                  <a:lnTo>
                    <a:pt x="144" y="593"/>
                  </a:lnTo>
                  <a:lnTo>
                    <a:pt x="123" y="631"/>
                  </a:lnTo>
                  <a:lnTo>
                    <a:pt x="113" y="621"/>
                  </a:lnTo>
                  <a:lnTo>
                    <a:pt x="113" y="588"/>
                  </a:lnTo>
                  <a:lnTo>
                    <a:pt x="59" y="531"/>
                  </a:lnTo>
                  <a:lnTo>
                    <a:pt x="42" y="510"/>
                  </a:lnTo>
                  <a:lnTo>
                    <a:pt x="54" y="510"/>
                  </a:lnTo>
                  <a:lnTo>
                    <a:pt x="42" y="482"/>
                  </a:lnTo>
                  <a:lnTo>
                    <a:pt x="21" y="465"/>
                  </a:lnTo>
                  <a:lnTo>
                    <a:pt x="16" y="420"/>
                  </a:lnTo>
                  <a:lnTo>
                    <a:pt x="5" y="411"/>
                  </a:lnTo>
                  <a:lnTo>
                    <a:pt x="16" y="399"/>
                  </a:lnTo>
                  <a:lnTo>
                    <a:pt x="16" y="371"/>
                  </a:lnTo>
                  <a:lnTo>
                    <a:pt x="5" y="371"/>
                  </a:lnTo>
                  <a:lnTo>
                    <a:pt x="0" y="366"/>
                  </a:lnTo>
                  <a:lnTo>
                    <a:pt x="31" y="342"/>
                  </a:lnTo>
                  <a:lnTo>
                    <a:pt x="54" y="276"/>
                  </a:lnTo>
                  <a:lnTo>
                    <a:pt x="75" y="255"/>
                  </a:lnTo>
                  <a:lnTo>
                    <a:pt x="106" y="255"/>
                  </a:lnTo>
                  <a:lnTo>
                    <a:pt x="139" y="243"/>
                  </a:lnTo>
                  <a:lnTo>
                    <a:pt x="151" y="234"/>
                  </a:lnTo>
                  <a:lnTo>
                    <a:pt x="151" y="238"/>
                  </a:lnTo>
                  <a:lnTo>
                    <a:pt x="168" y="255"/>
                  </a:lnTo>
                  <a:lnTo>
                    <a:pt x="220" y="222"/>
                  </a:lnTo>
                  <a:lnTo>
                    <a:pt x="290" y="217"/>
                  </a:lnTo>
                  <a:lnTo>
                    <a:pt x="328" y="177"/>
                  </a:lnTo>
                  <a:lnTo>
                    <a:pt x="312" y="160"/>
                  </a:lnTo>
                  <a:lnTo>
                    <a:pt x="323" y="149"/>
                  </a:lnTo>
                  <a:lnTo>
                    <a:pt x="383" y="144"/>
                  </a:lnTo>
                  <a:lnTo>
                    <a:pt x="394" y="132"/>
                  </a:lnTo>
                  <a:lnTo>
                    <a:pt x="416" y="144"/>
                  </a:lnTo>
                  <a:lnTo>
                    <a:pt x="425" y="127"/>
                  </a:lnTo>
                  <a:lnTo>
                    <a:pt x="449" y="123"/>
                  </a:lnTo>
                  <a:lnTo>
                    <a:pt x="479" y="78"/>
                  </a:lnTo>
                  <a:lnTo>
                    <a:pt x="486" y="78"/>
                  </a:lnTo>
                  <a:lnTo>
                    <a:pt x="501" y="66"/>
                  </a:lnTo>
                  <a:lnTo>
                    <a:pt x="508" y="57"/>
                  </a:lnTo>
                  <a:lnTo>
                    <a:pt x="508" y="33"/>
                  </a:lnTo>
                  <a:lnTo>
                    <a:pt x="562" y="0"/>
                  </a:lnTo>
                  <a:lnTo>
                    <a:pt x="593" y="12"/>
                  </a:lnTo>
                  <a:lnTo>
                    <a:pt x="626" y="40"/>
                  </a:lnTo>
                  <a:lnTo>
                    <a:pt x="647" y="90"/>
                  </a:lnTo>
                  <a:lnTo>
                    <a:pt x="647" y="127"/>
                  </a:lnTo>
                  <a:lnTo>
                    <a:pt x="642" y="132"/>
                  </a:lnTo>
                  <a:lnTo>
                    <a:pt x="631" y="144"/>
                  </a:lnTo>
                  <a:lnTo>
                    <a:pt x="642" y="149"/>
                  </a:lnTo>
                  <a:lnTo>
                    <a:pt x="642" y="168"/>
                  </a:lnTo>
                  <a:lnTo>
                    <a:pt x="685" y="168"/>
                  </a:lnTo>
                  <a:lnTo>
                    <a:pt x="697" y="177"/>
                  </a:lnTo>
                  <a:lnTo>
                    <a:pt x="685" y="184"/>
                  </a:lnTo>
                  <a:lnTo>
                    <a:pt x="685" y="201"/>
                  </a:lnTo>
                  <a:lnTo>
                    <a:pt x="723" y="205"/>
                  </a:lnTo>
                  <a:lnTo>
                    <a:pt x="751" y="234"/>
                  </a:lnTo>
                  <a:lnTo>
                    <a:pt x="760" y="234"/>
                  </a:lnTo>
                  <a:lnTo>
                    <a:pt x="760" y="243"/>
                  </a:lnTo>
                  <a:lnTo>
                    <a:pt x="756" y="255"/>
                  </a:lnTo>
                  <a:lnTo>
                    <a:pt x="756" y="255"/>
                  </a:lnTo>
                  <a:lnTo>
                    <a:pt x="810" y="293"/>
                  </a:lnTo>
                  <a:lnTo>
                    <a:pt x="815" y="300"/>
                  </a:lnTo>
                  <a:lnTo>
                    <a:pt x="841" y="316"/>
                  </a:lnTo>
                  <a:lnTo>
                    <a:pt x="831" y="333"/>
                  </a:lnTo>
                  <a:lnTo>
                    <a:pt x="848" y="349"/>
                  </a:lnTo>
                  <a:lnTo>
                    <a:pt x="841" y="354"/>
                  </a:lnTo>
                  <a:lnTo>
                    <a:pt x="869" y="366"/>
                  </a:lnTo>
                  <a:lnTo>
                    <a:pt x="895" y="383"/>
                  </a:lnTo>
                  <a:lnTo>
                    <a:pt x="902" y="399"/>
                  </a:lnTo>
                  <a:lnTo>
                    <a:pt x="902" y="411"/>
                  </a:lnTo>
                  <a:lnTo>
                    <a:pt x="916" y="437"/>
                  </a:lnTo>
                  <a:lnTo>
                    <a:pt x="886" y="420"/>
                  </a:lnTo>
                  <a:lnTo>
                    <a:pt x="869" y="437"/>
                  </a:lnTo>
                  <a:lnTo>
                    <a:pt x="864" y="427"/>
                  </a:lnTo>
                  <a:lnTo>
                    <a:pt x="848" y="437"/>
                  </a:lnTo>
                  <a:lnTo>
                    <a:pt x="827" y="420"/>
                  </a:lnTo>
                  <a:lnTo>
                    <a:pt x="810" y="420"/>
                  </a:lnTo>
                  <a:lnTo>
                    <a:pt x="777" y="411"/>
                  </a:lnTo>
                  <a:lnTo>
                    <a:pt x="772" y="411"/>
                  </a:lnTo>
                  <a:lnTo>
                    <a:pt x="760" y="437"/>
                  </a:lnTo>
                  <a:lnTo>
                    <a:pt x="723" y="444"/>
                  </a:lnTo>
                  <a:lnTo>
                    <a:pt x="701" y="427"/>
                  </a:lnTo>
                  <a:lnTo>
                    <a:pt x="701" y="437"/>
                  </a:lnTo>
                  <a:lnTo>
                    <a:pt x="642" y="460"/>
                  </a:lnTo>
                  <a:lnTo>
                    <a:pt x="631" y="465"/>
                  </a:lnTo>
                  <a:lnTo>
                    <a:pt x="593" y="453"/>
                  </a:lnTo>
                  <a:lnTo>
                    <a:pt x="576" y="477"/>
                  </a:lnTo>
                  <a:lnTo>
                    <a:pt x="572" y="477"/>
                  </a:lnTo>
                  <a:lnTo>
                    <a:pt x="572" y="494"/>
                  </a:lnTo>
                  <a:lnTo>
                    <a:pt x="555" y="498"/>
                  </a:lnTo>
                  <a:lnTo>
                    <a:pt x="517" y="494"/>
                  </a:lnTo>
                  <a:lnTo>
                    <a:pt x="479" y="494"/>
                  </a:lnTo>
                  <a:lnTo>
                    <a:pt x="463" y="477"/>
                  </a:lnTo>
                  <a:lnTo>
                    <a:pt x="432" y="482"/>
                  </a:lnTo>
                  <a:lnTo>
                    <a:pt x="425" y="465"/>
                  </a:lnTo>
                  <a:lnTo>
                    <a:pt x="425" y="465"/>
                  </a:lnTo>
                  <a:lnTo>
                    <a:pt x="425" y="465"/>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3" name="Freeform 422">
              <a:extLst>
                <a:ext uri="{FF2B5EF4-FFF2-40B4-BE49-F238E27FC236}">
                  <a16:creationId xmlns:a16="http://schemas.microsoft.com/office/drawing/2014/main" id="{8F1C60BF-29A7-481A-B898-0E74AC487441}"/>
                </a:ext>
              </a:extLst>
            </p:cNvPr>
            <p:cNvSpPr>
              <a:spLocks noEditPoints="1"/>
            </p:cNvSpPr>
            <p:nvPr/>
          </p:nvSpPr>
          <p:spPr bwMode="gray">
            <a:xfrm>
              <a:off x="11795441" y="3557020"/>
              <a:ext cx="247436" cy="84443"/>
            </a:xfrm>
            <a:custGeom>
              <a:avLst/>
              <a:gdLst>
                <a:gd name="T0" fmla="*/ 685 w 756"/>
                <a:gd name="T1" fmla="*/ 241 h 258"/>
                <a:gd name="T2" fmla="*/ 605 w 756"/>
                <a:gd name="T3" fmla="*/ 241 h 258"/>
                <a:gd name="T4" fmla="*/ 545 w 756"/>
                <a:gd name="T5" fmla="*/ 217 h 258"/>
                <a:gd name="T6" fmla="*/ 475 w 756"/>
                <a:gd name="T7" fmla="*/ 196 h 258"/>
                <a:gd name="T8" fmla="*/ 432 w 756"/>
                <a:gd name="T9" fmla="*/ 123 h 258"/>
                <a:gd name="T10" fmla="*/ 314 w 756"/>
                <a:gd name="T11" fmla="*/ 95 h 258"/>
                <a:gd name="T12" fmla="*/ 281 w 756"/>
                <a:gd name="T13" fmla="*/ 90 h 258"/>
                <a:gd name="T14" fmla="*/ 243 w 756"/>
                <a:gd name="T15" fmla="*/ 83 h 258"/>
                <a:gd name="T16" fmla="*/ 227 w 756"/>
                <a:gd name="T17" fmla="*/ 57 h 258"/>
                <a:gd name="T18" fmla="*/ 151 w 756"/>
                <a:gd name="T19" fmla="*/ 40 h 258"/>
                <a:gd name="T20" fmla="*/ 59 w 756"/>
                <a:gd name="T21" fmla="*/ 95 h 258"/>
                <a:gd name="T22" fmla="*/ 28 w 756"/>
                <a:gd name="T23" fmla="*/ 95 h 258"/>
                <a:gd name="T24" fmla="*/ 28 w 756"/>
                <a:gd name="T25" fmla="*/ 90 h 258"/>
                <a:gd name="T26" fmla="*/ 54 w 756"/>
                <a:gd name="T27" fmla="*/ 50 h 258"/>
                <a:gd name="T28" fmla="*/ 189 w 756"/>
                <a:gd name="T29" fmla="*/ 0 h 258"/>
                <a:gd name="T30" fmla="*/ 260 w 756"/>
                <a:gd name="T31" fmla="*/ 0 h 258"/>
                <a:gd name="T32" fmla="*/ 297 w 756"/>
                <a:gd name="T33" fmla="*/ 12 h 258"/>
                <a:gd name="T34" fmla="*/ 368 w 756"/>
                <a:gd name="T35" fmla="*/ 33 h 258"/>
                <a:gd name="T36" fmla="*/ 444 w 756"/>
                <a:gd name="T37" fmla="*/ 66 h 258"/>
                <a:gd name="T38" fmla="*/ 524 w 756"/>
                <a:gd name="T39" fmla="*/ 111 h 258"/>
                <a:gd name="T40" fmla="*/ 508 w 756"/>
                <a:gd name="T41" fmla="*/ 106 h 258"/>
                <a:gd name="T42" fmla="*/ 545 w 756"/>
                <a:gd name="T43" fmla="*/ 123 h 258"/>
                <a:gd name="T44" fmla="*/ 545 w 756"/>
                <a:gd name="T45" fmla="*/ 123 h 258"/>
                <a:gd name="T46" fmla="*/ 567 w 756"/>
                <a:gd name="T47" fmla="*/ 140 h 258"/>
                <a:gd name="T48" fmla="*/ 595 w 756"/>
                <a:gd name="T49" fmla="*/ 151 h 258"/>
                <a:gd name="T50" fmla="*/ 621 w 756"/>
                <a:gd name="T51" fmla="*/ 163 h 258"/>
                <a:gd name="T52" fmla="*/ 647 w 756"/>
                <a:gd name="T53" fmla="*/ 180 h 258"/>
                <a:gd name="T54" fmla="*/ 701 w 756"/>
                <a:gd name="T55" fmla="*/ 196 h 258"/>
                <a:gd name="T56" fmla="*/ 744 w 756"/>
                <a:gd name="T57" fmla="*/ 241 h 258"/>
                <a:gd name="T58" fmla="*/ 685 w 756"/>
                <a:gd name="T59" fmla="*/ 253 h 258"/>
                <a:gd name="T60" fmla="*/ 437 w 756"/>
                <a:gd name="T61" fmla="*/ 50 h 258"/>
                <a:gd name="T62" fmla="*/ 453 w 756"/>
                <a:gd name="T63" fmla="*/ 57 h 258"/>
                <a:gd name="T64" fmla="*/ 486 w 756"/>
                <a:gd name="T65" fmla="*/ 73 h 258"/>
                <a:gd name="T66" fmla="*/ 486 w 756"/>
                <a:gd name="T67" fmla="*/ 73 h 258"/>
                <a:gd name="T68" fmla="*/ 491 w 756"/>
                <a:gd name="T69" fmla="*/ 83 h 258"/>
                <a:gd name="T70" fmla="*/ 491 w 756"/>
                <a:gd name="T71" fmla="*/ 73 h 258"/>
                <a:gd name="T72" fmla="*/ 491 w 756"/>
                <a:gd name="T73" fmla="*/ 83 h 258"/>
                <a:gd name="T74" fmla="*/ 508 w 756"/>
                <a:gd name="T75" fmla="*/ 90 h 258"/>
                <a:gd name="T76" fmla="*/ 508 w 756"/>
                <a:gd name="T77" fmla="*/ 95 h 258"/>
                <a:gd name="T78" fmla="*/ 120 w 756"/>
                <a:gd name="T79" fmla="*/ 123 h 258"/>
                <a:gd name="T80" fmla="*/ 130 w 756"/>
                <a:gd name="T81" fmla="*/ 106 h 258"/>
                <a:gd name="T82" fmla="*/ 168 w 756"/>
                <a:gd name="T83" fmla="*/ 123 h 258"/>
                <a:gd name="T84" fmla="*/ 134 w 756"/>
                <a:gd name="T85" fmla="*/ 14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6" h="258">
                  <a:moveTo>
                    <a:pt x="685" y="253"/>
                  </a:moveTo>
                  <a:lnTo>
                    <a:pt x="685" y="253"/>
                  </a:lnTo>
                  <a:lnTo>
                    <a:pt x="685" y="241"/>
                  </a:lnTo>
                  <a:lnTo>
                    <a:pt x="685" y="253"/>
                  </a:lnTo>
                  <a:lnTo>
                    <a:pt x="675" y="253"/>
                  </a:lnTo>
                  <a:lnTo>
                    <a:pt x="605" y="241"/>
                  </a:lnTo>
                  <a:lnTo>
                    <a:pt x="496" y="258"/>
                  </a:lnTo>
                  <a:lnTo>
                    <a:pt x="512" y="241"/>
                  </a:lnTo>
                  <a:lnTo>
                    <a:pt x="545" y="217"/>
                  </a:lnTo>
                  <a:lnTo>
                    <a:pt x="545" y="208"/>
                  </a:lnTo>
                  <a:lnTo>
                    <a:pt x="541" y="196"/>
                  </a:lnTo>
                  <a:lnTo>
                    <a:pt x="475" y="196"/>
                  </a:lnTo>
                  <a:lnTo>
                    <a:pt x="444" y="168"/>
                  </a:lnTo>
                  <a:lnTo>
                    <a:pt x="437" y="128"/>
                  </a:lnTo>
                  <a:lnTo>
                    <a:pt x="432" y="123"/>
                  </a:lnTo>
                  <a:lnTo>
                    <a:pt x="399" y="128"/>
                  </a:lnTo>
                  <a:lnTo>
                    <a:pt x="345" y="111"/>
                  </a:lnTo>
                  <a:lnTo>
                    <a:pt x="314" y="95"/>
                  </a:lnTo>
                  <a:lnTo>
                    <a:pt x="307" y="83"/>
                  </a:lnTo>
                  <a:lnTo>
                    <a:pt x="297" y="90"/>
                  </a:lnTo>
                  <a:lnTo>
                    <a:pt x="281" y="90"/>
                  </a:lnTo>
                  <a:lnTo>
                    <a:pt x="260" y="83"/>
                  </a:lnTo>
                  <a:lnTo>
                    <a:pt x="243" y="90"/>
                  </a:lnTo>
                  <a:lnTo>
                    <a:pt x="243" y="83"/>
                  </a:lnTo>
                  <a:lnTo>
                    <a:pt x="217" y="83"/>
                  </a:lnTo>
                  <a:lnTo>
                    <a:pt x="189" y="66"/>
                  </a:lnTo>
                  <a:lnTo>
                    <a:pt x="227" y="57"/>
                  </a:lnTo>
                  <a:lnTo>
                    <a:pt x="227" y="50"/>
                  </a:lnTo>
                  <a:lnTo>
                    <a:pt x="217" y="40"/>
                  </a:lnTo>
                  <a:lnTo>
                    <a:pt x="151" y="40"/>
                  </a:lnTo>
                  <a:lnTo>
                    <a:pt x="108" y="73"/>
                  </a:lnTo>
                  <a:lnTo>
                    <a:pt x="66" y="83"/>
                  </a:lnTo>
                  <a:lnTo>
                    <a:pt x="59" y="95"/>
                  </a:lnTo>
                  <a:lnTo>
                    <a:pt x="45" y="95"/>
                  </a:lnTo>
                  <a:lnTo>
                    <a:pt x="28" y="111"/>
                  </a:lnTo>
                  <a:lnTo>
                    <a:pt x="28" y="95"/>
                  </a:lnTo>
                  <a:lnTo>
                    <a:pt x="7" y="106"/>
                  </a:lnTo>
                  <a:lnTo>
                    <a:pt x="0" y="106"/>
                  </a:lnTo>
                  <a:lnTo>
                    <a:pt x="28" y="90"/>
                  </a:lnTo>
                  <a:lnTo>
                    <a:pt x="38" y="90"/>
                  </a:lnTo>
                  <a:lnTo>
                    <a:pt x="28" y="73"/>
                  </a:lnTo>
                  <a:lnTo>
                    <a:pt x="54" y="50"/>
                  </a:lnTo>
                  <a:lnTo>
                    <a:pt x="113" y="17"/>
                  </a:lnTo>
                  <a:lnTo>
                    <a:pt x="134" y="17"/>
                  </a:lnTo>
                  <a:lnTo>
                    <a:pt x="189" y="0"/>
                  </a:lnTo>
                  <a:lnTo>
                    <a:pt x="227" y="0"/>
                  </a:lnTo>
                  <a:lnTo>
                    <a:pt x="238" y="12"/>
                  </a:lnTo>
                  <a:lnTo>
                    <a:pt x="260" y="0"/>
                  </a:lnTo>
                  <a:lnTo>
                    <a:pt x="255" y="12"/>
                  </a:lnTo>
                  <a:lnTo>
                    <a:pt x="260" y="17"/>
                  </a:lnTo>
                  <a:lnTo>
                    <a:pt x="297" y="12"/>
                  </a:lnTo>
                  <a:lnTo>
                    <a:pt x="323" y="21"/>
                  </a:lnTo>
                  <a:lnTo>
                    <a:pt x="335" y="17"/>
                  </a:lnTo>
                  <a:lnTo>
                    <a:pt x="368" y="33"/>
                  </a:lnTo>
                  <a:lnTo>
                    <a:pt x="390" y="66"/>
                  </a:lnTo>
                  <a:lnTo>
                    <a:pt x="420" y="66"/>
                  </a:lnTo>
                  <a:lnTo>
                    <a:pt x="444" y="66"/>
                  </a:lnTo>
                  <a:lnTo>
                    <a:pt x="475" y="90"/>
                  </a:lnTo>
                  <a:lnTo>
                    <a:pt x="496" y="106"/>
                  </a:lnTo>
                  <a:lnTo>
                    <a:pt x="524" y="111"/>
                  </a:lnTo>
                  <a:lnTo>
                    <a:pt x="524" y="123"/>
                  </a:lnTo>
                  <a:lnTo>
                    <a:pt x="529" y="123"/>
                  </a:lnTo>
                  <a:lnTo>
                    <a:pt x="508" y="106"/>
                  </a:lnTo>
                  <a:lnTo>
                    <a:pt x="512" y="95"/>
                  </a:lnTo>
                  <a:lnTo>
                    <a:pt x="545" y="123"/>
                  </a:lnTo>
                  <a:lnTo>
                    <a:pt x="545" y="123"/>
                  </a:lnTo>
                  <a:lnTo>
                    <a:pt x="529" y="123"/>
                  </a:lnTo>
                  <a:lnTo>
                    <a:pt x="541" y="128"/>
                  </a:lnTo>
                  <a:lnTo>
                    <a:pt x="545" y="123"/>
                  </a:lnTo>
                  <a:lnTo>
                    <a:pt x="562" y="140"/>
                  </a:lnTo>
                  <a:lnTo>
                    <a:pt x="562" y="147"/>
                  </a:lnTo>
                  <a:lnTo>
                    <a:pt x="567" y="140"/>
                  </a:lnTo>
                  <a:lnTo>
                    <a:pt x="579" y="147"/>
                  </a:lnTo>
                  <a:lnTo>
                    <a:pt x="583" y="151"/>
                  </a:lnTo>
                  <a:lnTo>
                    <a:pt x="595" y="151"/>
                  </a:lnTo>
                  <a:lnTo>
                    <a:pt x="595" y="147"/>
                  </a:lnTo>
                  <a:lnTo>
                    <a:pt x="600" y="147"/>
                  </a:lnTo>
                  <a:lnTo>
                    <a:pt x="621" y="163"/>
                  </a:lnTo>
                  <a:lnTo>
                    <a:pt x="647" y="163"/>
                  </a:lnTo>
                  <a:lnTo>
                    <a:pt x="654" y="168"/>
                  </a:lnTo>
                  <a:lnTo>
                    <a:pt x="647" y="180"/>
                  </a:lnTo>
                  <a:lnTo>
                    <a:pt x="638" y="184"/>
                  </a:lnTo>
                  <a:lnTo>
                    <a:pt x="638" y="196"/>
                  </a:lnTo>
                  <a:lnTo>
                    <a:pt x="701" y="196"/>
                  </a:lnTo>
                  <a:lnTo>
                    <a:pt x="730" y="217"/>
                  </a:lnTo>
                  <a:lnTo>
                    <a:pt x="756" y="225"/>
                  </a:lnTo>
                  <a:lnTo>
                    <a:pt x="744" y="241"/>
                  </a:lnTo>
                  <a:lnTo>
                    <a:pt x="706" y="241"/>
                  </a:lnTo>
                  <a:lnTo>
                    <a:pt x="685" y="253"/>
                  </a:lnTo>
                  <a:lnTo>
                    <a:pt x="685" y="253"/>
                  </a:lnTo>
                  <a:lnTo>
                    <a:pt x="685" y="253"/>
                  </a:lnTo>
                  <a:close/>
                  <a:moveTo>
                    <a:pt x="453" y="57"/>
                  </a:moveTo>
                  <a:lnTo>
                    <a:pt x="437" y="50"/>
                  </a:lnTo>
                  <a:lnTo>
                    <a:pt x="453" y="50"/>
                  </a:lnTo>
                  <a:lnTo>
                    <a:pt x="458" y="57"/>
                  </a:lnTo>
                  <a:lnTo>
                    <a:pt x="453" y="57"/>
                  </a:lnTo>
                  <a:lnTo>
                    <a:pt x="453" y="57"/>
                  </a:lnTo>
                  <a:lnTo>
                    <a:pt x="453" y="57"/>
                  </a:lnTo>
                  <a:close/>
                  <a:moveTo>
                    <a:pt x="486" y="73"/>
                  </a:moveTo>
                  <a:lnTo>
                    <a:pt x="458" y="57"/>
                  </a:lnTo>
                  <a:lnTo>
                    <a:pt x="475" y="57"/>
                  </a:lnTo>
                  <a:lnTo>
                    <a:pt x="486" y="73"/>
                  </a:lnTo>
                  <a:lnTo>
                    <a:pt x="486" y="73"/>
                  </a:lnTo>
                  <a:lnTo>
                    <a:pt x="486" y="73"/>
                  </a:lnTo>
                  <a:close/>
                  <a:moveTo>
                    <a:pt x="491" y="83"/>
                  </a:moveTo>
                  <a:lnTo>
                    <a:pt x="475" y="83"/>
                  </a:lnTo>
                  <a:lnTo>
                    <a:pt x="486" y="73"/>
                  </a:lnTo>
                  <a:lnTo>
                    <a:pt x="491" y="73"/>
                  </a:lnTo>
                  <a:lnTo>
                    <a:pt x="491" y="83"/>
                  </a:lnTo>
                  <a:lnTo>
                    <a:pt x="491" y="83"/>
                  </a:lnTo>
                  <a:lnTo>
                    <a:pt x="491" y="83"/>
                  </a:lnTo>
                  <a:close/>
                  <a:moveTo>
                    <a:pt x="508" y="95"/>
                  </a:moveTo>
                  <a:lnTo>
                    <a:pt x="486" y="83"/>
                  </a:lnTo>
                  <a:lnTo>
                    <a:pt x="508" y="90"/>
                  </a:lnTo>
                  <a:lnTo>
                    <a:pt x="508" y="95"/>
                  </a:lnTo>
                  <a:lnTo>
                    <a:pt x="508" y="95"/>
                  </a:lnTo>
                  <a:lnTo>
                    <a:pt x="508" y="95"/>
                  </a:lnTo>
                  <a:close/>
                  <a:moveTo>
                    <a:pt x="134" y="140"/>
                  </a:moveTo>
                  <a:lnTo>
                    <a:pt x="130" y="140"/>
                  </a:lnTo>
                  <a:lnTo>
                    <a:pt x="120" y="123"/>
                  </a:lnTo>
                  <a:lnTo>
                    <a:pt x="130" y="128"/>
                  </a:lnTo>
                  <a:lnTo>
                    <a:pt x="134" y="123"/>
                  </a:lnTo>
                  <a:lnTo>
                    <a:pt x="130" y="106"/>
                  </a:lnTo>
                  <a:lnTo>
                    <a:pt x="134" y="95"/>
                  </a:lnTo>
                  <a:lnTo>
                    <a:pt x="151" y="95"/>
                  </a:lnTo>
                  <a:lnTo>
                    <a:pt x="168" y="123"/>
                  </a:lnTo>
                  <a:lnTo>
                    <a:pt x="134" y="140"/>
                  </a:lnTo>
                  <a:lnTo>
                    <a:pt x="134" y="140"/>
                  </a:lnTo>
                  <a:lnTo>
                    <a:pt x="134" y="14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4" name="Freeform 423">
              <a:extLst>
                <a:ext uri="{FF2B5EF4-FFF2-40B4-BE49-F238E27FC236}">
                  <a16:creationId xmlns:a16="http://schemas.microsoft.com/office/drawing/2014/main" id="{A565FCD7-4748-4A87-B0A8-1AF44C4FC38F}"/>
                </a:ext>
              </a:extLst>
            </p:cNvPr>
            <p:cNvSpPr>
              <a:spLocks noEditPoints="1"/>
            </p:cNvSpPr>
            <p:nvPr/>
          </p:nvSpPr>
          <p:spPr bwMode="gray">
            <a:xfrm>
              <a:off x="13163869" y="3705612"/>
              <a:ext cx="60223" cy="56295"/>
            </a:xfrm>
            <a:custGeom>
              <a:avLst/>
              <a:gdLst>
                <a:gd name="T0" fmla="*/ 0 w 184"/>
                <a:gd name="T1" fmla="*/ 19 h 172"/>
                <a:gd name="T2" fmla="*/ 0 w 184"/>
                <a:gd name="T3" fmla="*/ 7 h 172"/>
                <a:gd name="T4" fmla="*/ 16 w 184"/>
                <a:gd name="T5" fmla="*/ 0 h 172"/>
                <a:gd name="T6" fmla="*/ 21 w 184"/>
                <a:gd name="T7" fmla="*/ 7 h 172"/>
                <a:gd name="T8" fmla="*/ 0 w 184"/>
                <a:gd name="T9" fmla="*/ 19 h 172"/>
                <a:gd name="T10" fmla="*/ 0 w 184"/>
                <a:gd name="T11" fmla="*/ 19 h 172"/>
                <a:gd name="T12" fmla="*/ 0 w 184"/>
                <a:gd name="T13" fmla="*/ 19 h 172"/>
                <a:gd name="T14" fmla="*/ 21 w 184"/>
                <a:gd name="T15" fmla="*/ 28 h 172"/>
                <a:gd name="T16" fmla="*/ 16 w 184"/>
                <a:gd name="T17" fmla="*/ 23 h 172"/>
                <a:gd name="T18" fmla="*/ 21 w 184"/>
                <a:gd name="T19" fmla="*/ 19 h 172"/>
                <a:gd name="T20" fmla="*/ 33 w 184"/>
                <a:gd name="T21" fmla="*/ 23 h 172"/>
                <a:gd name="T22" fmla="*/ 21 w 184"/>
                <a:gd name="T23" fmla="*/ 28 h 172"/>
                <a:gd name="T24" fmla="*/ 21 w 184"/>
                <a:gd name="T25" fmla="*/ 28 h 172"/>
                <a:gd name="T26" fmla="*/ 21 w 184"/>
                <a:gd name="T27" fmla="*/ 28 h 172"/>
                <a:gd name="T28" fmla="*/ 71 w 184"/>
                <a:gd name="T29" fmla="*/ 45 h 172"/>
                <a:gd name="T30" fmla="*/ 59 w 184"/>
                <a:gd name="T31" fmla="*/ 40 h 172"/>
                <a:gd name="T32" fmla="*/ 92 w 184"/>
                <a:gd name="T33" fmla="*/ 45 h 172"/>
                <a:gd name="T34" fmla="*/ 71 w 184"/>
                <a:gd name="T35" fmla="*/ 40 h 172"/>
                <a:gd name="T36" fmla="*/ 71 w 184"/>
                <a:gd name="T37" fmla="*/ 45 h 172"/>
                <a:gd name="T38" fmla="*/ 71 w 184"/>
                <a:gd name="T39" fmla="*/ 45 h 172"/>
                <a:gd name="T40" fmla="*/ 71 w 184"/>
                <a:gd name="T41" fmla="*/ 45 h 172"/>
                <a:gd name="T42" fmla="*/ 179 w 184"/>
                <a:gd name="T43" fmla="*/ 85 h 172"/>
                <a:gd name="T44" fmla="*/ 163 w 184"/>
                <a:gd name="T45" fmla="*/ 85 h 172"/>
                <a:gd name="T46" fmla="*/ 179 w 184"/>
                <a:gd name="T47" fmla="*/ 73 h 172"/>
                <a:gd name="T48" fmla="*/ 184 w 184"/>
                <a:gd name="T49" fmla="*/ 78 h 172"/>
                <a:gd name="T50" fmla="*/ 179 w 184"/>
                <a:gd name="T51" fmla="*/ 85 h 172"/>
                <a:gd name="T52" fmla="*/ 179 w 184"/>
                <a:gd name="T53" fmla="*/ 85 h 172"/>
                <a:gd name="T54" fmla="*/ 179 w 184"/>
                <a:gd name="T55" fmla="*/ 85 h 172"/>
                <a:gd name="T56" fmla="*/ 125 w 184"/>
                <a:gd name="T57" fmla="*/ 167 h 172"/>
                <a:gd name="T58" fmla="*/ 109 w 184"/>
                <a:gd name="T59" fmla="*/ 156 h 172"/>
                <a:gd name="T60" fmla="*/ 118 w 184"/>
                <a:gd name="T61" fmla="*/ 139 h 172"/>
                <a:gd name="T62" fmla="*/ 130 w 184"/>
                <a:gd name="T63" fmla="*/ 156 h 172"/>
                <a:gd name="T64" fmla="*/ 125 w 184"/>
                <a:gd name="T65" fmla="*/ 167 h 172"/>
                <a:gd name="T66" fmla="*/ 125 w 184"/>
                <a:gd name="T67" fmla="*/ 167 h 172"/>
                <a:gd name="T68" fmla="*/ 125 w 184"/>
                <a:gd name="T69" fmla="*/ 167 h 172"/>
                <a:gd name="T70" fmla="*/ 59 w 184"/>
                <a:gd name="T71" fmla="*/ 172 h 172"/>
                <a:gd name="T72" fmla="*/ 54 w 184"/>
                <a:gd name="T73" fmla="*/ 167 h 172"/>
                <a:gd name="T74" fmla="*/ 59 w 184"/>
                <a:gd name="T75" fmla="*/ 156 h 172"/>
                <a:gd name="T76" fmla="*/ 71 w 184"/>
                <a:gd name="T77" fmla="*/ 167 h 172"/>
                <a:gd name="T78" fmla="*/ 59 w 184"/>
                <a:gd name="T79" fmla="*/ 172 h 172"/>
                <a:gd name="T80" fmla="*/ 59 w 184"/>
                <a:gd name="T81" fmla="*/ 172 h 172"/>
                <a:gd name="T82" fmla="*/ 59 w 184"/>
                <a:gd name="T8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4" h="172">
                  <a:moveTo>
                    <a:pt x="0" y="19"/>
                  </a:moveTo>
                  <a:lnTo>
                    <a:pt x="0" y="7"/>
                  </a:lnTo>
                  <a:lnTo>
                    <a:pt x="16" y="0"/>
                  </a:lnTo>
                  <a:lnTo>
                    <a:pt x="21" y="7"/>
                  </a:lnTo>
                  <a:lnTo>
                    <a:pt x="0" y="19"/>
                  </a:lnTo>
                  <a:lnTo>
                    <a:pt x="0" y="19"/>
                  </a:lnTo>
                  <a:lnTo>
                    <a:pt x="0" y="19"/>
                  </a:lnTo>
                  <a:close/>
                  <a:moveTo>
                    <a:pt x="21" y="28"/>
                  </a:moveTo>
                  <a:lnTo>
                    <a:pt x="16" y="23"/>
                  </a:lnTo>
                  <a:lnTo>
                    <a:pt x="21" y="19"/>
                  </a:lnTo>
                  <a:lnTo>
                    <a:pt x="33" y="23"/>
                  </a:lnTo>
                  <a:lnTo>
                    <a:pt x="21" y="28"/>
                  </a:lnTo>
                  <a:lnTo>
                    <a:pt x="21" y="28"/>
                  </a:lnTo>
                  <a:lnTo>
                    <a:pt x="21" y="28"/>
                  </a:lnTo>
                  <a:close/>
                  <a:moveTo>
                    <a:pt x="71" y="45"/>
                  </a:moveTo>
                  <a:lnTo>
                    <a:pt x="59" y="40"/>
                  </a:lnTo>
                  <a:lnTo>
                    <a:pt x="92" y="45"/>
                  </a:lnTo>
                  <a:lnTo>
                    <a:pt x="71" y="40"/>
                  </a:lnTo>
                  <a:lnTo>
                    <a:pt x="71" y="45"/>
                  </a:lnTo>
                  <a:lnTo>
                    <a:pt x="71" y="45"/>
                  </a:lnTo>
                  <a:lnTo>
                    <a:pt x="71" y="45"/>
                  </a:lnTo>
                  <a:close/>
                  <a:moveTo>
                    <a:pt x="179" y="85"/>
                  </a:moveTo>
                  <a:lnTo>
                    <a:pt x="163" y="85"/>
                  </a:lnTo>
                  <a:lnTo>
                    <a:pt x="179" y="73"/>
                  </a:lnTo>
                  <a:lnTo>
                    <a:pt x="184" y="78"/>
                  </a:lnTo>
                  <a:lnTo>
                    <a:pt x="179" y="85"/>
                  </a:lnTo>
                  <a:lnTo>
                    <a:pt x="179" y="85"/>
                  </a:lnTo>
                  <a:lnTo>
                    <a:pt x="179" y="85"/>
                  </a:lnTo>
                  <a:close/>
                  <a:moveTo>
                    <a:pt x="125" y="167"/>
                  </a:moveTo>
                  <a:lnTo>
                    <a:pt x="109" y="156"/>
                  </a:lnTo>
                  <a:lnTo>
                    <a:pt x="118" y="139"/>
                  </a:lnTo>
                  <a:lnTo>
                    <a:pt x="130" y="156"/>
                  </a:lnTo>
                  <a:lnTo>
                    <a:pt x="125" y="167"/>
                  </a:lnTo>
                  <a:lnTo>
                    <a:pt x="125" y="167"/>
                  </a:lnTo>
                  <a:lnTo>
                    <a:pt x="125" y="167"/>
                  </a:lnTo>
                  <a:close/>
                  <a:moveTo>
                    <a:pt x="59" y="172"/>
                  </a:moveTo>
                  <a:lnTo>
                    <a:pt x="54" y="167"/>
                  </a:lnTo>
                  <a:lnTo>
                    <a:pt x="59" y="156"/>
                  </a:lnTo>
                  <a:lnTo>
                    <a:pt x="71" y="167"/>
                  </a:lnTo>
                  <a:lnTo>
                    <a:pt x="59" y="172"/>
                  </a:lnTo>
                  <a:lnTo>
                    <a:pt x="59" y="172"/>
                  </a:lnTo>
                  <a:lnTo>
                    <a:pt x="59" y="172"/>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5" name="Freeform 424">
              <a:extLst>
                <a:ext uri="{FF2B5EF4-FFF2-40B4-BE49-F238E27FC236}">
                  <a16:creationId xmlns:a16="http://schemas.microsoft.com/office/drawing/2014/main" id="{50F6A1DB-0106-4855-935B-BE20E286B368}"/>
                </a:ext>
              </a:extLst>
            </p:cNvPr>
            <p:cNvSpPr>
              <a:spLocks/>
            </p:cNvSpPr>
            <p:nvPr/>
          </p:nvSpPr>
          <p:spPr bwMode="gray">
            <a:xfrm>
              <a:off x="14483529" y="3235614"/>
              <a:ext cx="52695" cy="29130"/>
            </a:xfrm>
            <a:custGeom>
              <a:avLst/>
              <a:gdLst>
                <a:gd name="T0" fmla="*/ 71 w 161"/>
                <a:gd name="T1" fmla="*/ 77 h 89"/>
                <a:gd name="T2" fmla="*/ 64 w 161"/>
                <a:gd name="T3" fmla="*/ 77 h 89"/>
                <a:gd name="T4" fmla="*/ 54 w 161"/>
                <a:gd name="T5" fmla="*/ 89 h 89"/>
                <a:gd name="T6" fmla="*/ 50 w 161"/>
                <a:gd name="T7" fmla="*/ 77 h 89"/>
                <a:gd name="T8" fmla="*/ 17 w 161"/>
                <a:gd name="T9" fmla="*/ 77 h 89"/>
                <a:gd name="T10" fmla="*/ 0 w 161"/>
                <a:gd name="T11" fmla="*/ 49 h 89"/>
                <a:gd name="T12" fmla="*/ 17 w 161"/>
                <a:gd name="T13" fmla="*/ 56 h 89"/>
                <a:gd name="T14" fmla="*/ 33 w 161"/>
                <a:gd name="T15" fmla="*/ 40 h 89"/>
                <a:gd name="T16" fmla="*/ 50 w 161"/>
                <a:gd name="T17" fmla="*/ 40 h 89"/>
                <a:gd name="T18" fmla="*/ 50 w 161"/>
                <a:gd name="T19" fmla="*/ 21 h 89"/>
                <a:gd name="T20" fmla="*/ 102 w 161"/>
                <a:gd name="T21" fmla="*/ 21 h 89"/>
                <a:gd name="T22" fmla="*/ 161 w 161"/>
                <a:gd name="T23" fmla="*/ 0 h 89"/>
                <a:gd name="T24" fmla="*/ 118 w 161"/>
                <a:gd name="T25" fmla="*/ 33 h 89"/>
                <a:gd name="T26" fmla="*/ 118 w 161"/>
                <a:gd name="T27" fmla="*/ 40 h 89"/>
                <a:gd name="T28" fmla="*/ 132 w 161"/>
                <a:gd name="T29" fmla="*/ 56 h 89"/>
                <a:gd name="T30" fmla="*/ 102 w 161"/>
                <a:gd name="T31" fmla="*/ 56 h 89"/>
                <a:gd name="T32" fmla="*/ 102 w 161"/>
                <a:gd name="T33" fmla="*/ 73 h 89"/>
                <a:gd name="T34" fmla="*/ 71 w 161"/>
                <a:gd name="T35" fmla="*/ 77 h 89"/>
                <a:gd name="T36" fmla="*/ 71 w 161"/>
                <a:gd name="T37" fmla="*/ 77 h 89"/>
                <a:gd name="T38" fmla="*/ 71 w 161"/>
                <a:gd name="T39" fmla="*/ 7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1" h="89">
                  <a:moveTo>
                    <a:pt x="71" y="77"/>
                  </a:moveTo>
                  <a:lnTo>
                    <a:pt x="64" y="77"/>
                  </a:lnTo>
                  <a:lnTo>
                    <a:pt x="54" y="89"/>
                  </a:lnTo>
                  <a:lnTo>
                    <a:pt x="50" y="77"/>
                  </a:lnTo>
                  <a:lnTo>
                    <a:pt x="17" y="77"/>
                  </a:lnTo>
                  <a:lnTo>
                    <a:pt x="0" y="49"/>
                  </a:lnTo>
                  <a:lnTo>
                    <a:pt x="17" y="56"/>
                  </a:lnTo>
                  <a:lnTo>
                    <a:pt x="33" y="40"/>
                  </a:lnTo>
                  <a:lnTo>
                    <a:pt x="50" y="40"/>
                  </a:lnTo>
                  <a:lnTo>
                    <a:pt x="50" y="21"/>
                  </a:lnTo>
                  <a:lnTo>
                    <a:pt x="102" y="21"/>
                  </a:lnTo>
                  <a:lnTo>
                    <a:pt x="161" y="0"/>
                  </a:lnTo>
                  <a:lnTo>
                    <a:pt x="118" y="33"/>
                  </a:lnTo>
                  <a:lnTo>
                    <a:pt x="118" y="40"/>
                  </a:lnTo>
                  <a:lnTo>
                    <a:pt x="132" y="56"/>
                  </a:lnTo>
                  <a:lnTo>
                    <a:pt x="102" y="56"/>
                  </a:lnTo>
                  <a:lnTo>
                    <a:pt x="102" y="73"/>
                  </a:lnTo>
                  <a:lnTo>
                    <a:pt x="71" y="77"/>
                  </a:lnTo>
                  <a:lnTo>
                    <a:pt x="71" y="77"/>
                  </a:lnTo>
                  <a:lnTo>
                    <a:pt x="71" y="7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6" name="Freeform 425">
              <a:extLst>
                <a:ext uri="{FF2B5EF4-FFF2-40B4-BE49-F238E27FC236}">
                  <a16:creationId xmlns:a16="http://schemas.microsoft.com/office/drawing/2014/main" id="{7DF24D90-CDD6-4D4F-9E60-1FEAD79ECED2}"/>
                </a:ext>
              </a:extLst>
            </p:cNvPr>
            <p:cNvSpPr>
              <a:spLocks noEditPoints="1"/>
            </p:cNvSpPr>
            <p:nvPr/>
          </p:nvSpPr>
          <p:spPr bwMode="gray">
            <a:xfrm>
              <a:off x="13930724" y="2575130"/>
              <a:ext cx="162339" cy="105062"/>
            </a:xfrm>
            <a:custGeom>
              <a:avLst/>
              <a:gdLst>
                <a:gd name="T0" fmla="*/ 10 w 496"/>
                <a:gd name="T1" fmla="*/ 111 h 321"/>
                <a:gd name="T2" fmla="*/ 123 w 496"/>
                <a:gd name="T3" fmla="*/ 12 h 321"/>
                <a:gd name="T4" fmla="*/ 156 w 496"/>
                <a:gd name="T5" fmla="*/ 78 h 321"/>
                <a:gd name="T6" fmla="*/ 43 w 496"/>
                <a:gd name="T7" fmla="*/ 83 h 321"/>
                <a:gd name="T8" fmla="*/ 206 w 496"/>
                <a:gd name="T9" fmla="*/ 57 h 321"/>
                <a:gd name="T10" fmla="*/ 206 w 496"/>
                <a:gd name="T11" fmla="*/ 57 h 321"/>
                <a:gd name="T12" fmla="*/ 43 w 496"/>
                <a:gd name="T13" fmla="*/ 267 h 321"/>
                <a:gd name="T14" fmla="*/ 43 w 496"/>
                <a:gd name="T15" fmla="*/ 267 h 321"/>
                <a:gd name="T16" fmla="*/ 0 w 496"/>
                <a:gd name="T17" fmla="*/ 177 h 321"/>
                <a:gd name="T18" fmla="*/ 0 w 496"/>
                <a:gd name="T19" fmla="*/ 173 h 321"/>
                <a:gd name="T20" fmla="*/ 47 w 496"/>
                <a:gd name="T21" fmla="*/ 123 h 321"/>
                <a:gd name="T22" fmla="*/ 64 w 496"/>
                <a:gd name="T23" fmla="*/ 123 h 321"/>
                <a:gd name="T24" fmla="*/ 85 w 496"/>
                <a:gd name="T25" fmla="*/ 111 h 321"/>
                <a:gd name="T26" fmla="*/ 135 w 496"/>
                <a:gd name="T27" fmla="*/ 66 h 321"/>
                <a:gd name="T28" fmla="*/ 156 w 496"/>
                <a:gd name="T29" fmla="*/ 111 h 321"/>
                <a:gd name="T30" fmla="*/ 206 w 496"/>
                <a:gd name="T31" fmla="*/ 133 h 321"/>
                <a:gd name="T32" fmla="*/ 156 w 496"/>
                <a:gd name="T33" fmla="*/ 156 h 321"/>
                <a:gd name="T34" fmla="*/ 151 w 496"/>
                <a:gd name="T35" fmla="*/ 177 h 321"/>
                <a:gd name="T36" fmla="*/ 135 w 496"/>
                <a:gd name="T37" fmla="*/ 210 h 321"/>
                <a:gd name="T38" fmla="*/ 106 w 496"/>
                <a:gd name="T39" fmla="*/ 260 h 321"/>
                <a:gd name="T40" fmla="*/ 102 w 496"/>
                <a:gd name="T41" fmla="*/ 288 h 321"/>
                <a:gd name="T42" fmla="*/ 43 w 496"/>
                <a:gd name="T43" fmla="*/ 111 h 321"/>
                <a:gd name="T44" fmla="*/ 47 w 496"/>
                <a:gd name="T45" fmla="*/ 99 h 321"/>
                <a:gd name="T46" fmla="*/ 243 w 496"/>
                <a:gd name="T47" fmla="*/ 111 h 321"/>
                <a:gd name="T48" fmla="*/ 243 w 496"/>
                <a:gd name="T49" fmla="*/ 111 h 321"/>
                <a:gd name="T50" fmla="*/ 210 w 496"/>
                <a:gd name="T51" fmla="*/ 210 h 321"/>
                <a:gd name="T52" fmla="*/ 215 w 496"/>
                <a:gd name="T53" fmla="*/ 177 h 321"/>
                <a:gd name="T54" fmla="*/ 265 w 496"/>
                <a:gd name="T55" fmla="*/ 189 h 321"/>
                <a:gd name="T56" fmla="*/ 269 w 496"/>
                <a:gd name="T57" fmla="*/ 189 h 321"/>
                <a:gd name="T58" fmla="*/ 312 w 496"/>
                <a:gd name="T59" fmla="*/ 189 h 321"/>
                <a:gd name="T60" fmla="*/ 269 w 496"/>
                <a:gd name="T61" fmla="*/ 267 h 321"/>
                <a:gd name="T62" fmla="*/ 260 w 496"/>
                <a:gd name="T63" fmla="*/ 279 h 321"/>
                <a:gd name="T64" fmla="*/ 243 w 496"/>
                <a:gd name="T65" fmla="*/ 260 h 321"/>
                <a:gd name="T66" fmla="*/ 173 w 496"/>
                <a:gd name="T67" fmla="*/ 206 h 321"/>
                <a:gd name="T68" fmla="*/ 177 w 496"/>
                <a:gd name="T69" fmla="*/ 189 h 321"/>
                <a:gd name="T70" fmla="*/ 319 w 496"/>
                <a:gd name="T71" fmla="*/ 210 h 321"/>
                <a:gd name="T72" fmla="*/ 173 w 496"/>
                <a:gd name="T73" fmla="*/ 279 h 321"/>
                <a:gd name="T74" fmla="*/ 161 w 496"/>
                <a:gd name="T75" fmla="*/ 227 h 321"/>
                <a:gd name="T76" fmla="*/ 177 w 496"/>
                <a:gd name="T77" fmla="*/ 222 h 321"/>
                <a:gd name="T78" fmla="*/ 173 w 496"/>
                <a:gd name="T79" fmla="*/ 279 h 321"/>
                <a:gd name="T80" fmla="*/ 26 w 496"/>
                <a:gd name="T81" fmla="*/ 234 h 321"/>
                <a:gd name="T82" fmla="*/ 487 w 496"/>
                <a:gd name="T83" fmla="*/ 284 h 321"/>
                <a:gd name="T84" fmla="*/ 487 w 496"/>
                <a:gd name="T85" fmla="*/ 284 h 321"/>
                <a:gd name="T86" fmla="*/ 177 w 496"/>
                <a:gd name="T87" fmla="*/ 288 h 321"/>
                <a:gd name="T88" fmla="*/ 177 w 496"/>
                <a:gd name="T89" fmla="*/ 305 h 321"/>
                <a:gd name="T90" fmla="*/ 118 w 496"/>
                <a:gd name="T91" fmla="*/ 288 h 321"/>
                <a:gd name="T92" fmla="*/ 106 w 496"/>
                <a:gd name="T93" fmla="*/ 279 h 321"/>
                <a:gd name="T94" fmla="*/ 173 w 496"/>
                <a:gd name="T95" fmla="*/ 284 h 321"/>
                <a:gd name="T96" fmla="*/ 173 w 496"/>
                <a:gd name="T97" fmla="*/ 284 h 321"/>
                <a:gd name="T98" fmla="*/ 298 w 496"/>
                <a:gd name="T99" fmla="*/ 279 h 321"/>
                <a:gd name="T100" fmla="*/ 286 w 496"/>
                <a:gd name="T101" fmla="*/ 288 h 321"/>
                <a:gd name="T102" fmla="*/ 269 w 496"/>
                <a:gd name="T103" fmla="*/ 321 h 321"/>
                <a:gd name="T104" fmla="*/ 265 w 496"/>
                <a:gd name="T105" fmla="*/ 284 h 321"/>
                <a:gd name="T106" fmla="*/ 243 w 496"/>
                <a:gd name="T107" fmla="*/ 300 h 321"/>
                <a:gd name="T108" fmla="*/ 206 w 496"/>
                <a:gd name="T109" fmla="*/ 3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6" h="321">
                  <a:moveTo>
                    <a:pt x="26" y="111"/>
                  </a:moveTo>
                  <a:lnTo>
                    <a:pt x="31" y="116"/>
                  </a:lnTo>
                  <a:lnTo>
                    <a:pt x="31" y="116"/>
                  </a:lnTo>
                  <a:lnTo>
                    <a:pt x="10" y="111"/>
                  </a:lnTo>
                  <a:lnTo>
                    <a:pt x="10" y="99"/>
                  </a:lnTo>
                  <a:lnTo>
                    <a:pt x="31" y="62"/>
                  </a:lnTo>
                  <a:lnTo>
                    <a:pt x="85" y="62"/>
                  </a:lnTo>
                  <a:lnTo>
                    <a:pt x="123" y="12"/>
                  </a:lnTo>
                  <a:lnTo>
                    <a:pt x="177" y="0"/>
                  </a:lnTo>
                  <a:lnTo>
                    <a:pt x="161" y="12"/>
                  </a:lnTo>
                  <a:lnTo>
                    <a:pt x="173" y="57"/>
                  </a:lnTo>
                  <a:lnTo>
                    <a:pt x="156" y="78"/>
                  </a:lnTo>
                  <a:lnTo>
                    <a:pt x="135" y="66"/>
                  </a:lnTo>
                  <a:lnTo>
                    <a:pt x="80" y="78"/>
                  </a:lnTo>
                  <a:lnTo>
                    <a:pt x="69" y="66"/>
                  </a:lnTo>
                  <a:lnTo>
                    <a:pt x="43" y="83"/>
                  </a:lnTo>
                  <a:lnTo>
                    <a:pt x="26" y="111"/>
                  </a:lnTo>
                  <a:lnTo>
                    <a:pt x="26" y="111"/>
                  </a:lnTo>
                  <a:lnTo>
                    <a:pt x="26" y="111"/>
                  </a:lnTo>
                  <a:close/>
                  <a:moveTo>
                    <a:pt x="206" y="57"/>
                  </a:moveTo>
                  <a:lnTo>
                    <a:pt x="194" y="57"/>
                  </a:lnTo>
                  <a:lnTo>
                    <a:pt x="215" y="45"/>
                  </a:lnTo>
                  <a:lnTo>
                    <a:pt x="206" y="57"/>
                  </a:lnTo>
                  <a:lnTo>
                    <a:pt x="206" y="57"/>
                  </a:lnTo>
                  <a:lnTo>
                    <a:pt x="206" y="57"/>
                  </a:lnTo>
                  <a:close/>
                  <a:moveTo>
                    <a:pt x="97" y="300"/>
                  </a:moveTo>
                  <a:lnTo>
                    <a:pt x="43" y="288"/>
                  </a:lnTo>
                  <a:lnTo>
                    <a:pt x="43" y="267"/>
                  </a:lnTo>
                  <a:lnTo>
                    <a:pt x="26" y="279"/>
                  </a:lnTo>
                  <a:lnTo>
                    <a:pt x="26" y="267"/>
                  </a:lnTo>
                  <a:lnTo>
                    <a:pt x="26" y="260"/>
                  </a:lnTo>
                  <a:lnTo>
                    <a:pt x="43" y="267"/>
                  </a:lnTo>
                  <a:lnTo>
                    <a:pt x="31" y="234"/>
                  </a:lnTo>
                  <a:lnTo>
                    <a:pt x="0" y="227"/>
                  </a:lnTo>
                  <a:lnTo>
                    <a:pt x="0" y="206"/>
                  </a:lnTo>
                  <a:lnTo>
                    <a:pt x="0" y="177"/>
                  </a:lnTo>
                  <a:lnTo>
                    <a:pt x="0" y="194"/>
                  </a:lnTo>
                  <a:lnTo>
                    <a:pt x="14" y="189"/>
                  </a:lnTo>
                  <a:lnTo>
                    <a:pt x="10" y="173"/>
                  </a:lnTo>
                  <a:lnTo>
                    <a:pt x="0" y="173"/>
                  </a:lnTo>
                  <a:lnTo>
                    <a:pt x="0" y="177"/>
                  </a:lnTo>
                  <a:lnTo>
                    <a:pt x="0" y="111"/>
                  </a:lnTo>
                  <a:lnTo>
                    <a:pt x="43" y="133"/>
                  </a:lnTo>
                  <a:lnTo>
                    <a:pt x="47" y="123"/>
                  </a:lnTo>
                  <a:lnTo>
                    <a:pt x="43" y="116"/>
                  </a:lnTo>
                  <a:lnTo>
                    <a:pt x="69" y="99"/>
                  </a:lnTo>
                  <a:lnTo>
                    <a:pt x="69" y="111"/>
                  </a:lnTo>
                  <a:lnTo>
                    <a:pt x="64" y="123"/>
                  </a:lnTo>
                  <a:lnTo>
                    <a:pt x="80" y="116"/>
                  </a:lnTo>
                  <a:lnTo>
                    <a:pt x="85" y="123"/>
                  </a:lnTo>
                  <a:lnTo>
                    <a:pt x="85" y="123"/>
                  </a:lnTo>
                  <a:lnTo>
                    <a:pt x="85" y="111"/>
                  </a:lnTo>
                  <a:lnTo>
                    <a:pt x="69" y="111"/>
                  </a:lnTo>
                  <a:lnTo>
                    <a:pt x="69" y="83"/>
                  </a:lnTo>
                  <a:lnTo>
                    <a:pt x="80" y="78"/>
                  </a:lnTo>
                  <a:lnTo>
                    <a:pt x="135" y="66"/>
                  </a:lnTo>
                  <a:lnTo>
                    <a:pt x="156" y="78"/>
                  </a:lnTo>
                  <a:lnTo>
                    <a:pt x="156" y="99"/>
                  </a:lnTo>
                  <a:lnTo>
                    <a:pt x="123" y="116"/>
                  </a:lnTo>
                  <a:lnTo>
                    <a:pt x="156" y="111"/>
                  </a:lnTo>
                  <a:lnTo>
                    <a:pt x="151" y="133"/>
                  </a:lnTo>
                  <a:lnTo>
                    <a:pt x="156" y="123"/>
                  </a:lnTo>
                  <a:lnTo>
                    <a:pt x="194" y="123"/>
                  </a:lnTo>
                  <a:lnTo>
                    <a:pt x="206" y="133"/>
                  </a:lnTo>
                  <a:lnTo>
                    <a:pt x="189" y="168"/>
                  </a:lnTo>
                  <a:lnTo>
                    <a:pt x="177" y="156"/>
                  </a:lnTo>
                  <a:lnTo>
                    <a:pt x="173" y="173"/>
                  </a:lnTo>
                  <a:lnTo>
                    <a:pt x="156" y="156"/>
                  </a:lnTo>
                  <a:lnTo>
                    <a:pt x="161" y="156"/>
                  </a:lnTo>
                  <a:lnTo>
                    <a:pt x="161" y="149"/>
                  </a:lnTo>
                  <a:lnTo>
                    <a:pt x="151" y="168"/>
                  </a:lnTo>
                  <a:lnTo>
                    <a:pt x="151" y="177"/>
                  </a:lnTo>
                  <a:lnTo>
                    <a:pt x="151" y="194"/>
                  </a:lnTo>
                  <a:lnTo>
                    <a:pt x="123" y="194"/>
                  </a:lnTo>
                  <a:lnTo>
                    <a:pt x="135" y="194"/>
                  </a:lnTo>
                  <a:lnTo>
                    <a:pt x="135" y="210"/>
                  </a:lnTo>
                  <a:lnTo>
                    <a:pt x="102" y="210"/>
                  </a:lnTo>
                  <a:lnTo>
                    <a:pt x="118" y="222"/>
                  </a:lnTo>
                  <a:lnTo>
                    <a:pt x="102" y="234"/>
                  </a:lnTo>
                  <a:lnTo>
                    <a:pt x="106" y="260"/>
                  </a:lnTo>
                  <a:lnTo>
                    <a:pt x="97" y="267"/>
                  </a:lnTo>
                  <a:lnTo>
                    <a:pt x="118" y="288"/>
                  </a:lnTo>
                  <a:lnTo>
                    <a:pt x="106" y="300"/>
                  </a:lnTo>
                  <a:lnTo>
                    <a:pt x="102" y="288"/>
                  </a:lnTo>
                  <a:lnTo>
                    <a:pt x="97" y="300"/>
                  </a:lnTo>
                  <a:lnTo>
                    <a:pt x="97" y="300"/>
                  </a:lnTo>
                  <a:lnTo>
                    <a:pt x="97" y="300"/>
                  </a:lnTo>
                  <a:close/>
                  <a:moveTo>
                    <a:pt x="43" y="111"/>
                  </a:moveTo>
                  <a:lnTo>
                    <a:pt x="26" y="99"/>
                  </a:lnTo>
                  <a:lnTo>
                    <a:pt x="31" y="99"/>
                  </a:lnTo>
                  <a:lnTo>
                    <a:pt x="54" y="83"/>
                  </a:lnTo>
                  <a:lnTo>
                    <a:pt x="47" y="99"/>
                  </a:lnTo>
                  <a:lnTo>
                    <a:pt x="43" y="111"/>
                  </a:lnTo>
                  <a:lnTo>
                    <a:pt x="43" y="111"/>
                  </a:lnTo>
                  <a:lnTo>
                    <a:pt x="43" y="111"/>
                  </a:lnTo>
                  <a:close/>
                  <a:moveTo>
                    <a:pt x="243" y="111"/>
                  </a:moveTo>
                  <a:lnTo>
                    <a:pt x="243" y="111"/>
                  </a:lnTo>
                  <a:lnTo>
                    <a:pt x="248" y="111"/>
                  </a:lnTo>
                  <a:lnTo>
                    <a:pt x="243" y="111"/>
                  </a:lnTo>
                  <a:lnTo>
                    <a:pt x="243" y="111"/>
                  </a:lnTo>
                  <a:lnTo>
                    <a:pt x="243" y="111"/>
                  </a:lnTo>
                  <a:close/>
                  <a:moveTo>
                    <a:pt x="243" y="260"/>
                  </a:moveTo>
                  <a:lnTo>
                    <a:pt x="215" y="260"/>
                  </a:lnTo>
                  <a:lnTo>
                    <a:pt x="210" y="210"/>
                  </a:lnTo>
                  <a:lnTo>
                    <a:pt x="194" y="206"/>
                  </a:lnTo>
                  <a:lnTo>
                    <a:pt x="215" y="210"/>
                  </a:lnTo>
                  <a:lnTo>
                    <a:pt x="243" y="194"/>
                  </a:lnTo>
                  <a:lnTo>
                    <a:pt x="215" y="177"/>
                  </a:lnTo>
                  <a:lnTo>
                    <a:pt x="260" y="177"/>
                  </a:lnTo>
                  <a:lnTo>
                    <a:pt x="248" y="194"/>
                  </a:lnTo>
                  <a:lnTo>
                    <a:pt x="260" y="210"/>
                  </a:lnTo>
                  <a:lnTo>
                    <a:pt x="265" y="189"/>
                  </a:lnTo>
                  <a:lnTo>
                    <a:pt x="281" y="206"/>
                  </a:lnTo>
                  <a:lnTo>
                    <a:pt x="269" y="210"/>
                  </a:lnTo>
                  <a:lnTo>
                    <a:pt x="281" y="210"/>
                  </a:lnTo>
                  <a:lnTo>
                    <a:pt x="269" y="189"/>
                  </a:lnTo>
                  <a:lnTo>
                    <a:pt x="265" y="177"/>
                  </a:lnTo>
                  <a:lnTo>
                    <a:pt x="298" y="168"/>
                  </a:lnTo>
                  <a:lnTo>
                    <a:pt x="319" y="173"/>
                  </a:lnTo>
                  <a:lnTo>
                    <a:pt x="312" y="189"/>
                  </a:lnTo>
                  <a:lnTo>
                    <a:pt x="319" y="210"/>
                  </a:lnTo>
                  <a:lnTo>
                    <a:pt x="286" y="234"/>
                  </a:lnTo>
                  <a:lnTo>
                    <a:pt x="302" y="251"/>
                  </a:lnTo>
                  <a:lnTo>
                    <a:pt x="269" y="267"/>
                  </a:lnTo>
                  <a:lnTo>
                    <a:pt x="286" y="267"/>
                  </a:lnTo>
                  <a:lnTo>
                    <a:pt x="286" y="284"/>
                  </a:lnTo>
                  <a:lnTo>
                    <a:pt x="265" y="284"/>
                  </a:lnTo>
                  <a:lnTo>
                    <a:pt x="260" y="279"/>
                  </a:lnTo>
                  <a:lnTo>
                    <a:pt x="260" y="267"/>
                  </a:lnTo>
                  <a:lnTo>
                    <a:pt x="260" y="260"/>
                  </a:lnTo>
                  <a:lnTo>
                    <a:pt x="243" y="260"/>
                  </a:lnTo>
                  <a:lnTo>
                    <a:pt x="243" y="260"/>
                  </a:lnTo>
                  <a:lnTo>
                    <a:pt x="243" y="260"/>
                  </a:lnTo>
                  <a:close/>
                  <a:moveTo>
                    <a:pt x="177" y="189"/>
                  </a:moveTo>
                  <a:lnTo>
                    <a:pt x="173" y="206"/>
                  </a:lnTo>
                  <a:lnTo>
                    <a:pt x="173" y="206"/>
                  </a:lnTo>
                  <a:lnTo>
                    <a:pt x="173" y="177"/>
                  </a:lnTo>
                  <a:lnTo>
                    <a:pt x="177" y="189"/>
                  </a:lnTo>
                  <a:lnTo>
                    <a:pt x="177" y="189"/>
                  </a:lnTo>
                  <a:lnTo>
                    <a:pt x="177" y="189"/>
                  </a:lnTo>
                  <a:close/>
                  <a:moveTo>
                    <a:pt x="319" y="222"/>
                  </a:moveTo>
                  <a:lnTo>
                    <a:pt x="319" y="222"/>
                  </a:lnTo>
                  <a:lnTo>
                    <a:pt x="312" y="222"/>
                  </a:lnTo>
                  <a:lnTo>
                    <a:pt x="319" y="210"/>
                  </a:lnTo>
                  <a:lnTo>
                    <a:pt x="319" y="222"/>
                  </a:lnTo>
                  <a:lnTo>
                    <a:pt x="319" y="222"/>
                  </a:lnTo>
                  <a:lnTo>
                    <a:pt x="319" y="222"/>
                  </a:lnTo>
                  <a:close/>
                  <a:moveTo>
                    <a:pt x="173" y="279"/>
                  </a:moveTo>
                  <a:lnTo>
                    <a:pt x="139" y="279"/>
                  </a:lnTo>
                  <a:lnTo>
                    <a:pt x="106" y="227"/>
                  </a:lnTo>
                  <a:lnTo>
                    <a:pt x="156" y="222"/>
                  </a:lnTo>
                  <a:lnTo>
                    <a:pt x="161" y="227"/>
                  </a:lnTo>
                  <a:lnTo>
                    <a:pt x="161" y="234"/>
                  </a:lnTo>
                  <a:lnTo>
                    <a:pt x="161" y="234"/>
                  </a:lnTo>
                  <a:lnTo>
                    <a:pt x="173" y="227"/>
                  </a:lnTo>
                  <a:lnTo>
                    <a:pt x="177" y="222"/>
                  </a:lnTo>
                  <a:lnTo>
                    <a:pt x="189" y="251"/>
                  </a:lnTo>
                  <a:lnTo>
                    <a:pt x="189" y="279"/>
                  </a:lnTo>
                  <a:lnTo>
                    <a:pt x="173" y="279"/>
                  </a:lnTo>
                  <a:lnTo>
                    <a:pt x="173" y="279"/>
                  </a:lnTo>
                  <a:lnTo>
                    <a:pt x="173" y="279"/>
                  </a:lnTo>
                  <a:close/>
                  <a:moveTo>
                    <a:pt x="26" y="244"/>
                  </a:moveTo>
                  <a:lnTo>
                    <a:pt x="14" y="234"/>
                  </a:lnTo>
                  <a:lnTo>
                    <a:pt x="26" y="234"/>
                  </a:lnTo>
                  <a:lnTo>
                    <a:pt x="26" y="244"/>
                  </a:lnTo>
                  <a:lnTo>
                    <a:pt x="26" y="244"/>
                  </a:lnTo>
                  <a:lnTo>
                    <a:pt x="26" y="244"/>
                  </a:lnTo>
                  <a:close/>
                  <a:moveTo>
                    <a:pt x="487" y="284"/>
                  </a:moveTo>
                  <a:lnTo>
                    <a:pt x="458" y="267"/>
                  </a:lnTo>
                  <a:lnTo>
                    <a:pt x="465" y="251"/>
                  </a:lnTo>
                  <a:lnTo>
                    <a:pt x="496" y="267"/>
                  </a:lnTo>
                  <a:lnTo>
                    <a:pt x="487" y="284"/>
                  </a:lnTo>
                  <a:lnTo>
                    <a:pt x="487" y="284"/>
                  </a:lnTo>
                  <a:lnTo>
                    <a:pt x="487" y="284"/>
                  </a:lnTo>
                  <a:close/>
                  <a:moveTo>
                    <a:pt x="177" y="305"/>
                  </a:moveTo>
                  <a:lnTo>
                    <a:pt x="177" y="288"/>
                  </a:lnTo>
                  <a:lnTo>
                    <a:pt x="206" y="267"/>
                  </a:lnTo>
                  <a:lnTo>
                    <a:pt x="177" y="305"/>
                  </a:lnTo>
                  <a:lnTo>
                    <a:pt x="177" y="305"/>
                  </a:lnTo>
                  <a:lnTo>
                    <a:pt x="177" y="305"/>
                  </a:lnTo>
                  <a:close/>
                  <a:moveTo>
                    <a:pt x="135" y="284"/>
                  </a:moveTo>
                  <a:lnTo>
                    <a:pt x="139" y="288"/>
                  </a:lnTo>
                  <a:lnTo>
                    <a:pt x="123" y="288"/>
                  </a:lnTo>
                  <a:lnTo>
                    <a:pt x="118" y="288"/>
                  </a:lnTo>
                  <a:lnTo>
                    <a:pt x="118" y="284"/>
                  </a:lnTo>
                  <a:lnTo>
                    <a:pt x="118" y="284"/>
                  </a:lnTo>
                  <a:lnTo>
                    <a:pt x="118" y="279"/>
                  </a:lnTo>
                  <a:lnTo>
                    <a:pt x="106" y="279"/>
                  </a:lnTo>
                  <a:lnTo>
                    <a:pt x="135" y="284"/>
                  </a:lnTo>
                  <a:lnTo>
                    <a:pt x="135" y="284"/>
                  </a:lnTo>
                  <a:lnTo>
                    <a:pt x="135" y="284"/>
                  </a:lnTo>
                  <a:close/>
                  <a:moveTo>
                    <a:pt x="173" y="284"/>
                  </a:moveTo>
                  <a:lnTo>
                    <a:pt x="161" y="284"/>
                  </a:lnTo>
                  <a:lnTo>
                    <a:pt x="177" y="284"/>
                  </a:lnTo>
                  <a:lnTo>
                    <a:pt x="173" y="284"/>
                  </a:lnTo>
                  <a:lnTo>
                    <a:pt x="173" y="284"/>
                  </a:lnTo>
                  <a:lnTo>
                    <a:pt x="173" y="284"/>
                  </a:lnTo>
                  <a:close/>
                  <a:moveTo>
                    <a:pt x="286" y="288"/>
                  </a:moveTo>
                  <a:lnTo>
                    <a:pt x="281" y="284"/>
                  </a:lnTo>
                  <a:lnTo>
                    <a:pt x="298" y="279"/>
                  </a:lnTo>
                  <a:lnTo>
                    <a:pt x="312" y="284"/>
                  </a:lnTo>
                  <a:lnTo>
                    <a:pt x="286" y="288"/>
                  </a:lnTo>
                  <a:lnTo>
                    <a:pt x="286" y="288"/>
                  </a:lnTo>
                  <a:lnTo>
                    <a:pt x="286" y="288"/>
                  </a:lnTo>
                  <a:close/>
                  <a:moveTo>
                    <a:pt x="265" y="284"/>
                  </a:moveTo>
                  <a:lnTo>
                    <a:pt x="286" y="300"/>
                  </a:lnTo>
                  <a:lnTo>
                    <a:pt x="269" y="317"/>
                  </a:lnTo>
                  <a:lnTo>
                    <a:pt x="269" y="321"/>
                  </a:lnTo>
                  <a:lnTo>
                    <a:pt x="248" y="288"/>
                  </a:lnTo>
                  <a:lnTo>
                    <a:pt x="265" y="284"/>
                  </a:lnTo>
                  <a:lnTo>
                    <a:pt x="265" y="284"/>
                  </a:lnTo>
                  <a:lnTo>
                    <a:pt x="265" y="284"/>
                  </a:lnTo>
                  <a:close/>
                  <a:moveTo>
                    <a:pt x="206" y="300"/>
                  </a:moveTo>
                  <a:lnTo>
                    <a:pt x="210" y="288"/>
                  </a:lnTo>
                  <a:lnTo>
                    <a:pt x="215" y="284"/>
                  </a:lnTo>
                  <a:lnTo>
                    <a:pt x="243" y="300"/>
                  </a:lnTo>
                  <a:lnTo>
                    <a:pt x="248" y="288"/>
                  </a:lnTo>
                  <a:lnTo>
                    <a:pt x="265" y="317"/>
                  </a:lnTo>
                  <a:lnTo>
                    <a:pt x="232" y="317"/>
                  </a:lnTo>
                  <a:lnTo>
                    <a:pt x="206" y="300"/>
                  </a:lnTo>
                  <a:lnTo>
                    <a:pt x="206" y="300"/>
                  </a:lnTo>
                  <a:lnTo>
                    <a:pt x="206" y="30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7" name="Freeform 426">
              <a:extLst>
                <a:ext uri="{FF2B5EF4-FFF2-40B4-BE49-F238E27FC236}">
                  <a16:creationId xmlns:a16="http://schemas.microsoft.com/office/drawing/2014/main" id="{5AB6F0CF-8794-403B-85F0-97F8288D4563}"/>
                </a:ext>
              </a:extLst>
            </p:cNvPr>
            <p:cNvSpPr>
              <a:spLocks/>
            </p:cNvSpPr>
            <p:nvPr/>
          </p:nvSpPr>
          <p:spPr bwMode="gray">
            <a:xfrm>
              <a:off x="14704781" y="3811329"/>
              <a:ext cx="36330" cy="44840"/>
            </a:xfrm>
            <a:custGeom>
              <a:avLst/>
              <a:gdLst>
                <a:gd name="T0" fmla="*/ 73 w 111"/>
                <a:gd name="T1" fmla="*/ 126 h 137"/>
                <a:gd name="T2" fmla="*/ 56 w 111"/>
                <a:gd name="T3" fmla="*/ 121 h 137"/>
                <a:gd name="T4" fmla="*/ 14 w 111"/>
                <a:gd name="T5" fmla="*/ 137 h 137"/>
                <a:gd name="T6" fmla="*/ 0 w 111"/>
                <a:gd name="T7" fmla="*/ 126 h 137"/>
                <a:gd name="T8" fmla="*/ 0 w 111"/>
                <a:gd name="T9" fmla="*/ 92 h 137"/>
                <a:gd name="T10" fmla="*/ 0 w 111"/>
                <a:gd name="T11" fmla="*/ 71 h 137"/>
                <a:gd name="T12" fmla="*/ 35 w 111"/>
                <a:gd name="T13" fmla="*/ 26 h 137"/>
                <a:gd name="T14" fmla="*/ 42 w 111"/>
                <a:gd name="T15" fmla="*/ 17 h 137"/>
                <a:gd name="T16" fmla="*/ 56 w 111"/>
                <a:gd name="T17" fmla="*/ 33 h 137"/>
                <a:gd name="T18" fmla="*/ 68 w 111"/>
                <a:gd name="T19" fmla="*/ 26 h 137"/>
                <a:gd name="T20" fmla="*/ 68 w 111"/>
                <a:gd name="T21" fmla="*/ 17 h 137"/>
                <a:gd name="T22" fmla="*/ 89 w 111"/>
                <a:gd name="T23" fmla="*/ 0 h 137"/>
                <a:gd name="T24" fmla="*/ 106 w 111"/>
                <a:gd name="T25" fmla="*/ 26 h 137"/>
                <a:gd name="T26" fmla="*/ 111 w 111"/>
                <a:gd name="T27" fmla="*/ 55 h 137"/>
                <a:gd name="T28" fmla="*/ 78 w 111"/>
                <a:gd name="T29" fmla="*/ 71 h 137"/>
                <a:gd name="T30" fmla="*/ 68 w 111"/>
                <a:gd name="T31" fmla="*/ 71 h 137"/>
                <a:gd name="T32" fmla="*/ 56 w 111"/>
                <a:gd name="T33" fmla="*/ 88 h 137"/>
                <a:gd name="T34" fmla="*/ 42 w 111"/>
                <a:gd name="T35" fmla="*/ 88 h 137"/>
                <a:gd name="T36" fmla="*/ 52 w 111"/>
                <a:gd name="T37" fmla="*/ 92 h 137"/>
                <a:gd name="T38" fmla="*/ 73 w 111"/>
                <a:gd name="T39" fmla="*/ 88 h 137"/>
                <a:gd name="T40" fmla="*/ 89 w 111"/>
                <a:gd name="T41" fmla="*/ 88 h 137"/>
                <a:gd name="T42" fmla="*/ 94 w 111"/>
                <a:gd name="T43" fmla="*/ 92 h 137"/>
                <a:gd name="T44" fmla="*/ 73 w 111"/>
                <a:gd name="T45" fmla="*/ 126 h 137"/>
                <a:gd name="T46" fmla="*/ 73 w 111"/>
                <a:gd name="T47" fmla="*/ 126 h 137"/>
                <a:gd name="T48" fmla="*/ 73 w 111"/>
                <a:gd name="T49" fmla="*/ 12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1" h="137">
                  <a:moveTo>
                    <a:pt x="73" y="126"/>
                  </a:moveTo>
                  <a:lnTo>
                    <a:pt x="56" y="121"/>
                  </a:lnTo>
                  <a:lnTo>
                    <a:pt x="14" y="137"/>
                  </a:lnTo>
                  <a:lnTo>
                    <a:pt x="0" y="126"/>
                  </a:lnTo>
                  <a:lnTo>
                    <a:pt x="0" y="92"/>
                  </a:lnTo>
                  <a:lnTo>
                    <a:pt x="0" y="71"/>
                  </a:lnTo>
                  <a:lnTo>
                    <a:pt x="35" y="26"/>
                  </a:lnTo>
                  <a:lnTo>
                    <a:pt x="42" y="17"/>
                  </a:lnTo>
                  <a:lnTo>
                    <a:pt x="56" y="33"/>
                  </a:lnTo>
                  <a:lnTo>
                    <a:pt x="68" y="26"/>
                  </a:lnTo>
                  <a:lnTo>
                    <a:pt x="68" y="17"/>
                  </a:lnTo>
                  <a:lnTo>
                    <a:pt x="89" y="0"/>
                  </a:lnTo>
                  <a:lnTo>
                    <a:pt x="106" y="26"/>
                  </a:lnTo>
                  <a:lnTo>
                    <a:pt x="111" y="55"/>
                  </a:lnTo>
                  <a:lnTo>
                    <a:pt x="78" y="71"/>
                  </a:lnTo>
                  <a:lnTo>
                    <a:pt x="68" y="71"/>
                  </a:lnTo>
                  <a:lnTo>
                    <a:pt x="56" y="88"/>
                  </a:lnTo>
                  <a:lnTo>
                    <a:pt x="42" y="88"/>
                  </a:lnTo>
                  <a:lnTo>
                    <a:pt x="52" y="92"/>
                  </a:lnTo>
                  <a:lnTo>
                    <a:pt x="73" y="88"/>
                  </a:lnTo>
                  <a:lnTo>
                    <a:pt x="89" y="88"/>
                  </a:lnTo>
                  <a:lnTo>
                    <a:pt x="94" y="92"/>
                  </a:lnTo>
                  <a:lnTo>
                    <a:pt x="73" y="126"/>
                  </a:lnTo>
                  <a:lnTo>
                    <a:pt x="73" y="126"/>
                  </a:lnTo>
                  <a:lnTo>
                    <a:pt x="73" y="126"/>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8" name="Freeform 427">
              <a:extLst>
                <a:ext uri="{FF2B5EF4-FFF2-40B4-BE49-F238E27FC236}">
                  <a16:creationId xmlns:a16="http://schemas.microsoft.com/office/drawing/2014/main" id="{7BC7D226-2012-4B81-9F7C-8C0297870D50}"/>
                </a:ext>
              </a:extLst>
            </p:cNvPr>
            <p:cNvSpPr>
              <a:spLocks/>
            </p:cNvSpPr>
            <p:nvPr/>
          </p:nvSpPr>
          <p:spPr bwMode="gray">
            <a:xfrm>
              <a:off x="12331880" y="3742597"/>
              <a:ext cx="6219" cy="8510"/>
            </a:xfrm>
            <a:custGeom>
              <a:avLst/>
              <a:gdLst>
                <a:gd name="T0" fmla="*/ 7 w 19"/>
                <a:gd name="T1" fmla="*/ 26 h 26"/>
                <a:gd name="T2" fmla="*/ 0 w 19"/>
                <a:gd name="T3" fmla="*/ 5 h 26"/>
                <a:gd name="T4" fmla="*/ 0 w 19"/>
                <a:gd name="T5" fmla="*/ 0 h 26"/>
                <a:gd name="T6" fmla="*/ 19 w 19"/>
                <a:gd name="T7" fmla="*/ 14 h 26"/>
                <a:gd name="T8" fmla="*/ 19 w 19"/>
                <a:gd name="T9" fmla="*/ 26 h 26"/>
                <a:gd name="T10" fmla="*/ 7 w 19"/>
                <a:gd name="T11" fmla="*/ 26 h 26"/>
                <a:gd name="T12" fmla="*/ 7 w 19"/>
                <a:gd name="T13" fmla="*/ 26 h 26"/>
                <a:gd name="T14" fmla="*/ 7 w 19"/>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6">
                  <a:moveTo>
                    <a:pt x="7" y="26"/>
                  </a:moveTo>
                  <a:lnTo>
                    <a:pt x="0" y="5"/>
                  </a:lnTo>
                  <a:lnTo>
                    <a:pt x="0" y="0"/>
                  </a:lnTo>
                  <a:lnTo>
                    <a:pt x="19" y="14"/>
                  </a:lnTo>
                  <a:lnTo>
                    <a:pt x="19" y="26"/>
                  </a:lnTo>
                  <a:lnTo>
                    <a:pt x="7" y="26"/>
                  </a:lnTo>
                  <a:lnTo>
                    <a:pt x="7" y="26"/>
                  </a:lnTo>
                  <a:lnTo>
                    <a:pt x="7" y="26"/>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9" name="Freeform 428">
              <a:extLst>
                <a:ext uri="{FF2B5EF4-FFF2-40B4-BE49-F238E27FC236}">
                  <a16:creationId xmlns:a16="http://schemas.microsoft.com/office/drawing/2014/main" id="{FE4B513A-3CC3-4058-A81D-CFE346A5925A}"/>
                </a:ext>
              </a:extLst>
            </p:cNvPr>
            <p:cNvSpPr>
              <a:spLocks noEditPoints="1"/>
            </p:cNvSpPr>
            <p:nvPr/>
          </p:nvSpPr>
          <p:spPr bwMode="gray">
            <a:xfrm>
              <a:off x="12090663" y="3638189"/>
              <a:ext cx="84443" cy="59568"/>
            </a:xfrm>
            <a:custGeom>
              <a:avLst/>
              <a:gdLst>
                <a:gd name="T0" fmla="*/ 21 w 258"/>
                <a:gd name="T1" fmla="*/ 142 h 182"/>
                <a:gd name="T2" fmla="*/ 21 w 258"/>
                <a:gd name="T3" fmla="*/ 118 h 182"/>
                <a:gd name="T4" fmla="*/ 5 w 258"/>
                <a:gd name="T5" fmla="*/ 114 h 182"/>
                <a:gd name="T6" fmla="*/ 0 w 258"/>
                <a:gd name="T7" fmla="*/ 102 h 182"/>
                <a:gd name="T8" fmla="*/ 17 w 258"/>
                <a:gd name="T9" fmla="*/ 97 h 182"/>
                <a:gd name="T10" fmla="*/ 21 w 258"/>
                <a:gd name="T11" fmla="*/ 85 h 182"/>
                <a:gd name="T12" fmla="*/ 17 w 258"/>
                <a:gd name="T13" fmla="*/ 69 h 182"/>
                <a:gd name="T14" fmla="*/ 26 w 258"/>
                <a:gd name="T15" fmla="*/ 57 h 182"/>
                <a:gd name="T16" fmla="*/ 21 w 258"/>
                <a:gd name="T17" fmla="*/ 45 h 182"/>
                <a:gd name="T18" fmla="*/ 21 w 258"/>
                <a:gd name="T19" fmla="*/ 29 h 182"/>
                <a:gd name="T20" fmla="*/ 21 w 258"/>
                <a:gd name="T21" fmla="*/ 12 h 182"/>
                <a:gd name="T22" fmla="*/ 21 w 258"/>
                <a:gd name="T23" fmla="*/ 0 h 182"/>
                <a:gd name="T24" fmla="*/ 52 w 258"/>
                <a:gd name="T25" fmla="*/ 7 h 182"/>
                <a:gd name="T26" fmla="*/ 76 w 258"/>
                <a:gd name="T27" fmla="*/ 0 h 182"/>
                <a:gd name="T28" fmla="*/ 97 w 258"/>
                <a:gd name="T29" fmla="*/ 12 h 182"/>
                <a:gd name="T30" fmla="*/ 106 w 258"/>
                <a:gd name="T31" fmla="*/ 7 h 182"/>
                <a:gd name="T32" fmla="*/ 123 w 258"/>
                <a:gd name="T33" fmla="*/ 24 h 182"/>
                <a:gd name="T34" fmla="*/ 144 w 258"/>
                <a:gd name="T35" fmla="*/ 12 h 182"/>
                <a:gd name="T36" fmla="*/ 161 w 258"/>
                <a:gd name="T37" fmla="*/ 45 h 182"/>
                <a:gd name="T38" fmla="*/ 199 w 258"/>
                <a:gd name="T39" fmla="*/ 40 h 182"/>
                <a:gd name="T40" fmla="*/ 199 w 258"/>
                <a:gd name="T41" fmla="*/ 45 h 182"/>
                <a:gd name="T42" fmla="*/ 199 w 258"/>
                <a:gd name="T43" fmla="*/ 57 h 182"/>
                <a:gd name="T44" fmla="*/ 166 w 258"/>
                <a:gd name="T45" fmla="*/ 57 h 182"/>
                <a:gd name="T46" fmla="*/ 166 w 258"/>
                <a:gd name="T47" fmla="*/ 64 h 182"/>
                <a:gd name="T48" fmla="*/ 215 w 258"/>
                <a:gd name="T49" fmla="*/ 69 h 182"/>
                <a:gd name="T50" fmla="*/ 258 w 258"/>
                <a:gd name="T51" fmla="*/ 102 h 182"/>
                <a:gd name="T52" fmla="*/ 253 w 258"/>
                <a:gd name="T53" fmla="*/ 118 h 182"/>
                <a:gd name="T54" fmla="*/ 236 w 258"/>
                <a:gd name="T55" fmla="*/ 118 h 182"/>
                <a:gd name="T56" fmla="*/ 236 w 258"/>
                <a:gd name="T57" fmla="*/ 125 h 182"/>
                <a:gd name="T58" fmla="*/ 229 w 258"/>
                <a:gd name="T59" fmla="*/ 125 h 182"/>
                <a:gd name="T60" fmla="*/ 220 w 258"/>
                <a:gd name="T61" fmla="*/ 114 h 182"/>
                <a:gd name="T62" fmla="*/ 149 w 258"/>
                <a:gd name="T63" fmla="*/ 114 h 182"/>
                <a:gd name="T64" fmla="*/ 128 w 258"/>
                <a:gd name="T65" fmla="*/ 125 h 182"/>
                <a:gd name="T66" fmla="*/ 106 w 258"/>
                <a:gd name="T67" fmla="*/ 125 h 182"/>
                <a:gd name="T68" fmla="*/ 97 w 258"/>
                <a:gd name="T69" fmla="*/ 114 h 182"/>
                <a:gd name="T70" fmla="*/ 90 w 258"/>
                <a:gd name="T71" fmla="*/ 114 h 182"/>
                <a:gd name="T72" fmla="*/ 76 w 258"/>
                <a:gd name="T73" fmla="*/ 125 h 182"/>
                <a:gd name="T74" fmla="*/ 69 w 258"/>
                <a:gd name="T75" fmla="*/ 118 h 182"/>
                <a:gd name="T76" fmla="*/ 69 w 258"/>
                <a:gd name="T77" fmla="*/ 137 h 182"/>
                <a:gd name="T78" fmla="*/ 43 w 258"/>
                <a:gd name="T79" fmla="*/ 175 h 182"/>
                <a:gd name="T80" fmla="*/ 21 w 258"/>
                <a:gd name="T81" fmla="*/ 142 h 182"/>
                <a:gd name="T82" fmla="*/ 21 w 258"/>
                <a:gd name="T83" fmla="*/ 142 h 182"/>
                <a:gd name="T84" fmla="*/ 21 w 258"/>
                <a:gd name="T85" fmla="*/ 142 h 182"/>
                <a:gd name="T86" fmla="*/ 38 w 258"/>
                <a:gd name="T87" fmla="*/ 182 h 182"/>
                <a:gd name="T88" fmla="*/ 38 w 258"/>
                <a:gd name="T89" fmla="*/ 175 h 182"/>
                <a:gd name="T90" fmla="*/ 38 w 258"/>
                <a:gd name="T91" fmla="*/ 175 h 182"/>
                <a:gd name="T92" fmla="*/ 38 w 258"/>
                <a:gd name="T93" fmla="*/ 182 h 182"/>
                <a:gd name="T94" fmla="*/ 38 w 258"/>
                <a:gd name="T95" fmla="*/ 182 h 182"/>
                <a:gd name="T96" fmla="*/ 38 w 258"/>
                <a:gd name="T9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8" h="182">
                  <a:moveTo>
                    <a:pt x="21" y="142"/>
                  </a:moveTo>
                  <a:lnTo>
                    <a:pt x="21" y="118"/>
                  </a:lnTo>
                  <a:lnTo>
                    <a:pt x="5" y="114"/>
                  </a:lnTo>
                  <a:lnTo>
                    <a:pt x="0" y="102"/>
                  </a:lnTo>
                  <a:lnTo>
                    <a:pt x="17" y="97"/>
                  </a:lnTo>
                  <a:lnTo>
                    <a:pt x="21" y="85"/>
                  </a:lnTo>
                  <a:lnTo>
                    <a:pt x="17" y="69"/>
                  </a:lnTo>
                  <a:lnTo>
                    <a:pt x="26" y="57"/>
                  </a:lnTo>
                  <a:lnTo>
                    <a:pt x="21" y="45"/>
                  </a:lnTo>
                  <a:lnTo>
                    <a:pt x="21" y="29"/>
                  </a:lnTo>
                  <a:lnTo>
                    <a:pt x="21" y="12"/>
                  </a:lnTo>
                  <a:lnTo>
                    <a:pt x="21" y="0"/>
                  </a:lnTo>
                  <a:lnTo>
                    <a:pt x="52" y="7"/>
                  </a:lnTo>
                  <a:lnTo>
                    <a:pt x="76" y="0"/>
                  </a:lnTo>
                  <a:lnTo>
                    <a:pt x="97" y="12"/>
                  </a:lnTo>
                  <a:lnTo>
                    <a:pt x="106" y="7"/>
                  </a:lnTo>
                  <a:lnTo>
                    <a:pt x="123" y="24"/>
                  </a:lnTo>
                  <a:lnTo>
                    <a:pt x="144" y="12"/>
                  </a:lnTo>
                  <a:lnTo>
                    <a:pt x="161" y="45"/>
                  </a:lnTo>
                  <a:lnTo>
                    <a:pt x="199" y="40"/>
                  </a:lnTo>
                  <a:lnTo>
                    <a:pt x="199" y="45"/>
                  </a:lnTo>
                  <a:lnTo>
                    <a:pt x="199" y="57"/>
                  </a:lnTo>
                  <a:lnTo>
                    <a:pt x="166" y="57"/>
                  </a:lnTo>
                  <a:lnTo>
                    <a:pt x="166" y="64"/>
                  </a:lnTo>
                  <a:lnTo>
                    <a:pt x="215" y="69"/>
                  </a:lnTo>
                  <a:lnTo>
                    <a:pt x="258" y="102"/>
                  </a:lnTo>
                  <a:lnTo>
                    <a:pt x="253" y="118"/>
                  </a:lnTo>
                  <a:lnTo>
                    <a:pt x="236" y="118"/>
                  </a:lnTo>
                  <a:lnTo>
                    <a:pt x="236" y="125"/>
                  </a:lnTo>
                  <a:lnTo>
                    <a:pt x="229" y="125"/>
                  </a:lnTo>
                  <a:lnTo>
                    <a:pt x="220" y="114"/>
                  </a:lnTo>
                  <a:lnTo>
                    <a:pt x="149" y="114"/>
                  </a:lnTo>
                  <a:lnTo>
                    <a:pt x="128" y="125"/>
                  </a:lnTo>
                  <a:lnTo>
                    <a:pt x="106" y="125"/>
                  </a:lnTo>
                  <a:lnTo>
                    <a:pt x="97" y="114"/>
                  </a:lnTo>
                  <a:lnTo>
                    <a:pt x="90" y="114"/>
                  </a:lnTo>
                  <a:lnTo>
                    <a:pt x="76" y="125"/>
                  </a:lnTo>
                  <a:lnTo>
                    <a:pt x="69" y="118"/>
                  </a:lnTo>
                  <a:lnTo>
                    <a:pt x="69" y="137"/>
                  </a:lnTo>
                  <a:lnTo>
                    <a:pt x="43" y="175"/>
                  </a:lnTo>
                  <a:lnTo>
                    <a:pt x="21" y="142"/>
                  </a:lnTo>
                  <a:lnTo>
                    <a:pt x="21" y="142"/>
                  </a:lnTo>
                  <a:lnTo>
                    <a:pt x="21" y="142"/>
                  </a:lnTo>
                  <a:close/>
                  <a:moveTo>
                    <a:pt x="38" y="182"/>
                  </a:moveTo>
                  <a:lnTo>
                    <a:pt x="38" y="175"/>
                  </a:lnTo>
                  <a:lnTo>
                    <a:pt x="38" y="175"/>
                  </a:lnTo>
                  <a:lnTo>
                    <a:pt x="38" y="182"/>
                  </a:lnTo>
                  <a:lnTo>
                    <a:pt x="38" y="182"/>
                  </a:lnTo>
                  <a:lnTo>
                    <a:pt x="38" y="182"/>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0" name="Freeform 429">
              <a:extLst>
                <a:ext uri="{FF2B5EF4-FFF2-40B4-BE49-F238E27FC236}">
                  <a16:creationId xmlns:a16="http://schemas.microsoft.com/office/drawing/2014/main" id="{CC74EAC5-3B45-484F-BB5F-5CD0B8BD2A0C}"/>
                </a:ext>
              </a:extLst>
            </p:cNvPr>
            <p:cNvSpPr>
              <a:spLocks noEditPoints="1"/>
            </p:cNvSpPr>
            <p:nvPr/>
          </p:nvSpPr>
          <p:spPr bwMode="gray">
            <a:xfrm>
              <a:off x="11639975" y="4082003"/>
              <a:ext cx="376391" cy="150884"/>
            </a:xfrm>
            <a:custGeom>
              <a:avLst/>
              <a:gdLst>
                <a:gd name="T0" fmla="*/ 966 w 1150"/>
                <a:gd name="T1" fmla="*/ 40 h 461"/>
                <a:gd name="T2" fmla="*/ 999 w 1150"/>
                <a:gd name="T3" fmla="*/ 57 h 461"/>
                <a:gd name="T4" fmla="*/ 1068 w 1150"/>
                <a:gd name="T5" fmla="*/ 78 h 461"/>
                <a:gd name="T6" fmla="*/ 1096 w 1150"/>
                <a:gd name="T7" fmla="*/ 78 h 461"/>
                <a:gd name="T8" fmla="*/ 1122 w 1150"/>
                <a:gd name="T9" fmla="*/ 111 h 461"/>
                <a:gd name="T10" fmla="*/ 1150 w 1150"/>
                <a:gd name="T11" fmla="*/ 168 h 461"/>
                <a:gd name="T12" fmla="*/ 1089 w 1150"/>
                <a:gd name="T13" fmla="*/ 255 h 461"/>
                <a:gd name="T14" fmla="*/ 945 w 1150"/>
                <a:gd name="T15" fmla="*/ 338 h 461"/>
                <a:gd name="T16" fmla="*/ 928 w 1150"/>
                <a:gd name="T17" fmla="*/ 371 h 461"/>
                <a:gd name="T18" fmla="*/ 895 w 1150"/>
                <a:gd name="T19" fmla="*/ 437 h 461"/>
                <a:gd name="T20" fmla="*/ 841 w 1150"/>
                <a:gd name="T21" fmla="*/ 421 h 461"/>
                <a:gd name="T22" fmla="*/ 787 w 1150"/>
                <a:gd name="T23" fmla="*/ 421 h 461"/>
                <a:gd name="T24" fmla="*/ 782 w 1150"/>
                <a:gd name="T25" fmla="*/ 404 h 461"/>
                <a:gd name="T26" fmla="*/ 803 w 1150"/>
                <a:gd name="T27" fmla="*/ 383 h 461"/>
                <a:gd name="T28" fmla="*/ 820 w 1150"/>
                <a:gd name="T29" fmla="*/ 333 h 461"/>
                <a:gd name="T30" fmla="*/ 836 w 1150"/>
                <a:gd name="T31" fmla="*/ 243 h 461"/>
                <a:gd name="T32" fmla="*/ 810 w 1150"/>
                <a:gd name="T33" fmla="*/ 284 h 461"/>
                <a:gd name="T34" fmla="*/ 798 w 1150"/>
                <a:gd name="T35" fmla="*/ 293 h 461"/>
                <a:gd name="T36" fmla="*/ 765 w 1150"/>
                <a:gd name="T37" fmla="*/ 255 h 461"/>
                <a:gd name="T38" fmla="*/ 765 w 1150"/>
                <a:gd name="T39" fmla="*/ 201 h 461"/>
                <a:gd name="T40" fmla="*/ 772 w 1150"/>
                <a:gd name="T41" fmla="*/ 168 h 461"/>
                <a:gd name="T42" fmla="*/ 787 w 1150"/>
                <a:gd name="T43" fmla="*/ 144 h 461"/>
                <a:gd name="T44" fmla="*/ 820 w 1150"/>
                <a:gd name="T45" fmla="*/ 73 h 461"/>
                <a:gd name="T46" fmla="*/ 891 w 1150"/>
                <a:gd name="T47" fmla="*/ 17 h 461"/>
                <a:gd name="T48" fmla="*/ 907 w 1150"/>
                <a:gd name="T49" fmla="*/ 0 h 461"/>
                <a:gd name="T50" fmla="*/ 895 w 1150"/>
                <a:gd name="T51" fmla="*/ 0 h 461"/>
                <a:gd name="T52" fmla="*/ 891 w 1150"/>
                <a:gd name="T53" fmla="*/ 7 h 461"/>
                <a:gd name="T54" fmla="*/ 80 w 1150"/>
                <a:gd name="T55" fmla="*/ 73 h 461"/>
                <a:gd name="T56" fmla="*/ 80 w 1150"/>
                <a:gd name="T57" fmla="*/ 78 h 461"/>
                <a:gd name="T58" fmla="*/ 14 w 1150"/>
                <a:gd name="T59" fmla="*/ 172 h 461"/>
                <a:gd name="T60" fmla="*/ 31 w 1150"/>
                <a:gd name="T61" fmla="*/ 151 h 461"/>
                <a:gd name="T62" fmla="*/ 14 w 1150"/>
                <a:gd name="T63" fmla="*/ 106 h 461"/>
                <a:gd name="T64" fmla="*/ 31 w 1150"/>
                <a:gd name="T65" fmla="*/ 106 h 461"/>
                <a:gd name="T66" fmla="*/ 47 w 1150"/>
                <a:gd name="T67" fmla="*/ 144 h 461"/>
                <a:gd name="T68" fmla="*/ 31 w 1150"/>
                <a:gd name="T69" fmla="*/ 172 h 461"/>
                <a:gd name="T70" fmla="*/ 69 w 1150"/>
                <a:gd name="T71" fmla="*/ 128 h 461"/>
                <a:gd name="T72" fmla="*/ 69 w 1150"/>
                <a:gd name="T73" fmla="*/ 118 h 461"/>
                <a:gd name="T74" fmla="*/ 69 w 1150"/>
                <a:gd name="T75" fmla="*/ 128 h 461"/>
                <a:gd name="T76" fmla="*/ 0 w 1150"/>
                <a:gd name="T77" fmla="*/ 128 h 461"/>
                <a:gd name="T78" fmla="*/ 9 w 1150"/>
                <a:gd name="T79" fmla="*/ 135 h 461"/>
                <a:gd name="T80" fmla="*/ 97 w 1150"/>
                <a:gd name="T81" fmla="*/ 161 h 461"/>
                <a:gd name="T82" fmla="*/ 102 w 1150"/>
                <a:gd name="T83" fmla="*/ 144 h 461"/>
                <a:gd name="T84" fmla="*/ 97 w 1150"/>
                <a:gd name="T85" fmla="*/ 161 h 461"/>
                <a:gd name="T86" fmla="*/ 139 w 1150"/>
                <a:gd name="T87" fmla="*/ 168 h 461"/>
                <a:gd name="T88" fmla="*/ 151 w 1150"/>
                <a:gd name="T89" fmla="*/ 168 h 461"/>
                <a:gd name="T90" fmla="*/ 85 w 1150"/>
                <a:gd name="T91" fmla="*/ 201 h 461"/>
                <a:gd name="T92" fmla="*/ 85 w 1150"/>
                <a:gd name="T93" fmla="*/ 189 h 461"/>
                <a:gd name="T94" fmla="*/ 85 w 1150"/>
                <a:gd name="T95" fmla="*/ 201 h 461"/>
                <a:gd name="T96" fmla="*/ 803 w 1150"/>
                <a:gd name="T97" fmla="*/ 293 h 461"/>
                <a:gd name="T98" fmla="*/ 803 w 1150"/>
                <a:gd name="T99" fmla="*/ 317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0" h="461">
                  <a:moveTo>
                    <a:pt x="907" y="0"/>
                  </a:moveTo>
                  <a:lnTo>
                    <a:pt x="950" y="33"/>
                  </a:lnTo>
                  <a:lnTo>
                    <a:pt x="966" y="40"/>
                  </a:lnTo>
                  <a:lnTo>
                    <a:pt x="983" y="40"/>
                  </a:lnTo>
                  <a:lnTo>
                    <a:pt x="983" y="50"/>
                  </a:lnTo>
                  <a:lnTo>
                    <a:pt x="999" y="57"/>
                  </a:lnTo>
                  <a:lnTo>
                    <a:pt x="1004" y="73"/>
                  </a:lnTo>
                  <a:lnTo>
                    <a:pt x="1058" y="90"/>
                  </a:lnTo>
                  <a:lnTo>
                    <a:pt x="1068" y="78"/>
                  </a:lnTo>
                  <a:lnTo>
                    <a:pt x="1068" y="73"/>
                  </a:lnTo>
                  <a:lnTo>
                    <a:pt x="1080" y="73"/>
                  </a:lnTo>
                  <a:lnTo>
                    <a:pt x="1096" y="78"/>
                  </a:lnTo>
                  <a:lnTo>
                    <a:pt x="1113" y="95"/>
                  </a:lnTo>
                  <a:lnTo>
                    <a:pt x="1150" y="111"/>
                  </a:lnTo>
                  <a:lnTo>
                    <a:pt x="1122" y="111"/>
                  </a:lnTo>
                  <a:lnTo>
                    <a:pt x="1150" y="144"/>
                  </a:lnTo>
                  <a:lnTo>
                    <a:pt x="1150" y="151"/>
                  </a:lnTo>
                  <a:lnTo>
                    <a:pt x="1150" y="168"/>
                  </a:lnTo>
                  <a:lnTo>
                    <a:pt x="1143" y="168"/>
                  </a:lnTo>
                  <a:lnTo>
                    <a:pt x="1127" y="217"/>
                  </a:lnTo>
                  <a:lnTo>
                    <a:pt x="1089" y="255"/>
                  </a:lnTo>
                  <a:lnTo>
                    <a:pt x="1051" y="284"/>
                  </a:lnTo>
                  <a:lnTo>
                    <a:pt x="966" y="317"/>
                  </a:lnTo>
                  <a:lnTo>
                    <a:pt x="945" y="338"/>
                  </a:lnTo>
                  <a:lnTo>
                    <a:pt x="945" y="354"/>
                  </a:lnTo>
                  <a:lnTo>
                    <a:pt x="933" y="350"/>
                  </a:lnTo>
                  <a:lnTo>
                    <a:pt x="928" y="371"/>
                  </a:lnTo>
                  <a:lnTo>
                    <a:pt x="912" y="411"/>
                  </a:lnTo>
                  <a:lnTo>
                    <a:pt x="912" y="428"/>
                  </a:lnTo>
                  <a:lnTo>
                    <a:pt x="895" y="437"/>
                  </a:lnTo>
                  <a:lnTo>
                    <a:pt x="879" y="461"/>
                  </a:lnTo>
                  <a:lnTo>
                    <a:pt x="862" y="461"/>
                  </a:lnTo>
                  <a:lnTo>
                    <a:pt x="841" y="421"/>
                  </a:lnTo>
                  <a:lnTo>
                    <a:pt x="824" y="421"/>
                  </a:lnTo>
                  <a:lnTo>
                    <a:pt x="803" y="411"/>
                  </a:lnTo>
                  <a:lnTo>
                    <a:pt x="787" y="421"/>
                  </a:lnTo>
                  <a:lnTo>
                    <a:pt x="782" y="421"/>
                  </a:lnTo>
                  <a:lnTo>
                    <a:pt x="798" y="404"/>
                  </a:lnTo>
                  <a:lnTo>
                    <a:pt x="782" y="404"/>
                  </a:lnTo>
                  <a:lnTo>
                    <a:pt x="782" y="387"/>
                  </a:lnTo>
                  <a:lnTo>
                    <a:pt x="798" y="387"/>
                  </a:lnTo>
                  <a:lnTo>
                    <a:pt x="803" y="383"/>
                  </a:lnTo>
                  <a:lnTo>
                    <a:pt x="798" y="350"/>
                  </a:lnTo>
                  <a:lnTo>
                    <a:pt x="798" y="338"/>
                  </a:lnTo>
                  <a:lnTo>
                    <a:pt x="820" y="333"/>
                  </a:lnTo>
                  <a:lnTo>
                    <a:pt x="836" y="284"/>
                  </a:lnTo>
                  <a:lnTo>
                    <a:pt x="824" y="272"/>
                  </a:lnTo>
                  <a:lnTo>
                    <a:pt x="836" y="243"/>
                  </a:lnTo>
                  <a:lnTo>
                    <a:pt x="824" y="255"/>
                  </a:lnTo>
                  <a:lnTo>
                    <a:pt x="824" y="284"/>
                  </a:lnTo>
                  <a:lnTo>
                    <a:pt x="810" y="284"/>
                  </a:lnTo>
                  <a:lnTo>
                    <a:pt x="820" y="272"/>
                  </a:lnTo>
                  <a:lnTo>
                    <a:pt x="820" y="272"/>
                  </a:lnTo>
                  <a:lnTo>
                    <a:pt x="798" y="293"/>
                  </a:lnTo>
                  <a:lnTo>
                    <a:pt x="756" y="272"/>
                  </a:lnTo>
                  <a:lnTo>
                    <a:pt x="749" y="255"/>
                  </a:lnTo>
                  <a:lnTo>
                    <a:pt x="765" y="255"/>
                  </a:lnTo>
                  <a:lnTo>
                    <a:pt x="765" y="239"/>
                  </a:lnTo>
                  <a:lnTo>
                    <a:pt x="756" y="217"/>
                  </a:lnTo>
                  <a:lnTo>
                    <a:pt x="765" y="201"/>
                  </a:lnTo>
                  <a:lnTo>
                    <a:pt x="749" y="172"/>
                  </a:lnTo>
                  <a:lnTo>
                    <a:pt x="756" y="168"/>
                  </a:lnTo>
                  <a:lnTo>
                    <a:pt x="772" y="168"/>
                  </a:lnTo>
                  <a:lnTo>
                    <a:pt x="787" y="144"/>
                  </a:lnTo>
                  <a:lnTo>
                    <a:pt x="798" y="144"/>
                  </a:lnTo>
                  <a:lnTo>
                    <a:pt x="787" y="144"/>
                  </a:lnTo>
                  <a:lnTo>
                    <a:pt x="782" y="128"/>
                  </a:lnTo>
                  <a:lnTo>
                    <a:pt x="810" y="95"/>
                  </a:lnTo>
                  <a:lnTo>
                    <a:pt x="820" y="73"/>
                  </a:lnTo>
                  <a:lnTo>
                    <a:pt x="810" y="50"/>
                  </a:lnTo>
                  <a:lnTo>
                    <a:pt x="810" y="40"/>
                  </a:lnTo>
                  <a:lnTo>
                    <a:pt x="891" y="17"/>
                  </a:lnTo>
                  <a:lnTo>
                    <a:pt x="907" y="0"/>
                  </a:lnTo>
                  <a:lnTo>
                    <a:pt x="907" y="0"/>
                  </a:lnTo>
                  <a:lnTo>
                    <a:pt x="907" y="0"/>
                  </a:lnTo>
                  <a:close/>
                  <a:moveTo>
                    <a:pt x="891" y="7"/>
                  </a:moveTo>
                  <a:lnTo>
                    <a:pt x="891" y="7"/>
                  </a:lnTo>
                  <a:lnTo>
                    <a:pt x="895" y="0"/>
                  </a:lnTo>
                  <a:lnTo>
                    <a:pt x="891" y="7"/>
                  </a:lnTo>
                  <a:lnTo>
                    <a:pt x="891" y="7"/>
                  </a:lnTo>
                  <a:lnTo>
                    <a:pt x="891" y="7"/>
                  </a:lnTo>
                  <a:close/>
                  <a:moveTo>
                    <a:pt x="80" y="78"/>
                  </a:moveTo>
                  <a:lnTo>
                    <a:pt x="80" y="78"/>
                  </a:lnTo>
                  <a:lnTo>
                    <a:pt x="80" y="73"/>
                  </a:lnTo>
                  <a:lnTo>
                    <a:pt x="85" y="78"/>
                  </a:lnTo>
                  <a:lnTo>
                    <a:pt x="80" y="78"/>
                  </a:lnTo>
                  <a:lnTo>
                    <a:pt x="80" y="78"/>
                  </a:lnTo>
                  <a:lnTo>
                    <a:pt x="80" y="78"/>
                  </a:lnTo>
                  <a:close/>
                  <a:moveTo>
                    <a:pt x="31" y="172"/>
                  </a:moveTo>
                  <a:lnTo>
                    <a:pt x="14" y="172"/>
                  </a:lnTo>
                  <a:lnTo>
                    <a:pt x="9" y="168"/>
                  </a:lnTo>
                  <a:lnTo>
                    <a:pt x="26" y="151"/>
                  </a:lnTo>
                  <a:lnTo>
                    <a:pt x="31" y="151"/>
                  </a:lnTo>
                  <a:lnTo>
                    <a:pt x="43" y="144"/>
                  </a:lnTo>
                  <a:lnTo>
                    <a:pt x="14" y="118"/>
                  </a:lnTo>
                  <a:lnTo>
                    <a:pt x="14" y="106"/>
                  </a:lnTo>
                  <a:lnTo>
                    <a:pt x="0" y="106"/>
                  </a:lnTo>
                  <a:lnTo>
                    <a:pt x="14" y="90"/>
                  </a:lnTo>
                  <a:lnTo>
                    <a:pt x="31" y="106"/>
                  </a:lnTo>
                  <a:lnTo>
                    <a:pt x="31" y="118"/>
                  </a:lnTo>
                  <a:lnTo>
                    <a:pt x="47" y="128"/>
                  </a:lnTo>
                  <a:lnTo>
                    <a:pt x="47" y="144"/>
                  </a:lnTo>
                  <a:lnTo>
                    <a:pt x="52" y="151"/>
                  </a:lnTo>
                  <a:lnTo>
                    <a:pt x="47" y="168"/>
                  </a:lnTo>
                  <a:lnTo>
                    <a:pt x="31" y="172"/>
                  </a:lnTo>
                  <a:lnTo>
                    <a:pt x="31" y="172"/>
                  </a:lnTo>
                  <a:lnTo>
                    <a:pt x="31" y="172"/>
                  </a:lnTo>
                  <a:close/>
                  <a:moveTo>
                    <a:pt x="69" y="128"/>
                  </a:moveTo>
                  <a:lnTo>
                    <a:pt x="52" y="128"/>
                  </a:lnTo>
                  <a:lnTo>
                    <a:pt x="52" y="111"/>
                  </a:lnTo>
                  <a:lnTo>
                    <a:pt x="69" y="118"/>
                  </a:lnTo>
                  <a:lnTo>
                    <a:pt x="80" y="118"/>
                  </a:lnTo>
                  <a:lnTo>
                    <a:pt x="69" y="128"/>
                  </a:lnTo>
                  <a:lnTo>
                    <a:pt x="69" y="128"/>
                  </a:lnTo>
                  <a:lnTo>
                    <a:pt x="69" y="128"/>
                  </a:lnTo>
                  <a:close/>
                  <a:moveTo>
                    <a:pt x="9" y="135"/>
                  </a:moveTo>
                  <a:lnTo>
                    <a:pt x="0" y="128"/>
                  </a:lnTo>
                  <a:lnTo>
                    <a:pt x="9" y="118"/>
                  </a:lnTo>
                  <a:lnTo>
                    <a:pt x="14" y="135"/>
                  </a:lnTo>
                  <a:lnTo>
                    <a:pt x="9" y="135"/>
                  </a:lnTo>
                  <a:lnTo>
                    <a:pt x="9" y="135"/>
                  </a:lnTo>
                  <a:lnTo>
                    <a:pt x="9" y="135"/>
                  </a:lnTo>
                  <a:close/>
                  <a:moveTo>
                    <a:pt x="97" y="161"/>
                  </a:moveTo>
                  <a:lnTo>
                    <a:pt x="80" y="151"/>
                  </a:lnTo>
                  <a:lnTo>
                    <a:pt x="80" y="135"/>
                  </a:lnTo>
                  <a:lnTo>
                    <a:pt x="102" y="144"/>
                  </a:lnTo>
                  <a:lnTo>
                    <a:pt x="102" y="151"/>
                  </a:lnTo>
                  <a:lnTo>
                    <a:pt x="97" y="161"/>
                  </a:lnTo>
                  <a:lnTo>
                    <a:pt x="97" y="161"/>
                  </a:lnTo>
                  <a:lnTo>
                    <a:pt x="97" y="161"/>
                  </a:lnTo>
                  <a:close/>
                  <a:moveTo>
                    <a:pt x="151" y="168"/>
                  </a:moveTo>
                  <a:lnTo>
                    <a:pt x="139" y="168"/>
                  </a:lnTo>
                  <a:lnTo>
                    <a:pt x="172" y="151"/>
                  </a:lnTo>
                  <a:lnTo>
                    <a:pt x="156" y="168"/>
                  </a:lnTo>
                  <a:lnTo>
                    <a:pt x="151" y="168"/>
                  </a:lnTo>
                  <a:lnTo>
                    <a:pt x="151" y="168"/>
                  </a:lnTo>
                  <a:lnTo>
                    <a:pt x="151" y="168"/>
                  </a:lnTo>
                  <a:close/>
                  <a:moveTo>
                    <a:pt x="85" y="201"/>
                  </a:moveTo>
                  <a:lnTo>
                    <a:pt x="80" y="189"/>
                  </a:lnTo>
                  <a:lnTo>
                    <a:pt x="80" y="189"/>
                  </a:lnTo>
                  <a:lnTo>
                    <a:pt x="85" y="189"/>
                  </a:lnTo>
                  <a:lnTo>
                    <a:pt x="85" y="201"/>
                  </a:lnTo>
                  <a:lnTo>
                    <a:pt x="85" y="201"/>
                  </a:lnTo>
                  <a:lnTo>
                    <a:pt x="85" y="201"/>
                  </a:lnTo>
                  <a:close/>
                  <a:moveTo>
                    <a:pt x="803" y="317"/>
                  </a:moveTo>
                  <a:lnTo>
                    <a:pt x="798" y="317"/>
                  </a:lnTo>
                  <a:lnTo>
                    <a:pt x="803" y="293"/>
                  </a:lnTo>
                  <a:lnTo>
                    <a:pt x="820" y="293"/>
                  </a:lnTo>
                  <a:lnTo>
                    <a:pt x="824" y="293"/>
                  </a:lnTo>
                  <a:lnTo>
                    <a:pt x="803" y="317"/>
                  </a:lnTo>
                  <a:lnTo>
                    <a:pt x="803" y="317"/>
                  </a:lnTo>
                  <a:lnTo>
                    <a:pt x="803" y="31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1" name="Freeform 430">
              <a:extLst>
                <a:ext uri="{FF2B5EF4-FFF2-40B4-BE49-F238E27FC236}">
                  <a16:creationId xmlns:a16="http://schemas.microsoft.com/office/drawing/2014/main" id="{3DB48DE8-6B70-4FE7-98EB-B1FA3366875B}"/>
                </a:ext>
              </a:extLst>
            </p:cNvPr>
            <p:cNvSpPr>
              <a:spLocks/>
            </p:cNvSpPr>
            <p:nvPr/>
          </p:nvSpPr>
          <p:spPr bwMode="gray">
            <a:xfrm>
              <a:off x="14312680" y="3343622"/>
              <a:ext cx="276893" cy="242854"/>
            </a:xfrm>
            <a:custGeom>
              <a:avLst/>
              <a:gdLst>
                <a:gd name="T0" fmla="*/ 468 w 846"/>
                <a:gd name="T1" fmla="*/ 742 h 742"/>
                <a:gd name="T2" fmla="*/ 468 w 846"/>
                <a:gd name="T3" fmla="*/ 725 h 742"/>
                <a:gd name="T4" fmla="*/ 17 w 846"/>
                <a:gd name="T5" fmla="*/ 742 h 742"/>
                <a:gd name="T6" fmla="*/ 17 w 846"/>
                <a:gd name="T7" fmla="*/ 189 h 742"/>
                <a:gd name="T8" fmla="*/ 17 w 846"/>
                <a:gd name="T9" fmla="*/ 66 h 742"/>
                <a:gd name="T10" fmla="*/ 31 w 846"/>
                <a:gd name="T11" fmla="*/ 0 h 742"/>
                <a:gd name="T12" fmla="*/ 38 w 846"/>
                <a:gd name="T13" fmla="*/ 10 h 742"/>
                <a:gd name="T14" fmla="*/ 177 w 846"/>
                <a:gd name="T15" fmla="*/ 21 h 742"/>
                <a:gd name="T16" fmla="*/ 198 w 846"/>
                <a:gd name="T17" fmla="*/ 38 h 742"/>
                <a:gd name="T18" fmla="*/ 224 w 846"/>
                <a:gd name="T19" fmla="*/ 45 h 742"/>
                <a:gd name="T20" fmla="*/ 300 w 846"/>
                <a:gd name="T21" fmla="*/ 62 h 742"/>
                <a:gd name="T22" fmla="*/ 371 w 846"/>
                <a:gd name="T23" fmla="*/ 21 h 742"/>
                <a:gd name="T24" fmla="*/ 387 w 846"/>
                <a:gd name="T25" fmla="*/ 29 h 742"/>
                <a:gd name="T26" fmla="*/ 404 w 846"/>
                <a:gd name="T27" fmla="*/ 10 h 742"/>
                <a:gd name="T28" fmla="*/ 409 w 846"/>
                <a:gd name="T29" fmla="*/ 21 h 742"/>
                <a:gd name="T30" fmla="*/ 446 w 846"/>
                <a:gd name="T31" fmla="*/ 10 h 742"/>
                <a:gd name="T32" fmla="*/ 480 w 846"/>
                <a:gd name="T33" fmla="*/ 10 h 742"/>
                <a:gd name="T34" fmla="*/ 522 w 846"/>
                <a:gd name="T35" fmla="*/ 29 h 742"/>
                <a:gd name="T36" fmla="*/ 494 w 846"/>
                <a:gd name="T37" fmla="*/ 29 h 742"/>
                <a:gd name="T38" fmla="*/ 510 w 846"/>
                <a:gd name="T39" fmla="*/ 29 h 742"/>
                <a:gd name="T40" fmla="*/ 532 w 846"/>
                <a:gd name="T41" fmla="*/ 38 h 742"/>
                <a:gd name="T42" fmla="*/ 555 w 846"/>
                <a:gd name="T43" fmla="*/ 45 h 742"/>
                <a:gd name="T44" fmla="*/ 586 w 846"/>
                <a:gd name="T45" fmla="*/ 45 h 742"/>
                <a:gd name="T46" fmla="*/ 628 w 846"/>
                <a:gd name="T47" fmla="*/ 38 h 742"/>
                <a:gd name="T48" fmla="*/ 673 w 846"/>
                <a:gd name="T49" fmla="*/ 29 h 742"/>
                <a:gd name="T50" fmla="*/ 699 w 846"/>
                <a:gd name="T51" fmla="*/ 177 h 742"/>
                <a:gd name="T52" fmla="*/ 678 w 846"/>
                <a:gd name="T53" fmla="*/ 260 h 742"/>
                <a:gd name="T54" fmla="*/ 661 w 846"/>
                <a:gd name="T55" fmla="*/ 305 h 742"/>
                <a:gd name="T56" fmla="*/ 591 w 846"/>
                <a:gd name="T57" fmla="*/ 244 h 742"/>
                <a:gd name="T58" fmla="*/ 565 w 846"/>
                <a:gd name="T59" fmla="*/ 170 h 742"/>
                <a:gd name="T60" fmla="*/ 532 w 846"/>
                <a:gd name="T61" fmla="*/ 166 h 742"/>
                <a:gd name="T62" fmla="*/ 555 w 846"/>
                <a:gd name="T63" fmla="*/ 222 h 742"/>
                <a:gd name="T64" fmla="*/ 619 w 846"/>
                <a:gd name="T65" fmla="*/ 288 h 742"/>
                <a:gd name="T66" fmla="*/ 607 w 846"/>
                <a:gd name="T67" fmla="*/ 298 h 742"/>
                <a:gd name="T68" fmla="*/ 640 w 846"/>
                <a:gd name="T69" fmla="*/ 343 h 742"/>
                <a:gd name="T70" fmla="*/ 645 w 846"/>
                <a:gd name="T71" fmla="*/ 388 h 742"/>
                <a:gd name="T72" fmla="*/ 725 w 846"/>
                <a:gd name="T73" fmla="*/ 553 h 742"/>
                <a:gd name="T74" fmla="*/ 754 w 846"/>
                <a:gd name="T75" fmla="*/ 598 h 742"/>
                <a:gd name="T76" fmla="*/ 763 w 846"/>
                <a:gd name="T77" fmla="*/ 671 h 742"/>
                <a:gd name="T78" fmla="*/ 801 w 846"/>
                <a:gd name="T79" fmla="*/ 692 h 742"/>
                <a:gd name="T80" fmla="*/ 846 w 846"/>
                <a:gd name="T81" fmla="*/ 742 h 742"/>
                <a:gd name="T82" fmla="*/ 846 w 846"/>
                <a:gd name="T83" fmla="*/ 74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6" h="742">
                  <a:moveTo>
                    <a:pt x="846" y="742"/>
                  </a:moveTo>
                  <a:lnTo>
                    <a:pt x="468" y="742"/>
                  </a:lnTo>
                  <a:lnTo>
                    <a:pt x="480" y="737"/>
                  </a:lnTo>
                  <a:lnTo>
                    <a:pt x="468" y="725"/>
                  </a:lnTo>
                  <a:lnTo>
                    <a:pt x="458" y="742"/>
                  </a:lnTo>
                  <a:lnTo>
                    <a:pt x="17" y="742"/>
                  </a:lnTo>
                  <a:lnTo>
                    <a:pt x="17" y="314"/>
                  </a:lnTo>
                  <a:lnTo>
                    <a:pt x="17" y="189"/>
                  </a:lnTo>
                  <a:lnTo>
                    <a:pt x="0" y="116"/>
                  </a:lnTo>
                  <a:lnTo>
                    <a:pt x="17" y="66"/>
                  </a:lnTo>
                  <a:lnTo>
                    <a:pt x="9" y="21"/>
                  </a:lnTo>
                  <a:lnTo>
                    <a:pt x="31" y="0"/>
                  </a:lnTo>
                  <a:lnTo>
                    <a:pt x="31" y="5"/>
                  </a:lnTo>
                  <a:lnTo>
                    <a:pt x="38" y="10"/>
                  </a:lnTo>
                  <a:lnTo>
                    <a:pt x="85" y="0"/>
                  </a:lnTo>
                  <a:lnTo>
                    <a:pt x="177" y="21"/>
                  </a:lnTo>
                  <a:lnTo>
                    <a:pt x="189" y="29"/>
                  </a:lnTo>
                  <a:lnTo>
                    <a:pt x="198" y="38"/>
                  </a:lnTo>
                  <a:lnTo>
                    <a:pt x="215" y="29"/>
                  </a:lnTo>
                  <a:lnTo>
                    <a:pt x="224" y="45"/>
                  </a:lnTo>
                  <a:lnTo>
                    <a:pt x="253" y="45"/>
                  </a:lnTo>
                  <a:lnTo>
                    <a:pt x="300" y="62"/>
                  </a:lnTo>
                  <a:lnTo>
                    <a:pt x="333" y="55"/>
                  </a:lnTo>
                  <a:lnTo>
                    <a:pt x="371" y="21"/>
                  </a:lnTo>
                  <a:lnTo>
                    <a:pt x="376" y="29"/>
                  </a:lnTo>
                  <a:lnTo>
                    <a:pt x="387" y="29"/>
                  </a:lnTo>
                  <a:lnTo>
                    <a:pt x="392" y="5"/>
                  </a:lnTo>
                  <a:lnTo>
                    <a:pt x="404" y="10"/>
                  </a:lnTo>
                  <a:lnTo>
                    <a:pt x="442" y="5"/>
                  </a:lnTo>
                  <a:lnTo>
                    <a:pt x="409" y="21"/>
                  </a:lnTo>
                  <a:lnTo>
                    <a:pt x="430" y="10"/>
                  </a:lnTo>
                  <a:lnTo>
                    <a:pt x="446" y="10"/>
                  </a:lnTo>
                  <a:lnTo>
                    <a:pt x="442" y="5"/>
                  </a:lnTo>
                  <a:lnTo>
                    <a:pt x="480" y="10"/>
                  </a:lnTo>
                  <a:lnTo>
                    <a:pt x="501" y="5"/>
                  </a:lnTo>
                  <a:lnTo>
                    <a:pt x="522" y="29"/>
                  </a:lnTo>
                  <a:lnTo>
                    <a:pt x="501" y="5"/>
                  </a:lnTo>
                  <a:lnTo>
                    <a:pt x="494" y="29"/>
                  </a:lnTo>
                  <a:lnTo>
                    <a:pt x="501" y="38"/>
                  </a:lnTo>
                  <a:lnTo>
                    <a:pt x="510" y="29"/>
                  </a:lnTo>
                  <a:lnTo>
                    <a:pt x="517" y="45"/>
                  </a:lnTo>
                  <a:lnTo>
                    <a:pt x="532" y="38"/>
                  </a:lnTo>
                  <a:lnTo>
                    <a:pt x="522" y="29"/>
                  </a:lnTo>
                  <a:lnTo>
                    <a:pt x="555" y="45"/>
                  </a:lnTo>
                  <a:lnTo>
                    <a:pt x="586" y="38"/>
                  </a:lnTo>
                  <a:lnTo>
                    <a:pt x="586" y="45"/>
                  </a:lnTo>
                  <a:lnTo>
                    <a:pt x="607" y="38"/>
                  </a:lnTo>
                  <a:lnTo>
                    <a:pt x="628" y="38"/>
                  </a:lnTo>
                  <a:lnTo>
                    <a:pt x="661" y="21"/>
                  </a:lnTo>
                  <a:lnTo>
                    <a:pt x="673" y="29"/>
                  </a:lnTo>
                  <a:lnTo>
                    <a:pt x="711" y="170"/>
                  </a:lnTo>
                  <a:lnTo>
                    <a:pt x="699" y="177"/>
                  </a:lnTo>
                  <a:lnTo>
                    <a:pt x="695" y="227"/>
                  </a:lnTo>
                  <a:lnTo>
                    <a:pt x="678" y="260"/>
                  </a:lnTo>
                  <a:lnTo>
                    <a:pt x="678" y="281"/>
                  </a:lnTo>
                  <a:lnTo>
                    <a:pt x="661" y="305"/>
                  </a:lnTo>
                  <a:lnTo>
                    <a:pt x="628" y="281"/>
                  </a:lnTo>
                  <a:lnTo>
                    <a:pt x="591" y="244"/>
                  </a:lnTo>
                  <a:lnTo>
                    <a:pt x="591" y="206"/>
                  </a:lnTo>
                  <a:lnTo>
                    <a:pt x="565" y="170"/>
                  </a:lnTo>
                  <a:lnTo>
                    <a:pt x="548" y="121"/>
                  </a:lnTo>
                  <a:lnTo>
                    <a:pt x="532" y="166"/>
                  </a:lnTo>
                  <a:lnTo>
                    <a:pt x="548" y="177"/>
                  </a:lnTo>
                  <a:lnTo>
                    <a:pt x="555" y="222"/>
                  </a:lnTo>
                  <a:lnTo>
                    <a:pt x="586" y="265"/>
                  </a:lnTo>
                  <a:lnTo>
                    <a:pt x="619" y="288"/>
                  </a:lnTo>
                  <a:lnTo>
                    <a:pt x="619" y="298"/>
                  </a:lnTo>
                  <a:lnTo>
                    <a:pt x="607" y="298"/>
                  </a:lnTo>
                  <a:lnTo>
                    <a:pt x="607" y="314"/>
                  </a:lnTo>
                  <a:lnTo>
                    <a:pt x="640" y="343"/>
                  </a:lnTo>
                  <a:lnTo>
                    <a:pt x="645" y="371"/>
                  </a:lnTo>
                  <a:lnTo>
                    <a:pt x="645" y="388"/>
                  </a:lnTo>
                  <a:lnTo>
                    <a:pt x="683" y="466"/>
                  </a:lnTo>
                  <a:lnTo>
                    <a:pt x="725" y="553"/>
                  </a:lnTo>
                  <a:lnTo>
                    <a:pt x="780" y="598"/>
                  </a:lnTo>
                  <a:lnTo>
                    <a:pt x="754" y="598"/>
                  </a:lnTo>
                  <a:lnTo>
                    <a:pt x="754" y="631"/>
                  </a:lnTo>
                  <a:lnTo>
                    <a:pt x="763" y="671"/>
                  </a:lnTo>
                  <a:lnTo>
                    <a:pt x="780" y="688"/>
                  </a:lnTo>
                  <a:lnTo>
                    <a:pt x="801" y="692"/>
                  </a:lnTo>
                  <a:lnTo>
                    <a:pt x="824" y="721"/>
                  </a:lnTo>
                  <a:lnTo>
                    <a:pt x="846" y="742"/>
                  </a:lnTo>
                  <a:lnTo>
                    <a:pt x="846" y="742"/>
                  </a:lnTo>
                  <a:lnTo>
                    <a:pt x="846" y="742"/>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2" name="Freeform 431">
              <a:extLst>
                <a:ext uri="{FF2B5EF4-FFF2-40B4-BE49-F238E27FC236}">
                  <a16:creationId xmlns:a16="http://schemas.microsoft.com/office/drawing/2014/main" id="{448CFD7B-907A-443F-9AEE-133882B057DC}"/>
                </a:ext>
              </a:extLst>
            </p:cNvPr>
            <p:cNvSpPr>
              <a:spLocks noEditPoints="1"/>
            </p:cNvSpPr>
            <p:nvPr/>
          </p:nvSpPr>
          <p:spPr bwMode="gray">
            <a:xfrm>
              <a:off x="13504912" y="2655645"/>
              <a:ext cx="99498" cy="126009"/>
            </a:xfrm>
            <a:custGeom>
              <a:avLst/>
              <a:gdLst>
                <a:gd name="T0" fmla="*/ 198 w 304"/>
                <a:gd name="T1" fmla="*/ 59 h 385"/>
                <a:gd name="T2" fmla="*/ 193 w 304"/>
                <a:gd name="T3" fmla="*/ 75 h 385"/>
                <a:gd name="T4" fmla="*/ 181 w 304"/>
                <a:gd name="T5" fmla="*/ 116 h 385"/>
                <a:gd name="T6" fmla="*/ 236 w 304"/>
                <a:gd name="T7" fmla="*/ 92 h 385"/>
                <a:gd name="T8" fmla="*/ 288 w 304"/>
                <a:gd name="T9" fmla="*/ 125 h 385"/>
                <a:gd name="T10" fmla="*/ 283 w 304"/>
                <a:gd name="T11" fmla="*/ 132 h 385"/>
                <a:gd name="T12" fmla="*/ 304 w 304"/>
                <a:gd name="T13" fmla="*/ 182 h 385"/>
                <a:gd name="T14" fmla="*/ 304 w 304"/>
                <a:gd name="T15" fmla="*/ 220 h 385"/>
                <a:gd name="T16" fmla="*/ 288 w 304"/>
                <a:gd name="T17" fmla="*/ 264 h 385"/>
                <a:gd name="T18" fmla="*/ 274 w 304"/>
                <a:gd name="T19" fmla="*/ 298 h 385"/>
                <a:gd name="T20" fmla="*/ 283 w 304"/>
                <a:gd name="T21" fmla="*/ 314 h 385"/>
                <a:gd name="T22" fmla="*/ 236 w 304"/>
                <a:gd name="T23" fmla="*/ 298 h 385"/>
                <a:gd name="T24" fmla="*/ 198 w 304"/>
                <a:gd name="T25" fmla="*/ 319 h 385"/>
                <a:gd name="T26" fmla="*/ 181 w 304"/>
                <a:gd name="T27" fmla="*/ 331 h 385"/>
                <a:gd name="T28" fmla="*/ 160 w 304"/>
                <a:gd name="T29" fmla="*/ 347 h 385"/>
                <a:gd name="T30" fmla="*/ 155 w 304"/>
                <a:gd name="T31" fmla="*/ 335 h 385"/>
                <a:gd name="T32" fmla="*/ 144 w 304"/>
                <a:gd name="T33" fmla="*/ 335 h 385"/>
                <a:gd name="T34" fmla="*/ 122 w 304"/>
                <a:gd name="T35" fmla="*/ 368 h 385"/>
                <a:gd name="T36" fmla="*/ 70 w 304"/>
                <a:gd name="T37" fmla="*/ 373 h 385"/>
                <a:gd name="T38" fmla="*/ 59 w 304"/>
                <a:gd name="T39" fmla="*/ 368 h 385"/>
                <a:gd name="T40" fmla="*/ 70 w 304"/>
                <a:gd name="T41" fmla="*/ 364 h 385"/>
                <a:gd name="T42" fmla="*/ 21 w 304"/>
                <a:gd name="T43" fmla="*/ 368 h 385"/>
                <a:gd name="T44" fmla="*/ 21 w 304"/>
                <a:gd name="T45" fmla="*/ 352 h 385"/>
                <a:gd name="T46" fmla="*/ 4 w 304"/>
                <a:gd name="T47" fmla="*/ 352 h 385"/>
                <a:gd name="T48" fmla="*/ 16 w 304"/>
                <a:gd name="T49" fmla="*/ 331 h 385"/>
                <a:gd name="T50" fmla="*/ 0 w 304"/>
                <a:gd name="T51" fmla="*/ 319 h 385"/>
                <a:gd name="T52" fmla="*/ 21 w 304"/>
                <a:gd name="T53" fmla="*/ 298 h 385"/>
                <a:gd name="T54" fmla="*/ 49 w 304"/>
                <a:gd name="T55" fmla="*/ 290 h 385"/>
                <a:gd name="T56" fmla="*/ 113 w 304"/>
                <a:gd name="T57" fmla="*/ 264 h 385"/>
                <a:gd name="T58" fmla="*/ 92 w 304"/>
                <a:gd name="T59" fmla="*/ 264 h 385"/>
                <a:gd name="T60" fmla="*/ 70 w 304"/>
                <a:gd name="T61" fmla="*/ 253 h 385"/>
                <a:gd name="T62" fmla="*/ 70 w 304"/>
                <a:gd name="T63" fmla="*/ 236 h 385"/>
                <a:gd name="T64" fmla="*/ 106 w 304"/>
                <a:gd name="T65" fmla="*/ 220 h 385"/>
                <a:gd name="T66" fmla="*/ 59 w 304"/>
                <a:gd name="T67" fmla="*/ 208 h 385"/>
                <a:gd name="T68" fmla="*/ 49 w 304"/>
                <a:gd name="T69" fmla="*/ 203 h 385"/>
                <a:gd name="T70" fmla="*/ 49 w 304"/>
                <a:gd name="T71" fmla="*/ 187 h 385"/>
                <a:gd name="T72" fmla="*/ 16 w 304"/>
                <a:gd name="T73" fmla="*/ 182 h 385"/>
                <a:gd name="T74" fmla="*/ 37 w 304"/>
                <a:gd name="T75" fmla="*/ 170 h 385"/>
                <a:gd name="T76" fmla="*/ 59 w 304"/>
                <a:gd name="T77" fmla="*/ 153 h 385"/>
                <a:gd name="T78" fmla="*/ 37 w 304"/>
                <a:gd name="T79" fmla="*/ 149 h 385"/>
                <a:gd name="T80" fmla="*/ 49 w 304"/>
                <a:gd name="T81" fmla="*/ 142 h 385"/>
                <a:gd name="T82" fmla="*/ 21 w 304"/>
                <a:gd name="T83" fmla="*/ 125 h 385"/>
                <a:gd name="T84" fmla="*/ 33 w 304"/>
                <a:gd name="T85" fmla="*/ 99 h 385"/>
                <a:gd name="T86" fmla="*/ 49 w 304"/>
                <a:gd name="T87" fmla="*/ 99 h 385"/>
                <a:gd name="T88" fmla="*/ 92 w 304"/>
                <a:gd name="T89" fmla="*/ 116 h 385"/>
                <a:gd name="T90" fmla="*/ 139 w 304"/>
                <a:gd name="T91" fmla="*/ 109 h 385"/>
                <a:gd name="T92" fmla="*/ 155 w 304"/>
                <a:gd name="T93" fmla="*/ 87 h 385"/>
                <a:gd name="T94" fmla="*/ 127 w 304"/>
                <a:gd name="T95" fmla="*/ 75 h 385"/>
                <a:gd name="T96" fmla="*/ 144 w 304"/>
                <a:gd name="T97" fmla="*/ 42 h 385"/>
                <a:gd name="T98" fmla="*/ 144 w 304"/>
                <a:gd name="T99" fmla="*/ 38 h 385"/>
                <a:gd name="T100" fmla="*/ 144 w 304"/>
                <a:gd name="T101" fmla="*/ 21 h 385"/>
                <a:gd name="T102" fmla="*/ 193 w 304"/>
                <a:gd name="T103" fmla="*/ 33 h 385"/>
                <a:gd name="T104" fmla="*/ 181 w 304"/>
                <a:gd name="T105" fmla="*/ 16 h 385"/>
                <a:gd name="T106" fmla="*/ 207 w 304"/>
                <a:gd name="T107" fmla="*/ 21 h 385"/>
                <a:gd name="T108" fmla="*/ 207 w 304"/>
                <a:gd name="T109" fmla="*/ 33 h 385"/>
                <a:gd name="T110" fmla="*/ 215 w 304"/>
                <a:gd name="T111" fmla="*/ 5 h 385"/>
                <a:gd name="T112" fmla="*/ 245 w 304"/>
                <a:gd name="T113" fmla="*/ 16 h 385"/>
                <a:gd name="T114" fmla="*/ 219 w 304"/>
                <a:gd name="T115" fmla="*/ 33 h 385"/>
                <a:gd name="T116" fmla="*/ 21 w 304"/>
                <a:gd name="T117" fmla="*/ 132 h 385"/>
                <a:gd name="T118" fmla="*/ 37 w 304"/>
                <a:gd name="T119" fmla="*/ 149 h 385"/>
                <a:gd name="T120" fmla="*/ 21 w 304"/>
                <a:gd name="T121" fmla="*/ 132 h 385"/>
                <a:gd name="T122" fmla="*/ 21 w 304"/>
                <a:gd name="T123" fmla="*/ 132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4" h="385">
                  <a:moveTo>
                    <a:pt x="219" y="33"/>
                  </a:moveTo>
                  <a:lnTo>
                    <a:pt x="198" y="59"/>
                  </a:lnTo>
                  <a:lnTo>
                    <a:pt x="177" y="71"/>
                  </a:lnTo>
                  <a:lnTo>
                    <a:pt x="193" y="75"/>
                  </a:lnTo>
                  <a:lnTo>
                    <a:pt x="160" y="92"/>
                  </a:lnTo>
                  <a:lnTo>
                    <a:pt x="181" y="116"/>
                  </a:lnTo>
                  <a:lnTo>
                    <a:pt x="219" y="125"/>
                  </a:lnTo>
                  <a:lnTo>
                    <a:pt x="236" y="92"/>
                  </a:lnTo>
                  <a:lnTo>
                    <a:pt x="266" y="132"/>
                  </a:lnTo>
                  <a:lnTo>
                    <a:pt x="288" y="125"/>
                  </a:lnTo>
                  <a:lnTo>
                    <a:pt x="304" y="132"/>
                  </a:lnTo>
                  <a:lnTo>
                    <a:pt x="283" y="132"/>
                  </a:lnTo>
                  <a:lnTo>
                    <a:pt x="283" y="142"/>
                  </a:lnTo>
                  <a:lnTo>
                    <a:pt x="304" y="182"/>
                  </a:lnTo>
                  <a:lnTo>
                    <a:pt x="288" y="198"/>
                  </a:lnTo>
                  <a:lnTo>
                    <a:pt x="304" y="220"/>
                  </a:lnTo>
                  <a:lnTo>
                    <a:pt x="304" y="236"/>
                  </a:lnTo>
                  <a:lnTo>
                    <a:pt x="288" y="264"/>
                  </a:lnTo>
                  <a:lnTo>
                    <a:pt x="300" y="274"/>
                  </a:lnTo>
                  <a:lnTo>
                    <a:pt x="274" y="298"/>
                  </a:lnTo>
                  <a:lnTo>
                    <a:pt x="288" y="307"/>
                  </a:lnTo>
                  <a:lnTo>
                    <a:pt x="283" y="314"/>
                  </a:lnTo>
                  <a:lnTo>
                    <a:pt x="245" y="314"/>
                  </a:lnTo>
                  <a:lnTo>
                    <a:pt x="236" y="298"/>
                  </a:lnTo>
                  <a:lnTo>
                    <a:pt x="236" y="314"/>
                  </a:lnTo>
                  <a:lnTo>
                    <a:pt x="198" y="319"/>
                  </a:lnTo>
                  <a:lnTo>
                    <a:pt x="198" y="331"/>
                  </a:lnTo>
                  <a:lnTo>
                    <a:pt x="181" y="331"/>
                  </a:lnTo>
                  <a:lnTo>
                    <a:pt x="177" y="335"/>
                  </a:lnTo>
                  <a:lnTo>
                    <a:pt x="160" y="347"/>
                  </a:lnTo>
                  <a:lnTo>
                    <a:pt x="155" y="347"/>
                  </a:lnTo>
                  <a:lnTo>
                    <a:pt x="155" y="335"/>
                  </a:lnTo>
                  <a:lnTo>
                    <a:pt x="139" y="335"/>
                  </a:lnTo>
                  <a:lnTo>
                    <a:pt x="144" y="335"/>
                  </a:lnTo>
                  <a:lnTo>
                    <a:pt x="144" y="352"/>
                  </a:lnTo>
                  <a:lnTo>
                    <a:pt x="122" y="368"/>
                  </a:lnTo>
                  <a:lnTo>
                    <a:pt x="85" y="373"/>
                  </a:lnTo>
                  <a:lnTo>
                    <a:pt x="70" y="373"/>
                  </a:lnTo>
                  <a:lnTo>
                    <a:pt x="49" y="385"/>
                  </a:lnTo>
                  <a:lnTo>
                    <a:pt x="59" y="368"/>
                  </a:lnTo>
                  <a:lnTo>
                    <a:pt x="49" y="368"/>
                  </a:lnTo>
                  <a:lnTo>
                    <a:pt x="70" y="364"/>
                  </a:lnTo>
                  <a:lnTo>
                    <a:pt x="59" y="352"/>
                  </a:lnTo>
                  <a:lnTo>
                    <a:pt x="21" y="368"/>
                  </a:lnTo>
                  <a:lnTo>
                    <a:pt x="59" y="335"/>
                  </a:lnTo>
                  <a:lnTo>
                    <a:pt x="21" y="352"/>
                  </a:lnTo>
                  <a:lnTo>
                    <a:pt x="16" y="347"/>
                  </a:lnTo>
                  <a:lnTo>
                    <a:pt x="4" y="352"/>
                  </a:lnTo>
                  <a:lnTo>
                    <a:pt x="4" y="335"/>
                  </a:lnTo>
                  <a:lnTo>
                    <a:pt x="16" y="331"/>
                  </a:lnTo>
                  <a:lnTo>
                    <a:pt x="49" y="314"/>
                  </a:lnTo>
                  <a:lnTo>
                    <a:pt x="0" y="319"/>
                  </a:lnTo>
                  <a:lnTo>
                    <a:pt x="0" y="314"/>
                  </a:lnTo>
                  <a:lnTo>
                    <a:pt x="21" y="298"/>
                  </a:lnTo>
                  <a:lnTo>
                    <a:pt x="49" y="307"/>
                  </a:lnTo>
                  <a:lnTo>
                    <a:pt x="49" y="290"/>
                  </a:lnTo>
                  <a:lnTo>
                    <a:pt x="54" y="274"/>
                  </a:lnTo>
                  <a:lnTo>
                    <a:pt x="113" y="264"/>
                  </a:lnTo>
                  <a:lnTo>
                    <a:pt x="101" y="257"/>
                  </a:lnTo>
                  <a:lnTo>
                    <a:pt x="92" y="264"/>
                  </a:lnTo>
                  <a:lnTo>
                    <a:pt x="37" y="274"/>
                  </a:lnTo>
                  <a:lnTo>
                    <a:pt x="70" y="253"/>
                  </a:lnTo>
                  <a:lnTo>
                    <a:pt x="75" y="241"/>
                  </a:lnTo>
                  <a:lnTo>
                    <a:pt x="70" y="236"/>
                  </a:lnTo>
                  <a:lnTo>
                    <a:pt x="85" y="220"/>
                  </a:lnTo>
                  <a:lnTo>
                    <a:pt x="106" y="220"/>
                  </a:lnTo>
                  <a:lnTo>
                    <a:pt x="106" y="203"/>
                  </a:lnTo>
                  <a:lnTo>
                    <a:pt x="59" y="208"/>
                  </a:lnTo>
                  <a:lnTo>
                    <a:pt x="59" y="198"/>
                  </a:lnTo>
                  <a:lnTo>
                    <a:pt x="49" y="203"/>
                  </a:lnTo>
                  <a:lnTo>
                    <a:pt x="37" y="203"/>
                  </a:lnTo>
                  <a:lnTo>
                    <a:pt x="49" y="187"/>
                  </a:lnTo>
                  <a:lnTo>
                    <a:pt x="21" y="198"/>
                  </a:lnTo>
                  <a:lnTo>
                    <a:pt x="16" y="182"/>
                  </a:lnTo>
                  <a:lnTo>
                    <a:pt x="54" y="170"/>
                  </a:lnTo>
                  <a:lnTo>
                    <a:pt x="37" y="170"/>
                  </a:lnTo>
                  <a:lnTo>
                    <a:pt x="37" y="153"/>
                  </a:lnTo>
                  <a:lnTo>
                    <a:pt x="59" y="153"/>
                  </a:lnTo>
                  <a:lnTo>
                    <a:pt x="59" y="149"/>
                  </a:lnTo>
                  <a:lnTo>
                    <a:pt x="37" y="149"/>
                  </a:lnTo>
                  <a:lnTo>
                    <a:pt x="37" y="142"/>
                  </a:lnTo>
                  <a:lnTo>
                    <a:pt x="49" y="142"/>
                  </a:lnTo>
                  <a:lnTo>
                    <a:pt x="33" y="109"/>
                  </a:lnTo>
                  <a:lnTo>
                    <a:pt x="21" y="125"/>
                  </a:lnTo>
                  <a:lnTo>
                    <a:pt x="21" y="109"/>
                  </a:lnTo>
                  <a:lnTo>
                    <a:pt x="33" y="99"/>
                  </a:lnTo>
                  <a:lnTo>
                    <a:pt x="37" y="116"/>
                  </a:lnTo>
                  <a:lnTo>
                    <a:pt x="49" y="99"/>
                  </a:lnTo>
                  <a:lnTo>
                    <a:pt x="75" y="99"/>
                  </a:lnTo>
                  <a:lnTo>
                    <a:pt x="92" y="116"/>
                  </a:lnTo>
                  <a:lnTo>
                    <a:pt x="101" y="109"/>
                  </a:lnTo>
                  <a:lnTo>
                    <a:pt x="139" y="109"/>
                  </a:lnTo>
                  <a:lnTo>
                    <a:pt x="122" y="99"/>
                  </a:lnTo>
                  <a:lnTo>
                    <a:pt x="155" y="87"/>
                  </a:lnTo>
                  <a:lnTo>
                    <a:pt x="160" y="71"/>
                  </a:lnTo>
                  <a:lnTo>
                    <a:pt x="127" y="75"/>
                  </a:lnTo>
                  <a:lnTo>
                    <a:pt x="113" y="71"/>
                  </a:lnTo>
                  <a:lnTo>
                    <a:pt x="144" y="42"/>
                  </a:lnTo>
                  <a:lnTo>
                    <a:pt x="139" y="38"/>
                  </a:lnTo>
                  <a:lnTo>
                    <a:pt x="144" y="38"/>
                  </a:lnTo>
                  <a:lnTo>
                    <a:pt x="139" y="38"/>
                  </a:lnTo>
                  <a:lnTo>
                    <a:pt x="144" y="21"/>
                  </a:lnTo>
                  <a:lnTo>
                    <a:pt x="181" y="16"/>
                  </a:lnTo>
                  <a:lnTo>
                    <a:pt x="193" y="33"/>
                  </a:lnTo>
                  <a:lnTo>
                    <a:pt x="193" y="16"/>
                  </a:lnTo>
                  <a:lnTo>
                    <a:pt x="181" y="16"/>
                  </a:lnTo>
                  <a:lnTo>
                    <a:pt x="193" y="5"/>
                  </a:lnTo>
                  <a:lnTo>
                    <a:pt x="207" y="21"/>
                  </a:lnTo>
                  <a:lnTo>
                    <a:pt x="193" y="38"/>
                  </a:lnTo>
                  <a:lnTo>
                    <a:pt x="207" y="33"/>
                  </a:lnTo>
                  <a:lnTo>
                    <a:pt x="198" y="16"/>
                  </a:lnTo>
                  <a:lnTo>
                    <a:pt x="215" y="5"/>
                  </a:lnTo>
                  <a:lnTo>
                    <a:pt x="215" y="0"/>
                  </a:lnTo>
                  <a:lnTo>
                    <a:pt x="245" y="16"/>
                  </a:lnTo>
                  <a:lnTo>
                    <a:pt x="219" y="33"/>
                  </a:lnTo>
                  <a:lnTo>
                    <a:pt x="219" y="33"/>
                  </a:lnTo>
                  <a:lnTo>
                    <a:pt x="219" y="33"/>
                  </a:lnTo>
                  <a:close/>
                  <a:moveTo>
                    <a:pt x="21" y="132"/>
                  </a:moveTo>
                  <a:lnTo>
                    <a:pt x="33" y="132"/>
                  </a:lnTo>
                  <a:lnTo>
                    <a:pt x="37" y="149"/>
                  </a:lnTo>
                  <a:lnTo>
                    <a:pt x="16" y="142"/>
                  </a:lnTo>
                  <a:lnTo>
                    <a:pt x="21" y="132"/>
                  </a:lnTo>
                  <a:lnTo>
                    <a:pt x="21" y="132"/>
                  </a:lnTo>
                  <a:lnTo>
                    <a:pt x="21" y="132"/>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3" name="Freeform 432">
              <a:extLst>
                <a:ext uri="{FF2B5EF4-FFF2-40B4-BE49-F238E27FC236}">
                  <a16:creationId xmlns:a16="http://schemas.microsoft.com/office/drawing/2014/main" id="{91637DF7-2081-44BD-BBA2-2200C3D1011E}"/>
                </a:ext>
              </a:extLst>
            </p:cNvPr>
            <p:cNvSpPr>
              <a:spLocks noEditPoints="1"/>
            </p:cNvSpPr>
            <p:nvPr/>
          </p:nvSpPr>
          <p:spPr bwMode="gray">
            <a:xfrm>
              <a:off x="13939234" y="4027018"/>
              <a:ext cx="65787" cy="65132"/>
            </a:xfrm>
            <a:custGeom>
              <a:avLst/>
              <a:gdLst>
                <a:gd name="T0" fmla="*/ 26 w 201"/>
                <a:gd name="T1" fmla="*/ 17 h 199"/>
                <a:gd name="T2" fmla="*/ 14 w 201"/>
                <a:gd name="T3" fmla="*/ 41 h 199"/>
                <a:gd name="T4" fmla="*/ 0 w 201"/>
                <a:gd name="T5" fmla="*/ 33 h 199"/>
                <a:gd name="T6" fmla="*/ 0 w 201"/>
                <a:gd name="T7" fmla="*/ 17 h 199"/>
                <a:gd name="T8" fmla="*/ 5 w 201"/>
                <a:gd name="T9" fmla="*/ 17 h 199"/>
                <a:gd name="T10" fmla="*/ 14 w 201"/>
                <a:gd name="T11" fmla="*/ 0 h 199"/>
                <a:gd name="T12" fmla="*/ 26 w 201"/>
                <a:gd name="T13" fmla="*/ 0 h 199"/>
                <a:gd name="T14" fmla="*/ 26 w 201"/>
                <a:gd name="T15" fmla="*/ 17 h 199"/>
                <a:gd name="T16" fmla="*/ 26 w 201"/>
                <a:gd name="T17" fmla="*/ 17 h 199"/>
                <a:gd name="T18" fmla="*/ 26 w 201"/>
                <a:gd name="T19" fmla="*/ 17 h 199"/>
                <a:gd name="T20" fmla="*/ 92 w 201"/>
                <a:gd name="T21" fmla="*/ 95 h 199"/>
                <a:gd name="T22" fmla="*/ 109 w 201"/>
                <a:gd name="T23" fmla="*/ 111 h 199"/>
                <a:gd name="T24" fmla="*/ 201 w 201"/>
                <a:gd name="T25" fmla="*/ 111 h 199"/>
                <a:gd name="T26" fmla="*/ 201 w 201"/>
                <a:gd name="T27" fmla="*/ 199 h 199"/>
                <a:gd name="T28" fmla="*/ 109 w 201"/>
                <a:gd name="T29" fmla="*/ 199 h 199"/>
                <a:gd name="T30" fmla="*/ 97 w 201"/>
                <a:gd name="T31" fmla="*/ 199 h 199"/>
                <a:gd name="T32" fmla="*/ 92 w 201"/>
                <a:gd name="T33" fmla="*/ 199 h 199"/>
                <a:gd name="T34" fmla="*/ 92 w 201"/>
                <a:gd name="T35" fmla="*/ 187 h 199"/>
                <a:gd name="T36" fmla="*/ 76 w 201"/>
                <a:gd name="T37" fmla="*/ 187 h 199"/>
                <a:gd name="T38" fmla="*/ 59 w 201"/>
                <a:gd name="T39" fmla="*/ 182 h 199"/>
                <a:gd name="T40" fmla="*/ 92 w 201"/>
                <a:gd name="T41" fmla="*/ 128 h 199"/>
                <a:gd name="T42" fmla="*/ 92 w 201"/>
                <a:gd name="T43" fmla="*/ 95 h 199"/>
                <a:gd name="T44" fmla="*/ 92 w 201"/>
                <a:gd name="T45" fmla="*/ 95 h 199"/>
                <a:gd name="T46" fmla="*/ 92 w 201"/>
                <a:gd name="T47" fmla="*/ 9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1" h="199">
                  <a:moveTo>
                    <a:pt x="26" y="17"/>
                  </a:moveTo>
                  <a:lnTo>
                    <a:pt x="14" y="41"/>
                  </a:lnTo>
                  <a:lnTo>
                    <a:pt x="0" y="33"/>
                  </a:lnTo>
                  <a:lnTo>
                    <a:pt x="0" y="17"/>
                  </a:lnTo>
                  <a:lnTo>
                    <a:pt x="5" y="17"/>
                  </a:lnTo>
                  <a:lnTo>
                    <a:pt x="14" y="0"/>
                  </a:lnTo>
                  <a:lnTo>
                    <a:pt x="26" y="0"/>
                  </a:lnTo>
                  <a:lnTo>
                    <a:pt x="26" y="17"/>
                  </a:lnTo>
                  <a:lnTo>
                    <a:pt x="26" y="17"/>
                  </a:lnTo>
                  <a:lnTo>
                    <a:pt x="26" y="17"/>
                  </a:lnTo>
                  <a:close/>
                  <a:moveTo>
                    <a:pt x="92" y="95"/>
                  </a:moveTo>
                  <a:lnTo>
                    <a:pt x="109" y="111"/>
                  </a:lnTo>
                  <a:lnTo>
                    <a:pt x="201" y="111"/>
                  </a:lnTo>
                  <a:lnTo>
                    <a:pt x="201" y="199"/>
                  </a:lnTo>
                  <a:lnTo>
                    <a:pt x="109" y="199"/>
                  </a:lnTo>
                  <a:lnTo>
                    <a:pt x="97" y="199"/>
                  </a:lnTo>
                  <a:lnTo>
                    <a:pt x="92" y="199"/>
                  </a:lnTo>
                  <a:lnTo>
                    <a:pt x="92" y="187"/>
                  </a:lnTo>
                  <a:lnTo>
                    <a:pt x="76" y="187"/>
                  </a:lnTo>
                  <a:lnTo>
                    <a:pt x="59" y="182"/>
                  </a:lnTo>
                  <a:lnTo>
                    <a:pt x="92" y="128"/>
                  </a:lnTo>
                  <a:lnTo>
                    <a:pt x="92" y="95"/>
                  </a:lnTo>
                  <a:lnTo>
                    <a:pt x="92" y="95"/>
                  </a:lnTo>
                  <a:lnTo>
                    <a:pt x="92" y="95"/>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4" name="Freeform 433">
              <a:extLst>
                <a:ext uri="{FF2B5EF4-FFF2-40B4-BE49-F238E27FC236}">
                  <a16:creationId xmlns:a16="http://schemas.microsoft.com/office/drawing/2014/main" id="{D17C8C3B-B4D0-42C6-8956-F010D1ABF414}"/>
                </a:ext>
              </a:extLst>
            </p:cNvPr>
            <p:cNvSpPr>
              <a:spLocks noEditPoints="1"/>
            </p:cNvSpPr>
            <p:nvPr/>
          </p:nvSpPr>
          <p:spPr bwMode="gray">
            <a:xfrm>
              <a:off x="14245584" y="2510980"/>
              <a:ext cx="145320" cy="71351"/>
            </a:xfrm>
            <a:custGeom>
              <a:avLst/>
              <a:gdLst>
                <a:gd name="T0" fmla="*/ 359 w 444"/>
                <a:gd name="T1" fmla="*/ 208 h 218"/>
                <a:gd name="T2" fmla="*/ 295 w 444"/>
                <a:gd name="T3" fmla="*/ 184 h 218"/>
                <a:gd name="T4" fmla="*/ 240 w 444"/>
                <a:gd name="T5" fmla="*/ 168 h 218"/>
                <a:gd name="T6" fmla="*/ 177 w 444"/>
                <a:gd name="T7" fmla="*/ 184 h 218"/>
                <a:gd name="T8" fmla="*/ 177 w 444"/>
                <a:gd name="T9" fmla="*/ 130 h 218"/>
                <a:gd name="T10" fmla="*/ 132 w 444"/>
                <a:gd name="T11" fmla="*/ 130 h 218"/>
                <a:gd name="T12" fmla="*/ 122 w 444"/>
                <a:gd name="T13" fmla="*/ 97 h 218"/>
                <a:gd name="T14" fmla="*/ 111 w 444"/>
                <a:gd name="T15" fmla="*/ 88 h 218"/>
                <a:gd name="T16" fmla="*/ 127 w 444"/>
                <a:gd name="T17" fmla="*/ 71 h 218"/>
                <a:gd name="T18" fmla="*/ 127 w 444"/>
                <a:gd name="T19" fmla="*/ 71 h 218"/>
                <a:gd name="T20" fmla="*/ 111 w 444"/>
                <a:gd name="T21" fmla="*/ 43 h 218"/>
                <a:gd name="T22" fmla="*/ 160 w 444"/>
                <a:gd name="T23" fmla="*/ 21 h 218"/>
                <a:gd name="T24" fmla="*/ 177 w 444"/>
                <a:gd name="T25" fmla="*/ 14 h 218"/>
                <a:gd name="T26" fmla="*/ 203 w 444"/>
                <a:gd name="T27" fmla="*/ 5 h 218"/>
                <a:gd name="T28" fmla="*/ 257 w 444"/>
                <a:gd name="T29" fmla="*/ 0 h 218"/>
                <a:gd name="T30" fmla="*/ 274 w 444"/>
                <a:gd name="T31" fmla="*/ 0 h 218"/>
                <a:gd name="T32" fmla="*/ 418 w 444"/>
                <a:gd name="T33" fmla="*/ 21 h 218"/>
                <a:gd name="T34" fmla="*/ 444 w 444"/>
                <a:gd name="T35" fmla="*/ 26 h 218"/>
                <a:gd name="T36" fmla="*/ 429 w 444"/>
                <a:gd name="T37" fmla="*/ 38 h 218"/>
                <a:gd name="T38" fmla="*/ 392 w 444"/>
                <a:gd name="T39" fmla="*/ 88 h 218"/>
                <a:gd name="T40" fmla="*/ 396 w 444"/>
                <a:gd name="T41" fmla="*/ 147 h 218"/>
                <a:gd name="T42" fmla="*/ 396 w 444"/>
                <a:gd name="T43" fmla="*/ 184 h 218"/>
                <a:gd name="T44" fmla="*/ 392 w 444"/>
                <a:gd name="T45" fmla="*/ 218 h 218"/>
                <a:gd name="T46" fmla="*/ 52 w 444"/>
                <a:gd name="T47" fmla="*/ 97 h 218"/>
                <a:gd name="T48" fmla="*/ 35 w 444"/>
                <a:gd name="T49" fmla="*/ 76 h 218"/>
                <a:gd name="T50" fmla="*/ 35 w 444"/>
                <a:gd name="T51" fmla="*/ 71 h 218"/>
                <a:gd name="T52" fmla="*/ 73 w 444"/>
                <a:gd name="T53" fmla="*/ 71 h 218"/>
                <a:gd name="T54" fmla="*/ 68 w 444"/>
                <a:gd name="T55" fmla="*/ 88 h 218"/>
                <a:gd name="T56" fmla="*/ 52 w 444"/>
                <a:gd name="T57" fmla="*/ 97 h 218"/>
                <a:gd name="T58" fmla="*/ 96 w 444"/>
                <a:gd name="T59" fmla="*/ 59 h 218"/>
                <a:gd name="T60" fmla="*/ 89 w 444"/>
                <a:gd name="T61" fmla="*/ 71 h 218"/>
                <a:gd name="T62" fmla="*/ 96 w 444"/>
                <a:gd name="T63" fmla="*/ 59 h 218"/>
                <a:gd name="T64" fmla="*/ 96 w 444"/>
                <a:gd name="T65" fmla="*/ 59 h 218"/>
                <a:gd name="T66" fmla="*/ 111 w 444"/>
                <a:gd name="T67" fmla="*/ 114 h 218"/>
                <a:gd name="T68" fmla="*/ 96 w 444"/>
                <a:gd name="T69" fmla="*/ 97 h 218"/>
                <a:gd name="T70" fmla="*/ 96 w 444"/>
                <a:gd name="T71" fmla="*/ 97 h 218"/>
                <a:gd name="T72" fmla="*/ 14 w 444"/>
                <a:gd name="T73" fmla="*/ 168 h 218"/>
                <a:gd name="T74" fmla="*/ 4 w 444"/>
                <a:gd name="T75" fmla="*/ 142 h 218"/>
                <a:gd name="T76" fmla="*/ 0 w 444"/>
                <a:gd name="T77" fmla="*/ 114 h 218"/>
                <a:gd name="T78" fmla="*/ 106 w 444"/>
                <a:gd name="T79" fmla="*/ 125 h 218"/>
                <a:gd name="T80" fmla="*/ 68 w 444"/>
                <a:gd name="T81" fmla="*/ 147 h 218"/>
                <a:gd name="T82" fmla="*/ 26 w 444"/>
                <a:gd name="T83" fmla="*/ 168 h 218"/>
                <a:gd name="T84" fmla="*/ 14 w 444"/>
                <a:gd name="T85" fmla="*/ 18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4" h="218">
                  <a:moveTo>
                    <a:pt x="392" y="218"/>
                  </a:moveTo>
                  <a:lnTo>
                    <a:pt x="359" y="208"/>
                  </a:lnTo>
                  <a:lnTo>
                    <a:pt x="326" y="218"/>
                  </a:lnTo>
                  <a:lnTo>
                    <a:pt x="295" y="184"/>
                  </a:lnTo>
                  <a:lnTo>
                    <a:pt x="240" y="163"/>
                  </a:lnTo>
                  <a:lnTo>
                    <a:pt x="240" y="168"/>
                  </a:lnTo>
                  <a:lnTo>
                    <a:pt x="229" y="163"/>
                  </a:lnTo>
                  <a:lnTo>
                    <a:pt x="177" y="184"/>
                  </a:lnTo>
                  <a:lnTo>
                    <a:pt x="186" y="142"/>
                  </a:lnTo>
                  <a:lnTo>
                    <a:pt x="177" y="130"/>
                  </a:lnTo>
                  <a:lnTo>
                    <a:pt x="160" y="147"/>
                  </a:lnTo>
                  <a:lnTo>
                    <a:pt x="132" y="130"/>
                  </a:lnTo>
                  <a:lnTo>
                    <a:pt x="122" y="109"/>
                  </a:lnTo>
                  <a:lnTo>
                    <a:pt x="122" y="97"/>
                  </a:lnTo>
                  <a:lnTo>
                    <a:pt x="144" y="92"/>
                  </a:lnTo>
                  <a:lnTo>
                    <a:pt x="111" y="88"/>
                  </a:lnTo>
                  <a:lnTo>
                    <a:pt x="111" y="76"/>
                  </a:lnTo>
                  <a:lnTo>
                    <a:pt x="127" y="71"/>
                  </a:lnTo>
                  <a:lnTo>
                    <a:pt x="122" y="59"/>
                  </a:lnTo>
                  <a:lnTo>
                    <a:pt x="127" y="71"/>
                  </a:lnTo>
                  <a:lnTo>
                    <a:pt x="111" y="59"/>
                  </a:lnTo>
                  <a:lnTo>
                    <a:pt x="111" y="43"/>
                  </a:lnTo>
                  <a:lnTo>
                    <a:pt x="148" y="38"/>
                  </a:lnTo>
                  <a:lnTo>
                    <a:pt x="160" y="21"/>
                  </a:lnTo>
                  <a:lnTo>
                    <a:pt x="165" y="26"/>
                  </a:lnTo>
                  <a:lnTo>
                    <a:pt x="177" y="14"/>
                  </a:lnTo>
                  <a:lnTo>
                    <a:pt x="203" y="21"/>
                  </a:lnTo>
                  <a:lnTo>
                    <a:pt x="203" y="5"/>
                  </a:lnTo>
                  <a:lnTo>
                    <a:pt x="252" y="14"/>
                  </a:lnTo>
                  <a:lnTo>
                    <a:pt x="257" y="0"/>
                  </a:lnTo>
                  <a:lnTo>
                    <a:pt x="266" y="5"/>
                  </a:lnTo>
                  <a:lnTo>
                    <a:pt x="274" y="0"/>
                  </a:lnTo>
                  <a:lnTo>
                    <a:pt x="359" y="21"/>
                  </a:lnTo>
                  <a:lnTo>
                    <a:pt x="418" y="21"/>
                  </a:lnTo>
                  <a:lnTo>
                    <a:pt x="434" y="14"/>
                  </a:lnTo>
                  <a:lnTo>
                    <a:pt x="444" y="26"/>
                  </a:lnTo>
                  <a:lnTo>
                    <a:pt x="444" y="38"/>
                  </a:lnTo>
                  <a:lnTo>
                    <a:pt x="429" y="38"/>
                  </a:lnTo>
                  <a:lnTo>
                    <a:pt x="418" y="59"/>
                  </a:lnTo>
                  <a:lnTo>
                    <a:pt x="392" y="88"/>
                  </a:lnTo>
                  <a:lnTo>
                    <a:pt x="396" y="130"/>
                  </a:lnTo>
                  <a:lnTo>
                    <a:pt x="396" y="147"/>
                  </a:lnTo>
                  <a:lnTo>
                    <a:pt x="418" y="184"/>
                  </a:lnTo>
                  <a:lnTo>
                    <a:pt x="396" y="184"/>
                  </a:lnTo>
                  <a:lnTo>
                    <a:pt x="392" y="218"/>
                  </a:lnTo>
                  <a:lnTo>
                    <a:pt x="392" y="218"/>
                  </a:lnTo>
                  <a:lnTo>
                    <a:pt x="392" y="218"/>
                  </a:lnTo>
                  <a:close/>
                  <a:moveTo>
                    <a:pt x="52" y="97"/>
                  </a:moveTo>
                  <a:lnTo>
                    <a:pt x="42" y="97"/>
                  </a:lnTo>
                  <a:lnTo>
                    <a:pt x="35" y="76"/>
                  </a:lnTo>
                  <a:lnTo>
                    <a:pt x="14" y="76"/>
                  </a:lnTo>
                  <a:lnTo>
                    <a:pt x="35" y="71"/>
                  </a:lnTo>
                  <a:lnTo>
                    <a:pt x="52" y="59"/>
                  </a:lnTo>
                  <a:lnTo>
                    <a:pt x="73" y="71"/>
                  </a:lnTo>
                  <a:lnTo>
                    <a:pt x="89" y="88"/>
                  </a:lnTo>
                  <a:lnTo>
                    <a:pt x="68" y="88"/>
                  </a:lnTo>
                  <a:lnTo>
                    <a:pt x="52" y="97"/>
                  </a:lnTo>
                  <a:lnTo>
                    <a:pt x="52" y="97"/>
                  </a:lnTo>
                  <a:lnTo>
                    <a:pt x="52" y="97"/>
                  </a:lnTo>
                  <a:close/>
                  <a:moveTo>
                    <a:pt x="96" y="59"/>
                  </a:moveTo>
                  <a:lnTo>
                    <a:pt x="111" y="71"/>
                  </a:lnTo>
                  <a:lnTo>
                    <a:pt x="89" y="71"/>
                  </a:lnTo>
                  <a:lnTo>
                    <a:pt x="89" y="59"/>
                  </a:lnTo>
                  <a:lnTo>
                    <a:pt x="96" y="59"/>
                  </a:lnTo>
                  <a:lnTo>
                    <a:pt x="96" y="59"/>
                  </a:lnTo>
                  <a:lnTo>
                    <a:pt x="96" y="59"/>
                  </a:lnTo>
                  <a:close/>
                  <a:moveTo>
                    <a:pt x="96" y="97"/>
                  </a:moveTo>
                  <a:lnTo>
                    <a:pt x="111" y="114"/>
                  </a:lnTo>
                  <a:lnTo>
                    <a:pt x="89" y="109"/>
                  </a:lnTo>
                  <a:lnTo>
                    <a:pt x="96" y="97"/>
                  </a:lnTo>
                  <a:lnTo>
                    <a:pt x="96" y="97"/>
                  </a:lnTo>
                  <a:lnTo>
                    <a:pt x="96" y="97"/>
                  </a:lnTo>
                  <a:close/>
                  <a:moveTo>
                    <a:pt x="14" y="180"/>
                  </a:moveTo>
                  <a:lnTo>
                    <a:pt x="14" y="168"/>
                  </a:lnTo>
                  <a:lnTo>
                    <a:pt x="26" y="151"/>
                  </a:lnTo>
                  <a:lnTo>
                    <a:pt x="4" y="142"/>
                  </a:lnTo>
                  <a:lnTo>
                    <a:pt x="14" y="130"/>
                  </a:lnTo>
                  <a:lnTo>
                    <a:pt x="0" y="114"/>
                  </a:lnTo>
                  <a:lnTo>
                    <a:pt x="73" y="109"/>
                  </a:lnTo>
                  <a:lnTo>
                    <a:pt x="106" y="125"/>
                  </a:lnTo>
                  <a:lnTo>
                    <a:pt x="89" y="125"/>
                  </a:lnTo>
                  <a:lnTo>
                    <a:pt x="68" y="147"/>
                  </a:lnTo>
                  <a:lnTo>
                    <a:pt x="35" y="151"/>
                  </a:lnTo>
                  <a:lnTo>
                    <a:pt x="26" y="168"/>
                  </a:lnTo>
                  <a:lnTo>
                    <a:pt x="14" y="180"/>
                  </a:lnTo>
                  <a:lnTo>
                    <a:pt x="14" y="180"/>
                  </a:lnTo>
                  <a:lnTo>
                    <a:pt x="14" y="18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5" name="Freeform 434">
              <a:extLst>
                <a:ext uri="{FF2B5EF4-FFF2-40B4-BE49-F238E27FC236}">
                  <a16:creationId xmlns:a16="http://schemas.microsoft.com/office/drawing/2014/main" id="{30E8B157-7822-452F-89BC-8766C0C34AFA}"/>
                </a:ext>
              </a:extLst>
            </p:cNvPr>
            <p:cNvSpPr>
              <a:spLocks noEditPoints="1"/>
            </p:cNvSpPr>
            <p:nvPr/>
          </p:nvSpPr>
          <p:spPr bwMode="gray">
            <a:xfrm>
              <a:off x="14581063" y="3684665"/>
              <a:ext cx="152847" cy="137465"/>
            </a:xfrm>
            <a:custGeom>
              <a:avLst/>
              <a:gdLst>
                <a:gd name="T0" fmla="*/ 446 w 467"/>
                <a:gd name="T1" fmla="*/ 404 h 420"/>
                <a:gd name="T2" fmla="*/ 434 w 467"/>
                <a:gd name="T3" fmla="*/ 420 h 420"/>
                <a:gd name="T4" fmla="*/ 413 w 467"/>
                <a:gd name="T5" fmla="*/ 416 h 420"/>
                <a:gd name="T6" fmla="*/ 380 w 467"/>
                <a:gd name="T7" fmla="*/ 383 h 420"/>
                <a:gd name="T8" fmla="*/ 338 w 467"/>
                <a:gd name="T9" fmla="*/ 326 h 420"/>
                <a:gd name="T10" fmla="*/ 269 w 467"/>
                <a:gd name="T11" fmla="*/ 260 h 420"/>
                <a:gd name="T12" fmla="*/ 215 w 467"/>
                <a:gd name="T13" fmla="*/ 255 h 420"/>
                <a:gd name="T14" fmla="*/ 182 w 467"/>
                <a:gd name="T15" fmla="*/ 250 h 420"/>
                <a:gd name="T16" fmla="*/ 144 w 467"/>
                <a:gd name="T17" fmla="*/ 272 h 420"/>
                <a:gd name="T18" fmla="*/ 113 w 467"/>
                <a:gd name="T19" fmla="*/ 250 h 420"/>
                <a:gd name="T20" fmla="*/ 80 w 467"/>
                <a:gd name="T21" fmla="*/ 293 h 420"/>
                <a:gd name="T22" fmla="*/ 52 w 467"/>
                <a:gd name="T23" fmla="*/ 272 h 420"/>
                <a:gd name="T24" fmla="*/ 26 w 467"/>
                <a:gd name="T25" fmla="*/ 272 h 420"/>
                <a:gd name="T26" fmla="*/ 0 w 467"/>
                <a:gd name="T27" fmla="*/ 217 h 420"/>
                <a:gd name="T28" fmla="*/ 26 w 467"/>
                <a:gd name="T29" fmla="*/ 111 h 420"/>
                <a:gd name="T30" fmla="*/ 38 w 467"/>
                <a:gd name="T31" fmla="*/ 73 h 420"/>
                <a:gd name="T32" fmla="*/ 75 w 467"/>
                <a:gd name="T33" fmla="*/ 57 h 420"/>
                <a:gd name="T34" fmla="*/ 127 w 467"/>
                <a:gd name="T35" fmla="*/ 40 h 420"/>
                <a:gd name="T36" fmla="*/ 182 w 467"/>
                <a:gd name="T37" fmla="*/ 66 h 420"/>
                <a:gd name="T38" fmla="*/ 203 w 467"/>
                <a:gd name="T39" fmla="*/ 168 h 420"/>
                <a:gd name="T40" fmla="*/ 219 w 467"/>
                <a:gd name="T41" fmla="*/ 194 h 420"/>
                <a:gd name="T42" fmla="*/ 236 w 467"/>
                <a:gd name="T43" fmla="*/ 222 h 420"/>
                <a:gd name="T44" fmla="*/ 236 w 467"/>
                <a:gd name="T45" fmla="*/ 201 h 420"/>
                <a:gd name="T46" fmla="*/ 257 w 467"/>
                <a:gd name="T47" fmla="*/ 222 h 420"/>
                <a:gd name="T48" fmla="*/ 283 w 467"/>
                <a:gd name="T49" fmla="*/ 222 h 420"/>
                <a:gd name="T50" fmla="*/ 304 w 467"/>
                <a:gd name="T51" fmla="*/ 250 h 420"/>
                <a:gd name="T52" fmla="*/ 366 w 467"/>
                <a:gd name="T53" fmla="*/ 305 h 420"/>
                <a:gd name="T54" fmla="*/ 397 w 467"/>
                <a:gd name="T55" fmla="*/ 326 h 420"/>
                <a:gd name="T56" fmla="*/ 401 w 467"/>
                <a:gd name="T57" fmla="*/ 326 h 420"/>
                <a:gd name="T58" fmla="*/ 434 w 467"/>
                <a:gd name="T59" fmla="*/ 366 h 420"/>
                <a:gd name="T60" fmla="*/ 451 w 467"/>
                <a:gd name="T61" fmla="*/ 387 h 420"/>
                <a:gd name="T62" fmla="*/ 467 w 467"/>
                <a:gd name="T63" fmla="*/ 387 h 420"/>
                <a:gd name="T64" fmla="*/ 467 w 467"/>
                <a:gd name="T65" fmla="*/ 387 h 420"/>
                <a:gd name="T66" fmla="*/ 252 w 467"/>
                <a:gd name="T67" fmla="*/ 144 h 420"/>
                <a:gd name="T68" fmla="*/ 257 w 467"/>
                <a:gd name="T69" fmla="*/ 149 h 420"/>
                <a:gd name="T70" fmla="*/ 252 w 467"/>
                <a:gd name="T71" fmla="*/ 149 h 420"/>
                <a:gd name="T72" fmla="*/ 252 w 467"/>
                <a:gd name="T73" fmla="*/ 161 h 420"/>
                <a:gd name="T74" fmla="*/ 257 w 467"/>
                <a:gd name="T75" fmla="*/ 177 h 420"/>
                <a:gd name="T76" fmla="*/ 274 w 467"/>
                <a:gd name="T77" fmla="*/ 184 h 420"/>
                <a:gd name="T78" fmla="*/ 241 w 467"/>
                <a:gd name="T79" fmla="*/ 177 h 420"/>
                <a:gd name="T80" fmla="*/ 241 w 467"/>
                <a:gd name="T81" fmla="*/ 168 h 420"/>
                <a:gd name="T82" fmla="*/ 252 w 467"/>
                <a:gd name="T83" fmla="*/ 161 h 420"/>
                <a:gd name="T84" fmla="*/ 252 w 467"/>
                <a:gd name="T85" fmla="*/ 161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7" h="420">
                  <a:moveTo>
                    <a:pt x="467" y="387"/>
                  </a:moveTo>
                  <a:lnTo>
                    <a:pt x="446" y="404"/>
                  </a:lnTo>
                  <a:lnTo>
                    <a:pt x="446" y="416"/>
                  </a:lnTo>
                  <a:lnTo>
                    <a:pt x="434" y="420"/>
                  </a:lnTo>
                  <a:lnTo>
                    <a:pt x="418" y="404"/>
                  </a:lnTo>
                  <a:lnTo>
                    <a:pt x="413" y="416"/>
                  </a:lnTo>
                  <a:lnTo>
                    <a:pt x="401" y="387"/>
                  </a:lnTo>
                  <a:lnTo>
                    <a:pt x="380" y="383"/>
                  </a:lnTo>
                  <a:lnTo>
                    <a:pt x="375" y="359"/>
                  </a:lnTo>
                  <a:lnTo>
                    <a:pt x="338" y="326"/>
                  </a:lnTo>
                  <a:lnTo>
                    <a:pt x="304" y="288"/>
                  </a:lnTo>
                  <a:lnTo>
                    <a:pt x="269" y="260"/>
                  </a:lnTo>
                  <a:lnTo>
                    <a:pt x="241" y="272"/>
                  </a:lnTo>
                  <a:lnTo>
                    <a:pt x="215" y="255"/>
                  </a:lnTo>
                  <a:lnTo>
                    <a:pt x="198" y="260"/>
                  </a:lnTo>
                  <a:lnTo>
                    <a:pt x="182" y="250"/>
                  </a:lnTo>
                  <a:lnTo>
                    <a:pt x="177" y="260"/>
                  </a:lnTo>
                  <a:lnTo>
                    <a:pt x="144" y="272"/>
                  </a:lnTo>
                  <a:lnTo>
                    <a:pt x="127" y="250"/>
                  </a:lnTo>
                  <a:lnTo>
                    <a:pt x="113" y="250"/>
                  </a:lnTo>
                  <a:lnTo>
                    <a:pt x="106" y="234"/>
                  </a:lnTo>
                  <a:lnTo>
                    <a:pt x="80" y="293"/>
                  </a:lnTo>
                  <a:lnTo>
                    <a:pt x="59" y="260"/>
                  </a:lnTo>
                  <a:lnTo>
                    <a:pt x="52" y="272"/>
                  </a:lnTo>
                  <a:lnTo>
                    <a:pt x="38" y="276"/>
                  </a:lnTo>
                  <a:lnTo>
                    <a:pt x="26" y="272"/>
                  </a:lnTo>
                  <a:lnTo>
                    <a:pt x="4" y="276"/>
                  </a:lnTo>
                  <a:lnTo>
                    <a:pt x="0" y="217"/>
                  </a:lnTo>
                  <a:lnTo>
                    <a:pt x="38" y="127"/>
                  </a:lnTo>
                  <a:lnTo>
                    <a:pt x="26" y="111"/>
                  </a:lnTo>
                  <a:lnTo>
                    <a:pt x="38" y="94"/>
                  </a:lnTo>
                  <a:lnTo>
                    <a:pt x="38" y="73"/>
                  </a:lnTo>
                  <a:lnTo>
                    <a:pt x="68" y="73"/>
                  </a:lnTo>
                  <a:lnTo>
                    <a:pt x="75" y="57"/>
                  </a:lnTo>
                  <a:lnTo>
                    <a:pt x="113" y="33"/>
                  </a:lnTo>
                  <a:lnTo>
                    <a:pt x="127" y="40"/>
                  </a:lnTo>
                  <a:lnTo>
                    <a:pt x="149" y="0"/>
                  </a:lnTo>
                  <a:lnTo>
                    <a:pt x="182" y="66"/>
                  </a:lnTo>
                  <a:lnTo>
                    <a:pt x="198" y="149"/>
                  </a:lnTo>
                  <a:lnTo>
                    <a:pt x="203" y="168"/>
                  </a:lnTo>
                  <a:lnTo>
                    <a:pt x="215" y="184"/>
                  </a:lnTo>
                  <a:lnTo>
                    <a:pt x="219" y="194"/>
                  </a:lnTo>
                  <a:lnTo>
                    <a:pt x="231" y="217"/>
                  </a:lnTo>
                  <a:lnTo>
                    <a:pt x="236" y="222"/>
                  </a:lnTo>
                  <a:lnTo>
                    <a:pt x="236" y="217"/>
                  </a:lnTo>
                  <a:lnTo>
                    <a:pt x="236" y="201"/>
                  </a:lnTo>
                  <a:lnTo>
                    <a:pt x="241" y="194"/>
                  </a:lnTo>
                  <a:lnTo>
                    <a:pt x="257" y="222"/>
                  </a:lnTo>
                  <a:lnTo>
                    <a:pt x="269" y="234"/>
                  </a:lnTo>
                  <a:lnTo>
                    <a:pt x="283" y="222"/>
                  </a:lnTo>
                  <a:lnTo>
                    <a:pt x="295" y="234"/>
                  </a:lnTo>
                  <a:lnTo>
                    <a:pt x="304" y="250"/>
                  </a:lnTo>
                  <a:lnTo>
                    <a:pt x="328" y="255"/>
                  </a:lnTo>
                  <a:lnTo>
                    <a:pt x="366" y="305"/>
                  </a:lnTo>
                  <a:lnTo>
                    <a:pt x="380" y="309"/>
                  </a:lnTo>
                  <a:lnTo>
                    <a:pt x="397" y="326"/>
                  </a:lnTo>
                  <a:lnTo>
                    <a:pt x="397" y="326"/>
                  </a:lnTo>
                  <a:lnTo>
                    <a:pt x="401" y="326"/>
                  </a:lnTo>
                  <a:lnTo>
                    <a:pt x="413" y="359"/>
                  </a:lnTo>
                  <a:lnTo>
                    <a:pt x="434" y="366"/>
                  </a:lnTo>
                  <a:lnTo>
                    <a:pt x="446" y="383"/>
                  </a:lnTo>
                  <a:lnTo>
                    <a:pt x="451" y="387"/>
                  </a:lnTo>
                  <a:lnTo>
                    <a:pt x="456" y="383"/>
                  </a:lnTo>
                  <a:lnTo>
                    <a:pt x="467" y="387"/>
                  </a:lnTo>
                  <a:lnTo>
                    <a:pt x="467" y="387"/>
                  </a:lnTo>
                  <a:lnTo>
                    <a:pt x="467" y="387"/>
                  </a:lnTo>
                  <a:close/>
                  <a:moveTo>
                    <a:pt x="252" y="149"/>
                  </a:moveTo>
                  <a:lnTo>
                    <a:pt x="252" y="144"/>
                  </a:lnTo>
                  <a:lnTo>
                    <a:pt x="257" y="144"/>
                  </a:lnTo>
                  <a:lnTo>
                    <a:pt x="257" y="149"/>
                  </a:lnTo>
                  <a:lnTo>
                    <a:pt x="252" y="149"/>
                  </a:lnTo>
                  <a:lnTo>
                    <a:pt x="252" y="149"/>
                  </a:lnTo>
                  <a:lnTo>
                    <a:pt x="252" y="149"/>
                  </a:lnTo>
                  <a:close/>
                  <a:moveTo>
                    <a:pt x="252" y="161"/>
                  </a:moveTo>
                  <a:lnTo>
                    <a:pt x="257" y="168"/>
                  </a:lnTo>
                  <a:lnTo>
                    <a:pt x="257" y="177"/>
                  </a:lnTo>
                  <a:lnTo>
                    <a:pt x="269" y="177"/>
                  </a:lnTo>
                  <a:lnTo>
                    <a:pt x="274" y="184"/>
                  </a:lnTo>
                  <a:lnTo>
                    <a:pt x="241" y="184"/>
                  </a:lnTo>
                  <a:lnTo>
                    <a:pt x="241" y="177"/>
                  </a:lnTo>
                  <a:lnTo>
                    <a:pt x="252" y="177"/>
                  </a:lnTo>
                  <a:lnTo>
                    <a:pt x="241" y="168"/>
                  </a:lnTo>
                  <a:lnTo>
                    <a:pt x="252" y="168"/>
                  </a:lnTo>
                  <a:lnTo>
                    <a:pt x="252" y="161"/>
                  </a:lnTo>
                  <a:lnTo>
                    <a:pt x="252" y="161"/>
                  </a:lnTo>
                  <a:lnTo>
                    <a:pt x="252" y="161"/>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6" name="Freeform 435">
              <a:extLst>
                <a:ext uri="{FF2B5EF4-FFF2-40B4-BE49-F238E27FC236}">
                  <a16:creationId xmlns:a16="http://schemas.microsoft.com/office/drawing/2014/main" id="{0FC27297-FF24-468A-957C-209C0E3E9CA0}"/>
                </a:ext>
              </a:extLst>
            </p:cNvPr>
            <p:cNvSpPr>
              <a:spLocks/>
            </p:cNvSpPr>
            <p:nvPr/>
          </p:nvSpPr>
          <p:spPr bwMode="gray">
            <a:xfrm>
              <a:off x="11674669" y="3773690"/>
              <a:ext cx="57931" cy="29130"/>
            </a:xfrm>
            <a:custGeom>
              <a:avLst/>
              <a:gdLst>
                <a:gd name="T0" fmla="*/ 0 w 177"/>
                <a:gd name="T1" fmla="*/ 44 h 89"/>
                <a:gd name="T2" fmla="*/ 12 w 177"/>
                <a:gd name="T3" fmla="*/ 33 h 89"/>
                <a:gd name="T4" fmla="*/ 45 w 177"/>
                <a:gd name="T5" fmla="*/ 4 h 89"/>
                <a:gd name="T6" fmla="*/ 45 w 177"/>
                <a:gd name="T7" fmla="*/ 0 h 89"/>
                <a:gd name="T8" fmla="*/ 55 w 177"/>
                <a:gd name="T9" fmla="*/ 0 h 89"/>
                <a:gd name="T10" fmla="*/ 83 w 177"/>
                <a:gd name="T11" fmla="*/ 0 h 89"/>
                <a:gd name="T12" fmla="*/ 100 w 177"/>
                <a:gd name="T13" fmla="*/ 21 h 89"/>
                <a:gd name="T14" fmla="*/ 100 w 177"/>
                <a:gd name="T15" fmla="*/ 16 h 89"/>
                <a:gd name="T16" fmla="*/ 111 w 177"/>
                <a:gd name="T17" fmla="*/ 33 h 89"/>
                <a:gd name="T18" fmla="*/ 121 w 177"/>
                <a:gd name="T19" fmla="*/ 37 h 89"/>
                <a:gd name="T20" fmla="*/ 144 w 177"/>
                <a:gd name="T21" fmla="*/ 33 h 89"/>
                <a:gd name="T22" fmla="*/ 154 w 177"/>
                <a:gd name="T23" fmla="*/ 37 h 89"/>
                <a:gd name="T24" fmla="*/ 166 w 177"/>
                <a:gd name="T25" fmla="*/ 33 h 89"/>
                <a:gd name="T26" fmla="*/ 177 w 177"/>
                <a:gd name="T27" fmla="*/ 37 h 89"/>
                <a:gd name="T28" fmla="*/ 166 w 177"/>
                <a:gd name="T29" fmla="*/ 61 h 89"/>
                <a:gd name="T30" fmla="*/ 177 w 177"/>
                <a:gd name="T31" fmla="*/ 61 h 89"/>
                <a:gd name="T32" fmla="*/ 166 w 177"/>
                <a:gd name="T33" fmla="*/ 73 h 89"/>
                <a:gd name="T34" fmla="*/ 161 w 177"/>
                <a:gd name="T35" fmla="*/ 73 h 89"/>
                <a:gd name="T36" fmla="*/ 166 w 177"/>
                <a:gd name="T37" fmla="*/ 78 h 89"/>
                <a:gd name="T38" fmla="*/ 161 w 177"/>
                <a:gd name="T39" fmla="*/ 89 h 89"/>
                <a:gd name="T40" fmla="*/ 100 w 177"/>
                <a:gd name="T41" fmla="*/ 78 h 89"/>
                <a:gd name="T42" fmla="*/ 111 w 177"/>
                <a:gd name="T43" fmla="*/ 89 h 89"/>
                <a:gd name="T44" fmla="*/ 55 w 177"/>
                <a:gd name="T45" fmla="*/ 61 h 89"/>
                <a:gd name="T46" fmla="*/ 29 w 177"/>
                <a:gd name="T47" fmla="*/ 61 h 89"/>
                <a:gd name="T48" fmla="*/ 0 w 177"/>
                <a:gd name="T49" fmla="*/ 44 h 89"/>
                <a:gd name="T50" fmla="*/ 0 w 177"/>
                <a:gd name="T51" fmla="*/ 44 h 89"/>
                <a:gd name="T52" fmla="*/ 0 w 177"/>
                <a:gd name="T53"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89">
                  <a:moveTo>
                    <a:pt x="0" y="44"/>
                  </a:moveTo>
                  <a:lnTo>
                    <a:pt x="12" y="33"/>
                  </a:lnTo>
                  <a:lnTo>
                    <a:pt x="45" y="4"/>
                  </a:lnTo>
                  <a:lnTo>
                    <a:pt x="45" y="0"/>
                  </a:lnTo>
                  <a:lnTo>
                    <a:pt x="55" y="0"/>
                  </a:lnTo>
                  <a:lnTo>
                    <a:pt x="83" y="0"/>
                  </a:lnTo>
                  <a:lnTo>
                    <a:pt x="100" y="21"/>
                  </a:lnTo>
                  <a:lnTo>
                    <a:pt x="100" y="16"/>
                  </a:lnTo>
                  <a:lnTo>
                    <a:pt x="111" y="33"/>
                  </a:lnTo>
                  <a:lnTo>
                    <a:pt x="121" y="37"/>
                  </a:lnTo>
                  <a:lnTo>
                    <a:pt x="144" y="33"/>
                  </a:lnTo>
                  <a:lnTo>
                    <a:pt x="154" y="37"/>
                  </a:lnTo>
                  <a:lnTo>
                    <a:pt x="166" y="33"/>
                  </a:lnTo>
                  <a:lnTo>
                    <a:pt x="177" y="37"/>
                  </a:lnTo>
                  <a:lnTo>
                    <a:pt x="166" y="61"/>
                  </a:lnTo>
                  <a:lnTo>
                    <a:pt x="177" y="61"/>
                  </a:lnTo>
                  <a:lnTo>
                    <a:pt x="166" y="73"/>
                  </a:lnTo>
                  <a:lnTo>
                    <a:pt x="161" y="73"/>
                  </a:lnTo>
                  <a:lnTo>
                    <a:pt x="166" y="78"/>
                  </a:lnTo>
                  <a:lnTo>
                    <a:pt x="161" y="89"/>
                  </a:lnTo>
                  <a:lnTo>
                    <a:pt x="100" y="78"/>
                  </a:lnTo>
                  <a:lnTo>
                    <a:pt x="111" y="89"/>
                  </a:lnTo>
                  <a:lnTo>
                    <a:pt x="55" y="61"/>
                  </a:lnTo>
                  <a:lnTo>
                    <a:pt x="29" y="61"/>
                  </a:lnTo>
                  <a:lnTo>
                    <a:pt x="0" y="44"/>
                  </a:lnTo>
                  <a:lnTo>
                    <a:pt x="0" y="44"/>
                  </a:lnTo>
                  <a:lnTo>
                    <a:pt x="0" y="44"/>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7" name="Freeform 436">
              <a:extLst>
                <a:ext uri="{FF2B5EF4-FFF2-40B4-BE49-F238E27FC236}">
                  <a16:creationId xmlns:a16="http://schemas.microsoft.com/office/drawing/2014/main" id="{EC4ABB93-DC92-426C-B8AC-B2238F1CD603}"/>
                </a:ext>
              </a:extLst>
            </p:cNvPr>
            <p:cNvSpPr>
              <a:spLocks/>
            </p:cNvSpPr>
            <p:nvPr/>
          </p:nvSpPr>
          <p:spPr bwMode="gray">
            <a:xfrm>
              <a:off x="14500548" y="3760271"/>
              <a:ext cx="345625" cy="274602"/>
            </a:xfrm>
            <a:custGeom>
              <a:avLst/>
              <a:gdLst>
                <a:gd name="T0" fmla="*/ 628 w 1056"/>
                <a:gd name="T1" fmla="*/ 794 h 839"/>
                <a:gd name="T2" fmla="*/ 553 w 1056"/>
                <a:gd name="T3" fmla="*/ 778 h 839"/>
                <a:gd name="T4" fmla="*/ 461 w 1056"/>
                <a:gd name="T5" fmla="*/ 839 h 839"/>
                <a:gd name="T6" fmla="*/ 369 w 1056"/>
                <a:gd name="T7" fmla="*/ 822 h 839"/>
                <a:gd name="T8" fmla="*/ 217 w 1056"/>
                <a:gd name="T9" fmla="*/ 761 h 839"/>
                <a:gd name="T10" fmla="*/ 196 w 1056"/>
                <a:gd name="T11" fmla="*/ 737 h 839"/>
                <a:gd name="T12" fmla="*/ 180 w 1056"/>
                <a:gd name="T13" fmla="*/ 688 h 839"/>
                <a:gd name="T14" fmla="*/ 163 w 1056"/>
                <a:gd name="T15" fmla="*/ 688 h 839"/>
                <a:gd name="T16" fmla="*/ 142 w 1056"/>
                <a:gd name="T17" fmla="*/ 650 h 839"/>
                <a:gd name="T18" fmla="*/ 109 w 1056"/>
                <a:gd name="T19" fmla="*/ 593 h 839"/>
                <a:gd name="T20" fmla="*/ 87 w 1056"/>
                <a:gd name="T21" fmla="*/ 577 h 839"/>
                <a:gd name="T22" fmla="*/ 33 w 1056"/>
                <a:gd name="T23" fmla="*/ 522 h 839"/>
                <a:gd name="T24" fmla="*/ 0 w 1056"/>
                <a:gd name="T25" fmla="*/ 506 h 839"/>
                <a:gd name="T26" fmla="*/ 17 w 1056"/>
                <a:gd name="T27" fmla="*/ 473 h 839"/>
                <a:gd name="T28" fmla="*/ 50 w 1056"/>
                <a:gd name="T29" fmla="*/ 466 h 839"/>
                <a:gd name="T30" fmla="*/ 83 w 1056"/>
                <a:gd name="T31" fmla="*/ 461 h 839"/>
                <a:gd name="T32" fmla="*/ 97 w 1056"/>
                <a:gd name="T33" fmla="*/ 338 h 839"/>
                <a:gd name="T34" fmla="*/ 121 w 1056"/>
                <a:gd name="T35" fmla="*/ 296 h 839"/>
                <a:gd name="T36" fmla="*/ 142 w 1056"/>
                <a:gd name="T37" fmla="*/ 296 h 839"/>
                <a:gd name="T38" fmla="*/ 151 w 1056"/>
                <a:gd name="T39" fmla="*/ 246 h 839"/>
                <a:gd name="T40" fmla="*/ 163 w 1056"/>
                <a:gd name="T41" fmla="*/ 222 h 839"/>
                <a:gd name="T42" fmla="*/ 227 w 1056"/>
                <a:gd name="T43" fmla="*/ 156 h 839"/>
                <a:gd name="T44" fmla="*/ 250 w 1056"/>
                <a:gd name="T45" fmla="*/ 78 h 839"/>
                <a:gd name="T46" fmla="*/ 250 w 1056"/>
                <a:gd name="T47" fmla="*/ 45 h 839"/>
                <a:gd name="T48" fmla="*/ 281 w 1056"/>
                <a:gd name="T49" fmla="*/ 45 h 839"/>
                <a:gd name="T50" fmla="*/ 305 w 1056"/>
                <a:gd name="T51" fmla="*/ 29 h 839"/>
                <a:gd name="T52" fmla="*/ 352 w 1056"/>
                <a:gd name="T53" fmla="*/ 0 h 839"/>
                <a:gd name="T54" fmla="*/ 373 w 1056"/>
                <a:gd name="T55" fmla="*/ 17 h 839"/>
                <a:gd name="T56" fmla="*/ 423 w 1056"/>
                <a:gd name="T57" fmla="*/ 29 h 839"/>
                <a:gd name="T58" fmla="*/ 444 w 1056"/>
                <a:gd name="T59" fmla="*/ 29 h 839"/>
                <a:gd name="T60" fmla="*/ 487 w 1056"/>
                <a:gd name="T61" fmla="*/ 41 h 839"/>
                <a:gd name="T62" fmla="*/ 553 w 1056"/>
                <a:gd name="T63" fmla="*/ 57 h 839"/>
                <a:gd name="T64" fmla="*/ 624 w 1056"/>
                <a:gd name="T65" fmla="*/ 128 h 839"/>
                <a:gd name="T66" fmla="*/ 650 w 1056"/>
                <a:gd name="T67" fmla="*/ 156 h 839"/>
                <a:gd name="T68" fmla="*/ 624 w 1056"/>
                <a:gd name="T69" fmla="*/ 230 h 839"/>
                <a:gd name="T70" fmla="*/ 624 w 1056"/>
                <a:gd name="T71" fmla="*/ 284 h 839"/>
                <a:gd name="T72" fmla="*/ 683 w 1056"/>
                <a:gd name="T73" fmla="*/ 279 h 839"/>
                <a:gd name="T74" fmla="*/ 683 w 1056"/>
                <a:gd name="T75" fmla="*/ 317 h 839"/>
                <a:gd name="T76" fmla="*/ 716 w 1056"/>
                <a:gd name="T77" fmla="*/ 362 h 839"/>
                <a:gd name="T78" fmla="*/ 737 w 1056"/>
                <a:gd name="T79" fmla="*/ 407 h 839"/>
                <a:gd name="T80" fmla="*/ 775 w 1056"/>
                <a:gd name="T81" fmla="*/ 433 h 839"/>
                <a:gd name="T82" fmla="*/ 1056 w 1056"/>
                <a:gd name="T83" fmla="*/ 506 h 839"/>
                <a:gd name="T84" fmla="*/ 775 w 1056"/>
                <a:gd name="T85" fmla="*/ 721 h 839"/>
                <a:gd name="T86" fmla="*/ 716 w 1056"/>
                <a:gd name="T87" fmla="*/ 744 h 839"/>
                <a:gd name="T88" fmla="*/ 640 w 1056"/>
                <a:gd name="T89" fmla="*/ 782 h 839"/>
                <a:gd name="T90" fmla="*/ 640 w 1056"/>
                <a:gd name="T91" fmla="*/ 78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56" h="839">
                  <a:moveTo>
                    <a:pt x="640" y="782"/>
                  </a:moveTo>
                  <a:lnTo>
                    <a:pt x="628" y="794"/>
                  </a:lnTo>
                  <a:lnTo>
                    <a:pt x="574" y="799"/>
                  </a:lnTo>
                  <a:lnTo>
                    <a:pt x="553" y="778"/>
                  </a:lnTo>
                  <a:lnTo>
                    <a:pt x="482" y="799"/>
                  </a:lnTo>
                  <a:lnTo>
                    <a:pt x="461" y="839"/>
                  </a:lnTo>
                  <a:lnTo>
                    <a:pt x="390" y="822"/>
                  </a:lnTo>
                  <a:lnTo>
                    <a:pt x="369" y="822"/>
                  </a:lnTo>
                  <a:lnTo>
                    <a:pt x="288" y="766"/>
                  </a:lnTo>
                  <a:lnTo>
                    <a:pt x="217" y="761"/>
                  </a:lnTo>
                  <a:lnTo>
                    <a:pt x="213" y="749"/>
                  </a:lnTo>
                  <a:lnTo>
                    <a:pt x="196" y="737"/>
                  </a:lnTo>
                  <a:lnTo>
                    <a:pt x="206" y="695"/>
                  </a:lnTo>
                  <a:lnTo>
                    <a:pt x="180" y="688"/>
                  </a:lnTo>
                  <a:lnTo>
                    <a:pt x="163" y="695"/>
                  </a:lnTo>
                  <a:lnTo>
                    <a:pt x="163" y="688"/>
                  </a:lnTo>
                  <a:lnTo>
                    <a:pt x="151" y="671"/>
                  </a:lnTo>
                  <a:lnTo>
                    <a:pt x="142" y="650"/>
                  </a:lnTo>
                  <a:lnTo>
                    <a:pt x="125" y="600"/>
                  </a:lnTo>
                  <a:lnTo>
                    <a:pt x="109" y="593"/>
                  </a:lnTo>
                  <a:lnTo>
                    <a:pt x="104" y="584"/>
                  </a:lnTo>
                  <a:lnTo>
                    <a:pt x="87" y="577"/>
                  </a:lnTo>
                  <a:lnTo>
                    <a:pt x="66" y="539"/>
                  </a:lnTo>
                  <a:lnTo>
                    <a:pt x="33" y="522"/>
                  </a:lnTo>
                  <a:lnTo>
                    <a:pt x="0" y="522"/>
                  </a:lnTo>
                  <a:lnTo>
                    <a:pt x="0" y="506"/>
                  </a:lnTo>
                  <a:lnTo>
                    <a:pt x="17" y="489"/>
                  </a:lnTo>
                  <a:lnTo>
                    <a:pt x="17" y="473"/>
                  </a:lnTo>
                  <a:lnTo>
                    <a:pt x="17" y="473"/>
                  </a:lnTo>
                  <a:lnTo>
                    <a:pt x="50" y="466"/>
                  </a:lnTo>
                  <a:lnTo>
                    <a:pt x="54" y="473"/>
                  </a:lnTo>
                  <a:lnTo>
                    <a:pt x="83" y="461"/>
                  </a:lnTo>
                  <a:lnTo>
                    <a:pt x="83" y="395"/>
                  </a:lnTo>
                  <a:lnTo>
                    <a:pt x="97" y="338"/>
                  </a:lnTo>
                  <a:lnTo>
                    <a:pt x="97" y="317"/>
                  </a:lnTo>
                  <a:lnTo>
                    <a:pt x="121" y="296"/>
                  </a:lnTo>
                  <a:lnTo>
                    <a:pt x="135" y="305"/>
                  </a:lnTo>
                  <a:lnTo>
                    <a:pt x="142" y="296"/>
                  </a:lnTo>
                  <a:lnTo>
                    <a:pt x="142" y="267"/>
                  </a:lnTo>
                  <a:lnTo>
                    <a:pt x="151" y="246"/>
                  </a:lnTo>
                  <a:lnTo>
                    <a:pt x="151" y="230"/>
                  </a:lnTo>
                  <a:lnTo>
                    <a:pt x="163" y="222"/>
                  </a:lnTo>
                  <a:lnTo>
                    <a:pt x="196" y="168"/>
                  </a:lnTo>
                  <a:lnTo>
                    <a:pt x="227" y="156"/>
                  </a:lnTo>
                  <a:lnTo>
                    <a:pt x="227" y="135"/>
                  </a:lnTo>
                  <a:lnTo>
                    <a:pt x="250" y="78"/>
                  </a:lnTo>
                  <a:lnTo>
                    <a:pt x="243" y="74"/>
                  </a:lnTo>
                  <a:lnTo>
                    <a:pt x="250" y="45"/>
                  </a:lnTo>
                  <a:lnTo>
                    <a:pt x="272" y="41"/>
                  </a:lnTo>
                  <a:lnTo>
                    <a:pt x="281" y="45"/>
                  </a:lnTo>
                  <a:lnTo>
                    <a:pt x="298" y="41"/>
                  </a:lnTo>
                  <a:lnTo>
                    <a:pt x="305" y="29"/>
                  </a:lnTo>
                  <a:lnTo>
                    <a:pt x="326" y="62"/>
                  </a:lnTo>
                  <a:lnTo>
                    <a:pt x="352" y="0"/>
                  </a:lnTo>
                  <a:lnTo>
                    <a:pt x="357" y="17"/>
                  </a:lnTo>
                  <a:lnTo>
                    <a:pt x="373" y="17"/>
                  </a:lnTo>
                  <a:lnTo>
                    <a:pt x="390" y="41"/>
                  </a:lnTo>
                  <a:lnTo>
                    <a:pt x="423" y="29"/>
                  </a:lnTo>
                  <a:lnTo>
                    <a:pt x="428" y="17"/>
                  </a:lnTo>
                  <a:lnTo>
                    <a:pt x="444" y="29"/>
                  </a:lnTo>
                  <a:lnTo>
                    <a:pt x="461" y="24"/>
                  </a:lnTo>
                  <a:lnTo>
                    <a:pt x="487" y="41"/>
                  </a:lnTo>
                  <a:lnTo>
                    <a:pt x="515" y="29"/>
                  </a:lnTo>
                  <a:lnTo>
                    <a:pt x="553" y="57"/>
                  </a:lnTo>
                  <a:lnTo>
                    <a:pt x="586" y="95"/>
                  </a:lnTo>
                  <a:lnTo>
                    <a:pt x="624" y="128"/>
                  </a:lnTo>
                  <a:lnTo>
                    <a:pt x="628" y="152"/>
                  </a:lnTo>
                  <a:lnTo>
                    <a:pt x="650" y="156"/>
                  </a:lnTo>
                  <a:lnTo>
                    <a:pt x="661" y="185"/>
                  </a:lnTo>
                  <a:lnTo>
                    <a:pt x="624" y="230"/>
                  </a:lnTo>
                  <a:lnTo>
                    <a:pt x="624" y="251"/>
                  </a:lnTo>
                  <a:lnTo>
                    <a:pt x="624" y="284"/>
                  </a:lnTo>
                  <a:lnTo>
                    <a:pt x="640" y="296"/>
                  </a:lnTo>
                  <a:lnTo>
                    <a:pt x="683" y="279"/>
                  </a:lnTo>
                  <a:lnTo>
                    <a:pt x="699" y="284"/>
                  </a:lnTo>
                  <a:lnTo>
                    <a:pt x="683" y="317"/>
                  </a:lnTo>
                  <a:lnTo>
                    <a:pt x="699" y="338"/>
                  </a:lnTo>
                  <a:lnTo>
                    <a:pt x="716" y="362"/>
                  </a:lnTo>
                  <a:lnTo>
                    <a:pt x="721" y="362"/>
                  </a:lnTo>
                  <a:lnTo>
                    <a:pt x="737" y="407"/>
                  </a:lnTo>
                  <a:lnTo>
                    <a:pt x="754" y="407"/>
                  </a:lnTo>
                  <a:lnTo>
                    <a:pt x="775" y="433"/>
                  </a:lnTo>
                  <a:lnTo>
                    <a:pt x="985" y="506"/>
                  </a:lnTo>
                  <a:lnTo>
                    <a:pt x="1056" y="506"/>
                  </a:lnTo>
                  <a:lnTo>
                    <a:pt x="846" y="728"/>
                  </a:lnTo>
                  <a:lnTo>
                    <a:pt x="775" y="721"/>
                  </a:lnTo>
                  <a:lnTo>
                    <a:pt x="754" y="728"/>
                  </a:lnTo>
                  <a:lnTo>
                    <a:pt x="716" y="744"/>
                  </a:lnTo>
                  <a:lnTo>
                    <a:pt x="699" y="766"/>
                  </a:lnTo>
                  <a:lnTo>
                    <a:pt x="640" y="782"/>
                  </a:lnTo>
                  <a:lnTo>
                    <a:pt x="640" y="782"/>
                  </a:lnTo>
                  <a:lnTo>
                    <a:pt x="640" y="782"/>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8" name="Freeform 437">
              <a:extLst>
                <a:ext uri="{FF2B5EF4-FFF2-40B4-BE49-F238E27FC236}">
                  <a16:creationId xmlns:a16="http://schemas.microsoft.com/office/drawing/2014/main" id="{D1DBEEAA-D51E-447F-90A2-2E5B03AB8106}"/>
                </a:ext>
              </a:extLst>
            </p:cNvPr>
            <p:cNvSpPr>
              <a:spLocks/>
            </p:cNvSpPr>
            <p:nvPr/>
          </p:nvSpPr>
          <p:spPr bwMode="gray">
            <a:xfrm>
              <a:off x="14022040" y="2793109"/>
              <a:ext cx="154484" cy="75933"/>
            </a:xfrm>
            <a:custGeom>
              <a:avLst/>
              <a:gdLst>
                <a:gd name="T0" fmla="*/ 340 w 472"/>
                <a:gd name="T1" fmla="*/ 225 h 232"/>
                <a:gd name="T2" fmla="*/ 340 w 472"/>
                <a:gd name="T3" fmla="*/ 220 h 232"/>
                <a:gd name="T4" fmla="*/ 309 w 472"/>
                <a:gd name="T5" fmla="*/ 208 h 232"/>
                <a:gd name="T6" fmla="*/ 276 w 472"/>
                <a:gd name="T7" fmla="*/ 220 h 232"/>
                <a:gd name="T8" fmla="*/ 205 w 472"/>
                <a:gd name="T9" fmla="*/ 187 h 232"/>
                <a:gd name="T10" fmla="*/ 201 w 472"/>
                <a:gd name="T11" fmla="*/ 208 h 232"/>
                <a:gd name="T12" fmla="*/ 194 w 472"/>
                <a:gd name="T13" fmla="*/ 208 h 232"/>
                <a:gd name="T14" fmla="*/ 184 w 472"/>
                <a:gd name="T15" fmla="*/ 232 h 232"/>
                <a:gd name="T16" fmla="*/ 146 w 472"/>
                <a:gd name="T17" fmla="*/ 225 h 232"/>
                <a:gd name="T18" fmla="*/ 125 w 472"/>
                <a:gd name="T19" fmla="*/ 208 h 232"/>
                <a:gd name="T20" fmla="*/ 59 w 472"/>
                <a:gd name="T21" fmla="*/ 166 h 232"/>
                <a:gd name="T22" fmla="*/ 38 w 472"/>
                <a:gd name="T23" fmla="*/ 154 h 232"/>
                <a:gd name="T24" fmla="*/ 21 w 472"/>
                <a:gd name="T25" fmla="*/ 133 h 232"/>
                <a:gd name="T26" fmla="*/ 31 w 472"/>
                <a:gd name="T27" fmla="*/ 109 h 232"/>
                <a:gd name="T28" fmla="*/ 5 w 472"/>
                <a:gd name="T29" fmla="*/ 92 h 232"/>
                <a:gd name="T30" fmla="*/ 0 w 472"/>
                <a:gd name="T31" fmla="*/ 67 h 232"/>
                <a:gd name="T32" fmla="*/ 16 w 472"/>
                <a:gd name="T33" fmla="*/ 76 h 232"/>
                <a:gd name="T34" fmla="*/ 31 w 472"/>
                <a:gd name="T35" fmla="*/ 59 h 232"/>
                <a:gd name="T36" fmla="*/ 59 w 472"/>
                <a:gd name="T37" fmla="*/ 59 h 232"/>
                <a:gd name="T38" fmla="*/ 97 w 472"/>
                <a:gd name="T39" fmla="*/ 26 h 232"/>
                <a:gd name="T40" fmla="*/ 151 w 472"/>
                <a:gd name="T41" fmla="*/ 10 h 232"/>
                <a:gd name="T42" fmla="*/ 163 w 472"/>
                <a:gd name="T43" fmla="*/ 10 h 232"/>
                <a:gd name="T44" fmla="*/ 151 w 472"/>
                <a:gd name="T45" fmla="*/ 5 h 232"/>
                <a:gd name="T46" fmla="*/ 151 w 472"/>
                <a:gd name="T47" fmla="*/ 0 h 232"/>
                <a:gd name="T48" fmla="*/ 168 w 472"/>
                <a:gd name="T49" fmla="*/ 5 h 232"/>
                <a:gd name="T50" fmla="*/ 177 w 472"/>
                <a:gd name="T51" fmla="*/ 22 h 232"/>
                <a:gd name="T52" fmla="*/ 194 w 472"/>
                <a:gd name="T53" fmla="*/ 22 h 232"/>
                <a:gd name="T54" fmla="*/ 201 w 472"/>
                <a:gd name="T55" fmla="*/ 22 h 232"/>
                <a:gd name="T56" fmla="*/ 201 w 472"/>
                <a:gd name="T57" fmla="*/ 5 h 232"/>
                <a:gd name="T58" fmla="*/ 217 w 472"/>
                <a:gd name="T59" fmla="*/ 5 h 232"/>
                <a:gd name="T60" fmla="*/ 231 w 472"/>
                <a:gd name="T61" fmla="*/ 26 h 232"/>
                <a:gd name="T62" fmla="*/ 286 w 472"/>
                <a:gd name="T63" fmla="*/ 38 h 232"/>
                <a:gd name="T64" fmla="*/ 302 w 472"/>
                <a:gd name="T65" fmla="*/ 43 h 232"/>
                <a:gd name="T66" fmla="*/ 286 w 472"/>
                <a:gd name="T67" fmla="*/ 59 h 232"/>
                <a:gd name="T68" fmla="*/ 314 w 472"/>
                <a:gd name="T69" fmla="*/ 92 h 232"/>
                <a:gd name="T70" fmla="*/ 347 w 472"/>
                <a:gd name="T71" fmla="*/ 76 h 232"/>
                <a:gd name="T72" fmla="*/ 340 w 472"/>
                <a:gd name="T73" fmla="*/ 59 h 232"/>
                <a:gd name="T74" fmla="*/ 368 w 472"/>
                <a:gd name="T75" fmla="*/ 76 h 232"/>
                <a:gd name="T76" fmla="*/ 394 w 472"/>
                <a:gd name="T77" fmla="*/ 67 h 232"/>
                <a:gd name="T78" fmla="*/ 394 w 472"/>
                <a:gd name="T79" fmla="*/ 76 h 232"/>
                <a:gd name="T80" fmla="*/ 385 w 472"/>
                <a:gd name="T81" fmla="*/ 83 h 232"/>
                <a:gd name="T82" fmla="*/ 394 w 472"/>
                <a:gd name="T83" fmla="*/ 92 h 232"/>
                <a:gd name="T84" fmla="*/ 411 w 472"/>
                <a:gd name="T85" fmla="*/ 100 h 232"/>
                <a:gd name="T86" fmla="*/ 418 w 472"/>
                <a:gd name="T87" fmla="*/ 92 h 232"/>
                <a:gd name="T88" fmla="*/ 456 w 472"/>
                <a:gd name="T89" fmla="*/ 109 h 232"/>
                <a:gd name="T90" fmla="*/ 456 w 472"/>
                <a:gd name="T91" fmla="*/ 121 h 232"/>
                <a:gd name="T92" fmla="*/ 472 w 472"/>
                <a:gd name="T93" fmla="*/ 133 h 232"/>
                <a:gd name="T94" fmla="*/ 472 w 472"/>
                <a:gd name="T95" fmla="*/ 149 h 232"/>
                <a:gd name="T96" fmla="*/ 456 w 472"/>
                <a:gd name="T97" fmla="*/ 149 h 232"/>
                <a:gd name="T98" fmla="*/ 432 w 472"/>
                <a:gd name="T99" fmla="*/ 166 h 232"/>
                <a:gd name="T100" fmla="*/ 418 w 472"/>
                <a:gd name="T101" fmla="*/ 187 h 232"/>
                <a:gd name="T102" fmla="*/ 394 w 472"/>
                <a:gd name="T103" fmla="*/ 204 h 232"/>
                <a:gd name="T104" fmla="*/ 357 w 472"/>
                <a:gd name="T105" fmla="*/ 204 h 232"/>
                <a:gd name="T106" fmla="*/ 340 w 472"/>
                <a:gd name="T107" fmla="*/ 225 h 232"/>
                <a:gd name="T108" fmla="*/ 340 w 472"/>
                <a:gd name="T109" fmla="*/ 225 h 232"/>
                <a:gd name="T110" fmla="*/ 340 w 472"/>
                <a:gd name="T111" fmla="*/ 22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2" h="232">
                  <a:moveTo>
                    <a:pt x="340" y="225"/>
                  </a:moveTo>
                  <a:lnTo>
                    <a:pt x="340" y="220"/>
                  </a:lnTo>
                  <a:lnTo>
                    <a:pt x="309" y="208"/>
                  </a:lnTo>
                  <a:lnTo>
                    <a:pt x="276" y="220"/>
                  </a:lnTo>
                  <a:lnTo>
                    <a:pt x="205" y="187"/>
                  </a:lnTo>
                  <a:lnTo>
                    <a:pt x="201" y="208"/>
                  </a:lnTo>
                  <a:lnTo>
                    <a:pt x="194" y="208"/>
                  </a:lnTo>
                  <a:lnTo>
                    <a:pt x="184" y="232"/>
                  </a:lnTo>
                  <a:lnTo>
                    <a:pt x="146" y="225"/>
                  </a:lnTo>
                  <a:lnTo>
                    <a:pt x="125" y="208"/>
                  </a:lnTo>
                  <a:lnTo>
                    <a:pt x="59" y="166"/>
                  </a:lnTo>
                  <a:lnTo>
                    <a:pt x="38" y="154"/>
                  </a:lnTo>
                  <a:lnTo>
                    <a:pt x="21" y="133"/>
                  </a:lnTo>
                  <a:lnTo>
                    <a:pt x="31" y="109"/>
                  </a:lnTo>
                  <a:lnTo>
                    <a:pt x="5" y="92"/>
                  </a:lnTo>
                  <a:lnTo>
                    <a:pt x="0" y="67"/>
                  </a:lnTo>
                  <a:lnTo>
                    <a:pt x="16" y="76"/>
                  </a:lnTo>
                  <a:lnTo>
                    <a:pt x="31" y="59"/>
                  </a:lnTo>
                  <a:lnTo>
                    <a:pt x="59" y="59"/>
                  </a:lnTo>
                  <a:lnTo>
                    <a:pt x="97" y="26"/>
                  </a:lnTo>
                  <a:lnTo>
                    <a:pt x="151" y="10"/>
                  </a:lnTo>
                  <a:lnTo>
                    <a:pt x="163" y="10"/>
                  </a:lnTo>
                  <a:lnTo>
                    <a:pt x="151" y="5"/>
                  </a:lnTo>
                  <a:lnTo>
                    <a:pt x="151" y="0"/>
                  </a:lnTo>
                  <a:lnTo>
                    <a:pt x="168" y="5"/>
                  </a:lnTo>
                  <a:lnTo>
                    <a:pt x="177" y="22"/>
                  </a:lnTo>
                  <a:lnTo>
                    <a:pt x="194" y="22"/>
                  </a:lnTo>
                  <a:lnTo>
                    <a:pt x="201" y="22"/>
                  </a:lnTo>
                  <a:lnTo>
                    <a:pt x="201" y="5"/>
                  </a:lnTo>
                  <a:lnTo>
                    <a:pt x="217" y="5"/>
                  </a:lnTo>
                  <a:lnTo>
                    <a:pt x="231" y="26"/>
                  </a:lnTo>
                  <a:lnTo>
                    <a:pt x="286" y="38"/>
                  </a:lnTo>
                  <a:lnTo>
                    <a:pt x="302" y="43"/>
                  </a:lnTo>
                  <a:lnTo>
                    <a:pt x="286" y="59"/>
                  </a:lnTo>
                  <a:lnTo>
                    <a:pt x="314" y="92"/>
                  </a:lnTo>
                  <a:lnTo>
                    <a:pt x="347" y="76"/>
                  </a:lnTo>
                  <a:lnTo>
                    <a:pt x="340" y="59"/>
                  </a:lnTo>
                  <a:lnTo>
                    <a:pt x="368" y="76"/>
                  </a:lnTo>
                  <a:lnTo>
                    <a:pt x="394" y="67"/>
                  </a:lnTo>
                  <a:lnTo>
                    <a:pt x="394" y="76"/>
                  </a:lnTo>
                  <a:lnTo>
                    <a:pt x="385" y="83"/>
                  </a:lnTo>
                  <a:lnTo>
                    <a:pt x="394" y="92"/>
                  </a:lnTo>
                  <a:lnTo>
                    <a:pt x="411" y="100"/>
                  </a:lnTo>
                  <a:lnTo>
                    <a:pt x="418" y="92"/>
                  </a:lnTo>
                  <a:lnTo>
                    <a:pt x="456" y="109"/>
                  </a:lnTo>
                  <a:lnTo>
                    <a:pt x="456" y="121"/>
                  </a:lnTo>
                  <a:lnTo>
                    <a:pt x="472" y="133"/>
                  </a:lnTo>
                  <a:lnTo>
                    <a:pt x="472" y="149"/>
                  </a:lnTo>
                  <a:lnTo>
                    <a:pt x="456" y="149"/>
                  </a:lnTo>
                  <a:lnTo>
                    <a:pt x="432" y="166"/>
                  </a:lnTo>
                  <a:lnTo>
                    <a:pt x="418" y="187"/>
                  </a:lnTo>
                  <a:lnTo>
                    <a:pt x="394" y="204"/>
                  </a:lnTo>
                  <a:lnTo>
                    <a:pt x="357" y="204"/>
                  </a:lnTo>
                  <a:lnTo>
                    <a:pt x="340" y="225"/>
                  </a:lnTo>
                  <a:lnTo>
                    <a:pt x="340" y="225"/>
                  </a:lnTo>
                  <a:lnTo>
                    <a:pt x="340" y="225"/>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9" name="Freeform 438">
              <a:extLst>
                <a:ext uri="{FF2B5EF4-FFF2-40B4-BE49-F238E27FC236}">
                  <a16:creationId xmlns:a16="http://schemas.microsoft.com/office/drawing/2014/main" id="{3F4D3B5C-2BA8-44CA-8968-49A3A82F7213}"/>
                </a:ext>
              </a:extLst>
            </p:cNvPr>
            <p:cNvSpPr>
              <a:spLocks/>
            </p:cNvSpPr>
            <p:nvPr/>
          </p:nvSpPr>
          <p:spPr bwMode="gray">
            <a:xfrm>
              <a:off x="12491928" y="3978578"/>
              <a:ext cx="65132" cy="85752"/>
            </a:xfrm>
            <a:custGeom>
              <a:avLst/>
              <a:gdLst>
                <a:gd name="T0" fmla="*/ 0 w 199"/>
                <a:gd name="T1" fmla="*/ 245 h 262"/>
                <a:gd name="T2" fmla="*/ 17 w 199"/>
                <a:gd name="T3" fmla="*/ 238 h 262"/>
                <a:gd name="T4" fmla="*/ 21 w 199"/>
                <a:gd name="T5" fmla="*/ 212 h 262"/>
                <a:gd name="T6" fmla="*/ 21 w 199"/>
                <a:gd name="T7" fmla="*/ 189 h 262"/>
                <a:gd name="T8" fmla="*/ 33 w 199"/>
                <a:gd name="T9" fmla="*/ 184 h 262"/>
                <a:gd name="T10" fmla="*/ 38 w 199"/>
                <a:gd name="T11" fmla="*/ 155 h 262"/>
                <a:gd name="T12" fmla="*/ 17 w 199"/>
                <a:gd name="T13" fmla="*/ 127 h 262"/>
                <a:gd name="T14" fmla="*/ 7 w 199"/>
                <a:gd name="T15" fmla="*/ 73 h 262"/>
                <a:gd name="T16" fmla="*/ 7 w 199"/>
                <a:gd name="T17" fmla="*/ 54 h 262"/>
                <a:gd name="T18" fmla="*/ 33 w 199"/>
                <a:gd name="T19" fmla="*/ 28 h 262"/>
                <a:gd name="T20" fmla="*/ 38 w 199"/>
                <a:gd name="T21" fmla="*/ 4 h 262"/>
                <a:gd name="T22" fmla="*/ 50 w 199"/>
                <a:gd name="T23" fmla="*/ 0 h 262"/>
                <a:gd name="T24" fmla="*/ 76 w 199"/>
                <a:gd name="T25" fmla="*/ 16 h 262"/>
                <a:gd name="T26" fmla="*/ 114 w 199"/>
                <a:gd name="T27" fmla="*/ 21 h 262"/>
                <a:gd name="T28" fmla="*/ 177 w 199"/>
                <a:gd name="T29" fmla="*/ 77 h 262"/>
                <a:gd name="T30" fmla="*/ 182 w 199"/>
                <a:gd name="T31" fmla="*/ 94 h 262"/>
                <a:gd name="T32" fmla="*/ 177 w 199"/>
                <a:gd name="T33" fmla="*/ 99 h 262"/>
                <a:gd name="T34" fmla="*/ 182 w 199"/>
                <a:gd name="T35" fmla="*/ 99 h 262"/>
                <a:gd name="T36" fmla="*/ 182 w 199"/>
                <a:gd name="T37" fmla="*/ 77 h 262"/>
                <a:gd name="T38" fmla="*/ 194 w 199"/>
                <a:gd name="T39" fmla="*/ 82 h 262"/>
                <a:gd name="T40" fmla="*/ 199 w 199"/>
                <a:gd name="T41" fmla="*/ 111 h 262"/>
                <a:gd name="T42" fmla="*/ 199 w 199"/>
                <a:gd name="T43" fmla="*/ 127 h 262"/>
                <a:gd name="T44" fmla="*/ 156 w 199"/>
                <a:gd name="T45" fmla="*/ 189 h 262"/>
                <a:gd name="T46" fmla="*/ 139 w 199"/>
                <a:gd name="T47" fmla="*/ 238 h 262"/>
                <a:gd name="T48" fmla="*/ 114 w 199"/>
                <a:gd name="T49" fmla="*/ 262 h 262"/>
                <a:gd name="T50" fmla="*/ 92 w 199"/>
                <a:gd name="T51" fmla="*/ 262 h 262"/>
                <a:gd name="T52" fmla="*/ 85 w 199"/>
                <a:gd name="T53" fmla="*/ 245 h 262"/>
                <a:gd name="T54" fmla="*/ 71 w 199"/>
                <a:gd name="T55" fmla="*/ 250 h 262"/>
                <a:gd name="T56" fmla="*/ 54 w 199"/>
                <a:gd name="T57" fmla="*/ 245 h 262"/>
                <a:gd name="T58" fmla="*/ 33 w 199"/>
                <a:gd name="T59" fmla="*/ 262 h 262"/>
                <a:gd name="T60" fmla="*/ 0 w 199"/>
                <a:gd name="T61" fmla="*/ 245 h 262"/>
                <a:gd name="T62" fmla="*/ 0 w 199"/>
                <a:gd name="T63" fmla="*/ 245 h 262"/>
                <a:gd name="T64" fmla="*/ 0 w 199"/>
                <a:gd name="T65" fmla="*/ 24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9" h="262">
                  <a:moveTo>
                    <a:pt x="0" y="245"/>
                  </a:moveTo>
                  <a:lnTo>
                    <a:pt x="17" y="238"/>
                  </a:lnTo>
                  <a:lnTo>
                    <a:pt x="21" y="212"/>
                  </a:lnTo>
                  <a:lnTo>
                    <a:pt x="21" y="189"/>
                  </a:lnTo>
                  <a:lnTo>
                    <a:pt x="33" y="184"/>
                  </a:lnTo>
                  <a:lnTo>
                    <a:pt x="38" y="155"/>
                  </a:lnTo>
                  <a:lnTo>
                    <a:pt x="17" y="127"/>
                  </a:lnTo>
                  <a:lnTo>
                    <a:pt x="7" y="73"/>
                  </a:lnTo>
                  <a:lnTo>
                    <a:pt x="7" y="54"/>
                  </a:lnTo>
                  <a:lnTo>
                    <a:pt x="33" y="28"/>
                  </a:lnTo>
                  <a:lnTo>
                    <a:pt x="38" y="4"/>
                  </a:lnTo>
                  <a:lnTo>
                    <a:pt x="50" y="0"/>
                  </a:lnTo>
                  <a:lnTo>
                    <a:pt x="76" y="16"/>
                  </a:lnTo>
                  <a:lnTo>
                    <a:pt x="114" y="21"/>
                  </a:lnTo>
                  <a:lnTo>
                    <a:pt x="177" y="77"/>
                  </a:lnTo>
                  <a:lnTo>
                    <a:pt x="182" y="94"/>
                  </a:lnTo>
                  <a:lnTo>
                    <a:pt x="177" y="99"/>
                  </a:lnTo>
                  <a:lnTo>
                    <a:pt x="182" y="99"/>
                  </a:lnTo>
                  <a:lnTo>
                    <a:pt x="182" y="77"/>
                  </a:lnTo>
                  <a:lnTo>
                    <a:pt x="194" y="82"/>
                  </a:lnTo>
                  <a:lnTo>
                    <a:pt x="199" y="111"/>
                  </a:lnTo>
                  <a:lnTo>
                    <a:pt x="199" y="127"/>
                  </a:lnTo>
                  <a:lnTo>
                    <a:pt x="156" y="189"/>
                  </a:lnTo>
                  <a:lnTo>
                    <a:pt x="139" y="238"/>
                  </a:lnTo>
                  <a:lnTo>
                    <a:pt x="114" y="262"/>
                  </a:lnTo>
                  <a:lnTo>
                    <a:pt x="92" y="262"/>
                  </a:lnTo>
                  <a:lnTo>
                    <a:pt x="85" y="245"/>
                  </a:lnTo>
                  <a:lnTo>
                    <a:pt x="71" y="250"/>
                  </a:lnTo>
                  <a:lnTo>
                    <a:pt x="54" y="245"/>
                  </a:lnTo>
                  <a:lnTo>
                    <a:pt x="33" y="262"/>
                  </a:lnTo>
                  <a:lnTo>
                    <a:pt x="0" y="245"/>
                  </a:lnTo>
                  <a:lnTo>
                    <a:pt x="0" y="245"/>
                  </a:lnTo>
                  <a:lnTo>
                    <a:pt x="0" y="245"/>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0" name="Freeform 439">
              <a:extLst>
                <a:ext uri="{FF2B5EF4-FFF2-40B4-BE49-F238E27FC236}">
                  <a16:creationId xmlns:a16="http://schemas.microsoft.com/office/drawing/2014/main" id="{F04B129B-62EE-4B72-B4D7-B705AA03F0DA}"/>
                </a:ext>
              </a:extLst>
            </p:cNvPr>
            <p:cNvSpPr>
              <a:spLocks noEditPoints="1"/>
            </p:cNvSpPr>
            <p:nvPr/>
          </p:nvSpPr>
          <p:spPr bwMode="gray">
            <a:xfrm>
              <a:off x="14192235" y="2110696"/>
              <a:ext cx="277548" cy="394065"/>
            </a:xfrm>
            <a:custGeom>
              <a:avLst/>
              <a:gdLst>
                <a:gd name="T0" fmla="*/ 290 w 848"/>
                <a:gd name="T1" fmla="*/ 448 h 1204"/>
                <a:gd name="T2" fmla="*/ 290 w 848"/>
                <a:gd name="T3" fmla="*/ 349 h 1204"/>
                <a:gd name="T4" fmla="*/ 290 w 848"/>
                <a:gd name="T5" fmla="*/ 267 h 1204"/>
                <a:gd name="T6" fmla="*/ 113 w 848"/>
                <a:gd name="T7" fmla="*/ 115 h 1204"/>
                <a:gd name="T8" fmla="*/ 205 w 848"/>
                <a:gd name="T9" fmla="*/ 172 h 1204"/>
                <a:gd name="T10" fmla="*/ 399 w 848"/>
                <a:gd name="T11" fmla="*/ 155 h 1204"/>
                <a:gd name="T12" fmla="*/ 491 w 848"/>
                <a:gd name="T13" fmla="*/ 16 h 1204"/>
                <a:gd name="T14" fmla="*/ 685 w 848"/>
                <a:gd name="T15" fmla="*/ 70 h 1204"/>
                <a:gd name="T16" fmla="*/ 654 w 848"/>
                <a:gd name="T17" fmla="*/ 155 h 1204"/>
                <a:gd name="T18" fmla="*/ 739 w 848"/>
                <a:gd name="T19" fmla="*/ 300 h 1204"/>
                <a:gd name="T20" fmla="*/ 746 w 848"/>
                <a:gd name="T21" fmla="*/ 538 h 1204"/>
                <a:gd name="T22" fmla="*/ 729 w 848"/>
                <a:gd name="T23" fmla="*/ 611 h 1204"/>
                <a:gd name="T24" fmla="*/ 755 w 848"/>
                <a:gd name="T25" fmla="*/ 666 h 1204"/>
                <a:gd name="T26" fmla="*/ 777 w 848"/>
                <a:gd name="T27" fmla="*/ 727 h 1204"/>
                <a:gd name="T28" fmla="*/ 685 w 848"/>
                <a:gd name="T29" fmla="*/ 1044 h 1204"/>
                <a:gd name="T30" fmla="*/ 491 w 848"/>
                <a:gd name="T31" fmla="*/ 1133 h 1204"/>
                <a:gd name="T32" fmla="*/ 458 w 848"/>
                <a:gd name="T33" fmla="*/ 1133 h 1204"/>
                <a:gd name="T34" fmla="*/ 437 w 848"/>
                <a:gd name="T35" fmla="*/ 1150 h 1204"/>
                <a:gd name="T36" fmla="*/ 361 w 848"/>
                <a:gd name="T37" fmla="*/ 1171 h 1204"/>
                <a:gd name="T38" fmla="*/ 257 w 848"/>
                <a:gd name="T39" fmla="*/ 1195 h 1204"/>
                <a:gd name="T40" fmla="*/ 252 w 848"/>
                <a:gd name="T41" fmla="*/ 1183 h 1204"/>
                <a:gd name="T42" fmla="*/ 215 w 848"/>
                <a:gd name="T43" fmla="*/ 1155 h 1204"/>
                <a:gd name="T44" fmla="*/ 144 w 848"/>
                <a:gd name="T45" fmla="*/ 1126 h 1204"/>
                <a:gd name="T46" fmla="*/ 151 w 848"/>
                <a:gd name="T47" fmla="*/ 1015 h 1204"/>
                <a:gd name="T48" fmla="*/ 113 w 848"/>
                <a:gd name="T49" fmla="*/ 892 h 1204"/>
                <a:gd name="T50" fmla="*/ 134 w 848"/>
                <a:gd name="T51" fmla="*/ 822 h 1204"/>
                <a:gd name="T52" fmla="*/ 189 w 848"/>
                <a:gd name="T53" fmla="*/ 800 h 1204"/>
                <a:gd name="T54" fmla="*/ 236 w 848"/>
                <a:gd name="T55" fmla="*/ 760 h 1204"/>
                <a:gd name="T56" fmla="*/ 340 w 848"/>
                <a:gd name="T57" fmla="*/ 670 h 1204"/>
                <a:gd name="T58" fmla="*/ 399 w 848"/>
                <a:gd name="T59" fmla="*/ 628 h 1204"/>
                <a:gd name="T60" fmla="*/ 361 w 848"/>
                <a:gd name="T61" fmla="*/ 543 h 1204"/>
                <a:gd name="T62" fmla="*/ 328 w 848"/>
                <a:gd name="T63" fmla="*/ 522 h 1204"/>
                <a:gd name="T64" fmla="*/ 382 w 848"/>
                <a:gd name="T65" fmla="*/ 616 h 1204"/>
                <a:gd name="T66" fmla="*/ 236 w 848"/>
                <a:gd name="T67" fmla="*/ 748 h 1204"/>
                <a:gd name="T68" fmla="*/ 122 w 848"/>
                <a:gd name="T69" fmla="*/ 817 h 1204"/>
                <a:gd name="T70" fmla="*/ 189 w 848"/>
                <a:gd name="T71" fmla="*/ 822 h 1204"/>
                <a:gd name="T72" fmla="*/ 189 w 848"/>
                <a:gd name="T73" fmla="*/ 822 h 1204"/>
                <a:gd name="T74" fmla="*/ 122 w 848"/>
                <a:gd name="T75" fmla="*/ 833 h 1204"/>
                <a:gd name="T76" fmla="*/ 129 w 848"/>
                <a:gd name="T77" fmla="*/ 1081 h 1204"/>
                <a:gd name="T78" fmla="*/ 134 w 848"/>
                <a:gd name="T79" fmla="*/ 1126 h 1204"/>
                <a:gd name="T80" fmla="*/ 160 w 848"/>
                <a:gd name="T81" fmla="*/ 1138 h 1204"/>
                <a:gd name="T82" fmla="*/ 26 w 848"/>
                <a:gd name="T83" fmla="*/ 1183 h 1204"/>
                <a:gd name="T84" fmla="*/ 26 w 848"/>
                <a:gd name="T85" fmla="*/ 1150 h 1204"/>
                <a:gd name="T86" fmla="*/ 42 w 848"/>
                <a:gd name="T87" fmla="*/ 1155 h 1204"/>
                <a:gd name="T88" fmla="*/ 26 w 848"/>
                <a:gd name="T89" fmla="*/ 1183 h 1204"/>
                <a:gd name="T90" fmla="*/ 198 w 848"/>
                <a:gd name="T91" fmla="*/ 1150 h 1204"/>
                <a:gd name="T92" fmla="*/ 198 w 848"/>
                <a:gd name="T93" fmla="*/ 1150 h 1204"/>
                <a:gd name="T94" fmla="*/ 432 w 848"/>
                <a:gd name="T95" fmla="*/ 1150 h 1204"/>
                <a:gd name="T96" fmla="*/ 59 w 848"/>
                <a:gd name="T97" fmla="*/ 1166 h 1204"/>
                <a:gd name="T98" fmla="*/ 59 w 848"/>
                <a:gd name="T99" fmla="*/ 1166 h 1204"/>
                <a:gd name="T100" fmla="*/ 4 w 848"/>
                <a:gd name="T101" fmla="*/ 1171 h 1204"/>
                <a:gd name="T102" fmla="*/ 205 w 848"/>
                <a:gd name="T103" fmla="*/ 1155 h 1204"/>
                <a:gd name="T104" fmla="*/ 215 w 848"/>
                <a:gd name="T105" fmla="*/ 1183 h 1204"/>
                <a:gd name="T106" fmla="*/ 177 w 848"/>
                <a:gd name="T107" fmla="*/ 1166 h 1204"/>
                <a:gd name="T108" fmla="*/ 160 w 848"/>
                <a:gd name="T109" fmla="*/ 1171 h 1204"/>
                <a:gd name="T110" fmla="*/ 59 w 848"/>
                <a:gd name="T111" fmla="*/ 1171 h 1204"/>
                <a:gd name="T112" fmla="*/ 52 w 848"/>
                <a:gd name="T113" fmla="*/ 1171 h 1204"/>
                <a:gd name="T114" fmla="*/ 42 w 848"/>
                <a:gd name="T115" fmla="*/ 1171 h 1204"/>
                <a:gd name="T116" fmla="*/ 205 w 848"/>
                <a:gd name="T117" fmla="*/ 1171 h 1204"/>
                <a:gd name="T118" fmla="*/ 243 w 848"/>
                <a:gd name="T119" fmla="*/ 1195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8" h="1204">
                  <a:moveTo>
                    <a:pt x="328" y="522"/>
                  </a:moveTo>
                  <a:lnTo>
                    <a:pt x="311" y="489"/>
                  </a:lnTo>
                  <a:lnTo>
                    <a:pt x="297" y="481"/>
                  </a:lnTo>
                  <a:lnTo>
                    <a:pt x="290" y="465"/>
                  </a:lnTo>
                  <a:lnTo>
                    <a:pt x="290" y="448"/>
                  </a:lnTo>
                  <a:lnTo>
                    <a:pt x="307" y="432"/>
                  </a:lnTo>
                  <a:lnTo>
                    <a:pt x="307" y="411"/>
                  </a:lnTo>
                  <a:lnTo>
                    <a:pt x="311" y="404"/>
                  </a:lnTo>
                  <a:lnTo>
                    <a:pt x="285" y="361"/>
                  </a:lnTo>
                  <a:lnTo>
                    <a:pt x="290" y="349"/>
                  </a:lnTo>
                  <a:lnTo>
                    <a:pt x="297" y="349"/>
                  </a:lnTo>
                  <a:lnTo>
                    <a:pt x="297" y="333"/>
                  </a:lnTo>
                  <a:lnTo>
                    <a:pt x="274" y="321"/>
                  </a:lnTo>
                  <a:lnTo>
                    <a:pt x="274" y="276"/>
                  </a:lnTo>
                  <a:lnTo>
                    <a:pt x="290" y="267"/>
                  </a:lnTo>
                  <a:lnTo>
                    <a:pt x="236" y="210"/>
                  </a:lnTo>
                  <a:lnTo>
                    <a:pt x="177" y="193"/>
                  </a:lnTo>
                  <a:lnTo>
                    <a:pt x="75" y="127"/>
                  </a:lnTo>
                  <a:lnTo>
                    <a:pt x="106" y="132"/>
                  </a:lnTo>
                  <a:lnTo>
                    <a:pt x="113" y="115"/>
                  </a:lnTo>
                  <a:lnTo>
                    <a:pt x="106" y="111"/>
                  </a:lnTo>
                  <a:lnTo>
                    <a:pt x="129" y="94"/>
                  </a:lnTo>
                  <a:lnTo>
                    <a:pt x="151" y="99"/>
                  </a:lnTo>
                  <a:lnTo>
                    <a:pt x="198" y="155"/>
                  </a:lnTo>
                  <a:lnTo>
                    <a:pt x="205" y="172"/>
                  </a:lnTo>
                  <a:lnTo>
                    <a:pt x="257" y="181"/>
                  </a:lnTo>
                  <a:lnTo>
                    <a:pt x="311" y="155"/>
                  </a:lnTo>
                  <a:lnTo>
                    <a:pt x="382" y="189"/>
                  </a:lnTo>
                  <a:lnTo>
                    <a:pt x="394" y="181"/>
                  </a:lnTo>
                  <a:lnTo>
                    <a:pt x="399" y="155"/>
                  </a:lnTo>
                  <a:lnTo>
                    <a:pt x="432" y="148"/>
                  </a:lnTo>
                  <a:lnTo>
                    <a:pt x="437" y="132"/>
                  </a:lnTo>
                  <a:lnTo>
                    <a:pt x="437" y="99"/>
                  </a:lnTo>
                  <a:lnTo>
                    <a:pt x="453" y="44"/>
                  </a:lnTo>
                  <a:lnTo>
                    <a:pt x="491" y="16"/>
                  </a:lnTo>
                  <a:lnTo>
                    <a:pt x="529" y="21"/>
                  </a:lnTo>
                  <a:lnTo>
                    <a:pt x="595" y="0"/>
                  </a:lnTo>
                  <a:lnTo>
                    <a:pt x="621" y="28"/>
                  </a:lnTo>
                  <a:lnTo>
                    <a:pt x="675" y="44"/>
                  </a:lnTo>
                  <a:lnTo>
                    <a:pt x="685" y="70"/>
                  </a:lnTo>
                  <a:lnTo>
                    <a:pt x="654" y="99"/>
                  </a:lnTo>
                  <a:lnTo>
                    <a:pt x="654" y="115"/>
                  </a:lnTo>
                  <a:lnTo>
                    <a:pt x="663" y="127"/>
                  </a:lnTo>
                  <a:lnTo>
                    <a:pt x="621" y="148"/>
                  </a:lnTo>
                  <a:lnTo>
                    <a:pt x="654" y="155"/>
                  </a:lnTo>
                  <a:lnTo>
                    <a:pt x="633" y="193"/>
                  </a:lnTo>
                  <a:lnTo>
                    <a:pt x="647" y="238"/>
                  </a:lnTo>
                  <a:lnTo>
                    <a:pt x="692" y="250"/>
                  </a:lnTo>
                  <a:lnTo>
                    <a:pt x="718" y="283"/>
                  </a:lnTo>
                  <a:lnTo>
                    <a:pt x="739" y="300"/>
                  </a:lnTo>
                  <a:lnTo>
                    <a:pt x="729" y="316"/>
                  </a:lnTo>
                  <a:lnTo>
                    <a:pt x="675" y="378"/>
                  </a:lnTo>
                  <a:lnTo>
                    <a:pt x="670" y="394"/>
                  </a:lnTo>
                  <a:lnTo>
                    <a:pt x="729" y="489"/>
                  </a:lnTo>
                  <a:lnTo>
                    <a:pt x="746" y="538"/>
                  </a:lnTo>
                  <a:lnTo>
                    <a:pt x="725" y="543"/>
                  </a:lnTo>
                  <a:lnTo>
                    <a:pt x="718" y="576"/>
                  </a:lnTo>
                  <a:lnTo>
                    <a:pt x="708" y="592"/>
                  </a:lnTo>
                  <a:lnTo>
                    <a:pt x="725" y="592"/>
                  </a:lnTo>
                  <a:lnTo>
                    <a:pt x="729" y="611"/>
                  </a:lnTo>
                  <a:lnTo>
                    <a:pt x="708" y="611"/>
                  </a:lnTo>
                  <a:lnTo>
                    <a:pt x="708" y="633"/>
                  </a:lnTo>
                  <a:lnTo>
                    <a:pt x="725" y="637"/>
                  </a:lnTo>
                  <a:lnTo>
                    <a:pt x="746" y="649"/>
                  </a:lnTo>
                  <a:lnTo>
                    <a:pt x="755" y="666"/>
                  </a:lnTo>
                  <a:lnTo>
                    <a:pt x="739" y="670"/>
                  </a:lnTo>
                  <a:lnTo>
                    <a:pt x="746" y="682"/>
                  </a:lnTo>
                  <a:lnTo>
                    <a:pt x="739" y="687"/>
                  </a:lnTo>
                  <a:lnTo>
                    <a:pt x="777" y="711"/>
                  </a:lnTo>
                  <a:lnTo>
                    <a:pt x="777" y="727"/>
                  </a:lnTo>
                  <a:lnTo>
                    <a:pt x="739" y="765"/>
                  </a:lnTo>
                  <a:lnTo>
                    <a:pt x="826" y="822"/>
                  </a:lnTo>
                  <a:lnTo>
                    <a:pt x="848" y="859"/>
                  </a:lnTo>
                  <a:lnTo>
                    <a:pt x="826" y="904"/>
                  </a:lnTo>
                  <a:lnTo>
                    <a:pt x="685" y="1044"/>
                  </a:lnTo>
                  <a:lnTo>
                    <a:pt x="583" y="1126"/>
                  </a:lnTo>
                  <a:lnTo>
                    <a:pt x="562" y="1133"/>
                  </a:lnTo>
                  <a:lnTo>
                    <a:pt x="540" y="1117"/>
                  </a:lnTo>
                  <a:lnTo>
                    <a:pt x="524" y="1133"/>
                  </a:lnTo>
                  <a:lnTo>
                    <a:pt x="491" y="1133"/>
                  </a:lnTo>
                  <a:lnTo>
                    <a:pt x="503" y="1117"/>
                  </a:lnTo>
                  <a:lnTo>
                    <a:pt x="507" y="1117"/>
                  </a:lnTo>
                  <a:lnTo>
                    <a:pt x="503" y="1110"/>
                  </a:lnTo>
                  <a:lnTo>
                    <a:pt x="486" y="1138"/>
                  </a:lnTo>
                  <a:lnTo>
                    <a:pt x="458" y="1133"/>
                  </a:lnTo>
                  <a:lnTo>
                    <a:pt x="458" y="1150"/>
                  </a:lnTo>
                  <a:lnTo>
                    <a:pt x="458" y="1150"/>
                  </a:lnTo>
                  <a:lnTo>
                    <a:pt x="448" y="1138"/>
                  </a:lnTo>
                  <a:lnTo>
                    <a:pt x="453" y="1155"/>
                  </a:lnTo>
                  <a:lnTo>
                    <a:pt x="437" y="1150"/>
                  </a:lnTo>
                  <a:lnTo>
                    <a:pt x="448" y="1155"/>
                  </a:lnTo>
                  <a:lnTo>
                    <a:pt x="437" y="1155"/>
                  </a:lnTo>
                  <a:lnTo>
                    <a:pt x="432" y="1138"/>
                  </a:lnTo>
                  <a:lnTo>
                    <a:pt x="420" y="1155"/>
                  </a:lnTo>
                  <a:lnTo>
                    <a:pt x="361" y="1171"/>
                  </a:lnTo>
                  <a:lnTo>
                    <a:pt x="349" y="1183"/>
                  </a:lnTo>
                  <a:lnTo>
                    <a:pt x="340" y="1171"/>
                  </a:lnTo>
                  <a:lnTo>
                    <a:pt x="274" y="1188"/>
                  </a:lnTo>
                  <a:lnTo>
                    <a:pt x="285" y="1171"/>
                  </a:lnTo>
                  <a:lnTo>
                    <a:pt x="257" y="1195"/>
                  </a:lnTo>
                  <a:lnTo>
                    <a:pt x="236" y="1204"/>
                  </a:lnTo>
                  <a:lnTo>
                    <a:pt x="269" y="1183"/>
                  </a:lnTo>
                  <a:lnTo>
                    <a:pt x="252" y="1188"/>
                  </a:lnTo>
                  <a:lnTo>
                    <a:pt x="257" y="1183"/>
                  </a:lnTo>
                  <a:lnTo>
                    <a:pt x="252" y="1183"/>
                  </a:lnTo>
                  <a:lnTo>
                    <a:pt x="243" y="1171"/>
                  </a:lnTo>
                  <a:lnTo>
                    <a:pt x="243" y="1171"/>
                  </a:lnTo>
                  <a:lnTo>
                    <a:pt x="236" y="1166"/>
                  </a:lnTo>
                  <a:lnTo>
                    <a:pt x="252" y="1150"/>
                  </a:lnTo>
                  <a:lnTo>
                    <a:pt x="215" y="1155"/>
                  </a:lnTo>
                  <a:lnTo>
                    <a:pt x="205" y="1155"/>
                  </a:lnTo>
                  <a:lnTo>
                    <a:pt x="219" y="1138"/>
                  </a:lnTo>
                  <a:lnTo>
                    <a:pt x="160" y="1133"/>
                  </a:lnTo>
                  <a:lnTo>
                    <a:pt x="160" y="1117"/>
                  </a:lnTo>
                  <a:lnTo>
                    <a:pt x="144" y="1126"/>
                  </a:lnTo>
                  <a:lnTo>
                    <a:pt x="129" y="1110"/>
                  </a:lnTo>
                  <a:lnTo>
                    <a:pt x="129" y="1081"/>
                  </a:lnTo>
                  <a:lnTo>
                    <a:pt x="144" y="1039"/>
                  </a:lnTo>
                  <a:lnTo>
                    <a:pt x="134" y="1015"/>
                  </a:lnTo>
                  <a:lnTo>
                    <a:pt x="151" y="1015"/>
                  </a:lnTo>
                  <a:lnTo>
                    <a:pt x="122" y="966"/>
                  </a:lnTo>
                  <a:lnTo>
                    <a:pt x="129" y="944"/>
                  </a:lnTo>
                  <a:lnTo>
                    <a:pt x="129" y="928"/>
                  </a:lnTo>
                  <a:lnTo>
                    <a:pt x="113" y="911"/>
                  </a:lnTo>
                  <a:lnTo>
                    <a:pt x="113" y="892"/>
                  </a:lnTo>
                  <a:lnTo>
                    <a:pt x="113" y="876"/>
                  </a:lnTo>
                  <a:lnTo>
                    <a:pt x="129" y="859"/>
                  </a:lnTo>
                  <a:lnTo>
                    <a:pt x="134" y="850"/>
                  </a:lnTo>
                  <a:lnTo>
                    <a:pt x="151" y="850"/>
                  </a:lnTo>
                  <a:lnTo>
                    <a:pt x="134" y="822"/>
                  </a:lnTo>
                  <a:lnTo>
                    <a:pt x="167" y="822"/>
                  </a:lnTo>
                  <a:lnTo>
                    <a:pt x="177" y="833"/>
                  </a:lnTo>
                  <a:lnTo>
                    <a:pt x="198" y="822"/>
                  </a:lnTo>
                  <a:lnTo>
                    <a:pt x="198" y="817"/>
                  </a:lnTo>
                  <a:lnTo>
                    <a:pt x="189" y="800"/>
                  </a:lnTo>
                  <a:lnTo>
                    <a:pt x="198" y="793"/>
                  </a:lnTo>
                  <a:lnTo>
                    <a:pt x="205" y="800"/>
                  </a:lnTo>
                  <a:lnTo>
                    <a:pt x="215" y="765"/>
                  </a:lnTo>
                  <a:lnTo>
                    <a:pt x="231" y="781"/>
                  </a:lnTo>
                  <a:lnTo>
                    <a:pt x="236" y="760"/>
                  </a:lnTo>
                  <a:lnTo>
                    <a:pt x="269" y="748"/>
                  </a:lnTo>
                  <a:lnTo>
                    <a:pt x="274" y="727"/>
                  </a:lnTo>
                  <a:lnTo>
                    <a:pt x="290" y="727"/>
                  </a:lnTo>
                  <a:lnTo>
                    <a:pt x="311" y="687"/>
                  </a:lnTo>
                  <a:lnTo>
                    <a:pt x="340" y="670"/>
                  </a:lnTo>
                  <a:lnTo>
                    <a:pt x="349" y="637"/>
                  </a:lnTo>
                  <a:lnTo>
                    <a:pt x="394" y="633"/>
                  </a:lnTo>
                  <a:lnTo>
                    <a:pt x="403" y="637"/>
                  </a:lnTo>
                  <a:lnTo>
                    <a:pt x="415" y="633"/>
                  </a:lnTo>
                  <a:lnTo>
                    <a:pt x="399" y="628"/>
                  </a:lnTo>
                  <a:lnTo>
                    <a:pt x="415" y="628"/>
                  </a:lnTo>
                  <a:lnTo>
                    <a:pt x="403" y="600"/>
                  </a:lnTo>
                  <a:lnTo>
                    <a:pt x="415" y="571"/>
                  </a:lnTo>
                  <a:lnTo>
                    <a:pt x="403" y="559"/>
                  </a:lnTo>
                  <a:lnTo>
                    <a:pt x="361" y="543"/>
                  </a:lnTo>
                  <a:lnTo>
                    <a:pt x="349" y="526"/>
                  </a:lnTo>
                  <a:lnTo>
                    <a:pt x="361" y="517"/>
                  </a:lnTo>
                  <a:lnTo>
                    <a:pt x="344" y="526"/>
                  </a:lnTo>
                  <a:lnTo>
                    <a:pt x="328" y="522"/>
                  </a:lnTo>
                  <a:lnTo>
                    <a:pt x="328" y="522"/>
                  </a:lnTo>
                  <a:lnTo>
                    <a:pt x="328" y="522"/>
                  </a:lnTo>
                  <a:close/>
                  <a:moveTo>
                    <a:pt x="382" y="616"/>
                  </a:moveTo>
                  <a:lnTo>
                    <a:pt x="366" y="628"/>
                  </a:lnTo>
                  <a:lnTo>
                    <a:pt x="349" y="616"/>
                  </a:lnTo>
                  <a:lnTo>
                    <a:pt x="382" y="616"/>
                  </a:lnTo>
                  <a:lnTo>
                    <a:pt x="382" y="616"/>
                  </a:lnTo>
                  <a:lnTo>
                    <a:pt x="382" y="616"/>
                  </a:lnTo>
                  <a:close/>
                  <a:moveTo>
                    <a:pt x="236" y="760"/>
                  </a:moveTo>
                  <a:lnTo>
                    <a:pt x="219" y="760"/>
                  </a:lnTo>
                  <a:lnTo>
                    <a:pt x="236" y="748"/>
                  </a:lnTo>
                  <a:lnTo>
                    <a:pt x="236" y="760"/>
                  </a:lnTo>
                  <a:lnTo>
                    <a:pt x="236" y="760"/>
                  </a:lnTo>
                  <a:lnTo>
                    <a:pt x="236" y="760"/>
                  </a:lnTo>
                  <a:close/>
                  <a:moveTo>
                    <a:pt x="129" y="817"/>
                  </a:moveTo>
                  <a:lnTo>
                    <a:pt x="122" y="817"/>
                  </a:lnTo>
                  <a:lnTo>
                    <a:pt x="129" y="817"/>
                  </a:lnTo>
                  <a:lnTo>
                    <a:pt x="129" y="817"/>
                  </a:lnTo>
                  <a:lnTo>
                    <a:pt x="129" y="817"/>
                  </a:lnTo>
                  <a:lnTo>
                    <a:pt x="129" y="817"/>
                  </a:lnTo>
                  <a:close/>
                  <a:moveTo>
                    <a:pt x="189" y="822"/>
                  </a:moveTo>
                  <a:lnTo>
                    <a:pt x="177" y="817"/>
                  </a:lnTo>
                  <a:lnTo>
                    <a:pt x="189" y="817"/>
                  </a:lnTo>
                  <a:lnTo>
                    <a:pt x="189" y="822"/>
                  </a:lnTo>
                  <a:lnTo>
                    <a:pt x="189" y="822"/>
                  </a:lnTo>
                  <a:lnTo>
                    <a:pt x="189" y="822"/>
                  </a:lnTo>
                  <a:close/>
                  <a:moveTo>
                    <a:pt x="122" y="833"/>
                  </a:moveTo>
                  <a:lnTo>
                    <a:pt x="113" y="817"/>
                  </a:lnTo>
                  <a:lnTo>
                    <a:pt x="134" y="822"/>
                  </a:lnTo>
                  <a:lnTo>
                    <a:pt x="122" y="833"/>
                  </a:lnTo>
                  <a:lnTo>
                    <a:pt x="122" y="833"/>
                  </a:lnTo>
                  <a:lnTo>
                    <a:pt x="122" y="833"/>
                  </a:lnTo>
                  <a:close/>
                  <a:moveTo>
                    <a:pt x="129" y="1081"/>
                  </a:moveTo>
                  <a:lnTo>
                    <a:pt x="122" y="1077"/>
                  </a:lnTo>
                  <a:lnTo>
                    <a:pt x="129" y="1081"/>
                  </a:lnTo>
                  <a:lnTo>
                    <a:pt x="129" y="1081"/>
                  </a:lnTo>
                  <a:lnTo>
                    <a:pt x="129" y="1081"/>
                  </a:lnTo>
                  <a:lnTo>
                    <a:pt x="129" y="1081"/>
                  </a:lnTo>
                  <a:close/>
                  <a:moveTo>
                    <a:pt x="134" y="1133"/>
                  </a:moveTo>
                  <a:lnTo>
                    <a:pt x="129" y="1126"/>
                  </a:lnTo>
                  <a:lnTo>
                    <a:pt x="134" y="1126"/>
                  </a:lnTo>
                  <a:lnTo>
                    <a:pt x="134" y="1133"/>
                  </a:lnTo>
                  <a:lnTo>
                    <a:pt x="134" y="1133"/>
                  </a:lnTo>
                  <a:lnTo>
                    <a:pt x="134" y="1133"/>
                  </a:lnTo>
                  <a:close/>
                  <a:moveTo>
                    <a:pt x="177" y="1150"/>
                  </a:moveTo>
                  <a:lnTo>
                    <a:pt x="160" y="1138"/>
                  </a:lnTo>
                  <a:lnTo>
                    <a:pt x="160" y="1133"/>
                  </a:lnTo>
                  <a:lnTo>
                    <a:pt x="177" y="1150"/>
                  </a:lnTo>
                  <a:lnTo>
                    <a:pt x="177" y="1150"/>
                  </a:lnTo>
                  <a:lnTo>
                    <a:pt x="177" y="1150"/>
                  </a:lnTo>
                  <a:close/>
                  <a:moveTo>
                    <a:pt x="26" y="1183"/>
                  </a:moveTo>
                  <a:lnTo>
                    <a:pt x="21" y="1171"/>
                  </a:lnTo>
                  <a:lnTo>
                    <a:pt x="14" y="1155"/>
                  </a:lnTo>
                  <a:lnTo>
                    <a:pt x="21" y="1150"/>
                  </a:lnTo>
                  <a:lnTo>
                    <a:pt x="21" y="1166"/>
                  </a:lnTo>
                  <a:lnTo>
                    <a:pt x="26" y="1150"/>
                  </a:lnTo>
                  <a:lnTo>
                    <a:pt x="21" y="1138"/>
                  </a:lnTo>
                  <a:lnTo>
                    <a:pt x="26" y="1138"/>
                  </a:lnTo>
                  <a:lnTo>
                    <a:pt x="52" y="1150"/>
                  </a:lnTo>
                  <a:lnTo>
                    <a:pt x="42" y="1166"/>
                  </a:lnTo>
                  <a:lnTo>
                    <a:pt x="42" y="1155"/>
                  </a:lnTo>
                  <a:lnTo>
                    <a:pt x="37" y="1150"/>
                  </a:lnTo>
                  <a:lnTo>
                    <a:pt x="26" y="1155"/>
                  </a:lnTo>
                  <a:lnTo>
                    <a:pt x="37" y="1171"/>
                  </a:lnTo>
                  <a:lnTo>
                    <a:pt x="26" y="1183"/>
                  </a:lnTo>
                  <a:lnTo>
                    <a:pt x="26" y="1183"/>
                  </a:lnTo>
                  <a:lnTo>
                    <a:pt x="26" y="1183"/>
                  </a:lnTo>
                  <a:close/>
                  <a:moveTo>
                    <a:pt x="198" y="1150"/>
                  </a:moveTo>
                  <a:lnTo>
                    <a:pt x="198" y="1150"/>
                  </a:lnTo>
                  <a:lnTo>
                    <a:pt x="205" y="1150"/>
                  </a:lnTo>
                  <a:lnTo>
                    <a:pt x="198" y="1150"/>
                  </a:lnTo>
                  <a:lnTo>
                    <a:pt x="198" y="1150"/>
                  </a:lnTo>
                  <a:lnTo>
                    <a:pt x="198" y="1150"/>
                  </a:lnTo>
                  <a:close/>
                  <a:moveTo>
                    <a:pt x="189" y="1155"/>
                  </a:moveTo>
                  <a:lnTo>
                    <a:pt x="181" y="1150"/>
                  </a:lnTo>
                  <a:lnTo>
                    <a:pt x="198" y="1150"/>
                  </a:lnTo>
                  <a:lnTo>
                    <a:pt x="189" y="1155"/>
                  </a:lnTo>
                  <a:lnTo>
                    <a:pt x="189" y="1155"/>
                  </a:lnTo>
                  <a:lnTo>
                    <a:pt x="189" y="1155"/>
                  </a:lnTo>
                  <a:close/>
                  <a:moveTo>
                    <a:pt x="432" y="1166"/>
                  </a:moveTo>
                  <a:lnTo>
                    <a:pt x="432" y="1150"/>
                  </a:lnTo>
                  <a:lnTo>
                    <a:pt x="432" y="1155"/>
                  </a:lnTo>
                  <a:lnTo>
                    <a:pt x="432" y="1166"/>
                  </a:lnTo>
                  <a:lnTo>
                    <a:pt x="432" y="1166"/>
                  </a:lnTo>
                  <a:lnTo>
                    <a:pt x="432" y="1166"/>
                  </a:lnTo>
                  <a:close/>
                  <a:moveTo>
                    <a:pt x="59" y="1166"/>
                  </a:moveTo>
                  <a:lnTo>
                    <a:pt x="59" y="1155"/>
                  </a:lnTo>
                  <a:lnTo>
                    <a:pt x="68" y="1155"/>
                  </a:lnTo>
                  <a:lnTo>
                    <a:pt x="59" y="1166"/>
                  </a:lnTo>
                  <a:lnTo>
                    <a:pt x="59" y="1166"/>
                  </a:lnTo>
                  <a:lnTo>
                    <a:pt x="59" y="1166"/>
                  </a:lnTo>
                  <a:close/>
                  <a:moveTo>
                    <a:pt x="4" y="1171"/>
                  </a:moveTo>
                  <a:lnTo>
                    <a:pt x="0" y="1166"/>
                  </a:lnTo>
                  <a:lnTo>
                    <a:pt x="4" y="1155"/>
                  </a:lnTo>
                  <a:lnTo>
                    <a:pt x="14" y="1166"/>
                  </a:lnTo>
                  <a:lnTo>
                    <a:pt x="4" y="1171"/>
                  </a:lnTo>
                  <a:lnTo>
                    <a:pt x="4" y="1171"/>
                  </a:lnTo>
                  <a:lnTo>
                    <a:pt x="4" y="1171"/>
                  </a:lnTo>
                  <a:close/>
                  <a:moveTo>
                    <a:pt x="215" y="1183"/>
                  </a:moveTo>
                  <a:lnTo>
                    <a:pt x="205" y="1183"/>
                  </a:lnTo>
                  <a:lnTo>
                    <a:pt x="205" y="1155"/>
                  </a:lnTo>
                  <a:lnTo>
                    <a:pt x="236" y="1155"/>
                  </a:lnTo>
                  <a:lnTo>
                    <a:pt x="236" y="1171"/>
                  </a:lnTo>
                  <a:lnTo>
                    <a:pt x="215" y="1183"/>
                  </a:lnTo>
                  <a:lnTo>
                    <a:pt x="215" y="1183"/>
                  </a:lnTo>
                  <a:lnTo>
                    <a:pt x="215" y="1183"/>
                  </a:lnTo>
                  <a:close/>
                  <a:moveTo>
                    <a:pt x="177" y="1166"/>
                  </a:moveTo>
                  <a:lnTo>
                    <a:pt x="167" y="1166"/>
                  </a:lnTo>
                  <a:lnTo>
                    <a:pt x="181" y="1166"/>
                  </a:lnTo>
                  <a:lnTo>
                    <a:pt x="177" y="1166"/>
                  </a:lnTo>
                  <a:lnTo>
                    <a:pt x="177" y="1166"/>
                  </a:lnTo>
                  <a:lnTo>
                    <a:pt x="177" y="1166"/>
                  </a:lnTo>
                  <a:close/>
                  <a:moveTo>
                    <a:pt x="160" y="1171"/>
                  </a:moveTo>
                  <a:lnTo>
                    <a:pt x="151" y="1166"/>
                  </a:lnTo>
                  <a:lnTo>
                    <a:pt x="167" y="1166"/>
                  </a:lnTo>
                  <a:lnTo>
                    <a:pt x="160" y="1171"/>
                  </a:lnTo>
                  <a:lnTo>
                    <a:pt x="160" y="1171"/>
                  </a:lnTo>
                  <a:lnTo>
                    <a:pt x="160" y="1171"/>
                  </a:lnTo>
                  <a:close/>
                  <a:moveTo>
                    <a:pt x="52" y="1171"/>
                  </a:moveTo>
                  <a:lnTo>
                    <a:pt x="52" y="1166"/>
                  </a:lnTo>
                  <a:lnTo>
                    <a:pt x="59" y="1171"/>
                  </a:lnTo>
                  <a:lnTo>
                    <a:pt x="52" y="1171"/>
                  </a:lnTo>
                  <a:lnTo>
                    <a:pt x="52" y="1171"/>
                  </a:lnTo>
                  <a:lnTo>
                    <a:pt x="52" y="1171"/>
                  </a:lnTo>
                  <a:close/>
                  <a:moveTo>
                    <a:pt x="42" y="1171"/>
                  </a:moveTo>
                  <a:lnTo>
                    <a:pt x="52" y="1171"/>
                  </a:lnTo>
                  <a:lnTo>
                    <a:pt x="52" y="1183"/>
                  </a:lnTo>
                  <a:lnTo>
                    <a:pt x="37" y="1171"/>
                  </a:lnTo>
                  <a:lnTo>
                    <a:pt x="42" y="1171"/>
                  </a:lnTo>
                  <a:lnTo>
                    <a:pt x="42" y="1171"/>
                  </a:lnTo>
                  <a:lnTo>
                    <a:pt x="42" y="1171"/>
                  </a:lnTo>
                  <a:close/>
                  <a:moveTo>
                    <a:pt x="205" y="1171"/>
                  </a:moveTo>
                  <a:lnTo>
                    <a:pt x="198" y="1183"/>
                  </a:lnTo>
                  <a:lnTo>
                    <a:pt x="198" y="1171"/>
                  </a:lnTo>
                  <a:lnTo>
                    <a:pt x="205" y="1171"/>
                  </a:lnTo>
                  <a:lnTo>
                    <a:pt x="205" y="1171"/>
                  </a:lnTo>
                  <a:lnTo>
                    <a:pt x="205" y="1171"/>
                  </a:lnTo>
                  <a:close/>
                  <a:moveTo>
                    <a:pt x="243" y="1195"/>
                  </a:moveTo>
                  <a:lnTo>
                    <a:pt x="231" y="1188"/>
                  </a:lnTo>
                  <a:lnTo>
                    <a:pt x="252" y="1188"/>
                  </a:lnTo>
                  <a:lnTo>
                    <a:pt x="243" y="1195"/>
                  </a:lnTo>
                  <a:lnTo>
                    <a:pt x="243" y="1195"/>
                  </a:lnTo>
                  <a:lnTo>
                    <a:pt x="243" y="1195"/>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1" name="Freeform 440">
              <a:extLst>
                <a:ext uri="{FF2B5EF4-FFF2-40B4-BE49-F238E27FC236}">
                  <a16:creationId xmlns:a16="http://schemas.microsoft.com/office/drawing/2014/main" id="{C405A618-7C82-47C0-999D-9A5CBF5A01F4}"/>
                </a:ext>
              </a:extLst>
            </p:cNvPr>
            <p:cNvSpPr>
              <a:spLocks noEditPoints="1"/>
            </p:cNvSpPr>
            <p:nvPr/>
          </p:nvSpPr>
          <p:spPr bwMode="gray">
            <a:xfrm>
              <a:off x="9612700" y="4499634"/>
              <a:ext cx="8261949" cy="71678"/>
            </a:xfrm>
            <a:custGeom>
              <a:avLst/>
              <a:gdLst>
                <a:gd name="T0" fmla="*/ 25214 w 25243"/>
                <a:gd name="T1" fmla="*/ 37 h 219"/>
                <a:gd name="T2" fmla="*/ 25243 w 25243"/>
                <a:gd name="T3" fmla="*/ 21 h 219"/>
                <a:gd name="T4" fmla="*/ 25200 w 25243"/>
                <a:gd name="T5" fmla="*/ 49 h 219"/>
                <a:gd name="T6" fmla="*/ 25184 w 25243"/>
                <a:gd name="T7" fmla="*/ 49 h 219"/>
                <a:gd name="T8" fmla="*/ 25167 w 25243"/>
                <a:gd name="T9" fmla="*/ 49 h 219"/>
                <a:gd name="T10" fmla="*/ 25146 w 25243"/>
                <a:gd name="T11" fmla="*/ 49 h 219"/>
                <a:gd name="T12" fmla="*/ 25162 w 25243"/>
                <a:gd name="T13" fmla="*/ 37 h 219"/>
                <a:gd name="T14" fmla="*/ 25205 w 25243"/>
                <a:gd name="T15" fmla="*/ 16 h 219"/>
                <a:gd name="T16" fmla="*/ 25243 w 25243"/>
                <a:gd name="T17" fmla="*/ 0 h 219"/>
                <a:gd name="T18" fmla="*/ 25243 w 25243"/>
                <a:gd name="T19" fmla="*/ 0 h 219"/>
                <a:gd name="T20" fmla="*/ 0 w 25243"/>
                <a:gd name="T21" fmla="*/ 21 h 219"/>
                <a:gd name="T22" fmla="*/ 0 w 25243"/>
                <a:gd name="T23" fmla="*/ 21 h 219"/>
                <a:gd name="T24" fmla="*/ 0 w 25243"/>
                <a:gd name="T25" fmla="*/ 21 h 219"/>
                <a:gd name="T26" fmla="*/ 0 w 25243"/>
                <a:gd name="T27" fmla="*/ 21 h 219"/>
                <a:gd name="T28" fmla="*/ 5 w 25243"/>
                <a:gd name="T29" fmla="*/ 37 h 219"/>
                <a:gd name="T30" fmla="*/ 0 w 25243"/>
                <a:gd name="T31" fmla="*/ 54 h 219"/>
                <a:gd name="T32" fmla="*/ 0 w 25243"/>
                <a:gd name="T33" fmla="*/ 49 h 219"/>
                <a:gd name="T34" fmla="*/ 25243 w 25243"/>
                <a:gd name="T35" fmla="*/ 54 h 219"/>
                <a:gd name="T36" fmla="*/ 25243 w 25243"/>
                <a:gd name="T37" fmla="*/ 49 h 219"/>
                <a:gd name="T38" fmla="*/ 25243 w 25243"/>
                <a:gd name="T39" fmla="*/ 54 h 219"/>
                <a:gd name="T40" fmla="*/ 71 w 25243"/>
                <a:gd name="T41" fmla="*/ 87 h 219"/>
                <a:gd name="T42" fmla="*/ 76 w 25243"/>
                <a:gd name="T43" fmla="*/ 75 h 219"/>
                <a:gd name="T44" fmla="*/ 71 w 25243"/>
                <a:gd name="T45" fmla="*/ 87 h 219"/>
                <a:gd name="T46" fmla="*/ 25205 w 25243"/>
                <a:gd name="T47" fmla="*/ 87 h 219"/>
                <a:gd name="T48" fmla="*/ 25205 w 25243"/>
                <a:gd name="T49" fmla="*/ 75 h 219"/>
                <a:gd name="T50" fmla="*/ 25205 w 25243"/>
                <a:gd name="T51" fmla="*/ 87 h 219"/>
                <a:gd name="T52" fmla="*/ 25124 w 25243"/>
                <a:gd name="T53" fmla="*/ 146 h 219"/>
                <a:gd name="T54" fmla="*/ 25058 w 25243"/>
                <a:gd name="T55" fmla="*/ 141 h 219"/>
                <a:gd name="T56" fmla="*/ 25070 w 25243"/>
                <a:gd name="T57" fmla="*/ 115 h 219"/>
                <a:gd name="T58" fmla="*/ 25075 w 25243"/>
                <a:gd name="T59" fmla="*/ 92 h 219"/>
                <a:gd name="T60" fmla="*/ 25150 w 25243"/>
                <a:gd name="T61" fmla="*/ 108 h 219"/>
                <a:gd name="T62" fmla="*/ 25124 w 25243"/>
                <a:gd name="T63" fmla="*/ 146 h 219"/>
                <a:gd name="T64" fmla="*/ 25124 w 25243"/>
                <a:gd name="T65" fmla="*/ 146 h 219"/>
                <a:gd name="T66" fmla="*/ 25162 w 25243"/>
                <a:gd name="T67" fmla="*/ 108 h 219"/>
                <a:gd name="T68" fmla="*/ 25167 w 25243"/>
                <a:gd name="T69" fmla="*/ 108 h 219"/>
                <a:gd name="T70" fmla="*/ 25162 w 25243"/>
                <a:gd name="T71" fmla="*/ 115 h 219"/>
                <a:gd name="T72" fmla="*/ 114 w 25243"/>
                <a:gd name="T73" fmla="*/ 130 h 219"/>
                <a:gd name="T74" fmla="*/ 126 w 25243"/>
                <a:gd name="T75" fmla="*/ 125 h 219"/>
                <a:gd name="T76" fmla="*/ 114 w 25243"/>
                <a:gd name="T77" fmla="*/ 130 h 219"/>
                <a:gd name="T78" fmla="*/ 25200 w 25243"/>
                <a:gd name="T79" fmla="*/ 141 h 219"/>
                <a:gd name="T80" fmla="*/ 25200 w 25243"/>
                <a:gd name="T81" fmla="*/ 125 h 219"/>
                <a:gd name="T82" fmla="*/ 25200 w 25243"/>
                <a:gd name="T83" fmla="*/ 141 h 219"/>
                <a:gd name="T84" fmla="*/ 88 w 25243"/>
                <a:gd name="T85" fmla="*/ 146 h 219"/>
                <a:gd name="T86" fmla="*/ 88 w 25243"/>
                <a:gd name="T87" fmla="*/ 146 h 219"/>
                <a:gd name="T88" fmla="*/ 88 w 25243"/>
                <a:gd name="T89" fmla="*/ 146 h 219"/>
                <a:gd name="T90" fmla="*/ 25243 w 25243"/>
                <a:gd name="T91" fmla="*/ 179 h 219"/>
                <a:gd name="T92" fmla="*/ 25243 w 25243"/>
                <a:gd name="T93" fmla="*/ 170 h 219"/>
                <a:gd name="T94" fmla="*/ 25243 w 25243"/>
                <a:gd name="T95" fmla="*/ 179 h 219"/>
                <a:gd name="T96" fmla="*/ 5 w 25243"/>
                <a:gd name="T97" fmla="*/ 212 h 219"/>
                <a:gd name="T98" fmla="*/ 17 w 25243"/>
                <a:gd name="T99" fmla="*/ 203 h 219"/>
                <a:gd name="T100" fmla="*/ 5 w 25243"/>
                <a:gd name="T101" fmla="*/ 212 h 219"/>
                <a:gd name="T102" fmla="*/ 25113 w 25243"/>
                <a:gd name="T103" fmla="*/ 219 h 219"/>
                <a:gd name="T104" fmla="*/ 25129 w 25243"/>
                <a:gd name="T105" fmla="*/ 203 h 219"/>
                <a:gd name="T106" fmla="*/ 25124 w 25243"/>
                <a:gd name="T107" fmla="*/ 212 h 219"/>
                <a:gd name="T108" fmla="*/ 25113 w 25243"/>
                <a:gd name="T109"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243" h="219">
                  <a:moveTo>
                    <a:pt x="25243" y="0"/>
                  </a:moveTo>
                  <a:lnTo>
                    <a:pt x="25214" y="37"/>
                  </a:lnTo>
                  <a:lnTo>
                    <a:pt x="25214" y="37"/>
                  </a:lnTo>
                  <a:lnTo>
                    <a:pt x="25243" y="21"/>
                  </a:lnTo>
                  <a:lnTo>
                    <a:pt x="25238" y="37"/>
                  </a:lnTo>
                  <a:lnTo>
                    <a:pt x="25200" y="49"/>
                  </a:lnTo>
                  <a:lnTo>
                    <a:pt x="25200" y="37"/>
                  </a:lnTo>
                  <a:lnTo>
                    <a:pt x="25184" y="49"/>
                  </a:lnTo>
                  <a:lnTo>
                    <a:pt x="25184" y="54"/>
                  </a:lnTo>
                  <a:lnTo>
                    <a:pt x="25167" y="49"/>
                  </a:lnTo>
                  <a:lnTo>
                    <a:pt x="25162" y="59"/>
                  </a:lnTo>
                  <a:lnTo>
                    <a:pt x="25146" y="49"/>
                  </a:lnTo>
                  <a:lnTo>
                    <a:pt x="25150" y="33"/>
                  </a:lnTo>
                  <a:lnTo>
                    <a:pt x="25162" y="37"/>
                  </a:lnTo>
                  <a:lnTo>
                    <a:pt x="25176" y="21"/>
                  </a:lnTo>
                  <a:lnTo>
                    <a:pt x="25205" y="16"/>
                  </a:lnTo>
                  <a:lnTo>
                    <a:pt x="25214" y="4"/>
                  </a:lnTo>
                  <a:lnTo>
                    <a:pt x="25243" y="0"/>
                  </a:lnTo>
                  <a:lnTo>
                    <a:pt x="25243" y="0"/>
                  </a:lnTo>
                  <a:lnTo>
                    <a:pt x="25243" y="0"/>
                  </a:lnTo>
                  <a:lnTo>
                    <a:pt x="25243" y="0"/>
                  </a:lnTo>
                  <a:close/>
                  <a:moveTo>
                    <a:pt x="0" y="21"/>
                  </a:moveTo>
                  <a:lnTo>
                    <a:pt x="5" y="16"/>
                  </a:lnTo>
                  <a:lnTo>
                    <a:pt x="0" y="21"/>
                  </a:lnTo>
                  <a:lnTo>
                    <a:pt x="0" y="21"/>
                  </a:lnTo>
                  <a:lnTo>
                    <a:pt x="0" y="21"/>
                  </a:lnTo>
                  <a:lnTo>
                    <a:pt x="0" y="21"/>
                  </a:lnTo>
                  <a:lnTo>
                    <a:pt x="0" y="21"/>
                  </a:lnTo>
                  <a:close/>
                  <a:moveTo>
                    <a:pt x="0" y="49"/>
                  </a:moveTo>
                  <a:lnTo>
                    <a:pt x="5" y="37"/>
                  </a:lnTo>
                  <a:lnTo>
                    <a:pt x="5" y="49"/>
                  </a:lnTo>
                  <a:lnTo>
                    <a:pt x="0" y="54"/>
                  </a:lnTo>
                  <a:lnTo>
                    <a:pt x="0" y="49"/>
                  </a:lnTo>
                  <a:lnTo>
                    <a:pt x="0" y="49"/>
                  </a:lnTo>
                  <a:lnTo>
                    <a:pt x="0" y="49"/>
                  </a:lnTo>
                  <a:close/>
                  <a:moveTo>
                    <a:pt x="25243" y="54"/>
                  </a:moveTo>
                  <a:lnTo>
                    <a:pt x="25238" y="54"/>
                  </a:lnTo>
                  <a:lnTo>
                    <a:pt x="25243" y="49"/>
                  </a:lnTo>
                  <a:lnTo>
                    <a:pt x="25243" y="54"/>
                  </a:lnTo>
                  <a:lnTo>
                    <a:pt x="25243" y="54"/>
                  </a:lnTo>
                  <a:lnTo>
                    <a:pt x="25243" y="54"/>
                  </a:lnTo>
                  <a:close/>
                  <a:moveTo>
                    <a:pt x="71" y="87"/>
                  </a:moveTo>
                  <a:lnTo>
                    <a:pt x="71" y="70"/>
                  </a:lnTo>
                  <a:lnTo>
                    <a:pt x="76" y="75"/>
                  </a:lnTo>
                  <a:lnTo>
                    <a:pt x="71" y="87"/>
                  </a:lnTo>
                  <a:lnTo>
                    <a:pt x="71" y="87"/>
                  </a:lnTo>
                  <a:lnTo>
                    <a:pt x="71" y="87"/>
                  </a:lnTo>
                  <a:close/>
                  <a:moveTo>
                    <a:pt x="25205" y="87"/>
                  </a:moveTo>
                  <a:lnTo>
                    <a:pt x="25205" y="75"/>
                  </a:lnTo>
                  <a:lnTo>
                    <a:pt x="25205" y="75"/>
                  </a:lnTo>
                  <a:lnTo>
                    <a:pt x="25205" y="87"/>
                  </a:lnTo>
                  <a:lnTo>
                    <a:pt x="25205" y="87"/>
                  </a:lnTo>
                  <a:lnTo>
                    <a:pt x="25205" y="87"/>
                  </a:lnTo>
                  <a:close/>
                  <a:moveTo>
                    <a:pt x="25124" y="146"/>
                  </a:moveTo>
                  <a:lnTo>
                    <a:pt x="25096" y="146"/>
                  </a:lnTo>
                  <a:lnTo>
                    <a:pt x="25058" y="141"/>
                  </a:lnTo>
                  <a:lnTo>
                    <a:pt x="25054" y="125"/>
                  </a:lnTo>
                  <a:lnTo>
                    <a:pt x="25070" y="115"/>
                  </a:lnTo>
                  <a:lnTo>
                    <a:pt x="25070" y="108"/>
                  </a:lnTo>
                  <a:lnTo>
                    <a:pt x="25075" y="92"/>
                  </a:lnTo>
                  <a:lnTo>
                    <a:pt x="25124" y="75"/>
                  </a:lnTo>
                  <a:lnTo>
                    <a:pt x="25150" y="108"/>
                  </a:lnTo>
                  <a:lnTo>
                    <a:pt x="25162" y="130"/>
                  </a:lnTo>
                  <a:lnTo>
                    <a:pt x="25124" y="146"/>
                  </a:lnTo>
                  <a:lnTo>
                    <a:pt x="25124" y="146"/>
                  </a:lnTo>
                  <a:lnTo>
                    <a:pt x="25124" y="146"/>
                  </a:lnTo>
                  <a:close/>
                  <a:moveTo>
                    <a:pt x="25162" y="115"/>
                  </a:moveTo>
                  <a:lnTo>
                    <a:pt x="25162" y="108"/>
                  </a:lnTo>
                  <a:lnTo>
                    <a:pt x="25167" y="108"/>
                  </a:lnTo>
                  <a:lnTo>
                    <a:pt x="25167" y="108"/>
                  </a:lnTo>
                  <a:lnTo>
                    <a:pt x="25162" y="115"/>
                  </a:lnTo>
                  <a:lnTo>
                    <a:pt x="25162" y="115"/>
                  </a:lnTo>
                  <a:lnTo>
                    <a:pt x="25162" y="115"/>
                  </a:lnTo>
                  <a:close/>
                  <a:moveTo>
                    <a:pt x="114" y="130"/>
                  </a:moveTo>
                  <a:lnTo>
                    <a:pt x="114" y="125"/>
                  </a:lnTo>
                  <a:lnTo>
                    <a:pt x="126" y="125"/>
                  </a:lnTo>
                  <a:lnTo>
                    <a:pt x="114" y="130"/>
                  </a:lnTo>
                  <a:lnTo>
                    <a:pt x="114" y="130"/>
                  </a:lnTo>
                  <a:lnTo>
                    <a:pt x="114" y="130"/>
                  </a:lnTo>
                  <a:close/>
                  <a:moveTo>
                    <a:pt x="25200" y="141"/>
                  </a:moveTo>
                  <a:lnTo>
                    <a:pt x="25200" y="130"/>
                  </a:lnTo>
                  <a:lnTo>
                    <a:pt x="25200" y="125"/>
                  </a:lnTo>
                  <a:lnTo>
                    <a:pt x="25200" y="141"/>
                  </a:lnTo>
                  <a:lnTo>
                    <a:pt x="25200" y="141"/>
                  </a:lnTo>
                  <a:lnTo>
                    <a:pt x="25200" y="141"/>
                  </a:lnTo>
                  <a:close/>
                  <a:moveTo>
                    <a:pt x="88" y="146"/>
                  </a:moveTo>
                  <a:lnTo>
                    <a:pt x="76" y="146"/>
                  </a:lnTo>
                  <a:lnTo>
                    <a:pt x="88" y="146"/>
                  </a:lnTo>
                  <a:lnTo>
                    <a:pt x="88" y="146"/>
                  </a:lnTo>
                  <a:lnTo>
                    <a:pt x="88" y="146"/>
                  </a:lnTo>
                  <a:lnTo>
                    <a:pt x="88" y="146"/>
                  </a:lnTo>
                  <a:close/>
                  <a:moveTo>
                    <a:pt x="25243" y="179"/>
                  </a:moveTo>
                  <a:lnTo>
                    <a:pt x="25238" y="170"/>
                  </a:lnTo>
                  <a:lnTo>
                    <a:pt x="25243" y="170"/>
                  </a:lnTo>
                  <a:lnTo>
                    <a:pt x="25243" y="179"/>
                  </a:lnTo>
                  <a:lnTo>
                    <a:pt x="25243" y="179"/>
                  </a:lnTo>
                  <a:lnTo>
                    <a:pt x="25243" y="179"/>
                  </a:lnTo>
                  <a:close/>
                  <a:moveTo>
                    <a:pt x="5" y="212"/>
                  </a:moveTo>
                  <a:lnTo>
                    <a:pt x="5" y="203"/>
                  </a:lnTo>
                  <a:lnTo>
                    <a:pt x="17" y="203"/>
                  </a:lnTo>
                  <a:lnTo>
                    <a:pt x="5" y="212"/>
                  </a:lnTo>
                  <a:lnTo>
                    <a:pt x="5" y="212"/>
                  </a:lnTo>
                  <a:lnTo>
                    <a:pt x="5" y="212"/>
                  </a:lnTo>
                  <a:close/>
                  <a:moveTo>
                    <a:pt x="25113" y="219"/>
                  </a:moveTo>
                  <a:lnTo>
                    <a:pt x="25108" y="219"/>
                  </a:lnTo>
                  <a:lnTo>
                    <a:pt x="25129" y="203"/>
                  </a:lnTo>
                  <a:lnTo>
                    <a:pt x="25146" y="203"/>
                  </a:lnTo>
                  <a:lnTo>
                    <a:pt x="25124" y="212"/>
                  </a:lnTo>
                  <a:lnTo>
                    <a:pt x="25113" y="219"/>
                  </a:lnTo>
                  <a:lnTo>
                    <a:pt x="25113" y="219"/>
                  </a:lnTo>
                  <a:lnTo>
                    <a:pt x="25113" y="21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2" name="Freeform 441">
              <a:extLst>
                <a:ext uri="{FF2B5EF4-FFF2-40B4-BE49-F238E27FC236}">
                  <a16:creationId xmlns:a16="http://schemas.microsoft.com/office/drawing/2014/main" id="{A95FC0D6-9417-4C21-B41B-68C9663668E1}"/>
                </a:ext>
              </a:extLst>
            </p:cNvPr>
            <p:cNvSpPr>
              <a:spLocks noEditPoints="1"/>
            </p:cNvSpPr>
            <p:nvPr/>
          </p:nvSpPr>
          <p:spPr bwMode="gray">
            <a:xfrm>
              <a:off x="12338099" y="5440284"/>
              <a:ext cx="81170" cy="36330"/>
            </a:xfrm>
            <a:custGeom>
              <a:avLst/>
              <a:gdLst>
                <a:gd name="T0" fmla="*/ 69 w 248"/>
                <a:gd name="T1" fmla="*/ 0 h 111"/>
                <a:gd name="T2" fmla="*/ 76 w 248"/>
                <a:gd name="T3" fmla="*/ 17 h 111"/>
                <a:gd name="T4" fmla="*/ 69 w 248"/>
                <a:gd name="T5" fmla="*/ 17 h 111"/>
                <a:gd name="T6" fmla="*/ 161 w 248"/>
                <a:gd name="T7" fmla="*/ 57 h 111"/>
                <a:gd name="T8" fmla="*/ 144 w 248"/>
                <a:gd name="T9" fmla="*/ 33 h 111"/>
                <a:gd name="T10" fmla="*/ 151 w 248"/>
                <a:gd name="T11" fmla="*/ 33 h 111"/>
                <a:gd name="T12" fmla="*/ 151 w 248"/>
                <a:gd name="T13" fmla="*/ 17 h 111"/>
                <a:gd name="T14" fmla="*/ 168 w 248"/>
                <a:gd name="T15" fmla="*/ 5 h 111"/>
                <a:gd name="T16" fmla="*/ 206 w 248"/>
                <a:gd name="T17" fmla="*/ 17 h 111"/>
                <a:gd name="T18" fmla="*/ 215 w 248"/>
                <a:gd name="T19" fmla="*/ 41 h 111"/>
                <a:gd name="T20" fmla="*/ 198 w 248"/>
                <a:gd name="T21" fmla="*/ 24 h 111"/>
                <a:gd name="T22" fmla="*/ 236 w 248"/>
                <a:gd name="T23" fmla="*/ 17 h 111"/>
                <a:gd name="T24" fmla="*/ 215 w 248"/>
                <a:gd name="T25" fmla="*/ 33 h 111"/>
                <a:gd name="T26" fmla="*/ 248 w 248"/>
                <a:gd name="T27" fmla="*/ 45 h 111"/>
                <a:gd name="T28" fmla="*/ 215 w 248"/>
                <a:gd name="T29" fmla="*/ 57 h 111"/>
                <a:gd name="T30" fmla="*/ 177 w 248"/>
                <a:gd name="T31" fmla="*/ 62 h 111"/>
                <a:gd name="T32" fmla="*/ 161 w 248"/>
                <a:gd name="T33" fmla="*/ 62 h 111"/>
                <a:gd name="T34" fmla="*/ 182 w 248"/>
                <a:gd name="T35" fmla="*/ 78 h 111"/>
                <a:gd name="T36" fmla="*/ 144 w 248"/>
                <a:gd name="T37" fmla="*/ 74 h 111"/>
                <a:gd name="T38" fmla="*/ 151 w 248"/>
                <a:gd name="T39" fmla="*/ 90 h 111"/>
                <a:gd name="T40" fmla="*/ 128 w 248"/>
                <a:gd name="T41" fmla="*/ 90 h 111"/>
                <a:gd name="T42" fmla="*/ 106 w 248"/>
                <a:gd name="T43" fmla="*/ 90 h 111"/>
                <a:gd name="T44" fmla="*/ 144 w 248"/>
                <a:gd name="T45" fmla="*/ 45 h 111"/>
                <a:gd name="T46" fmla="*/ 161 w 248"/>
                <a:gd name="T47" fmla="*/ 57 h 111"/>
                <a:gd name="T48" fmla="*/ 161 w 248"/>
                <a:gd name="T49" fmla="*/ 57 h 111"/>
                <a:gd name="T50" fmla="*/ 76 w 248"/>
                <a:gd name="T51" fmla="*/ 74 h 111"/>
                <a:gd name="T52" fmla="*/ 43 w 248"/>
                <a:gd name="T53" fmla="*/ 95 h 111"/>
                <a:gd name="T54" fmla="*/ 38 w 248"/>
                <a:gd name="T55" fmla="*/ 74 h 111"/>
                <a:gd name="T56" fmla="*/ 59 w 248"/>
                <a:gd name="T57" fmla="*/ 74 h 111"/>
                <a:gd name="T58" fmla="*/ 59 w 248"/>
                <a:gd name="T59" fmla="*/ 62 h 111"/>
                <a:gd name="T60" fmla="*/ 69 w 248"/>
                <a:gd name="T61" fmla="*/ 45 h 111"/>
                <a:gd name="T62" fmla="*/ 43 w 248"/>
                <a:gd name="T63" fmla="*/ 45 h 111"/>
                <a:gd name="T64" fmla="*/ 43 w 248"/>
                <a:gd name="T65" fmla="*/ 17 h 111"/>
                <a:gd name="T66" fmla="*/ 90 w 248"/>
                <a:gd name="T67" fmla="*/ 24 h 111"/>
                <a:gd name="T68" fmla="*/ 85 w 248"/>
                <a:gd name="T69" fmla="*/ 17 h 111"/>
                <a:gd name="T70" fmla="*/ 128 w 248"/>
                <a:gd name="T71" fmla="*/ 17 h 111"/>
                <a:gd name="T72" fmla="*/ 144 w 248"/>
                <a:gd name="T73" fmla="*/ 17 h 111"/>
                <a:gd name="T74" fmla="*/ 90 w 248"/>
                <a:gd name="T75" fmla="*/ 74 h 111"/>
                <a:gd name="T76" fmla="*/ 0 w 248"/>
                <a:gd name="T77" fmla="*/ 45 h 111"/>
                <a:gd name="T78" fmla="*/ 5 w 248"/>
                <a:gd name="T79" fmla="*/ 45 h 111"/>
                <a:gd name="T80" fmla="*/ 0 w 248"/>
                <a:gd name="T81" fmla="*/ 45 h 111"/>
                <a:gd name="T82" fmla="*/ 21 w 248"/>
                <a:gd name="T83" fmla="*/ 74 h 111"/>
                <a:gd name="T84" fmla="*/ 14 w 248"/>
                <a:gd name="T85" fmla="*/ 57 h 111"/>
                <a:gd name="T86" fmla="*/ 14 w 248"/>
                <a:gd name="T87" fmla="*/ 62 h 111"/>
                <a:gd name="T88" fmla="*/ 31 w 248"/>
                <a:gd name="T89" fmla="*/ 74 h 111"/>
                <a:gd name="T90" fmla="*/ 21 w 248"/>
                <a:gd name="T91" fmla="*/ 74 h 111"/>
                <a:gd name="T92" fmla="*/ 0 w 248"/>
                <a:gd name="T93" fmla="*/ 62 h 111"/>
                <a:gd name="T94" fmla="*/ 5 w 248"/>
                <a:gd name="T95" fmla="*/ 57 h 111"/>
                <a:gd name="T96" fmla="*/ 0 w 248"/>
                <a:gd name="T97" fmla="*/ 62 h 111"/>
                <a:gd name="T98" fmla="*/ 194 w 248"/>
                <a:gd name="T99" fmla="*/ 78 h 111"/>
                <a:gd name="T100" fmla="*/ 198 w 248"/>
                <a:gd name="T101" fmla="*/ 78 h 111"/>
                <a:gd name="T102" fmla="*/ 194 w 248"/>
                <a:gd name="T103" fmla="*/ 7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8" h="111">
                  <a:moveTo>
                    <a:pt x="69" y="17"/>
                  </a:moveTo>
                  <a:lnTo>
                    <a:pt x="69" y="0"/>
                  </a:lnTo>
                  <a:lnTo>
                    <a:pt x="85" y="5"/>
                  </a:lnTo>
                  <a:lnTo>
                    <a:pt x="76" y="17"/>
                  </a:lnTo>
                  <a:lnTo>
                    <a:pt x="69" y="17"/>
                  </a:lnTo>
                  <a:lnTo>
                    <a:pt x="69" y="17"/>
                  </a:lnTo>
                  <a:lnTo>
                    <a:pt x="69" y="17"/>
                  </a:lnTo>
                  <a:close/>
                  <a:moveTo>
                    <a:pt x="161" y="57"/>
                  </a:moveTo>
                  <a:lnTo>
                    <a:pt x="151" y="41"/>
                  </a:lnTo>
                  <a:lnTo>
                    <a:pt x="144" y="33"/>
                  </a:lnTo>
                  <a:lnTo>
                    <a:pt x="151" y="24"/>
                  </a:lnTo>
                  <a:lnTo>
                    <a:pt x="151" y="33"/>
                  </a:lnTo>
                  <a:lnTo>
                    <a:pt x="161" y="24"/>
                  </a:lnTo>
                  <a:lnTo>
                    <a:pt x="151" y="17"/>
                  </a:lnTo>
                  <a:lnTo>
                    <a:pt x="168" y="17"/>
                  </a:lnTo>
                  <a:lnTo>
                    <a:pt x="168" y="5"/>
                  </a:lnTo>
                  <a:lnTo>
                    <a:pt x="198" y="5"/>
                  </a:lnTo>
                  <a:lnTo>
                    <a:pt x="206" y="17"/>
                  </a:lnTo>
                  <a:lnTo>
                    <a:pt x="194" y="24"/>
                  </a:lnTo>
                  <a:lnTo>
                    <a:pt x="215" y="41"/>
                  </a:lnTo>
                  <a:lnTo>
                    <a:pt x="215" y="33"/>
                  </a:lnTo>
                  <a:lnTo>
                    <a:pt x="198" y="24"/>
                  </a:lnTo>
                  <a:lnTo>
                    <a:pt x="206" y="17"/>
                  </a:lnTo>
                  <a:lnTo>
                    <a:pt x="236" y="17"/>
                  </a:lnTo>
                  <a:lnTo>
                    <a:pt x="248" y="33"/>
                  </a:lnTo>
                  <a:lnTo>
                    <a:pt x="215" y="33"/>
                  </a:lnTo>
                  <a:lnTo>
                    <a:pt x="248" y="41"/>
                  </a:lnTo>
                  <a:lnTo>
                    <a:pt x="248" y="45"/>
                  </a:lnTo>
                  <a:lnTo>
                    <a:pt x="206" y="45"/>
                  </a:lnTo>
                  <a:lnTo>
                    <a:pt x="215" y="57"/>
                  </a:lnTo>
                  <a:lnTo>
                    <a:pt x="198" y="62"/>
                  </a:lnTo>
                  <a:lnTo>
                    <a:pt x="177" y="62"/>
                  </a:lnTo>
                  <a:lnTo>
                    <a:pt x="161" y="57"/>
                  </a:lnTo>
                  <a:lnTo>
                    <a:pt x="161" y="62"/>
                  </a:lnTo>
                  <a:lnTo>
                    <a:pt x="182" y="74"/>
                  </a:lnTo>
                  <a:lnTo>
                    <a:pt x="182" y="78"/>
                  </a:lnTo>
                  <a:lnTo>
                    <a:pt x="161" y="90"/>
                  </a:lnTo>
                  <a:lnTo>
                    <a:pt x="144" y="74"/>
                  </a:lnTo>
                  <a:lnTo>
                    <a:pt x="139" y="74"/>
                  </a:lnTo>
                  <a:lnTo>
                    <a:pt x="151" y="90"/>
                  </a:lnTo>
                  <a:lnTo>
                    <a:pt x="151" y="95"/>
                  </a:lnTo>
                  <a:lnTo>
                    <a:pt x="128" y="90"/>
                  </a:lnTo>
                  <a:lnTo>
                    <a:pt x="128" y="111"/>
                  </a:lnTo>
                  <a:lnTo>
                    <a:pt x="106" y="90"/>
                  </a:lnTo>
                  <a:lnTo>
                    <a:pt x="123" y="62"/>
                  </a:lnTo>
                  <a:lnTo>
                    <a:pt x="144" y="45"/>
                  </a:lnTo>
                  <a:lnTo>
                    <a:pt x="151" y="45"/>
                  </a:lnTo>
                  <a:lnTo>
                    <a:pt x="161" y="57"/>
                  </a:lnTo>
                  <a:lnTo>
                    <a:pt x="161" y="57"/>
                  </a:lnTo>
                  <a:lnTo>
                    <a:pt x="161" y="57"/>
                  </a:lnTo>
                  <a:close/>
                  <a:moveTo>
                    <a:pt x="90" y="74"/>
                  </a:moveTo>
                  <a:lnTo>
                    <a:pt x="76" y="74"/>
                  </a:lnTo>
                  <a:lnTo>
                    <a:pt x="69" y="90"/>
                  </a:lnTo>
                  <a:lnTo>
                    <a:pt x="43" y="95"/>
                  </a:lnTo>
                  <a:lnTo>
                    <a:pt x="21" y="78"/>
                  </a:lnTo>
                  <a:lnTo>
                    <a:pt x="38" y="74"/>
                  </a:lnTo>
                  <a:lnTo>
                    <a:pt x="31" y="74"/>
                  </a:lnTo>
                  <a:lnTo>
                    <a:pt x="59" y="74"/>
                  </a:lnTo>
                  <a:lnTo>
                    <a:pt x="59" y="57"/>
                  </a:lnTo>
                  <a:lnTo>
                    <a:pt x="59" y="62"/>
                  </a:lnTo>
                  <a:lnTo>
                    <a:pt x="76" y="45"/>
                  </a:lnTo>
                  <a:lnTo>
                    <a:pt x="69" y="45"/>
                  </a:lnTo>
                  <a:lnTo>
                    <a:pt x="43" y="57"/>
                  </a:lnTo>
                  <a:lnTo>
                    <a:pt x="43" y="45"/>
                  </a:lnTo>
                  <a:lnTo>
                    <a:pt x="76" y="41"/>
                  </a:lnTo>
                  <a:lnTo>
                    <a:pt x="43" y="17"/>
                  </a:lnTo>
                  <a:lnTo>
                    <a:pt x="76" y="24"/>
                  </a:lnTo>
                  <a:lnTo>
                    <a:pt x="90" y="24"/>
                  </a:lnTo>
                  <a:lnTo>
                    <a:pt x="85" y="24"/>
                  </a:lnTo>
                  <a:lnTo>
                    <a:pt x="85" y="17"/>
                  </a:lnTo>
                  <a:lnTo>
                    <a:pt x="123" y="24"/>
                  </a:lnTo>
                  <a:lnTo>
                    <a:pt x="128" y="17"/>
                  </a:lnTo>
                  <a:lnTo>
                    <a:pt x="128" y="5"/>
                  </a:lnTo>
                  <a:lnTo>
                    <a:pt x="144" y="17"/>
                  </a:lnTo>
                  <a:lnTo>
                    <a:pt x="90" y="74"/>
                  </a:lnTo>
                  <a:lnTo>
                    <a:pt x="90" y="74"/>
                  </a:lnTo>
                  <a:lnTo>
                    <a:pt x="90" y="74"/>
                  </a:lnTo>
                  <a:close/>
                  <a:moveTo>
                    <a:pt x="0" y="45"/>
                  </a:moveTo>
                  <a:lnTo>
                    <a:pt x="0" y="45"/>
                  </a:lnTo>
                  <a:lnTo>
                    <a:pt x="5" y="45"/>
                  </a:lnTo>
                  <a:lnTo>
                    <a:pt x="0" y="45"/>
                  </a:lnTo>
                  <a:lnTo>
                    <a:pt x="0" y="45"/>
                  </a:lnTo>
                  <a:lnTo>
                    <a:pt x="0" y="45"/>
                  </a:lnTo>
                  <a:close/>
                  <a:moveTo>
                    <a:pt x="21" y="74"/>
                  </a:moveTo>
                  <a:lnTo>
                    <a:pt x="5" y="57"/>
                  </a:lnTo>
                  <a:lnTo>
                    <a:pt x="14" y="57"/>
                  </a:lnTo>
                  <a:lnTo>
                    <a:pt x="21" y="57"/>
                  </a:lnTo>
                  <a:lnTo>
                    <a:pt x="14" y="62"/>
                  </a:lnTo>
                  <a:lnTo>
                    <a:pt x="21" y="57"/>
                  </a:lnTo>
                  <a:lnTo>
                    <a:pt x="31" y="74"/>
                  </a:lnTo>
                  <a:lnTo>
                    <a:pt x="21" y="74"/>
                  </a:lnTo>
                  <a:lnTo>
                    <a:pt x="21" y="74"/>
                  </a:lnTo>
                  <a:lnTo>
                    <a:pt x="21" y="74"/>
                  </a:lnTo>
                  <a:close/>
                  <a:moveTo>
                    <a:pt x="0" y="62"/>
                  </a:moveTo>
                  <a:lnTo>
                    <a:pt x="0" y="57"/>
                  </a:lnTo>
                  <a:lnTo>
                    <a:pt x="5" y="57"/>
                  </a:lnTo>
                  <a:lnTo>
                    <a:pt x="0" y="62"/>
                  </a:lnTo>
                  <a:lnTo>
                    <a:pt x="0" y="62"/>
                  </a:lnTo>
                  <a:lnTo>
                    <a:pt x="0" y="62"/>
                  </a:lnTo>
                  <a:close/>
                  <a:moveTo>
                    <a:pt x="194" y="78"/>
                  </a:moveTo>
                  <a:lnTo>
                    <a:pt x="198" y="74"/>
                  </a:lnTo>
                  <a:lnTo>
                    <a:pt x="198" y="78"/>
                  </a:lnTo>
                  <a:lnTo>
                    <a:pt x="194" y="78"/>
                  </a:lnTo>
                  <a:lnTo>
                    <a:pt x="194" y="78"/>
                  </a:lnTo>
                  <a:lnTo>
                    <a:pt x="194" y="78"/>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3" name="Freeform 442">
              <a:extLst>
                <a:ext uri="{FF2B5EF4-FFF2-40B4-BE49-F238E27FC236}">
                  <a16:creationId xmlns:a16="http://schemas.microsoft.com/office/drawing/2014/main" id="{86E00547-3C3F-4A7C-9DAB-C43E19155C89}"/>
                </a:ext>
              </a:extLst>
            </p:cNvPr>
            <p:cNvSpPr>
              <a:spLocks noEditPoints="1"/>
            </p:cNvSpPr>
            <p:nvPr/>
          </p:nvSpPr>
          <p:spPr bwMode="gray">
            <a:xfrm>
              <a:off x="17224311" y="3938975"/>
              <a:ext cx="261183" cy="51713"/>
            </a:xfrm>
            <a:custGeom>
              <a:avLst/>
              <a:gdLst>
                <a:gd name="T0" fmla="*/ 0 w 798"/>
                <a:gd name="T1" fmla="*/ 12 h 158"/>
                <a:gd name="T2" fmla="*/ 0 w 798"/>
                <a:gd name="T3" fmla="*/ 12 h 158"/>
                <a:gd name="T4" fmla="*/ 0 w 798"/>
                <a:gd name="T5" fmla="*/ 0 h 158"/>
                <a:gd name="T6" fmla="*/ 0 w 798"/>
                <a:gd name="T7" fmla="*/ 12 h 158"/>
                <a:gd name="T8" fmla="*/ 0 w 798"/>
                <a:gd name="T9" fmla="*/ 12 h 158"/>
                <a:gd name="T10" fmla="*/ 0 w 798"/>
                <a:gd name="T11" fmla="*/ 12 h 158"/>
                <a:gd name="T12" fmla="*/ 463 w 798"/>
                <a:gd name="T13" fmla="*/ 50 h 158"/>
                <a:gd name="T14" fmla="*/ 451 w 798"/>
                <a:gd name="T15" fmla="*/ 38 h 158"/>
                <a:gd name="T16" fmla="*/ 463 w 798"/>
                <a:gd name="T17" fmla="*/ 33 h 158"/>
                <a:gd name="T18" fmla="*/ 468 w 798"/>
                <a:gd name="T19" fmla="*/ 38 h 158"/>
                <a:gd name="T20" fmla="*/ 463 w 798"/>
                <a:gd name="T21" fmla="*/ 50 h 158"/>
                <a:gd name="T22" fmla="*/ 463 w 798"/>
                <a:gd name="T23" fmla="*/ 50 h 158"/>
                <a:gd name="T24" fmla="*/ 463 w 798"/>
                <a:gd name="T25" fmla="*/ 50 h 158"/>
                <a:gd name="T26" fmla="*/ 798 w 798"/>
                <a:gd name="T27" fmla="*/ 158 h 158"/>
                <a:gd name="T28" fmla="*/ 791 w 798"/>
                <a:gd name="T29" fmla="*/ 149 h 158"/>
                <a:gd name="T30" fmla="*/ 798 w 798"/>
                <a:gd name="T31" fmla="*/ 149 h 158"/>
                <a:gd name="T32" fmla="*/ 798 w 798"/>
                <a:gd name="T33" fmla="*/ 158 h 158"/>
                <a:gd name="T34" fmla="*/ 798 w 798"/>
                <a:gd name="T35" fmla="*/ 158 h 158"/>
                <a:gd name="T36" fmla="*/ 798 w 798"/>
                <a:gd name="T3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8" h="158">
                  <a:moveTo>
                    <a:pt x="0" y="12"/>
                  </a:moveTo>
                  <a:lnTo>
                    <a:pt x="0" y="12"/>
                  </a:lnTo>
                  <a:lnTo>
                    <a:pt x="0" y="0"/>
                  </a:lnTo>
                  <a:lnTo>
                    <a:pt x="0" y="12"/>
                  </a:lnTo>
                  <a:lnTo>
                    <a:pt x="0" y="12"/>
                  </a:lnTo>
                  <a:lnTo>
                    <a:pt x="0" y="12"/>
                  </a:lnTo>
                  <a:close/>
                  <a:moveTo>
                    <a:pt x="463" y="50"/>
                  </a:moveTo>
                  <a:lnTo>
                    <a:pt x="451" y="38"/>
                  </a:lnTo>
                  <a:lnTo>
                    <a:pt x="463" y="33"/>
                  </a:lnTo>
                  <a:lnTo>
                    <a:pt x="468" y="38"/>
                  </a:lnTo>
                  <a:lnTo>
                    <a:pt x="463" y="50"/>
                  </a:lnTo>
                  <a:lnTo>
                    <a:pt x="463" y="50"/>
                  </a:lnTo>
                  <a:lnTo>
                    <a:pt x="463" y="50"/>
                  </a:lnTo>
                  <a:close/>
                  <a:moveTo>
                    <a:pt x="798" y="158"/>
                  </a:moveTo>
                  <a:lnTo>
                    <a:pt x="791" y="149"/>
                  </a:lnTo>
                  <a:lnTo>
                    <a:pt x="798" y="149"/>
                  </a:lnTo>
                  <a:lnTo>
                    <a:pt x="798" y="158"/>
                  </a:lnTo>
                  <a:lnTo>
                    <a:pt x="798" y="158"/>
                  </a:lnTo>
                  <a:lnTo>
                    <a:pt x="798" y="158"/>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4" name="Freeform 443">
              <a:extLst>
                <a:ext uri="{FF2B5EF4-FFF2-40B4-BE49-F238E27FC236}">
                  <a16:creationId xmlns:a16="http://schemas.microsoft.com/office/drawing/2014/main" id="{9E4F45D9-250C-43CC-A7B9-2FD0F8E925E9}"/>
                </a:ext>
              </a:extLst>
            </p:cNvPr>
            <p:cNvSpPr>
              <a:spLocks noEditPoints="1"/>
            </p:cNvSpPr>
            <p:nvPr/>
          </p:nvSpPr>
          <p:spPr bwMode="gray">
            <a:xfrm>
              <a:off x="13573644" y="2413773"/>
              <a:ext cx="23893" cy="32402"/>
            </a:xfrm>
            <a:custGeom>
              <a:avLst/>
              <a:gdLst>
                <a:gd name="T0" fmla="*/ 64 w 73"/>
                <a:gd name="T1" fmla="*/ 16 h 99"/>
                <a:gd name="T2" fmla="*/ 56 w 73"/>
                <a:gd name="T3" fmla="*/ 4 h 99"/>
                <a:gd name="T4" fmla="*/ 64 w 73"/>
                <a:gd name="T5" fmla="*/ 0 h 99"/>
                <a:gd name="T6" fmla="*/ 73 w 73"/>
                <a:gd name="T7" fmla="*/ 4 h 99"/>
                <a:gd name="T8" fmla="*/ 64 w 73"/>
                <a:gd name="T9" fmla="*/ 16 h 99"/>
                <a:gd name="T10" fmla="*/ 64 w 73"/>
                <a:gd name="T11" fmla="*/ 16 h 99"/>
                <a:gd name="T12" fmla="*/ 64 w 73"/>
                <a:gd name="T13" fmla="*/ 16 h 99"/>
                <a:gd name="T14" fmla="*/ 52 w 73"/>
                <a:gd name="T15" fmla="*/ 33 h 99"/>
                <a:gd name="T16" fmla="*/ 26 w 73"/>
                <a:gd name="T17" fmla="*/ 0 h 99"/>
                <a:gd name="T18" fmla="*/ 56 w 73"/>
                <a:gd name="T19" fmla="*/ 16 h 99"/>
                <a:gd name="T20" fmla="*/ 52 w 73"/>
                <a:gd name="T21" fmla="*/ 33 h 99"/>
                <a:gd name="T22" fmla="*/ 52 w 73"/>
                <a:gd name="T23" fmla="*/ 33 h 99"/>
                <a:gd name="T24" fmla="*/ 52 w 73"/>
                <a:gd name="T25" fmla="*/ 33 h 99"/>
                <a:gd name="T26" fmla="*/ 52 w 73"/>
                <a:gd name="T27" fmla="*/ 44 h 99"/>
                <a:gd name="T28" fmla="*/ 12 w 73"/>
                <a:gd name="T29" fmla="*/ 16 h 99"/>
                <a:gd name="T30" fmla="*/ 12 w 73"/>
                <a:gd name="T31" fmla="*/ 4 h 99"/>
                <a:gd name="T32" fmla="*/ 26 w 73"/>
                <a:gd name="T33" fmla="*/ 4 h 99"/>
                <a:gd name="T34" fmla="*/ 42 w 73"/>
                <a:gd name="T35" fmla="*/ 21 h 99"/>
                <a:gd name="T36" fmla="*/ 52 w 73"/>
                <a:gd name="T37" fmla="*/ 44 h 99"/>
                <a:gd name="T38" fmla="*/ 52 w 73"/>
                <a:gd name="T39" fmla="*/ 44 h 99"/>
                <a:gd name="T40" fmla="*/ 52 w 73"/>
                <a:gd name="T41" fmla="*/ 44 h 99"/>
                <a:gd name="T42" fmla="*/ 21 w 73"/>
                <a:gd name="T43" fmla="*/ 33 h 99"/>
                <a:gd name="T44" fmla="*/ 0 w 73"/>
                <a:gd name="T45" fmla="*/ 21 h 99"/>
                <a:gd name="T46" fmla="*/ 26 w 73"/>
                <a:gd name="T47" fmla="*/ 21 h 99"/>
                <a:gd name="T48" fmla="*/ 21 w 73"/>
                <a:gd name="T49" fmla="*/ 33 h 99"/>
                <a:gd name="T50" fmla="*/ 21 w 73"/>
                <a:gd name="T51" fmla="*/ 33 h 99"/>
                <a:gd name="T52" fmla="*/ 21 w 73"/>
                <a:gd name="T53" fmla="*/ 33 h 99"/>
                <a:gd name="T54" fmla="*/ 56 w 73"/>
                <a:gd name="T55" fmla="*/ 61 h 99"/>
                <a:gd name="T56" fmla="*/ 38 w 73"/>
                <a:gd name="T57" fmla="*/ 44 h 99"/>
                <a:gd name="T58" fmla="*/ 56 w 73"/>
                <a:gd name="T59" fmla="*/ 54 h 99"/>
                <a:gd name="T60" fmla="*/ 56 w 73"/>
                <a:gd name="T61" fmla="*/ 61 h 99"/>
                <a:gd name="T62" fmla="*/ 56 w 73"/>
                <a:gd name="T63" fmla="*/ 61 h 99"/>
                <a:gd name="T64" fmla="*/ 56 w 73"/>
                <a:gd name="T65" fmla="*/ 61 h 99"/>
                <a:gd name="T66" fmla="*/ 52 w 73"/>
                <a:gd name="T67" fmla="*/ 99 h 99"/>
                <a:gd name="T68" fmla="*/ 38 w 73"/>
                <a:gd name="T69" fmla="*/ 78 h 99"/>
                <a:gd name="T70" fmla="*/ 52 w 73"/>
                <a:gd name="T71" fmla="*/ 87 h 99"/>
                <a:gd name="T72" fmla="*/ 52 w 73"/>
                <a:gd name="T73" fmla="*/ 99 h 99"/>
                <a:gd name="T74" fmla="*/ 52 w 73"/>
                <a:gd name="T75" fmla="*/ 99 h 99"/>
                <a:gd name="T76" fmla="*/ 52 w 73"/>
                <a:gd name="T7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99">
                  <a:moveTo>
                    <a:pt x="64" y="16"/>
                  </a:moveTo>
                  <a:lnTo>
                    <a:pt x="56" y="4"/>
                  </a:lnTo>
                  <a:lnTo>
                    <a:pt x="64" y="0"/>
                  </a:lnTo>
                  <a:lnTo>
                    <a:pt x="73" y="4"/>
                  </a:lnTo>
                  <a:lnTo>
                    <a:pt x="64" y="16"/>
                  </a:lnTo>
                  <a:lnTo>
                    <a:pt x="64" y="16"/>
                  </a:lnTo>
                  <a:lnTo>
                    <a:pt x="64" y="16"/>
                  </a:lnTo>
                  <a:close/>
                  <a:moveTo>
                    <a:pt x="52" y="33"/>
                  </a:moveTo>
                  <a:lnTo>
                    <a:pt x="26" y="0"/>
                  </a:lnTo>
                  <a:lnTo>
                    <a:pt x="56" y="16"/>
                  </a:lnTo>
                  <a:lnTo>
                    <a:pt x="52" y="33"/>
                  </a:lnTo>
                  <a:lnTo>
                    <a:pt x="52" y="33"/>
                  </a:lnTo>
                  <a:lnTo>
                    <a:pt x="52" y="33"/>
                  </a:lnTo>
                  <a:close/>
                  <a:moveTo>
                    <a:pt x="52" y="44"/>
                  </a:moveTo>
                  <a:lnTo>
                    <a:pt x="12" y="16"/>
                  </a:lnTo>
                  <a:lnTo>
                    <a:pt x="12" y="4"/>
                  </a:lnTo>
                  <a:lnTo>
                    <a:pt x="26" y="4"/>
                  </a:lnTo>
                  <a:lnTo>
                    <a:pt x="42" y="21"/>
                  </a:lnTo>
                  <a:lnTo>
                    <a:pt x="52" y="44"/>
                  </a:lnTo>
                  <a:lnTo>
                    <a:pt x="52" y="44"/>
                  </a:lnTo>
                  <a:lnTo>
                    <a:pt x="52" y="44"/>
                  </a:lnTo>
                  <a:close/>
                  <a:moveTo>
                    <a:pt x="21" y="33"/>
                  </a:moveTo>
                  <a:lnTo>
                    <a:pt x="0" y="21"/>
                  </a:lnTo>
                  <a:lnTo>
                    <a:pt x="26" y="21"/>
                  </a:lnTo>
                  <a:lnTo>
                    <a:pt x="21" y="33"/>
                  </a:lnTo>
                  <a:lnTo>
                    <a:pt x="21" y="33"/>
                  </a:lnTo>
                  <a:lnTo>
                    <a:pt x="21" y="33"/>
                  </a:lnTo>
                  <a:close/>
                  <a:moveTo>
                    <a:pt x="56" y="61"/>
                  </a:moveTo>
                  <a:lnTo>
                    <a:pt x="38" y="44"/>
                  </a:lnTo>
                  <a:lnTo>
                    <a:pt x="56" y="54"/>
                  </a:lnTo>
                  <a:lnTo>
                    <a:pt x="56" y="61"/>
                  </a:lnTo>
                  <a:lnTo>
                    <a:pt x="56" y="61"/>
                  </a:lnTo>
                  <a:lnTo>
                    <a:pt x="56" y="61"/>
                  </a:lnTo>
                  <a:close/>
                  <a:moveTo>
                    <a:pt x="52" y="99"/>
                  </a:moveTo>
                  <a:lnTo>
                    <a:pt x="38" y="78"/>
                  </a:lnTo>
                  <a:lnTo>
                    <a:pt x="52" y="87"/>
                  </a:lnTo>
                  <a:lnTo>
                    <a:pt x="52" y="99"/>
                  </a:lnTo>
                  <a:lnTo>
                    <a:pt x="52" y="99"/>
                  </a:lnTo>
                  <a:lnTo>
                    <a:pt x="52" y="9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5" name="Freeform 444">
              <a:extLst>
                <a:ext uri="{FF2B5EF4-FFF2-40B4-BE49-F238E27FC236}">
                  <a16:creationId xmlns:a16="http://schemas.microsoft.com/office/drawing/2014/main" id="{C19A2C7C-D752-4864-9E74-F44DB518A32A}"/>
                </a:ext>
              </a:extLst>
            </p:cNvPr>
            <p:cNvSpPr>
              <a:spLocks noEditPoints="1"/>
            </p:cNvSpPr>
            <p:nvPr/>
          </p:nvSpPr>
          <p:spPr bwMode="gray">
            <a:xfrm>
              <a:off x="10264675" y="4322567"/>
              <a:ext cx="297513" cy="326969"/>
            </a:xfrm>
            <a:custGeom>
              <a:avLst/>
              <a:gdLst>
                <a:gd name="T0" fmla="*/ 796 w 909"/>
                <a:gd name="T1" fmla="*/ 0 h 999"/>
                <a:gd name="T2" fmla="*/ 800 w 909"/>
                <a:gd name="T3" fmla="*/ 4 h 999"/>
                <a:gd name="T4" fmla="*/ 800 w 909"/>
                <a:gd name="T5" fmla="*/ 4 h 999"/>
                <a:gd name="T6" fmla="*/ 838 w 909"/>
                <a:gd name="T7" fmla="*/ 0 h 999"/>
                <a:gd name="T8" fmla="*/ 838 w 909"/>
                <a:gd name="T9" fmla="*/ 4 h 999"/>
                <a:gd name="T10" fmla="*/ 838 w 909"/>
                <a:gd name="T11" fmla="*/ 4 h 999"/>
                <a:gd name="T12" fmla="*/ 800 w 909"/>
                <a:gd name="T13" fmla="*/ 37 h 999"/>
                <a:gd name="T14" fmla="*/ 800 w 909"/>
                <a:gd name="T15" fmla="*/ 45 h 999"/>
                <a:gd name="T16" fmla="*/ 800 w 909"/>
                <a:gd name="T17" fmla="*/ 45 h 999"/>
                <a:gd name="T18" fmla="*/ 871 w 909"/>
                <a:gd name="T19" fmla="*/ 73 h 999"/>
                <a:gd name="T20" fmla="*/ 893 w 909"/>
                <a:gd name="T21" fmla="*/ 61 h 999"/>
                <a:gd name="T22" fmla="*/ 883 w 909"/>
                <a:gd name="T23" fmla="*/ 78 h 999"/>
                <a:gd name="T24" fmla="*/ 871 w 909"/>
                <a:gd name="T25" fmla="*/ 89 h 999"/>
                <a:gd name="T26" fmla="*/ 883 w 909"/>
                <a:gd name="T27" fmla="*/ 78 h 999"/>
                <a:gd name="T28" fmla="*/ 871 w 909"/>
                <a:gd name="T29" fmla="*/ 89 h 999"/>
                <a:gd name="T30" fmla="*/ 904 w 909"/>
                <a:gd name="T31" fmla="*/ 127 h 999"/>
                <a:gd name="T32" fmla="*/ 909 w 909"/>
                <a:gd name="T33" fmla="*/ 115 h 999"/>
                <a:gd name="T34" fmla="*/ 904 w 909"/>
                <a:gd name="T35" fmla="*/ 127 h 999"/>
                <a:gd name="T36" fmla="*/ 4 w 909"/>
                <a:gd name="T37" fmla="*/ 578 h 999"/>
                <a:gd name="T38" fmla="*/ 4 w 909"/>
                <a:gd name="T39" fmla="*/ 571 h 999"/>
                <a:gd name="T40" fmla="*/ 4 w 909"/>
                <a:gd name="T41" fmla="*/ 578 h 999"/>
                <a:gd name="T42" fmla="*/ 4 w 909"/>
                <a:gd name="T43" fmla="*/ 595 h 999"/>
                <a:gd name="T44" fmla="*/ 16 w 909"/>
                <a:gd name="T45" fmla="*/ 588 h 999"/>
                <a:gd name="T46" fmla="*/ 4 w 909"/>
                <a:gd name="T47" fmla="*/ 595 h 999"/>
                <a:gd name="T48" fmla="*/ 125 w 909"/>
                <a:gd name="T49" fmla="*/ 645 h 999"/>
                <a:gd name="T50" fmla="*/ 125 w 909"/>
                <a:gd name="T51" fmla="*/ 633 h 999"/>
                <a:gd name="T52" fmla="*/ 125 w 909"/>
                <a:gd name="T53" fmla="*/ 645 h 999"/>
                <a:gd name="T54" fmla="*/ 167 w 909"/>
                <a:gd name="T55" fmla="*/ 666 h 999"/>
                <a:gd name="T56" fmla="*/ 134 w 909"/>
                <a:gd name="T57" fmla="*/ 645 h 999"/>
                <a:gd name="T58" fmla="*/ 163 w 909"/>
                <a:gd name="T59" fmla="*/ 649 h 999"/>
                <a:gd name="T60" fmla="*/ 167 w 909"/>
                <a:gd name="T61" fmla="*/ 666 h 999"/>
                <a:gd name="T62" fmla="*/ 167 w 909"/>
                <a:gd name="T63" fmla="*/ 666 h 999"/>
                <a:gd name="T64" fmla="*/ 904 w 909"/>
                <a:gd name="T65" fmla="*/ 994 h 999"/>
                <a:gd name="T66" fmla="*/ 904 w 909"/>
                <a:gd name="T67" fmla="*/ 999 h 999"/>
                <a:gd name="T68" fmla="*/ 904 w 909"/>
                <a:gd name="T69" fmla="*/ 999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9" h="999">
                  <a:moveTo>
                    <a:pt x="800" y="4"/>
                  </a:moveTo>
                  <a:lnTo>
                    <a:pt x="796" y="0"/>
                  </a:lnTo>
                  <a:lnTo>
                    <a:pt x="812" y="0"/>
                  </a:lnTo>
                  <a:lnTo>
                    <a:pt x="800" y="4"/>
                  </a:lnTo>
                  <a:lnTo>
                    <a:pt x="800" y="4"/>
                  </a:lnTo>
                  <a:lnTo>
                    <a:pt x="800" y="4"/>
                  </a:lnTo>
                  <a:close/>
                  <a:moveTo>
                    <a:pt x="838" y="4"/>
                  </a:moveTo>
                  <a:lnTo>
                    <a:pt x="838" y="0"/>
                  </a:lnTo>
                  <a:lnTo>
                    <a:pt x="850" y="4"/>
                  </a:lnTo>
                  <a:lnTo>
                    <a:pt x="838" y="4"/>
                  </a:lnTo>
                  <a:lnTo>
                    <a:pt x="838" y="4"/>
                  </a:lnTo>
                  <a:lnTo>
                    <a:pt x="838" y="4"/>
                  </a:lnTo>
                  <a:close/>
                  <a:moveTo>
                    <a:pt x="800" y="45"/>
                  </a:moveTo>
                  <a:lnTo>
                    <a:pt x="800" y="37"/>
                  </a:lnTo>
                  <a:lnTo>
                    <a:pt x="812" y="37"/>
                  </a:lnTo>
                  <a:lnTo>
                    <a:pt x="800" y="45"/>
                  </a:lnTo>
                  <a:lnTo>
                    <a:pt x="800" y="45"/>
                  </a:lnTo>
                  <a:lnTo>
                    <a:pt x="800" y="45"/>
                  </a:lnTo>
                  <a:close/>
                  <a:moveTo>
                    <a:pt x="883" y="78"/>
                  </a:moveTo>
                  <a:lnTo>
                    <a:pt x="871" y="73"/>
                  </a:lnTo>
                  <a:lnTo>
                    <a:pt x="883" y="61"/>
                  </a:lnTo>
                  <a:lnTo>
                    <a:pt x="893" y="61"/>
                  </a:lnTo>
                  <a:lnTo>
                    <a:pt x="883" y="78"/>
                  </a:lnTo>
                  <a:lnTo>
                    <a:pt x="883" y="78"/>
                  </a:lnTo>
                  <a:lnTo>
                    <a:pt x="883" y="78"/>
                  </a:lnTo>
                  <a:close/>
                  <a:moveTo>
                    <a:pt x="871" y="89"/>
                  </a:moveTo>
                  <a:lnTo>
                    <a:pt x="871" y="78"/>
                  </a:lnTo>
                  <a:lnTo>
                    <a:pt x="883" y="78"/>
                  </a:lnTo>
                  <a:lnTo>
                    <a:pt x="871" y="89"/>
                  </a:lnTo>
                  <a:lnTo>
                    <a:pt x="871" y="89"/>
                  </a:lnTo>
                  <a:lnTo>
                    <a:pt x="871" y="89"/>
                  </a:lnTo>
                  <a:close/>
                  <a:moveTo>
                    <a:pt x="904" y="127"/>
                  </a:moveTo>
                  <a:lnTo>
                    <a:pt x="904" y="115"/>
                  </a:lnTo>
                  <a:lnTo>
                    <a:pt x="909" y="115"/>
                  </a:lnTo>
                  <a:lnTo>
                    <a:pt x="904" y="127"/>
                  </a:lnTo>
                  <a:lnTo>
                    <a:pt x="904" y="127"/>
                  </a:lnTo>
                  <a:lnTo>
                    <a:pt x="904" y="127"/>
                  </a:lnTo>
                  <a:close/>
                  <a:moveTo>
                    <a:pt x="4" y="578"/>
                  </a:moveTo>
                  <a:lnTo>
                    <a:pt x="0" y="571"/>
                  </a:lnTo>
                  <a:lnTo>
                    <a:pt x="4" y="571"/>
                  </a:lnTo>
                  <a:lnTo>
                    <a:pt x="4" y="578"/>
                  </a:lnTo>
                  <a:lnTo>
                    <a:pt x="4" y="578"/>
                  </a:lnTo>
                  <a:lnTo>
                    <a:pt x="4" y="578"/>
                  </a:lnTo>
                  <a:close/>
                  <a:moveTo>
                    <a:pt x="4" y="595"/>
                  </a:moveTo>
                  <a:lnTo>
                    <a:pt x="4" y="578"/>
                  </a:lnTo>
                  <a:lnTo>
                    <a:pt x="16" y="588"/>
                  </a:lnTo>
                  <a:lnTo>
                    <a:pt x="4" y="595"/>
                  </a:lnTo>
                  <a:lnTo>
                    <a:pt x="4" y="595"/>
                  </a:lnTo>
                  <a:lnTo>
                    <a:pt x="4" y="595"/>
                  </a:lnTo>
                  <a:close/>
                  <a:moveTo>
                    <a:pt x="125" y="645"/>
                  </a:moveTo>
                  <a:lnTo>
                    <a:pt x="113" y="633"/>
                  </a:lnTo>
                  <a:lnTo>
                    <a:pt x="125" y="633"/>
                  </a:lnTo>
                  <a:lnTo>
                    <a:pt x="125" y="645"/>
                  </a:lnTo>
                  <a:lnTo>
                    <a:pt x="125" y="645"/>
                  </a:lnTo>
                  <a:lnTo>
                    <a:pt x="125" y="645"/>
                  </a:lnTo>
                  <a:close/>
                  <a:moveTo>
                    <a:pt x="167" y="666"/>
                  </a:moveTo>
                  <a:lnTo>
                    <a:pt x="134" y="649"/>
                  </a:lnTo>
                  <a:lnTo>
                    <a:pt x="134" y="645"/>
                  </a:lnTo>
                  <a:lnTo>
                    <a:pt x="151" y="645"/>
                  </a:lnTo>
                  <a:lnTo>
                    <a:pt x="163" y="649"/>
                  </a:lnTo>
                  <a:lnTo>
                    <a:pt x="167" y="654"/>
                  </a:lnTo>
                  <a:lnTo>
                    <a:pt x="167" y="666"/>
                  </a:lnTo>
                  <a:lnTo>
                    <a:pt x="167" y="666"/>
                  </a:lnTo>
                  <a:lnTo>
                    <a:pt x="167" y="666"/>
                  </a:lnTo>
                  <a:close/>
                  <a:moveTo>
                    <a:pt x="904" y="999"/>
                  </a:moveTo>
                  <a:lnTo>
                    <a:pt x="904" y="994"/>
                  </a:lnTo>
                  <a:lnTo>
                    <a:pt x="904" y="994"/>
                  </a:lnTo>
                  <a:lnTo>
                    <a:pt x="904" y="999"/>
                  </a:lnTo>
                  <a:lnTo>
                    <a:pt x="904" y="999"/>
                  </a:lnTo>
                  <a:lnTo>
                    <a:pt x="904" y="99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6" name="Freeform 445">
              <a:extLst>
                <a:ext uri="{FF2B5EF4-FFF2-40B4-BE49-F238E27FC236}">
                  <a16:creationId xmlns:a16="http://schemas.microsoft.com/office/drawing/2014/main" id="{99166889-2EA1-4B45-AE1A-7A8EBFD32516}"/>
                </a:ext>
              </a:extLst>
            </p:cNvPr>
            <p:cNvSpPr>
              <a:spLocks noEditPoints="1"/>
            </p:cNvSpPr>
            <p:nvPr/>
          </p:nvSpPr>
          <p:spPr bwMode="gray">
            <a:xfrm>
              <a:off x="13635503" y="2793109"/>
              <a:ext cx="328606" cy="286057"/>
            </a:xfrm>
            <a:custGeom>
              <a:avLst/>
              <a:gdLst>
                <a:gd name="T0" fmla="*/ 557 w 1004"/>
                <a:gd name="T1" fmla="*/ 22 h 874"/>
                <a:gd name="T2" fmla="*/ 626 w 1004"/>
                <a:gd name="T3" fmla="*/ 76 h 874"/>
                <a:gd name="T4" fmla="*/ 675 w 1004"/>
                <a:gd name="T5" fmla="*/ 83 h 874"/>
                <a:gd name="T6" fmla="*/ 718 w 1004"/>
                <a:gd name="T7" fmla="*/ 149 h 874"/>
                <a:gd name="T8" fmla="*/ 789 w 1004"/>
                <a:gd name="T9" fmla="*/ 154 h 874"/>
                <a:gd name="T10" fmla="*/ 848 w 1004"/>
                <a:gd name="T11" fmla="*/ 178 h 874"/>
                <a:gd name="T12" fmla="*/ 874 w 1004"/>
                <a:gd name="T13" fmla="*/ 248 h 874"/>
                <a:gd name="T14" fmla="*/ 864 w 1004"/>
                <a:gd name="T15" fmla="*/ 322 h 874"/>
                <a:gd name="T16" fmla="*/ 827 w 1004"/>
                <a:gd name="T17" fmla="*/ 343 h 874"/>
                <a:gd name="T18" fmla="*/ 767 w 1004"/>
                <a:gd name="T19" fmla="*/ 416 h 874"/>
                <a:gd name="T20" fmla="*/ 751 w 1004"/>
                <a:gd name="T21" fmla="*/ 449 h 874"/>
                <a:gd name="T22" fmla="*/ 805 w 1004"/>
                <a:gd name="T23" fmla="*/ 426 h 874"/>
                <a:gd name="T24" fmla="*/ 810 w 1004"/>
                <a:gd name="T25" fmla="*/ 487 h 874"/>
                <a:gd name="T26" fmla="*/ 805 w 1004"/>
                <a:gd name="T27" fmla="*/ 565 h 874"/>
                <a:gd name="T28" fmla="*/ 848 w 1004"/>
                <a:gd name="T29" fmla="*/ 631 h 874"/>
                <a:gd name="T30" fmla="*/ 860 w 1004"/>
                <a:gd name="T31" fmla="*/ 664 h 874"/>
                <a:gd name="T32" fmla="*/ 793 w 1004"/>
                <a:gd name="T33" fmla="*/ 704 h 874"/>
                <a:gd name="T34" fmla="*/ 767 w 1004"/>
                <a:gd name="T35" fmla="*/ 726 h 874"/>
                <a:gd name="T36" fmla="*/ 713 w 1004"/>
                <a:gd name="T37" fmla="*/ 709 h 874"/>
                <a:gd name="T38" fmla="*/ 685 w 1004"/>
                <a:gd name="T39" fmla="*/ 685 h 874"/>
                <a:gd name="T40" fmla="*/ 664 w 1004"/>
                <a:gd name="T41" fmla="*/ 704 h 874"/>
                <a:gd name="T42" fmla="*/ 567 w 1004"/>
                <a:gd name="T43" fmla="*/ 709 h 874"/>
                <a:gd name="T44" fmla="*/ 557 w 1004"/>
                <a:gd name="T45" fmla="*/ 780 h 874"/>
                <a:gd name="T46" fmla="*/ 470 w 1004"/>
                <a:gd name="T47" fmla="*/ 787 h 874"/>
                <a:gd name="T48" fmla="*/ 427 w 1004"/>
                <a:gd name="T49" fmla="*/ 759 h 874"/>
                <a:gd name="T50" fmla="*/ 307 w 1004"/>
                <a:gd name="T51" fmla="*/ 747 h 874"/>
                <a:gd name="T52" fmla="*/ 231 w 1004"/>
                <a:gd name="T53" fmla="*/ 709 h 874"/>
                <a:gd name="T54" fmla="*/ 248 w 1004"/>
                <a:gd name="T55" fmla="*/ 593 h 874"/>
                <a:gd name="T56" fmla="*/ 255 w 1004"/>
                <a:gd name="T57" fmla="*/ 504 h 874"/>
                <a:gd name="T58" fmla="*/ 248 w 1004"/>
                <a:gd name="T59" fmla="*/ 499 h 874"/>
                <a:gd name="T60" fmla="*/ 189 w 1004"/>
                <a:gd name="T61" fmla="*/ 392 h 874"/>
                <a:gd name="T62" fmla="*/ 210 w 1004"/>
                <a:gd name="T63" fmla="*/ 355 h 874"/>
                <a:gd name="T64" fmla="*/ 156 w 1004"/>
                <a:gd name="T65" fmla="*/ 338 h 874"/>
                <a:gd name="T66" fmla="*/ 134 w 1004"/>
                <a:gd name="T67" fmla="*/ 331 h 874"/>
                <a:gd name="T68" fmla="*/ 118 w 1004"/>
                <a:gd name="T69" fmla="*/ 331 h 874"/>
                <a:gd name="T70" fmla="*/ 28 w 1004"/>
                <a:gd name="T71" fmla="*/ 289 h 874"/>
                <a:gd name="T72" fmla="*/ 16 w 1004"/>
                <a:gd name="T73" fmla="*/ 265 h 874"/>
                <a:gd name="T74" fmla="*/ 0 w 1004"/>
                <a:gd name="T75" fmla="*/ 248 h 874"/>
                <a:gd name="T76" fmla="*/ 87 w 1004"/>
                <a:gd name="T77" fmla="*/ 211 h 874"/>
                <a:gd name="T78" fmla="*/ 193 w 1004"/>
                <a:gd name="T79" fmla="*/ 232 h 874"/>
                <a:gd name="T80" fmla="*/ 243 w 1004"/>
                <a:gd name="T81" fmla="*/ 227 h 874"/>
                <a:gd name="T82" fmla="*/ 201 w 1004"/>
                <a:gd name="T83" fmla="*/ 133 h 874"/>
                <a:gd name="T84" fmla="*/ 255 w 1004"/>
                <a:gd name="T85" fmla="*/ 154 h 874"/>
                <a:gd name="T86" fmla="*/ 340 w 1004"/>
                <a:gd name="T87" fmla="*/ 137 h 874"/>
                <a:gd name="T88" fmla="*/ 449 w 1004"/>
                <a:gd name="T89" fmla="*/ 59 h 874"/>
                <a:gd name="T90" fmla="*/ 512 w 1004"/>
                <a:gd name="T91" fmla="*/ 0 h 874"/>
                <a:gd name="T92" fmla="*/ 118 w 1004"/>
                <a:gd name="T93" fmla="*/ 355 h 874"/>
                <a:gd name="T94" fmla="*/ 231 w 1004"/>
                <a:gd name="T95" fmla="*/ 466 h 874"/>
                <a:gd name="T96" fmla="*/ 248 w 1004"/>
                <a:gd name="T97" fmla="*/ 487 h 874"/>
                <a:gd name="T98" fmla="*/ 945 w 1004"/>
                <a:gd name="T99" fmla="*/ 796 h 874"/>
                <a:gd name="T100" fmla="*/ 982 w 1004"/>
                <a:gd name="T101" fmla="*/ 759 h 874"/>
                <a:gd name="T102" fmla="*/ 999 w 1004"/>
                <a:gd name="T103" fmla="*/ 820 h 874"/>
                <a:gd name="T104" fmla="*/ 956 w 1004"/>
                <a:gd name="T105" fmla="*/ 848 h 874"/>
                <a:gd name="T106" fmla="*/ 945 w 1004"/>
                <a:gd name="T107" fmla="*/ 820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4" h="874">
                  <a:moveTo>
                    <a:pt x="512" y="0"/>
                  </a:moveTo>
                  <a:lnTo>
                    <a:pt x="519" y="22"/>
                  </a:lnTo>
                  <a:lnTo>
                    <a:pt x="534" y="26"/>
                  </a:lnTo>
                  <a:lnTo>
                    <a:pt x="557" y="22"/>
                  </a:lnTo>
                  <a:lnTo>
                    <a:pt x="567" y="55"/>
                  </a:lnTo>
                  <a:lnTo>
                    <a:pt x="588" y="55"/>
                  </a:lnTo>
                  <a:lnTo>
                    <a:pt x="595" y="67"/>
                  </a:lnTo>
                  <a:lnTo>
                    <a:pt x="626" y="76"/>
                  </a:lnTo>
                  <a:lnTo>
                    <a:pt x="626" y="100"/>
                  </a:lnTo>
                  <a:lnTo>
                    <a:pt x="647" y="111"/>
                  </a:lnTo>
                  <a:lnTo>
                    <a:pt x="675" y="83"/>
                  </a:lnTo>
                  <a:lnTo>
                    <a:pt x="675" y="83"/>
                  </a:lnTo>
                  <a:lnTo>
                    <a:pt x="675" y="100"/>
                  </a:lnTo>
                  <a:lnTo>
                    <a:pt x="675" y="116"/>
                  </a:lnTo>
                  <a:lnTo>
                    <a:pt x="701" y="133"/>
                  </a:lnTo>
                  <a:lnTo>
                    <a:pt x="718" y="149"/>
                  </a:lnTo>
                  <a:lnTo>
                    <a:pt x="739" y="137"/>
                  </a:lnTo>
                  <a:lnTo>
                    <a:pt x="751" y="149"/>
                  </a:lnTo>
                  <a:lnTo>
                    <a:pt x="784" y="149"/>
                  </a:lnTo>
                  <a:lnTo>
                    <a:pt x="789" y="154"/>
                  </a:lnTo>
                  <a:lnTo>
                    <a:pt x="805" y="178"/>
                  </a:lnTo>
                  <a:lnTo>
                    <a:pt x="822" y="170"/>
                  </a:lnTo>
                  <a:lnTo>
                    <a:pt x="843" y="178"/>
                  </a:lnTo>
                  <a:lnTo>
                    <a:pt x="848" y="178"/>
                  </a:lnTo>
                  <a:lnTo>
                    <a:pt x="874" y="187"/>
                  </a:lnTo>
                  <a:lnTo>
                    <a:pt x="912" y="194"/>
                  </a:lnTo>
                  <a:lnTo>
                    <a:pt x="881" y="232"/>
                  </a:lnTo>
                  <a:lnTo>
                    <a:pt x="874" y="248"/>
                  </a:lnTo>
                  <a:lnTo>
                    <a:pt x="864" y="277"/>
                  </a:lnTo>
                  <a:lnTo>
                    <a:pt x="864" y="289"/>
                  </a:lnTo>
                  <a:lnTo>
                    <a:pt x="860" y="315"/>
                  </a:lnTo>
                  <a:lnTo>
                    <a:pt x="864" y="322"/>
                  </a:lnTo>
                  <a:lnTo>
                    <a:pt x="848" y="338"/>
                  </a:lnTo>
                  <a:lnTo>
                    <a:pt x="827" y="331"/>
                  </a:lnTo>
                  <a:lnTo>
                    <a:pt x="822" y="343"/>
                  </a:lnTo>
                  <a:lnTo>
                    <a:pt x="827" y="343"/>
                  </a:lnTo>
                  <a:lnTo>
                    <a:pt x="822" y="355"/>
                  </a:lnTo>
                  <a:lnTo>
                    <a:pt x="789" y="392"/>
                  </a:lnTo>
                  <a:lnTo>
                    <a:pt x="784" y="400"/>
                  </a:lnTo>
                  <a:lnTo>
                    <a:pt x="767" y="416"/>
                  </a:lnTo>
                  <a:lnTo>
                    <a:pt x="756" y="426"/>
                  </a:lnTo>
                  <a:lnTo>
                    <a:pt x="767" y="433"/>
                  </a:lnTo>
                  <a:lnTo>
                    <a:pt x="767" y="442"/>
                  </a:lnTo>
                  <a:lnTo>
                    <a:pt x="751" y="449"/>
                  </a:lnTo>
                  <a:lnTo>
                    <a:pt x="756" y="454"/>
                  </a:lnTo>
                  <a:lnTo>
                    <a:pt x="772" y="449"/>
                  </a:lnTo>
                  <a:lnTo>
                    <a:pt x="772" y="433"/>
                  </a:lnTo>
                  <a:lnTo>
                    <a:pt x="805" y="426"/>
                  </a:lnTo>
                  <a:lnTo>
                    <a:pt x="810" y="433"/>
                  </a:lnTo>
                  <a:lnTo>
                    <a:pt x="810" y="454"/>
                  </a:lnTo>
                  <a:lnTo>
                    <a:pt x="827" y="470"/>
                  </a:lnTo>
                  <a:lnTo>
                    <a:pt x="810" y="487"/>
                  </a:lnTo>
                  <a:lnTo>
                    <a:pt x="836" y="520"/>
                  </a:lnTo>
                  <a:lnTo>
                    <a:pt x="836" y="537"/>
                  </a:lnTo>
                  <a:lnTo>
                    <a:pt x="793" y="544"/>
                  </a:lnTo>
                  <a:lnTo>
                    <a:pt x="805" y="565"/>
                  </a:lnTo>
                  <a:lnTo>
                    <a:pt x="827" y="565"/>
                  </a:lnTo>
                  <a:lnTo>
                    <a:pt x="810" y="598"/>
                  </a:lnTo>
                  <a:lnTo>
                    <a:pt x="822" y="619"/>
                  </a:lnTo>
                  <a:lnTo>
                    <a:pt x="848" y="631"/>
                  </a:lnTo>
                  <a:lnTo>
                    <a:pt x="874" y="631"/>
                  </a:lnTo>
                  <a:lnTo>
                    <a:pt x="874" y="636"/>
                  </a:lnTo>
                  <a:lnTo>
                    <a:pt x="860" y="652"/>
                  </a:lnTo>
                  <a:lnTo>
                    <a:pt x="860" y="664"/>
                  </a:lnTo>
                  <a:lnTo>
                    <a:pt x="860" y="669"/>
                  </a:lnTo>
                  <a:lnTo>
                    <a:pt x="848" y="669"/>
                  </a:lnTo>
                  <a:lnTo>
                    <a:pt x="836" y="676"/>
                  </a:lnTo>
                  <a:lnTo>
                    <a:pt x="793" y="704"/>
                  </a:lnTo>
                  <a:lnTo>
                    <a:pt x="805" y="709"/>
                  </a:lnTo>
                  <a:lnTo>
                    <a:pt x="793" y="721"/>
                  </a:lnTo>
                  <a:lnTo>
                    <a:pt x="767" y="721"/>
                  </a:lnTo>
                  <a:lnTo>
                    <a:pt x="767" y="726"/>
                  </a:lnTo>
                  <a:lnTo>
                    <a:pt x="751" y="726"/>
                  </a:lnTo>
                  <a:lnTo>
                    <a:pt x="739" y="726"/>
                  </a:lnTo>
                  <a:lnTo>
                    <a:pt x="734" y="721"/>
                  </a:lnTo>
                  <a:lnTo>
                    <a:pt x="713" y="709"/>
                  </a:lnTo>
                  <a:lnTo>
                    <a:pt x="701" y="704"/>
                  </a:lnTo>
                  <a:lnTo>
                    <a:pt x="685" y="704"/>
                  </a:lnTo>
                  <a:lnTo>
                    <a:pt x="701" y="692"/>
                  </a:lnTo>
                  <a:lnTo>
                    <a:pt x="685" y="685"/>
                  </a:lnTo>
                  <a:lnTo>
                    <a:pt x="685" y="692"/>
                  </a:lnTo>
                  <a:lnTo>
                    <a:pt x="675" y="704"/>
                  </a:lnTo>
                  <a:lnTo>
                    <a:pt x="664" y="676"/>
                  </a:lnTo>
                  <a:lnTo>
                    <a:pt x="664" y="704"/>
                  </a:lnTo>
                  <a:lnTo>
                    <a:pt x="659" y="704"/>
                  </a:lnTo>
                  <a:lnTo>
                    <a:pt x="647" y="692"/>
                  </a:lnTo>
                  <a:lnTo>
                    <a:pt x="609" y="685"/>
                  </a:lnTo>
                  <a:lnTo>
                    <a:pt x="567" y="709"/>
                  </a:lnTo>
                  <a:lnTo>
                    <a:pt x="550" y="726"/>
                  </a:lnTo>
                  <a:lnTo>
                    <a:pt x="541" y="747"/>
                  </a:lnTo>
                  <a:lnTo>
                    <a:pt x="550" y="775"/>
                  </a:lnTo>
                  <a:lnTo>
                    <a:pt x="557" y="780"/>
                  </a:lnTo>
                  <a:lnTo>
                    <a:pt x="541" y="780"/>
                  </a:lnTo>
                  <a:lnTo>
                    <a:pt x="512" y="787"/>
                  </a:lnTo>
                  <a:lnTo>
                    <a:pt x="496" y="780"/>
                  </a:lnTo>
                  <a:lnTo>
                    <a:pt x="470" y="787"/>
                  </a:lnTo>
                  <a:lnTo>
                    <a:pt x="458" y="775"/>
                  </a:lnTo>
                  <a:lnTo>
                    <a:pt x="458" y="763"/>
                  </a:lnTo>
                  <a:lnTo>
                    <a:pt x="432" y="763"/>
                  </a:lnTo>
                  <a:lnTo>
                    <a:pt x="427" y="759"/>
                  </a:lnTo>
                  <a:lnTo>
                    <a:pt x="390" y="742"/>
                  </a:lnTo>
                  <a:lnTo>
                    <a:pt x="378" y="759"/>
                  </a:lnTo>
                  <a:lnTo>
                    <a:pt x="335" y="759"/>
                  </a:lnTo>
                  <a:lnTo>
                    <a:pt x="307" y="747"/>
                  </a:lnTo>
                  <a:lnTo>
                    <a:pt x="297" y="747"/>
                  </a:lnTo>
                  <a:lnTo>
                    <a:pt x="281" y="730"/>
                  </a:lnTo>
                  <a:lnTo>
                    <a:pt x="231" y="726"/>
                  </a:lnTo>
                  <a:lnTo>
                    <a:pt x="231" y="709"/>
                  </a:lnTo>
                  <a:lnTo>
                    <a:pt x="210" y="704"/>
                  </a:lnTo>
                  <a:lnTo>
                    <a:pt x="227" y="692"/>
                  </a:lnTo>
                  <a:lnTo>
                    <a:pt x="231" y="676"/>
                  </a:lnTo>
                  <a:lnTo>
                    <a:pt x="248" y="593"/>
                  </a:lnTo>
                  <a:lnTo>
                    <a:pt x="264" y="581"/>
                  </a:lnTo>
                  <a:lnTo>
                    <a:pt x="248" y="577"/>
                  </a:lnTo>
                  <a:lnTo>
                    <a:pt x="248" y="581"/>
                  </a:lnTo>
                  <a:lnTo>
                    <a:pt x="255" y="504"/>
                  </a:lnTo>
                  <a:lnTo>
                    <a:pt x="281" y="525"/>
                  </a:lnTo>
                  <a:lnTo>
                    <a:pt x="297" y="565"/>
                  </a:lnTo>
                  <a:lnTo>
                    <a:pt x="281" y="508"/>
                  </a:lnTo>
                  <a:lnTo>
                    <a:pt x="248" y="499"/>
                  </a:lnTo>
                  <a:lnTo>
                    <a:pt x="255" y="470"/>
                  </a:lnTo>
                  <a:lnTo>
                    <a:pt x="255" y="442"/>
                  </a:lnTo>
                  <a:lnTo>
                    <a:pt x="210" y="426"/>
                  </a:lnTo>
                  <a:lnTo>
                    <a:pt x="189" y="392"/>
                  </a:lnTo>
                  <a:lnTo>
                    <a:pt x="193" y="371"/>
                  </a:lnTo>
                  <a:lnTo>
                    <a:pt x="179" y="359"/>
                  </a:lnTo>
                  <a:lnTo>
                    <a:pt x="189" y="355"/>
                  </a:lnTo>
                  <a:lnTo>
                    <a:pt x="210" y="355"/>
                  </a:lnTo>
                  <a:lnTo>
                    <a:pt x="193" y="343"/>
                  </a:lnTo>
                  <a:lnTo>
                    <a:pt x="172" y="355"/>
                  </a:lnTo>
                  <a:lnTo>
                    <a:pt x="156" y="343"/>
                  </a:lnTo>
                  <a:lnTo>
                    <a:pt x="156" y="338"/>
                  </a:lnTo>
                  <a:lnTo>
                    <a:pt x="163" y="338"/>
                  </a:lnTo>
                  <a:lnTo>
                    <a:pt x="156" y="331"/>
                  </a:lnTo>
                  <a:lnTo>
                    <a:pt x="172" y="331"/>
                  </a:lnTo>
                  <a:lnTo>
                    <a:pt x="134" y="331"/>
                  </a:lnTo>
                  <a:lnTo>
                    <a:pt x="142" y="331"/>
                  </a:lnTo>
                  <a:lnTo>
                    <a:pt x="142" y="322"/>
                  </a:lnTo>
                  <a:lnTo>
                    <a:pt x="118" y="322"/>
                  </a:lnTo>
                  <a:lnTo>
                    <a:pt x="118" y="331"/>
                  </a:lnTo>
                  <a:lnTo>
                    <a:pt x="108" y="315"/>
                  </a:lnTo>
                  <a:lnTo>
                    <a:pt x="54" y="298"/>
                  </a:lnTo>
                  <a:lnTo>
                    <a:pt x="28" y="305"/>
                  </a:lnTo>
                  <a:lnTo>
                    <a:pt x="28" y="289"/>
                  </a:lnTo>
                  <a:lnTo>
                    <a:pt x="0" y="281"/>
                  </a:lnTo>
                  <a:lnTo>
                    <a:pt x="33" y="277"/>
                  </a:lnTo>
                  <a:lnTo>
                    <a:pt x="28" y="265"/>
                  </a:lnTo>
                  <a:lnTo>
                    <a:pt x="16" y="265"/>
                  </a:lnTo>
                  <a:lnTo>
                    <a:pt x="12" y="260"/>
                  </a:lnTo>
                  <a:lnTo>
                    <a:pt x="16" y="248"/>
                  </a:lnTo>
                  <a:lnTo>
                    <a:pt x="38" y="260"/>
                  </a:lnTo>
                  <a:lnTo>
                    <a:pt x="0" y="248"/>
                  </a:lnTo>
                  <a:lnTo>
                    <a:pt x="0" y="232"/>
                  </a:lnTo>
                  <a:lnTo>
                    <a:pt x="28" y="227"/>
                  </a:lnTo>
                  <a:lnTo>
                    <a:pt x="80" y="220"/>
                  </a:lnTo>
                  <a:lnTo>
                    <a:pt x="87" y="211"/>
                  </a:lnTo>
                  <a:lnTo>
                    <a:pt x="108" y="204"/>
                  </a:lnTo>
                  <a:lnTo>
                    <a:pt x="146" y="244"/>
                  </a:lnTo>
                  <a:lnTo>
                    <a:pt x="172" y="220"/>
                  </a:lnTo>
                  <a:lnTo>
                    <a:pt x="193" y="232"/>
                  </a:lnTo>
                  <a:lnTo>
                    <a:pt x="193" y="220"/>
                  </a:lnTo>
                  <a:lnTo>
                    <a:pt x="201" y="220"/>
                  </a:lnTo>
                  <a:lnTo>
                    <a:pt x="201" y="227"/>
                  </a:lnTo>
                  <a:lnTo>
                    <a:pt x="243" y="227"/>
                  </a:lnTo>
                  <a:lnTo>
                    <a:pt x="227" y="220"/>
                  </a:lnTo>
                  <a:lnTo>
                    <a:pt x="217" y="170"/>
                  </a:lnTo>
                  <a:lnTo>
                    <a:pt x="210" y="154"/>
                  </a:lnTo>
                  <a:lnTo>
                    <a:pt x="201" y="133"/>
                  </a:lnTo>
                  <a:lnTo>
                    <a:pt x="193" y="121"/>
                  </a:lnTo>
                  <a:lnTo>
                    <a:pt x="248" y="133"/>
                  </a:lnTo>
                  <a:lnTo>
                    <a:pt x="243" y="137"/>
                  </a:lnTo>
                  <a:lnTo>
                    <a:pt x="255" y="154"/>
                  </a:lnTo>
                  <a:lnTo>
                    <a:pt x="319" y="166"/>
                  </a:lnTo>
                  <a:lnTo>
                    <a:pt x="361" y="149"/>
                  </a:lnTo>
                  <a:lnTo>
                    <a:pt x="361" y="149"/>
                  </a:lnTo>
                  <a:lnTo>
                    <a:pt x="340" y="137"/>
                  </a:lnTo>
                  <a:lnTo>
                    <a:pt x="352" y="121"/>
                  </a:lnTo>
                  <a:lnTo>
                    <a:pt x="411" y="111"/>
                  </a:lnTo>
                  <a:lnTo>
                    <a:pt x="432" y="83"/>
                  </a:lnTo>
                  <a:lnTo>
                    <a:pt x="449" y="59"/>
                  </a:lnTo>
                  <a:lnTo>
                    <a:pt x="449" y="10"/>
                  </a:lnTo>
                  <a:lnTo>
                    <a:pt x="512" y="0"/>
                  </a:lnTo>
                  <a:lnTo>
                    <a:pt x="512" y="0"/>
                  </a:lnTo>
                  <a:lnTo>
                    <a:pt x="512" y="0"/>
                  </a:lnTo>
                  <a:close/>
                  <a:moveTo>
                    <a:pt x="118" y="355"/>
                  </a:moveTo>
                  <a:lnTo>
                    <a:pt x="108" y="343"/>
                  </a:lnTo>
                  <a:lnTo>
                    <a:pt x="104" y="338"/>
                  </a:lnTo>
                  <a:lnTo>
                    <a:pt x="118" y="355"/>
                  </a:lnTo>
                  <a:lnTo>
                    <a:pt x="118" y="355"/>
                  </a:lnTo>
                  <a:lnTo>
                    <a:pt x="118" y="355"/>
                  </a:lnTo>
                  <a:close/>
                  <a:moveTo>
                    <a:pt x="248" y="487"/>
                  </a:moveTo>
                  <a:lnTo>
                    <a:pt x="231" y="466"/>
                  </a:lnTo>
                  <a:lnTo>
                    <a:pt x="248" y="470"/>
                  </a:lnTo>
                  <a:lnTo>
                    <a:pt x="248" y="487"/>
                  </a:lnTo>
                  <a:lnTo>
                    <a:pt x="248" y="487"/>
                  </a:lnTo>
                  <a:lnTo>
                    <a:pt x="248" y="487"/>
                  </a:lnTo>
                  <a:close/>
                  <a:moveTo>
                    <a:pt x="945" y="820"/>
                  </a:moveTo>
                  <a:lnTo>
                    <a:pt x="945" y="813"/>
                  </a:lnTo>
                  <a:lnTo>
                    <a:pt x="935" y="796"/>
                  </a:lnTo>
                  <a:lnTo>
                    <a:pt x="945" y="796"/>
                  </a:lnTo>
                  <a:lnTo>
                    <a:pt x="935" y="787"/>
                  </a:lnTo>
                  <a:lnTo>
                    <a:pt x="945" y="775"/>
                  </a:lnTo>
                  <a:lnTo>
                    <a:pt x="973" y="759"/>
                  </a:lnTo>
                  <a:lnTo>
                    <a:pt x="982" y="759"/>
                  </a:lnTo>
                  <a:lnTo>
                    <a:pt x="987" y="730"/>
                  </a:lnTo>
                  <a:lnTo>
                    <a:pt x="999" y="730"/>
                  </a:lnTo>
                  <a:lnTo>
                    <a:pt x="1004" y="803"/>
                  </a:lnTo>
                  <a:lnTo>
                    <a:pt x="999" y="820"/>
                  </a:lnTo>
                  <a:lnTo>
                    <a:pt x="987" y="848"/>
                  </a:lnTo>
                  <a:lnTo>
                    <a:pt x="982" y="874"/>
                  </a:lnTo>
                  <a:lnTo>
                    <a:pt x="949" y="858"/>
                  </a:lnTo>
                  <a:lnTo>
                    <a:pt x="956" y="848"/>
                  </a:lnTo>
                  <a:lnTo>
                    <a:pt x="945" y="848"/>
                  </a:lnTo>
                  <a:lnTo>
                    <a:pt x="949" y="829"/>
                  </a:lnTo>
                  <a:lnTo>
                    <a:pt x="935" y="829"/>
                  </a:lnTo>
                  <a:lnTo>
                    <a:pt x="945" y="820"/>
                  </a:lnTo>
                  <a:lnTo>
                    <a:pt x="945" y="820"/>
                  </a:lnTo>
                  <a:lnTo>
                    <a:pt x="945" y="82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7" name="Freeform 446">
              <a:extLst>
                <a:ext uri="{FF2B5EF4-FFF2-40B4-BE49-F238E27FC236}">
                  <a16:creationId xmlns:a16="http://schemas.microsoft.com/office/drawing/2014/main" id="{B01ED9F9-55BD-4FA4-B8A9-67B12F817056}"/>
                </a:ext>
              </a:extLst>
            </p:cNvPr>
            <p:cNvSpPr>
              <a:spLocks noEditPoints="1"/>
            </p:cNvSpPr>
            <p:nvPr/>
          </p:nvSpPr>
          <p:spPr bwMode="gray">
            <a:xfrm>
              <a:off x="14895595" y="5051456"/>
              <a:ext cx="629391" cy="342680"/>
            </a:xfrm>
            <a:custGeom>
              <a:avLst/>
              <a:gdLst>
                <a:gd name="T0" fmla="*/ 1916 w 1923"/>
                <a:gd name="T1" fmla="*/ 0 h 1047"/>
                <a:gd name="T2" fmla="*/ 1923 w 1923"/>
                <a:gd name="T3" fmla="*/ 12 h 1047"/>
                <a:gd name="T4" fmla="*/ 1923 w 1923"/>
                <a:gd name="T5" fmla="*/ 12 h 1047"/>
                <a:gd name="T6" fmla="*/ 0 w 1923"/>
                <a:gd name="T7" fmla="*/ 714 h 1047"/>
                <a:gd name="T8" fmla="*/ 10 w 1923"/>
                <a:gd name="T9" fmla="*/ 714 h 1047"/>
                <a:gd name="T10" fmla="*/ 10 w 1923"/>
                <a:gd name="T11" fmla="*/ 714 h 1047"/>
                <a:gd name="T12" fmla="*/ 106 w 1923"/>
                <a:gd name="T13" fmla="*/ 737 h 1047"/>
                <a:gd name="T14" fmla="*/ 118 w 1923"/>
                <a:gd name="T15" fmla="*/ 747 h 1047"/>
                <a:gd name="T16" fmla="*/ 118 w 1923"/>
                <a:gd name="T17" fmla="*/ 747 h 1047"/>
                <a:gd name="T18" fmla="*/ 139 w 1923"/>
                <a:gd name="T19" fmla="*/ 747 h 1047"/>
                <a:gd name="T20" fmla="*/ 156 w 1923"/>
                <a:gd name="T21" fmla="*/ 747 h 1047"/>
                <a:gd name="T22" fmla="*/ 139 w 1923"/>
                <a:gd name="T23" fmla="*/ 747 h 1047"/>
                <a:gd name="T24" fmla="*/ 1339 w 1923"/>
                <a:gd name="T25" fmla="*/ 992 h 1047"/>
                <a:gd name="T26" fmla="*/ 1365 w 1923"/>
                <a:gd name="T27" fmla="*/ 992 h 1047"/>
                <a:gd name="T28" fmla="*/ 1361 w 1923"/>
                <a:gd name="T29" fmla="*/ 992 h 1047"/>
                <a:gd name="T30" fmla="*/ 1377 w 1923"/>
                <a:gd name="T31" fmla="*/ 1009 h 1047"/>
                <a:gd name="T32" fmla="*/ 1429 w 1923"/>
                <a:gd name="T33" fmla="*/ 992 h 1047"/>
                <a:gd name="T34" fmla="*/ 1420 w 1923"/>
                <a:gd name="T35" fmla="*/ 1014 h 1047"/>
                <a:gd name="T36" fmla="*/ 1429 w 1923"/>
                <a:gd name="T37" fmla="*/ 1025 h 1047"/>
                <a:gd name="T38" fmla="*/ 1382 w 1923"/>
                <a:gd name="T39" fmla="*/ 1014 h 1047"/>
                <a:gd name="T40" fmla="*/ 1377 w 1923"/>
                <a:gd name="T41" fmla="*/ 1014 h 1047"/>
                <a:gd name="T42" fmla="*/ 1415 w 1923"/>
                <a:gd name="T43" fmla="*/ 1030 h 1047"/>
                <a:gd name="T44" fmla="*/ 1382 w 1923"/>
                <a:gd name="T45" fmla="*/ 1047 h 1047"/>
                <a:gd name="T46" fmla="*/ 1377 w 1923"/>
                <a:gd name="T47" fmla="*/ 1042 h 1047"/>
                <a:gd name="T48" fmla="*/ 1328 w 1923"/>
                <a:gd name="T49" fmla="*/ 1030 h 1047"/>
                <a:gd name="T50" fmla="*/ 1306 w 1923"/>
                <a:gd name="T51" fmla="*/ 1047 h 1047"/>
                <a:gd name="T52" fmla="*/ 1306 w 1923"/>
                <a:gd name="T53" fmla="*/ 985 h 1047"/>
                <a:gd name="T54" fmla="*/ 1328 w 1923"/>
                <a:gd name="T55" fmla="*/ 952 h 1047"/>
                <a:gd name="T56" fmla="*/ 1339 w 1923"/>
                <a:gd name="T57" fmla="*/ 959 h 1047"/>
                <a:gd name="T58" fmla="*/ 1328 w 1923"/>
                <a:gd name="T59" fmla="*/ 992 h 1047"/>
                <a:gd name="T60" fmla="*/ 1339 w 1923"/>
                <a:gd name="T61" fmla="*/ 992 h 1047"/>
                <a:gd name="T62" fmla="*/ 1339 w 1923"/>
                <a:gd name="T63" fmla="*/ 992 h 1047"/>
                <a:gd name="T64" fmla="*/ 1339 w 1923"/>
                <a:gd name="T65" fmla="*/ 976 h 1047"/>
                <a:gd name="T66" fmla="*/ 1349 w 1923"/>
                <a:gd name="T67" fmla="*/ 976 h 1047"/>
                <a:gd name="T68" fmla="*/ 1339 w 1923"/>
                <a:gd name="T69" fmla="*/ 992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3" h="1047">
                  <a:moveTo>
                    <a:pt x="1923" y="12"/>
                  </a:moveTo>
                  <a:lnTo>
                    <a:pt x="1916" y="0"/>
                  </a:lnTo>
                  <a:lnTo>
                    <a:pt x="1923" y="0"/>
                  </a:lnTo>
                  <a:lnTo>
                    <a:pt x="1923" y="12"/>
                  </a:lnTo>
                  <a:lnTo>
                    <a:pt x="1923" y="12"/>
                  </a:lnTo>
                  <a:lnTo>
                    <a:pt x="1923" y="12"/>
                  </a:lnTo>
                  <a:close/>
                  <a:moveTo>
                    <a:pt x="10" y="714"/>
                  </a:moveTo>
                  <a:lnTo>
                    <a:pt x="0" y="714"/>
                  </a:lnTo>
                  <a:lnTo>
                    <a:pt x="10" y="714"/>
                  </a:lnTo>
                  <a:lnTo>
                    <a:pt x="10" y="714"/>
                  </a:lnTo>
                  <a:lnTo>
                    <a:pt x="10" y="714"/>
                  </a:lnTo>
                  <a:lnTo>
                    <a:pt x="10" y="714"/>
                  </a:lnTo>
                  <a:close/>
                  <a:moveTo>
                    <a:pt x="118" y="747"/>
                  </a:moveTo>
                  <a:lnTo>
                    <a:pt x="106" y="737"/>
                  </a:lnTo>
                  <a:lnTo>
                    <a:pt x="118" y="737"/>
                  </a:lnTo>
                  <a:lnTo>
                    <a:pt x="118" y="747"/>
                  </a:lnTo>
                  <a:lnTo>
                    <a:pt x="118" y="747"/>
                  </a:lnTo>
                  <a:lnTo>
                    <a:pt x="118" y="747"/>
                  </a:lnTo>
                  <a:lnTo>
                    <a:pt x="118" y="747"/>
                  </a:lnTo>
                  <a:close/>
                  <a:moveTo>
                    <a:pt x="139" y="747"/>
                  </a:moveTo>
                  <a:lnTo>
                    <a:pt x="139" y="747"/>
                  </a:lnTo>
                  <a:lnTo>
                    <a:pt x="156" y="747"/>
                  </a:lnTo>
                  <a:lnTo>
                    <a:pt x="139" y="747"/>
                  </a:lnTo>
                  <a:lnTo>
                    <a:pt x="139" y="747"/>
                  </a:lnTo>
                  <a:lnTo>
                    <a:pt x="139" y="747"/>
                  </a:lnTo>
                  <a:close/>
                  <a:moveTo>
                    <a:pt x="1339" y="992"/>
                  </a:moveTo>
                  <a:lnTo>
                    <a:pt x="1365" y="976"/>
                  </a:lnTo>
                  <a:lnTo>
                    <a:pt x="1365" y="992"/>
                  </a:lnTo>
                  <a:lnTo>
                    <a:pt x="1344" y="1002"/>
                  </a:lnTo>
                  <a:lnTo>
                    <a:pt x="1361" y="992"/>
                  </a:lnTo>
                  <a:lnTo>
                    <a:pt x="1361" y="1009"/>
                  </a:lnTo>
                  <a:lnTo>
                    <a:pt x="1377" y="1009"/>
                  </a:lnTo>
                  <a:lnTo>
                    <a:pt x="1415" y="985"/>
                  </a:lnTo>
                  <a:lnTo>
                    <a:pt x="1429" y="992"/>
                  </a:lnTo>
                  <a:lnTo>
                    <a:pt x="1436" y="1002"/>
                  </a:lnTo>
                  <a:lnTo>
                    <a:pt x="1420" y="1014"/>
                  </a:lnTo>
                  <a:lnTo>
                    <a:pt x="1415" y="1014"/>
                  </a:lnTo>
                  <a:lnTo>
                    <a:pt x="1429" y="1025"/>
                  </a:lnTo>
                  <a:lnTo>
                    <a:pt x="1403" y="1014"/>
                  </a:lnTo>
                  <a:lnTo>
                    <a:pt x="1382" y="1014"/>
                  </a:lnTo>
                  <a:lnTo>
                    <a:pt x="1391" y="1025"/>
                  </a:lnTo>
                  <a:lnTo>
                    <a:pt x="1377" y="1014"/>
                  </a:lnTo>
                  <a:lnTo>
                    <a:pt x="1382" y="1030"/>
                  </a:lnTo>
                  <a:lnTo>
                    <a:pt x="1415" y="1030"/>
                  </a:lnTo>
                  <a:lnTo>
                    <a:pt x="1415" y="1047"/>
                  </a:lnTo>
                  <a:lnTo>
                    <a:pt x="1382" y="1047"/>
                  </a:lnTo>
                  <a:lnTo>
                    <a:pt x="1365" y="1025"/>
                  </a:lnTo>
                  <a:lnTo>
                    <a:pt x="1377" y="1042"/>
                  </a:lnTo>
                  <a:lnTo>
                    <a:pt x="1344" y="1030"/>
                  </a:lnTo>
                  <a:lnTo>
                    <a:pt x="1328" y="1030"/>
                  </a:lnTo>
                  <a:lnTo>
                    <a:pt x="1328" y="1047"/>
                  </a:lnTo>
                  <a:lnTo>
                    <a:pt x="1306" y="1047"/>
                  </a:lnTo>
                  <a:lnTo>
                    <a:pt x="1311" y="1014"/>
                  </a:lnTo>
                  <a:lnTo>
                    <a:pt x="1306" y="985"/>
                  </a:lnTo>
                  <a:lnTo>
                    <a:pt x="1323" y="952"/>
                  </a:lnTo>
                  <a:lnTo>
                    <a:pt x="1328" y="952"/>
                  </a:lnTo>
                  <a:lnTo>
                    <a:pt x="1323" y="969"/>
                  </a:lnTo>
                  <a:lnTo>
                    <a:pt x="1339" y="959"/>
                  </a:lnTo>
                  <a:lnTo>
                    <a:pt x="1323" y="992"/>
                  </a:lnTo>
                  <a:lnTo>
                    <a:pt x="1328" y="992"/>
                  </a:lnTo>
                  <a:lnTo>
                    <a:pt x="1328" y="976"/>
                  </a:lnTo>
                  <a:lnTo>
                    <a:pt x="1339" y="992"/>
                  </a:lnTo>
                  <a:lnTo>
                    <a:pt x="1339" y="992"/>
                  </a:lnTo>
                  <a:lnTo>
                    <a:pt x="1339" y="992"/>
                  </a:lnTo>
                  <a:close/>
                  <a:moveTo>
                    <a:pt x="1339" y="992"/>
                  </a:moveTo>
                  <a:lnTo>
                    <a:pt x="1339" y="976"/>
                  </a:lnTo>
                  <a:lnTo>
                    <a:pt x="1349" y="969"/>
                  </a:lnTo>
                  <a:lnTo>
                    <a:pt x="1349" y="976"/>
                  </a:lnTo>
                  <a:lnTo>
                    <a:pt x="1339" y="992"/>
                  </a:lnTo>
                  <a:lnTo>
                    <a:pt x="1339" y="992"/>
                  </a:lnTo>
                  <a:lnTo>
                    <a:pt x="1339" y="992"/>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8" name="Freeform 447">
              <a:extLst>
                <a:ext uri="{FF2B5EF4-FFF2-40B4-BE49-F238E27FC236}">
                  <a16:creationId xmlns:a16="http://schemas.microsoft.com/office/drawing/2014/main" id="{0758FC1D-BA0A-4F3D-A7D4-20E8FA996AA7}"/>
                </a:ext>
              </a:extLst>
            </p:cNvPr>
            <p:cNvSpPr>
              <a:spLocks/>
            </p:cNvSpPr>
            <p:nvPr/>
          </p:nvSpPr>
          <p:spPr bwMode="gray">
            <a:xfrm>
              <a:off x="13356974" y="3785800"/>
              <a:ext cx="72005" cy="18656"/>
            </a:xfrm>
            <a:custGeom>
              <a:avLst/>
              <a:gdLst>
                <a:gd name="T0" fmla="*/ 17 w 220"/>
                <a:gd name="T1" fmla="*/ 17 h 57"/>
                <a:gd name="T2" fmla="*/ 95 w 220"/>
                <a:gd name="T3" fmla="*/ 17 h 57"/>
                <a:gd name="T4" fmla="*/ 104 w 220"/>
                <a:gd name="T5" fmla="*/ 5 h 57"/>
                <a:gd name="T6" fmla="*/ 128 w 220"/>
                <a:gd name="T7" fmla="*/ 0 h 57"/>
                <a:gd name="T8" fmla="*/ 144 w 220"/>
                <a:gd name="T9" fmla="*/ 5 h 57"/>
                <a:gd name="T10" fmla="*/ 149 w 220"/>
                <a:gd name="T11" fmla="*/ 17 h 57"/>
                <a:gd name="T12" fmla="*/ 166 w 220"/>
                <a:gd name="T13" fmla="*/ 17 h 57"/>
                <a:gd name="T14" fmla="*/ 182 w 220"/>
                <a:gd name="T15" fmla="*/ 33 h 57"/>
                <a:gd name="T16" fmla="*/ 204 w 220"/>
                <a:gd name="T17" fmla="*/ 17 h 57"/>
                <a:gd name="T18" fmla="*/ 220 w 220"/>
                <a:gd name="T19" fmla="*/ 33 h 57"/>
                <a:gd name="T20" fmla="*/ 215 w 220"/>
                <a:gd name="T21" fmla="*/ 41 h 57"/>
                <a:gd name="T22" fmla="*/ 182 w 220"/>
                <a:gd name="T23" fmla="*/ 50 h 57"/>
                <a:gd name="T24" fmla="*/ 128 w 220"/>
                <a:gd name="T25" fmla="*/ 17 h 57"/>
                <a:gd name="T26" fmla="*/ 111 w 220"/>
                <a:gd name="T27" fmla="*/ 33 h 57"/>
                <a:gd name="T28" fmla="*/ 74 w 220"/>
                <a:gd name="T29" fmla="*/ 41 h 57"/>
                <a:gd name="T30" fmla="*/ 74 w 220"/>
                <a:gd name="T31" fmla="*/ 50 h 57"/>
                <a:gd name="T32" fmla="*/ 12 w 220"/>
                <a:gd name="T33" fmla="*/ 50 h 57"/>
                <a:gd name="T34" fmla="*/ 12 w 220"/>
                <a:gd name="T35" fmla="*/ 57 h 57"/>
                <a:gd name="T36" fmla="*/ 0 w 220"/>
                <a:gd name="T37" fmla="*/ 33 h 57"/>
                <a:gd name="T38" fmla="*/ 12 w 220"/>
                <a:gd name="T39" fmla="*/ 22 h 57"/>
                <a:gd name="T40" fmla="*/ 17 w 220"/>
                <a:gd name="T41" fmla="*/ 33 h 57"/>
                <a:gd name="T42" fmla="*/ 24 w 220"/>
                <a:gd name="T43" fmla="*/ 41 h 57"/>
                <a:gd name="T44" fmla="*/ 41 w 220"/>
                <a:gd name="T45" fmla="*/ 41 h 57"/>
                <a:gd name="T46" fmla="*/ 50 w 220"/>
                <a:gd name="T47" fmla="*/ 41 h 57"/>
                <a:gd name="T48" fmla="*/ 50 w 220"/>
                <a:gd name="T49" fmla="*/ 41 h 57"/>
                <a:gd name="T50" fmla="*/ 41 w 220"/>
                <a:gd name="T51" fmla="*/ 41 h 57"/>
                <a:gd name="T52" fmla="*/ 50 w 220"/>
                <a:gd name="T53" fmla="*/ 33 h 57"/>
                <a:gd name="T54" fmla="*/ 111 w 220"/>
                <a:gd name="T55" fmla="*/ 22 h 57"/>
                <a:gd name="T56" fmla="*/ 95 w 220"/>
                <a:gd name="T57" fmla="*/ 22 h 57"/>
                <a:gd name="T58" fmla="*/ 50 w 220"/>
                <a:gd name="T59" fmla="*/ 33 h 57"/>
                <a:gd name="T60" fmla="*/ 33 w 220"/>
                <a:gd name="T61" fmla="*/ 41 h 57"/>
                <a:gd name="T62" fmla="*/ 24 w 220"/>
                <a:gd name="T63" fmla="*/ 33 h 57"/>
                <a:gd name="T64" fmla="*/ 17 w 220"/>
                <a:gd name="T65" fmla="*/ 17 h 57"/>
                <a:gd name="T66" fmla="*/ 17 w 220"/>
                <a:gd name="T67" fmla="*/ 17 h 57"/>
                <a:gd name="T68" fmla="*/ 17 w 220"/>
                <a:gd name="T69" fmla="*/ 1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 h="57">
                  <a:moveTo>
                    <a:pt x="17" y="17"/>
                  </a:moveTo>
                  <a:lnTo>
                    <a:pt x="95" y="17"/>
                  </a:lnTo>
                  <a:lnTo>
                    <a:pt x="104" y="5"/>
                  </a:lnTo>
                  <a:lnTo>
                    <a:pt x="128" y="0"/>
                  </a:lnTo>
                  <a:lnTo>
                    <a:pt x="144" y="5"/>
                  </a:lnTo>
                  <a:lnTo>
                    <a:pt x="149" y="17"/>
                  </a:lnTo>
                  <a:lnTo>
                    <a:pt x="166" y="17"/>
                  </a:lnTo>
                  <a:lnTo>
                    <a:pt x="182" y="33"/>
                  </a:lnTo>
                  <a:lnTo>
                    <a:pt x="204" y="17"/>
                  </a:lnTo>
                  <a:lnTo>
                    <a:pt x="220" y="33"/>
                  </a:lnTo>
                  <a:lnTo>
                    <a:pt x="215" y="41"/>
                  </a:lnTo>
                  <a:lnTo>
                    <a:pt x="182" y="50"/>
                  </a:lnTo>
                  <a:lnTo>
                    <a:pt x="128" y="17"/>
                  </a:lnTo>
                  <a:lnTo>
                    <a:pt x="111" y="33"/>
                  </a:lnTo>
                  <a:lnTo>
                    <a:pt x="74" y="41"/>
                  </a:lnTo>
                  <a:lnTo>
                    <a:pt x="74" y="50"/>
                  </a:lnTo>
                  <a:lnTo>
                    <a:pt x="12" y="50"/>
                  </a:lnTo>
                  <a:lnTo>
                    <a:pt x="12" y="57"/>
                  </a:lnTo>
                  <a:lnTo>
                    <a:pt x="0" y="33"/>
                  </a:lnTo>
                  <a:lnTo>
                    <a:pt x="12" y="22"/>
                  </a:lnTo>
                  <a:lnTo>
                    <a:pt x="17" y="33"/>
                  </a:lnTo>
                  <a:lnTo>
                    <a:pt x="24" y="41"/>
                  </a:lnTo>
                  <a:lnTo>
                    <a:pt x="41" y="41"/>
                  </a:lnTo>
                  <a:lnTo>
                    <a:pt x="50" y="41"/>
                  </a:lnTo>
                  <a:lnTo>
                    <a:pt x="50" y="41"/>
                  </a:lnTo>
                  <a:lnTo>
                    <a:pt x="41" y="41"/>
                  </a:lnTo>
                  <a:lnTo>
                    <a:pt x="50" y="33"/>
                  </a:lnTo>
                  <a:lnTo>
                    <a:pt x="111" y="22"/>
                  </a:lnTo>
                  <a:lnTo>
                    <a:pt x="95" y="22"/>
                  </a:lnTo>
                  <a:lnTo>
                    <a:pt x="50" y="33"/>
                  </a:lnTo>
                  <a:lnTo>
                    <a:pt x="33" y="41"/>
                  </a:lnTo>
                  <a:lnTo>
                    <a:pt x="24" y="33"/>
                  </a:lnTo>
                  <a:lnTo>
                    <a:pt x="17" y="17"/>
                  </a:lnTo>
                  <a:lnTo>
                    <a:pt x="17" y="17"/>
                  </a:lnTo>
                  <a:lnTo>
                    <a:pt x="17" y="1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9" name="Freeform 448">
              <a:extLst>
                <a:ext uri="{FF2B5EF4-FFF2-40B4-BE49-F238E27FC236}">
                  <a16:creationId xmlns:a16="http://schemas.microsoft.com/office/drawing/2014/main" id="{5D404886-50E5-42CA-B16F-4AC1A2405139}"/>
                </a:ext>
              </a:extLst>
            </p:cNvPr>
            <p:cNvSpPr>
              <a:spLocks noEditPoints="1"/>
            </p:cNvSpPr>
            <p:nvPr/>
          </p:nvSpPr>
          <p:spPr bwMode="gray">
            <a:xfrm>
              <a:off x="13944798" y="4059747"/>
              <a:ext cx="132228" cy="147611"/>
            </a:xfrm>
            <a:custGeom>
              <a:avLst/>
              <a:gdLst>
                <a:gd name="T0" fmla="*/ 359 w 404"/>
                <a:gd name="T1" fmla="*/ 184 h 451"/>
                <a:gd name="T2" fmla="*/ 380 w 404"/>
                <a:gd name="T3" fmla="*/ 200 h 451"/>
                <a:gd name="T4" fmla="*/ 404 w 404"/>
                <a:gd name="T5" fmla="*/ 212 h 451"/>
                <a:gd name="T6" fmla="*/ 404 w 404"/>
                <a:gd name="T7" fmla="*/ 257 h 451"/>
                <a:gd name="T8" fmla="*/ 387 w 404"/>
                <a:gd name="T9" fmla="*/ 311 h 451"/>
                <a:gd name="T10" fmla="*/ 359 w 404"/>
                <a:gd name="T11" fmla="*/ 344 h 451"/>
                <a:gd name="T12" fmla="*/ 333 w 404"/>
                <a:gd name="T13" fmla="*/ 344 h 451"/>
                <a:gd name="T14" fmla="*/ 290 w 404"/>
                <a:gd name="T15" fmla="*/ 307 h 451"/>
                <a:gd name="T16" fmla="*/ 269 w 404"/>
                <a:gd name="T17" fmla="*/ 307 h 451"/>
                <a:gd name="T18" fmla="*/ 257 w 404"/>
                <a:gd name="T19" fmla="*/ 340 h 451"/>
                <a:gd name="T20" fmla="*/ 224 w 404"/>
                <a:gd name="T21" fmla="*/ 340 h 451"/>
                <a:gd name="T22" fmla="*/ 198 w 404"/>
                <a:gd name="T23" fmla="*/ 340 h 451"/>
                <a:gd name="T24" fmla="*/ 198 w 404"/>
                <a:gd name="T25" fmla="*/ 378 h 451"/>
                <a:gd name="T26" fmla="*/ 215 w 404"/>
                <a:gd name="T27" fmla="*/ 385 h 451"/>
                <a:gd name="T28" fmla="*/ 224 w 404"/>
                <a:gd name="T29" fmla="*/ 406 h 451"/>
                <a:gd name="T30" fmla="*/ 219 w 404"/>
                <a:gd name="T31" fmla="*/ 434 h 451"/>
                <a:gd name="T32" fmla="*/ 198 w 404"/>
                <a:gd name="T33" fmla="*/ 422 h 451"/>
                <a:gd name="T34" fmla="*/ 165 w 404"/>
                <a:gd name="T35" fmla="*/ 451 h 451"/>
                <a:gd name="T36" fmla="*/ 63 w 404"/>
                <a:gd name="T37" fmla="*/ 344 h 451"/>
                <a:gd name="T38" fmla="*/ 96 w 404"/>
                <a:gd name="T39" fmla="*/ 352 h 451"/>
                <a:gd name="T40" fmla="*/ 89 w 404"/>
                <a:gd name="T41" fmla="*/ 352 h 451"/>
                <a:gd name="T42" fmla="*/ 75 w 404"/>
                <a:gd name="T43" fmla="*/ 344 h 451"/>
                <a:gd name="T44" fmla="*/ 42 w 404"/>
                <a:gd name="T45" fmla="*/ 307 h 451"/>
                <a:gd name="T46" fmla="*/ 59 w 404"/>
                <a:gd name="T47" fmla="*/ 311 h 451"/>
                <a:gd name="T48" fmla="*/ 37 w 404"/>
                <a:gd name="T49" fmla="*/ 295 h 451"/>
                <a:gd name="T50" fmla="*/ 21 w 404"/>
                <a:gd name="T51" fmla="*/ 257 h 451"/>
                <a:gd name="T52" fmla="*/ 54 w 404"/>
                <a:gd name="T53" fmla="*/ 290 h 451"/>
                <a:gd name="T54" fmla="*/ 54 w 404"/>
                <a:gd name="T55" fmla="*/ 274 h 451"/>
                <a:gd name="T56" fmla="*/ 42 w 404"/>
                <a:gd name="T57" fmla="*/ 257 h 451"/>
                <a:gd name="T58" fmla="*/ 21 w 404"/>
                <a:gd name="T59" fmla="*/ 257 h 451"/>
                <a:gd name="T60" fmla="*/ 0 w 404"/>
                <a:gd name="T61" fmla="*/ 212 h 451"/>
                <a:gd name="T62" fmla="*/ 42 w 404"/>
                <a:gd name="T63" fmla="*/ 196 h 451"/>
                <a:gd name="T64" fmla="*/ 54 w 404"/>
                <a:gd name="T65" fmla="*/ 155 h 451"/>
                <a:gd name="T66" fmla="*/ 80 w 404"/>
                <a:gd name="T67" fmla="*/ 155 h 451"/>
                <a:gd name="T68" fmla="*/ 42 w 404"/>
                <a:gd name="T69" fmla="*/ 127 h 451"/>
                <a:gd name="T70" fmla="*/ 59 w 404"/>
                <a:gd name="T71" fmla="*/ 118 h 451"/>
                <a:gd name="T72" fmla="*/ 59 w 404"/>
                <a:gd name="T73" fmla="*/ 101 h 451"/>
                <a:gd name="T74" fmla="*/ 75 w 404"/>
                <a:gd name="T75" fmla="*/ 101 h 451"/>
                <a:gd name="T76" fmla="*/ 89 w 404"/>
                <a:gd name="T77" fmla="*/ 101 h 451"/>
                <a:gd name="T78" fmla="*/ 182 w 404"/>
                <a:gd name="T79" fmla="*/ 11 h 451"/>
                <a:gd name="T80" fmla="*/ 252 w 404"/>
                <a:gd name="T81" fmla="*/ 0 h 451"/>
                <a:gd name="T82" fmla="*/ 311 w 404"/>
                <a:gd name="T83" fmla="*/ 0 h 451"/>
                <a:gd name="T84" fmla="*/ 307 w 404"/>
                <a:gd name="T85" fmla="*/ 44 h 451"/>
                <a:gd name="T86" fmla="*/ 311 w 404"/>
                <a:gd name="T87" fmla="*/ 85 h 451"/>
                <a:gd name="T88" fmla="*/ 380 w 404"/>
                <a:gd name="T89" fmla="*/ 68 h 451"/>
                <a:gd name="T90" fmla="*/ 387 w 404"/>
                <a:gd name="T91" fmla="*/ 122 h 451"/>
                <a:gd name="T92" fmla="*/ 366 w 404"/>
                <a:gd name="T93" fmla="*/ 146 h 451"/>
                <a:gd name="T94" fmla="*/ 359 w 404"/>
                <a:gd name="T95" fmla="*/ 179 h 451"/>
                <a:gd name="T96" fmla="*/ 21 w 404"/>
                <a:gd name="T97" fmla="*/ 229 h 451"/>
                <a:gd name="T98" fmla="*/ 21 w 404"/>
                <a:gd name="T99" fmla="*/ 212 h 451"/>
                <a:gd name="T100" fmla="*/ 21 w 404"/>
                <a:gd name="T101" fmla="*/ 229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4" h="451">
                  <a:moveTo>
                    <a:pt x="359" y="179"/>
                  </a:moveTo>
                  <a:lnTo>
                    <a:pt x="359" y="184"/>
                  </a:lnTo>
                  <a:lnTo>
                    <a:pt x="375" y="184"/>
                  </a:lnTo>
                  <a:lnTo>
                    <a:pt x="380" y="200"/>
                  </a:lnTo>
                  <a:lnTo>
                    <a:pt x="396" y="200"/>
                  </a:lnTo>
                  <a:lnTo>
                    <a:pt x="404" y="212"/>
                  </a:lnTo>
                  <a:lnTo>
                    <a:pt x="396" y="240"/>
                  </a:lnTo>
                  <a:lnTo>
                    <a:pt x="404" y="257"/>
                  </a:lnTo>
                  <a:lnTo>
                    <a:pt x="396" y="307"/>
                  </a:lnTo>
                  <a:lnTo>
                    <a:pt x="387" y="311"/>
                  </a:lnTo>
                  <a:lnTo>
                    <a:pt x="375" y="344"/>
                  </a:lnTo>
                  <a:lnTo>
                    <a:pt x="359" y="344"/>
                  </a:lnTo>
                  <a:lnTo>
                    <a:pt x="349" y="323"/>
                  </a:lnTo>
                  <a:lnTo>
                    <a:pt x="333" y="344"/>
                  </a:lnTo>
                  <a:lnTo>
                    <a:pt x="295" y="340"/>
                  </a:lnTo>
                  <a:lnTo>
                    <a:pt x="290" y="307"/>
                  </a:lnTo>
                  <a:lnTo>
                    <a:pt x="274" y="295"/>
                  </a:lnTo>
                  <a:lnTo>
                    <a:pt x="269" y="307"/>
                  </a:lnTo>
                  <a:lnTo>
                    <a:pt x="257" y="307"/>
                  </a:lnTo>
                  <a:lnTo>
                    <a:pt x="257" y="340"/>
                  </a:lnTo>
                  <a:lnTo>
                    <a:pt x="236" y="344"/>
                  </a:lnTo>
                  <a:lnTo>
                    <a:pt x="224" y="340"/>
                  </a:lnTo>
                  <a:lnTo>
                    <a:pt x="215" y="344"/>
                  </a:lnTo>
                  <a:lnTo>
                    <a:pt x="198" y="340"/>
                  </a:lnTo>
                  <a:lnTo>
                    <a:pt x="203" y="352"/>
                  </a:lnTo>
                  <a:lnTo>
                    <a:pt x="198" y="378"/>
                  </a:lnTo>
                  <a:lnTo>
                    <a:pt x="203" y="368"/>
                  </a:lnTo>
                  <a:lnTo>
                    <a:pt x="215" y="385"/>
                  </a:lnTo>
                  <a:lnTo>
                    <a:pt x="203" y="401"/>
                  </a:lnTo>
                  <a:lnTo>
                    <a:pt x="224" y="406"/>
                  </a:lnTo>
                  <a:lnTo>
                    <a:pt x="219" y="422"/>
                  </a:lnTo>
                  <a:lnTo>
                    <a:pt x="219" y="434"/>
                  </a:lnTo>
                  <a:lnTo>
                    <a:pt x="215" y="434"/>
                  </a:lnTo>
                  <a:lnTo>
                    <a:pt x="198" y="422"/>
                  </a:lnTo>
                  <a:lnTo>
                    <a:pt x="172" y="434"/>
                  </a:lnTo>
                  <a:lnTo>
                    <a:pt x="165" y="451"/>
                  </a:lnTo>
                  <a:lnTo>
                    <a:pt x="118" y="394"/>
                  </a:lnTo>
                  <a:lnTo>
                    <a:pt x="63" y="344"/>
                  </a:lnTo>
                  <a:lnTo>
                    <a:pt x="89" y="361"/>
                  </a:lnTo>
                  <a:lnTo>
                    <a:pt x="96" y="352"/>
                  </a:lnTo>
                  <a:lnTo>
                    <a:pt x="96" y="352"/>
                  </a:lnTo>
                  <a:lnTo>
                    <a:pt x="89" y="352"/>
                  </a:lnTo>
                  <a:lnTo>
                    <a:pt x="80" y="344"/>
                  </a:lnTo>
                  <a:lnTo>
                    <a:pt x="75" y="344"/>
                  </a:lnTo>
                  <a:lnTo>
                    <a:pt x="59" y="340"/>
                  </a:lnTo>
                  <a:lnTo>
                    <a:pt x="42" y="307"/>
                  </a:lnTo>
                  <a:lnTo>
                    <a:pt x="54" y="307"/>
                  </a:lnTo>
                  <a:lnTo>
                    <a:pt x="59" y="311"/>
                  </a:lnTo>
                  <a:lnTo>
                    <a:pt x="54" y="307"/>
                  </a:lnTo>
                  <a:lnTo>
                    <a:pt x="37" y="295"/>
                  </a:lnTo>
                  <a:lnTo>
                    <a:pt x="37" y="283"/>
                  </a:lnTo>
                  <a:lnTo>
                    <a:pt x="21" y="257"/>
                  </a:lnTo>
                  <a:lnTo>
                    <a:pt x="37" y="290"/>
                  </a:lnTo>
                  <a:lnTo>
                    <a:pt x="54" y="290"/>
                  </a:lnTo>
                  <a:lnTo>
                    <a:pt x="54" y="283"/>
                  </a:lnTo>
                  <a:lnTo>
                    <a:pt x="54" y="274"/>
                  </a:lnTo>
                  <a:lnTo>
                    <a:pt x="37" y="283"/>
                  </a:lnTo>
                  <a:lnTo>
                    <a:pt x="42" y="257"/>
                  </a:lnTo>
                  <a:lnTo>
                    <a:pt x="37" y="266"/>
                  </a:lnTo>
                  <a:lnTo>
                    <a:pt x="21" y="257"/>
                  </a:lnTo>
                  <a:lnTo>
                    <a:pt x="0" y="212"/>
                  </a:lnTo>
                  <a:lnTo>
                    <a:pt x="0" y="212"/>
                  </a:lnTo>
                  <a:lnTo>
                    <a:pt x="21" y="229"/>
                  </a:lnTo>
                  <a:lnTo>
                    <a:pt x="42" y="196"/>
                  </a:lnTo>
                  <a:lnTo>
                    <a:pt x="42" y="139"/>
                  </a:lnTo>
                  <a:lnTo>
                    <a:pt x="54" y="155"/>
                  </a:lnTo>
                  <a:lnTo>
                    <a:pt x="75" y="163"/>
                  </a:lnTo>
                  <a:lnTo>
                    <a:pt x="80" y="155"/>
                  </a:lnTo>
                  <a:lnTo>
                    <a:pt x="54" y="146"/>
                  </a:lnTo>
                  <a:lnTo>
                    <a:pt x="42" y="127"/>
                  </a:lnTo>
                  <a:lnTo>
                    <a:pt x="42" y="122"/>
                  </a:lnTo>
                  <a:lnTo>
                    <a:pt x="59" y="118"/>
                  </a:lnTo>
                  <a:lnTo>
                    <a:pt x="59" y="127"/>
                  </a:lnTo>
                  <a:lnTo>
                    <a:pt x="59" y="101"/>
                  </a:lnTo>
                  <a:lnTo>
                    <a:pt x="63" y="89"/>
                  </a:lnTo>
                  <a:lnTo>
                    <a:pt x="75" y="101"/>
                  </a:lnTo>
                  <a:lnTo>
                    <a:pt x="80" y="101"/>
                  </a:lnTo>
                  <a:lnTo>
                    <a:pt x="89" y="101"/>
                  </a:lnTo>
                  <a:lnTo>
                    <a:pt x="182" y="101"/>
                  </a:lnTo>
                  <a:lnTo>
                    <a:pt x="182" y="11"/>
                  </a:lnTo>
                  <a:lnTo>
                    <a:pt x="182" y="0"/>
                  </a:lnTo>
                  <a:lnTo>
                    <a:pt x="252" y="0"/>
                  </a:lnTo>
                  <a:lnTo>
                    <a:pt x="278" y="0"/>
                  </a:lnTo>
                  <a:lnTo>
                    <a:pt x="311" y="0"/>
                  </a:lnTo>
                  <a:lnTo>
                    <a:pt x="321" y="11"/>
                  </a:lnTo>
                  <a:lnTo>
                    <a:pt x="307" y="44"/>
                  </a:lnTo>
                  <a:lnTo>
                    <a:pt x="311" y="68"/>
                  </a:lnTo>
                  <a:lnTo>
                    <a:pt x="311" y="85"/>
                  </a:lnTo>
                  <a:lnTo>
                    <a:pt x="349" y="68"/>
                  </a:lnTo>
                  <a:lnTo>
                    <a:pt x="380" y="68"/>
                  </a:lnTo>
                  <a:lnTo>
                    <a:pt x="404" y="101"/>
                  </a:lnTo>
                  <a:lnTo>
                    <a:pt x="387" y="122"/>
                  </a:lnTo>
                  <a:lnTo>
                    <a:pt x="375" y="127"/>
                  </a:lnTo>
                  <a:lnTo>
                    <a:pt x="366" y="146"/>
                  </a:lnTo>
                  <a:lnTo>
                    <a:pt x="359" y="179"/>
                  </a:lnTo>
                  <a:lnTo>
                    <a:pt x="359" y="179"/>
                  </a:lnTo>
                  <a:lnTo>
                    <a:pt x="359" y="179"/>
                  </a:lnTo>
                  <a:close/>
                  <a:moveTo>
                    <a:pt x="21" y="229"/>
                  </a:moveTo>
                  <a:lnTo>
                    <a:pt x="9" y="217"/>
                  </a:lnTo>
                  <a:lnTo>
                    <a:pt x="21" y="212"/>
                  </a:lnTo>
                  <a:lnTo>
                    <a:pt x="21" y="229"/>
                  </a:lnTo>
                  <a:lnTo>
                    <a:pt x="21" y="229"/>
                  </a:lnTo>
                  <a:lnTo>
                    <a:pt x="21" y="22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0" name="Freeform 449">
              <a:extLst>
                <a:ext uri="{FF2B5EF4-FFF2-40B4-BE49-F238E27FC236}">
                  <a16:creationId xmlns:a16="http://schemas.microsoft.com/office/drawing/2014/main" id="{07CF0B00-F22A-4A14-AA94-BD9A3A2EFAA8}"/>
                </a:ext>
              </a:extLst>
            </p:cNvPr>
            <p:cNvSpPr>
              <a:spLocks/>
            </p:cNvSpPr>
            <p:nvPr/>
          </p:nvSpPr>
          <p:spPr bwMode="gray">
            <a:xfrm>
              <a:off x="14663542" y="3015016"/>
              <a:ext cx="151538" cy="74296"/>
            </a:xfrm>
            <a:custGeom>
              <a:avLst/>
              <a:gdLst>
                <a:gd name="T0" fmla="*/ 0 w 463"/>
                <a:gd name="T1" fmla="*/ 26 h 227"/>
                <a:gd name="T2" fmla="*/ 0 w 463"/>
                <a:gd name="T3" fmla="*/ 10 h 227"/>
                <a:gd name="T4" fmla="*/ 17 w 463"/>
                <a:gd name="T5" fmla="*/ 0 h 227"/>
                <a:gd name="T6" fmla="*/ 43 w 463"/>
                <a:gd name="T7" fmla="*/ 10 h 227"/>
                <a:gd name="T8" fmla="*/ 109 w 463"/>
                <a:gd name="T9" fmla="*/ 33 h 227"/>
                <a:gd name="T10" fmla="*/ 199 w 463"/>
                <a:gd name="T11" fmla="*/ 43 h 227"/>
                <a:gd name="T12" fmla="*/ 220 w 463"/>
                <a:gd name="T13" fmla="*/ 66 h 227"/>
                <a:gd name="T14" fmla="*/ 258 w 463"/>
                <a:gd name="T15" fmla="*/ 83 h 227"/>
                <a:gd name="T16" fmla="*/ 258 w 463"/>
                <a:gd name="T17" fmla="*/ 88 h 227"/>
                <a:gd name="T18" fmla="*/ 270 w 463"/>
                <a:gd name="T19" fmla="*/ 88 h 227"/>
                <a:gd name="T20" fmla="*/ 312 w 463"/>
                <a:gd name="T21" fmla="*/ 71 h 227"/>
                <a:gd name="T22" fmla="*/ 329 w 463"/>
                <a:gd name="T23" fmla="*/ 88 h 227"/>
                <a:gd name="T24" fmla="*/ 345 w 463"/>
                <a:gd name="T25" fmla="*/ 71 h 227"/>
                <a:gd name="T26" fmla="*/ 362 w 463"/>
                <a:gd name="T27" fmla="*/ 83 h 227"/>
                <a:gd name="T28" fmla="*/ 367 w 463"/>
                <a:gd name="T29" fmla="*/ 100 h 227"/>
                <a:gd name="T30" fmla="*/ 400 w 463"/>
                <a:gd name="T31" fmla="*/ 100 h 227"/>
                <a:gd name="T32" fmla="*/ 393 w 463"/>
                <a:gd name="T33" fmla="*/ 128 h 227"/>
                <a:gd name="T34" fmla="*/ 447 w 463"/>
                <a:gd name="T35" fmla="*/ 154 h 227"/>
                <a:gd name="T36" fmla="*/ 430 w 463"/>
                <a:gd name="T37" fmla="*/ 170 h 227"/>
                <a:gd name="T38" fmla="*/ 437 w 463"/>
                <a:gd name="T39" fmla="*/ 182 h 227"/>
                <a:gd name="T40" fmla="*/ 463 w 463"/>
                <a:gd name="T41" fmla="*/ 199 h 227"/>
                <a:gd name="T42" fmla="*/ 463 w 463"/>
                <a:gd name="T43" fmla="*/ 215 h 227"/>
                <a:gd name="T44" fmla="*/ 454 w 463"/>
                <a:gd name="T45" fmla="*/ 227 h 227"/>
                <a:gd name="T46" fmla="*/ 430 w 463"/>
                <a:gd name="T47" fmla="*/ 211 h 227"/>
                <a:gd name="T48" fmla="*/ 409 w 463"/>
                <a:gd name="T49" fmla="*/ 211 h 227"/>
                <a:gd name="T50" fmla="*/ 400 w 463"/>
                <a:gd name="T51" fmla="*/ 199 h 227"/>
                <a:gd name="T52" fmla="*/ 367 w 463"/>
                <a:gd name="T53" fmla="*/ 194 h 227"/>
                <a:gd name="T54" fmla="*/ 345 w 463"/>
                <a:gd name="T55" fmla="*/ 199 h 227"/>
                <a:gd name="T56" fmla="*/ 341 w 463"/>
                <a:gd name="T57" fmla="*/ 211 h 227"/>
                <a:gd name="T58" fmla="*/ 237 w 463"/>
                <a:gd name="T59" fmla="*/ 215 h 227"/>
                <a:gd name="T60" fmla="*/ 232 w 463"/>
                <a:gd name="T61" fmla="*/ 215 h 227"/>
                <a:gd name="T62" fmla="*/ 220 w 463"/>
                <a:gd name="T63" fmla="*/ 215 h 227"/>
                <a:gd name="T64" fmla="*/ 194 w 463"/>
                <a:gd name="T65" fmla="*/ 177 h 227"/>
                <a:gd name="T66" fmla="*/ 178 w 463"/>
                <a:gd name="T67" fmla="*/ 177 h 227"/>
                <a:gd name="T68" fmla="*/ 168 w 463"/>
                <a:gd name="T69" fmla="*/ 194 h 227"/>
                <a:gd name="T70" fmla="*/ 140 w 463"/>
                <a:gd name="T71" fmla="*/ 182 h 227"/>
                <a:gd name="T72" fmla="*/ 123 w 463"/>
                <a:gd name="T73" fmla="*/ 194 h 227"/>
                <a:gd name="T74" fmla="*/ 109 w 463"/>
                <a:gd name="T75" fmla="*/ 182 h 227"/>
                <a:gd name="T76" fmla="*/ 123 w 463"/>
                <a:gd name="T77" fmla="*/ 154 h 227"/>
                <a:gd name="T78" fmla="*/ 97 w 463"/>
                <a:gd name="T79" fmla="*/ 83 h 227"/>
                <a:gd name="T80" fmla="*/ 76 w 463"/>
                <a:gd name="T81" fmla="*/ 71 h 227"/>
                <a:gd name="T82" fmla="*/ 71 w 463"/>
                <a:gd name="T83" fmla="*/ 55 h 227"/>
                <a:gd name="T84" fmla="*/ 55 w 463"/>
                <a:gd name="T85" fmla="*/ 50 h 227"/>
                <a:gd name="T86" fmla="*/ 22 w 463"/>
                <a:gd name="T87" fmla="*/ 43 h 227"/>
                <a:gd name="T88" fmla="*/ 17 w 463"/>
                <a:gd name="T89" fmla="*/ 26 h 227"/>
                <a:gd name="T90" fmla="*/ 0 w 463"/>
                <a:gd name="T91" fmla="*/ 26 h 227"/>
                <a:gd name="T92" fmla="*/ 0 w 463"/>
                <a:gd name="T93" fmla="*/ 26 h 227"/>
                <a:gd name="T94" fmla="*/ 0 w 463"/>
                <a:gd name="T95" fmla="*/ 2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3" h="227">
                  <a:moveTo>
                    <a:pt x="0" y="26"/>
                  </a:moveTo>
                  <a:lnTo>
                    <a:pt x="0" y="10"/>
                  </a:lnTo>
                  <a:lnTo>
                    <a:pt x="17" y="0"/>
                  </a:lnTo>
                  <a:lnTo>
                    <a:pt x="43" y="10"/>
                  </a:lnTo>
                  <a:lnTo>
                    <a:pt x="109" y="33"/>
                  </a:lnTo>
                  <a:lnTo>
                    <a:pt x="199" y="43"/>
                  </a:lnTo>
                  <a:lnTo>
                    <a:pt x="220" y="66"/>
                  </a:lnTo>
                  <a:lnTo>
                    <a:pt x="258" y="83"/>
                  </a:lnTo>
                  <a:lnTo>
                    <a:pt x="258" y="88"/>
                  </a:lnTo>
                  <a:lnTo>
                    <a:pt x="270" y="88"/>
                  </a:lnTo>
                  <a:lnTo>
                    <a:pt x="312" y="71"/>
                  </a:lnTo>
                  <a:lnTo>
                    <a:pt x="329" y="88"/>
                  </a:lnTo>
                  <a:lnTo>
                    <a:pt x="345" y="71"/>
                  </a:lnTo>
                  <a:lnTo>
                    <a:pt x="362" y="83"/>
                  </a:lnTo>
                  <a:lnTo>
                    <a:pt x="367" y="100"/>
                  </a:lnTo>
                  <a:lnTo>
                    <a:pt x="400" y="100"/>
                  </a:lnTo>
                  <a:lnTo>
                    <a:pt x="393" y="128"/>
                  </a:lnTo>
                  <a:lnTo>
                    <a:pt x="447" y="154"/>
                  </a:lnTo>
                  <a:lnTo>
                    <a:pt x="430" y="170"/>
                  </a:lnTo>
                  <a:lnTo>
                    <a:pt x="437" y="182"/>
                  </a:lnTo>
                  <a:lnTo>
                    <a:pt x="463" y="199"/>
                  </a:lnTo>
                  <a:lnTo>
                    <a:pt x="463" y="215"/>
                  </a:lnTo>
                  <a:lnTo>
                    <a:pt x="454" y="227"/>
                  </a:lnTo>
                  <a:lnTo>
                    <a:pt x="430" y="211"/>
                  </a:lnTo>
                  <a:lnTo>
                    <a:pt x="409" y="211"/>
                  </a:lnTo>
                  <a:lnTo>
                    <a:pt x="400" y="199"/>
                  </a:lnTo>
                  <a:lnTo>
                    <a:pt x="367" y="194"/>
                  </a:lnTo>
                  <a:lnTo>
                    <a:pt x="345" y="199"/>
                  </a:lnTo>
                  <a:lnTo>
                    <a:pt x="341" y="211"/>
                  </a:lnTo>
                  <a:lnTo>
                    <a:pt x="237" y="215"/>
                  </a:lnTo>
                  <a:lnTo>
                    <a:pt x="232" y="215"/>
                  </a:lnTo>
                  <a:lnTo>
                    <a:pt x="220" y="215"/>
                  </a:lnTo>
                  <a:lnTo>
                    <a:pt x="194" y="177"/>
                  </a:lnTo>
                  <a:lnTo>
                    <a:pt x="178" y="177"/>
                  </a:lnTo>
                  <a:lnTo>
                    <a:pt x="168" y="194"/>
                  </a:lnTo>
                  <a:lnTo>
                    <a:pt x="140" y="182"/>
                  </a:lnTo>
                  <a:lnTo>
                    <a:pt x="123" y="194"/>
                  </a:lnTo>
                  <a:lnTo>
                    <a:pt x="109" y="182"/>
                  </a:lnTo>
                  <a:lnTo>
                    <a:pt x="123" y="154"/>
                  </a:lnTo>
                  <a:lnTo>
                    <a:pt x="97" y="83"/>
                  </a:lnTo>
                  <a:lnTo>
                    <a:pt x="76" y="71"/>
                  </a:lnTo>
                  <a:lnTo>
                    <a:pt x="71" y="55"/>
                  </a:lnTo>
                  <a:lnTo>
                    <a:pt x="55" y="50"/>
                  </a:lnTo>
                  <a:lnTo>
                    <a:pt x="22" y="43"/>
                  </a:lnTo>
                  <a:lnTo>
                    <a:pt x="17" y="26"/>
                  </a:lnTo>
                  <a:lnTo>
                    <a:pt x="0" y="26"/>
                  </a:lnTo>
                  <a:lnTo>
                    <a:pt x="0" y="26"/>
                  </a:lnTo>
                  <a:lnTo>
                    <a:pt x="0" y="26"/>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1" name="Freeform 450">
              <a:extLst>
                <a:ext uri="{FF2B5EF4-FFF2-40B4-BE49-F238E27FC236}">
                  <a16:creationId xmlns:a16="http://schemas.microsoft.com/office/drawing/2014/main" id="{AA485F2F-1A67-44A5-92E2-7BB3203AEFB6}"/>
                </a:ext>
              </a:extLst>
            </p:cNvPr>
            <p:cNvSpPr>
              <a:spLocks/>
            </p:cNvSpPr>
            <p:nvPr/>
          </p:nvSpPr>
          <p:spPr bwMode="gray">
            <a:xfrm>
              <a:off x="13669542" y="3850932"/>
              <a:ext cx="102117" cy="152848"/>
            </a:xfrm>
            <a:custGeom>
              <a:avLst/>
              <a:gdLst>
                <a:gd name="T0" fmla="*/ 16 w 312"/>
                <a:gd name="T1" fmla="*/ 432 h 467"/>
                <a:gd name="T2" fmla="*/ 16 w 312"/>
                <a:gd name="T3" fmla="*/ 432 h 467"/>
                <a:gd name="T4" fmla="*/ 21 w 312"/>
                <a:gd name="T5" fmla="*/ 432 h 467"/>
                <a:gd name="T6" fmla="*/ 38 w 312"/>
                <a:gd name="T7" fmla="*/ 432 h 467"/>
                <a:gd name="T8" fmla="*/ 38 w 312"/>
                <a:gd name="T9" fmla="*/ 406 h 467"/>
                <a:gd name="T10" fmla="*/ 21 w 312"/>
                <a:gd name="T11" fmla="*/ 394 h 467"/>
                <a:gd name="T12" fmla="*/ 0 w 312"/>
                <a:gd name="T13" fmla="*/ 321 h 467"/>
                <a:gd name="T14" fmla="*/ 4 w 312"/>
                <a:gd name="T15" fmla="*/ 316 h 467"/>
                <a:gd name="T16" fmla="*/ 21 w 312"/>
                <a:gd name="T17" fmla="*/ 295 h 467"/>
                <a:gd name="T18" fmla="*/ 38 w 312"/>
                <a:gd name="T19" fmla="*/ 227 h 467"/>
                <a:gd name="T20" fmla="*/ 54 w 312"/>
                <a:gd name="T21" fmla="*/ 210 h 467"/>
                <a:gd name="T22" fmla="*/ 42 w 312"/>
                <a:gd name="T23" fmla="*/ 156 h 467"/>
                <a:gd name="T24" fmla="*/ 38 w 312"/>
                <a:gd name="T25" fmla="*/ 149 h 467"/>
                <a:gd name="T26" fmla="*/ 42 w 312"/>
                <a:gd name="T27" fmla="*/ 116 h 467"/>
                <a:gd name="T28" fmla="*/ 38 w 312"/>
                <a:gd name="T29" fmla="*/ 111 h 467"/>
                <a:gd name="T30" fmla="*/ 38 w 312"/>
                <a:gd name="T31" fmla="*/ 61 h 467"/>
                <a:gd name="T32" fmla="*/ 21 w 312"/>
                <a:gd name="T33" fmla="*/ 26 h 467"/>
                <a:gd name="T34" fmla="*/ 30 w 312"/>
                <a:gd name="T35" fmla="*/ 5 h 467"/>
                <a:gd name="T36" fmla="*/ 160 w 312"/>
                <a:gd name="T37" fmla="*/ 5 h 467"/>
                <a:gd name="T38" fmla="*/ 182 w 312"/>
                <a:gd name="T39" fmla="*/ 5 h 467"/>
                <a:gd name="T40" fmla="*/ 182 w 312"/>
                <a:gd name="T41" fmla="*/ 16 h 467"/>
                <a:gd name="T42" fmla="*/ 205 w 312"/>
                <a:gd name="T43" fmla="*/ 0 h 467"/>
                <a:gd name="T44" fmla="*/ 219 w 312"/>
                <a:gd name="T45" fmla="*/ 0 h 467"/>
                <a:gd name="T46" fmla="*/ 231 w 312"/>
                <a:gd name="T47" fmla="*/ 5 h 467"/>
                <a:gd name="T48" fmla="*/ 219 w 312"/>
                <a:gd name="T49" fmla="*/ 26 h 467"/>
                <a:gd name="T50" fmla="*/ 252 w 312"/>
                <a:gd name="T51" fmla="*/ 54 h 467"/>
                <a:gd name="T52" fmla="*/ 252 w 312"/>
                <a:gd name="T53" fmla="*/ 61 h 467"/>
                <a:gd name="T54" fmla="*/ 257 w 312"/>
                <a:gd name="T55" fmla="*/ 78 h 467"/>
                <a:gd name="T56" fmla="*/ 248 w 312"/>
                <a:gd name="T57" fmla="*/ 116 h 467"/>
                <a:gd name="T58" fmla="*/ 257 w 312"/>
                <a:gd name="T59" fmla="*/ 116 h 467"/>
                <a:gd name="T60" fmla="*/ 269 w 312"/>
                <a:gd name="T61" fmla="*/ 127 h 467"/>
                <a:gd name="T62" fmla="*/ 257 w 312"/>
                <a:gd name="T63" fmla="*/ 149 h 467"/>
                <a:gd name="T64" fmla="*/ 269 w 312"/>
                <a:gd name="T65" fmla="*/ 165 h 467"/>
                <a:gd name="T66" fmla="*/ 252 w 312"/>
                <a:gd name="T67" fmla="*/ 172 h 467"/>
                <a:gd name="T68" fmla="*/ 286 w 312"/>
                <a:gd name="T69" fmla="*/ 205 h 467"/>
                <a:gd name="T70" fmla="*/ 274 w 312"/>
                <a:gd name="T71" fmla="*/ 210 h 467"/>
                <a:gd name="T72" fmla="*/ 269 w 312"/>
                <a:gd name="T73" fmla="*/ 243 h 467"/>
                <a:gd name="T74" fmla="*/ 269 w 312"/>
                <a:gd name="T75" fmla="*/ 260 h 467"/>
                <a:gd name="T76" fmla="*/ 269 w 312"/>
                <a:gd name="T77" fmla="*/ 267 h 467"/>
                <a:gd name="T78" fmla="*/ 274 w 312"/>
                <a:gd name="T79" fmla="*/ 276 h 467"/>
                <a:gd name="T80" fmla="*/ 274 w 312"/>
                <a:gd name="T81" fmla="*/ 300 h 467"/>
                <a:gd name="T82" fmla="*/ 269 w 312"/>
                <a:gd name="T83" fmla="*/ 300 h 467"/>
                <a:gd name="T84" fmla="*/ 286 w 312"/>
                <a:gd name="T85" fmla="*/ 338 h 467"/>
                <a:gd name="T86" fmla="*/ 302 w 312"/>
                <a:gd name="T87" fmla="*/ 349 h 467"/>
                <a:gd name="T88" fmla="*/ 312 w 312"/>
                <a:gd name="T89" fmla="*/ 361 h 467"/>
                <a:gd name="T90" fmla="*/ 302 w 312"/>
                <a:gd name="T91" fmla="*/ 390 h 467"/>
                <a:gd name="T92" fmla="*/ 274 w 312"/>
                <a:gd name="T93" fmla="*/ 390 h 467"/>
                <a:gd name="T94" fmla="*/ 269 w 312"/>
                <a:gd name="T95" fmla="*/ 373 h 467"/>
                <a:gd name="T96" fmla="*/ 248 w 312"/>
                <a:gd name="T97" fmla="*/ 361 h 467"/>
                <a:gd name="T98" fmla="*/ 269 w 312"/>
                <a:gd name="T99" fmla="*/ 373 h 467"/>
                <a:gd name="T100" fmla="*/ 274 w 312"/>
                <a:gd name="T101" fmla="*/ 390 h 467"/>
                <a:gd name="T102" fmla="*/ 248 w 312"/>
                <a:gd name="T103" fmla="*/ 390 h 467"/>
                <a:gd name="T104" fmla="*/ 177 w 312"/>
                <a:gd name="T105" fmla="*/ 427 h 467"/>
                <a:gd name="T106" fmla="*/ 113 w 312"/>
                <a:gd name="T107" fmla="*/ 444 h 467"/>
                <a:gd name="T108" fmla="*/ 85 w 312"/>
                <a:gd name="T109" fmla="*/ 467 h 467"/>
                <a:gd name="T110" fmla="*/ 68 w 312"/>
                <a:gd name="T111" fmla="*/ 451 h 467"/>
                <a:gd name="T112" fmla="*/ 16 w 312"/>
                <a:gd name="T113" fmla="*/ 432 h 467"/>
                <a:gd name="T114" fmla="*/ 16 w 312"/>
                <a:gd name="T115" fmla="*/ 432 h 467"/>
                <a:gd name="T116" fmla="*/ 16 w 312"/>
                <a:gd name="T117" fmla="*/ 432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2" h="467">
                  <a:moveTo>
                    <a:pt x="16" y="432"/>
                  </a:moveTo>
                  <a:lnTo>
                    <a:pt x="16" y="432"/>
                  </a:lnTo>
                  <a:lnTo>
                    <a:pt x="21" y="432"/>
                  </a:lnTo>
                  <a:lnTo>
                    <a:pt x="38" y="432"/>
                  </a:lnTo>
                  <a:lnTo>
                    <a:pt x="38" y="406"/>
                  </a:lnTo>
                  <a:lnTo>
                    <a:pt x="21" y="394"/>
                  </a:lnTo>
                  <a:lnTo>
                    <a:pt x="0" y="321"/>
                  </a:lnTo>
                  <a:lnTo>
                    <a:pt x="4" y="316"/>
                  </a:lnTo>
                  <a:lnTo>
                    <a:pt x="21" y="295"/>
                  </a:lnTo>
                  <a:lnTo>
                    <a:pt x="38" y="227"/>
                  </a:lnTo>
                  <a:lnTo>
                    <a:pt x="54" y="210"/>
                  </a:lnTo>
                  <a:lnTo>
                    <a:pt x="42" y="156"/>
                  </a:lnTo>
                  <a:lnTo>
                    <a:pt x="38" y="149"/>
                  </a:lnTo>
                  <a:lnTo>
                    <a:pt x="42" y="116"/>
                  </a:lnTo>
                  <a:lnTo>
                    <a:pt x="38" y="111"/>
                  </a:lnTo>
                  <a:lnTo>
                    <a:pt x="38" y="61"/>
                  </a:lnTo>
                  <a:lnTo>
                    <a:pt x="21" y="26"/>
                  </a:lnTo>
                  <a:lnTo>
                    <a:pt x="30" y="5"/>
                  </a:lnTo>
                  <a:lnTo>
                    <a:pt x="160" y="5"/>
                  </a:lnTo>
                  <a:lnTo>
                    <a:pt x="182" y="5"/>
                  </a:lnTo>
                  <a:lnTo>
                    <a:pt x="182" y="16"/>
                  </a:lnTo>
                  <a:lnTo>
                    <a:pt x="205" y="0"/>
                  </a:lnTo>
                  <a:lnTo>
                    <a:pt x="219" y="0"/>
                  </a:lnTo>
                  <a:lnTo>
                    <a:pt x="231" y="5"/>
                  </a:lnTo>
                  <a:lnTo>
                    <a:pt x="219" y="26"/>
                  </a:lnTo>
                  <a:lnTo>
                    <a:pt x="252" y="54"/>
                  </a:lnTo>
                  <a:lnTo>
                    <a:pt x="252" y="61"/>
                  </a:lnTo>
                  <a:lnTo>
                    <a:pt x="257" y="78"/>
                  </a:lnTo>
                  <a:lnTo>
                    <a:pt x="248" y="116"/>
                  </a:lnTo>
                  <a:lnTo>
                    <a:pt x="257" y="116"/>
                  </a:lnTo>
                  <a:lnTo>
                    <a:pt x="269" y="127"/>
                  </a:lnTo>
                  <a:lnTo>
                    <a:pt x="257" y="149"/>
                  </a:lnTo>
                  <a:lnTo>
                    <a:pt x="269" y="165"/>
                  </a:lnTo>
                  <a:lnTo>
                    <a:pt x="252" y="172"/>
                  </a:lnTo>
                  <a:lnTo>
                    <a:pt x="286" y="205"/>
                  </a:lnTo>
                  <a:lnTo>
                    <a:pt x="274" y="210"/>
                  </a:lnTo>
                  <a:lnTo>
                    <a:pt x="269" y="243"/>
                  </a:lnTo>
                  <a:lnTo>
                    <a:pt x="269" y="260"/>
                  </a:lnTo>
                  <a:lnTo>
                    <a:pt x="269" y="267"/>
                  </a:lnTo>
                  <a:lnTo>
                    <a:pt x="274" y="276"/>
                  </a:lnTo>
                  <a:lnTo>
                    <a:pt x="274" y="300"/>
                  </a:lnTo>
                  <a:lnTo>
                    <a:pt x="269" y="300"/>
                  </a:lnTo>
                  <a:lnTo>
                    <a:pt x="286" y="338"/>
                  </a:lnTo>
                  <a:lnTo>
                    <a:pt x="302" y="349"/>
                  </a:lnTo>
                  <a:lnTo>
                    <a:pt x="312" y="361"/>
                  </a:lnTo>
                  <a:lnTo>
                    <a:pt x="302" y="390"/>
                  </a:lnTo>
                  <a:lnTo>
                    <a:pt x="274" y="390"/>
                  </a:lnTo>
                  <a:lnTo>
                    <a:pt x="269" y="373"/>
                  </a:lnTo>
                  <a:lnTo>
                    <a:pt x="248" y="361"/>
                  </a:lnTo>
                  <a:lnTo>
                    <a:pt x="269" y="373"/>
                  </a:lnTo>
                  <a:lnTo>
                    <a:pt x="274" y="390"/>
                  </a:lnTo>
                  <a:lnTo>
                    <a:pt x="248" y="390"/>
                  </a:lnTo>
                  <a:lnTo>
                    <a:pt x="177" y="427"/>
                  </a:lnTo>
                  <a:lnTo>
                    <a:pt x="113" y="444"/>
                  </a:lnTo>
                  <a:lnTo>
                    <a:pt x="85" y="467"/>
                  </a:lnTo>
                  <a:lnTo>
                    <a:pt x="68" y="451"/>
                  </a:lnTo>
                  <a:lnTo>
                    <a:pt x="16" y="432"/>
                  </a:lnTo>
                  <a:lnTo>
                    <a:pt x="16" y="432"/>
                  </a:lnTo>
                  <a:lnTo>
                    <a:pt x="16" y="432"/>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2" name="Freeform 451">
              <a:extLst>
                <a:ext uri="{FF2B5EF4-FFF2-40B4-BE49-F238E27FC236}">
                  <a16:creationId xmlns:a16="http://schemas.microsoft.com/office/drawing/2014/main" id="{8C13FB27-5322-42E0-B0A9-C81E5923EF8F}"/>
                </a:ext>
              </a:extLst>
            </p:cNvPr>
            <p:cNvSpPr>
              <a:spLocks/>
            </p:cNvSpPr>
            <p:nvPr/>
          </p:nvSpPr>
          <p:spPr bwMode="gray">
            <a:xfrm>
              <a:off x="12325007" y="3823767"/>
              <a:ext cx="5237" cy="5564"/>
            </a:xfrm>
            <a:custGeom>
              <a:avLst/>
              <a:gdLst>
                <a:gd name="T0" fmla="*/ 16 w 16"/>
                <a:gd name="T1" fmla="*/ 0 h 17"/>
                <a:gd name="T2" fmla="*/ 16 w 16"/>
                <a:gd name="T3" fmla="*/ 17 h 17"/>
                <a:gd name="T4" fmla="*/ 0 w 16"/>
                <a:gd name="T5" fmla="*/ 17 h 17"/>
                <a:gd name="T6" fmla="*/ 7 w 16"/>
                <a:gd name="T7" fmla="*/ 0 h 17"/>
                <a:gd name="T8" fmla="*/ 16 w 16"/>
                <a:gd name="T9" fmla="*/ 0 h 17"/>
                <a:gd name="T10" fmla="*/ 16 w 16"/>
                <a:gd name="T11" fmla="*/ 0 h 17"/>
                <a:gd name="T12" fmla="*/ 16 w 16"/>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16" y="0"/>
                  </a:moveTo>
                  <a:lnTo>
                    <a:pt x="16" y="17"/>
                  </a:lnTo>
                  <a:lnTo>
                    <a:pt x="0" y="17"/>
                  </a:lnTo>
                  <a:lnTo>
                    <a:pt x="7" y="0"/>
                  </a:lnTo>
                  <a:lnTo>
                    <a:pt x="16" y="0"/>
                  </a:lnTo>
                  <a:lnTo>
                    <a:pt x="16" y="0"/>
                  </a:lnTo>
                  <a:lnTo>
                    <a:pt x="16" y="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3" name="Freeform 452">
              <a:extLst>
                <a:ext uri="{FF2B5EF4-FFF2-40B4-BE49-F238E27FC236}">
                  <a16:creationId xmlns:a16="http://schemas.microsoft.com/office/drawing/2014/main" id="{49B19AD7-6502-4B0D-8E3C-4DD123917859}"/>
                </a:ext>
              </a:extLst>
            </p:cNvPr>
            <p:cNvSpPr>
              <a:spLocks noEditPoints="1"/>
            </p:cNvSpPr>
            <p:nvPr/>
          </p:nvSpPr>
          <p:spPr bwMode="gray">
            <a:xfrm>
              <a:off x="12068407" y="1433192"/>
              <a:ext cx="1395265" cy="1071569"/>
            </a:xfrm>
            <a:custGeom>
              <a:avLst/>
              <a:gdLst>
                <a:gd name="T0" fmla="*/ 1604 w 4263"/>
                <a:gd name="T1" fmla="*/ 2143 h 3274"/>
                <a:gd name="T2" fmla="*/ 1549 w 4263"/>
                <a:gd name="T3" fmla="*/ 1949 h 3274"/>
                <a:gd name="T4" fmla="*/ 1240 w 4263"/>
                <a:gd name="T5" fmla="*/ 1892 h 3274"/>
                <a:gd name="T6" fmla="*/ 1219 w 4263"/>
                <a:gd name="T7" fmla="*/ 1555 h 3274"/>
                <a:gd name="T8" fmla="*/ 756 w 4263"/>
                <a:gd name="T9" fmla="*/ 1205 h 3274"/>
                <a:gd name="T10" fmla="*/ 236 w 4263"/>
                <a:gd name="T11" fmla="*/ 1099 h 3274"/>
                <a:gd name="T12" fmla="*/ 16 w 4263"/>
                <a:gd name="T13" fmla="*/ 893 h 3274"/>
                <a:gd name="T14" fmla="*/ 718 w 4263"/>
                <a:gd name="T15" fmla="*/ 501 h 3274"/>
                <a:gd name="T16" fmla="*/ 1516 w 4263"/>
                <a:gd name="T17" fmla="*/ 305 h 3274"/>
                <a:gd name="T18" fmla="*/ 2315 w 4263"/>
                <a:gd name="T19" fmla="*/ 189 h 3274"/>
                <a:gd name="T20" fmla="*/ 2482 w 4263"/>
                <a:gd name="T21" fmla="*/ 24 h 3274"/>
                <a:gd name="T22" fmla="*/ 3439 w 4263"/>
                <a:gd name="T23" fmla="*/ 123 h 3274"/>
                <a:gd name="T24" fmla="*/ 3439 w 4263"/>
                <a:gd name="T25" fmla="*/ 506 h 3274"/>
                <a:gd name="T26" fmla="*/ 3633 w 4263"/>
                <a:gd name="T27" fmla="*/ 527 h 3274"/>
                <a:gd name="T28" fmla="*/ 3746 w 4263"/>
                <a:gd name="T29" fmla="*/ 749 h 3274"/>
                <a:gd name="T30" fmla="*/ 3789 w 4263"/>
                <a:gd name="T31" fmla="*/ 1054 h 3274"/>
                <a:gd name="T32" fmla="*/ 3734 w 4263"/>
                <a:gd name="T33" fmla="*/ 1259 h 3274"/>
                <a:gd name="T34" fmla="*/ 3578 w 4263"/>
                <a:gd name="T35" fmla="*/ 1489 h 3274"/>
                <a:gd name="T36" fmla="*/ 3297 w 4263"/>
                <a:gd name="T37" fmla="*/ 1637 h 3274"/>
                <a:gd name="T38" fmla="*/ 3493 w 4263"/>
                <a:gd name="T39" fmla="*/ 1814 h 3274"/>
                <a:gd name="T40" fmla="*/ 3531 w 4263"/>
                <a:gd name="T41" fmla="*/ 1982 h 3274"/>
                <a:gd name="T42" fmla="*/ 3137 w 4263"/>
                <a:gd name="T43" fmla="*/ 2015 h 3274"/>
                <a:gd name="T44" fmla="*/ 3326 w 4263"/>
                <a:gd name="T45" fmla="*/ 2197 h 3274"/>
                <a:gd name="T46" fmla="*/ 2839 w 4263"/>
                <a:gd name="T47" fmla="*/ 2275 h 3274"/>
                <a:gd name="T48" fmla="*/ 2532 w 4263"/>
                <a:gd name="T49" fmla="*/ 2592 h 3274"/>
                <a:gd name="T50" fmla="*/ 2272 w 4263"/>
                <a:gd name="T51" fmla="*/ 2670 h 3274"/>
                <a:gd name="T52" fmla="*/ 2154 w 4263"/>
                <a:gd name="T53" fmla="*/ 2941 h 3274"/>
                <a:gd name="T54" fmla="*/ 2067 w 4263"/>
                <a:gd name="T55" fmla="*/ 3163 h 3274"/>
                <a:gd name="T56" fmla="*/ 1927 w 4263"/>
                <a:gd name="T57" fmla="*/ 3203 h 3274"/>
                <a:gd name="T58" fmla="*/ 1743 w 4263"/>
                <a:gd name="T59" fmla="*/ 3163 h 3274"/>
                <a:gd name="T60" fmla="*/ 1672 w 4263"/>
                <a:gd name="T61" fmla="*/ 3031 h 3274"/>
                <a:gd name="T62" fmla="*/ 1511 w 4263"/>
                <a:gd name="T63" fmla="*/ 2821 h 3274"/>
                <a:gd name="T64" fmla="*/ 1533 w 4263"/>
                <a:gd name="T65" fmla="*/ 2736 h 3274"/>
                <a:gd name="T66" fmla="*/ 1424 w 4263"/>
                <a:gd name="T67" fmla="*/ 2632 h 3274"/>
                <a:gd name="T68" fmla="*/ 1353 w 4263"/>
                <a:gd name="T69" fmla="*/ 2514 h 3274"/>
                <a:gd name="T70" fmla="*/ 1566 w 4263"/>
                <a:gd name="T71" fmla="*/ 2393 h 3274"/>
                <a:gd name="T72" fmla="*/ 1386 w 4263"/>
                <a:gd name="T73" fmla="*/ 2320 h 3274"/>
                <a:gd name="T74" fmla="*/ 2272 w 4263"/>
                <a:gd name="T75" fmla="*/ 67 h 3274"/>
                <a:gd name="T76" fmla="*/ 2298 w 4263"/>
                <a:gd name="T77" fmla="*/ 173 h 3274"/>
                <a:gd name="T78" fmla="*/ 3666 w 4263"/>
                <a:gd name="T79" fmla="*/ 267 h 3274"/>
                <a:gd name="T80" fmla="*/ 3881 w 4263"/>
                <a:gd name="T81" fmla="*/ 749 h 3274"/>
                <a:gd name="T82" fmla="*/ 3649 w 4263"/>
                <a:gd name="T83" fmla="*/ 917 h 3274"/>
                <a:gd name="T84" fmla="*/ 3881 w 4263"/>
                <a:gd name="T85" fmla="*/ 962 h 3274"/>
                <a:gd name="T86" fmla="*/ 3741 w 4263"/>
                <a:gd name="T87" fmla="*/ 1127 h 3274"/>
                <a:gd name="T88" fmla="*/ 215 w 4263"/>
                <a:gd name="T89" fmla="*/ 1184 h 3274"/>
                <a:gd name="T90" fmla="*/ 3864 w 4263"/>
                <a:gd name="T91" fmla="*/ 1337 h 3274"/>
                <a:gd name="T92" fmla="*/ 1133 w 4263"/>
                <a:gd name="T93" fmla="*/ 1460 h 3274"/>
                <a:gd name="T94" fmla="*/ 1164 w 4263"/>
                <a:gd name="T95" fmla="*/ 1600 h 3274"/>
                <a:gd name="T96" fmla="*/ 1202 w 4263"/>
                <a:gd name="T97" fmla="*/ 1633 h 3274"/>
                <a:gd name="T98" fmla="*/ 1240 w 4263"/>
                <a:gd name="T99" fmla="*/ 1687 h 3274"/>
                <a:gd name="T100" fmla="*/ 1209 w 4263"/>
                <a:gd name="T101" fmla="*/ 1703 h 3274"/>
                <a:gd name="T102" fmla="*/ 1226 w 4263"/>
                <a:gd name="T103" fmla="*/ 1838 h 3274"/>
                <a:gd name="T104" fmla="*/ 3342 w 4263"/>
                <a:gd name="T105" fmla="*/ 1933 h 3274"/>
                <a:gd name="T106" fmla="*/ 1353 w 4263"/>
                <a:gd name="T107" fmla="*/ 2143 h 3274"/>
                <a:gd name="T108" fmla="*/ 3486 w 4263"/>
                <a:gd name="T109" fmla="*/ 2126 h 3274"/>
                <a:gd name="T110" fmla="*/ 1457 w 4263"/>
                <a:gd name="T111" fmla="*/ 2308 h 3274"/>
                <a:gd name="T112" fmla="*/ 1370 w 4263"/>
                <a:gd name="T113" fmla="*/ 2476 h 3274"/>
                <a:gd name="T114" fmla="*/ 2504 w 4263"/>
                <a:gd name="T115" fmla="*/ 2599 h 3274"/>
                <a:gd name="T116" fmla="*/ 1408 w 4263"/>
                <a:gd name="T117" fmla="*/ 2641 h 3274"/>
                <a:gd name="T118" fmla="*/ 1511 w 4263"/>
                <a:gd name="T119" fmla="*/ 2764 h 3274"/>
                <a:gd name="T120" fmla="*/ 1566 w 4263"/>
                <a:gd name="T121" fmla="*/ 2903 h 3274"/>
                <a:gd name="T122" fmla="*/ 1776 w 4263"/>
                <a:gd name="T123" fmla="*/ 3163 h 3274"/>
                <a:gd name="T124" fmla="*/ 2071 w 4263"/>
                <a:gd name="T125" fmla="*/ 3258 h 3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63" h="3274">
                  <a:moveTo>
                    <a:pt x="1441" y="2308"/>
                  </a:moveTo>
                  <a:lnTo>
                    <a:pt x="1436" y="2299"/>
                  </a:lnTo>
                  <a:lnTo>
                    <a:pt x="1408" y="2299"/>
                  </a:lnTo>
                  <a:lnTo>
                    <a:pt x="1424" y="2292"/>
                  </a:lnTo>
                  <a:lnTo>
                    <a:pt x="1382" y="2299"/>
                  </a:lnTo>
                  <a:lnTo>
                    <a:pt x="1382" y="2292"/>
                  </a:lnTo>
                  <a:lnTo>
                    <a:pt x="1398" y="2292"/>
                  </a:lnTo>
                  <a:lnTo>
                    <a:pt x="1441" y="2259"/>
                  </a:lnTo>
                  <a:lnTo>
                    <a:pt x="1478" y="2259"/>
                  </a:lnTo>
                  <a:lnTo>
                    <a:pt x="1490" y="2259"/>
                  </a:lnTo>
                  <a:lnTo>
                    <a:pt x="1478" y="2259"/>
                  </a:lnTo>
                  <a:lnTo>
                    <a:pt x="1504" y="2266"/>
                  </a:lnTo>
                  <a:lnTo>
                    <a:pt x="1559" y="2254"/>
                  </a:lnTo>
                  <a:lnTo>
                    <a:pt x="1559" y="2242"/>
                  </a:lnTo>
                  <a:lnTo>
                    <a:pt x="1542" y="2237"/>
                  </a:lnTo>
                  <a:lnTo>
                    <a:pt x="1570" y="2225"/>
                  </a:lnTo>
                  <a:lnTo>
                    <a:pt x="1528" y="2237"/>
                  </a:lnTo>
                  <a:lnTo>
                    <a:pt x="1549" y="2209"/>
                  </a:lnTo>
                  <a:lnTo>
                    <a:pt x="1533" y="2209"/>
                  </a:lnTo>
                  <a:lnTo>
                    <a:pt x="1542" y="2188"/>
                  </a:lnTo>
                  <a:lnTo>
                    <a:pt x="1559" y="2188"/>
                  </a:lnTo>
                  <a:lnTo>
                    <a:pt x="1542" y="2204"/>
                  </a:lnTo>
                  <a:lnTo>
                    <a:pt x="1566" y="2197"/>
                  </a:lnTo>
                  <a:lnTo>
                    <a:pt x="1587" y="2221"/>
                  </a:lnTo>
                  <a:lnTo>
                    <a:pt x="1596" y="2209"/>
                  </a:lnTo>
                  <a:lnTo>
                    <a:pt x="1580" y="2204"/>
                  </a:lnTo>
                  <a:lnTo>
                    <a:pt x="1596" y="2197"/>
                  </a:lnTo>
                  <a:lnTo>
                    <a:pt x="1596" y="2204"/>
                  </a:lnTo>
                  <a:lnTo>
                    <a:pt x="1604" y="2209"/>
                  </a:lnTo>
                  <a:lnTo>
                    <a:pt x="1596" y="2197"/>
                  </a:lnTo>
                  <a:lnTo>
                    <a:pt x="1566" y="2188"/>
                  </a:lnTo>
                  <a:lnTo>
                    <a:pt x="1604" y="2181"/>
                  </a:lnTo>
                  <a:lnTo>
                    <a:pt x="1580" y="2181"/>
                  </a:lnTo>
                  <a:lnTo>
                    <a:pt x="1580" y="2164"/>
                  </a:lnTo>
                  <a:lnTo>
                    <a:pt x="1587" y="2164"/>
                  </a:lnTo>
                  <a:lnTo>
                    <a:pt x="1549" y="2181"/>
                  </a:lnTo>
                  <a:lnTo>
                    <a:pt x="1533" y="2181"/>
                  </a:lnTo>
                  <a:lnTo>
                    <a:pt x="1559" y="2148"/>
                  </a:lnTo>
                  <a:lnTo>
                    <a:pt x="1604" y="2143"/>
                  </a:lnTo>
                  <a:lnTo>
                    <a:pt x="1549" y="2143"/>
                  </a:lnTo>
                  <a:lnTo>
                    <a:pt x="1559" y="2126"/>
                  </a:lnTo>
                  <a:lnTo>
                    <a:pt x="1587" y="2131"/>
                  </a:lnTo>
                  <a:lnTo>
                    <a:pt x="1559" y="2114"/>
                  </a:lnTo>
                  <a:lnTo>
                    <a:pt x="1570" y="2110"/>
                  </a:lnTo>
                  <a:lnTo>
                    <a:pt x="1604" y="2110"/>
                  </a:lnTo>
                  <a:lnTo>
                    <a:pt x="1596" y="2093"/>
                  </a:lnTo>
                  <a:lnTo>
                    <a:pt x="1570" y="2086"/>
                  </a:lnTo>
                  <a:lnTo>
                    <a:pt x="1596" y="2077"/>
                  </a:lnTo>
                  <a:lnTo>
                    <a:pt x="1528" y="2086"/>
                  </a:lnTo>
                  <a:lnTo>
                    <a:pt x="1559" y="2077"/>
                  </a:lnTo>
                  <a:lnTo>
                    <a:pt x="1528" y="2070"/>
                  </a:lnTo>
                  <a:lnTo>
                    <a:pt x="1511" y="2086"/>
                  </a:lnTo>
                  <a:lnTo>
                    <a:pt x="1452" y="2070"/>
                  </a:lnTo>
                  <a:lnTo>
                    <a:pt x="1424" y="2044"/>
                  </a:lnTo>
                  <a:lnTo>
                    <a:pt x="1344" y="2032"/>
                  </a:lnTo>
                  <a:lnTo>
                    <a:pt x="1289" y="1987"/>
                  </a:lnTo>
                  <a:lnTo>
                    <a:pt x="1327" y="1966"/>
                  </a:lnTo>
                  <a:lnTo>
                    <a:pt x="1424" y="1982"/>
                  </a:lnTo>
                  <a:lnTo>
                    <a:pt x="1504" y="2020"/>
                  </a:lnTo>
                  <a:lnTo>
                    <a:pt x="1570" y="2037"/>
                  </a:lnTo>
                  <a:lnTo>
                    <a:pt x="1580" y="2032"/>
                  </a:lnTo>
                  <a:lnTo>
                    <a:pt x="1566" y="2020"/>
                  </a:lnTo>
                  <a:lnTo>
                    <a:pt x="1580" y="2015"/>
                  </a:lnTo>
                  <a:lnTo>
                    <a:pt x="1549" y="2020"/>
                  </a:lnTo>
                  <a:lnTo>
                    <a:pt x="1516" y="2003"/>
                  </a:lnTo>
                  <a:lnTo>
                    <a:pt x="1528" y="1999"/>
                  </a:lnTo>
                  <a:lnTo>
                    <a:pt x="1549" y="2015"/>
                  </a:lnTo>
                  <a:lnTo>
                    <a:pt x="1566" y="2003"/>
                  </a:lnTo>
                  <a:lnTo>
                    <a:pt x="1542" y="1999"/>
                  </a:lnTo>
                  <a:lnTo>
                    <a:pt x="1570" y="1999"/>
                  </a:lnTo>
                  <a:lnTo>
                    <a:pt x="1511" y="1982"/>
                  </a:lnTo>
                  <a:lnTo>
                    <a:pt x="1528" y="1975"/>
                  </a:lnTo>
                  <a:lnTo>
                    <a:pt x="1570" y="1982"/>
                  </a:lnTo>
                  <a:lnTo>
                    <a:pt x="1549" y="1975"/>
                  </a:lnTo>
                  <a:lnTo>
                    <a:pt x="1559" y="1966"/>
                  </a:lnTo>
                  <a:lnTo>
                    <a:pt x="1533" y="1966"/>
                  </a:lnTo>
                  <a:lnTo>
                    <a:pt x="1478" y="1942"/>
                  </a:lnTo>
                  <a:lnTo>
                    <a:pt x="1549" y="1949"/>
                  </a:lnTo>
                  <a:lnTo>
                    <a:pt x="1511" y="1942"/>
                  </a:lnTo>
                  <a:lnTo>
                    <a:pt x="1528" y="1926"/>
                  </a:lnTo>
                  <a:lnTo>
                    <a:pt x="1457" y="1933"/>
                  </a:lnTo>
                  <a:lnTo>
                    <a:pt x="1511" y="1909"/>
                  </a:lnTo>
                  <a:lnTo>
                    <a:pt x="1504" y="1904"/>
                  </a:lnTo>
                  <a:lnTo>
                    <a:pt x="1436" y="1926"/>
                  </a:lnTo>
                  <a:lnTo>
                    <a:pt x="1457" y="1909"/>
                  </a:lnTo>
                  <a:lnTo>
                    <a:pt x="1457" y="1904"/>
                  </a:lnTo>
                  <a:lnTo>
                    <a:pt x="1516" y="1888"/>
                  </a:lnTo>
                  <a:lnTo>
                    <a:pt x="1495" y="1876"/>
                  </a:lnTo>
                  <a:lnTo>
                    <a:pt x="1441" y="1892"/>
                  </a:lnTo>
                  <a:lnTo>
                    <a:pt x="1403" y="1892"/>
                  </a:lnTo>
                  <a:lnTo>
                    <a:pt x="1441" y="1871"/>
                  </a:lnTo>
                  <a:lnTo>
                    <a:pt x="1490" y="1871"/>
                  </a:lnTo>
                  <a:lnTo>
                    <a:pt x="1504" y="1855"/>
                  </a:lnTo>
                  <a:lnTo>
                    <a:pt x="1462" y="1864"/>
                  </a:lnTo>
                  <a:lnTo>
                    <a:pt x="1386" y="1855"/>
                  </a:lnTo>
                  <a:lnTo>
                    <a:pt x="1424" y="1814"/>
                  </a:lnTo>
                  <a:lnTo>
                    <a:pt x="1408" y="1822"/>
                  </a:lnTo>
                  <a:lnTo>
                    <a:pt x="1403" y="1831"/>
                  </a:lnTo>
                  <a:lnTo>
                    <a:pt x="1382" y="1838"/>
                  </a:lnTo>
                  <a:lnTo>
                    <a:pt x="1382" y="1810"/>
                  </a:lnTo>
                  <a:lnTo>
                    <a:pt x="1353" y="1798"/>
                  </a:lnTo>
                  <a:lnTo>
                    <a:pt x="1344" y="1765"/>
                  </a:lnTo>
                  <a:lnTo>
                    <a:pt x="1365" y="1765"/>
                  </a:lnTo>
                  <a:lnTo>
                    <a:pt x="1332" y="1765"/>
                  </a:lnTo>
                  <a:lnTo>
                    <a:pt x="1382" y="1831"/>
                  </a:lnTo>
                  <a:lnTo>
                    <a:pt x="1353" y="1848"/>
                  </a:lnTo>
                  <a:lnTo>
                    <a:pt x="1344" y="1848"/>
                  </a:lnTo>
                  <a:lnTo>
                    <a:pt x="1348" y="1855"/>
                  </a:lnTo>
                  <a:lnTo>
                    <a:pt x="1348" y="1864"/>
                  </a:lnTo>
                  <a:lnTo>
                    <a:pt x="1327" y="1855"/>
                  </a:lnTo>
                  <a:lnTo>
                    <a:pt x="1327" y="1864"/>
                  </a:lnTo>
                  <a:lnTo>
                    <a:pt x="1344" y="1871"/>
                  </a:lnTo>
                  <a:lnTo>
                    <a:pt x="1344" y="1888"/>
                  </a:lnTo>
                  <a:lnTo>
                    <a:pt x="1278" y="1904"/>
                  </a:lnTo>
                  <a:lnTo>
                    <a:pt x="1247" y="1876"/>
                  </a:lnTo>
                  <a:lnTo>
                    <a:pt x="1256" y="1892"/>
                  </a:lnTo>
                  <a:lnTo>
                    <a:pt x="1240" y="1892"/>
                  </a:lnTo>
                  <a:lnTo>
                    <a:pt x="1219" y="1864"/>
                  </a:lnTo>
                  <a:lnTo>
                    <a:pt x="1226" y="1864"/>
                  </a:lnTo>
                  <a:lnTo>
                    <a:pt x="1202" y="1855"/>
                  </a:lnTo>
                  <a:lnTo>
                    <a:pt x="1240" y="1831"/>
                  </a:lnTo>
                  <a:lnTo>
                    <a:pt x="1278" y="1822"/>
                  </a:lnTo>
                  <a:lnTo>
                    <a:pt x="1294" y="1810"/>
                  </a:lnTo>
                  <a:lnTo>
                    <a:pt x="1311" y="1781"/>
                  </a:lnTo>
                  <a:lnTo>
                    <a:pt x="1273" y="1822"/>
                  </a:lnTo>
                  <a:lnTo>
                    <a:pt x="1240" y="1822"/>
                  </a:lnTo>
                  <a:lnTo>
                    <a:pt x="1226" y="1814"/>
                  </a:lnTo>
                  <a:lnTo>
                    <a:pt x="1273" y="1781"/>
                  </a:lnTo>
                  <a:lnTo>
                    <a:pt x="1263" y="1765"/>
                  </a:lnTo>
                  <a:lnTo>
                    <a:pt x="1289" y="1765"/>
                  </a:lnTo>
                  <a:lnTo>
                    <a:pt x="1263" y="1760"/>
                  </a:lnTo>
                  <a:lnTo>
                    <a:pt x="1273" y="1760"/>
                  </a:lnTo>
                  <a:lnTo>
                    <a:pt x="1247" y="1765"/>
                  </a:lnTo>
                  <a:lnTo>
                    <a:pt x="1219" y="1748"/>
                  </a:lnTo>
                  <a:lnTo>
                    <a:pt x="1235" y="1744"/>
                  </a:lnTo>
                  <a:lnTo>
                    <a:pt x="1311" y="1748"/>
                  </a:lnTo>
                  <a:lnTo>
                    <a:pt x="1263" y="1744"/>
                  </a:lnTo>
                  <a:lnTo>
                    <a:pt x="1273" y="1727"/>
                  </a:lnTo>
                  <a:lnTo>
                    <a:pt x="1289" y="1727"/>
                  </a:lnTo>
                  <a:lnTo>
                    <a:pt x="1273" y="1727"/>
                  </a:lnTo>
                  <a:lnTo>
                    <a:pt x="1289" y="1711"/>
                  </a:lnTo>
                  <a:lnTo>
                    <a:pt x="1273" y="1711"/>
                  </a:lnTo>
                  <a:lnTo>
                    <a:pt x="1294" y="1703"/>
                  </a:lnTo>
                  <a:lnTo>
                    <a:pt x="1273" y="1670"/>
                  </a:lnTo>
                  <a:lnTo>
                    <a:pt x="1219" y="1666"/>
                  </a:lnTo>
                  <a:lnTo>
                    <a:pt x="1256" y="1649"/>
                  </a:lnTo>
                  <a:lnTo>
                    <a:pt x="1235" y="1637"/>
                  </a:lnTo>
                  <a:lnTo>
                    <a:pt x="1247" y="1626"/>
                  </a:lnTo>
                  <a:lnTo>
                    <a:pt x="1256" y="1626"/>
                  </a:lnTo>
                  <a:lnTo>
                    <a:pt x="1188" y="1583"/>
                  </a:lnTo>
                  <a:lnTo>
                    <a:pt x="1202" y="1583"/>
                  </a:lnTo>
                  <a:lnTo>
                    <a:pt x="1193" y="1583"/>
                  </a:lnTo>
                  <a:lnTo>
                    <a:pt x="1193" y="1571"/>
                  </a:lnTo>
                  <a:lnTo>
                    <a:pt x="1219" y="1576"/>
                  </a:lnTo>
                  <a:lnTo>
                    <a:pt x="1193" y="1559"/>
                  </a:lnTo>
                  <a:lnTo>
                    <a:pt x="1219" y="1555"/>
                  </a:lnTo>
                  <a:lnTo>
                    <a:pt x="1188" y="1538"/>
                  </a:lnTo>
                  <a:lnTo>
                    <a:pt x="1193" y="1538"/>
                  </a:lnTo>
                  <a:lnTo>
                    <a:pt x="1164" y="1526"/>
                  </a:lnTo>
                  <a:lnTo>
                    <a:pt x="1188" y="1498"/>
                  </a:lnTo>
                  <a:lnTo>
                    <a:pt x="1100" y="1522"/>
                  </a:lnTo>
                  <a:lnTo>
                    <a:pt x="1171" y="1498"/>
                  </a:lnTo>
                  <a:lnTo>
                    <a:pt x="1138" y="1489"/>
                  </a:lnTo>
                  <a:lnTo>
                    <a:pt x="1188" y="1481"/>
                  </a:lnTo>
                  <a:lnTo>
                    <a:pt x="1138" y="1472"/>
                  </a:lnTo>
                  <a:lnTo>
                    <a:pt x="1181" y="1472"/>
                  </a:lnTo>
                  <a:lnTo>
                    <a:pt x="1181" y="1460"/>
                  </a:lnTo>
                  <a:lnTo>
                    <a:pt x="1155" y="1460"/>
                  </a:lnTo>
                  <a:lnTo>
                    <a:pt x="1133" y="1444"/>
                  </a:lnTo>
                  <a:lnTo>
                    <a:pt x="1126" y="1444"/>
                  </a:lnTo>
                  <a:lnTo>
                    <a:pt x="1112" y="1427"/>
                  </a:lnTo>
                  <a:lnTo>
                    <a:pt x="1133" y="1427"/>
                  </a:lnTo>
                  <a:lnTo>
                    <a:pt x="1126" y="1411"/>
                  </a:lnTo>
                  <a:lnTo>
                    <a:pt x="1041" y="1387"/>
                  </a:lnTo>
                  <a:lnTo>
                    <a:pt x="1058" y="1370"/>
                  </a:lnTo>
                  <a:lnTo>
                    <a:pt x="1030" y="1354"/>
                  </a:lnTo>
                  <a:lnTo>
                    <a:pt x="1030" y="1337"/>
                  </a:lnTo>
                  <a:lnTo>
                    <a:pt x="1004" y="1349"/>
                  </a:lnTo>
                  <a:lnTo>
                    <a:pt x="1041" y="1333"/>
                  </a:lnTo>
                  <a:lnTo>
                    <a:pt x="1041" y="1321"/>
                  </a:lnTo>
                  <a:lnTo>
                    <a:pt x="1025" y="1316"/>
                  </a:lnTo>
                  <a:lnTo>
                    <a:pt x="1030" y="1300"/>
                  </a:lnTo>
                  <a:lnTo>
                    <a:pt x="1008" y="1300"/>
                  </a:lnTo>
                  <a:lnTo>
                    <a:pt x="1025" y="1295"/>
                  </a:lnTo>
                  <a:lnTo>
                    <a:pt x="975" y="1295"/>
                  </a:lnTo>
                  <a:lnTo>
                    <a:pt x="971" y="1283"/>
                  </a:lnTo>
                  <a:lnTo>
                    <a:pt x="971" y="1276"/>
                  </a:lnTo>
                  <a:lnTo>
                    <a:pt x="971" y="1266"/>
                  </a:lnTo>
                  <a:lnTo>
                    <a:pt x="933" y="1283"/>
                  </a:lnTo>
                  <a:lnTo>
                    <a:pt x="937" y="1259"/>
                  </a:lnTo>
                  <a:lnTo>
                    <a:pt x="878" y="1238"/>
                  </a:lnTo>
                  <a:lnTo>
                    <a:pt x="862" y="1250"/>
                  </a:lnTo>
                  <a:lnTo>
                    <a:pt x="857" y="1226"/>
                  </a:lnTo>
                  <a:lnTo>
                    <a:pt x="760" y="1222"/>
                  </a:lnTo>
                  <a:lnTo>
                    <a:pt x="756" y="1205"/>
                  </a:lnTo>
                  <a:lnTo>
                    <a:pt x="722" y="1210"/>
                  </a:lnTo>
                  <a:lnTo>
                    <a:pt x="718" y="1222"/>
                  </a:lnTo>
                  <a:lnTo>
                    <a:pt x="706" y="1205"/>
                  </a:lnTo>
                  <a:lnTo>
                    <a:pt x="680" y="1193"/>
                  </a:lnTo>
                  <a:lnTo>
                    <a:pt x="652" y="1222"/>
                  </a:lnTo>
                  <a:lnTo>
                    <a:pt x="630" y="1226"/>
                  </a:lnTo>
                  <a:lnTo>
                    <a:pt x="614" y="1222"/>
                  </a:lnTo>
                  <a:lnTo>
                    <a:pt x="626" y="1205"/>
                  </a:lnTo>
                  <a:lnTo>
                    <a:pt x="597" y="1193"/>
                  </a:lnTo>
                  <a:lnTo>
                    <a:pt x="609" y="1205"/>
                  </a:lnTo>
                  <a:lnTo>
                    <a:pt x="597" y="1222"/>
                  </a:lnTo>
                  <a:lnTo>
                    <a:pt x="588" y="1210"/>
                  </a:lnTo>
                  <a:lnTo>
                    <a:pt x="588" y="1226"/>
                  </a:lnTo>
                  <a:lnTo>
                    <a:pt x="593" y="1226"/>
                  </a:lnTo>
                  <a:lnTo>
                    <a:pt x="538" y="1226"/>
                  </a:lnTo>
                  <a:lnTo>
                    <a:pt x="538" y="1238"/>
                  </a:lnTo>
                  <a:lnTo>
                    <a:pt x="534" y="1243"/>
                  </a:lnTo>
                  <a:lnTo>
                    <a:pt x="500" y="1238"/>
                  </a:lnTo>
                  <a:lnTo>
                    <a:pt x="517" y="1222"/>
                  </a:lnTo>
                  <a:lnTo>
                    <a:pt x="508" y="1222"/>
                  </a:lnTo>
                  <a:lnTo>
                    <a:pt x="522" y="1210"/>
                  </a:lnTo>
                  <a:lnTo>
                    <a:pt x="508" y="1210"/>
                  </a:lnTo>
                  <a:lnTo>
                    <a:pt x="479" y="1205"/>
                  </a:lnTo>
                  <a:lnTo>
                    <a:pt x="463" y="1238"/>
                  </a:lnTo>
                  <a:lnTo>
                    <a:pt x="425" y="1210"/>
                  </a:lnTo>
                  <a:lnTo>
                    <a:pt x="399" y="1226"/>
                  </a:lnTo>
                  <a:lnTo>
                    <a:pt x="463" y="1259"/>
                  </a:lnTo>
                  <a:lnTo>
                    <a:pt x="311" y="1238"/>
                  </a:lnTo>
                  <a:lnTo>
                    <a:pt x="323" y="1226"/>
                  </a:lnTo>
                  <a:lnTo>
                    <a:pt x="290" y="1226"/>
                  </a:lnTo>
                  <a:lnTo>
                    <a:pt x="302" y="1222"/>
                  </a:lnTo>
                  <a:lnTo>
                    <a:pt x="236" y="1193"/>
                  </a:lnTo>
                  <a:lnTo>
                    <a:pt x="302" y="1165"/>
                  </a:lnTo>
                  <a:lnTo>
                    <a:pt x="356" y="1165"/>
                  </a:lnTo>
                  <a:lnTo>
                    <a:pt x="356" y="1148"/>
                  </a:lnTo>
                  <a:lnTo>
                    <a:pt x="269" y="1148"/>
                  </a:lnTo>
                  <a:lnTo>
                    <a:pt x="205" y="1132"/>
                  </a:lnTo>
                  <a:lnTo>
                    <a:pt x="248" y="1099"/>
                  </a:lnTo>
                  <a:lnTo>
                    <a:pt x="236" y="1099"/>
                  </a:lnTo>
                  <a:lnTo>
                    <a:pt x="177" y="1132"/>
                  </a:lnTo>
                  <a:lnTo>
                    <a:pt x="144" y="1115"/>
                  </a:lnTo>
                  <a:lnTo>
                    <a:pt x="160" y="1111"/>
                  </a:lnTo>
                  <a:lnTo>
                    <a:pt x="130" y="1111"/>
                  </a:lnTo>
                  <a:lnTo>
                    <a:pt x="113" y="1094"/>
                  </a:lnTo>
                  <a:lnTo>
                    <a:pt x="151" y="1077"/>
                  </a:lnTo>
                  <a:lnTo>
                    <a:pt x="144" y="1073"/>
                  </a:lnTo>
                  <a:lnTo>
                    <a:pt x="198" y="1061"/>
                  </a:lnTo>
                  <a:lnTo>
                    <a:pt x="463" y="1077"/>
                  </a:lnTo>
                  <a:lnTo>
                    <a:pt x="479" y="1073"/>
                  </a:lnTo>
                  <a:lnTo>
                    <a:pt x="432" y="1077"/>
                  </a:lnTo>
                  <a:lnTo>
                    <a:pt x="274" y="1061"/>
                  </a:lnTo>
                  <a:lnTo>
                    <a:pt x="378" y="1037"/>
                  </a:lnTo>
                  <a:lnTo>
                    <a:pt x="479" y="1061"/>
                  </a:lnTo>
                  <a:lnTo>
                    <a:pt x="446" y="1037"/>
                  </a:lnTo>
                  <a:lnTo>
                    <a:pt x="484" y="1021"/>
                  </a:lnTo>
                  <a:lnTo>
                    <a:pt x="470" y="1004"/>
                  </a:lnTo>
                  <a:lnTo>
                    <a:pt x="437" y="1000"/>
                  </a:lnTo>
                  <a:lnTo>
                    <a:pt x="415" y="1000"/>
                  </a:lnTo>
                  <a:lnTo>
                    <a:pt x="382" y="1021"/>
                  </a:lnTo>
                  <a:lnTo>
                    <a:pt x="328" y="1021"/>
                  </a:lnTo>
                  <a:lnTo>
                    <a:pt x="302" y="1000"/>
                  </a:lnTo>
                  <a:lnTo>
                    <a:pt x="290" y="1000"/>
                  </a:lnTo>
                  <a:lnTo>
                    <a:pt x="307" y="1021"/>
                  </a:lnTo>
                  <a:lnTo>
                    <a:pt x="257" y="1028"/>
                  </a:lnTo>
                  <a:lnTo>
                    <a:pt x="193" y="1016"/>
                  </a:lnTo>
                  <a:lnTo>
                    <a:pt x="248" y="1000"/>
                  </a:lnTo>
                  <a:lnTo>
                    <a:pt x="248" y="983"/>
                  </a:lnTo>
                  <a:lnTo>
                    <a:pt x="167" y="1000"/>
                  </a:lnTo>
                  <a:lnTo>
                    <a:pt x="215" y="971"/>
                  </a:lnTo>
                  <a:lnTo>
                    <a:pt x="122" y="983"/>
                  </a:lnTo>
                  <a:lnTo>
                    <a:pt x="113" y="983"/>
                  </a:lnTo>
                  <a:lnTo>
                    <a:pt x="130" y="966"/>
                  </a:lnTo>
                  <a:lnTo>
                    <a:pt x="75" y="966"/>
                  </a:lnTo>
                  <a:lnTo>
                    <a:pt x="42" y="945"/>
                  </a:lnTo>
                  <a:lnTo>
                    <a:pt x="54" y="945"/>
                  </a:lnTo>
                  <a:lnTo>
                    <a:pt x="0" y="917"/>
                  </a:lnTo>
                  <a:lnTo>
                    <a:pt x="37" y="905"/>
                  </a:lnTo>
                  <a:lnTo>
                    <a:pt x="16" y="893"/>
                  </a:lnTo>
                  <a:lnTo>
                    <a:pt x="30" y="877"/>
                  </a:lnTo>
                  <a:lnTo>
                    <a:pt x="30" y="872"/>
                  </a:lnTo>
                  <a:lnTo>
                    <a:pt x="30" y="860"/>
                  </a:lnTo>
                  <a:lnTo>
                    <a:pt x="97" y="851"/>
                  </a:lnTo>
                  <a:lnTo>
                    <a:pt x="151" y="851"/>
                  </a:lnTo>
                  <a:lnTo>
                    <a:pt x="160" y="839"/>
                  </a:lnTo>
                  <a:lnTo>
                    <a:pt x="269" y="806"/>
                  </a:lnTo>
                  <a:lnTo>
                    <a:pt x="302" y="815"/>
                  </a:lnTo>
                  <a:lnTo>
                    <a:pt x="269" y="799"/>
                  </a:lnTo>
                  <a:lnTo>
                    <a:pt x="328" y="778"/>
                  </a:lnTo>
                  <a:lnTo>
                    <a:pt x="371" y="782"/>
                  </a:lnTo>
                  <a:lnTo>
                    <a:pt x="382" y="766"/>
                  </a:lnTo>
                  <a:lnTo>
                    <a:pt x="491" y="778"/>
                  </a:lnTo>
                  <a:lnTo>
                    <a:pt x="576" y="704"/>
                  </a:lnTo>
                  <a:lnTo>
                    <a:pt x="555" y="655"/>
                  </a:lnTo>
                  <a:lnTo>
                    <a:pt x="559" y="638"/>
                  </a:lnTo>
                  <a:lnTo>
                    <a:pt x="555" y="629"/>
                  </a:lnTo>
                  <a:lnTo>
                    <a:pt x="647" y="600"/>
                  </a:lnTo>
                  <a:lnTo>
                    <a:pt x="626" y="600"/>
                  </a:lnTo>
                  <a:lnTo>
                    <a:pt x="614" y="584"/>
                  </a:lnTo>
                  <a:lnTo>
                    <a:pt x="609" y="600"/>
                  </a:lnTo>
                  <a:lnTo>
                    <a:pt x="571" y="617"/>
                  </a:lnTo>
                  <a:lnTo>
                    <a:pt x="415" y="617"/>
                  </a:lnTo>
                  <a:lnTo>
                    <a:pt x="408" y="600"/>
                  </a:lnTo>
                  <a:lnTo>
                    <a:pt x="382" y="596"/>
                  </a:lnTo>
                  <a:lnTo>
                    <a:pt x="394" y="572"/>
                  </a:lnTo>
                  <a:lnTo>
                    <a:pt x="437" y="555"/>
                  </a:lnTo>
                  <a:lnTo>
                    <a:pt x="437" y="539"/>
                  </a:lnTo>
                  <a:lnTo>
                    <a:pt x="522" y="518"/>
                  </a:lnTo>
                  <a:lnTo>
                    <a:pt x="517" y="506"/>
                  </a:lnTo>
                  <a:lnTo>
                    <a:pt x="555" y="501"/>
                  </a:lnTo>
                  <a:lnTo>
                    <a:pt x="559" y="489"/>
                  </a:lnTo>
                  <a:lnTo>
                    <a:pt x="559" y="485"/>
                  </a:lnTo>
                  <a:lnTo>
                    <a:pt x="588" y="473"/>
                  </a:lnTo>
                  <a:lnTo>
                    <a:pt x="576" y="461"/>
                  </a:lnTo>
                  <a:lnTo>
                    <a:pt x="652" y="433"/>
                  </a:lnTo>
                  <a:lnTo>
                    <a:pt x="668" y="444"/>
                  </a:lnTo>
                  <a:lnTo>
                    <a:pt x="680" y="466"/>
                  </a:lnTo>
                  <a:lnTo>
                    <a:pt x="718" y="501"/>
                  </a:lnTo>
                  <a:lnTo>
                    <a:pt x="722" y="501"/>
                  </a:lnTo>
                  <a:lnTo>
                    <a:pt x="685" y="466"/>
                  </a:lnTo>
                  <a:lnTo>
                    <a:pt x="680" y="433"/>
                  </a:lnTo>
                  <a:lnTo>
                    <a:pt x="718" y="416"/>
                  </a:lnTo>
                  <a:lnTo>
                    <a:pt x="803" y="449"/>
                  </a:lnTo>
                  <a:lnTo>
                    <a:pt x="841" y="444"/>
                  </a:lnTo>
                  <a:lnTo>
                    <a:pt x="848" y="433"/>
                  </a:lnTo>
                  <a:lnTo>
                    <a:pt x="824" y="395"/>
                  </a:lnTo>
                  <a:lnTo>
                    <a:pt x="862" y="374"/>
                  </a:lnTo>
                  <a:lnTo>
                    <a:pt x="810" y="333"/>
                  </a:lnTo>
                  <a:lnTo>
                    <a:pt x="857" y="305"/>
                  </a:lnTo>
                  <a:lnTo>
                    <a:pt x="911" y="300"/>
                  </a:lnTo>
                  <a:lnTo>
                    <a:pt x="992" y="305"/>
                  </a:lnTo>
                  <a:lnTo>
                    <a:pt x="1008" y="350"/>
                  </a:lnTo>
                  <a:lnTo>
                    <a:pt x="1079" y="355"/>
                  </a:lnTo>
                  <a:lnTo>
                    <a:pt x="1112" y="390"/>
                  </a:lnTo>
                  <a:lnTo>
                    <a:pt x="1155" y="407"/>
                  </a:lnTo>
                  <a:lnTo>
                    <a:pt x="1164" y="407"/>
                  </a:lnTo>
                  <a:lnTo>
                    <a:pt x="1046" y="350"/>
                  </a:lnTo>
                  <a:lnTo>
                    <a:pt x="1020" y="305"/>
                  </a:lnTo>
                  <a:lnTo>
                    <a:pt x="949" y="296"/>
                  </a:lnTo>
                  <a:lnTo>
                    <a:pt x="1155" y="244"/>
                  </a:lnTo>
                  <a:lnTo>
                    <a:pt x="1171" y="263"/>
                  </a:lnTo>
                  <a:lnTo>
                    <a:pt x="1202" y="244"/>
                  </a:lnTo>
                  <a:lnTo>
                    <a:pt x="1247" y="244"/>
                  </a:lnTo>
                  <a:lnTo>
                    <a:pt x="1240" y="251"/>
                  </a:lnTo>
                  <a:lnTo>
                    <a:pt x="1256" y="263"/>
                  </a:lnTo>
                  <a:lnTo>
                    <a:pt x="1247" y="239"/>
                  </a:lnTo>
                  <a:lnTo>
                    <a:pt x="1226" y="239"/>
                  </a:lnTo>
                  <a:lnTo>
                    <a:pt x="1301" y="222"/>
                  </a:lnTo>
                  <a:lnTo>
                    <a:pt x="1365" y="267"/>
                  </a:lnTo>
                  <a:lnTo>
                    <a:pt x="1370" y="305"/>
                  </a:lnTo>
                  <a:lnTo>
                    <a:pt x="1348" y="338"/>
                  </a:lnTo>
                  <a:lnTo>
                    <a:pt x="1348" y="362"/>
                  </a:lnTo>
                  <a:lnTo>
                    <a:pt x="1370" y="374"/>
                  </a:lnTo>
                  <a:lnTo>
                    <a:pt x="1365" y="350"/>
                  </a:lnTo>
                  <a:lnTo>
                    <a:pt x="1408" y="317"/>
                  </a:lnTo>
                  <a:lnTo>
                    <a:pt x="1403" y="284"/>
                  </a:lnTo>
                  <a:lnTo>
                    <a:pt x="1516" y="305"/>
                  </a:lnTo>
                  <a:lnTo>
                    <a:pt x="1618" y="355"/>
                  </a:lnTo>
                  <a:lnTo>
                    <a:pt x="1641" y="350"/>
                  </a:lnTo>
                  <a:lnTo>
                    <a:pt x="1542" y="300"/>
                  </a:lnTo>
                  <a:lnTo>
                    <a:pt x="1625" y="305"/>
                  </a:lnTo>
                  <a:lnTo>
                    <a:pt x="1656" y="300"/>
                  </a:lnTo>
                  <a:lnTo>
                    <a:pt x="1566" y="251"/>
                  </a:lnTo>
                  <a:lnTo>
                    <a:pt x="1533" y="194"/>
                  </a:lnTo>
                  <a:lnTo>
                    <a:pt x="1672" y="206"/>
                  </a:lnTo>
                  <a:lnTo>
                    <a:pt x="1785" y="263"/>
                  </a:lnTo>
                  <a:lnTo>
                    <a:pt x="1873" y="279"/>
                  </a:lnTo>
                  <a:lnTo>
                    <a:pt x="1894" y="284"/>
                  </a:lnTo>
                  <a:lnTo>
                    <a:pt x="1889" y="300"/>
                  </a:lnTo>
                  <a:lnTo>
                    <a:pt x="1991" y="333"/>
                  </a:lnTo>
                  <a:lnTo>
                    <a:pt x="2019" y="317"/>
                  </a:lnTo>
                  <a:lnTo>
                    <a:pt x="1982" y="300"/>
                  </a:lnTo>
                  <a:lnTo>
                    <a:pt x="2003" y="296"/>
                  </a:lnTo>
                  <a:lnTo>
                    <a:pt x="1974" y="296"/>
                  </a:lnTo>
                  <a:lnTo>
                    <a:pt x="1996" y="279"/>
                  </a:lnTo>
                  <a:lnTo>
                    <a:pt x="1982" y="251"/>
                  </a:lnTo>
                  <a:lnTo>
                    <a:pt x="1991" y="239"/>
                  </a:lnTo>
                  <a:lnTo>
                    <a:pt x="2154" y="251"/>
                  </a:lnTo>
                  <a:lnTo>
                    <a:pt x="2050" y="227"/>
                  </a:lnTo>
                  <a:lnTo>
                    <a:pt x="2045" y="222"/>
                  </a:lnTo>
                  <a:lnTo>
                    <a:pt x="2050" y="222"/>
                  </a:lnTo>
                  <a:lnTo>
                    <a:pt x="1911" y="152"/>
                  </a:lnTo>
                  <a:lnTo>
                    <a:pt x="2163" y="152"/>
                  </a:lnTo>
                  <a:lnTo>
                    <a:pt x="2175" y="156"/>
                  </a:lnTo>
                  <a:lnTo>
                    <a:pt x="2163" y="168"/>
                  </a:lnTo>
                  <a:lnTo>
                    <a:pt x="2192" y="173"/>
                  </a:lnTo>
                  <a:lnTo>
                    <a:pt x="2192" y="194"/>
                  </a:lnTo>
                  <a:lnTo>
                    <a:pt x="2196" y="206"/>
                  </a:lnTo>
                  <a:lnTo>
                    <a:pt x="2208" y="194"/>
                  </a:lnTo>
                  <a:lnTo>
                    <a:pt x="2208" y="173"/>
                  </a:lnTo>
                  <a:lnTo>
                    <a:pt x="2180" y="156"/>
                  </a:lnTo>
                  <a:lnTo>
                    <a:pt x="2208" y="156"/>
                  </a:lnTo>
                  <a:lnTo>
                    <a:pt x="2298" y="189"/>
                  </a:lnTo>
                  <a:lnTo>
                    <a:pt x="2322" y="222"/>
                  </a:lnTo>
                  <a:lnTo>
                    <a:pt x="2336" y="222"/>
                  </a:lnTo>
                  <a:lnTo>
                    <a:pt x="2315" y="189"/>
                  </a:lnTo>
                  <a:lnTo>
                    <a:pt x="2326" y="178"/>
                  </a:lnTo>
                  <a:lnTo>
                    <a:pt x="2322" y="173"/>
                  </a:lnTo>
                  <a:lnTo>
                    <a:pt x="2305" y="168"/>
                  </a:lnTo>
                  <a:lnTo>
                    <a:pt x="2159" y="135"/>
                  </a:lnTo>
                  <a:lnTo>
                    <a:pt x="1958" y="123"/>
                  </a:lnTo>
                  <a:lnTo>
                    <a:pt x="1974" y="135"/>
                  </a:lnTo>
                  <a:lnTo>
                    <a:pt x="1894" y="140"/>
                  </a:lnTo>
                  <a:lnTo>
                    <a:pt x="1835" y="116"/>
                  </a:lnTo>
                  <a:lnTo>
                    <a:pt x="1894" y="123"/>
                  </a:lnTo>
                  <a:lnTo>
                    <a:pt x="1840" y="111"/>
                  </a:lnTo>
                  <a:lnTo>
                    <a:pt x="1894" y="95"/>
                  </a:lnTo>
                  <a:lnTo>
                    <a:pt x="1958" y="123"/>
                  </a:lnTo>
                  <a:lnTo>
                    <a:pt x="2083" y="123"/>
                  </a:lnTo>
                  <a:lnTo>
                    <a:pt x="1974" y="111"/>
                  </a:lnTo>
                  <a:lnTo>
                    <a:pt x="1927" y="83"/>
                  </a:lnTo>
                  <a:lnTo>
                    <a:pt x="1937" y="83"/>
                  </a:lnTo>
                  <a:lnTo>
                    <a:pt x="2109" y="95"/>
                  </a:lnTo>
                  <a:lnTo>
                    <a:pt x="2033" y="67"/>
                  </a:lnTo>
                  <a:lnTo>
                    <a:pt x="2109" y="67"/>
                  </a:lnTo>
                  <a:lnTo>
                    <a:pt x="2083" y="67"/>
                  </a:lnTo>
                  <a:lnTo>
                    <a:pt x="2126" y="62"/>
                  </a:lnTo>
                  <a:lnTo>
                    <a:pt x="2196" y="78"/>
                  </a:lnTo>
                  <a:lnTo>
                    <a:pt x="2180" y="95"/>
                  </a:lnTo>
                  <a:lnTo>
                    <a:pt x="2208" y="83"/>
                  </a:lnTo>
                  <a:lnTo>
                    <a:pt x="2272" y="116"/>
                  </a:lnTo>
                  <a:lnTo>
                    <a:pt x="2352" y="116"/>
                  </a:lnTo>
                  <a:lnTo>
                    <a:pt x="2411" y="156"/>
                  </a:lnTo>
                  <a:lnTo>
                    <a:pt x="2423" y="140"/>
                  </a:lnTo>
                  <a:lnTo>
                    <a:pt x="2374" y="116"/>
                  </a:lnTo>
                  <a:lnTo>
                    <a:pt x="2504" y="111"/>
                  </a:lnTo>
                  <a:lnTo>
                    <a:pt x="2397" y="100"/>
                  </a:lnTo>
                  <a:lnTo>
                    <a:pt x="2537" y="83"/>
                  </a:lnTo>
                  <a:lnTo>
                    <a:pt x="2407" y="67"/>
                  </a:lnTo>
                  <a:lnTo>
                    <a:pt x="2397" y="62"/>
                  </a:lnTo>
                  <a:lnTo>
                    <a:pt x="2397" y="29"/>
                  </a:lnTo>
                  <a:lnTo>
                    <a:pt x="2466" y="45"/>
                  </a:lnTo>
                  <a:lnTo>
                    <a:pt x="2478" y="45"/>
                  </a:lnTo>
                  <a:lnTo>
                    <a:pt x="2449" y="29"/>
                  </a:lnTo>
                  <a:lnTo>
                    <a:pt x="2482" y="24"/>
                  </a:lnTo>
                  <a:lnTo>
                    <a:pt x="2570" y="45"/>
                  </a:lnTo>
                  <a:lnTo>
                    <a:pt x="2537" y="24"/>
                  </a:lnTo>
                  <a:lnTo>
                    <a:pt x="2714" y="0"/>
                  </a:lnTo>
                  <a:lnTo>
                    <a:pt x="2747" y="29"/>
                  </a:lnTo>
                  <a:lnTo>
                    <a:pt x="2752" y="24"/>
                  </a:lnTo>
                  <a:lnTo>
                    <a:pt x="2730" y="5"/>
                  </a:lnTo>
                  <a:lnTo>
                    <a:pt x="2990" y="0"/>
                  </a:lnTo>
                  <a:lnTo>
                    <a:pt x="3125" y="24"/>
                  </a:lnTo>
                  <a:lnTo>
                    <a:pt x="3092" y="24"/>
                  </a:lnTo>
                  <a:lnTo>
                    <a:pt x="3115" y="41"/>
                  </a:lnTo>
                  <a:lnTo>
                    <a:pt x="3200" y="24"/>
                  </a:lnTo>
                  <a:lnTo>
                    <a:pt x="3326" y="57"/>
                  </a:lnTo>
                  <a:lnTo>
                    <a:pt x="3233" y="83"/>
                  </a:lnTo>
                  <a:lnTo>
                    <a:pt x="3016" y="78"/>
                  </a:lnTo>
                  <a:lnTo>
                    <a:pt x="2882" y="100"/>
                  </a:lnTo>
                  <a:lnTo>
                    <a:pt x="2775" y="83"/>
                  </a:lnTo>
                  <a:lnTo>
                    <a:pt x="2844" y="100"/>
                  </a:lnTo>
                  <a:lnTo>
                    <a:pt x="2624" y="123"/>
                  </a:lnTo>
                  <a:lnTo>
                    <a:pt x="2645" y="135"/>
                  </a:lnTo>
                  <a:lnTo>
                    <a:pt x="2629" y="152"/>
                  </a:lnTo>
                  <a:lnTo>
                    <a:pt x="2638" y="156"/>
                  </a:lnTo>
                  <a:lnTo>
                    <a:pt x="2645" y="140"/>
                  </a:lnTo>
                  <a:lnTo>
                    <a:pt x="2676" y="123"/>
                  </a:lnTo>
                  <a:lnTo>
                    <a:pt x="2747" y="123"/>
                  </a:lnTo>
                  <a:lnTo>
                    <a:pt x="2752" y="140"/>
                  </a:lnTo>
                  <a:lnTo>
                    <a:pt x="2737" y="152"/>
                  </a:lnTo>
                  <a:lnTo>
                    <a:pt x="2747" y="152"/>
                  </a:lnTo>
                  <a:lnTo>
                    <a:pt x="2768" y="116"/>
                  </a:lnTo>
                  <a:lnTo>
                    <a:pt x="2877" y="111"/>
                  </a:lnTo>
                  <a:lnTo>
                    <a:pt x="2898" y="123"/>
                  </a:lnTo>
                  <a:lnTo>
                    <a:pt x="3016" y="83"/>
                  </a:lnTo>
                  <a:lnTo>
                    <a:pt x="3146" y="100"/>
                  </a:lnTo>
                  <a:lnTo>
                    <a:pt x="3352" y="78"/>
                  </a:lnTo>
                  <a:lnTo>
                    <a:pt x="3380" y="95"/>
                  </a:lnTo>
                  <a:lnTo>
                    <a:pt x="3368" y="95"/>
                  </a:lnTo>
                  <a:lnTo>
                    <a:pt x="3385" y="111"/>
                  </a:lnTo>
                  <a:lnTo>
                    <a:pt x="3352" y="140"/>
                  </a:lnTo>
                  <a:lnTo>
                    <a:pt x="3309" y="152"/>
                  </a:lnTo>
                  <a:lnTo>
                    <a:pt x="3439" y="123"/>
                  </a:lnTo>
                  <a:lnTo>
                    <a:pt x="3448" y="135"/>
                  </a:lnTo>
                  <a:lnTo>
                    <a:pt x="3439" y="135"/>
                  </a:lnTo>
                  <a:lnTo>
                    <a:pt x="3439" y="156"/>
                  </a:lnTo>
                  <a:lnTo>
                    <a:pt x="3477" y="135"/>
                  </a:lnTo>
                  <a:lnTo>
                    <a:pt x="3628" y="178"/>
                  </a:lnTo>
                  <a:lnTo>
                    <a:pt x="3545" y="227"/>
                  </a:lnTo>
                  <a:lnTo>
                    <a:pt x="3363" y="263"/>
                  </a:lnTo>
                  <a:lnTo>
                    <a:pt x="3028" y="267"/>
                  </a:lnTo>
                  <a:lnTo>
                    <a:pt x="2910" y="251"/>
                  </a:lnTo>
                  <a:lnTo>
                    <a:pt x="3023" y="267"/>
                  </a:lnTo>
                  <a:lnTo>
                    <a:pt x="2801" y="322"/>
                  </a:lnTo>
                  <a:lnTo>
                    <a:pt x="2806" y="350"/>
                  </a:lnTo>
                  <a:lnTo>
                    <a:pt x="2898" y="317"/>
                  </a:lnTo>
                  <a:lnTo>
                    <a:pt x="3040" y="300"/>
                  </a:lnTo>
                  <a:lnTo>
                    <a:pt x="3028" y="305"/>
                  </a:lnTo>
                  <a:lnTo>
                    <a:pt x="3044" y="305"/>
                  </a:lnTo>
                  <a:lnTo>
                    <a:pt x="3082" y="296"/>
                  </a:lnTo>
                  <a:lnTo>
                    <a:pt x="3352" y="296"/>
                  </a:lnTo>
                  <a:lnTo>
                    <a:pt x="3347" y="317"/>
                  </a:lnTo>
                  <a:lnTo>
                    <a:pt x="3342" y="333"/>
                  </a:lnTo>
                  <a:lnTo>
                    <a:pt x="3184" y="378"/>
                  </a:lnTo>
                  <a:lnTo>
                    <a:pt x="3217" y="390"/>
                  </a:lnTo>
                  <a:lnTo>
                    <a:pt x="3184" y="395"/>
                  </a:lnTo>
                  <a:lnTo>
                    <a:pt x="3205" y="395"/>
                  </a:lnTo>
                  <a:lnTo>
                    <a:pt x="3368" y="338"/>
                  </a:lnTo>
                  <a:lnTo>
                    <a:pt x="3422" y="338"/>
                  </a:lnTo>
                  <a:lnTo>
                    <a:pt x="3432" y="333"/>
                  </a:lnTo>
                  <a:lnTo>
                    <a:pt x="3432" y="300"/>
                  </a:lnTo>
                  <a:lnTo>
                    <a:pt x="3439" y="284"/>
                  </a:lnTo>
                  <a:lnTo>
                    <a:pt x="3557" y="279"/>
                  </a:lnTo>
                  <a:lnTo>
                    <a:pt x="3578" y="300"/>
                  </a:lnTo>
                  <a:lnTo>
                    <a:pt x="3578" y="333"/>
                  </a:lnTo>
                  <a:lnTo>
                    <a:pt x="3562" y="378"/>
                  </a:lnTo>
                  <a:lnTo>
                    <a:pt x="3541" y="407"/>
                  </a:lnTo>
                  <a:lnTo>
                    <a:pt x="3507" y="411"/>
                  </a:lnTo>
                  <a:lnTo>
                    <a:pt x="3524" y="411"/>
                  </a:lnTo>
                  <a:lnTo>
                    <a:pt x="3448" y="473"/>
                  </a:lnTo>
                  <a:lnTo>
                    <a:pt x="3456" y="489"/>
                  </a:lnTo>
                  <a:lnTo>
                    <a:pt x="3439" y="506"/>
                  </a:lnTo>
                  <a:lnTo>
                    <a:pt x="3406" y="518"/>
                  </a:lnTo>
                  <a:lnTo>
                    <a:pt x="3432" y="518"/>
                  </a:lnTo>
                  <a:lnTo>
                    <a:pt x="3401" y="539"/>
                  </a:lnTo>
                  <a:lnTo>
                    <a:pt x="3465" y="506"/>
                  </a:lnTo>
                  <a:lnTo>
                    <a:pt x="3470" y="489"/>
                  </a:lnTo>
                  <a:lnTo>
                    <a:pt x="3470" y="473"/>
                  </a:lnTo>
                  <a:lnTo>
                    <a:pt x="3524" y="461"/>
                  </a:lnTo>
                  <a:lnTo>
                    <a:pt x="3666" y="362"/>
                  </a:lnTo>
                  <a:lnTo>
                    <a:pt x="3725" y="338"/>
                  </a:lnTo>
                  <a:lnTo>
                    <a:pt x="3704" y="355"/>
                  </a:lnTo>
                  <a:lnTo>
                    <a:pt x="3692" y="378"/>
                  </a:lnTo>
                  <a:lnTo>
                    <a:pt x="3772" y="362"/>
                  </a:lnTo>
                  <a:lnTo>
                    <a:pt x="3796" y="378"/>
                  </a:lnTo>
                  <a:lnTo>
                    <a:pt x="3810" y="374"/>
                  </a:lnTo>
                  <a:lnTo>
                    <a:pt x="3855" y="378"/>
                  </a:lnTo>
                  <a:lnTo>
                    <a:pt x="3855" y="362"/>
                  </a:lnTo>
                  <a:lnTo>
                    <a:pt x="3885" y="355"/>
                  </a:lnTo>
                  <a:lnTo>
                    <a:pt x="3864" y="350"/>
                  </a:lnTo>
                  <a:lnTo>
                    <a:pt x="3871" y="333"/>
                  </a:lnTo>
                  <a:lnTo>
                    <a:pt x="3902" y="338"/>
                  </a:lnTo>
                  <a:lnTo>
                    <a:pt x="3897" y="333"/>
                  </a:lnTo>
                  <a:lnTo>
                    <a:pt x="3897" y="317"/>
                  </a:lnTo>
                  <a:lnTo>
                    <a:pt x="3935" y="317"/>
                  </a:lnTo>
                  <a:lnTo>
                    <a:pt x="3952" y="300"/>
                  </a:lnTo>
                  <a:lnTo>
                    <a:pt x="4086" y="300"/>
                  </a:lnTo>
                  <a:lnTo>
                    <a:pt x="4195" y="322"/>
                  </a:lnTo>
                  <a:lnTo>
                    <a:pt x="4263" y="355"/>
                  </a:lnTo>
                  <a:lnTo>
                    <a:pt x="4136" y="433"/>
                  </a:lnTo>
                  <a:lnTo>
                    <a:pt x="4070" y="433"/>
                  </a:lnTo>
                  <a:lnTo>
                    <a:pt x="4060" y="444"/>
                  </a:lnTo>
                  <a:lnTo>
                    <a:pt x="4098" y="466"/>
                  </a:lnTo>
                  <a:lnTo>
                    <a:pt x="4011" y="489"/>
                  </a:lnTo>
                  <a:lnTo>
                    <a:pt x="3994" y="506"/>
                  </a:lnTo>
                  <a:lnTo>
                    <a:pt x="3864" y="489"/>
                  </a:lnTo>
                  <a:lnTo>
                    <a:pt x="3855" y="506"/>
                  </a:lnTo>
                  <a:lnTo>
                    <a:pt x="3817" y="522"/>
                  </a:lnTo>
                  <a:lnTo>
                    <a:pt x="3708" y="518"/>
                  </a:lnTo>
                  <a:lnTo>
                    <a:pt x="3682" y="527"/>
                  </a:lnTo>
                  <a:lnTo>
                    <a:pt x="3633" y="527"/>
                  </a:lnTo>
                  <a:lnTo>
                    <a:pt x="3666" y="544"/>
                  </a:lnTo>
                  <a:lnTo>
                    <a:pt x="3720" y="522"/>
                  </a:lnTo>
                  <a:lnTo>
                    <a:pt x="3826" y="539"/>
                  </a:lnTo>
                  <a:lnTo>
                    <a:pt x="3897" y="522"/>
                  </a:lnTo>
                  <a:lnTo>
                    <a:pt x="3994" y="544"/>
                  </a:lnTo>
                  <a:lnTo>
                    <a:pt x="3961" y="560"/>
                  </a:lnTo>
                  <a:lnTo>
                    <a:pt x="3952" y="560"/>
                  </a:lnTo>
                  <a:lnTo>
                    <a:pt x="3956" y="572"/>
                  </a:lnTo>
                  <a:lnTo>
                    <a:pt x="3918" y="584"/>
                  </a:lnTo>
                  <a:lnTo>
                    <a:pt x="3741" y="577"/>
                  </a:lnTo>
                  <a:lnTo>
                    <a:pt x="3682" y="612"/>
                  </a:lnTo>
                  <a:lnTo>
                    <a:pt x="3692" y="612"/>
                  </a:lnTo>
                  <a:lnTo>
                    <a:pt x="3682" y="629"/>
                  </a:lnTo>
                  <a:lnTo>
                    <a:pt x="3687" y="629"/>
                  </a:lnTo>
                  <a:lnTo>
                    <a:pt x="3666" y="650"/>
                  </a:lnTo>
                  <a:lnTo>
                    <a:pt x="3687" y="650"/>
                  </a:lnTo>
                  <a:lnTo>
                    <a:pt x="3692" y="666"/>
                  </a:lnTo>
                  <a:lnTo>
                    <a:pt x="3725" y="650"/>
                  </a:lnTo>
                  <a:lnTo>
                    <a:pt x="3704" y="655"/>
                  </a:lnTo>
                  <a:lnTo>
                    <a:pt x="3704" y="650"/>
                  </a:lnTo>
                  <a:lnTo>
                    <a:pt x="3720" y="633"/>
                  </a:lnTo>
                  <a:lnTo>
                    <a:pt x="3772" y="612"/>
                  </a:lnTo>
                  <a:lnTo>
                    <a:pt x="3864" y="600"/>
                  </a:lnTo>
                  <a:lnTo>
                    <a:pt x="3897" y="617"/>
                  </a:lnTo>
                  <a:lnTo>
                    <a:pt x="3843" y="666"/>
                  </a:lnTo>
                  <a:lnTo>
                    <a:pt x="3772" y="655"/>
                  </a:lnTo>
                  <a:lnTo>
                    <a:pt x="3746" y="683"/>
                  </a:lnTo>
                  <a:lnTo>
                    <a:pt x="3746" y="695"/>
                  </a:lnTo>
                  <a:lnTo>
                    <a:pt x="3734" y="711"/>
                  </a:lnTo>
                  <a:lnTo>
                    <a:pt x="3741" y="728"/>
                  </a:lnTo>
                  <a:lnTo>
                    <a:pt x="3725" y="761"/>
                  </a:lnTo>
                  <a:lnTo>
                    <a:pt x="3746" y="740"/>
                  </a:lnTo>
                  <a:lnTo>
                    <a:pt x="3779" y="740"/>
                  </a:lnTo>
                  <a:lnTo>
                    <a:pt x="3772" y="749"/>
                  </a:lnTo>
                  <a:lnTo>
                    <a:pt x="3789" y="761"/>
                  </a:lnTo>
                  <a:lnTo>
                    <a:pt x="3763" y="761"/>
                  </a:lnTo>
                  <a:lnTo>
                    <a:pt x="3772" y="744"/>
                  </a:lnTo>
                  <a:lnTo>
                    <a:pt x="3763" y="744"/>
                  </a:lnTo>
                  <a:lnTo>
                    <a:pt x="3746" y="749"/>
                  </a:lnTo>
                  <a:lnTo>
                    <a:pt x="3746" y="766"/>
                  </a:lnTo>
                  <a:lnTo>
                    <a:pt x="3708" y="778"/>
                  </a:lnTo>
                  <a:lnTo>
                    <a:pt x="3725" y="794"/>
                  </a:lnTo>
                  <a:lnTo>
                    <a:pt x="3720" y="806"/>
                  </a:lnTo>
                  <a:lnTo>
                    <a:pt x="3633" y="815"/>
                  </a:lnTo>
                  <a:lnTo>
                    <a:pt x="3654" y="839"/>
                  </a:lnTo>
                  <a:lnTo>
                    <a:pt x="3616" y="851"/>
                  </a:lnTo>
                  <a:lnTo>
                    <a:pt x="3654" y="851"/>
                  </a:lnTo>
                  <a:lnTo>
                    <a:pt x="3628" y="905"/>
                  </a:lnTo>
                  <a:lnTo>
                    <a:pt x="3628" y="910"/>
                  </a:lnTo>
                  <a:lnTo>
                    <a:pt x="3595" y="926"/>
                  </a:lnTo>
                  <a:lnTo>
                    <a:pt x="3616" y="926"/>
                  </a:lnTo>
                  <a:lnTo>
                    <a:pt x="3595" y="945"/>
                  </a:lnTo>
                  <a:lnTo>
                    <a:pt x="3583" y="962"/>
                  </a:lnTo>
                  <a:lnTo>
                    <a:pt x="3611" y="950"/>
                  </a:lnTo>
                  <a:lnTo>
                    <a:pt x="3578" y="1000"/>
                  </a:lnTo>
                  <a:lnTo>
                    <a:pt x="3616" y="1000"/>
                  </a:lnTo>
                  <a:lnTo>
                    <a:pt x="3595" y="1016"/>
                  </a:lnTo>
                  <a:lnTo>
                    <a:pt x="3611" y="1016"/>
                  </a:lnTo>
                  <a:lnTo>
                    <a:pt x="3616" y="1004"/>
                  </a:lnTo>
                  <a:lnTo>
                    <a:pt x="3628" y="971"/>
                  </a:lnTo>
                  <a:lnTo>
                    <a:pt x="3654" y="945"/>
                  </a:lnTo>
                  <a:lnTo>
                    <a:pt x="3692" y="966"/>
                  </a:lnTo>
                  <a:lnTo>
                    <a:pt x="3772" y="983"/>
                  </a:lnTo>
                  <a:lnTo>
                    <a:pt x="3796" y="1004"/>
                  </a:lnTo>
                  <a:lnTo>
                    <a:pt x="3763" y="1016"/>
                  </a:lnTo>
                  <a:lnTo>
                    <a:pt x="3704" y="988"/>
                  </a:lnTo>
                  <a:lnTo>
                    <a:pt x="3654" y="1000"/>
                  </a:lnTo>
                  <a:lnTo>
                    <a:pt x="3704" y="1016"/>
                  </a:lnTo>
                  <a:lnTo>
                    <a:pt x="3670" y="1016"/>
                  </a:lnTo>
                  <a:lnTo>
                    <a:pt x="3692" y="1021"/>
                  </a:lnTo>
                  <a:lnTo>
                    <a:pt x="3649" y="1016"/>
                  </a:lnTo>
                  <a:lnTo>
                    <a:pt x="3720" y="1028"/>
                  </a:lnTo>
                  <a:lnTo>
                    <a:pt x="3666" y="1037"/>
                  </a:lnTo>
                  <a:lnTo>
                    <a:pt x="3741" y="1037"/>
                  </a:lnTo>
                  <a:lnTo>
                    <a:pt x="3763" y="1054"/>
                  </a:lnTo>
                  <a:lnTo>
                    <a:pt x="3758" y="1061"/>
                  </a:lnTo>
                  <a:lnTo>
                    <a:pt x="3789" y="1073"/>
                  </a:lnTo>
                  <a:lnTo>
                    <a:pt x="3789" y="1054"/>
                  </a:lnTo>
                  <a:lnTo>
                    <a:pt x="3796" y="1044"/>
                  </a:lnTo>
                  <a:lnTo>
                    <a:pt x="3833" y="1044"/>
                  </a:lnTo>
                  <a:lnTo>
                    <a:pt x="3843" y="1061"/>
                  </a:lnTo>
                  <a:lnTo>
                    <a:pt x="3848" y="1111"/>
                  </a:lnTo>
                  <a:lnTo>
                    <a:pt x="3843" y="1132"/>
                  </a:lnTo>
                  <a:lnTo>
                    <a:pt x="3826" y="1132"/>
                  </a:lnTo>
                  <a:lnTo>
                    <a:pt x="3826" y="1139"/>
                  </a:lnTo>
                  <a:lnTo>
                    <a:pt x="3796" y="1127"/>
                  </a:lnTo>
                  <a:lnTo>
                    <a:pt x="3670" y="1099"/>
                  </a:lnTo>
                  <a:lnTo>
                    <a:pt x="3649" y="1111"/>
                  </a:lnTo>
                  <a:lnTo>
                    <a:pt x="3682" y="1111"/>
                  </a:lnTo>
                  <a:lnTo>
                    <a:pt x="3595" y="1115"/>
                  </a:lnTo>
                  <a:lnTo>
                    <a:pt x="3654" y="1127"/>
                  </a:lnTo>
                  <a:lnTo>
                    <a:pt x="3628" y="1132"/>
                  </a:lnTo>
                  <a:lnTo>
                    <a:pt x="3611" y="1155"/>
                  </a:lnTo>
                  <a:lnTo>
                    <a:pt x="3562" y="1127"/>
                  </a:lnTo>
                  <a:lnTo>
                    <a:pt x="3545" y="1127"/>
                  </a:lnTo>
                  <a:lnTo>
                    <a:pt x="3545" y="1139"/>
                  </a:lnTo>
                  <a:lnTo>
                    <a:pt x="3524" y="1148"/>
                  </a:lnTo>
                  <a:lnTo>
                    <a:pt x="3557" y="1172"/>
                  </a:lnTo>
                  <a:lnTo>
                    <a:pt x="3557" y="1165"/>
                  </a:lnTo>
                  <a:lnTo>
                    <a:pt x="3562" y="1155"/>
                  </a:lnTo>
                  <a:lnTo>
                    <a:pt x="3595" y="1165"/>
                  </a:lnTo>
                  <a:lnTo>
                    <a:pt x="3600" y="1172"/>
                  </a:lnTo>
                  <a:lnTo>
                    <a:pt x="3578" y="1184"/>
                  </a:lnTo>
                  <a:lnTo>
                    <a:pt x="3600" y="1184"/>
                  </a:lnTo>
                  <a:lnTo>
                    <a:pt x="3541" y="1184"/>
                  </a:lnTo>
                  <a:lnTo>
                    <a:pt x="3611" y="1189"/>
                  </a:lnTo>
                  <a:lnTo>
                    <a:pt x="3600" y="1210"/>
                  </a:lnTo>
                  <a:lnTo>
                    <a:pt x="3637" y="1205"/>
                  </a:lnTo>
                  <a:lnTo>
                    <a:pt x="3682" y="1226"/>
                  </a:lnTo>
                  <a:lnTo>
                    <a:pt x="3687" y="1226"/>
                  </a:lnTo>
                  <a:lnTo>
                    <a:pt x="3637" y="1205"/>
                  </a:lnTo>
                  <a:lnTo>
                    <a:pt x="3734" y="1222"/>
                  </a:lnTo>
                  <a:lnTo>
                    <a:pt x="3741" y="1226"/>
                  </a:lnTo>
                  <a:lnTo>
                    <a:pt x="3741" y="1243"/>
                  </a:lnTo>
                  <a:lnTo>
                    <a:pt x="3692" y="1250"/>
                  </a:lnTo>
                  <a:lnTo>
                    <a:pt x="3578" y="1250"/>
                  </a:lnTo>
                  <a:lnTo>
                    <a:pt x="3734" y="1259"/>
                  </a:lnTo>
                  <a:lnTo>
                    <a:pt x="3746" y="1283"/>
                  </a:lnTo>
                  <a:lnTo>
                    <a:pt x="3746" y="1300"/>
                  </a:lnTo>
                  <a:lnTo>
                    <a:pt x="3763" y="1316"/>
                  </a:lnTo>
                  <a:lnTo>
                    <a:pt x="3763" y="1337"/>
                  </a:lnTo>
                  <a:lnTo>
                    <a:pt x="3758" y="1370"/>
                  </a:lnTo>
                  <a:lnTo>
                    <a:pt x="3725" y="1377"/>
                  </a:lnTo>
                  <a:lnTo>
                    <a:pt x="3720" y="1370"/>
                  </a:lnTo>
                  <a:lnTo>
                    <a:pt x="3725" y="1354"/>
                  </a:lnTo>
                  <a:lnTo>
                    <a:pt x="3708" y="1349"/>
                  </a:lnTo>
                  <a:lnTo>
                    <a:pt x="3670" y="1354"/>
                  </a:lnTo>
                  <a:lnTo>
                    <a:pt x="3616" y="1316"/>
                  </a:lnTo>
                  <a:lnTo>
                    <a:pt x="3562" y="1300"/>
                  </a:lnTo>
                  <a:lnTo>
                    <a:pt x="3616" y="1333"/>
                  </a:lnTo>
                  <a:lnTo>
                    <a:pt x="3541" y="1316"/>
                  </a:lnTo>
                  <a:lnTo>
                    <a:pt x="3616" y="1333"/>
                  </a:lnTo>
                  <a:lnTo>
                    <a:pt x="3682" y="1377"/>
                  </a:lnTo>
                  <a:lnTo>
                    <a:pt x="3633" y="1377"/>
                  </a:lnTo>
                  <a:lnTo>
                    <a:pt x="3595" y="1406"/>
                  </a:lnTo>
                  <a:lnTo>
                    <a:pt x="3545" y="1370"/>
                  </a:lnTo>
                  <a:lnTo>
                    <a:pt x="3595" y="1406"/>
                  </a:lnTo>
                  <a:lnTo>
                    <a:pt x="3637" y="1387"/>
                  </a:lnTo>
                  <a:lnTo>
                    <a:pt x="3670" y="1387"/>
                  </a:lnTo>
                  <a:lnTo>
                    <a:pt x="3666" y="1415"/>
                  </a:lnTo>
                  <a:lnTo>
                    <a:pt x="3682" y="1432"/>
                  </a:lnTo>
                  <a:lnTo>
                    <a:pt x="3637" y="1444"/>
                  </a:lnTo>
                  <a:lnTo>
                    <a:pt x="3704" y="1444"/>
                  </a:lnTo>
                  <a:lnTo>
                    <a:pt x="3734" y="1460"/>
                  </a:lnTo>
                  <a:lnTo>
                    <a:pt x="3763" y="1444"/>
                  </a:lnTo>
                  <a:lnTo>
                    <a:pt x="3772" y="1448"/>
                  </a:lnTo>
                  <a:lnTo>
                    <a:pt x="3772" y="1465"/>
                  </a:lnTo>
                  <a:lnTo>
                    <a:pt x="3789" y="1472"/>
                  </a:lnTo>
                  <a:lnTo>
                    <a:pt x="3763" y="1498"/>
                  </a:lnTo>
                  <a:lnTo>
                    <a:pt x="3741" y="1505"/>
                  </a:lnTo>
                  <a:lnTo>
                    <a:pt x="3708" y="1498"/>
                  </a:lnTo>
                  <a:lnTo>
                    <a:pt x="3692" y="1472"/>
                  </a:lnTo>
                  <a:lnTo>
                    <a:pt x="3600" y="1472"/>
                  </a:lnTo>
                  <a:lnTo>
                    <a:pt x="3574" y="1448"/>
                  </a:lnTo>
                  <a:lnTo>
                    <a:pt x="3595" y="1481"/>
                  </a:lnTo>
                  <a:lnTo>
                    <a:pt x="3578" y="1489"/>
                  </a:lnTo>
                  <a:lnTo>
                    <a:pt x="3545" y="1498"/>
                  </a:lnTo>
                  <a:lnTo>
                    <a:pt x="3574" y="1498"/>
                  </a:lnTo>
                  <a:lnTo>
                    <a:pt x="3562" y="1514"/>
                  </a:lnTo>
                  <a:lnTo>
                    <a:pt x="3562" y="1522"/>
                  </a:lnTo>
                  <a:lnTo>
                    <a:pt x="3541" y="1526"/>
                  </a:lnTo>
                  <a:lnTo>
                    <a:pt x="3578" y="1538"/>
                  </a:lnTo>
                  <a:lnTo>
                    <a:pt x="3595" y="1559"/>
                  </a:lnTo>
                  <a:lnTo>
                    <a:pt x="3595" y="1583"/>
                  </a:lnTo>
                  <a:lnTo>
                    <a:pt x="3600" y="1576"/>
                  </a:lnTo>
                  <a:lnTo>
                    <a:pt x="3583" y="1538"/>
                  </a:lnTo>
                  <a:lnTo>
                    <a:pt x="3595" y="1526"/>
                  </a:lnTo>
                  <a:lnTo>
                    <a:pt x="3704" y="1555"/>
                  </a:lnTo>
                  <a:lnTo>
                    <a:pt x="3704" y="1571"/>
                  </a:lnTo>
                  <a:lnTo>
                    <a:pt x="3682" y="1576"/>
                  </a:lnTo>
                  <a:lnTo>
                    <a:pt x="3687" y="1583"/>
                  </a:lnTo>
                  <a:lnTo>
                    <a:pt x="3682" y="1600"/>
                  </a:lnTo>
                  <a:lnTo>
                    <a:pt x="3692" y="1600"/>
                  </a:lnTo>
                  <a:lnTo>
                    <a:pt x="3687" y="1616"/>
                  </a:lnTo>
                  <a:lnTo>
                    <a:pt x="3611" y="1609"/>
                  </a:lnTo>
                  <a:lnTo>
                    <a:pt x="3600" y="1626"/>
                  </a:lnTo>
                  <a:lnTo>
                    <a:pt x="3557" y="1637"/>
                  </a:lnTo>
                  <a:lnTo>
                    <a:pt x="3470" y="1616"/>
                  </a:lnTo>
                  <a:lnTo>
                    <a:pt x="3439" y="1592"/>
                  </a:lnTo>
                  <a:lnTo>
                    <a:pt x="3439" y="1576"/>
                  </a:lnTo>
                  <a:lnTo>
                    <a:pt x="3470" y="1576"/>
                  </a:lnTo>
                  <a:lnTo>
                    <a:pt x="3531" y="1600"/>
                  </a:lnTo>
                  <a:lnTo>
                    <a:pt x="3562" y="1592"/>
                  </a:lnTo>
                  <a:lnTo>
                    <a:pt x="3524" y="1600"/>
                  </a:lnTo>
                  <a:lnTo>
                    <a:pt x="3432" y="1559"/>
                  </a:lnTo>
                  <a:lnTo>
                    <a:pt x="3406" y="1576"/>
                  </a:lnTo>
                  <a:lnTo>
                    <a:pt x="3406" y="1600"/>
                  </a:lnTo>
                  <a:lnTo>
                    <a:pt x="3368" y="1592"/>
                  </a:lnTo>
                  <a:lnTo>
                    <a:pt x="3368" y="1576"/>
                  </a:lnTo>
                  <a:lnTo>
                    <a:pt x="3314" y="1543"/>
                  </a:lnTo>
                  <a:lnTo>
                    <a:pt x="3330" y="1571"/>
                  </a:lnTo>
                  <a:lnTo>
                    <a:pt x="3394" y="1609"/>
                  </a:lnTo>
                  <a:lnTo>
                    <a:pt x="3347" y="1616"/>
                  </a:lnTo>
                  <a:lnTo>
                    <a:pt x="3314" y="1637"/>
                  </a:lnTo>
                  <a:lnTo>
                    <a:pt x="3297" y="1637"/>
                  </a:lnTo>
                  <a:lnTo>
                    <a:pt x="3238" y="1633"/>
                  </a:lnTo>
                  <a:lnTo>
                    <a:pt x="3200" y="1609"/>
                  </a:lnTo>
                  <a:lnTo>
                    <a:pt x="3191" y="1616"/>
                  </a:lnTo>
                  <a:lnTo>
                    <a:pt x="3271" y="1637"/>
                  </a:lnTo>
                  <a:lnTo>
                    <a:pt x="3243" y="1654"/>
                  </a:lnTo>
                  <a:lnTo>
                    <a:pt x="3222" y="1649"/>
                  </a:lnTo>
                  <a:lnTo>
                    <a:pt x="3179" y="1654"/>
                  </a:lnTo>
                  <a:lnTo>
                    <a:pt x="3200" y="1666"/>
                  </a:lnTo>
                  <a:lnTo>
                    <a:pt x="3200" y="1682"/>
                  </a:lnTo>
                  <a:lnTo>
                    <a:pt x="3191" y="1687"/>
                  </a:lnTo>
                  <a:lnTo>
                    <a:pt x="3205" y="1682"/>
                  </a:lnTo>
                  <a:lnTo>
                    <a:pt x="3205" y="1666"/>
                  </a:lnTo>
                  <a:lnTo>
                    <a:pt x="3255" y="1666"/>
                  </a:lnTo>
                  <a:lnTo>
                    <a:pt x="3271" y="1649"/>
                  </a:lnTo>
                  <a:lnTo>
                    <a:pt x="3363" y="1666"/>
                  </a:lnTo>
                  <a:lnTo>
                    <a:pt x="3368" y="1682"/>
                  </a:lnTo>
                  <a:lnTo>
                    <a:pt x="3352" y="1687"/>
                  </a:lnTo>
                  <a:lnTo>
                    <a:pt x="3314" y="1687"/>
                  </a:lnTo>
                  <a:lnTo>
                    <a:pt x="3293" y="1703"/>
                  </a:lnTo>
                  <a:lnTo>
                    <a:pt x="3243" y="1694"/>
                  </a:lnTo>
                  <a:lnTo>
                    <a:pt x="3200" y="1694"/>
                  </a:lnTo>
                  <a:lnTo>
                    <a:pt x="3271" y="1711"/>
                  </a:lnTo>
                  <a:lnTo>
                    <a:pt x="3243" y="1720"/>
                  </a:lnTo>
                  <a:lnTo>
                    <a:pt x="3276" y="1711"/>
                  </a:lnTo>
                  <a:lnTo>
                    <a:pt x="3259" y="1737"/>
                  </a:lnTo>
                  <a:lnTo>
                    <a:pt x="3330" y="1703"/>
                  </a:lnTo>
                  <a:lnTo>
                    <a:pt x="3380" y="1711"/>
                  </a:lnTo>
                  <a:lnTo>
                    <a:pt x="3385" y="1720"/>
                  </a:lnTo>
                  <a:lnTo>
                    <a:pt x="3385" y="1737"/>
                  </a:lnTo>
                  <a:lnTo>
                    <a:pt x="3394" y="1744"/>
                  </a:lnTo>
                  <a:lnTo>
                    <a:pt x="3297" y="1760"/>
                  </a:lnTo>
                  <a:lnTo>
                    <a:pt x="3347" y="1760"/>
                  </a:lnTo>
                  <a:lnTo>
                    <a:pt x="3330" y="1798"/>
                  </a:lnTo>
                  <a:lnTo>
                    <a:pt x="3342" y="1793"/>
                  </a:lnTo>
                  <a:lnTo>
                    <a:pt x="3342" y="1777"/>
                  </a:lnTo>
                  <a:lnTo>
                    <a:pt x="3352" y="1765"/>
                  </a:lnTo>
                  <a:lnTo>
                    <a:pt x="3394" y="1760"/>
                  </a:lnTo>
                  <a:lnTo>
                    <a:pt x="3503" y="1810"/>
                  </a:lnTo>
                  <a:lnTo>
                    <a:pt x="3493" y="1814"/>
                  </a:lnTo>
                  <a:lnTo>
                    <a:pt x="3541" y="1831"/>
                  </a:lnTo>
                  <a:lnTo>
                    <a:pt x="3503" y="1864"/>
                  </a:lnTo>
                  <a:lnTo>
                    <a:pt x="3545" y="1838"/>
                  </a:lnTo>
                  <a:lnTo>
                    <a:pt x="3531" y="1864"/>
                  </a:lnTo>
                  <a:lnTo>
                    <a:pt x="3531" y="1871"/>
                  </a:lnTo>
                  <a:lnTo>
                    <a:pt x="3562" y="1848"/>
                  </a:lnTo>
                  <a:lnTo>
                    <a:pt x="3583" y="1848"/>
                  </a:lnTo>
                  <a:lnTo>
                    <a:pt x="3562" y="1864"/>
                  </a:lnTo>
                  <a:lnTo>
                    <a:pt x="3574" y="1871"/>
                  </a:lnTo>
                  <a:lnTo>
                    <a:pt x="3541" y="1871"/>
                  </a:lnTo>
                  <a:lnTo>
                    <a:pt x="3545" y="1909"/>
                  </a:lnTo>
                  <a:lnTo>
                    <a:pt x="3557" y="1909"/>
                  </a:lnTo>
                  <a:lnTo>
                    <a:pt x="3557" y="1888"/>
                  </a:lnTo>
                  <a:lnTo>
                    <a:pt x="3595" y="1876"/>
                  </a:lnTo>
                  <a:lnTo>
                    <a:pt x="3600" y="1892"/>
                  </a:lnTo>
                  <a:lnTo>
                    <a:pt x="3595" y="1904"/>
                  </a:lnTo>
                  <a:lnTo>
                    <a:pt x="3611" y="1904"/>
                  </a:lnTo>
                  <a:lnTo>
                    <a:pt x="3578" y="1909"/>
                  </a:lnTo>
                  <a:lnTo>
                    <a:pt x="3595" y="1909"/>
                  </a:lnTo>
                  <a:lnTo>
                    <a:pt x="3600" y="1926"/>
                  </a:lnTo>
                  <a:lnTo>
                    <a:pt x="3557" y="1942"/>
                  </a:lnTo>
                  <a:lnTo>
                    <a:pt x="3600" y="1933"/>
                  </a:lnTo>
                  <a:lnTo>
                    <a:pt x="3611" y="1949"/>
                  </a:lnTo>
                  <a:lnTo>
                    <a:pt x="3600" y="1975"/>
                  </a:lnTo>
                  <a:lnTo>
                    <a:pt x="3583" y="1975"/>
                  </a:lnTo>
                  <a:lnTo>
                    <a:pt x="3600" y="1975"/>
                  </a:lnTo>
                  <a:lnTo>
                    <a:pt x="3611" y="1982"/>
                  </a:lnTo>
                  <a:lnTo>
                    <a:pt x="3595" y="1982"/>
                  </a:lnTo>
                  <a:lnTo>
                    <a:pt x="3600" y="1987"/>
                  </a:lnTo>
                  <a:lnTo>
                    <a:pt x="3595" y="2003"/>
                  </a:lnTo>
                  <a:lnTo>
                    <a:pt x="3616" y="2003"/>
                  </a:lnTo>
                  <a:lnTo>
                    <a:pt x="3578" y="2032"/>
                  </a:lnTo>
                  <a:lnTo>
                    <a:pt x="3583" y="2015"/>
                  </a:lnTo>
                  <a:lnTo>
                    <a:pt x="3578" y="2015"/>
                  </a:lnTo>
                  <a:lnTo>
                    <a:pt x="3557" y="2020"/>
                  </a:lnTo>
                  <a:lnTo>
                    <a:pt x="3545" y="1987"/>
                  </a:lnTo>
                  <a:lnTo>
                    <a:pt x="3545" y="1966"/>
                  </a:lnTo>
                  <a:lnTo>
                    <a:pt x="3541" y="1966"/>
                  </a:lnTo>
                  <a:lnTo>
                    <a:pt x="3531" y="1982"/>
                  </a:lnTo>
                  <a:lnTo>
                    <a:pt x="3541" y="2003"/>
                  </a:lnTo>
                  <a:lnTo>
                    <a:pt x="3531" y="2020"/>
                  </a:lnTo>
                  <a:lnTo>
                    <a:pt x="3486" y="2020"/>
                  </a:lnTo>
                  <a:lnTo>
                    <a:pt x="3439" y="1987"/>
                  </a:lnTo>
                  <a:lnTo>
                    <a:pt x="3422" y="1975"/>
                  </a:lnTo>
                  <a:lnTo>
                    <a:pt x="3422" y="1942"/>
                  </a:lnTo>
                  <a:lnTo>
                    <a:pt x="3385" y="1904"/>
                  </a:lnTo>
                  <a:lnTo>
                    <a:pt x="3363" y="1909"/>
                  </a:lnTo>
                  <a:lnTo>
                    <a:pt x="3326" y="1876"/>
                  </a:lnTo>
                  <a:lnTo>
                    <a:pt x="3233" y="1871"/>
                  </a:lnTo>
                  <a:lnTo>
                    <a:pt x="3179" y="1822"/>
                  </a:lnTo>
                  <a:lnTo>
                    <a:pt x="3115" y="1798"/>
                  </a:lnTo>
                  <a:lnTo>
                    <a:pt x="3108" y="1798"/>
                  </a:lnTo>
                  <a:lnTo>
                    <a:pt x="3130" y="1814"/>
                  </a:lnTo>
                  <a:lnTo>
                    <a:pt x="3125" y="1822"/>
                  </a:lnTo>
                  <a:lnTo>
                    <a:pt x="3167" y="1831"/>
                  </a:lnTo>
                  <a:lnTo>
                    <a:pt x="3205" y="1855"/>
                  </a:lnTo>
                  <a:lnTo>
                    <a:pt x="3200" y="1864"/>
                  </a:lnTo>
                  <a:lnTo>
                    <a:pt x="3125" y="1871"/>
                  </a:lnTo>
                  <a:lnTo>
                    <a:pt x="3200" y="1871"/>
                  </a:lnTo>
                  <a:lnTo>
                    <a:pt x="3217" y="1871"/>
                  </a:lnTo>
                  <a:lnTo>
                    <a:pt x="3205" y="1876"/>
                  </a:lnTo>
                  <a:lnTo>
                    <a:pt x="3205" y="1888"/>
                  </a:lnTo>
                  <a:lnTo>
                    <a:pt x="3309" y="1876"/>
                  </a:lnTo>
                  <a:lnTo>
                    <a:pt x="3342" y="1904"/>
                  </a:lnTo>
                  <a:lnTo>
                    <a:pt x="3330" y="1921"/>
                  </a:lnTo>
                  <a:lnTo>
                    <a:pt x="3314" y="1909"/>
                  </a:lnTo>
                  <a:lnTo>
                    <a:pt x="3326" y="1926"/>
                  </a:lnTo>
                  <a:lnTo>
                    <a:pt x="3259" y="1949"/>
                  </a:lnTo>
                  <a:lnTo>
                    <a:pt x="3191" y="1959"/>
                  </a:lnTo>
                  <a:lnTo>
                    <a:pt x="3167" y="1926"/>
                  </a:lnTo>
                  <a:lnTo>
                    <a:pt x="3163" y="1926"/>
                  </a:lnTo>
                  <a:lnTo>
                    <a:pt x="3184" y="1949"/>
                  </a:lnTo>
                  <a:lnTo>
                    <a:pt x="3130" y="1949"/>
                  </a:lnTo>
                  <a:lnTo>
                    <a:pt x="3163" y="1966"/>
                  </a:lnTo>
                  <a:lnTo>
                    <a:pt x="3137" y="2003"/>
                  </a:lnTo>
                  <a:lnTo>
                    <a:pt x="3070" y="2015"/>
                  </a:lnTo>
                  <a:lnTo>
                    <a:pt x="3070" y="2032"/>
                  </a:lnTo>
                  <a:lnTo>
                    <a:pt x="3137" y="2015"/>
                  </a:lnTo>
                  <a:lnTo>
                    <a:pt x="3130" y="2020"/>
                  </a:lnTo>
                  <a:lnTo>
                    <a:pt x="3137" y="2032"/>
                  </a:lnTo>
                  <a:lnTo>
                    <a:pt x="3243" y="2015"/>
                  </a:lnTo>
                  <a:lnTo>
                    <a:pt x="3276" y="2032"/>
                  </a:lnTo>
                  <a:lnTo>
                    <a:pt x="3243" y="2037"/>
                  </a:lnTo>
                  <a:lnTo>
                    <a:pt x="3233" y="2037"/>
                  </a:lnTo>
                  <a:lnTo>
                    <a:pt x="3167" y="2070"/>
                  </a:lnTo>
                  <a:lnTo>
                    <a:pt x="3115" y="2060"/>
                  </a:lnTo>
                  <a:lnTo>
                    <a:pt x="3125" y="2070"/>
                  </a:lnTo>
                  <a:lnTo>
                    <a:pt x="3191" y="2070"/>
                  </a:lnTo>
                  <a:lnTo>
                    <a:pt x="3191" y="2086"/>
                  </a:lnTo>
                  <a:lnTo>
                    <a:pt x="3200" y="2086"/>
                  </a:lnTo>
                  <a:lnTo>
                    <a:pt x="3217" y="2053"/>
                  </a:lnTo>
                  <a:lnTo>
                    <a:pt x="3233" y="2044"/>
                  </a:lnTo>
                  <a:lnTo>
                    <a:pt x="3276" y="2053"/>
                  </a:lnTo>
                  <a:lnTo>
                    <a:pt x="3352" y="2020"/>
                  </a:lnTo>
                  <a:lnTo>
                    <a:pt x="3347" y="2037"/>
                  </a:lnTo>
                  <a:lnTo>
                    <a:pt x="3363" y="2032"/>
                  </a:lnTo>
                  <a:lnTo>
                    <a:pt x="3470" y="2060"/>
                  </a:lnTo>
                  <a:lnTo>
                    <a:pt x="3574" y="2060"/>
                  </a:lnTo>
                  <a:lnTo>
                    <a:pt x="3557" y="2077"/>
                  </a:lnTo>
                  <a:lnTo>
                    <a:pt x="3486" y="2093"/>
                  </a:lnTo>
                  <a:lnTo>
                    <a:pt x="3519" y="2098"/>
                  </a:lnTo>
                  <a:lnTo>
                    <a:pt x="3507" y="2110"/>
                  </a:lnTo>
                  <a:lnTo>
                    <a:pt x="3486" y="2093"/>
                  </a:lnTo>
                  <a:lnTo>
                    <a:pt x="3493" y="2110"/>
                  </a:lnTo>
                  <a:lnTo>
                    <a:pt x="3439" y="2110"/>
                  </a:lnTo>
                  <a:lnTo>
                    <a:pt x="3470" y="2126"/>
                  </a:lnTo>
                  <a:lnTo>
                    <a:pt x="3448" y="2143"/>
                  </a:lnTo>
                  <a:lnTo>
                    <a:pt x="3418" y="2126"/>
                  </a:lnTo>
                  <a:lnTo>
                    <a:pt x="3432" y="2143"/>
                  </a:lnTo>
                  <a:lnTo>
                    <a:pt x="3406" y="2155"/>
                  </a:lnTo>
                  <a:lnTo>
                    <a:pt x="3394" y="2155"/>
                  </a:lnTo>
                  <a:lnTo>
                    <a:pt x="3394" y="2171"/>
                  </a:lnTo>
                  <a:lnTo>
                    <a:pt x="3352" y="2171"/>
                  </a:lnTo>
                  <a:lnTo>
                    <a:pt x="3347" y="2171"/>
                  </a:lnTo>
                  <a:lnTo>
                    <a:pt x="3368" y="2188"/>
                  </a:lnTo>
                  <a:lnTo>
                    <a:pt x="3347" y="2204"/>
                  </a:lnTo>
                  <a:lnTo>
                    <a:pt x="3326" y="2197"/>
                  </a:lnTo>
                  <a:lnTo>
                    <a:pt x="3342" y="2209"/>
                  </a:lnTo>
                  <a:lnTo>
                    <a:pt x="3314" y="2209"/>
                  </a:lnTo>
                  <a:lnTo>
                    <a:pt x="3326" y="2221"/>
                  </a:lnTo>
                  <a:lnTo>
                    <a:pt x="3271" y="2242"/>
                  </a:lnTo>
                  <a:lnTo>
                    <a:pt x="3200" y="2259"/>
                  </a:lnTo>
                  <a:lnTo>
                    <a:pt x="3205" y="2259"/>
                  </a:lnTo>
                  <a:lnTo>
                    <a:pt x="3184" y="2259"/>
                  </a:lnTo>
                  <a:lnTo>
                    <a:pt x="3179" y="2266"/>
                  </a:lnTo>
                  <a:lnTo>
                    <a:pt x="3184" y="2266"/>
                  </a:lnTo>
                  <a:lnTo>
                    <a:pt x="3153" y="2259"/>
                  </a:lnTo>
                  <a:lnTo>
                    <a:pt x="3153" y="2275"/>
                  </a:lnTo>
                  <a:lnTo>
                    <a:pt x="3125" y="2275"/>
                  </a:lnTo>
                  <a:lnTo>
                    <a:pt x="3099" y="2292"/>
                  </a:lnTo>
                  <a:lnTo>
                    <a:pt x="3078" y="2282"/>
                  </a:lnTo>
                  <a:lnTo>
                    <a:pt x="3078" y="2292"/>
                  </a:lnTo>
                  <a:lnTo>
                    <a:pt x="3061" y="2292"/>
                  </a:lnTo>
                  <a:lnTo>
                    <a:pt x="3061" y="2308"/>
                  </a:lnTo>
                  <a:lnTo>
                    <a:pt x="3028" y="2292"/>
                  </a:lnTo>
                  <a:lnTo>
                    <a:pt x="3028" y="2275"/>
                  </a:lnTo>
                  <a:lnTo>
                    <a:pt x="3002" y="2299"/>
                  </a:lnTo>
                  <a:lnTo>
                    <a:pt x="3016" y="2315"/>
                  </a:lnTo>
                  <a:lnTo>
                    <a:pt x="2990" y="2315"/>
                  </a:lnTo>
                  <a:lnTo>
                    <a:pt x="2990" y="2308"/>
                  </a:lnTo>
                  <a:lnTo>
                    <a:pt x="2969" y="2299"/>
                  </a:lnTo>
                  <a:lnTo>
                    <a:pt x="2964" y="2299"/>
                  </a:lnTo>
                  <a:lnTo>
                    <a:pt x="2985" y="2308"/>
                  </a:lnTo>
                  <a:lnTo>
                    <a:pt x="2985" y="2320"/>
                  </a:lnTo>
                  <a:lnTo>
                    <a:pt x="2948" y="2320"/>
                  </a:lnTo>
                  <a:lnTo>
                    <a:pt x="2915" y="2315"/>
                  </a:lnTo>
                  <a:lnTo>
                    <a:pt x="2919" y="2308"/>
                  </a:lnTo>
                  <a:lnTo>
                    <a:pt x="2910" y="2320"/>
                  </a:lnTo>
                  <a:lnTo>
                    <a:pt x="2898" y="2315"/>
                  </a:lnTo>
                  <a:lnTo>
                    <a:pt x="2893" y="2308"/>
                  </a:lnTo>
                  <a:lnTo>
                    <a:pt x="2910" y="2299"/>
                  </a:lnTo>
                  <a:lnTo>
                    <a:pt x="2877" y="2299"/>
                  </a:lnTo>
                  <a:lnTo>
                    <a:pt x="2844" y="2254"/>
                  </a:lnTo>
                  <a:lnTo>
                    <a:pt x="2844" y="2266"/>
                  </a:lnTo>
                  <a:lnTo>
                    <a:pt x="2839" y="2266"/>
                  </a:lnTo>
                  <a:lnTo>
                    <a:pt x="2839" y="2275"/>
                  </a:lnTo>
                  <a:lnTo>
                    <a:pt x="2860" y="2292"/>
                  </a:lnTo>
                  <a:lnTo>
                    <a:pt x="2865" y="2308"/>
                  </a:lnTo>
                  <a:lnTo>
                    <a:pt x="2844" y="2308"/>
                  </a:lnTo>
                  <a:lnTo>
                    <a:pt x="2877" y="2315"/>
                  </a:lnTo>
                  <a:lnTo>
                    <a:pt x="2865" y="2348"/>
                  </a:lnTo>
                  <a:lnTo>
                    <a:pt x="2839" y="2348"/>
                  </a:lnTo>
                  <a:lnTo>
                    <a:pt x="2822" y="2365"/>
                  </a:lnTo>
                  <a:lnTo>
                    <a:pt x="2789" y="2370"/>
                  </a:lnTo>
                  <a:lnTo>
                    <a:pt x="2806" y="2377"/>
                  </a:lnTo>
                  <a:lnTo>
                    <a:pt x="2789" y="2386"/>
                  </a:lnTo>
                  <a:lnTo>
                    <a:pt x="2789" y="2403"/>
                  </a:lnTo>
                  <a:lnTo>
                    <a:pt x="2768" y="2410"/>
                  </a:lnTo>
                  <a:lnTo>
                    <a:pt x="2785" y="2426"/>
                  </a:lnTo>
                  <a:lnTo>
                    <a:pt x="2752" y="2459"/>
                  </a:lnTo>
                  <a:lnTo>
                    <a:pt x="2737" y="2448"/>
                  </a:lnTo>
                  <a:lnTo>
                    <a:pt x="2730" y="2481"/>
                  </a:lnTo>
                  <a:lnTo>
                    <a:pt x="2714" y="2504"/>
                  </a:lnTo>
                  <a:lnTo>
                    <a:pt x="2704" y="2497"/>
                  </a:lnTo>
                  <a:lnTo>
                    <a:pt x="2704" y="2481"/>
                  </a:lnTo>
                  <a:lnTo>
                    <a:pt x="2704" y="2497"/>
                  </a:lnTo>
                  <a:lnTo>
                    <a:pt x="2704" y="2504"/>
                  </a:lnTo>
                  <a:lnTo>
                    <a:pt x="2683" y="2530"/>
                  </a:lnTo>
                  <a:lnTo>
                    <a:pt x="2667" y="2537"/>
                  </a:lnTo>
                  <a:lnTo>
                    <a:pt x="2662" y="2530"/>
                  </a:lnTo>
                  <a:lnTo>
                    <a:pt x="2662" y="2521"/>
                  </a:lnTo>
                  <a:lnTo>
                    <a:pt x="2650" y="2537"/>
                  </a:lnTo>
                  <a:lnTo>
                    <a:pt x="2662" y="2542"/>
                  </a:lnTo>
                  <a:lnTo>
                    <a:pt x="2650" y="2542"/>
                  </a:lnTo>
                  <a:lnTo>
                    <a:pt x="2607" y="2521"/>
                  </a:lnTo>
                  <a:lnTo>
                    <a:pt x="2629" y="2542"/>
                  </a:lnTo>
                  <a:lnTo>
                    <a:pt x="2624" y="2542"/>
                  </a:lnTo>
                  <a:lnTo>
                    <a:pt x="2624" y="2559"/>
                  </a:lnTo>
                  <a:lnTo>
                    <a:pt x="2574" y="2587"/>
                  </a:lnTo>
                  <a:lnTo>
                    <a:pt x="2570" y="2575"/>
                  </a:lnTo>
                  <a:lnTo>
                    <a:pt x="2574" y="2559"/>
                  </a:lnTo>
                  <a:lnTo>
                    <a:pt x="2558" y="2559"/>
                  </a:lnTo>
                  <a:lnTo>
                    <a:pt x="2558" y="2570"/>
                  </a:lnTo>
                  <a:lnTo>
                    <a:pt x="2558" y="2575"/>
                  </a:lnTo>
                  <a:lnTo>
                    <a:pt x="2532" y="2592"/>
                  </a:lnTo>
                  <a:lnTo>
                    <a:pt x="2520" y="2575"/>
                  </a:lnTo>
                  <a:lnTo>
                    <a:pt x="2520" y="2570"/>
                  </a:lnTo>
                  <a:lnTo>
                    <a:pt x="2515" y="2570"/>
                  </a:lnTo>
                  <a:lnTo>
                    <a:pt x="2520" y="2592"/>
                  </a:lnTo>
                  <a:lnTo>
                    <a:pt x="2515" y="2599"/>
                  </a:lnTo>
                  <a:lnTo>
                    <a:pt x="2478" y="2587"/>
                  </a:lnTo>
                  <a:lnTo>
                    <a:pt x="2466" y="2570"/>
                  </a:lnTo>
                  <a:lnTo>
                    <a:pt x="2515" y="2530"/>
                  </a:lnTo>
                  <a:lnTo>
                    <a:pt x="2449" y="2530"/>
                  </a:lnTo>
                  <a:lnTo>
                    <a:pt x="2445" y="2530"/>
                  </a:lnTo>
                  <a:lnTo>
                    <a:pt x="2478" y="2542"/>
                  </a:lnTo>
                  <a:lnTo>
                    <a:pt x="2461" y="2542"/>
                  </a:lnTo>
                  <a:lnTo>
                    <a:pt x="2466" y="2554"/>
                  </a:lnTo>
                  <a:lnTo>
                    <a:pt x="2449" y="2559"/>
                  </a:lnTo>
                  <a:lnTo>
                    <a:pt x="2461" y="2575"/>
                  </a:lnTo>
                  <a:lnTo>
                    <a:pt x="2449" y="2587"/>
                  </a:lnTo>
                  <a:lnTo>
                    <a:pt x="2445" y="2575"/>
                  </a:lnTo>
                  <a:lnTo>
                    <a:pt x="2445" y="2587"/>
                  </a:lnTo>
                  <a:lnTo>
                    <a:pt x="2435" y="2587"/>
                  </a:lnTo>
                  <a:lnTo>
                    <a:pt x="2423" y="2570"/>
                  </a:lnTo>
                  <a:lnTo>
                    <a:pt x="2423" y="2587"/>
                  </a:lnTo>
                  <a:lnTo>
                    <a:pt x="2449" y="2592"/>
                  </a:lnTo>
                  <a:lnTo>
                    <a:pt x="2435" y="2615"/>
                  </a:lnTo>
                  <a:lnTo>
                    <a:pt x="2407" y="2608"/>
                  </a:lnTo>
                  <a:lnTo>
                    <a:pt x="2411" y="2625"/>
                  </a:lnTo>
                  <a:lnTo>
                    <a:pt x="2381" y="2625"/>
                  </a:lnTo>
                  <a:lnTo>
                    <a:pt x="2359" y="2608"/>
                  </a:lnTo>
                  <a:lnTo>
                    <a:pt x="2374" y="2625"/>
                  </a:lnTo>
                  <a:lnTo>
                    <a:pt x="2359" y="2632"/>
                  </a:lnTo>
                  <a:lnTo>
                    <a:pt x="2336" y="2608"/>
                  </a:lnTo>
                  <a:lnTo>
                    <a:pt x="2326" y="2625"/>
                  </a:lnTo>
                  <a:lnTo>
                    <a:pt x="2326" y="2632"/>
                  </a:lnTo>
                  <a:lnTo>
                    <a:pt x="2305" y="2625"/>
                  </a:lnTo>
                  <a:lnTo>
                    <a:pt x="2298" y="2632"/>
                  </a:lnTo>
                  <a:lnTo>
                    <a:pt x="2326" y="2641"/>
                  </a:lnTo>
                  <a:lnTo>
                    <a:pt x="2322" y="2648"/>
                  </a:lnTo>
                  <a:lnTo>
                    <a:pt x="2336" y="2665"/>
                  </a:lnTo>
                  <a:lnTo>
                    <a:pt x="2298" y="2686"/>
                  </a:lnTo>
                  <a:lnTo>
                    <a:pt x="2272" y="2670"/>
                  </a:lnTo>
                  <a:lnTo>
                    <a:pt x="2267" y="2686"/>
                  </a:lnTo>
                  <a:lnTo>
                    <a:pt x="2246" y="2681"/>
                  </a:lnTo>
                  <a:lnTo>
                    <a:pt x="2234" y="2698"/>
                  </a:lnTo>
                  <a:lnTo>
                    <a:pt x="2272" y="2726"/>
                  </a:lnTo>
                  <a:lnTo>
                    <a:pt x="2272" y="2752"/>
                  </a:lnTo>
                  <a:lnTo>
                    <a:pt x="2289" y="2764"/>
                  </a:lnTo>
                  <a:lnTo>
                    <a:pt x="2260" y="2764"/>
                  </a:lnTo>
                  <a:lnTo>
                    <a:pt x="2208" y="2776"/>
                  </a:lnTo>
                  <a:lnTo>
                    <a:pt x="2218" y="2792"/>
                  </a:lnTo>
                  <a:lnTo>
                    <a:pt x="2272" y="2797"/>
                  </a:lnTo>
                  <a:lnTo>
                    <a:pt x="2260" y="2814"/>
                  </a:lnTo>
                  <a:lnTo>
                    <a:pt x="2272" y="2814"/>
                  </a:lnTo>
                  <a:lnTo>
                    <a:pt x="2284" y="2837"/>
                  </a:lnTo>
                  <a:lnTo>
                    <a:pt x="2251" y="2837"/>
                  </a:lnTo>
                  <a:lnTo>
                    <a:pt x="2213" y="2821"/>
                  </a:lnTo>
                  <a:lnTo>
                    <a:pt x="2208" y="2830"/>
                  </a:lnTo>
                  <a:lnTo>
                    <a:pt x="2251" y="2847"/>
                  </a:lnTo>
                  <a:lnTo>
                    <a:pt x="2267" y="2863"/>
                  </a:lnTo>
                  <a:lnTo>
                    <a:pt x="2246" y="2863"/>
                  </a:lnTo>
                  <a:lnTo>
                    <a:pt x="2246" y="2870"/>
                  </a:lnTo>
                  <a:lnTo>
                    <a:pt x="2234" y="2863"/>
                  </a:lnTo>
                  <a:lnTo>
                    <a:pt x="2246" y="2875"/>
                  </a:lnTo>
                  <a:lnTo>
                    <a:pt x="2234" y="2875"/>
                  </a:lnTo>
                  <a:lnTo>
                    <a:pt x="2218" y="2863"/>
                  </a:lnTo>
                  <a:lnTo>
                    <a:pt x="2230" y="2875"/>
                  </a:lnTo>
                  <a:lnTo>
                    <a:pt x="2208" y="2863"/>
                  </a:lnTo>
                  <a:lnTo>
                    <a:pt x="2234" y="2887"/>
                  </a:lnTo>
                  <a:lnTo>
                    <a:pt x="2196" y="2863"/>
                  </a:lnTo>
                  <a:lnTo>
                    <a:pt x="2180" y="2870"/>
                  </a:lnTo>
                  <a:lnTo>
                    <a:pt x="2213" y="2908"/>
                  </a:lnTo>
                  <a:lnTo>
                    <a:pt x="2208" y="2908"/>
                  </a:lnTo>
                  <a:lnTo>
                    <a:pt x="2175" y="2892"/>
                  </a:lnTo>
                  <a:lnTo>
                    <a:pt x="2208" y="2920"/>
                  </a:lnTo>
                  <a:lnTo>
                    <a:pt x="2196" y="2920"/>
                  </a:lnTo>
                  <a:lnTo>
                    <a:pt x="2163" y="2903"/>
                  </a:lnTo>
                  <a:lnTo>
                    <a:pt x="2175" y="2920"/>
                  </a:lnTo>
                  <a:lnTo>
                    <a:pt x="2208" y="2925"/>
                  </a:lnTo>
                  <a:lnTo>
                    <a:pt x="2192" y="2941"/>
                  </a:lnTo>
                  <a:lnTo>
                    <a:pt x="2154" y="2941"/>
                  </a:lnTo>
                  <a:lnTo>
                    <a:pt x="2154" y="2925"/>
                  </a:lnTo>
                  <a:lnTo>
                    <a:pt x="2142" y="2932"/>
                  </a:lnTo>
                  <a:lnTo>
                    <a:pt x="2142" y="2941"/>
                  </a:lnTo>
                  <a:lnTo>
                    <a:pt x="2137" y="2948"/>
                  </a:lnTo>
                  <a:lnTo>
                    <a:pt x="2100" y="2948"/>
                  </a:lnTo>
                  <a:lnTo>
                    <a:pt x="2100" y="2958"/>
                  </a:lnTo>
                  <a:lnTo>
                    <a:pt x="2154" y="2974"/>
                  </a:lnTo>
                  <a:lnTo>
                    <a:pt x="2154" y="2981"/>
                  </a:lnTo>
                  <a:lnTo>
                    <a:pt x="2137" y="2981"/>
                  </a:lnTo>
                  <a:lnTo>
                    <a:pt x="2163" y="2986"/>
                  </a:lnTo>
                  <a:lnTo>
                    <a:pt x="2104" y="2974"/>
                  </a:lnTo>
                  <a:lnTo>
                    <a:pt x="2159" y="3003"/>
                  </a:lnTo>
                  <a:lnTo>
                    <a:pt x="2154" y="3019"/>
                  </a:lnTo>
                  <a:lnTo>
                    <a:pt x="2137" y="3036"/>
                  </a:lnTo>
                  <a:lnTo>
                    <a:pt x="2163" y="3036"/>
                  </a:lnTo>
                  <a:lnTo>
                    <a:pt x="2159" y="3043"/>
                  </a:lnTo>
                  <a:lnTo>
                    <a:pt x="2142" y="3043"/>
                  </a:lnTo>
                  <a:lnTo>
                    <a:pt x="2159" y="3052"/>
                  </a:lnTo>
                  <a:lnTo>
                    <a:pt x="2154" y="3059"/>
                  </a:lnTo>
                  <a:lnTo>
                    <a:pt x="2109" y="3059"/>
                  </a:lnTo>
                  <a:lnTo>
                    <a:pt x="2154" y="3076"/>
                  </a:lnTo>
                  <a:lnTo>
                    <a:pt x="2142" y="3085"/>
                  </a:lnTo>
                  <a:lnTo>
                    <a:pt x="2100" y="3076"/>
                  </a:lnTo>
                  <a:lnTo>
                    <a:pt x="2137" y="3085"/>
                  </a:lnTo>
                  <a:lnTo>
                    <a:pt x="2142" y="3097"/>
                  </a:lnTo>
                  <a:lnTo>
                    <a:pt x="2142" y="3109"/>
                  </a:lnTo>
                  <a:lnTo>
                    <a:pt x="2126" y="3114"/>
                  </a:lnTo>
                  <a:lnTo>
                    <a:pt x="2088" y="3109"/>
                  </a:lnTo>
                  <a:lnTo>
                    <a:pt x="2126" y="3114"/>
                  </a:lnTo>
                  <a:lnTo>
                    <a:pt x="2137" y="3125"/>
                  </a:lnTo>
                  <a:lnTo>
                    <a:pt x="2100" y="3125"/>
                  </a:lnTo>
                  <a:lnTo>
                    <a:pt x="2126" y="3130"/>
                  </a:lnTo>
                  <a:lnTo>
                    <a:pt x="2067" y="3130"/>
                  </a:lnTo>
                  <a:lnTo>
                    <a:pt x="2126" y="3142"/>
                  </a:lnTo>
                  <a:lnTo>
                    <a:pt x="2126" y="3147"/>
                  </a:lnTo>
                  <a:lnTo>
                    <a:pt x="2104" y="3154"/>
                  </a:lnTo>
                  <a:lnTo>
                    <a:pt x="2071" y="3147"/>
                  </a:lnTo>
                  <a:lnTo>
                    <a:pt x="2121" y="3163"/>
                  </a:lnTo>
                  <a:lnTo>
                    <a:pt x="2067" y="3163"/>
                  </a:lnTo>
                  <a:lnTo>
                    <a:pt x="2121" y="3170"/>
                  </a:lnTo>
                  <a:lnTo>
                    <a:pt x="2100" y="3180"/>
                  </a:lnTo>
                  <a:lnTo>
                    <a:pt x="2121" y="3180"/>
                  </a:lnTo>
                  <a:lnTo>
                    <a:pt x="2109" y="3187"/>
                  </a:lnTo>
                  <a:lnTo>
                    <a:pt x="2121" y="3187"/>
                  </a:lnTo>
                  <a:lnTo>
                    <a:pt x="2100" y="3196"/>
                  </a:lnTo>
                  <a:lnTo>
                    <a:pt x="2083" y="3196"/>
                  </a:lnTo>
                  <a:lnTo>
                    <a:pt x="2100" y="3203"/>
                  </a:lnTo>
                  <a:lnTo>
                    <a:pt x="2088" y="3203"/>
                  </a:lnTo>
                  <a:lnTo>
                    <a:pt x="2067" y="3196"/>
                  </a:lnTo>
                  <a:lnTo>
                    <a:pt x="2057" y="3170"/>
                  </a:lnTo>
                  <a:lnTo>
                    <a:pt x="2057" y="3196"/>
                  </a:lnTo>
                  <a:lnTo>
                    <a:pt x="2019" y="3187"/>
                  </a:lnTo>
                  <a:lnTo>
                    <a:pt x="2083" y="3203"/>
                  </a:lnTo>
                  <a:lnTo>
                    <a:pt x="2067" y="3220"/>
                  </a:lnTo>
                  <a:lnTo>
                    <a:pt x="2100" y="3208"/>
                  </a:lnTo>
                  <a:lnTo>
                    <a:pt x="2100" y="3225"/>
                  </a:lnTo>
                  <a:lnTo>
                    <a:pt x="2083" y="3225"/>
                  </a:lnTo>
                  <a:lnTo>
                    <a:pt x="2100" y="3225"/>
                  </a:lnTo>
                  <a:lnTo>
                    <a:pt x="2100" y="3241"/>
                  </a:lnTo>
                  <a:lnTo>
                    <a:pt x="2029" y="3236"/>
                  </a:lnTo>
                  <a:lnTo>
                    <a:pt x="2033" y="3220"/>
                  </a:lnTo>
                  <a:lnTo>
                    <a:pt x="2029" y="3208"/>
                  </a:lnTo>
                  <a:lnTo>
                    <a:pt x="2029" y="3220"/>
                  </a:lnTo>
                  <a:lnTo>
                    <a:pt x="2003" y="3236"/>
                  </a:lnTo>
                  <a:lnTo>
                    <a:pt x="1991" y="3253"/>
                  </a:lnTo>
                  <a:lnTo>
                    <a:pt x="1948" y="3241"/>
                  </a:lnTo>
                  <a:lnTo>
                    <a:pt x="1958" y="3236"/>
                  </a:lnTo>
                  <a:lnTo>
                    <a:pt x="1974" y="3236"/>
                  </a:lnTo>
                  <a:lnTo>
                    <a:pt x="2003" y="3196"/>
                  </a:lnTo>
                  <a:lnTo>
                    <a:pt x="1974" y="3225"/>
                  </a:lnTo>
                  <a:lnTo>
                    <a:pt x="1948" y="3236"/>
                  </a:lnTo>
                  <a:lnTo>
                    <a:pt x="1991" y="3170"/>
                  </a:lnTo>
                  <a:lnTo>
                    <a:pt x="1948" y="3203"/>
                  </a:lnTo>
                  <a:lnTo>
                    <a:pt x="1944" y="3196"/>
                  </a:lnTo>
                  <a:lnTo>
                    <a:pt x="1958" y="3180"/>
                  </a:lnTo>
                  <a:lnTo>
                    <a:pt x="1927" y="3203"/>
                  </a:lnTo>
                  <a:lnTo>
                    <a:pt x="1944" y="3180"/>
                  </a:lnTo>
                  <a:lnTo>
                    <a:pt x="1927" y="3203"/>
                  </a:lnTo>
                  <a:lnTo>
                    <a:pt x="1911" y="3187"/>
                  </a:lnTo>
                  <a:lnTo>
                    <a:pt x="1920" y="3187"/>
                  </a:lnTo>
                  <a:lnTo>
                    <a:pt x="1894" y="3187"/>
                  </a:lnTo>
                  <a:lnTo>
                    <a:pt x="1920" y="3180"/>
                  </a:lnTo>
                  <a:lnTo>
                    <a:pt x="1906" y="3180"/>
                  </a:lnTo>
                  <a:lnTo>
                    <a:pt x="1948" y="3154"/>
                  </a:lnTo>
                  <a:lnTo>
                    <a:pt x="1937" y="3142"/>
                  </a:lnTo>
                  <a:lnTo>
                    <a:pt x="1920" y="3170"/>
                  </a:lnTo>
                  <a:lnTo>
                    <a:pt x="1906" y="3170"/>
                  </a:lnTo>
                  <a:lnTo>
                    <a:pt x="1911" y="3163"/>
                  </a:lnTo>
                  <a:lnTo>
                    <a:pt x="1906" y="3163"/>
                  </a:lnTo>
                  <a:lnTo>
                    <a:pt x="1889" y="3170"/>
                  </a:lnTo>
                  <a:lnTo>
                    <a:pt x="1882" y="3170"/>
                  </a:lnTo>
                  <a:lnTo>
                    <a:pt x="1894" y="3154"/>
                  </a:lnTo>
                  <a:lnTo>
                    <a:pt x="1927" y="3147"/>
                  </a:lnTo>
                  <a:lnTo>
                    <a:pt x="1948" y="3125"/>
                  </a:lnTo>
                  <a:lnTo>
                    <a:pt x="1937" y="3130"/>
                  </a:lnTo>
                  <a:lnTo>
                    <a:pt x="1927" y="3114"/>
                  </a:lnTo>
                  <a:lnTo>
                    <a:pt x="1927" y="3130"/>
                  </a:lnTo>
                  <a:lnTo>
                    <a:pt x="1920" y="3142"/>
                  </a:lnTo>
                  <a:lnTo>
                    <a:pt x="1889" y="3154"/>
                  </a:lnTo>
                  <a:lnTo>
                    <a:pt x="1889" y="3147"/>
                  </a:lnTo>
                  <a:lnTo>
                    <a:pt x="1920" y="3130"/>
                  </a:lnTo>
                  <a:lnTo>
                    <a:pt x="1906" y="3114"/>
                  </a:lnTo>
                  <a:lnTo>
                    <a:pt x="1911" y="3109"/>
                  </a:lnTo>
                  <a:lnTo>
                    <a:pt x="1894" y="3114"/>
                  </a:lnTo>
                  <a:lnTo>
                    <a:pt x="1906" y="3125"/>
                  </a:lnTo>
                  <a:lnTo>
                    <a:pt x="1906" y="3130"/>
                  </a:lnTo>
                  <a:lnTo>
                    <a:pt x="1882" y="3147"/>
                  </a:lnTo>
                  <a:lnTo>
                    <a:pt x="1868" y="3130"/>
                  </a:lnTo>
                  <a:lnTo>
                    <a:pt x="1856" y="3154"/>
                  </a:lnTo>
                  <a:lnTo>
                    <a:pt x="1835" y="3147"/>
                  </a:lnTo>
                  <a:lnTo>
                    <a:pt x="1840" y="3154"/>
                  </a:lnTo>
                  <a:lnTo>
                    <a:pt x="1835" y="3163"/>
                  </a:lnTo>
                  <a:lnTo>
                    <a:pt x="1830" y="3147"/>
                  </a:lnTo>
                  <a:lnTo>
                    <a:pt x="1764" y="3154"/>
                  </a:lnTo>
                  <a:lnTo>
                    <a:pt x="1802" y="3154"/>
                  </a:lnTo>
                  <a:lnTo>
                    <a:pt x="1797" y="3163"/>
                  </a:lnTo>
                  <a:lnTo>
                    <a:pt x="1743" y="3163"/>
                  </a:lnTo>
                  <a:lnTo>
                    <a:pt x="1731" y="3163"/>
                  </a:lnTo>
                  <a:lnTo>
                    <a:pt x="1776" y="3142"/>
                  </a:lnTo>
                  <a:lnTo>
                    <a:pt x="1726" y="3147"/>
                  </a:lnTo>
                  <a:lnTo>
                    <a:pt x="1764" y="3142"/>
                  </a:lnTo>
                  <a:lnTo>
                    <a:pt x="1764" y="3130"/>
                  </a:lnTo>
                  <a:lnTo>
                    <a:pt x="1748" y="3130"/>
                  </a:lnTo>
                  <a:lnTo>
                    <a:pt x="1743" y="3125"/>
                  </a:lnTo>
                  <a:lnTo>
                    <a:pt x="1759" y="3109"/>
                  </a:lnTo>
                  <a:lnTo>
                    <a:pt x="1748" y="3109"/>
                  </a:lnTo>
                  <a:lnTo>
                    <a:pt x="1731" y="3114"/>
                  </a:lnTo>
                  <a:lnTo>
                    <a:pt x="1743" y="3130"/>
                  </a:lnTo>
                  <a:lnTo>
                    <a:pt x="1726" y="3130"/>
                  </a:lnTo>
                  <a:lnTo>
                    <a:pt x="1726" y="3125"/>
                  </a:lnTo>
                  <a:lnTo>
                    <a:pt x="1731" y="3125"/>
                  </a:lnTo>
                  <a:lnTo>
                    <a:pt x="1710" y="3125"/>
                  </a:lnTo>
                  <a:lnTo>
                    <a:pt x="1726" y="3109"/>
                  </a:lnTo>
                  <a:lnTo>
                    <a:pt x="1679" y="3097"/>
                  </a:lnTo>
                  <a:lnTo>
                    <a:pt x="1743" y="3085"/>
                  </a:lnTo>
                  <a:lnTo>
                    <a:pt x="1726" y="3076"/>
                  </a:lnTo>
                  <a:lnTo>
                    <a:pt x="1689" y="3092"/>
                  </a:lnTo>
                  <a:lnTo>
                    <a:pt x="1667" y="3085"/>
                  </a:lnTo>
                  <a:lnTo>
                    <a:pt x="1710" y="3076"/>
                  </a:lnTo>
                  <a:lnTo>
                    <a:pt x="1689" y="3076"/>
                  </a:lnTo>
                  <a:lnTo>
                    <a:pt x="1679" y="3076"/>
                  </a:lnTo>
                  <a:lnTo>
                    <a:pt x="1679" y="3059"/>
                  </a:lnTo>
                  <a:lnTo>
                    <a:pt x="1672" y="3069"/>
                  </a:lnTo>
                  <a:lnTo>
                    <a:pt x="1679" y="3052"/>
                  </a:lnTo>
                  <a:lnTo>
                    <a:pt x="1705" y="3036"/>
                  </a:lnTo>
                  <a:lnTo>
                    <a:pt x="1689" y="3036"/>
                  </a:lnTo>
                  <a:lnTo>
                    <a:pt x="1672" y="3052"/>
                  </a:lnTo>
                  <a:lnTo>
                    <a:pt x="1667" y="3069"/>
                  </a:lnTo>
                  <a:lnTo>
                    <a:pt x="1656" y="3059"/>
                  </a:lnTo>
                  <a:lnTo>
                    <a:pt x="1672" y="3043"/>
                  </a:lnTo>
                  <a:lnTo>
                    <a:pt x="1656" y="3052"/>
                  </a:lnTo>
                  <a:lnTo>
                    <a:pt x="1656" y="3036"/>
                  </a:lnTo>
                  <a:lnTo>
                    <a:pt x="1693" y="3031"/>
                  </a:lnTo>
                  <a:lnTo>
                    <a:pt x="1679" y="3019"/>
                  </a:lnTo>
                  <a:lnTo>
                    <a:pt x="1679" y="3014"/>
                  </a:lnTo>
                  <a:lnTo>
                    <a:pt x="1672" y="3031"/>
                  </a:lnTo>
                  <a:lnTo>
                    <a:pt x="1634" y="3036"/>
                  </a:lnTo>
                  <a:lnTo>
                    <a:pt x="1634" y="3019"/>
                  </a:lnTo>
                  <a:lnTo>
                    <a:pt x="1656" y="3019"/>
                  </a:lnTo>
                  <a:lnTo>
                    <a:pt x="1667" y="3014"/>
                  </a:lnTo>
                  <a:lnTo>
                    <a:pt x="1641" y="3014"/>
                  </a:lnTo>
                  <a:lnTo>
                    <a:pt x="1656" y="3003"/>
                  </a:lnTo>
                  <a:lnTo>
                    <a:pt x="1625" y="3003"/>
                  </a:lnTo>
                  <a:lnTo>
                    <a:pt x="1596" y="2981"/>
                  </a:lnTo>
                  <a:lnTo>
                    <a:pt x="1596" y="2958"/>
                  </a:lnTo>
                  <a:lnTo>
                    <a:pt x="1618" y="2941"/>
                  </a:lnTo>
                  <a:lnTo>
                    <a:pt x="1596" y="2958"/>
                  </a:lnTo>
                  <a:lnTo>
                    <a:pt x="1604" y="2925"/>
                  </a:lnTo>
                  <a:lnTo>
                    <a:pt x="1634" y="2920"/>
                  </a:lnTo>
                  <a:lnTo>
                    <a:pt x="1604" y="2925"/>
                  </a:lnTo>
                  <a:lnTo>
                    <a:pt x="1587" y="2948"/>
                  </a:lnTo>
                  <a:lnTo>
                    <a:pt x="1587" y="2925"/>
                  </a:lnTo>
                  <a:lnTo>
                    <a:pt x="1604" y="2920"/>
                  </a:lnTo>
                  <a:lnTo>
                    <a:pt x="1570" y="2925"/>
                  </a:lnTo>
                  <a:lnTo>
                    <a:pt x="1570" y="2908"/>
                  </a:lnTo>
                  <a:lnTo>
                    <a:pt x="1613" y="2892"/>
                  </a:lnTo>
                  <a:lnTo>
                    <a:pt x="1549" y="2908"/>
                  </a:lnTo>
                  <a:lnTo>
                    <a:pt x="1559" y="2892"/>
                  </a:lnTo>
                  <a:lnTo>
                    <a:pt x="1542" y="2903"/>
                  </a:lnTo>
                  <a:lnTo>
                    <a:pt x="1533" y="2887"/>
                  </a:lnTo>
                  <a:lnTo>
                    <a:pt x="1596" y="2875"/>
                  </a:lnTo>
                  <a:lnTo>
                    <a:pt x="1542" y="2875"/>
                  </a:lnTo>
                  <a:lnTo>
                    <a:pt x="1528" y="2870"/>
                  </a:lnTo>
                  <a:lnTo>
                    <a:pt x="1566" y="2863"/>
                  </a:lnTo>
                  <a:lnTo>
                    <a:pt x="1542" y="2863"/>
                  </a:lnTo>
                  <a:lnTo>
                    <a:pt x="1533" y="2854"/>
                  </a:lnTo>
                  <a:lnTo>
                    <a:pt x="1570" y="2854"/>
                  </a:lnTo>
                  <a:lnTo>
                    <a:pt x="1580" y="2847"/>
                  </a:lnTo>
                  <a:lnTo>
                    <a:pt x="1542" y="2847"/>
                  </a:lnTo>
                  <a:lnTo>
                    <a:pt x="1533" y="2854"/>
                  </a:lnTo>
                  <a:lnTo>
                    <a:pt x="1533" y="2863"/>
                  </a:lnTo>
                  <a:lnTo>
                    <a:pt x="1504" y="2837"/>
                  </a:lnTo>
                  <a:lnTo>
                    <a:pt x="1549" y="2814"/>
                  </a:lnTo>
                  <a:lnTo>
                    <a:pt x="1511" y="2830"/>
                  </a:lnTo>
                  <a:lnTo>
                    <a:pt x="1511" y="2821"/>
                  </a:lnTo>
                  <a:lnTo>
                    <a:pt x="1516" y="2821"/>
                  </a:lnTo>
                  <a:lnTo>
                    <a:pt x="1516" y="2814"/>
                  </a:lnTo>
                  <a:lnTo>
                    <a:pt x="1495" y="2809"/>
                  </a:lnTo>
                  <a:lnTo>
                    <a:pt x="1613" y="2781"/>
                  </a:lnTo>
                  <a:lnTo>
                    <a:pt x="1570" y="2781"/>
                  </a:lnTo>
                  <a:lnTo>
                    <a:pt x="1580" y="2776"/>
                  </a:lnTo>
                  <a:lnTo>
                    <a:pt x="1511" y="2797"/>
                  </a:lnTo>
                  <a:lnTo>
                    <a:pt x="1495" y="2792"/>
                  </a:lnTo>
                  <a:lnTo>
                    <a:pt x="1516" y="2792"/>
                  </a:lnTo>
                  <a:lnTo>
                    <a:pt x="1490" y="2781"/>
                  </a:lnTo>
                  <a:lnTo>
                    <a:pt x="1549" y="2781"/>
                  </a:lnTo>
                  <a:lnTo>
                    <a:pt x="1559" y="2776"/>
                  </a:lnTo>
                  <a:lnTo>
                    <a:pt x="1542" y="2776"/>
                  </a:lnTo>
                  <a:lnTo>
                    <a:pt x="1559" y="2759"/>
                  </a:lnTo>
                  <a:lnTo>
                    <a:pt x="1587" y="2764"/>
                  </a:lnTo>
                  <a:lnTo>
                    <a:pt x="1604" y="2759"/>
                  </a:lnTo>
                  <a:lnTo>
                    <a:pt x="1570" y="2759"/>
                  </a:lnTo>
                  <a:lnTo>
                    <a:pt x="1570" y="2752"/>
                  </a:lnTo>
                  <a:lnTo>
                    <a:pt x="1580" y="2743"/>
                  </a:lnTo>
                  <a:lnTo>
                    <a:pt x="1549" y="2736"/>
                  </a:lnTo>
                  <a:lnTo>
                    <a:pt x="1580" y="2726"/>
                  </a:lnTo>
                  <a:lnTo>
                    <a:pt x="1566" y="2726"/>
                  </a:lnTo>
                  <a:lnTo>
                    <a:pt x="1580" y="2726"/>
                  </a:lnTo>
                  <a:lnTo>
                    <a:pt x="1596" y="2726"/>
                  </a:lnTo>
                  <a:lnTo>
                    <a:pt x="1604" y="2752"/>
                  </a:lnTo>
                  <a:lnTo>
                    <a:pt x="1641" y="2764"/>
                  </a:lnTo>
                  <a:lnTo>
                    <a:pt x="1613" y="2743"/>
                  </a:lnTo>
                  <a:lnTo>
                    <a:pt x="1604" y="2736"/>
                  </a:lnTo>
                  <a:lnTo>
                    <a:pt x="1618" y="2726"/>
                  </a:lnTo>
                  <a:lnTo>
                    <a:pt x="1596" y="2726"/>
                  </a:lnTo>
                  <a:lnTo>
                    <a:pt x="1613" y="2703"/>
                  </a:lnTo>
                  <a:lnTo>
                    <a:pt x="1596" y="2719"/>
                  </a:lnTo>
                  <a:lnTo>
                    <a:pt x="1570" y="2719"/>
                  </a:lnTo>
                  <a:lnTo>
                    <a:pt x="1566" y="2698"/>
                  </a:lnTo>
                  <a:lnTo>
                    <a:pt x="1549" y="2665"/>
                  </a:lnTo>
                  <a:lnTo>
                    <a:pt x="1549" y="2698"/>
                  </a:lnTo>
                  <a:lnTo>
                    <a:pt x="1566" y="2698"/>
                  </a:lnTo>
                  <a:lnTo>
                    <a:pt x="1570" y="2719"/>
                  </a:lnTo>
                  <a:lnTo>
                    <a:pt x="1533" y="2736"/>
                  </a:lnTo>
                  <a:lnTo>
                    <a:pt x="1528" y="2736"/>
                  </a:lnTo>
                  <a:lnTo>
                    <a:pt x="1542" y="2719"/>
                  </a:lnTo>
                  <a:lnTo>
                    <a:pt x="1528" y="2719"/>
                  </a:lnTo>
                  <a:lnTo>
                    <a:pt x="1495" y="2776"/>
                  </a:lnTo>
                  <a:lnTo>
                    <a:pt x="1474" y="2781"/>
                  </a:lnTo>
                  <a:lnTo>
                    <a:pt x="1474" y="2759"/>
                  </a:lnTo>
                  <a:lnTo>
                    <a:pt x="1462" y="2759"/>
                  </a:lnTo>
                  <a:lnTo>
                    <a:pt x="1474" y="2736"/>
                  </a:lnTo>
                  <a:lnTo>
                    <a:pt x="1462" y="2726"/>
                  </a:lnTo>
                  <a:lnTo>
                    <a:pt x="1504" y="2710"/>
                  </a:lnTo>
                  <a:lnTo>
                    <a:pt x="1528" y="2686"/>
                  </a:lnTo>
                  <a:lnTo>
                    <a:pt x="1495" y="2703"/>
                  </a:lnTo>
                  <a:lnTo>
                    <a:pt x="1504" y="2698"/>
                  </a:lnTo>
                  <a:lnTo>
                    <a:pt x="1495" y="2686"/>
                  </a:lnTo>
                  <a:lnTo>
                    <a:pt x="1478" y="2710"/>
                  </a:lnTo>
                  <a:lnTo>
                    <a:pt x="1462" y="2710"/>
                  </a:lnTo>
                  <a:lnTo>
                    <a:pt x="1478" y="2703"/>
                  </a:lnTo>
                  <a:lnTo>
                    <a:pt x="1474" y="2703"/>
                  </a:lnTo>
                  <a:lnTo>
                    <a:pt x="1457" y="2710"/>
                  </a:lnTo>
                  <a:lnTo>
                    <a:pt x="1457" y="2703"/>
                  </a:lnTo>
                  <a:lnTo>
                    <a:pt x="1474" y="2698"/>
                  </a:lnTo>
                  <a:lnTo>
                    <a:pt x="1457" y="2681"/>
                  </a:lnTo>
                  <a:lnTo>
                    <a:pt x="1462" y="2665"/>
                  </a:lnTo>
                  <a:lnTo>
                    <a:pt x="1452" y="2665"/>
                  </a:lnTo>
                  <a:lnTo>
                    <a:pt x="1457" y="2653"/>
                  </a:lnTo>
                  <a:lnTo>
                    <a:pt x="1441" y="2670"/>
                  </a:lnTo>
                  <a:lnTo>
                    <a:pt x="1436" y="2653"/>
                  </a:lnTo>
                  <a:lnTo>
                    <a:pt x="1495" y="2625"/>
                  </a:lnTo>
                  <a:lnTo>
                    <a:pt x="1478" y="2615"/>
                  </a:lnTo>
                  <a:lnTo>
                    <a:pt x="1495" y="2608"/>
                  </a:lnTo>
                  <a:lnTo>
                    <a:pt x="1528" y="2599"/>
                  </a:lnTo>
                  <a:lnTo>
                    <a:pt x="1580" y="2608"/>
                  </a:lnTo>
                  <a:lnTo>
                    <a:pt x="1511" y="2599"/>
                  </a:lnTo>
                  <a:lnTo>
                    <a:pt x="1478" y="2615"/>
                  </a:lnTo>
                  <a:lnTo>
                    <a:pt x="1478" y="2625"/>
                  </a:lnTo>
                  <a:lnTo>
                    <a:pt x="1441" y="2648"/>
                  </a:lnTo>
                  <a:lnTo>
                    <a:pt x="1436" y="2632"/>
                  </a:lnTo>
                  <a:lnTo>
                    <a:pt x="1441" y="2615"/>
                  </a:lnTo>
                  <a:lnTo>
                    <a:pt x="1424" y="2632"/>
                  </a:lnTo>
                  <a:lnTo>
                    <a:pt x="1419" y="2625"/>
                  </a:lnTo>
                  <a:lnTo>
                    <a:pt x="1436" y="2615"/>
                  </a:lnTo>
                  <a:lnTo>
                    <a:pt x="1419" y="2615"/>
                  </a:lnTo>
                  <a:lnTo>
                    <a:pt x="1424" y="2592"/>
                  </a:lnTo>
                  <a:lnTo>
                    <a:pt x="1419" y="2608"/>
                  </a:lnTo>
                  <a:lnTo>
                    <a:pt x="1386" y="2608"/>
                  </a:lnTo>
                  <a:lnTo>
                    <a:pt x="1408" y="2592"/>
                  </a:lnTo>
                  <a:lnTo>
                    <a:pt x="1386" y="2599"/>
                  </a:lnTo>
                  <a:lnTo>
                    <a:pt x="1424" y="2575"/>
                  </a:lnTo>
                  <a:lnTo>
                    <a:pt x="1452" y="2587"/>
                  </a:lnTo>
                  <a:lnTo>
                    <a:pt x="1478" y="2570"/>
                  </a:lnTo>
                  <a:lnTo>
                    <a:pt x="1490" y="2575"/>
                  </a:lnTo>
                  <a:lnTo>
                    <a:pt x="1490" y="2570"/>
                  </a:lnTo>
                  <a:lnTo>
                    <a:pt x="1452" y="2587"/>
                  </a:lnTo>
                  <a:lnTo>
                    <a:pt x="1436" y="2575"/>
                  </a:lnTo>
                  <a:lnTo>
                    <a:pt x="1398" y="2592"/>
                  </a:lnTo>
                  <a:lnTo>
                    <a:pt x="1386" y="2587"/>
                  </a:lnTo>
                  <a:lnTo>
                    <a:pt x="1408" y="2570"/>
                  </a:lnTo>
                  <a:lnTo>
                    <a:pt x="1386" y="2575"/>
                  </a:lnTo>
                  <a:lnTo>
                    <a:pt x="1370" y="2575"/>
                  </a:lnTo>
                  <a:lnTo>
                    <a:pt x="1398" y="2570"/>
                  </a:lnTo>
                  <a:lnTo>
                    <a:pt x="1370" y="2570"/>
                  </a:lnTo>
                  <a:lnTo>
                    <a:pt x="1474" y="2514"/>
                  </a:lnTo>
                  <a:lnTo>
                    <a:pt x="1478" y="2497"/>
                  </a:lnTo>
                  <a:lnTo>
                    <a:pt x="1528" y="2476"/>
                  </a:lnTo>
                  <a:lnTo>
                    <a:pt x="1587" y="2476"/>
                  </a:lnTo>
                  <a:lnTo>
                    <a:pt x="1542" y="2464"/>
                  </a:lnTo>
                  <a:lnTo>
                    <a:pt x="1566" y="2448"/>
                  </a:lnTo>
                  <a:lnTo>
                    <a:pt x="1613" y="2459"/>
                  </a:lnTo>
                  <a:lnTo>
                    <a:pt x="1570" y="2448"/>
                  </a:lnTo>
                  <a:lnTo>
                    <a:pt x="1587" y="2443"/>
                  </a:lnTo>
                  <a:lnTo>
                    <a:pt x="1533" y="2464"/>
                  </a:lnTo>
                  <a:lnTo>
                    <a:pt x="1403" y="2554"/>
                  </a:lnTo>
                  <a:lnTo>
                    <a:pt x="1370" y="2559"/>
                  </a:lnTo>
                  <a:lnTo>
                    <a:pt x="1353" y="2554"/>
                  </a:lnTo>
                  <a:lnTo>
                    <a:pt x="1398" y="2537"/>
                  </a:lnTo>
                  <a:lnTo>
                    <a:pt x="1365" y="2542"/>
                  </a:lnTo>
                  <a:lnTo>
                    <a:pt x="1353" y="2537"/>
                  </a:lnTo>
                  <a:lnTo>
                    <a:pt x="1353" y="2514"/>
                  </a:lnTo>
                  <a:lnTo>
                    <a:pt x="1441" y="2504"/>
                  </a:lnTo>
                  <a:lnTo>
                    <a:pt x="1386" y="2504"/>
                  </a:lnTo>
                  <a:lnTo>
                    <a:pt x="1370" y="2497"/>
                  </a:lnTo>
                  <a:lnTo>
                    <a:pt x="1436" y="2488"/>
                  </a:lnTo>
                  <a:lnTo>
                    <a:pt x="1386" y="2481"/>
                  </a:lnTo>
                  <a:lnTo>
                    <a:pt x="1419" y="2481"/>
                  </a:lnTo>
                  <a:lnTo>
                    <a:pt x="1398" y="2481"/>
                  </a:lnTo>
                  <a:lnTo>
                    <a:pt x="1403" y="2476"/>
                  </a:lnTo>
                  <a:lnTo>
                    <a:pt x="1457" y="2476"/>
                  </a:lnTo>
                  <a:lnTo>
                    <a:pt x="1441" y="2464"/>
                  </a:lnTo>
                  <a:lnTo>
                    <a:pt x="1353" y="2464"/>
                  </a:lnTo>
                  <a:lnTo>
                    <a:pt x="1348" y="2459"/>
                  </a:lnTo>
                  <a:lnTo>
                    <a:pt x="1386" y="2448"/>
                  </a:lnTo>
                  <a:lnTo>
                    <a:pt x="1348" y="2443"/>
                  </a:lnTo>
                  <a:lnTo>
                    <a:pt x="1382" y="2443"/>
                  </a:lnTo>
                  <a:lnTo>
                    <a:pt x="1332" y="2443"/>
                  </a:lnTo>
                  <a:lnTo>
                    <a:pt x="1348" y="2431"/>
                  </a:lnTo>
                  <a:lnTo>
                    <a:pt x="1382" y="2426"/>
                  </a:lnTo>
                  <a:lnTo>
                    <a:pt x="1365" y="2426"/>
                  </a:lnTo>
                  <a:lnTo>
                    <a:pt x="1462" y="2410"/>
                  </a:lnTo>
                  <a:lnTo>
                    <a:pt x="1511" y="2410"/>
                  </a:lnTo>
                  <a:lnTo>
                    <a:pt x="1533" y="2431"/>
                  </a:lnTo>
                  <a:lnTo>
                    <a:pt x="1587" y="2431"/>
                  </a:lnTo>
                  <a:lnTo>
                    <a:pt x="1533" y="2431"/>
                  </a:lnTo>
                  <a:lnTo>
                    <a:pt x="1511" y="2410"/>
                  </a:lnTo>
                  <a:lnTo>
                    <a:pt x="1533" y="2403"/>
                  </a:lnTo>
                  <a:lnTo>
                    <a:pt x="1386" y="2410"/>
                  </a:lnTo>
                  <a:lnTo>
                    <a:pt x="1348" y="2426"/>
                  </a:lnTo>
                  <a:lnTo>
                    <a:pt x="1344" y="2419"/>
                  </a:lnTo>
                  <a:lnTo>
                    <a:pt x="1353" y="2393"/>
                  </a:lnTo>
                  <a:lnTo>
                    <a:pt x="1408" y="2370"/>
                  </a:lnTo>
                  <a:lnTo>
                    <a:pt x="1398" y="2370"/>
                  </a:lnTo>
                  <a:lnTo>
                    <a:pt x="1403" y="2370"/>
                  </a:lnTo>
                  <a:lnTo>
                    <a:pt x="1436" y="2365"/>
                  </a:lnTo>
                  <a:lnTo>
                    <a:pt x="1419" y="2365"/>
                  </a:lnTo>
                  <a:lnTo>
                    <a:pt x="1441" y="2365"/>
                  </a:lnTo>
                  <a:lnTo>
                    <a:pt x="1490" y="2377"/>
                  </a:lnTo>
                  <a:lnTo>
                    <a:pt x="1516" y="2370"/>
                  </a:lnTo>
                  <a:lnTo>
                    <a:pt x="1566" y="2393"/>
                  </a:lnTo>
                  <a:lnTo>
                    <a:pt x="1604" y="2393"/>
                  </a:lnTo>
                  <a:lnTo>
                    <a:pt x="1613" y="2386"/>
                  </a:lnTo>
                  <a:lnTo>
                    <a:pt x="1570" y="2393"/>
                  </a:lnTo>
                  <a:lnTo>
                    <a:pt x="1559" y="2377"/>
                  </a:lnTo>
                  <a:lnTo>
                    <a:pt x="1596" y="2365"/>
                  </a:lnTo>
                  <a:lnTo>
                    <a:pt x="1618" y="2370"/>
                  </a:lnTo>
                  <a:lnTo>
                    <a:pt x="1596" y="2365"/>
                  </a:lnTo>
                  <a:lnTo>
                    <a:pt x="1542" y="2377"/>
                  </a:lnTo>
                  <a:lnTo>
                    <a:pt x="1528" y="2365"/>
                  </a:lnTo>
                  <a:lnTo>
                    <a:pt x="1587" y="2348"/>
                  </a:lnTo>
                  <a:lnTo>
                    <a:pt x="1559" y="2337"/>
                  </a:lnTo>
                  <a:lnTo>
                    <a:pt x="1559" y="2348"/>
                  </a:lnTo>
                  <a:lnTo>
                    <a:pt x="1566" y="2348"/>
                  </a:lnTo>
                  <a:lnTo>
                    <a:pt x="1533" y="2365"/>
                  </a:lnTo>
                  <a:lnTo>
                    <a:pt x="1516" y="2348"/>
                  </a:lnTo>
                  <a:lnTo>
                    <a:pt x="1549" y="2348"/>
                  </a:lnTo>
                  <a:lnTo>
                    <a:pt x="1542" y="2332"/>
                  </a:lnTo>
                  <a:lnTo>
                    <a:pt x="1504" y="2337"/>
                  </a:lnTo>
                  <a:lnTo>
                    <a:pt x="1516" y="2353"/>
                  </a:lnTo>
                  <a:lnTo>
                    <a:pt x="1495" y="2370"/>
                  </a:lnTo>
                  <a:lnTo>
                    <a:pt x="1490" y="2365"/>
                  </a:lnTo>
                  <a:lnTo>
                    <a:pt x="1504" y="2353"/>
                  </a:lnTo>
                  <a:lnTo>
                    <a:pt x="1452" y="2353"/>
                  </a:lnTo>
                  <a:lnTo>
                    <a:pt x="1504" y="2332"/>
                  </a:lnTo>
                  <a:lnTo>
                    <a:pt x="1403" y="2365"/>
                  </a:lnTo>
                  <a:lnTo>
                    <a:pt x="1365" y="2386"/>
                  </a:lnTo>
                  <a:lnTo>
                    <a:pt x="1353" y="2386"/>
                  </a:lnTo>
                  <a:lnTo>
                    <a:pt x="1348" y="2377"/>
                  </a:lnTo>
                  <a:lnTo>
                    <a:pt x="1365" y="2370"/>
                  </a:lnTo>
                  <a:lnTo>
                    <a:pt x="1353" y="2353"/>
                  </a:lnTo>
                  <a:lnTo>
                    <a:pt x="1382" y="2353"/>
                  </a:lnTo>
                  <a:lnTo>
                    <a:pt x="1370" y="2348"/>
                  </a:lnTo>
                  <a:lnTo>
                    <a:pt x="1386" y="2353"/>
                  </a:lnTo>
                  <a:lnTo>
                    <a:pt x="1403" y="2348"/>
                  </a:lnTo>
                  <a:lnTo>
                    <a:pt x="1386" y="2348"/>
                  </a:lnTo>
                  <a:lnTo>
                    <a:pt x="1386" y="2337"/>
                  </a:lnTo>
                  <a:lnTo>
                    <a:pt x="1408" y="2332"/>
                  </a:lnTo>
                  <a:lnTo>
                    <a:pt x="1386" y="2332"/>
                  </a:lnTo>
                  <a:lnTo>
                    <a:pt x="1386" y="2320"/>
                  </a:lnTo>
                  <a:lnTo>
                    <a:pt x="1457" y="2337"/>
                  </a:lnTo>
                  <a:lnTo>
                    <a:pt x="1474" y="2332"/>
                  </a:lnTo>
                  <a:lnTo>
                    <a:pt x="1424" y="2332"/>
                  </a:lnTo>
                  <a:lnTo>
                    <a:pt x="1398" y="2315"/>
                  </a:lnTo>
                  <a:lnTo>
                    <a:pt x="1370" y="2315"/>
                  </a:lnTo>
                  <a:lnTo>
                    <a:pt x="1382" y="2308"/>
                  </a:lnTo>
                  <a:lnTo>
                    <a:pt x="1452" y="2320"/>
                  </a:lnTo>
                  <a:lnTo>
                    <a:pt x="1419" y="2308"/>
                  </a:lnTo>
                  <a:lnTo>
                    <a:pt x="1490" y="2320"/>
                  </a:lnTo>
                  <a:lnTo>
                    <a:pt x="1533" y="2320"/>
                  </a:lnTo>
                  <a:lnTo>
                    <a:pt x="1570" y="2337"/>
                  </a:lnTo>
                  <a:lnTo>
                    <a:pt x="1604" y="2337"/>
                  </a:lnTo>
                  <a:lnTo>
                    <a:pt x="1511" y="2308"/>
                  </a:lnTo>
                  <a:lnTo>
                    <a:pt x="1549" y="2308"/>
                  </a:lnTo>
                  <a:lnTo>
                    <a:pt x="1528" y="2299"/>
                  </a:lnTo>
                  <a:lnTo>
                    <a:pt x="1533" y="2292"/>
                  </a:lnTo>
                  <a:lnTo>
                    <a:pt x="1533" y="2282"/>
                  </a:lnTo>
                  <a:lnTo>
                    <a:pt x="1559" y="2266"/>
                  </a:lnTo>
                  <a:lnTo>
                    <a:pt x="1504" y="2275"/>
                  </a:lnTo>
                  <a:lnTo>
                    <a:pt x="1528" y="2292"/>
                  </a:lnTo>
                  <a:lnTo>
                    <a:pt x="1441" y="2308"/>
                  </a:lnTo>
                  <a:lnTo>
                    <a:pt x="1441" y="2308"/>
                  </a:lnTo>
                  <a:lnTo>
                    <a:pt x="1441" y="2308"/>
                  </a:lnTo>
                  <a:close/>
                  <a:moveTo>
                    <a:pt x="2343" y="45"/>
                  </a:moveTo>
                  <a:lnTo>
                    <a:pt x="2374" y="41"/>
                  </a:lnTo>
                  <a:lnTo>
                    <a:pt x="2390" y="57"/>
                  </a:lnTo>
                  <a:lnTo>
                    <a:pt x="2343" y="45"/>
                  </a:lnTo>
                  <a:lnTo>
                    <a:pt x="2343" y="45"/>
                  </a:lnTo>
                  <a:lnTo>
                    <a:pt x="2343" y="45"/>
                  </a:lnTo>
                  <a:close/>
                  <a:moveTo>
                    <a:pt x="2390" y="83"/>
                  </a:moveTo>
                  <a:lnTo>
                    <a:pt x="2267" y="62"/>
                  </a:lnTo>
                  <a:lnTo>
                    <a:pt x="2298" y="45"/>
                  </a:lnTo>
                  <a:lnTo>
                    <a:pt x="2411" y="83"/>
                  </a:lnTo>
                  <a:lnTo>
                    <a:pt x="2390" y="83"/>
                  </a:lnTo>
                  <a:lnTo>
                    <a:pt x="2390" y="83"/>
                  </a:lnTo>
                  <a:lnTo>
                    <a:pt x="2390" y="83"/>
                  </a:lnTo>
                  <a:close/>
                  <a:moveTo>
                    <a:pt x="2284" y="67"/>
                  </a:moveTo>
                  <a:lnTo>
                    <a:pt x="2315" y="67"/>
                  </a:lnTo>
                  <a:lnTo>
                    <a:pt x="2272" y="67"/>
                  </a:lnTo>
                  <a:lnTo>
                    <a:pt x="2284" y="67"/>
                  </a:lnTo>
                  <a:lnTo>
                    <a:pt x="2284" y="67"/>
                  </a:lnTo>
                  <a:lnTo>
                    <a:pt x="2284" y="67"/>
                  </a:lnTo>
                  <a:close/>
                  <a:moveTo>
                    <a:pt x="2411" y="83"/>
                  </a:moveTo>
                  <a:lnTo>
                    <a:pt x="2411" y="78"/>
                  </a:lnTo>
                  <a:lnTo>
                    <a:pt x="2449" y="83"/>
                  </a:lnTo>
                  <a:lnTo>
                    <a:pt x="2411" y="83"/>
                  </a:lnTo>
                  <a:lnTo>
                    <a:pt x="2411" y="83"/>
                  </a:lnTo>
                  <a:lnTo>
                    <a:pt x="2411" y="83"/>
                  </a:lnTo>
                  <a:close/>
                  <a:moveTo>
                    <a:pt x="2322" y="116"/>
                  </a:moveTo>
                  <a:lnTo>
                    <a:pt x="2213" y="78"/>
                  </a:lnTo>
                  <a:lnTo>
                    <a:pt x="2260" y="78"/>
                  </a:lnTo>
                  <a:lnTo>
                    <a:pt x="2322" y="116"/>
                  </a:lnTo>
                  <a:lnTo>
                    <a:pt x="2322" y="116"/>
                  </a:lnTo>
                  <a:lnTo>
                    <a:pt x="2322" y="116"/>
                  </a:lnTo>
                  <a:close/>
                  <a:moveTo>
                    <a:pt x="2343" y="111"/>
                  </a:moveTo>
                  <a:lnTo>
                    <a:pt x="2272" y="83"/>
                  </a:lnTo>
                  <a:lnTo>
                    <a:pt x="2369" y="95"/>
                  </a:lnTo>
                  <a:lnTo>
                    <a:pt x="2343" y="111"/>
                  </a:lnTo>
                  <a:lnTo>
                    <a:pt x="2343" y="111"/>
                  </a:lnTo>
                  <a:lnTo>
                    <a:pt x="2343" y="111"/>
                  </a:lnTo>
                  <a:close/>
                  <a:moveTo>
                    <a:pt x="1840" y="140"/>
                  </a:moveTo>
                  <a:lnTo>
                    <a:pt x="1802" y="123"/>
                  </a:lnTo>
                  <a:lnTo>
                    <a:pt x="1868" y="140"/>
                  </a:lnTo>
                  <a:lnTo>
                    <a:pt x="1840" y="140"/>
                  </a:lnTo>
                  <a:lnTo>
                    <a:pt x="1840" y="140"/>
                  </a:lnTo>
                  <a:lnTo>
                    <a:pt x="1840" y="140"/>
                  </a:lnTo>
                  <a:close/>
                  <a:moveTo>
                    <a:pt x="1731" y="152"/>
                  </a:moveTo>
                  <a:lnTo>
                    <a:pt x="1726" y="135"/>
                  </a:lnTo>
                  <a:lnTo>
                    <a:pt x="1797" y="152"/>
                  </a:lnTo>
                  <a:lnTo>
                    <a:pt x="1731" y="152"/>
                  </a:lnTo>
                  <a:lnTo>
                    <a:pt x="1731" y="152"/>
                  </a:lnTo>
                  <a:lnTo>
                    <a:pt x="1731" y="152"/>
                  </a:lnTo>
                  <a:close/>
                  <a:moveTo>
                    <a:pt x="2298" y="173"/>
                  </a:moveTo>
                  <a:lnTo>
                    <a:pt x="2284" y="168"/>
                  </a:lnTo>
                  <a:lnTo>
                    <a:pt x="2305" y="173"/>
                  </a:lnTo>
                  <a:lnTo>
                    <a:pt x="2298" y="173"/>
                  </a:lnTo>
                  <a:lnTo>
                    <a:pt x="2298" y="173"/>
                  </a:lnTo>
                  <a:lnTo>
                    <a:pt x="2298" y="173"/>
                  </a:lnTo>
                  <a:close/>
                  <a:moveTo>
                    <a:pt x="1965" y="279"/>
                  </a:moveTo>
                  <a:lnTo>
                    <a:pt x="1937" y="251"/>
                  </a:lnTo>
                  <a:lnTo>
                    <a:pt x="1830" y="222"/>
                  </a:lnTo>
                  <a:lnTo>
                    <a:pt x="1776" y="178"/>
                  </a:lnTo>
                  <a:lnTo>
                    <a:pt x="1882" y="173"/>
                  </a:lnTo>
                  <a:lnTo>
                    <a:pt x="2003" y="222"/>
                  </a:lnTo>
                  <a:lnTo>
                    <a:pt x="1958" y="251"/>
                  </a:lnTo>
                  <a:lnTo>
                    <a:pt x="1982" y="267"/>
                  </a:lnTo>
                  <a:lnTo>
                    <a:pt x="1965" y="279"/>
                  </a:lnTo>
                  <a:lnTo>
                    <a:pt x="1965" y="279"/>
                  </a:lnTo>
                  <a:lnTo>
                    <a:pt x="1965" y="279"/>
                  </a:lnTo>
                  <a:close/>
                  <a:moveTo>
                    <a:pt x="1731" y="211"/>
                  </a:moveTo>
                  <a:lnTo>
                    <a:pt x="1693" y="194"/>
                  </a:lnTo>
                  <a:lnTo>
                    <a:pt x="1748" y="206"/>
                  </a:lnTo>
                  <a:lnTo>
                    <a:pt x="1731" y="211"/>
                  </a:lnTo>
                  <a:lnTo>
                    <a:pt x="1731" y="211"/>
                  </a:lnTo>
                  <a:lnTo>
                    <a:pt x="1731" y="211"/>
                  </a:lnTo>
                  <a:close/>
                  <a:moveTo>
                    <a:pt x="1528" y="296"/>
                  </a:moveTo>
                  <a:lnTo>
                    <a:pt x="1403" y="267"/>
                  </a:lnTo>
                  <a:lnTo>
                    <a:pt x="1382" y="244"/>
                  </a:lnTo>
                  <a:lnTo>
                    <a:pt x="1398" y="227"/>
                  </a:lnTo>
                  <a:lnTo>
                    <a:pt x="1419" y="239"/>
                  </a:lnTo>
                  <a:lnTo>
                    <a:pt x="1528" y="296"/>
                  </a:lnTo>
                  <a:lnTo>
                    <a:pt x="1528" y="296"/>
                  </a:lnTo>
                  <a:lnTo>
                    <a:pt x="1528" y="296"/>
                  </a:lnTo>
                  <a:close/>
                  <a:moveTo>
                    <a:pt x="1462" y="251"/>
                  </a:moveTo>
                  <a:lnTo>
                    <a:pt x="1457" y="239"/>
                  </a:lnTo>
                  <a:lnTo>
                    <a:pt x="1490" y="251"/>
                  </a:lnTo>
                  <a:lnTo>
                    <a:pt x="1462" y="251"/>
                  </a:lnTo>
                  <a:lnTo>
                    <a:pt x="1462" y="251"/>
                  </a:lnTo>
                  <a:lnTo>
                    <a:pt x="1462" y="251"/>
                  </a:lnTo>
                  <a:close/>
                  <a:moveTo>
                    <a:pt x="3789" y="284"/>
                  </a:moveTo>
                  <a:lnTo>
                    <a:pt x="3763" y="251"/>
                  </a:lnTo>
                  <a:lnTo>
                    <a:pt x="3800" y="296"/>
                  </a:lnTo>
                  <a:lnTo>
                    <a:pt x="3789" y="284"/>
                  </a:lnTo>
                  <a:lnTo>
                    <a:pt x="3789" y="284"/>
                  </a:lnTo>
                  <a:lnTo>
                    <a:pt x="3789" y="284"/>
                  </a:lnTo>
                  <a:close/>
                  <a:moveTo>
                    <a:pt x="3704" y="305"/>
                  </a:moveTo>
                  <a:lnTo>
                    <a:pt x="3666" y="267"/>
                  </a:lnTo>
                  <a:lnTo>
                    <a:pt x="3692" y="267"/>
                  </a:lnTo>
                  <a:lnTo>
                    <a:pt x="3741" y="305"/>
                  </a:lnTo>
                  <a:lnTo>
                    <a:pt x="3704" y="305"/>
                  </a:lnTo>
                  <a:lnTo>
                    <a:pt x="3704" y="305"/>
                  </a:lnTo>
                  <a:lnTo>
                    <a:pt x="3704" y="305"/>
                  </a:lnTo>
                  <a:close/>
                  <a:moveTo>
                    <a:pt x="3817" y="350"/>
                  </a:moveTo>
                  <a:lnTo>
                    <a:pt x="3772" y="322"/>
                  </a:lnTo>
                  <a:lnTo>
                    <a:pt x="3810" y="322"/>
                  </a:lnTo>
                  <a:lnTo>
                    <a:pt x="3843" y="350"/>
                  </a:lnTo>
                  <a:lnTo>
                    <a:pt x="3817" y="350"/>
                  </a:lnTo>
                  <a:lnTo>
                    <a:pt x="3817" y="350"/>
                  </a:lnTo>
                  <a:lnTo>
                    <a:pt x="3817" y="350"/>
                  </a:lnTo>
                  <a:close/>
                  <a:moveTo>
                    <a:pt x="3654" y="355"/>
                  </a:moveTo>
                  <a:lnTo>
                    <a:pt x="3666" y="350"/>
                  </a:lnTo>
                  <a:lnTo>
                    <a:pt x="3649" y="338"/>
                  </a:lnTo>
                  <a:lnTo>
                    <a:pt x="3654" y="333"/>
                  </a:lnTo>
                  <a:lnTo>
                    <a:pt x="3708" y="338"/>
                  </a:lnTo>
                  <a:lnTo>
                    <a:pt x="3654" y="355"/>
                  </a:lnTo>
                  <a:lnTo>
                    <a:pt x="3654" y="355"/>
                  </a:lnTo>
                  <a:lnTo>
                    <a:pt x="3654" y="355"/>
                  </a:lnTo>
                  <a:close/>
                  <a:moveTo>
                    <a:pt x="3789" y="600"/>
                  </a:moveTo>
                  <a:lnTo>
                    <a:pt x="3720" y="612"/>
                  </a:lnTo>
                  <a:lnTo>
                    <a:pt x="3741" y="584"/>
                  </a:lnTo>
                  <a:lnTo>
                    <a:pt x="3789" y="600"/>
                  </a:lnTo>
                  <a:lnTo>
                    <a:pt x="3789" y="600"/>
                  </a:lnTo>
                  <a:lnTo>
                    <a:pt x="3789" y="600"/>
                  </a:lnTo>
                  <a:close/>
                  <a:moveTo>
                    <a:pt x="3763" y="749"/>
                  </a:moveTo>
                  <a:lnTo>
                    <a:pt x="3763" y="766"/>
                  </a:lnTo>
                  <a:lnTo>
                    <a:pt x="3758" y="761"/>
                  </a:lnTo>
                  <a:lnTo>
                    <a:pt x="3763" y="749"/>
                  </a:lnTo>
                  <a:lnTo>
                    <a:pt x="3763" y="749"/>
                  </a:lnTo>
                  <a:lnTo>
                    <a:pt x="3763" y="749"/>
                  </a:lnTo>
                  <a:close/>
                  <a:moveTo>
                    <a:pt x="3881" y="749"/>
                  </a:moveTo>
                  <a:lnTo>
                    <a:pt x="3885" y="761"/>
                  </a:lnTo>
                  <a:lnTo>
                    <a:pt x="3848" y="794"/>
                  </a:lnTo>
                  <a:lnTo>
                    <a:pt x="3855" y="778"/>
                  </a:lnTo>
                  <a:lnTo>
                    <a:pt x="3881" y="749"/>
                  </a:lnTo>
                  <a:lnTo>
                    <a:pt x="3881" y="749"/>
                  </a:lnTo>
                  <a:lnTo>
                    <a:pt x="3881" y="749"/>
                  </a:lnTo>
                  <a:close/>
                  <a:moveTo>
                    <a:pt x="3763" y="834"/>
                  </a:moveTo>
                  <a:lnTo>
                    <a:pt x="3734" y="822"/>
                  </a:lnTo>
                  <a:lnTo>
                    <a:pt x="3779" y="799"/>
                  </a:lnTo>
                  <a:lnTo>
                    <a:pt x="3763" y="815"/>
                  </a:lnTo>
                  <a:lnTo>
                    <a:pt x="3779" y="822"/>
                  </a:lnTo>
                  <a:lnTo>
                    <a:pt x="3758" y="822"/>
                  </a:lnTo>
                  <a:lnTo>
                    <a:pt x="3779" y="822"/>
                  </a:lnTo>
                  <a:lnTo>
                    <a:pt x="3763" y="834"/>
                  </a:lnTo>
                  <a:lnTo>
                    <a:pt x="3763" y="834"/>
                  </a:lnTo>
                  <a:lnTo>
                    <a:pt x="3763" y="834"/>
                  </a:lnTo>
                  <a:close/>
                  <a:moveTo>
                    <a:pt x="3843" y="834"/>
                  </a:moveTo>
                  <a:lnTo>
                    <a:pt x="3843" y="806"/>
                  </a:lnTo>
                  <a:lnTo>
                    <a:pt x="3855" y="815"/>
                  </a:lnTo>
                  <a:lnTo>
                    <a:pt x="3843" y="834"/>
                  </a:lnTo>
                  <a:lnTo>
                    <a:pt x="3843" y="834"/>
                  </a:lnTo>
                  <a:lnTo>
                    <a:pt x="3843" y="834"/>
                  </a:lnTo>
                  <a:close/>
                  <a:moveTo>
                    <a:pt x="3772" y="877"/>
                  </a:moveTo>
                  <a:lnTo>
                    <a:pt x="3789" y="889"/>
                  </a:lnTo>
                  <a:lnTo>
                    <a:pt x="3763" y="893"/>
                  </a:lnTo>
                  <a:lnTo>
                    <a:pt x="3763" y="889"/>
                  </a:lnTo>
                  <a:lnTo>
                    <a:pt x="3772" y="877"/>
                  </a:lnTo>
                  <a:lnTo>
                    <a:pt x="3772" y="877"/>
                  </a:lnTo>
                  <a:lnTo>
                    <a:pt x="3772" y="877"/>
                  </a:lnTo>
                  <a:close/>
                  <a:moveTo>
                    <a:pt x="3746" y="889"/>
                  </a:moveTo>
                  <a:lnTo>
                    <a:pt x="3758" y="893"/>
                  </a:lnTo>
                  <a:lnTo>
                    <a:pt x="3741" y="905"/>
                  </a:lnTo>
                  <a:lnTo>
                    <a:pt x="3741" y="889"/>
                  </a:lnTo>
                  <a:lnTo>
                    <a:pt x="3746" y="889"/>
                  </a:lnTo>
                  <a:lnTo>
                    <a:pt x="3746" y="889"/>
                  </a:lnTo>
                  <a:lnTo>
                    <a:pt x="3746" y="889"/>
                  </a:lnTo>
                  <a:close/>
                  <a:moveTo>
                    <a:pt x="3772" y="910"/>
                  </a:moveTo>
                  <a:lnTo>
                    <a:pt x="3763" y="905"/>
                  </a:lnTo>
                  <a:lnTo>
                    <a:pt x="3796" y="905"/>
                  </a:lnTo>
                  <a:lnTo>
                    <a:pt x="3772" y="910"/>
                  </a:lnTo>
                  <a:lnTo>
                    <a:pt x="3772" y="910"/>
                  </a:lnTo>
                  <a:lnTo>
                    <a:pt x="3772" y="910"/>
                  </a:lnTo>
                  <a:close/>
                  <a:moveTo>
                    <a:pt x="3649" y="917"/>
                  </a:moveTo>
                  <a:lnTo>
                    <a:pt x="3654" y="917"/>
                  </a:lnTo>
                  <a:lnTo>
                    <a:pt x="3649" y="917"/>
                  </a:lnTo>
                  <a:lnTo>
                    <a:pt x="3649" y="917"/>
                  </a:lnTo>
                  <a:lnTo>
                    <a:pt x="3649" y="917"/>
                  </a:lnTo>
                  <a:close/>
                  <a:moveTo>
                    <a:pt x="3796" y="917"/>
                  </a:moveTo>
                  <a:lnTo>
                    <a:pt x="3789" y="933"/>
                  </a:lnTo>
                  <a:lnTo>
                    <a:pt x="3779" y="926"/>
                  </a:lnTo>
                  <a:lnTo>
                    <a:pt x="3796" y="917"/>
                  </a:lnTo>
                  <a:lnTo>
                    <a:pt x="3796" y="917"/>
                  </a:lnTo>
                  <a:lnTo>
                    <a:pt x="3796" y="917"/>
                  </a:lnTo>
                  <a:close/>
                  <a:moveTo>
                    <a:pt x="3772" y="926"/>
                  </a:moveTo>
                  <a:lnTo>
                    <a:pt x="3763" y="926"/>
                  </a:lnTo>
                  <a:lnTo>
                    <a:pt x="3772" y="917"/>
                  </a:lnTo>
                  <a:lnTo>
                    <a:pt x="3772" y="926"/>
                  </a:lnTo>
                  <a:lnTo>
                    <a:pt x="3772" y="926"/>
                  </a:lnTo>
                  <a:lnTo>
                    <a:pt x="3772" y="926"/>
                  </a:lnTo>
                  <a:close/>
                  <a:moveTo>
                    <a:pt x="3637" y="945"/>
                  </a:moveTo>
                  <a:lnTo>
                    <a:pt x="3628" y="966"/>
                  </a:lnTo>
                  <a:lnTo>
                    <a:pt x="3616" y="962"/>
                  </a:lnTo>
                  <a:lnTo>
                    <a:pt x="3637" y="945"/>
                  </a:lnTo>
                  <a:lnTo>
                    <a:pt x="3637" y="945"/>
                  </a:lnTo>
                  <a:lnTo>
                    <a:pt x="3637" y="945"/>
                  </a:lnTo>
                  <a:close/>
                  <a:moveTo>
                    <a:pt x="3734" y="966"/>
                  </a:moveTo>
                  <a:lnTo>
                    <a:pt x="3772" y="971"/>
                  </a:lnTo>
                  <a:lnTo>
                    <a:pt x="3687" y="950"/>
                  </a:lnTo>
                  <a:lnTo>
                    <a:pt x="3725" y="950"/>
                  </a:lnTo>
                  <a:lnTo>
                    <a:pt x="3720" y="950"/>
                  </a:lnTo>
                  <a:lnTo>
                    <a:pt x="3734" y="966"/>
                  </a:lnTo>
                  <a:lnTo>
                    <a:pt x="3734" y="966"/>
                  </a:lnTo>
                  <a:lnTo>
                    <a:pt x="3734" y="966"/>
                  </a:lnTo>
                  <a:close/>
                  <a:moveTo>
                    <a:pt x="3746" y="962"/>
                  </a:moveTo>
                  <a:lnTo>
                    <a:pt x="3741" y="950"/>
                  </a:lnTo>
                  <a:lnTo>
                    <a:pt x="3746" y="962"/>
                  </a:lnTo>
                  <a:lnTo>
                    <a:pt x="3746" y="962"/>
                  </a:lnTo>
                  <a:lnTo>
                    <a:pt x="3746" y="962"/>
                  </a:lnTo>
                  <a:close/>
                  <a:moveTo>
                    <a:pt x="3881" y="962"/>
                  </a:moveTo>
                  <a:lnTo>
                    <a:pt x="3885" y="971"/>
                  </a:lnTo>
                  <a:lnTo>
                    <a:pt x="3881" y="988"/>
                  </a:lnTo>
                  <a:lnTo>
                    <a:pt x="3843" y="1000"/>
                  </a:lnTo>
                  <a:lnTo>
                    <a:pt x="3864" y="966"/>
                  </a:lnTo>
                  <a:lnTo>
                    <a:pt x="3881" y="962"/>
                  </a:lnTo>
                  <a:lnTo>
                    <a:pt x="3881" y="962"/>
                  </a:lnTo>
                  <a:lnTo>
                    <a:pt x="3881" y="962"/>
                  </a:lnTo>
                  <a:close/>
                  <a:moveTo>
                    <a:pt x="3708" y="1000"/>
                  </a:moveTo>
                  <a:lnTo>
                    <a:pt x="3720" y="1004"/>
                  </a:lnTo>
                  <a:lnTo>
                    <a:pt x="3687" y="1004"/>
                  </a:lnTo>
                  <a:lnTo>
                    <a:pt x="3708" y="1000"/>
                  </a:lnTo>
                  <a:lnTo>
                    <a:pt x="3708" y="1000"/>
                  </a:lnTo>
                  <a:lnTo>
                    <a:pt x="3708" y="1000"/>
                  </a:lnTo>
                  <a:close/>
                  <a:moveTo>
                    <a:pt x="432" y="1004"/>
                  </a:moveTo>
                  <a:lnTo>
                    <a:pt x="425" y="1004"/>
                  </a:lnTo>
                  <a:lnTo>
                    <a:pt x="446" y="1004"/>
                  </a:lnTo>
                  <a:lnTo>
                    <a:pt x="432" y="1004"/>
                  </a:lnTo>
                  <a:lnTo>
                    <a:pt x="432" y="1004"/>
                  </a:lnTo>
                  <a:lnTo>
                    <a:pt x="432" y="1004"/>
                  </a:lnTo>
                  <a:close/>
                  <a:moveTo>
                    <a:pt x="479" y="1028"/>
                  </a:moveTo>
                  <a:lnTo>
                    <a:pt x="437" y="1021"/>
                  </a:lnTo>
                  <a:lnTo>
                    <a:pt x="479" y="1021"/>
                  </a:lnTo>
                  <a:lnTo>
                    <a:pt x="479" y="1028"/>
                  </a:lnTo>
                  <a:lnTo>
                    <a:pt x="479" y="1028"/>
                  </a:lnTo>
                  <a:lnTo>
                    <a:pt x="479" y="1028"/>
                  </a:lnTo>
                  <a:close/>
                  <a:moveTo>
                    <a:pt x="122" y="1028"/>
                  </a:moveTo>
                  <a:lnTo>
                    <a:pt x="205" y="1037"/>
                  </a:lnTo>
                  <a:lnTo>
                    <a:pt x="139" y="1044"/>
                  </a:lnTo>
                  <a:lnTo>
                    <a:pt x="122" y="1028"/>
                  </a:lnTo>
                  <a:lnTo>
                    <a:pt x="122" y="1028"/>
                  </a:lnTo>
                  <a:lnTo>
                    <a:pt x="122" y="1028"/>
                  </a:lnTo>
                  <a:close/>
                  <a:moveTo>
                    <a:pt x="54" y="1028"/>
                  </a:moveTo>
                  <a:lnTo>
                    <a:pt x="113" y="1044"/>
                  </a:lnTo>
                  <a:lnTo>
                    <a:pt x="68" y="1054"/>
                  </a:lnTo>
                  <a:lnTo>
                    <a:pt x="30" y="1037"/>
                  </a:lnTo>
                  <a:lnTo>
                    <a:pt x="54" y="1028"/>
                  </a:lnTo>
                  <a:lnTo>
                    <a:pt x="54" y="1028"/>
                  </a:lnTo>
                  <a:lnTo>
                    <a:pt x="54" y="1028"/>
                  </a:lnTo>
                  <a:close/>
                  <a:moveTo>
                    <a:pt x="3741" y="1127"/>
                  </a:moveTo>
                  <a:lnTo>
                    <a:pt x="3746" y="1127"/>
                  </a:lnTo>
                  <a:lnTo>
                    <a:pt x="3734" y="1132"/>
                  </a:lnTo>
                  <a:lnTo>
                    <a:pt x="3741" y="1127"/>
                  </a:lnTo>
                  <a:lnTo>
                    <a:pt x="3741" y="1127"/>
                  </a:lnTo>
                  <a:lnTo>
                    <a:pt x="3741" y="1127"/>
                  </a:lnTo>
                  <a:close/>
                  <a:moveTo>
                    <a:pt x="3810" y="1226"/>
                  </a:moveTo>
                  <a:lnTo>
                    <a:pt x="3817" y="1243"/>
                  </a:lnTo>
                  <a:lnTo>
                    <a:pt x="3817" y="1266"/>
                  </a:lnTo>
                  <a:lnTo>
                    <a:pt x="3817" y="1250"/>
                  </a:lnTo>
                  <a:lnTo>
                    <a:pt x="3779" y="1172"/>
                  </a:lnTo>
                  <a:lnTo>
                    <a:pt x="3800" y="1165"/>
                  </a:lnTo>
                  <a:lnTo>
                    <a:pt x="3789" y="1155"/>
                  </a:lnTo>
                  <a:lnTo>
                    <a:pt x="3789" y="1139"/>
                  </a:lnTo>
                  <a:lnTo>
                    <a:pt x="3810" y="1155"/>
                  </a:lnTo>
                  <a:lnTo>
                    <a:pt x="3810" y="1172"/>
                  </a:lnTo>
                  <a:lnTo>
                    <a:pt x="3817" y="1222"/>
                  </a:lnTo>
                  <a:lnTo>
                    <a:pt x="3810" y="1226"/>
                  </a:lnTo>
                  <a:lnTo>
                    <a:pt x="3810" y="1226"/>
                  </a:lnTo>
                  <a:lnTo>
                    <a:pt x="3810" y="1226"/>
                  </a:lnTo>
                  <a:close/>
                  <a:moveTo>
                    <a:pt x="3741" y="1139"/>
                  </a:moveTo>
                  <a:lnTo>
                    <a:pt x="3746" y="1139"/>
                  </a:lnTo>
                  <a:lnTo>
                    <a:pt x="3725" y="1139"/>
                  </a:lnTo>
                  <a:lnTo>
                    <a:pt x="3741" y="1139"/>
                  </a:lnTo>
                  <a:lnTo>
                    <a:pt x="3741" y="1139"/>
                  </a:lnTo>
                  <a:lnTo>
                    <a:pt x="3741" y="1139"/>
                  </a:lnTo>
                  <a:close/>
                  <a:moveTo>
                    <a:pt x="3633" y="1165"/>
                  </a:moveTo>
                  <a:lnTo>
                    <a:pt x="3611" y="1155"/>
                  </a:lnTo>
                  <a:lnTo>
                    <a:pt x="3649" y="1155"/>
                  </a:lnTo>
                  <a:lnTo>
                    <a:pt x="3633" y="1165"/>
                  </a:lnTo>
                  <a:lnTo>
                    <a:pt x="3633" y="1165"/>
                  </a:lnTo>
                  <a:lnTo>
                    <a:pt x="3633" y="1165"/>
                  </a:lnTo>
                  <a:close/>
                  <a:moveTo>
                    <a:pt x="236" y="1155"/>
                  </a:moveTo>
                  <a:lnTo>
                    <a:pt x="252" y="1165"/>
                  </a:lnTo>
                  <a:lnTo>
                    <a:pt x="205" y="1165"/>
                  </a:lnTo>
                  <a:lnTo>
                    <a:pt x="236" y="1155"/>
                  </a:lnTo>
                  <a:lnTo>
                    <a:pt x="236" y="1155"/>
                  </a:lnTo>
                  <a:lnTo>
                    <a:pt x="236" y="1155"/>
                  </a:lnTo>
                  <a:close/>
                  <a:moveTo>
                    <a:pt x="3670" y="1172"/>
                  </a:moveTo>
                  <a:lnTo>
                    <a:pt x="3666" y="1189"/>
                  </a:lnTo>
                  <a:lnTo>
                    <a:pt x="3637" y="1184"/>
                  </a:lnTo>
                  <a:lnTo>
                    <a:pt x="3670" y="1172"/>
                  </a:lnTo>
                  <a:lnTo>
                    <a:pt x="3670" y="1172"/>
                  </a:lnTo>
                  <a:lnTo>
                    <a:pt x="3670" y="1172"/>
                  </a:lnTo>
                  <a:close/>
                  <a:moveTo>
                    <a:pt x="215" y="1184"/>
                  </a:moveTo>
                  <a:lnTo>
                    <a:pt x="219" y="1189"/>
                  </a:lnTo>
                  <a:lnTo>
                    <a:pt x="198" y="1184"/>
                  </a:lnTo>
                  <a:lnTo>
                    <a:pt x="215" y="1184"/>
                  </a:lnTo>
                  <a:lnTo>
                    <a:pt x="215" y="1184"/>
                  </a:lnTo>
                  <a:lnTo>
                    <a:pt x="215" y="1184"/>
                  </a:lnTo>
                  <a:close/>
                  <a:moveTo>
                    <a:pt x="3708" y="1193"/>
                  </a:moveTo>
                  <a:lnTo>
                    <a:pt x="3692" y="1210"/>
                  </a:lnTo>
                  <a:lnTo>
                    <a:pt x="3670" y="1193"/>
                  </a:lnTo>
                  <a:lnTo>
                    <a:pt x="3708" y="1193"/>
                  </a:lnTo>
                  <a:lnTo>
                    <a:pt x="3708" y="1193"/>
                  </a:lnTo>
                  <a:lnTo>
                    <a:pt x="3708" y="1193"/>
                  </a:lnTo>
                  <a:close/>
                  <a:moveTo>
                    <a:pt x="630" y="1226"/>
                  </a:moveTo>
                  <a:lnTo>
                    <a:pt x="630" y="1243"/>
                  </a:lnTo>
                  <a:lnTo>
                    <a:pt x="626" y="1238"/>
                  </a:lnTo>
                  <a:lnTo>
                    <a:pt x="630" y="1226"/>
                  </a:lnTo>
                  <a:lnTo>
                    <a:pt x="630" y="1226"/>
                  </a:lnTo>
                  <a:lnTo>
                    <a:pt x="630" y="1226"/>
                  </a:lnTo>
                  <a:close/>
                  <a:moveTo>
                    <a:pt x="559" y="1238"/>
                  </a:moveTo>
                  <a:lnTo>
                    <a:pt x="559" y="1243"/>
                  </a:lnTo>
                  <a:lnTo>
                    <a:pt x="545" y="1243"/>
                  </a:lnTo>
                  <a:lnTo>
                    <a:pt x="559" y="1238"/>
                  </a:lnTo>
                  <a:lnTo>
                    <a:pt x="559" y="1238"/>
                  </a:lnTo>
                  <a:lnTo>
                    <a:pt x="559" y="1238"/>
                  </a:lnTo>
                  <a:close/>
                  <a:moveTo>
                    <a:pt x="3864" y="1337"/>
                  </a:moveTo>
                  <a:lnTo>
                    <a:pt x="3871" y="1354"/>
                  </a:lnTo>
                  <a:lnTo>
                    <a:pt x="3843" y="1361"/>
                  </a:lnTo>
                  <a:lnTo>
                    <a:pt x="3881" y="1387"/>
                  </a:lnTo>
                  <a:lnTo>
                    <a:pt x="3909" y="1377"/>
                  </a:lnTo>
                  <a:lnTo>
                    <a:pt x="3902" y="1394"/>
                  </a:lnTo>
                  <a:lnTo>
                    <a:pt x="3885" y="1406"/>
                  </a:lnTo>
                  <a:lnTo>
                    <a:pt x="3885" y="1394"/>
                  </a:lnTo>
                  <a:lnTo>
                    <a:pt x="3871" y="1394"/>
                  </a:lnTo>
                  <a:lnTo>
                    <a:pt x="3796" y="1394"/>
                  </a:lnTo>
                  <a:lnTo>
                    <a:pt x="3800" y="1349"/>
                  </a:lnTo>
                  <a:lnTo>
                    <a:pt x="3817" y="1337"/>
                  </a:lnTo>
                  <a:lnTo>
                    <a:pt x="3843" y="1354"/>
                  </a:lnTo>
                  <a:lnTo>
                    <a:pt x="3848" y="1333"/>
                  </a:lnTo>
                  <a:lnTo>
                    <a:pt x="3864" y="1337"/>
                  </a:lnTo>
                  <a:lnTo>
                    <a:pt x="3864" y="1337"/>
                  </a:lnTo>
                  <a:lnTo>
                    <a:pt x="3864" y="1337"/>
                  </a:lnTo>
                  <a:close/>
                  <a:moveTo>
                    <a:pt x="3704" y="1387"/>
                  </a:moveTo>
                  <a:lnTo>
                    <a:pt x="3725" y="1394"/>
                  </a:lnTo>
                  <a:lnTo>
                    <a:pt x="3708" y="1411"/>
                  </a:lnTo>
                  <a:lnTo>
                    <a:pt x="3741" y="1415"/>
                  </a:lnTo>
                  <a:lnTo>
                    <a:pt x="3708" y="1444"/>
                  </a:lnTo>
                  <a:lnTo>
                    <a:pt x="3670" y="1427"/>
                  </a:lnTo>
                  <a:lnTo>
                    <a:pt x="3682" y="1411"/>
                  </a:lnTo>
                  <a:lnTo>
                    <a:pt x="3682" y="1394"/>
                  </a:lnTo>
                  <a:lnTo>
                    <a:pt x="3704" y="1387"/>
                  </a:lnTo>
                  <a:lnTo>
                    <a:pt x="3704" y="1387"/>
                  </a:lnTo>
                  <a:lnTo>
                    <a:pt x="3704" y="1387"/>
                  </a:lnTo>
                  <a:close/>
                  <a:moveTo>
                    <a:pt x="1084" y="1432"/>
                  </a:moveTo>
                  <a:lnTo>
                    <a:pt x="1096" y="1432"/>
                  </a:lnTo>
                  <a:lnTo>
                    <a:pt x="1074" y="1432"/>
                  </a:lnTo>
                  <a:lnTo>
                    <a:pt x="1084" y="1432"/>
                  </a:lnTo>
                  <a:lnTo>
                    <a:pt x="1084" y="1432"/>
                  </a:lnTo>
                  <a:lnTo>
                    <a:pt x="1084" y="1432"/>
                  </a:lnTo>
                  <a:close/>
                  <a:moveTo>
                    <a:pt x="3833" y="1444"/>
                  </a:moveTo>
                  <a:lnTo>
                    <a:pt x="3833" y="1448"/>
                  </a:lnTo>
                  <a:lnTo>
                    <a:pt x="3826" y="1448"/>
                  </a:lnTo>
                  <a:lnTo>
                    <a:pt x="3817" y="1432"/>
                  </a:lnTo>
                  <a:lnTo>
                    <a:pt x="3833" y="1444"/>
                  </a:lnTo>
                  <a:lnTo>
                    <a:pt x="3833" y="1444"/>
                  </a:lnTo>
                  <a:lnTo>
                    <a:pt x="3833" y="1444"/>
                  </a:lnTo>
                  <a:close/>
                  <a:moveTo>
                    <a:pt x="3810" y="1448"/>
                  </a:moveTo>
                  <a:lnTo>
                    <a:pt x="3800" y="1460"/>
                  </a:lnTo>
                  <a:lnTo>
                    <a:pt x="3772" y="1460"/>
                  </a:lnTo>
                  <a:lnTo>
                    <a:pt x="3800" y="1444"/>
                  </a:lnTo>
                  <a:lnTo>
                    <a:pt x="3810" y="1448"/>
                  </a:lnTo>
                  <a:lnTo>
                    <a:pt x="3810" y="1448"/>
                  </a:lnTo>
                  <a:lnTo>
                    <a:pt x="3810" y="1448"/>
                  </a:lnTo>
                  <a:close/>
                  <a:moveTo>
                    <a:pt x="1117" y="1448"/>
                  </a:moveTo>
                  <a:lnTo>
                    <a:pt x="1100" y="1460"/>
                  </a:lnTo>
                  <a:lnTo>
                    <a:pt x="1117" y="1448"/>
                  </a:lnTo>
                  <a:lnTo>
                    <a:pt x="1117" y="1448"/>
                  </a:lnTo>
                  <a:lnTo>
                    <a:pt x="1117" y="1448"/>
                  </a:lnTo>
                  <a:close/>
                  <a:moveTo>
                    <a:pt x="1126" y="1448"/>
                  </a:moveTo>
                  <a:lnTo>
                    <a:pt x="1133" y="1460"/>
                  </a:lnTo>
                  <a:lnTo>
                    <a:pt x="1117" y="1460"/>
                  </a:lnTo>
                  <a:lnTo>
                    <a:pt x="1126" y="1448"/>
                  </a:lnTo>
                  <a:lnTo>
                    <a:pt x="1126" y="1448"/>
                  </a:lnTo>
                  <a:lnTo>
                    <a:pt x="1126" y="1448"/>
                  </a:lnTo>
                  <a:close/>
                  <a:moveTo>
                    <a:pt x="1100" y="1465"/>
                  </a:moveTo>
                  <a:lnTo>
                    <a:pt x="1164" y="1465"/>
                  </a:lnTo>
                  <a:lnTo>
                    <a:pt x="1084" y="1465"/>
                  </a:lnTo>
                  <a:lnTo>
                    <a:pt x="1100" y="1465"/>
                  </a:lnTo>
                  <a:lnTo>
                    <a:pt x="1100" y="1465"/>
                  </a:lnTo>
                  <a:lnTo>
                    <a:pt x="1100" y="1465"/>
                  </a:lnTo>
                  <a:close/>
                  <a:moveTo>
                    <a:pt x="3649" y="1472"/>
                  </a:moveTo>
                  <a:lnTo>
                    <a:pt x="3682" y="1481"/>
                  </a:lnTo>
                  <a:lnTo>
                    <a:pt x="3687" y="1498"/>
                  </a:lnTo>
                  <a:lnTo>
                    <a:pt x="3708" y="1514"/>
                  </a:lnTo>
                  <a:lnTo>
                    <a:pt x="3633" y="1526"/>
                  </a:lnTo>
                  <a:lnTo>
                    <a:pt x="3578" y="1505"/>
                  </a:lnTo>
                  <a:lnTo>
                    <a:pt x="3611" y="1481"/>
                  </a:lnTo>
                  <a:lnTo>
                    <a:pt x="3649" y="1472"/>
                  </a:lnTo>
                  <a:lnTo>
                    <a:pt x="3649" y="1472"/>
                  </a:lnTo>
                  <a:lnTo>
                    <a:pt x="3649" y="1472"/>
                  </a:lnTo>
                  <a:close/>
                  <a:moveTo>
                    <a:pt x="3708" y="1543"/>
                  </a:moveTo>
                  <a:lnTo>
                    <a:pt x="3720" y="1555"/>
                  </a:lnTo>
                  <a:lnTo>
                    <a:pt x="3704" y="1555"/>
                  </a:lnTo>
                  <a:lnTo>
                    <a:pt x="3708" y="1543"/>
                  </a:lnTo>
                  <a:lnTo>
                    <a:pt x="3708" y="1543"/>
                  </a:lnTo>
                  <a:lnTo>
                    <a:pt x="3708" y="1543"/>
                  </a:lnTo>
                  <a:close/>
                  <a:moveTo>
                    <a:pt x="1171" y="1571"/>
                  </a:moveTo>
                  <a:lnTo>
                    <a:pt x="1138" y="1555"/>
                  </a:lnTo>
                  <a:lnTo>
                    <a:pt x="1193" y="1559"/>
                  </a:lnTo>
                  <a:lnTo>
                    <a:pt x="1171" y="1571"/>
                  </a:lnTo>
                  <a:lnTo>
                    <a:pt x="1171" y="1571"/>
                  </a:lnTo>
                  <a:lnTo>
                    <a:pt x="1171" y="1571"/>
                  </a:lnTo>
                  <a:close/>
                  <a:moveTo>
                    <a:pt x="1155" y="1583"/>
                  </a:moveTo>
                  <a:lnTo>
                    <a:pt x="1171" y="1583"/>
                  </a:lnTo>
                  <a:lnTo>
                    <a:pt x="1126" y="1583"/>
                  </a:lnTo>
                  <a:lnTo>
                    <a:pt x="1155" y="1583"/>
                  </a:lnTo>
                  <a:lnTo>
                    <a:pt x="1155" y="1583"/>
                  </a:lnTo>
                  <a:lnTo>
                    <a:pt x="1155" y="1583"/>
                  </a:lnTo>
                  <a:close/>
                  <a:moveTo>
                    <a:pt x="1164" y="1600"/>
                  </a:moveTo>
                  <a:lnTo>
                    <a:pt x="1155" y="1600"/>
                  </a:lnTo>
                  <a:lnTo>
                    <a:pt x="1171" y="1583"/>
                  </a:lnTo>
                  <a:lnTo>
                    <a:pt x="1181" y="1592"/>
                  </a:lnTo>
                  <a:lnTo>
                    <a:pt x="1164" y="1600"/>
                  </a:lnTo>
                  <a:lnTo>
                    <a:pt x="1164" y="1600"/>
                  </a:lnTo>
                  <a:lnTo>
                    <a:pt x="1164" y="1600"/>
                  </a:lnTo>
                  <a:close/>
                  <a:moveTo>
                    <a:pt x="1193" y="1600"/>
                  </a:moveTo>
                  <a:lnTo>
                    <a:pt x="1235" y="1616"/>
                  </a:lnTo>
                  <a:lnTo>
                    <a:pt x="1209" y="1626"/>
                  </a:lnTo>
                  <a:lnTo>
                    <a:pt x="1219" y="1609"/>
                  </a:lnTo>
                  <a:lnTo>
                    <a:pt x="1188" y="1600"/>
                  </a:lnTo>
                  <a:lnTo>
                    <a:pt x="1193" y="1600"/>
                  </a:lnTo>
                  <a:lnTo>
                    <a:pt x="1193" y="1600"/>
                  </a:lnTo>
                  <a:lnTo>
                    <a:pt x="1193" y="1600"/>
                  </a:lnTo>
                  <a:close/>
                  <a:moveTo>
                    <a:pt x="1193" y="1609"/>
                  </a:moveTo>
                  <a:lnTo>
                    <a:pt x="1209" y="1616"/>
                  </a:lnTo>
                  <a:lnTo>
                    <a:pt x="1188" y="1616"/>
                  </a:lnTo>
                  <a:lnTo>
                    <a:pt x="1193" y="1609"/>
                  </a:lnTo>
                  <a:lnTo>
                    <a:pt x="1193" y="1609"/>
                  </a:lnTo>
                  <a:lnTo>
                    <a:pt x="1193" y="1609"/>
                  </a:lnTo>
                  <a:close/>
                  <a:moveTo>
                    <a:pt x="3406" y="1616"/>
                  </a:moveTo>
                  <a:lnTo>
                    <a:pt x="3493" y="1649"/>
                  </a:lnTo>
                  <a:lnTo>
                    <a:pt x="3368" y="1633"/>
                  </a:lnTo>
                  <a:lnTo>
                    <a:pt x="3507" y="1654"/>
                  </a:lnTo>
                  <a:lnTo>
                    <a:pt x="3406" y="1670"/>
                  </a:lnTo>
                  <a:lnTo>
                    <a:pt x="3314" y="1649"/>
                  </a:lnTo>
                  <a:lnTo>
                    <a:pt x="3352" y="1626"/>
                  </a:lnTo>
                  <a:lnTo>
                    <a:pt x="3406" y="1616"/>
                  </a:lnTo>
                  <a:lnTo>
                    <a:pt x="3406" y="1616"/>
                  </a:lnTo>
                  <a:lnTo>
                    <a:pt x="3406" y="1616"/>
                  </a:lnTo>
                  <a:close/>
                  <a:moveTo>
                    <a:pt x="1193" y="1626"/>
                  </a:moveTo>
                  <a:lnTo>
                    <a:pt x="1202" y="1626"/>
                  </a:lnTo>
                  <a:lnTo>
                    <a:pt x="1188" y="1633"/>
                  </a:lnTo>
                  <a:lnTo>
                    <a:pt x="1193" y="1626"/>
                  </a:lnTo>
                  <a:lnTo>
                    <a:pt x="1193" y="1626"/>
                  </a:lnTo>
                  <a:lnTo>
                    <a:pt x="1193" y="1626"/>
                  </a:lnTo>
                  <a:close/>
                  <a:moveTo>
                    <a:pt x="1209" y="1626"/>
                  </a:moveTo>
                  <a:lnTo>
                    <a:pt x="1219" y="1633"/>
                  </a:lnTo>
                  <a:lnTo>
                    <a:pt x="1202" y="1633"/>
                  </a:lnTo>
                  <a:lnTo>
                    <a:pt x="1209" y="1626"/>
                  </a:lnTo>
                  <a:lnTo>
                    <a:pt x="1209" y="1626"/>
                  </a:lnTo>
                  <a:lnTo>
                    <a:pt x="1209" y="1626"/>
                  </a:lnTo>
                  <a:close/>
                  <a:moveTo>
                    <a:pt x="1202" y="1637"/>
                  </a:moveTo>
                  <a:lnTo>
                    <a:pt x="1188" y="1666"/>
                  </a:lnTo>
                  <a:lnTo>
                    <a:pt x="1193" y="1649"/>
                  </a:lnTo>
                  <a:lnTo>
                    <a:pt x="1202" y="1637"/>
                  </a:lnTo>
                  <a:lnTo>
                    <a:pt x="1202" y="1637"/>
                  </a:lnTo>
                  <a:lnTo>
                    <a:pt x="1202" y="1637"/>
                  </a:lnTo>
                  <a:close/>
                  <a:moveTo>
                    <a:pt x="1181" y="1649"/>
                  </a:moveTo>
                  <a:lnTo>
                    <a:pt x="1181" y="1654"/>
                  </a:lnTo>
                  <a:lnTo>
                    <a:pt x="1171" y="1654"/>
                  </a:lnTo>
                  <a:lnTo>
                    <a:pt x="1181" y="1649"/>
                  </a:lnTo>
                  <a:lnTo>
                    <a:pt x="1181" y="1649"/>
                  </a:lnTo>
                  <a:lnTo>
                    <a:pt x="1181" y="1649"/>
                  </a:lnTo>
                  <a:close/>
                  <a:moveTo>
                    <a:pt x="3583" y="1720"/>
                  </a:moveTo>
                  <a:lnTo>
                    <a:pt x="3541" y="1720"/>
                  </a:lnTo>
                  <a:lnTo>
                    <a:pt x="3503" y="1694"/>
                  </a:lnTo>
                  <a:lnTo>
                    <a:pt x="3401" y="1687"/>
                  </a:lnTo>
                  <a:lnTo>
                    <a:pt x="3394" y="1682"/>
                  </a:lnTo>
                  <a:lnTo>
                    <a:pt x="3493" y="1670"/>
                  </a:lnTo>
                  <a:lnTo>
                    <a:pt x="3545" y="1682"/>
                  </a:lnTo>
                  <a:lnTo>
                    <a:pt x="3583" y="1687"/>
                  </a:lnTo>
                  <a:lnTo>
                    <a:pt x="3562" y="1703"/>
                  </a:lnTo>
                  <a:lnTo>
                    <a:pt x="3578" y="1711"/>
                  </a:lnTo>
                  <a:lnTo>
                    <a:pt x="3583" y="1720"/>
                  </a:lnTo>
                  <a:lnTo>
                    <a:pt x="3583" y="1720"/>
                  </a:lnTo>
                  <a:lnTo>
                    <a:pt x="3583" y="1720"/>
                  </a:lnTo>
                  <a:close/>
                  <a:moveTo>
                    <a:pt x="1209" y="1670"/>
                  </a:moveTo>
                  <a:lnTo>
                    <a:pt x="1219" y="1670"/>
                  </a:lnTo>
                  <a:lnTo>
                    <a:pt x="1202" y="1670"/>
                  </a:lnTo>
                  <a:lnTo>
                    <a:pt x="1209" y="1670"/>
                  </a:lnTo>
                  <a:lnTo>
                    <a:pt x="1209" y="1670"/>
                  </a:lnTo>
                  <a:lnTo>
                    <a:pt x="1209" y="1670"/>
                  </a:lnTo>
                  <a:close/>
                  <a:moveTo>
                    <a:pt x="1240" y="1687"/>
                  </a:moveTo>
                  <a:lnTo>
                    <a:pt x="1219" y="1682"/>
                  </a:lnTo>
                  <a:lnTo>
                    <a:pt x="1226" y="1670"/>
                  </a:lnTo>
                  <a:lnTo>
                    <a:pt x="1256" y="1682"/>
                  </a:lnTo>
                  <a:lnTo>
                    <a:pt x="1240" y="1687"/>
                  </a:lnTo>
                  <a:lnTo>
                    <a:pt x="1240" y="1687"/>
                  </a:lnTo>
                  <a:lnTo>
                    <a:pt x="1240" y="1687"/>
                  </a:lnTo>
                  <a:close/>
                  <a:moveTo>
                    <a:pt x="3385" y="1687"/>
                  </a:moveTo>
                  <a:lnTo>
                    <a:pt x="3380" y="1711"/>
                  </a:lnTo>
                  <a:lnTo>
                    <a:pt x="3352" y="1703"/>
                  </a:lnTo>
                  <a:lnTo>
                    <a:pt x="3385" y="1687"/>
                  </a:lnTo>
                  <a:lnTo>
                    <a:pt x="3385" y="1687"/>
                  </a:lnTo>
                  <a:lnTo>
                    <a:pt x="3385" y="1687"/>
                  </a:lnTo>
                  <a:close/>
                  <a:moveTo>
                    <a:pt x="1226" y="1694"/>
                  </a:moveTo>
                  <a:lnTo>
                    <a:pt x="1240" y="1694"/>
                  </a:lnTo>
                  <a:lnTo>
                    <a:pt x="1226" y="1703"/>
                  </a:lnTo>
                  <a:lnTo>
                    <a:pt x="1226" y="1694"/>
                  </a:lnTo>
                  <a:lnTo>
                    <a:pt x="1226" y="1694"/>
                  </a:lnTo>
                  <a:lnTo>
                    <a:pt x="1226" y="1694"/>
                  </a:lnTo>
                  <a:close/>
                  <a:moveTo>
                    <a:pt x="3557" y="1798"/>
                  </a:moveTo>
                  <a:lnTo>
                    <a:pt x="3439" y="1748"/>
                  </a:lnTo>
                  <a:lnTo>
                    <a:pt x="3406" y="1737"/>
                  </a:lnTo>
                  <a:lnTo>
                    <a:pt x="3401" y="1703"/>
                  </a:lnTo>
                  <a:lnTo>
                    <a:pt x="3503" y="1694"/>
                  </a:lnTo>
                  <a:lnTo>
                    <a:pt x="3531" y="1727"/>
                  </a:lnTo>
                  <a:lnTo>
                    <a:pt x="3583" y="1748"/>
                  </a:lnTo>
                  <a:lnTo>
                    <a:pt x="3578" y="1760"/>
                  </a:lnTo>
                  <a:lnTo>
                    <a:pt x="3524" y="1748"/>
                  </a:lnTo>
                  <a:lnTo>
                    <a:pt x="3574" y="1777"/>
                  </a:lnTo>
                  <a:lnTo>
                    <a:pt x="3574" y="1793"/>
                  </a:lnTo>
                  <a:lnTo>
                    <a:pt x="3557" y="1798"/>
                  </a:lnTo>
                  <a:lnTo>
                    <a:pt x="3557" y="1798"/>
                  </a:lnTo>
                  <a:lnTo>
                    <a:pt x="3557" y="1798"/>
                  </a:lnTo>
                  <a:close/>
                  <a:moveTo>
                    <a:pt x="1247" y="1694"/>
                  </a:moveTo>
                  <a:lnTo>
                    <a:pt x="1263" y="1703"/>
                  </a:lnTo>
                  <a:lnTo>
                    <a:pt x="1226" y="1737"/>
                  </a:lnTo>
                  <a:lnTo>
                    <a:pt x="1235" y="1727"/>
                  </a:lnTo>
                  <a:lnTo>
                    <a:pt x="1202" y="1727"/>
                  </a:lnTo>
                  <a:lnTo>
                    <a:pt x="1219" y="1711"/>
                  </a:lnTo>
                  <a:lnTo>
                    <a:pt x="1247" y="1694"/>
                  </a:lnTo>
                  <a:lnTo>
                    <a:pt x="1247" y="1694"/>
                  </a:lnTo>
                  <a:lnTo>
                    <a:pt x="1247" y="1694"/>
                  </a:lnTo>
                  <a:close/>
                  <a:moveTo>
                    <a:pt x="1202" y="1703"/>
                  </a:moveTo>
                  <a:lnTo>
                    <a:pt x="1209" y="1703"/>
                  </a:lnTo>
                  <a:lnTo>
                    <a:pt x="1193" y="1703"/>
                  </a:lnTo>
                  <a:lnTo>
                    <a:pt x="1202" y="1703"/>
                  </a:lnTo>
                  <a:lnTo>
                    <a:pt x="1202" y="1703"/>
                  </a:lnTo>
                  <a:lnTo>
                    <a:pt x="1202" y="1703"/>
                  </a:lnTo>
                  <a:close/>
                  <a:moveTo>
                    <a:pt x="1219" y="1711"/>
                  </a:moveTo>
                  <a:lnTo>
                    <a:pt x="1193" y="1727"/>
                  </a:lnTo>
                  <a:lnTo>
                    <a:pt x="1181" y="1720"/>
                  </a:lnTo>
                  <a:lnTo>
                    <a:pt x="1219" y="1711"/>
                  </a:lnTo>
                  <a:lnTo>
                    <a:pt x="1219" y="1711"/>
                  </a:lnTo>
                  <a:lnTo>
                    <a:pt x="1219" y="1711"/>
                  </a:lnTo>
                  <a:close/>
                  <a:moveTo>
                    <a:pt x="1263" y="1711"/>
                  </a:moveTo>
                  <a:lnTo>
                    <a:pt x="1278" y="1720"/>
                  </a:lnTo>
                  <a:lnTo>
                    <a:pt x="1256" y="1720"/>
                  </a:lnTo>
                  <a:lnTo>
                    <a:pt x="1263" y="1711"/>
                  </a:lnTo>
                  <a:lnTo>
                    <a:pt x="1263" y="1711"/>
                  </a:lnTo>
                  <a:lnTo>
                    <a:pt x="1263" y="1711"/>
                  </a:lnTo>
                  <a:close/>
                  <a:moveTo>
                    <a:pt x="1263" y="1720"/>
                  </a:moveTo>
                  <a:lnTo>
                    <a:pt x="1263" y="1727"/>
                  </a:lnTo>
                  <a:lnTo>
                    <a:pt x="1247" y="1737"/>
                  </a:lnTo>
                  <a:lnTo>
                    <a:pt x="1247" y="1720"/>
                  </a:lnTo>
                  <a:lnTo>
                    <a:pt x="1263" y="1720"/>
                  </a:lnTo>
                  <a:lnTo>
                    <a:pt x="1263" y="1720"/>
                  </a:lnTo>
                  <a:lnTo>
                    <a:pt x="1263" y="1720"/>
                  </a:lnTo>
                  <a:close/>
                  <a:moveTo>
                    <a:pt x="1202" y="1737"/>
                  </a:moveTo>
                  <a:lnTo>
                    <a:pt x="1193" y="1737"/>
                  </a:lnTo>
                  <a:lnTo>
                    <a:pt x="1219" y="1737"/>
                  </a:lnTo>
                  <a:lnTo>
                    <a:pt x="1202" y="1737"/>
                  </a:lnTo>
                  <a:lnTo>
                    <a:pt x="1202" y="1737"/>
                  </a:lnTo>
                  <a:lnTo>
                    <a:pt x="1202" y="1737"/>
                  </a:lnTo>
                  <a:close/>
                  <a:moveTo>
                    <a:pt x="1263" y="1760"/>
                  </a:moveTo>
                  <a:lnTo>
                    <a:pt x="1263" y="1777"/>
                  </a:lnTo>
                  <a:lnTo>
                    <a:pt x="1240" y="1793"/>
                  </a:lnTo>
                  <a:lnTo>
                    <a:pt x="1219" y="1793"/>
                  </a:lnTo>
                  <a:lnTo>
                    <a:pt x="1263" y="1760"/>
                  </a:lnTo>
                  <a:lnTo>
                    <a:pt x="1263" y="1760"/>
                  </a:lnTo>
                  <a:lnTo>
                    <a:pt x="1263" y="1760"/>
                  </a:lnTo>
                  <a:close/>
                  <a:moveTo>
                    <a:pt x="1226" y="1822"/>
                  </a:moveTo>
                  <a:lnTo>
                    <a:pt x="1235" y="1831"/>
                  </a:lnTo>
                  <a:lnTo>
                    <a:pt x="1226" y="1838"/>
                  </a:lnTo>
                  <a:lnTo>
                    <a:pt x="1209" y="1831"/>
                  </a:lnTo>
                  <a:lnTo>
                    <a:pt x="1226" y="1822"/>
                  </a:lnTo>
                  <a:lnTo>
                    <a:pt x="1226" y="1822"/>
                  </a:lnTo>
                  <a:lnTo>
                    <a:pt x="1226" y="1822"/>
                  </a:lnTo>
                  <a:close/>
                  <a:moveTo>
                    <a:pt x="1386" y="1876"/>
                  </a:moveTo>
                  <a:lnTo>
                    <a:pt x="1370" y="1871"/>
                  </a:lnTo>
                  <a:lnTo>
                    <a:pt x="1370" y="1864"/>
                  </a:lnTo>
                  <a:lnTo>
                    <a:pt x="1419" y="1864"/>
                  </a:lnTo>
                  <a:lnTo>
                    <a:pt x="1386" y="1876"/>
                  </a:lnTo>
                  <a:lnTo>
                    <a:pt x="1386" y="1876"/>
                  </a:lnTo>
                  <a:lnTo>
                    <a:pt x="1386" y="1876"/>
                  </a:lnTo>
                  <a:close/>
                  <a:moveTo>
                    <a:pt x="1398" y="1904"/>
                  </a:moveTo>
                  <a:lnTo>
                    <a:pt x="1441" y="1904"/>
                  </a:lnTo>
                  <a:lnTo>
                    <a:pt x="1452" y="1909"/>
                  </a:lnTo>
                  <a:lnTo>
                    <a:pt x="1408" y="1926"/>
                  </a:lnTo>
                  <a:lnTo>
                    <a:pt x="1398" y="1921"/>
                  </a:lnTo>
                  <a:lnTo>
                    <a:pt x="1398" y="1904"/>
                  </a:lnTo>
                  <a:lnTo>
                    <a:pt x="1398" y="1904"/>
                  </a:lnTo>
                  <a:lnTo>
                    <a:pt x="1398" y="1904"/>
                  </a:lnTo>
                  <a:close/>
                  <a:moveTo>
                    <a:pt x="1365" y="1909"/>
                  </a:moveTo>
                  <a:lnTo>
                    <a:pt x="1382" y="1926"/>
                  </a:lnTo>
                  <a:lnTo>
                    <a:pt x="1370" y="1942"/>
                  </a:lnTo>
                  <a:lnTo>
                    <a:pt x="1353" y="1942"/>
                  </a:lnTo>
                  <a:lnTo>
                    <a:pt x="1332" y="1933"/>
                  </a:lnTo>
                  <a:lnTo>
                    <a:pt x="1365" y="1909"/>
                  </a:lnTo>
                  <a:lnTo>
                    <a:pt x="1365" y="1909"/>
                  </a:lnTo>
                  <a:lnTo>
                    <a:pt x="1365" y="1909"/>
                  </a:lnTo>
                  <a:close/>
                  <a:moveTo>
                    <a:pt x="3347" y="1921"/>
                  </a:moveTo>
                  <a:lnTo>
                    <a:pt x="3347" y="1926"/>
                  </a:lnTo>
                  <a:lnTo>
                    <a:pt x="3330" y="1926"/>
                  </a:lnTo>
                  <a:lnTo>
                    <a:pt x="3347" y="1921"/>
                  </a:lnTo>
                  <a:lnTo>
                    <a:pt x="3347" y="1921"/>
                  </a:lnTo>
                  <a:lnTo>
                    <a:pt x="3347" y="1921"/>
                  </a:lnTo>
                  <a:close/>
                  <a:moveTo>
                    <a:pt x="3342" y="1933"/>
                  </a:moveTo>
                  <a:lnTo>
                    <a:pt x="3347" y="1942"/>
                  </a:lnTo>
                  <a:lnTo>
                    <a:pt x="3326" y="1933"/>
                  </a:lnTo>
                  <a:lnTo>
                    <a:pt x="3342" y="1933"/>
                  </a:lnTo>
                  <a:lnTo>
                    <a:pt x="3342" y="1933"/>
                  </a:lnTo>
                  <a:lnTo>
                    <a:pt x="3342" y="1933"/>
                  </a:lnTo>
                  <a:close/>
                  <a:moveTo>
                    <a:pt x="3288" y="2003"/>
                  </a:moveTo>
                  <a:lnTo>
                    <a:pt x="3146" y="2020"/>
                  </a:lnTo>
                  <a:lnTo>
                    <a:pt x="3153" y="1999"/>
                  </a:lnTo>
                  <a:lnTo>
                    <a:pt x="3179" y="1987"/>
                  </a:lnTo>
                  <a:lnTo>
                    <a:pt x="3217" y="1966"/>
                  </a:lnTo>
                  <a:lnTo>
                    <a:pt x="3276" y="1959"/>
                  </a:lnTo>
                  <a:lnTo>
                    <a:pt x="3314" y="1933"/>
                  </a:lnTo>
                  <a:lnTo>
                    <a:pt x="3314" y="1949"/>
                  </a:lnTo>
                  <a:lnTo>
                    <a:pt x="3342" y="1959"/>
                  </a:lnTo>
                  <a:lnTo>
                    <a:pt x="3347" y="1987"/>
                  </a:lnTo>
                  <a:lnTo>
                    <a:pt x="3288" y="2003"/>
                  </a:lnTo>
                  <a:lnTo>
                    <a:pt x="3288" y="2003"/>
                  </a:lnTo>
                  <a:lnTo>
                    <a:pt x="3288" y="2003"/>
                  </a:lnTo>
                  <a:close/>
                  <a:moveTo>
                    <a:pt x="1478" y="1949"/>
                  </a:moveTo>
                  <a:lnTo>
                    <a:pt x="1504" y="1966"/>
                  </a:lnTo>
                  <a:lnTo>
                    <a:pt x="1462" y="1959"/>
                  </a:lnTo>
                  <a:lnTo>
                    <a:pt x="1478" y="1949"/>
                  </a:lnTo>
                  <a:lnTo>
                    <a:pt x="1478" y="1949"/>
                  </a:lnTo>
                  <a:lnTo>
                    <a:pt x="1478" y="1949"/>
                  </a:lnTo>
                  <a:close/>
                  <a:moveTo>
                    <a:pt x="3205" y="1966"/>
                  </a:moveTo>
                  <a:lnTo>
                    <a:pt x="3179" y="1982"/>
                  </a:lnTo>
                  <a:lnTo>
                    <a:pt x="3179" y="1966"/>
                  </a:lnTo>
                  <a:lnTo>
                    <a:pt x="3205" y="1966"/>
                  </a:lnTo>
                  <a:lnTo>
                    <a:pt x="3205" y="1966"/>
                  </a:lnTo>
                  <a:lnTo>
                    <a:pt x="3205" y="1966"/>
                  </a:lnTo>
                  <a:close/>
                  <a:moveTo>
                    <a:pt x="1263" y="2015"/>
                  </a:moveTo>
                  <a:lnTo>
                    <a:pt x="1289" y="2032"/>
                  </a:lnTo>
                  <a:lnTo>
                    <a:pt x="1273" y="2032"/>
                  </a:lnTo>
                  <a:lnTo>
                    <a:pt x="1263" y="2020"/>
                  </a:lnTo>
                  <a:lnTo>
                    <a:pt x="1263" y="2015"/>
                  </a:lnTo>
                  <a:lnTo>
                    <a:pt x="1263" y="2015"/>
                  </a:lnTo>
                  <a:lnTo>
                    <a:pt x="1263" y="2015"/>
                  </a:lnTo>
                  <a:close/>
                  <a:moveTo>
                    <a:pt x="1315" y="2155"/>
                  </a:moveTo>
                  <a:lnTo>
                    <a:pt x="1382" y="2148"/>
                  </a:lnTo>
                  <a:lnTo>
                    <a:pt x="1365" y="2148"/>
                  </a:lnTo>
                  <a:lnTo>
                    <a:pt x="1382" y="2131"/>
                  </a:lnTo>
                  <a:lnTo>
                    <a:pt x="1348" y="2148"/>
                  </a:lnTo>
                  <a:lnTo>
                    <a:pt x="1344" y="2148"/>
                  </a:lnTo>
                  <a:lnTo>
                    <a:pt x="1353" y="2143"/>
                  </a:lnTo>
                  <a:lnTo>
                    <a:pt x="1332" y="2143"/>
                  </a:lnTo>
                  <a:lnTo>
                    <a:pt x="1344" y="2131"/>
                  </a:lnTo>
                  <a:lnTo>
                    <a:pt x="1344" y="2126"/>
                  </a:lnTo>
                  <a:lnTo>
                    <a:pt x="1327" y="2131"/>
                  </a:lnTo>
                  <a:lnTo>
                    <a:pt x="1278" y="2126"/>
                  </a:lnTo>
                  <a:lnTo>
                    <a:pt x="1263" y="2114"/>
                  </a:lnTo>
                  <a:lnTo>
                    <a:pt x="1289" y="2110"/>
                  </a:lnTo>
                  <a:lnTo>
                    <a:pt x="1311" y="2114"/>
                  </a:lnTo>
                  <a:lnTo>
                    <a:pt x="1273" y="2098"/>
                  </a:lnTo>
                  <a:lnTo>
                    <a:pt x="1273" y="2086"/>
                  </a:lnTo>
                  <a:lnTo>
                    <a:pt x="1315" y="2086"/>
                  </a:lnTo>
                  <a:lnTo>
                    <a:pt x="1278" y="2070"/>
                  </a:lnTo>
                  <a:lnTo>
                    <a:pt x="1278" y="2053"/>
                  </a:lnTo>
                  <a:lnTo>
                    <a:pt x="1311" y="2037"/>
                  </a:lnTo>
                  <a:lnTo>
                    <a:pt x="1370" y="2044"/>
                  </a:lnTo>
                  <a:lnTo>
                    <a:pt x="1424" y="2086"/>
                  </a:lnTo>
                  <a:lnTo>
                    <a:pt x="1478" y="2098"/>
                  </a:lnTo>
                  <a:lnTo>
                    <a:pt x="1478" y="2110"/>
                  </a:lnTo>
                  <a:lnTo>
                    <a:pt x="1474" y="2114"/>
                  </a:lnTo>
                  <a:lnTo>
                    <a:pt x="1490" y="2126"/>
                  </a:lnTo>
                  <a:lnTo>
                    <a:pt x="1457" y="2148"/>
                  </a:lnTo>
                  <a:lnTo>
                    <a:pt x="1365" y="2171"/>
                  </a:lnTo>
                  <a:lnTo>
                    <a:pt x="1315" y="2155"/>
                  </a:lnTo>
                  <a:lnTo>
                    <a:pt x="1315" y="2155"/>
                  </a:lnTo>
                  <a:lnTo>
                    <a:pt x="1315" y="2155"/>
                  </a:lnTo>
                  <a:close/>
                  <a:moveTo>
                    <a:pt x="1542" y="2086"/>
                  </a:moveTo>
                  <a:lnTo>
                    <a:pt x="1570" y="2098"/>
                  </a:lnTo>
                  <a:lnTo>
                    <a:pt x="1549" y="2114"/>
                  </a:lnTo>
                  <a:lnTo>
                    <a:pt x="1549" y="2131"/>
                  </a:lnTo>
                  <a:lnTo>
                    <a:pt x="1528" y="2143"/>
                  </a:lnTo>
                  <a:lnTo>
                    <a:pt x="1516" y="2114"/>
                  </a:lnTo>
                  <a:lnTo>
                    <a:pt x="1542" y="2093"/>
                  </a:lnTo>
                  <a:lnTo>
                    <a:pt x="1516" y="2093"/>
                  </a:lnTo>
                  <a:lnTo>
                    <a:pt x="1542" y="2086"/>
                  </a:lnTo>
                  <a:lnTo>
                    <a:pt x="1542" y="2086"/>
                  </a:lnTo>
                  <a:lnTo>
                    <a:pt x="1542" y="2086"/>
                  </a:lnTo>
                  <a:close/>
                  <a:moveTo>
                    <a:pt x="3493" y="2110"/>
                  </a:moveTo>
                  <a:lnTo>
                    <a:pt x="3493" y="2114"/>
                  </a:lnTo>
                  <a:lnTo>
                    <a:pt x="3486" y="2126"/>
                  </a:lnTo>
                  <a:lnTo>
                    <a:pt x="3470" y="2114"/>
                  </a:lnTo>
                  <a:lnTo>
                    <a:pt x="3493" y="2110"/>
                  </a:lnTo>
                  <a:lnTo>
                    <a:pt x="3493" y="2110"/>
                  </a:lnTo>
                  <a:lnTo>
                    <a:pt x="3493" y="2110"/>
                  </a:lnTo>
                  <a:close/>
                  <a:moveTo>
                    <a:pt x="1462" y="2242"/>
                  </a:moveTo>
                  <a:lnTo>
                    <a:pt x="1398" y="2259"/>
                  </a:lnTo>
                  <a:lnTo>
                    <a:pt x="1436" y="2242"/>
                  </a:lnTo>
                  <a:lnTo>
                    <a:pt x="1462" y="2242"/>
                  </a:lnTo>
                  <a:lnTo>
                    <a:pt x="1462" y="2242"/>
                  </a:lnTo>
                  <a:lnTo>
                    <a:pt x="1462" y="2242"/>
                  </a:lnTo>
                  <a:close/>
                  <a:moveTo>
                    <a:pt x="1533" y="2242"/>
                  </a:moveTo>
                  <a:lnTo>
                    <a:pt x="1542" y="2254"/>
                  </a:lnTo>
                  <a:lnTo>
                    <a:pt x="1528" y="2254"/>
                  </a:lnTo>
                  <a:lnTo>
                    <a:pt x="1533" y="2242"/>
                  </a:lnTo>
                  <a:lnTo>
                    <a:pt x="1533" y="2242"/>
                  </a:lnTo>
                  <a:lnTo>
                    <a:pt x="1533" y="2242"/>
                  </a:lnTo>
                  <a:close/>
                  <a:moveTo>
                    <a:pt x="1436" y="2259"/>
                  </a:moveTo>
                  <a:lnTo>
                    <a:pt x="1441" y="2259"/>
                  </a:lnTo>
                  <a:lnTo>
                    <a:pt x="1424" y="2259"/>
                  </a:lnTo>
                  <a:lnTo>
                    <a:pt x="1436" y="2259"/>
                  </a:lnTo>
                  <a:lnTo>
                    <a:pt x="1436" y="2259"/>
                  </a:lnTo>
                  <a:lnTo>
                    <a:pt x="1436" y="2259"/>
                  </a:lnTo>
                  <a:close/>
                  <a:moveTo>
                    <a:pt x="1419" y="2259"/>
                  </a:moveTo>
                  <a:lnTo>
                    <a:pt x="1419" y="2266"/>
                  </a:lnTo>
                  <a:lnTo>
                    <a:pt x="1408" y="2259"/>
                  </a:lnTo>
                  <a:lnTo>
                    <a:pt x="1419" y="2259"/>
                  </a:lnTo>
                  <a:lnTo>
                    <a:pt x="1419" y="2259"/>
                  </a:lnTo>
                  <a:lnTo>
                    <a:pt x="1419" y="2259"/>
                  </a:lnTo>
                  <a:close/>
                  <a:moveTo>
                    <a:pt x="1403" y="2266"/>
                  </a:moveTo>
                  <a:lnTo>
                    <a:pt x="1408" y="2275"/>
                  </a:lnTo>
                  <a:lnTo>
                    <a:pt x="1386" y="2282"/>
                  </a:lnTo>
                  <a:lnTo>
                    <a:pt x="1403" y="2266"/>
                  </a:lnTo>
                  <a:lnTo>
                    <a:pt x="1403" y="2266"/>
                  </a:lnTo>
                  <a:lnTo>
                    <a:pt x="1403" y="2266"/>
                  </a:lnTo>
                  <a:close/>
                  <a:moveTo>
                    <a:pt x="1457" y="2308"/>
                  </a:moveTo>
                  <a:lnTo>
                    <a:pt x="1511" y="2299"/>
                  </a:lnTo>
                  <a:lnTo>
                    <a:pt x="1474" y="2315"/>
                  </a:lnTo>
                  <a:lnTo>
                    <a:pt x="1457" y="2308"/>
                  </a:lnTo>
                  <a:lnTo>
                    <a:pt x="1457" y="2308"/>
                  </a:lnTo>
                  <a:lnTo>
                    <a:pt x="1457" y="2308"/>
                  </a:lnTo>
                  <a:close/>
                  <a:moveTo>
                    <a:pt x="3040" y="2299"/>
                  </a:moveTo>
                  <a:lnTo>
                    <a:pt x="3028" y="2315"/>
                  </a:lnTo>
                  <a:lnTo>
                    <a:pt x="3016" y="2308"/>
                  </a:lnTo>
                  <a:lnTo>
                    <a:pt x="3040" y="2299"/>
                  </a:lnTo>
                  <a:lnTo>
                    <a:pt x="3040" y="2299"/>
                  </a:lnTo>
                  <a:lnTo>
                    <a:pt x="3040" y="2299"/>
                  </a:lnTo>
                  <a:close/>
                  <a:moveTo>
                    <a:pt x="2893" y="2308"/>
                  </a:moveTo>
                  <a:lnTo>
                    <a:pt x="2898" y="2308"/>
                  </a:lnTo>
                  <a:lnTo>
                    <a:pt x="2877" y="2308"/>
                  </a:lnTo>
                  <a:lnTo>
                    <a:pt x="2893" y="2308"/>
                  </a:lnTo>
                  <a:lnTo>
                    <a:pt x="2893" y="2308"/>
                  </a:lnTo>
                  <a:lnTo>
                    <a:pt x="2893" y="2308"/>
                  </a:lnTo>
                  <a:close/>
                  <a:moveTo>
                    <a:pt x="1478" y="2315"/>
                  </a:moveTo>
                  <a:lnTo>
                    <a:pt x="1533" y="2315"/>
                  </a:lnTo>
                  <a:lnTo>
                    <a:pt x="1474" y="2320"/>
                  </a:lnTo>
                  <a:lnTo>
                    <a:pt x="1478" y="2315"/>
                  </a:lnTo>
                  <a:lnTo>
                    <a:pt x="1478" y="2315"/>
                  </a:lnTo>
                  <a:lnTo>
                    <a:pt x="1478" y="2315"/>
                  </a:lnTo>
                  <a:close/>
                  <a:moveTo>
                    <a:pt x="1370" y="2320"/>
                  </a:moveTo>
                  <a:lnTo>
                    <a:pt x="1386" y="2320"/>
                  </a:lnTo>
                  <a:lnTo>
                    <a:pt x="1382" y="2332"/>
                  </a:lnTo>
                  <a:lnTo>
                    <a:pt x="1370" y="2320"/>
                  </a:lnTo>
                  <a:lnTo>
                    <a:pt x="1370" y="2320"/>
                  </a:lnTo>
                  <a:lnTo>
                    <a:pt x="1370" y="2320"/>
                  </a:lnTo>
                  <a:close/>
                  <a:moveTo>
                    <a:pt x="1353" y="2370"/>
                  </a:moveTo>
                  <a:lnTo>
                    <a:pt x="1348" y="2353"/>
                  </a:lnTo>
                  <a:lnTo>
                    <a:pt x="1365" y="2365"/>
                  </a:lnTo>
                  <a:lnTo>
                    <a:pt x="1353" y="2370"/>
                  </a:lnTo>
                  <a:lnTo>
                    <a:pt x="1353" y="2370"/>
                  </a:lnTo>
                  <a:lnTo>
                    <a:pt x="1353" y="2370"/>
                  </a:lnTo>
                  <a:close/>
                  <a:moveTo>
                    <a:pt x="2789" y="2410"/>
                  </a:moveTo>
                  <a:lnTo>
                    <a:pt x="2789" y="2419"/>
                  </a:lnTo>
                  <a:lnTo>
                    <a:pt x="2785" y="2410"/>
                  </a:lnTo>
                  <a:lnTo>
                    <a:pt x="2789" y="2410"/>
                  </a:lnTo>
                  <a:lnTo>
                    <a:pt x="2789" y="2410"/>
                  </a:lnTo>
                  <a:lnTo>
                    <a:pt x="2789" y="2410"/>
                  </a:lnTo>
                  <a:close/>
                  <a:moveTo>
                    <a:pt x="1408" y="2464"/>
                  </a:moveTo>
                  <a:lnTo>
                    <a:pt x="1370" y="2476"/>
                  </a:lnTo>
                  <a:lnTo>
                    <a:pt x="1382" y="2464"/>
                  </a:lnTo>
                  <a:lnTo>
                    <a:pt x="1408" y="2464"/>
                  </a:lnTo>
                  <a:lnTo>
                    <a:pt x="1408" y="2464"/>
                  </a:lnTo>
                  <a:lnTo>
                    <a:pt x="1408" y="2464"/>
                  </a:lnTo>
                  <a:close/>
                  <a:moveTo>
                    <a:pt x="2747" y="2464"/>
                  </a:moveTo>
                  <a:lnTo>
                    <a:pt x="2747" y="2476"/>
                  </a:lnTo>
                  <a:lnTo>
                    <a:pt x="2737" y="2481"/>
                  </a:lnTo>
                  <a:lnTo>
                    <a:pt x="2747" y="2464"/>
                  </a:lnTo>
                  <a:lnTo>
                    <a:pt x="2747" y="2464"/>
                  </a:lnTo>
                  <a:lnTo>
                    <a:pt x="2747" y="2464"/>
                  </a:lnTo>
                  <a:close/>
                  <a:moveTo>
                    <a:pt x="2629" y="2554"/>
                  </a:moveTo>
                  <a:lnTo>
                    <a:pt x="2629" y="2542"/>
                  </a:lnTo>
                  <a:lnTo>
                    <a:pt x="2638" y="2542"/>
                  </a:lnTo>
                  <a:lnTo>
                    <a:pt x="2629" y="2554"/>
                  </a:lnTo>
                  <a:lnTo>
                    <a:pt x="2629" y="2554"/>
                  </a:lnTo>
                  <a:lnTo>
                    <a:pt x="2629" y="2554"/>
                  </a:lnTo>
                  <a:close/>
                  <a:moveTo>
                    <a:pt x="1353" y="2570"/>
                  </a:moveTo>
                  <a:lnTo>
                    <a:pt x="1353" y="2559"/>
                  </a:lnTo>
                  <a:lnTo>
                    <a:pt x="1370" y="2559"/>
                  </a:lnTo>
                  <a:lnTo>
                    <a:pt x="1353" y="2570"/>
                  </a:lnTo>
                  <a:lnTo>
                    <a:pt x="1353" y="2570"/>
                  </a:lnTo>
                  <a:lnTo>
                    <a:pt x="1353" y="2570"/>
                  </a:lnTo>
                  <a:close/>
                  <a:moveTo>
                    <a:pt x="2541" y="2599"/>
                  </a:moveTo>
                  <a:lnTo>
                    <a:pt x="2541" y="2587"/>
                  </a:lnTo>
                  <a:lnTo>
                    <a:pt x="2558" y="2575"/>
                  </a:lnTo>
                  <a:lnTo>
                    <a:pt x="2541" y="2599"/>
                  </a:lnTo>
                  <a:lnTo>
                    <a:pt x="2541" y="2599"/>
                  </a:lnTo>
                  <a:lnTo>
                    <a:pt x="2541" y="2599"/>
                  </a:lnTo>
                  <a:close/>
                  <a:moveTo>
                    <a:pt x="2570" y="2592"/>
                  </a:moveTo>
                  <a:lnTo>
                    <a:pt x="2574" y="2587"/>
                  </a:lnTo>
                  <a:lnTo>
                    <a:pt x="2586" y="2587"/>
                  </a:lnTo>
                  <a:lnTo>
                    <a:pt x="2570" y="2592"/>
                  </a:lnTo>
                  <a:lnTo>
                    <a:pt x="2570" y="2592"/>
                  </a:lnTo>
                  <a:lnTo>
                    <a:pt x="2570" y="2592"/>
                  </a:lnTo>
                  <a:close/>
                  <a:moveTo>
                    <a:pt x="2478" y="2625"/>
                  </a:moveTo>
                  <a:lnTo>
                    <a:pt x="2461" y="2625"/>
                  </a:lnTo>
                  <a:lnTo>
                    <a:pt x="2461" y="2599"/>
                  </a:lnTo>
                  <a:lnTo>
                    <a:pt x="2482" y="2587"/>
                  </a:lnTo>
                  <a:lnTo>
                    <a:pt x="2504" y="2599"/>
                  </a:lnTo>
                  <a:lnTo>
                    <a:pt x="2487" y="2592"/>
                  </a:lnTo>
                  <a:lnTo>
                    <a:pt x="2504" y="2608"/>
                  </a:lnTo>
                  <a:lnTo>
                    <a:pt x="2482" y="2625"/>
                  </a:lnTo>
                  <a:lnTo>
                    <a:pt x="2478" y="2615"/>
                  </a:lnTo>
                  <a:lnTo>
                    <a:pt x="2482" y="2625"/>
                  </a:lnTo>
                  <a:lnTo>
                    <a:pt x="2478" y="2625"/>
                  </a:lnTo>
                  <a:lnTo>
                    <a:pt x="2478" y="2625"/>
                  </a:lnTo>
                  <a:lnTo>
                    <a:pt x="2478" y="2625"/>
                  </a:lnTo>
                  <a:close/>
                  <a:moveTo>
                    <a:pt x="2537" y="2608"/>
                  </a:moveTo>
                  <a:lnTo>
                    <a:pt x="2532" y="2592"/>
                  </a:lnTo>
                  <a:lnTo>
                    <a:pt x="2541" y="2592"/>
                  </a:lnTo>
                  <a:lnTo>
                    <a:pt x="2537" y="2608"/>
                  </a:lnTo>
                  <a:lnTo>
                    <a:pt x="2537" y="2608"/>
                  </a:lnTo>
                  <a:lnTo>
                    <a:pt x="2537" y="2608"/>
                  </a:lnTo>
                  <a:close/>
                  <a:moveTo>
                    <a:pt x="2520" y="2625"/>
                  </a:moveTo>
                  <a:lnTo>
                    <a:pt x="2515" y="2608"/>
                  </a:lnTo>
                  <a:lnTo>
                    <a:pt x="2520" y="2608"/>
                  </a:lnTo>
                  <a:lnTo>
                    <a:pt x="2532" y="2615"/>
                  </a:lnTo>
                  <a:lnTo>
                    <a:pt x="2520" y="2625"/>
                  </a:lnTo>
                  <a:lnTo>
                    <a:pt x="2520" y="2625"/>
                  </a:lnTo>
                  <a:lnTo>
                    <a:pt x="2520" y="2625"/>
                  </a:lnTo>
                  <a:close/>
                  <a:moveTo>
                    <a:pt x="1386" y="2625"/>
                  </a:moveTo>
                  <a:lnTo>
                    <a:pt x="1419" y="2615"/>
                  </a:lnTo>
                  <a:lnTo>
                    <a:pt x="1403" y="2625"/>
                  </a:lnTo>
                  <a:lnTo>
                    <a:pt x="1386" y="2625"/>
                  </a:lnTo>
                  <a:lnTo>
                    <a:pt x="1386" y="2625"/>
                  </a:lnTo>
                  <a:lnTo>
                    <a:pt x="1386" y="2625"/>
                  </a:lnTo>
                  <a:close/>
                  <a:moveTo>
                    <a:pt x="2390" y="2632"/>
                  </a:moveTo>
                  <a:lnTo>
                    <a:pt x="2397" y="2625"/>
                  </a:lnTo>
                  <a:lnTo>
                    <a:pt x="2407" y="2625"/>
                  </a:lnTo>
                  <a:lnTo>
                    <a:pt x="2390" y="2632"/>
                  </a:lnTo>
                  <a:lnTo>
                    <a:pt x="2390" y="2632"/>
                  </a:lnTo>
                  <a:lnTo>
                    <a:pt x="2390" y="2632"/>
                  </a:lnTo>
                  <a:close/>
                  <a:moveTo>
                    <a:pt x="1408" y="2641"/>
                  </a:moveTo>
                  <a:lnTo>
                    <a:pt x="1398" y="2632"/>
                  </a:lnTo>
                  <a:lnTo>
                    <a:pt x="1408" y="2632"/>
                  </a:lnTo>
                  <a:lnTo>
                    <a:pt x="1408" y="2641"/>
                  </a:lnTo>
                  <a:lnTo>
                    <a:pt x="1408" y="2641"/>
                  </a:lnTo>
                  <a:lnTo>
                    <a:pt x="1408" y="2641"/>
                  </a:lnTo>
                  <a:close/>
                  <a:moveTo>
                    <a:pt x="2369" y="2641"/>
                  </a:moveTo>
                  <a:lnTo>
                    <a:pt x="2359" y="2632"/>
                  </a:lnTo>
                  <a:lnTo>
                    <a:pt x="2369" y="2632"/>
                  </a:lnTo>
                  <a:lnTo>
                    <a:pt x="2369" y="2641"/>
                  </a:lnTo>
                  <a:lnTo>
                    <a:pt x="2369" y="2641"/>
                  </a:lnTo>
                  <a:lnTo>
                    <a:pt x="2369" y="2641"/>
                  </a:lnTo>
                  <a:close/>
                  <a:moveTo>
                    <a:pt x="2343" y="2653"/>
                  </a:moveTo>
                  <a:lnTo>
                    <a:pt x="2326" y="2648"/>
                  </a:lnTo>
                  <a:lnTo>
                    <a:pt x="2352" y="2653"/>
                  </a:lnTo>
                  <a:lnTo>
                    <a:pt x="2343" y="2653"/>
                  </a:lnTo>
                  <a:lnTo>
                    <a:pt x="2343" y="2653"/>
                  </a:lnTo>
                  <a:lnTo>
                    <a:pt x="2343" y="2653"/>
                  </a:lnTo>
                  <a:close/>
                  <a:moveTo>
                    <a:pt x="2305" y="2759"/>
                  </a:moveTo>
                  <a:lnTo>
                    <a:pt x="2284" y="2752"/>
                  </a:lnTo>
                  <a:lnTo>
                    <a:pt x="2272" y="2726"/>
                  </a:lnTo>
                  <a:lnTo>
                    <a:pt x="2251" y="2703"/>
                  </a:lnTo>
                  <a:lnTo>
                    <a:pt x="2272" y="2710"/>
                  </a:lnTo>
                  <a:lnTo>
                    <a:pt x="2289" y="2743"/>
                  </a:lnTo>
                  <a:lnTo>
                    <a:pt x="2305" y="2752"/>
                  </a:lnTo>
                  <a:lnTo>
                    <a:pt x="2305" y="2759"/>
                  </a:lnTo>
                  <a:lnTo>
                    <a:pt x="2305" y="2759"/>
                  </a:lnTo>
                  <a:lnTo>
                    <a:pt x="2305" y="2759"/>
                  </a:lnTo>
                  <a:close/>
                  <a:moveTo>
                    <a:pt x="1533" y="2743"/>
                  </a:moveTo>
                  <a:lnTo>
                    <a:pt x="1528" y="2759"/>
                  </a:lnTo>
                  <a:lnTo>
                    <a:pt x="1516" y="2759"/>
                  </a:lnTo>
                  <a:lnTo>
                    <a:pt x="1528" y="2743"/>
                  </a:lnTo>
                  <a:lnTo>
                    <a:pt x="1533" y="2743"/>
                  </a:lnTo>
                  <a:lnTo>
                    <a:pt x="1533" y="2743"/>
                  </a:lnTo>
                  <a:lnTo>
                    <a:pt x="1533" y="2743"/>
                  </a:lnTo>
                  <a:close/>
                  <a:moveTo>
                    <a:pt x="1559" y="2752"/>
                  </a:moveTo>
                  <a:lnTo>
                    <a:pt x="1533" y="2776"/>
                  </a:lnTo>
                  <a:lnTo>
                    <a:pt x="1516" y="2781"/>
                  </a:lnTo>
                  <a:lnTo>
                    <a:pt x="1542" y="2743"/>
                  </a:lnTo>
                  <a:lnTo>
                    <a:pt x="1559" y="2752"/>
                  </a:lnTo>
                  <a:lnTo>
                    <a:pt x="1559" y="2752"/>
                  </a:lnTo>
                  <a:lnTo>
                    <a:pt x="1559" y="2752"/>
                  </a:lnTo>
                  <a:close/>
                  <a:moveTo>
                    <a:pt x="1516" y="2764"/>
                  </a:moveTo>
                  <a:lnTo>
                    <a:pt x="1504" y="2776"/>
                  </a:lnTo>
                  <a:lnTo>
                    <a:pt x="1511" y="2764"/>
                  </a:lnTo>
                  <a:lnTo>
                    <a:pt x="1516" y="2764"/>
                  </a:lnTo>
                  <a:lnTo>
                    <a:pt x="1516" y="2764"/>
                  </a:lnTo>
                  <a:lnTo>
                    <a:pt x="1516" y="2764"/>
                  </a:lnTo>
                  <a:close/>
                  <a:moveTo>
                    <a:pt x="2234" y="2776"/>
                  </a:moveTo>
                  <a:lnTo>
                    <a:pt x="2218" y="2776"/>
                  </a:lnTo>
                  <a:lnTo>
                    <a:pt x="2234" y="2776"/>
                  </a:lnTo>
                  <a:lnTo>
                    <a:pt x="2234" y="2776"/>
                  </a:lnTo>
                  <a:lnTo>
                    <a:pt x="2234" y="2776"/>
                  </a:lnTo>
                  <a:close/>
                  <a:moveTo>
                    <a:pt x="2246" y="2781"/>
                  </a:moveTo>
                  <a:lnTo>
                    <a:pt x="2251" y="2776"/>
                  </a:lnTo>
                  <a:lnTo>
                    <a:pt x="2267" y="2776"/>
                  </a:lnTo>
                  <a:lnTo>
                    <a:pt x="2267" y="2781"/>
                  </a:lnTo>
                  <a:lnTo>
                    <a:pt x="2246" y="2781"/>
                  </a:lnTo>
                  <a:lnTo>
                    <a:pt x="2246" y="2781"/>
                  </a:lnTo>
                  <a:lnTo>
                    <a:pt x="2246" y="2781"/>
                  </a:lnTo>
                  <a:close/>
                  <a:moveTo>
                    <a:pt x="2234" y="2903"/>
                  </a:moveTo>
                  <a:lnTo>
                    <a:pt x="2213" y="2892"/>
                  </a:lnTo>
                  <a:lnTo>
                    <a:pt x="2180" y="2870"/>
                  </a:lnTo>
                  <a:lnTo>
                    <a:pt x="2196" y="2863"/>
                  </a:lnTo>
                  <a:lnTo>
                    <a:pt x="2230" y="2887"/>
                  </a:lnTo>
                  <a:lnTo>
                    <a:pt x="2234" y="2903"/>
                  </a:lnTo>
                  <a:lnTo>
                    <a:pt x="2234" y="2903"/>
                  </a:lnTo>
                  <a:lnTo>
                    <a:pt x="2234" y="2903"/>
                  </a:lnTo>
                  <a:close/>
                  <a:moveTo>
                    <a:pt x="2230" y="2908"/>
                  </a:moveTo>
                  <a:lnTo>
                    <a:pt x="2213" y="2903"/>
                  </a:lnTo>
                  <a:lnTo>
                    <a:pt x="2230" y="2903"/>
                  </a:lnTo>
                  <a:lnTo>
                    <a:pt x="2230" y="2908"/>
                  </a:lnTo>
                  <a:lnTo>
                    <a:pt x="2230" y="2908"/>
                  </a:lnTo>
                  <a:lnTo>
                    <a:pt x="2230" y="2908"/>
                  </a:lnTo>
                  <a:close/>
                  <a:moveTo>
                    <a:pt x="1580" y="2903"/>
                  </a:moveTo>
                  <a:lnTo>
                    <a:pt x="1566" y="2908"/>
                  </a:lnTo>
                  <a:lnTo>
                    <a:pt x="1580" y="2903"/>
                  </a:lnTo>
                  <a:lnTo>
                    <a:pt x="1580" y="2903"/>
                  </a:lnTo>
                  <a:lnTo>
                    <a:pt x="1580" y="2903"/>
                  </a:lnTo>
                  <a:close/>
                  <a:moveTo>
                    <a:pt x="1566" y="2903"/>
                  </a:moveTo>
                  <a:lnTo>
                    <a:pt x="1566" y="2908"/>
                  </a:lnTo>
                  <a:lnTo>
                    <a:pt x="1549" y="2908"/>
                  </a:lnTo>
                  <a:lnTo>
                    <a:pt x="1566" y="2903"/>
                  </a:lnTo>
                  <a:lnTo>
                    <a:pt x="1566" y="2903"/>
                  </a:lnTo>
                  <a:lnTo>
                    <a:pt x="1566" y="2903"/>
                  </a:lnTo>
                  <a:close/>
                  <a:moveTo>
                    <a:pt x="2208" y="2932"/>
                  </a:moveTo>
                  <a:lnTo>
                    <a:pt x="2208" y="2920"/>
                  </a:lnTo>
                  <a:lnTo>
                    <a:pt x="2213" y="2920"/>
                  </a:lnTo>
                  <a:lnTo>
                    <a:pt x="2208" y="2932"/>
                  </a:lnTo>
                  <a:lnTo>
                    <a:pt x="2208" y="2932"/>
                  </a:lnTo>
                  <a:lnTo>
                    <a:pt x="2208" y="2932"/>
                  </a:lnTo>
                  <a:close/>
                  <a:moveTo>
                    <a:pt x="2154" y="2958"/>
                  </a:moveTo>
                  <a:lnTo>
                    <a:pt x="2142" y="2948"/>
                  </a:lnTo>
                  <a:lnTo>
                    <a:pt x="2154" y="2941"/>
                  </a:lnTo>
                  <a:lnTo>
                    <a:pt x="2180" y="2948"/>
                  </a:lnTo>
                  <a:lnTo>
                    <a:pt x="2154" y="2958"/>
                  </a:lnTo>
                  <a:lnTo>
                    <a:pt x="2154" y="2958"/>
                  </a:lnTo>
                  <a:lnTo>
                    <a:pt x="2154" y="2958"/>
                  </a:lnTo>
                  <a:close/>
                  <a:moveTo>
                    <a:pt x="2163" y="2981"/>
                  </a:moveTo>
                  <a:lnTo>
                    <a:pt x="2154" y="2965"/>
                  </a:lnTo>
                  <a:lnTo>
                    <a:pt x="2163" y="2974"/>
                  </a:lnTo>
                  <a:lnTo>
                    <a:pt x="2163" y="2981"/>
                  </a:lnTo>
                  <a:lnTo>
                    <a:pt x="2163" y="2981"/>
                  </a:lnTo>
                  <a:lnTo>
                    <a:pt x="2163" y="2981"/>
                  </a:lnTo>
                  <a:close/>
                  <a:moveTo>
                    <a:pt x="2159" y="3059"/>
                  </a:moveTo>
                  <a:lnTo>
                    <a:pt x="2163" y="3043"/>
                  </a:lnTo>
                  <a:lnTo>
                    <a:pt x="2163" y="3059"/>
                  </a:lnTo>
                  <a:lnTo>
                    <a:pt x="2159" y="3059"/>
                  </a:lnTo>
                  <a:lnTo>
                    <a:pt x="2159" y="3059"/>
                  </a:lnTo>
                  <a:lnTo>
                    <a:pt x="2159" y="3059"/>
                  </a:lnTo>
                  <a:close/>
                  <a:moveTo>
                    <a:pt x="1743" y="3130"/>
                  </a:moveTo>
                  <a:lnTo>
                    <a:pt x="1748" y="3142"/>
                  </a:lnTo>
                  <a:lnTo>
                    <a:pt x="1726" y="3130"/>
                  </a:lnTo>
                  <a:lnTo>
                    <a:pt x="1743" y="3130"/>
                  </a:lnTo>
                  <a:lnTo>
                    <a:pt x="1743" y="3130"/>
                  </a:lnTo>
                  <a:lnTo>
                    <a:pt x="1743" y="3130"/>
                  </a:lnTo>
                  <a:close/>
                  <a:moveTo>
                    <a:pt x="1882" y="3154"/>
                  </a:moveTo>
                  <a:lnTo>
                    <a:pt x="1835" y="3170"/>
                  </a:lnTo>
                  <a:lnTo>
                    <a:pt x="1882" y="3147"/>
                  </a:lnTo>
                  <a:lnTo>
                    <a:pt x="1882" y="3154"/>
                  </a:lnTo>
                  <a:lnTo>
                    <a:pt x="1882" y="3154"/>
                  </a:lnTo>
                  <a:lnTo>
                    <a:pt x="1882" y="3154"/>
                  </a:lnTo>
                  <a:close/>
                  <a:moveTo>
                    <a:pt x="1776" y="3163"/>
                  </a:moveTo>
                  <a:lnTo>
                    <a:pt x="1764" y="3170"/>
                  </a:lnTo>
                  <a:lnTo>
                    <a:pt x="1781" y="3170"/>
                  </a:lnTo>
                  <a:lnTo>
                    <a:pt x="1764" y="3180"/>
                  </a:lnTo>
                  <a:lnTo>
                    <a:pt x="1731" y="3163"/>
                  </a:lnTo>
                  <a:lnTo>
                    <a:pt x="1776" y="3163"/>
                  </a:lnTo>
                  <a:lnTo>
                    <a:pt x="1776" y="3163"/>
                  </a:lnTo>
                  <a:lnTo>
                    <a:pt x="1776" y="3163"/>
                  </a:lnTo>
                  <a:close/>
                  <a:moveTo>
                    <a:pt x="1873" y="3170"/>
                  </a:moveTo>
                  <a:lnTo>
                    <a:pt x="1873" y="3180"/>
                  </a:lnTo>
                  <a:lnTo>
                    <a:pt x="1856" y="3180"/>
                  </a:lnTo>
                  <a:lnTo>
                    <a:pt x="1873" y="3170"/>
                  </a:lnTo>
                  <a:lnTo>
                    <a:pt x="1873" y="3170"/>
                  </a:lnTo>
                  <a:lnTo>
                    <a:pt x="1873" y="3170"/>
                  </a:lnTo>
                  <a:close/>
                  <a:moveTo>
                    <a:pt x="1958" y="3208"/>
                  </a:moveTo>
                  <a:lnTo>
                    <a:pt x="1948" y="3225"/>
                  </a:lnTo>
                  <a:lnTo>
                    <a:pt x="1937" y="3236"/>
                  </a:lnTo>
                  <a:lnTo>
                    <a:pt x="1944" y="3208"/>
                  </a:lnTo>
                  <a:lnTo>
                    <a:pt x="1958" y="3208"/>
                  </a:lnTo>
                  <a:lnTo>
                    <a:pt x="1958" y="3208"/>
                  </a:lnTo>
                  <a:lnTo>
                    <a:pt x="1958" y="3208"/>
                  </a:lnTo>
                  <a:close/>
                  <a:moveTo>
                    <a:pt x="2067" y="3258"/>
                  </a:moveTo>
                  <a:lnTo>
                    <a:pt x="2045" y="3253"/>
                  </a:lnTo>
                  <a:lnTo>
                    <a:pt x="2029" y="3236"/>
                  </a:lnTo>
                  <a:lnTo>
                    <a:pt x="2100" y="3241"/>
                  </a:lnTo>
                  <a:lnTo>
                    <a:pt x="2088" y="3253"/>
                  </a:lnTo>
                  <a:lnTo>
                    <a:pt x="2067" y="3241"/>
                  </a:lnTo>
                  <a:lnTo>
                    <a:pt x="2071" y="3253"/>
                  </a:lnTo>
                  <a:lnTo>
                    <a:pt x="2067" y="3258"/>
                  </a:lnTo>
                  <a:lnTo>
                    <a:pt x="2067" y="3258"/>
                  </a:lnTo>
                  <a:lnTo>
                    <a:pt x="2067" y="3258"/>
                  </a:lnTo>
                  <a:close/>
                  <a:moveTo>
                    <a:pt x="2019" y="3241"/>
                  </a:moveTo>
                  <a:lnTo>
                    <a:pt x="2019" y="3253"/>
                  </a:lnTo>
                  <a:lnTo>
                    <a:pt x="2012" y="3258"/>
                  </a:lnTo>
                  <a:lnTo>
                    <a:pt x="1996" y="3253"/>
                  </a:lnTo>
                  <a:lnTo>
                    <a:pt x="2003" y="3236"/>
                  </a:lnTo>
                  <a:lnTo>
                    <a:pt x="2019" y="3241"/>
                  </a:lnTo>
                  <a:lnTo>
                    <a:pt x="2019" y="3241"/>
                  </a:lnTo>
                  <a:lnTo>
                    <a:pt x="2019" y="3241"/>
                  </a:lnTo>
                  <a:close/>
                  <a:moveTo>
                    <a:pt x="2071" y="3258"/>
                  </a:moveTo>
                  <a:lnTo>
                    <a:pt x="2071" y="3253"/>
                  </a:lnTo>
                  <a:lnTo>
                    <a:pt x="2083" y="3253"/>
                  </a:lnTo>
                  <a:lnTo>
                    <a:pt x="2071" y="3258"/>
                  </a:lnTo>
                  <a:lnTo>
                    <a:pt x="2071" y="3258"/>
                  </a:lnTo>
                  <a:lnTo>
                    <a:pt x="2071" y="3258"/>
                  </a:lnTo>
                  <a:close/>
                  <a:moveTo>
                    <a:pt x="2029" y="3265"/>
                  </a:moveTo>
                  <a:lnTo>
                    <a:pt x="2012" y="3258"/>
                  </a:lnTo>
                  <a:lnTo>
                    <a:pt x="2019" y="3253"/>
                  </a:lnTo>
                  <a:lnTo>
                    <a:pt x="2033" y="3253"/>
                  </a:lnTo>
                  <a:lnTo>
                    <a:pt x="2029" y="3265"/>
                  </a:lnTo>
                  <a:lnTo>
                    <a:pt x="2029" y="3265"/>
                  </a:lnTo>
                  <a:lnTo>
                    <a:pt x="2029" y="3265"/>
                  </a:lnTo>
                  <a:close/>
                  <a:moveTo>
                    <a:pt x="2083" y="3258"/>
                  </a:moveTo>
                  <a:lnTo>
                    <a:pt x="2083" y="3253"/>
                  </a:lnTo>
                  <a:lnTo>
                    <a:pt x="2088" y="3258"/>
                  </a:lnTo>
                  <a:lnTo>
                    <a:pt x="2083" y="3258"/>
                  </a:lnTo>
                  <a:lnTo>
                    <a:pt x="2083" y="3258"/>
                  </a:lnTo>
                  <a:lnTo>
                    <a:pt x="2083" y="3258"/>
                  </a:lnTo>
                  <a:close/>
                  <a:moveTo>
                    <a:pt x="2045" y="3274"/>
                  </a:moveTo>
                  <a:lnTo>
                    <a:pt x="2029" y="3265"/>
                  </a:lnTo>
                  <a:lnTo>
                    <a:pt x="2033" y="3258"/>
                  </a:lnTo>
                  <a:lnTo>
                    <a:pt x="2057" y="3265"/>
                  </a:lnTo>
                  <a:lnTo>
                    <a:pt x="2045" y="3274"/>
                  </a:lnTo>
                  <a:lnTo>
                    <a:pt x="2045" y="3274"/>
                  </a:lnTo>
                  <a:lnTo>
                    <a:pt x="2045" y="3274"/>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4" name="Freeform 453">
              <a:extLst>
                <a:ext uri="{FF2B5EF4-FFF2-40B4-BE49-F238E27FC236}">
                  <a16:creationId xmlns:a16="http://schemas.microsoft.com/office/drawing/2014/main" id="{9286779A-ACFE-43BF-8A0B-B1C6BA1FC95D}"/>
                </a:ext>
              </a:extLst>
            </p:cNvPr>
            <p:cNvSpPr>
              <a:spLocks noEditPoints="1"/>
            </p:cNvSpPr>
            <p:nvPr/>
          </p:nvSpPr>
          <p:spPr bwMode="gray">
            <a:xfrm>
              <a:off x="13877375" y="2666446"/>
              <a:ext cx="211761" cy="242854"/>
            </a:xfrm>
            <a:custGeom>
              <a:avLst/>
              <a:gdLst>
                <a:gd name="T0" fmla="*/ 442 w 647"/>
                <a:gd name="T1" fmla="*/ 454 h 742"/>
                <a:gd name="T2" fmla="*/ 480 w 647"/>
                <a:gd name="T3" fmla="*/ 543 h 742"/>
                <a:gd name="T4" fmla="*/ 534 w 647"/>
                <a:gd name="T5" fmla="*/ 621 h 742"/>
                <a:gd name="T6" fmla="*/ 496 w 647"/>
                <a:gd name="T7" fmla="*/ 704 h 742"/>
                <a:gd name="T8" fmla="*/ 484 w 647"/>
                <a:gd name="T9" fmla="*/ 704 h 742"/>
                <a:gd name="T10" fmla="*/ 354 w 647"/>
                <a:gd name="T11" fmla="*/ 720 h 742"/>
                <a:gd name="T12" fmla="*/ 312 w 647"/>
                <a:gd name="T13" fmla="*/ 732 h 742"/>
                <a:gd name="T14" fmla="*/ 241 w 647"/>
                <a:gd name="T15" fmla="*/ 704 h 742"/>
                <a:gd name="T16" fmla="*/ 177 w 647"/>
                <a:gd name="T17" fmla="*/ 704 h 742"/>
                <a:gd name="T18" fmla="*/ 118 w 647"/>
                <a:gd name="T19" fmla="*/ 704 h 742"/>
                <a:gd name="T20" fmla="*/ 140 w 647"/>
                <a:gd name="T21" fmla="*/ 621 h 742"/>
                <a:gd name="T22" fmla="*/ 102 w 647"/>
                <a:gd name="T23" fmla="*/ 565 h 742"/>
                <a:gd name="T24" fmla="*/ 43 w 647"/>
                <a:gd name="T25" fmla="*/ 539 h 742"/>
                <a:gd name="T26" fmla="*/ 26 w 647"/>
                <a:gd name="T27" fmla="*/ 472 h 742"/>
                <a:gd name="T28" fmla="*/ 14 w 647"/>
                <a:gd name="T29" fmla="*/ 416 h 742"/>
                <a:gd name="T30" fmla="*/ 14 w 647"/>
                <a:gd name="T31" fmla="*/ 371 h 742"/>
                <a:gd name="T32" fmla="*/ 69 w 647"/>
                <a:gd name="T33" fmla="*/ 300 h 742"/>
                <a:gd name="T34" fmla="*/ 64 w 647"/>
                <a:gd name="T35" fmla="*/ 243 h 742"/>
                <a:gd name="T36" fmla="*/ 102 w 647"/>
                <a:gd name="T37" fmla="*/ 177 h 742"/>
                <a:gd name="T38" fmla="*/ 85 w 647"/>
                <a:gd name="T39" fmla="*/ 168 h 742"/>
                <a:gd name="T40" fmla="*/ 161 w 647"/>
                <a:gd name="T41" fmla="*/ 149 h 742"/>
                <a:gd name="T42" fmla="*/ 177 w 647"/>
                <a:gd name="T43" fmla="*/ 149 h 742"/>
                <a:gd name="T44" fmla="*/ 189 w 647"/>
                <a:gd name="T45" fmla="*/ 149 h 742"/>
                <a:gd name="T46" fmla="*/ 203 w 647"/>
                <a:gd name="T47" fmla="*/ 116 h 742"/>
                <a:gd name="T48" fmla="*/ 265 w 647"/>
                <a:gd name="T49" fmla="*/ 139 h 742"/>
                <a:gd name="T50" fmla="*/ 227 w 647"/>
                <a:gd name="T51" fmla="*/ 94 h 742"/>
                <a:gd name="T52" fmla="*/ 194 w 647"/>
                <a:gd name="T53" fmla="*/ 66 h 742"/>
                <a:gd name="T54" fmla="*/ 173 w 647"/>
                <a:gd name="T55" fmla="*/ 28 h 742"/>
                <a:gd name="T56" fmla="*/ 189 w 647"/>
                <a:gd name="T57" fmla="*/ 12 h 742"/>
                <a:gd name="T58" fmla="*/ 295 w 647"/>
                <a:gd name="T59" fmla="*/ 45 h 742"/>
                <a:gd name="T60" fmla="*/ 371 w 647"/>
                <a:gd name="T61" fmla="*/ 66 h 742"/>
                <a:gd name="T62" fmla="*/ 350 w 647"/>
                <a:gd name="T63" fmla="*/ 116 h 742"/>
                <a:gd name="T64" fmla="*/ 442 w 647"/>
                <a:gd name="T65" fmla="*/ 83 h 742"/>
                <a:gd name="T66" fmla="*/ 458 w 647"/>
                <a:gd name="T67" fmla="*/ 78 h 742"/>
                <a:gd name="T68" fmla="*/ 555 w 647"/>
                <a:gd name="T69" fmla="*/ 83 h 742"/>
                <a:gd name="T70" fmla="*/ 605 w 647"/>
                <a:gd name="T71" fmla="*/ 168 h 742"/>
                <a:gd name="T72" fmla="*/ 619 w 647"/>
                <a:gd name="T73" fmla="*/ 243 h 742"/>
                <a:gd name="T74" fmla="*/ 619 w 647"/>
                <a:gd name="T75" fmla="*/ 317 h 742"/>
                <a:gd name="T76" fmla="*/ 647 w 647"/>
                <a:gd name="T77" fmla="*/ 371 h 742"/>
                <a:gd name="T78" fmla="*/ 593 w 647"/>
                <a:gd name="T79" fmla="*/ 387 h 742"/>
                <a:gd name="T80" fmla="*/ 539 w 647"/>
                <a:gd name="T81" fmla="*/ 416 h 742"/>
                <a:gd name="T82" fmla="*/ 194 w 647"/>
                <a:gd name="T83" fmla="*/ 40 h 742"/>
                <a:gd name="T84" fmla="*/ 194 w 647"/>
                <a:gd name="T85" fmla="*/ 40 h 742"/>
                <a:gd name="T86" fmla="*/ 177 w 647"/>
                <a:gd name="T87" fmla="*/ 28 h 742"/>
                <a:gd name="T88" fmla="*/ 529 w 647"/>
                <a:gd name="T89" fmla="*/ 78 h 742"/>
                <a:gd name="T90" fmla="*/ 517 w 647"/>
                <a:gd name="T91" fmla="*/ 45 h 742"/>
                <a:gd name="T92" fmla="*/ 517 w 647"/>
                <a:gd name="T93" fmla="*/ 40 h 742"/>
                <a:gd name="T94" fmla="*/ 539 w 647"/>
                <a:gd name="T95" fmla="*/ 61 h 742"/>
                <a:gd name="T96" fmla="*/ 529 w 647"/>
                <a:gd name="T97" fmla="*/ 78 h 742"/>
                <a:gd name="T98" fmla="*/ 194 w 647"/>
                <a:gd name="T99" fmla="*/ 57 h 742"/>
                <a:gd name="T100" fmla="*/ 203 w 647"/>
                <a:gd name="T101" fmla="*/ 57 h 742"/>
                <a:gd name="T102" fmla="*/ 371 w 647"/>
                <a:gd name="T103" fmla="*/ 57 h 742"/>
                <a:gd name="T104" fmla="*/ 588 w 647"/>
                <a:gd name="T105" fmla="*/ 111 h 742"/>
                <a:gd name="T106" fmla="*/ 572 w 647"/>
                <a:gd name="T107" fmla="*/ 94 h 742"/>
                <a:gd name="T108" fmla="*/ 588 w 647"/>
                <a:gd name="T109" fmla="*/ 111 h 742"/>
                <a:gd name="T110" fmla="*/ 392 w 647"/>
                <a:gd name="T111" fmla="*/ 99 h 742"/>
                <a:gd name="T112" fmla="*/ 64 w 647"/>
                <a:gd name="T113" fmla="*/ 149 h 742"/>
                <a:gd name="T114" fmla="*/ 64 w 647"/>
                <a:gd name="T115" fmla="*/ 149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7" h="742">
                  <a:moveTo>
                    <a:pt x="501" y="449"/>
                  </a:moveTo>
                  <a:lnTo>
                    <a:pt x="475" y="449"/>
                  </a:lnTo>
                  <a:lnTo>
                    <a:pt x="458" y="465"/>
                  </a:lnTo>
                  <a:lnTo>
                    <a:pt x="442" y="454"/>
                  </a:lnTo>
                  <a:lnTo>
                    <a:pt x="447" y="482"/>
                  </a:lnTo>
                  <a:lnTo>
                    <a:pt x="475" y="498"/>
                  </a:lnTo>
                  <a:lnTo>
                    <a:pt x="463" y="522"/>
                  </a:lnTo>
                  <a:lnTo>
                    <a:pt x="480" y="543"/>
                  </a:lnTo>
                  <a:lnTo>
                    <a:pt x="501" y="555"/>
                  </a:lnTo>
                  <a:lnTo>
                    <a:pt x="567" y="598"/>
                  </a:lnTo>
                  <a:lnTo>
                    <a:pt x="555" y="621"/>
                  </a:lnTo>
                  <a:lnTo>
                    <a:pt x="534" y="621"/>
                  </a:lnTo>
                  <a:lnTo>
                    <a:pt x="534" y="638"/>
                  </a:lnTo>
                  <a:lnTo>
                    <a:pt x="484" y="666"/>
                  </a:lnTo>
                  <a:lnTo>
                    <a:pt x="501" y="687"/>
                  </a:lnTo>
                  <a:lnTo>
                    <a:pt x="496" y="704"/>
                  </a:lnTo>
                  <a:lnTo>
                    <a:pt x="513" y="704"/>
                  </a:lnTo>
                  <a:lnTo>
                    <a:pt x="501" y="720"/>
                  </a:lnTo>
                  <a:lnTo>
                    <a:pt x="484" y="720"/>
                  </a:lnTo>
                  <a:lnTo>
                    <a:pt x="484" y="704"/>
                  </a:lnTo>
                  <a:lnTo>
                    <a:pt x="409" y="709"/>
                  </a:lnTo>
                  <a:lnTo>
                    <a:pt x="371" y="725"/>
                  </a:lnTo>
                  <a:lnTo>
                    <a:pt x="366" y="725"/>
                  </a:lnTo>
                  <a:lnTo>
                    <a:pt x="354" y="720"/>
                  </a:lnTo>
                  <a:lnTo>
                    <a:pt x="324" y="709"/>
                  </a:lnTo>
                  <a:lnTo>
                    <a:pt x="324" y="725"/>
                  </a:lnTo>
                  <a:lnTo>
                    <a:pt x="302" y="742"/>
                  </a:lnTo>
                  <a:lnTo>
                    <a:pt x="312" y="732"/>
                  </a:lnTo>
                  <a:lnTo>
                    <a:pt x="286" y="720"/>
                  </a:lnTo>
                  <a:lnTo>
                    <a:pt x="279" y="709"/>
                  </a:lnTo>
                  <a:lnTo>
                    <a:pt x="265" y="720"/>
                  </a:lnTo>
                  <a:lnTo>
                    <a:pt x="241" y="704"/>
                  </a:lnTo>
                  <a:lnTo>
                    <a:pt x="203" y="704"/>
                  </a:lnTo>
                  <a:lnTo>
                    <a:pt x="203" y="692"/>
                  </a:lnTo>
                  <a:lnTo>
                    <a:pt x="194" y="692"/>
                  </a:lnTo>
                  <a:lnTo>
                    <a:pt x="177" y="704"/>
                  </a:lnTo>
                  <a:lnTo>
                    <a:pt x="194" y="704"/>
                  </a:lnTo>
                  <a:lnTo>
                    <a:pt x="194" y="709"/>
                  </a:lnTo>
                  <a:lnTo>
                    <a:pt x="123" y="709"/>
                  </a:lnTo>
                  <a:lnTo>
                    <a:pt x="118" y="704"/>
                  </a:lnTo>
                  <a:lnTo>
                    <a:pt x="123" y="676"/>
                  </a:lnTo>
                  <a:lnTo>
                    <a:pt x="123" y="666"/>
                  </a:lnTo>
                  <a:lnTo>
                    <a:pt x="135" y="638"/>
                  </a:lnTo>
                  <a:lnTo>
                    <a:pt x="140" y="621"/>
                  </a:lnTo>
                  <a:lnTo>
                    <a:pt x="173" y="581"/>
                  </a:lnTo>
                  <a:lnTo>
                    <a:pt x="135" y="576"/>
                  </a:lnTo>
                  <a:lnTo>
                    <a:pt x="106" y="565"/>
                  </a:lnTo>
                  <a:lnTo>
                    <a:pt x="102" y="565"/>
                  </a:lnTo>
                  <a:lnTo>
                    <a:pt x="80" y="560"/>
                  </a:lnTo>
                  <a:lnTo>
                    <a:pt x="64" y="565"/>
                  </a:lnTo>
                  <a:lnTo>
                    <a:pt x="47" y="543"/>
                  </a:lnTo>
                  <a:lnTo>
                    <a:pt x="43" y="539"/>
                  </a:lnTo>
                  <a:lnTo>
                    <a:pt x="43" y="539"/>
                  </a:lnTo>
                  <a:lnTo>
                    <a:pt x="47" y="505"/>
                  </a:lnTo>
                  <a:lnTo>
                    <a:pt x="31" y="498"/>
                  </a:lnTo>
                  <a:lnTo>
                    <a:pt x="26" y="472"/>
                  </a:lnTo>
                  <a:lnTo>
                    <a:pt x="26" y="465"/>
                  </a:lnTo>
                  <a:lnTo>
                    <a:pt x="43" y="454"/>
                  </a:lnTo>
                  <a:lnTo>
                    <a:pt x="31" y="428"/>
                  </a:lnTo>
                  <a:lnTo>
                    <a:pt x="14" y="416"/>
                  </a:lnTo>
                  <a:lnTo>
                    <a:pt x="14" y="399"/>
                  </a:lnTo>
                  <a:lnTo>
                    <a:pt x="0" y="387"/>
                  </a:lnTo>
                  <a:lnTo>
                    <a:pt x="14" y="378"/>
                  </a:lnTo>
                  <a:lnTo>
                    <a:pt x="14" y="371"/>
                  </a:lnTo>
                  <a:lnTo>
                    <a:pt x="31" y="361"/>
                  </a:lnTo>
                  <a:lnTo>
                    <a:pt x="31" y="345"/>
                  </a:lnTo>
                  <a:lnTo>
                    <a:pt x="10" y="317"/>
                  </a:lnTo>
                  <a:lnTo>
                    <a:pt x="69" y="300"/>
                  </a:lnTo>
                  <a:lnTo>
                    <a:pt x="64" y="288"/>
                  </a:lnTo>
                  <a:lnTo>
                    <a:pt x="85" y="276"/>
                  </a:lnTo>
                  <a:lnTo>
                    <a:pt x="85" y="260"/>
                  </a:lnTo>
                  <a:lnTo>
                    <a:pt x="64" y="243"/>
                  </a:lnTo>
                  <a:lnTo>
                    <a:pt x="69" y="234"/>
                  </a:lnTo>
                  <a:lnTo>
                    <a:pt x="85" y="234"/>
                  </a:lnTo>
                  <a:lnTo>
                    <a:pt x="102" y="205"/>
                  </a:lnTo>
                  <a:lnTo>
                    <a:pt x="102" y="177"/>
                  </a:lnTo>
                  <a:lnTo>
                    <a:pt x="102" y="172"/>
                  </a:lnTo>
                  <a:lnTo>
                    <a:pt x="106" y="172"/>
                  </a:lnTo>
                  <a:lnTo>
                    <a:pt x="85" y="168"/>
                  </a:lnTo>
                  <a:lnTo>
                    <a:pt x="85" y="168"/>
                  </a:lnTo>
                  <a:lnTo>
                    <a:pt x="97" y="139"/>
                  </a:lnTo>
                  <a:lnTo>
                    <a:pt x="102" y="132"/>
                  </a:lnTo>
                  <a:lnTo>
                    <a:pt x="156" y="132"/>
                  </a:lnTo>
                  <a:lnTo>
                    <a:pt x="161" y="149"/>
                  </a:lnTo>
                  <a:lnTo>
                    <a:pt x="156" y="149"/>
                  </a:lnTo>
                  <a:lnTo>
                    <a:pt x="161" y="156"/>
                  </a:lnTo>
                  <a:lnTo>
                    <a:pt x="173" y="156"/>
                  </a:lnTo>
                  <a:lnTo>
                    <a:pt x="177" y="149"/>
                  </a:lnTo>
                  <a:lnTo>
                    <a:pt x="173" y="149"/>
                  </a:lnTo>
                  <a:lnTo>
                    <a:pt x="173" y="139"/>
                  </a:lnTo>
                  <a:lnTo>
                    <a:pt x="177" y="139"/>
                  </a:lnTo>
                  <a:lnTo>
                    <a:pt x="189" y="149"/>
                  </a:lnTo>
                  <a:lnTo>
                    <a:pt x="189" y="168"/>
                  </a:lnTo>
                  <a:lnTo>
                    <a:pt x="194" y="149"/>
                  </a:lnTo>
                  <a:lnTo>
                    <a:pt x="189" y="132"/>
                  </a:lnTo>
                  <a:lnTo>
                    <a:pt x="203" y="116"/>
                  </a:lnTo>
                  <a:lnTo>
                    <a:pt x="241" y="116"/>
                  </a:lnTo>
                  <a:lnTo>
                    <a:pt x="265" y="139"/>
                  </a:lnTo>
                  <a:lnTo>
                    <a:pt x="279" y="149"/>
                  </a:lnTo>
                  <a:lnTo>
                    <a:pt x="265" y="139"/>
                  </a:lnTo>
                  <a:lnTo>
                    <a:pt x="248" y="116"/>
                  </a:lnTo>
                  <a:lnTo>
                    <a:pt x="215" y="111"/>
                  </a:lnTo>
                  <a:lnTo>
                    <a:pt x="210" y="99"/>
                  </a:lnTo>
                  <a:lnTo>
                    <a:pt x="227" y="94"/>
                  </a:lnTo>
                  <a:lnTo>
                    <a:pt x="210" y="83"/>
                  </a:lnTo>
                  <a:lnTo>
                    <a:pt x="215" y="78"/>
                  </a:lnTo>
                  <a:lnTo>
                    <a:pt x="203" y="78"/>
                  </a:lnTo>
                  <a:lnTo>
                    <a:pt x="194" y="66"/>
                  </a:lnTo>
                  <a:lnTo>
                    <a:pt x="227" y="57"/>
                  </a:lnTo>
                  <a:lnTo>
                    <a:pt x="194" y="12"/>
                  </a:lnTo>
                  <a:lnTo>
                    <a:pt x="173" y="12"/>
                  </a:lnTo>
                  <a:lnTo>
                    <a:pt x="173" y="28"/>
                  </a:lnTo>
                  <a:lnTo>
                    <a:pt x="177" y="0"/>
                  </a:lnTo>
                  <a:lnTo>
                    <a:pt x="189" y="0"/>
                  </a:lnTo>
                  <a:lnTo>
                    <a:pt x="177" y="5"/>
                  </a:lnTo>
                  <a:lnTo>
                    <a:pt x="189" y="12"/>
                  </a:lnTo>
                  <a:lnTo>
                    <a:pt x="203" y="12"/>
                  </a:lnTo>
                  <a:lnTo>
                    <a:pt x="258" y="24"/>
                  </a:lnTo>
                  <a:lnTo>
                    <a:pt x="295" y="28"/>
                  </a:lnTo>
                  <a:lnTo>
                    <a:pt x="295" y="45"/>
                  </a:lnTo>
                  <a:lnTo>
                    <a:pt x="286" y="61"/>
                  </a:lnTo>
                  <a:lnTo>
                    <a:pt x="302" y="57"/>
                  </a:lnTo>
                  <a:lnTo>
                    <a:pt x="340" y="66"/>
                  </a:lnTo>
                  <a:lnTo>
                    <a:pt x="371" y="66"/>
                  </a:lnTo>
                  <a:lnTo>
                    <a:pt x="371" y="83"/>
                  </a:lnTo>
                  <a:lnTo>
                    <a:pt x="350" y="99"/>
                  </a:lnTo>
                  <a:lnTo>
                    <a:pt x="354" y="99"/>
                  </a:lnTo>
                  <a:lnTo>
                    <a:pt x="350" y="116"/>
                  </a:lnTo>
                  <a:lnTo>
                    <a:pt x="371" y="99"/>
                  </a:lnTo>
                  <a:lnTo>
                    <a:pt x="392" y="111"/>
                  </a:lnTo>
                  <a:lnTo>
                    <a:pt x="409" y="83"/>
                  </a:lnTo>
                  <a:lnTo>
                    <a:pt x="442" y="83"/>
                  </a:lnTo>
                  <a:lnTo>
                    <a:pt x="475" y="57"/>
                  </a:lnTo>
                  <a:lnTo>
                    <a:pt x="501" y="61"/>
                  </a:lnTo>
                  <a:lnTo>
                    <a:pt x="463" y="61"/>
                  </a:lnTo>
                  <a:lnTo>
                    <a:pt x="458" y="78"/>
                  </a:lnTo>
                  <a:lnTo>
                    <a:pt x="475" y="66"/>
                  </a:lnTo>
                  <a:lnTo>
                    <a:pt x="501" y="61"/>
                  </a:lnTo>
                  <a:lnTo>
                    <a:pt x="534" y="94"/>
                  </a:lnTo>
                  <a:lnTo>
                    <a:pt x="555" y="83"/>
                  </a:lnTo>
                  <a:lnTo>
                    <a:pt x="567" y="111"/>
                  </a:lnTo>
                  <a:lnTo>
                    <a:pt x="567" y="116"/>
                  </a:lnTo>
                  <a:lnTo>
                    <a:pt x="593" y="132"/>
                  </a:lnTo>
                  <a:lnTo>
                    <a:pt x="605" y="168"/>
                  </a:lnTo>
                  <a:lnTo>
                    <a:pt x="605" y="189"/>
                  </a:lnTo>
                  <a:lnTo>
                    <a:pt x="588" y="205"/>
                  </a:lnTo>
                  <a:lnTo>
                    <a:pt x="588" y="210"/>
                  </a:lnTo>
                  <a:lnTo>
                    <a:pt x="619" y="243"/>
                  </a:lnTo>
                  <a:lnTo>
                    <a:pt x="610" y="260"/>
                  </a:lnTo>
                  <a:lnTo>
                    <a:pt x="626" y="276"/>
                  </a:lnTo>
                  <a:lnTo>
                    <a:pt x="626" y="288"/>
                  </a:lnTo>
                  <a:lnTo>
                    <a:pt x="619" y="317"/>
                  </a:lnTo>
                  <a:lnTo>
                    <a:pt x="626" y="333"/>
                  </a:lnTo>
                  <a:lnTo>
                    <a:pt x="626" y="345"/>
                  </a:lnTo>
                  <a:lnTo>
                    <a:pt x="643" y="345"/>
                  </a:lnTo>
                  <a:lnTo>
                    <a:pt x="647" y="371"/>
                  </a:lnTo>
                  <a:lnTo>
                    <a:pt x="636" y="411"/>
                  </a:lnTo>
                  <a:lnTo>
                    <a:pt x="619" y="411"/>
                  </a:lnTo>
                  <a:lnTo>
                    <a:pt x="610" y="394"/>
                  </a:lnTo>
                  <a:lnTo>
                    <a:pt x="593" y="387"/>
                  </a:lnTo>
                  <a:lnTo>
                    <a:pt x="593" y="394"/>
                  </a:lnTo>
                  <a:lnTo>
                    <a:pt x="605" y="399"/>
                  </a:lnTo>
                  <a:lnTo>
                    <a:pt x="593" y="399"/>
                  </a:lnTo>
                  <a:lnTo>
                    <a:pt x="539" y="416"/>
                  </a:lnTo>
                  <a:lnTo>
                    <a:pt x="501" y="449"/>
                  </a:lnTo>
                  <a:lnTo>
                    <a:pt x="501" y="449"/>
                  </a:lnTo>
                  <a:lnTo>
                    <a:pt x="501" y="449"/>
                  </a:lnTo>
                  <a:close/>
                  <a:moveTo>
                    <a:pt x="194" y="40"/>
                  </a:moveTo>
                  <a:lnTo>
                    <a:pt x="177" y="28"/>
                  </a:lnTo>
                  <a:lnTo>
                    <a:pt x="194" y="28"/>
                  </a:lnTo>
                  <a:lnTo>
                    <a:pt x="194" y="40"/>
                  </a:lnTo>
                  <a:lnTo>
                    <a:pt x="194" y="40"/>
                  </a:lnTo>
                  <a:lnTo>
                    <a:pt x="194" y="40"/>
                  </a:lnTo>
                  <a:close/>
                  <a:moveTo>
                    <a:pt x="177" y="45"/>
                  </a:moveTo>
                  <a:lnTo>
                    <a:pt x="173" y="40"/>
                  </a:lnTo>
                  <a:lnTo>
                    <a:pt x="177" y="28"/>
                  </a:lnTo>
                  <a:lnTo>
                    <a:pt x="177" y="45"/>
                  </a:lnTo>
                  <a:lnTo>
                    <a:pt x="177" y="45"/>
                  </a:lnTo>
                  <a:lnTo>
                    <a:pt x="177" y="45"/>
                  </a:lnTo>
                  <a:close/>
                  <a:moveTo>
                    <a:pt x="529" y="78"/>
                  </a:moveTo>
                  <a:lnTo>
                    <a:pt x="534" y="78"/>
                  </a:lnTo>
                  <a:lnTo>
                    <a:pt x="513" y="66"/>
                  </a:lnTo>
                  <a:lnTo>
                    <a:pt x="529" y="61"/>
                  </a:lnTo>
                  <a:lnTo>
                    <a:pt x="517" y="45"/>
                  </a:lnTo>
                  <a:lnTo>
                    <a:pt x="539" y="57"/>
                  </a:lnTo>
                  <a:lnTo>
                    <a:pt x="534" y="45"/>
                  </a:lnTo>
                  <a:lnTo>
                    <a:pt x="517" y="45"/>
                  </a:lnTo>
                  <a:lnTo>
                    <a:pt x="517" y="40"/>
                  </a:lnTo>
                  <a:lnTo>
                    <a:pt x="534" y="40"/>
                  </a:lnTo>
                  <a:lnTo>
                    <a:pt x="534" y="45"/>
                  </a:lnTo>
                  <a:lnTo>
                    <a:pt x="551" y="45"/>
                  </a:lnTo>
                  <a:lnTo>
                    <a:pt x="539" y="61"/>
                  </a:lnTo>
                  <a:lnTo>
                    <a:pt x="555" y="78"/>
                  </a:lnTo>
                  <a:lnTo>
                    <a:pt x="551" y="66"/>
                  </a:lnTo>
                  <a:lnTo>
                    <a:pt x="539" y="66"/>
                  </a:lnTo>
                  <a:lnTo>
                    <a:pt x="529" y="78"/>
                  </a:lnTo>
                  <a:lnTo>
                    <a:pt x="529" y="78"/>
                  </a:lnTo>
                  <a:lnTo>
                    <a:pt x="529" y="78"/>
                  </a:lnTo>
                  <a:close/>
                  <a:moveTo>
                    <a:pt x="203" y="57"/>
                  </a:moveTo>
                  <a:lnTo>
                    <a:pt x="194" y="57"/>
                  </a:lnTo>
                  <a:lnTo>
                    <a:pt x="203" y="45"/>
                  </a:lnTo>
                  <a:lnTo>
                    <a:pt x="203" y="57"/>
                  </a:lnTo>
                  <a:lnTo>
                    <a:pt x="203" y="57"/>
                  </a:lnTo>
                  <a:lnTo>
                    <a:pt x="203" y="57"/>
                  </a:lnTo>
                  <a:close/>
                  <a:moveTo>
                    <a:pt x="378" y="61"/>
                  </a:moveTo>
                  <a:lnTo>
                    <a:pt x="388" y="61"/>
                  </a:lnTo>
                  <a:lnTo>
                    <a:pt x="366" y="61"/>
                  </a:lnTo>
                  <a:lnTo>
                    <a:pt x="371" y="57"/>
                  </a:lnTo>
                  <a:lnTo>
                    <a:pt x="378" y="61"/>
                  </a:lnTo>
                  <a:lnTo>
                    <a:pt x="378" y="61"/>
                  </a:lnTo>
                  <a:lnTo>
                    <a:pt x="378" y="61"/>
                  </a:lnTo>
                  <a:close/>
                  <a:moveTo>
                    <a:pt x="588" y="111"/>
                  </a:moveTo>
                  <a:lnTo>
                    <a:pt x="588" y="116"/>
                  </a:lnTo>
                  <a:lnTo>
                    <a:pt x="567" y="116"/>
                  </a:lnTo>
                  <a:lnTo>
                    <a:pt x="581" y="99"/>
                  </a:lnTo>
                  <a:lnTo>
                    <a:pt x="572" y="94"/>
                  </a:lnTo>
                  <a:lnTo>
                    <a:pt x="567" y="99"/>
                  </a:lnTo>
                  <a:lnTo>
                    <a:pt x="555" y="83"/>
                  </a:lnTo>
                  <a:lnTo>
                    <a:pt x="588" y="111"/>
                  </a:lnTo>
                  <a:lnTo>
                    <a:pt x="588" y="111"/>
                  </a:lnTo>
                  <a:lnTo>
                    <a:pt x="588" y="111"/>
                  </a:lnTo>
                  <a:close/>
                  <a:moveTo>
                    <a:pt x="392" y="111"/>
                  </a:moveTo>
                  <a:lnTo>
                    <a:pt x="388" y="99"/>
                  </a:lnTo>
                  <a:lnTo>
                    <a:pt x="392" y="99"/>
                  </a:lnTo>
                  <a:lnTo>
                    <a:pt x="392" y="111"/>
                  </a:lnTo>
                  <a:lnTo>
                    <a:pt x="392" y="111"/>
                  </a:lnTo>
                  <a:lnTo>
                    <a:pt x="392" y="111"/>
                  </a:lnTo>
                  <a:close/>
                  <a:moveTo>
                    <a:pt x="64" y="149"/>
                  </a:moveTo>
                  <a:lnTo>
                    <a:pt x="64" y="139"/>
                  </a:lnTo>
                  <a:lnTo>
                    <a:pt x="69" y="139"/>
                  </a:lnTo>
                  <a:lnTo>
                    <a:pt x="64" y="149"/>
                  </a:lnTo>
                  <a:lnTo>
                    <a:pt x="64" y="149"/>
                  </a:lnTo>
                  <a:lnTo>
                    <a:pt x="64" y="14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5" name="Freeform 454">
              <a:extLst>
                <a:ext uri="{FF2B5EF4-FFF2-40B4-BE49-F238E27FC236}">
                  <a16:creationId xmlns:a16="http://schemas.microsoft.com/office/drawing/2014/main" id="{6D0C8971-F80E-4A2D-B7EB-B89F134DD2CD}"/>
                </a:ext>
              </a:extLst>
            </p:cNvPr>
            <p:cNvSpPr>
              <a:spLocks noEditPoints="1"/>
            </p:cNvSpPr>
            <p:nvPr/>
          </p:nvSpPr>
          <p:spPr bwMode="gray">
            <a:xfrm>
              <a:off x="12295550" y="3682374"/>
              <a:ext cx="43203" cy="54004"/>
            </a:xfrm>
            <a:custGeom>
              <a:avLst/>
              <a:gdLst>
                <a:gd name="T0" fmla="*/ 5 w 132"/>
                <a:gd name="T1" fmla="*/ 5 h 165"/>
                <a:gd name="T2" fmla="*/ 0 w 132"/>
                <a:gd name="T3" fmla="*/ 5 h 165"/>
                <a:gd name="T4" fmla="*/ 5 w 132"/>
                <a:gd name="T5" fmla="*/ 0 h 165"/>
                <a:gd name="T6" fmla="*/ 5 w 132"/>
                <a:gd name="T7" fmla="*/ 5 h 165"/>
                <a:gd name="T8" fmla="*/ 5 w 132"/>
                <a:gd name="T9" fmla="*/ 5 h 165"/>
                <a:gd name="T10" fmla="*/ 5 w 132"/>
                <a:gd name="T11" fmla="*/ 5 h 165"/>
                <a:gd name="T12" fmla="*/ 21 w 132"/>
                <a:gd name="T13" fmla="*/ 16 h 165"/>
                <a:gd name="T14" fmla="*/ 12 w 132"/>
                <a:gd name="T15" fmla="*/ 16 h 165"/>
                <a:gd name="T16" fmla="*/ 21 w 132"/>
                <a:gd name="T17" fmla="*/ 16 h 165"/>
                <a:gd name="T18" fmla="*/ 21 w 132"/>
                <a:gd name="T19" fmla="*/ 16 h 165"/>
                <a:gd name="T20" fmla="*/ 21 w 132"/>
                <a:gd name="T21" fmla="*/ 16 h 165"/>
                <a:gd name="T22" fmla="*/ 21 w 132"/>
                <a:gd name="T23" fmla="*/ 16 h 165"/>
                <a:gd name="T24" fmla="*/ 111 w 132"/>
                <a:gd name="T25" fmla="*/ 132 h 165"/>
                <a:gd name="T26" fmla="*/ 111 w 132"/>
                <a:gd name="T27" fmla="*/ 116 h 165"/>
                <a:gd name="T28" fmla="*/ 118 w 132"/>
                <a:gd name="T29" fmla="*/ 132 h 165"/>
                <a:gd name="T30" fmla="*/ 132 w 132"/>
                <a:gd name="T31" fmla="*/ 132 h 165"/>
                <a:gd name="T32" fmla="*/ 106 w 132"/>
                <a:gd name="T33" fmla="*/ 144 h 165"/>
                <a:gd name="T34" fmla="*/ 106 w 132"/>
                <a:gd name="T35" fmla="*/ 156 h 165"/>
                <a:gd name="T36" fmla="*/ 97 w 132"/>
                <a:gd name="T37" fmla="*/ 156 h 165"/>
                <a:gd name="T38" fmla="*/ 90 w 132"/>
                <a:gd name="T39" fmla="*/ 132 h 165"/>
                <a:gd name="T40" fmla="*/ 111 w 132"/>
                <a:gd name="T41" fmla="*/ 132 h 165"/>
                <a:gd name="T42" fmla="*/ 111 w 132"/>
                <a:gd name="T43" fmla="*/ 132 h 165"/>
                <a:gd name="T44" fmla="*/ 111 w 132"/>
                <a:gd name="T45" fmla="*/ 132 h 165"/>
                <a:gd name="T46" fmla="*/ 128 w 132"/>
                <a:gd name="T47" fmla="*/ 165 h 165"/>
                <a:gd name="T48" fmla="*/ 118 w 132"/>
                <a:gd name="T49" fmla="*/ 165 h 165"/>
                <a:gd name="T50" fmla="*/ 128 w 132"/>
                <a:gd name="T51" fmla="*/ 156 h 165"/>
                <a:gd name="T52" fmla="*/ 132 w 132"/>
                <a:gd name="T53" fmla="*/ 165 h 165"/>
                <a:gd name="T54" fmla="*/ 128 w 132"/>
                <a:gd name="T55" fmla="*/ 165 h 165"/>
                <a:gd name="T56" fmla="*/ 128 w 132"/>
                <a:gd name="T57" fmla="*/ 165 h 165"/>
                <a:gd name="T58" fmla="*/ 128 w 132"/>
                <a:gd name="T59"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2" h="165">
                  <a:moveTo>
                    <a:pt x="5" y="5"/>
                  </a:moveTo>
                  <a:lnTo>
                    <a:pt x="0" y="5"/>
                  </a:lnTo>
                  <a:lnTo>
                    <a:pt x="5" y="0"/>
                  </a:lnTo>
                  <a:lnTo>
                    <a:pt x="5" y="5"/>
                  </a:lnTo>
                  <a:lnTo>
                    <a:pt x="5" y="5"/>
                  </a:lnTo>
                  <a:lnTo>
                    <a:pt x="5" y="5"/>
                  </a:lnTo>
                  <a:close/>
                  <a:moveTo>
                    <a:pt x="21" y="16"/>
                  </a:moveTo>
                  <a:lnTo>
                    <a:pt x="12" y="16"/>
                  </a:lnTo>
                  <a:lnTo>
                    <a:pt x="21" y="16"/>
                  </a:lnTo>
                  <a:lnTo>
                    <a:pt x="21" y="16"/>
                  </a:lnTo>
                  <a:lnTo>
                    <a:pt x="21" y="16"/>
                  </a:lnTo>
                  <a:lnTo>
                    <a:pt x="21" y="16"/>
                  </a:lnTo>
                  <a:close/>
                  <a:moveTo>
                    <a:pt x="111" y="132"/>
                  </a:moveTo>
                  <a:lnTo>
                    <a:pt x="111" y="116"/>
                  </a:lnTo>
                  <a:lnTo>
                    <a:pt x="118" y="132"/>
                  </a:lnTo>
                  <a:lnTo>
                    <a:pt x="132" y="132"/>
                  </a:lnTo>
                  <a:lnTo>
                    <a:pt x="106" y="144"/>
                  </a:lnTo>
                  <a:lnTo>
                    <a:pt x="106" y="156"/>
                  </a:lnTo>
                  <a:lnTo>
                    <a:pt x="97" y="156"/>
                  </a:lnTo>
                  <a:lnTo>
                    <a:pt x="90" y="132"/>
                  </a:lnTo>
                  <a:lnTo>
                    <a:pt x="111" y="132"/>
                  </a:lnTo>
                  <a:lnTo>
                    <a:pt x="111" y="132"/>
                  </a:lnTo>
                  <a:lnTo>
                    <a:pt x="111" y="132"/>
                  </a:lnTo>
                  <a:close/>
                  <a:moveTo>
                    <a:pt x="128" y="165"/>
                  </a:moveTo>
                  <a:lnTo>
                    <a:pt x="118" y="165"/>
                  </a:lnTo>
                  <a:lnTo>
                    <a:pt x="128" y="156"/>
                  </a:lnTo>
                  <a:lnTo>
                    <a:pt x="132" y="165"/>
                  </a:lnTo>
                  <a:lnTo>
                    <a:pt x="128" y="165"/>
                  </a:lnTo>
                  <a:lnTo>
                    <a:pt x="128" y="165"/>
                  </a:lnTo>
                  <a:lnTo>
                    <a:pt x="128" y="165"/>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6" name="Freeform 455">
              <a:extLst>
                <a:ext uri="{FF2B5EF4-FFF2-40B4-BE49-F238E27FC236}">
                  <a16:creationId xmlns:a16="http://schemas.microsoft.com/office/drawing/2014/main" id="{5797A1A9-F561-4399-B56B-B0815769C1EC}"/>
                </a:ext>
              </a:extLst>
            </p:cNvPr>
            <p:cNvSpPr>
              <a:spLocks/>
            </p:cNvSpPr>
            <p:nvPr/>
          </p:nvSpPr>
          <p:spPr bwMode="gray">
            <a:xfrm>
              <a:off x="17064917" y="3791364"/>
              <a:ext cx="7201" cy="11455"/>
            </a:xfrm>
            <a:custGeom>
              <a:avLst/>
              <a:gdLst>
                <a:gd name="T0" fmla="*/ 7 w 22"/>
                <a:gd name="T1" fmla="*/ 35 h 35"/>
                <a:gd name="T2" fmla="*/ 0 w 22"/>
                <a:gd name="T3" fmla="*/ 19 h 35"/>
                <a:gd name="T4" fmla="*/ 17 w 22"/>
                <a:gd name="T5" fmla="*/ 0 h 35"/>
                <a:gd name="T6" fmla="*/ 22 w 22"/>
                <a:gd name="T7" fmla="*/ 0 h 35"/>
                <a:gd name="T8" fmla="*/ 7 w 22"/>
                <a:gd name="T9" fmla="*/ 35 h 35"/>
                <a:gd name="T10" fmla="*/ 7 w 22"/>
                <a:gd name="T11" fmla="*/ 35 h 35"/>
                <a:gd name="T12" fmla="*/ 7 w 22"/>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22" h="35">
                  <a:moveTo>
                    <a:pt x="7" y="35"/>
                  </a:moveTo>
                  <a:lnTo>
                    <a:pt x="0" y="19"/>
                  </a:lnTo>
                  <a:lnTo>
                    <a:pt x="17" y="0"/>
                  </a:lnTo>
                  <a:lnTo>
                    <a:pt x="22" y="0"/>
                  </a:lnTo>
                  <a:lnTo>
                    <a:pt x="7" y="35"/>
                  </a:lnTo>
                  <a:lnTo>
                    <a:pt x="7" y="35"/>
                  </a:lnTo>
                  <a:lnTo>
                    <a:pt x="7" y="35"/>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7" name="Freeform 456">
              <a:extLst>
                <a:ext uri="{FF2B5EF4-FFF2-40B4-BE49-F238E27FC236}">
                  <a16:creationId xmlns:a16="http://schemas.microsoft.com/office/drawing/2014/main" id="{44D76764-D0DA-4F32-B549-DA3AF35E0F6C}"/>
                </a:ext>
              </a:extLst>
            </p:cNvPr>
            <p:cNvSpPr>
              <a:spLocks noEditPoints="1"/>
            </p:cNvSpPr>
            <p:nvPr/>
          </p:nvSpPr>
          <p:spPr bwMode="gray">
            <a:xfrm>
              <a:off x="14197471" y="3070657"/>
              <a:ext cx="193432" cy="185577"/>
            </a:xfrm>
            <a:custGeom>
              <a:avLst/>
              <a:gdLst>
                <a:gd name="T0" fmla="*/ 76 w 591"/>
                <a:gd name="T1" fmla="*/ 111 h 567"/>
                <a:gd name="T2" fmla="*/ 227 w 591"/>
                <a:gd name="T3" fmla="*/ 29 h 567"/>
                <a:gd name="T4" fmla="*/ 484 w 591"/>
                <a:gd name="T5" fmla="*/ 7 h 567"/>
                <a:gd name="T6" fmla="*/ 350 w 591"/>
                <a:gd name="T7" fmla="*/ 69 h 567"/>
                <a:gd name="T8" fmla="*/ 324 w 591"/>
                <a:gd name="T9" fmla="*/ 135 h 567"/>
                <a:gd name="T10" fmla="*/ 274 w 591"/>
                <a:gd name="T11" fmla="*/ 123 h 567"/>
                <a:gd name="T12" fmla="*/ 227 w 591"/>
                <a:gd name="T13" fmla="*/ 102 h 567"/>
                <a:gd name="T14" fmla="*/ 220 w 591"/>
                <a:gd name="T15" fmla="*/ 213 h 567"/>
                <a:gd name="T16" fmla="*/ 307 w 591"/>
                <a:gd name="T17" fmla="*/ 300 h 567"/>
                <a:gd name="T18" fmla="*/ 253 w 591"/>
                <a:gd name="T19" fmla="*/ 357 h 567"/>
                <a:gd name="T20" fmla="*/ 215 w 591"/>
                <a:gd name="T21" fmla="*/ 345 h 567"/>
                <a:gd name="T22" fmla="*/ 189 w 591"/>
                <a:gd name="T23" fmla="*/ 452 h 567"/>
                <a:gd name="T24" fmla="*/ 135 w 591"/>
                <a:gd name="T25" fmla="*/ 374 h 567"/>
                <a:gd name="T26" fmla="*/ 227 w 591"/>
                <a:gd name="T27" fmla="*/ 317 h 567"/>
                <a:gd name="T28" fmla="*/ 128 w 591"/>
                <a:gd name="T29" fmla="*/ 284 h 567"/>
                <a:gd name="T30" fmla="*/ 76 w 591"/>
                <a:gd name="T31" fmla="*/ 222 h 567"/>
                <a:gd name="T32" fmla="*/ 21 w 591"/>
                <a:gd name="T33" fmla="*/ 173 h 567"/>
                <a:gd name="T34" fmla="*/ 345 w 591"/>
                <a:gd name="T35" fmla="*/ 95 h 567"/>
                <a:gd name="T36" fmla="*/ 413 w 591"/>
                <a:gd name="T37" fmla="*/ 102 h 567"/>
                <a:gd name="T38" fmla="*/ 397 w 591"/>
                <a:gd name="T39" fmla="*/ 140 h 567"/>
                <a:gd name="T40" fmla="*/ 26 w 591"/>
                <a:gd name="T41" fmla="*/ 196 h 567"/>
                <a:gd name="T42" fmla="*/ 468 w 591"/>
                <a:gd name="T43" fmla="*/ 206 h 567"/>
                <a:gd name="T44" fmla="*/ 468 w 591"/>
                <a:gd name="T45" fmla="*/ 206 h 567"/>
                <a:gd name="T46" fmla="*/ 258 w 591"/>
                <a:gd name="T47" fmla="*/ 222 h 567"/>
                <a:gd name="T48" fmla="*/ 274 w 591"/>
                <a:gd name="T49" fmla="*/ 279 h 567"/>
                <a:gd name="T50" fmla="*/ 333 w 591"/>
                <a:gd name="T51" fmla="*/ 300 h 567"/>
                <a:gd name="T52" fmla="*/ 333 w 591"/>
                <a:gd name="T53" fmla="*/ 230 h 567"/>
                <a:gd name="T54" fmla="*/ 59 w 591"/>
                <a:gd name="T55" fmla="*/ 246 h 567"/>
                <a:gd name="T56" fmla="*/ 404 w 591"/>
                <a:gd name="T57" fmla="*/ 267 h 567"/>
                <a:gd name="T58" fmla="*/ 442 w 591"/>
                <a:gd name="T59" fmla="*/ 300 h 567"/>
                <a:gd name="T60" fmla="*/ 59 w 591"/>
                <a:gd name="T61" fmla="*/ 279 h 567"/>
                <a:gd name="T62" fmla="*/ 350 w 591"/>
                <a:gd name="T63" fmla="*/ 317 h 567"/>
                <a:gd name="T64" fmla="*/ 64 w 591"/>
                <a:gd name="T65" fmla="*/ 324 h 567"/>
                <a:gd name="T66" fmla="*/ 489 w 591"/>
                <a:gd name="T67" fmla="*/ 333 h 567"/>
                <a:gd name="T68" fmla="*/ 258 w 591"/>
                <a:gd name="T69" fmla="*/ 341 h 567"/>
                <a:gd name="T70" fmla="*/ 435 w 591"/>
                <a:gd name="T71" fmla="*/ 357 h 567"/>
                <a:gd name="T72" fmla="*/ 383 w 591"/>
                <a:gd name="T73" fmla="*/ 345 h 567"/>
                <a:gd name="T74" fmla="*/ 366 w 591"/>
                <a:gd name="T75" fmla="*/ 362 h 567"/>
                <a:gd name="T76" fmla="*/ 397 w 591"/>
                <a:gd name="T77" fmla="*/ 362 h 567"/>
                <a:gd name="T78" fmla="*/ 333 w 591"/>
                <a:gd name="T79" fmla="*/ 390 h 567"/>
                <a:gd name="T80" fmla="*/ 387 w 591"/>
                <a:gd name="T81" fmla="*/ 390 h 567"/>
                <a:gd name="T82" fmla="*/ 387 w 591"/>
                <a:gd name="T83" fmla="*/ 390 h 567"/>
                <a:gd name="T84" fmla="*/ 506 w 591"/>
                <a:gd name="T85" fmla="*/ 402 h 567"/>
                <a:gd name="T86" fmla="*/ 376 w 591"/>
                <a:gd name="T87" fmla="*/ 402 h 567"/>
                <a:gd name="T88" fmla="*/ 510 w 591"/>
                <a:gd name="T89" fmla="*/ 411 h 567"/>
                <a:gd name="T90" fmla="*/ 435 w 591"/>
                <a:gd name="T91" fmla="*/ 411 h 567"/>
                <a:gd name="T92" fmla="*/ 397 w 591"/>
                <a:gd name="T93" fmla="*/ 428 h 567"/>
                <a:gd name="T94" fmla="*/ 324 w 591"/>
                <a:gd name="T95" fmla="*/ 428 h 567"/>
                <a:gd name="T96" fmla="*/ 458 w 591"/>
                <a:gd name="T97" fmla="*/ 435 h 567"/>
                <a:gd name="T98" fmla="*/ 404 w 591"/>
                <a:gd name="T99" fmla="*/ 444 h 567"/>
                <a:gd name="T100" fmla="*/ 539 w 591"/>
                <a:gd name="T101" fmla="*/ 452 h 567"/>
                <a:gd name="T102" fmla="*/ 591 w 591"/>
                <a:gd name="T103" fmla="*/ 444 h 567"/>
                <a:gd name="T104" fmla="*/ 421 w 591"/>
                <a:gd name="T105" fmla="*/ 452 h 567"/>
                <a:gd name="T106" fmla="*/ 522 w 591"/>
                <a:gd name="T107" fmla="*/ 529 h 567"/>
                <a:gd name="T108" fmla="*/ 269 w 591"/>
                <a:gd name="T109" fmla="*/ 513 h 567"/>
                <a:gd name="T110" fmla="*/ 397 w 591"/>
                <a:gd name="T111" fmla="*/ 539 h 567"/>
                <a:gd name="T112" fmla="*/ 350 w 591"/>
                <a:gd name="T113" fmla="*/ 567 h 567"/>
                <a:gd name="T114" fmla="*/ 510 w 591"/>
                <a:gd name="T115" fmla="*/ 522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91" h="567">
                  <a:moveTo>
                    <a:pt x="21" y="173"/>
                  </a:moveTo>
                  <a:lnTo>
                    <a:pt x="38" y="173"/>
                  </a:lnTo>
                  <a:lnTo>
                    <a:pt x="43" y="168"/>
                  </a:lnTo>
                  <a:lnTo>
                    <a:pt x="38" y="168"/>
                  </a:lnTo>
                  <a:lnTo>
                    <a:pt x="54" y="156"/>
                  </a:lnTo>
                  <a:lnTo>
                    <a:pt x="43" y="152"/>
                  </a:lnTo>
                  <a:lnTo>
                    <a:pt x="64" y="135"/>
                  </a:lnTo>
                  <a:lnTo>
                    <a:pt x="76" y="111"/>
                  </a:lnTo>
                  <a:lnTo>
                    <a:pt x="92" y="95"/>
                  </a:lnTo>
                  <a:lnTo>
                    <a:pt x="92" y="69"/>
                  </a:lnTo>
                  <a:lnTo>
                    <a:pt x="128" y="69"/>
                  </a:lnTo>
                  <a:lnTo>
                    <a:pt x="144" y="62"/>
                  </a:lnTo>
                  <a:lnTo>
                    <a:pt x="161" y="45"/>
                  </a:lnTo>
                  <a:lnTo>
                    <a:pt x="215" y="45"/>
                  </a:lnTo>
                  <a:lnTo>
                    <a:pt x="215" y="29"/>
                  </a:lnTo>
                  <a:lnTo>
                    <a:pt x="227" y="29"/>
                  </a:lnTo>
                  <a:lnTo>
                    <a:pt x="274" y="29"/>
                  </a:lnTo>
                  <a:lnTo>
                    <a:pt x="324" y="12"/>
                  </a:lnTo>
                  <a:lnTo>
                    <a:pt x="387" y="41"/>
                  </a:lnTo>
                  <a:lnTo>
                    <a:pt x="451" y="29"/>
                  </a:lnTo>
                  <a:lnTo>
                    <a:pt x="451" y="12"/>
                  </a:lnTo>
                  <a:lnTo>
                    <a:pt x="442" y="0"/>
                  </a:lnTo>
                  <a:lnTo>
                    <a:pt x="468" y="0"/>
                  </a:lnTo>
                  <a:lnTo>
                    <a:pt x="484" y="7"/>
                  </a:lnTo>
                  <a:lnTo>
                    <a:pt x="484" y="29"/>
                  </a:lnTo>
                  <a:lnTo>
                    <a:pt x="458" y="41"/>
                  </a:lnTo>
                  <a:lnTo>
                    <a:pt x="468" y="62"/>
                  </a:lnTo>
                  <a:lnTo>
                    <a:pt x="442" y="85"/>
                  </a:lnTo>
                  <a:lnTo>
                    <a:pt x="442" y="78"/>
                  </a:lnTo>
                  <a:lnTo>
                    <a:pt x="383" y="62"/>
                  </a:lnTo>
                  <a:lnTo>
                    <a:pt x="383" y="62"/>
                  </a:lnTo>
                  <a:lnTo>
                    <a:pt x="350" y="69"/>
                  </a:lnTo>
                  <a:lnTo>
                    <a:pt x="328" y="62"/>
                  </a:lnTo>
                  <a:lnTo>
                    <a:pt x="307" y="85"/>
                  </a:lnTo>
                  <a:lnTo>
                    <a:pt x="279" y="78"/>
                  </a:lnTo>
                  <a:lnTo>
                    <a:pt x="274" y="85"/>
                  </a:lnTo>
                  <a:lnTo>
                    <a:pt x="291" y="111"/>
                  </a:lnTo>
                  <a:lnTo>
                    <a:pt x="312" y="118"/>
                  </a:lnTo>
                  <a:lnTo>
                    <a:pt x="328" y="135"/>
                  </a:lnTo>
                  <a:lnTo>
                    <a:pt x="324" y="135"/>
                  </a:lnTo>
                  <a:lnTo>
                    <a:pt x="312" y="118"/>
                  </a:lnTo>
                  <a:lnTo>
                    <a:pt x="291" y="118"/>
                  </a:lnTo>
                  <a:lnTo>
                    <a:pt x="279" y="118"/>
                  </a:lnTo>
                  <a:lnTo>
                    <a:pt x="279" y="123"/>
                  </a:lnTo>
                  <a:lnTo>
                    <a:pt x="295" y="135"/>
                  </a:lnTo>
                  <a:lnTo>
                    <a:pt x="295" y="140"/>
                  </a:lnTo>
                  <a:lnTo>
                    <a:pt x="295" y="152"/>
                  </a:lnTo>
                  <a:lnTo>
                    <a:pt x="274" y="123"/>
                  </a:lnTo>
                  <a:lnTo>
                    <a:pt x="253" y="123"/>
                  </a:lnTo>
                  <a:lnTo>
                    <a:pt x="253" y="135"/>
                  </a:lnTo>
                  <a:lnTo>
                    <a:pt x="279" y="152"/>
                  </a:lnTo>
                  <a:lnTo>
                    <a:pt x="258" y="152"/>
                  </a:lnTo>
                  <a:lnTo>
                    <a:pt x="253" y="123"/>
                  </a:lnTo>
                  <a:lnTo>
                    <a:pt x="220" y="111"/>
                  </a:lnTo>
                  <a:lnTo>
                    <a:pt x="220" y="102"/>
                  </a:lnTo>
                  <a:lnTo>
                    <a:pt x="227" y="102"/>
                  </a:lnTo>
                  <a:lnTo>
                    <a:pt x="227" y="95"/>
                  </a:lnTo>
                  <a:lnTo>
                    <a:pt x="199" y="102"/>
                  </a:lnTo>
                  <a:lnTo>
                    <a:pt x="199" y="140"/>
                  </a:lnTo>
                  <a:lnTo>
                    <a:pt x="253" y="213"/>
                  </a:lnTo>
                  <a:lnTo>
                    <a:pt x="236" y="222"/>
                  </a:lnTo>
                  <a:lnTo>
                    <a:pt x="241" y="213"/>
                  </a:lnTo>
                  <a:lnTo>
                    <a:pt x="227" y="196"/>
                  </a:lnTo>
                  <a:lnTo>
                    <a:pt x="220" y="213"/>
                  </a:lnTo>
                  <a:lnTo>
                    <a:pt x="236" y="230"/>
                  </a:lnTo>
                  <a:lnTo>
                    <a:pt x="220" y="234"/>
                  </a:lnTo>
                  <a:lnTo>
                    <a:pt x="199" y="246"/>
                  </a:lnTo>
                  <a:lnTo>
                    <a:pt x="227" y="251"/>
                  </a:lnTo>
                  <a:lnTo>
                    <a:pt x="236" y="263"/>
                  </a:lnTo>
                  <a:lnTo>
                    <a:pt x="253" y="263"/>
                  </a:lnTo>
                  <a:lnTo>
                    <a:pt x="253" y="267"/>
                  </a:lnTo>
                  <a:lnTo>
                    <a:pt x="307" y="300"/>
                  </a:lnTo>
                  <a:lnTo>
                    <a:pt x="295" y="307"/>
                  </a:lnTo>
                  <a:lnTo>
                    <a:pt x="307" y="333"/>
                  </a:lnTo>
                  <a:lnTo>
                    <a:pt x="295" y="341"/>
                  </a:lnTo>
                  <a:lnTo>
                    <a:pt x="269" y="307"/>
                  </a:lnTo>
                  <a:lnTo>
                    <a:pt x="227" y="324"/>
                  </a:lnTo>
                  <a:lnTo>
                    <a:pt x="236" y="324"/>
                  </a:lnTo>
                  <a:lnTo>
                    <a:pt x="241" y="345"/>
                  </a:lnTo>
                  <a:lnTo>
                    <a:pt x="253" y="357"/>
                  </a:lnTo>
                  <a:lnTo>
                    <a:pt x="253" y="345"/>
                  </a:lnTo>
                  <a:lnTo>
                    <a:pt x="258" y="345"/>
                  </a:lnTo>
                  <a:lnTo>
                    <a:pt x="269" y="362"/>
                  </a:lnTo>
                  <a:lnTo>
                    <a:pt x="253" y="362"/>
                  </a:lnTo>
                  <a:lnTo>
                    <a:pt x="241" y="374"/>
                  </a:lnTo>
                  <a:lnTo>
                    <a:pt x="236" y="362"/>
                  </a:lnTo>
                  <a:lnTo>
                    <a:pt x="236" y="362"/>
                  </a:lnTo>
                  <a:lnTo>
                    <a:pt x="215" y="345"/>
                  </a:lnTo>
                  <a:lnTo>
                    <a:pt x="236" y="418"/>
                  </a:lnTo>
                  <a:lnTo>
                    <a:pt x="227" y="428"/>
                  </a:lnTo>
                  <a:lnTo>
                    <a:pt x="241" y="444"/>
                  </a:lnTo>
                  <a:lnTo>
                    <a:pt x="227" y="435"/>
                  </a:lnTo>
                  <a:lnTo>
                    <a:pt x="215" y="411"/>
                  </a:lnTo>
                  <a:lnTo>
                    <a:pt x="203" y="411"/>
                  </a:lnTo>
                  <a:lnTo>
                    <a:pt x="189" y="428"/>
                  </a:lnTo>
                  <a:lnTo>
                    <a:pt x="189" y="452"/>
                  </a:lnTo>
                  <a:lnTo>
                    <a:pt x="165" y="395"/>
                  </a:lnTo>
                  <a:lnTo>
                    <a:pt x="151" y="395"/>
                  </a:lnTo>
                  <a:lnTo>
                    <a:pt x="161" y="411"/>
                  </a:lnTo>
                  <a:lnTo>
                    <a:pt x="151" y="418"/>
                  </a:lnTo>
                  <a:lnTo>
                    <a:pt x="135" y="411"/>
                  </a:lnTo>
                  <a:lnTo>
                    <a:pt x="135" y="402"/>
                  </a:lnTo>
                  <a:lnTo>
                    <a:pt x="128" y="390"/>
                  </a:lnTo>
                  <a:lnTo>
                    <a:pt x="135" y="374"/>
                  </a:lnTo>
                  <a:lnTo>
                    <a:pt x="135" y="362"/>
                  </a:lnTo>
                  <a:lnTo>
                    <a:pt x="97" y="324"/>
                  </a:lnTo>
                  <a:lnTo>
                    <a:pt x="113" y="307"/>
                  </a:lnTo>
                  <a:lnTo>
                    <a:pt x="113" y="291"/>
                  </a:lnTo>
                  <a:lnTo>
                    <a:pt x="135" y="300"/>
                  </a:lnTo>
                  <a:lnTo>
                    <a:pt x="151" y="284"/>
                  </a:lnTo>
                  <a:lnTo>
                    <a:pt x="220" y="317"/>
                  </a:lnTo>
                  <a:lnTo>
                    <a:pt x="227" y="317"/>
                  </a:lnTo>
                  <a:lnTo>
                    <a:pt x="220" y="307"/>
                  </a:lnTo>
                  <a:lnTo>
                    <a:pt x="241" y="307"/>
                  </a:lnTo>
                  <a:lnTo>
                    <a:pt x="241" y="300"/>
                  </a:lnTo>
                  <a:lnTo>
                    <a:pt x="215" y="291"/>
                  </a:lnTo>
                  <a:lnTo>
                    <a:pt x="189" y="279"/>
                  </a:lnTo>
                  <a:lnTo>
                    <a:pt x="182" y="284"/>
                  </a:lnTo>
                  <a:lnTo>
                    <a:pt x="161" y="279"/>
                  </a:lnTo>
                  <a:lnTo>
                    <a:pt x="128" y="284"/>
                  </a:lnTo>
                  <a:lnTo>
                    <a:pt x="113" y="279"/>
                  </a:lnTo>
                  <a:lnTo>
                    <a:pt x="97" y="284"/>
                  </a:lnTo>
                  <a:lnTo>
                    <a:pt x="92" y="263"/>
                  </a:lnTo>
                  <a:lnTo>
                    <a:pt x="64" y="246"/>
                  </a:lnTo>
                  <a:lnTo>
                    <a:pt x="76" y="234"/>
                  </a:lnTo>
                  <a:lnTo>
                    <a:pt x="97" y="246"/>
                  </a:lnTo>
                  <a:lnTo>
                    <a:pt x="97" y="230"/>
                  </a:lnTo>
                  <a:lnTo>
                    <a:pt x="76" y="222"/>
                  </a:lnTo>
                  <a:lnTo>
                    <a:pt x="76" y="230"/>
                  </a:lnTo>
                  <a:lnTo>
                    <a:pt x="76" y="234"/>
                  </a:lnTo>
                  <a:lnTo>
                    <a:pt x="64" y="234"/>
                  </a:lnTo>
                  <a:lnTo>
                    <a:pt x="54" y="206"/>
                  </a:lnTo>
                  <a:lnTo>
                    <a:pt x="38" y="206"/>
                  </a:lnTo>
                  <a:lnTo>
                    <a:pt x="38" y="180"/>
                  </a:lnTo>
                  <a:lnTo>
                    <a:pt x="21" y="173"/>
                  </a:lnTo>
                  <a:lnTo>
                    <a:pt x="21" y="173"/>
                  </a:lnTo>
                  <a:lnTo>
                    <a:pt x="21" y="173"/>
                  </a:lnTo>
                  <a:close/>
                  <a:moveTo>
                    <a:pt x="345" y="95"/>
                  </a:moveTo>
                  <a:lnTo>
                    <a:pt x="333" y="85"/>
                  </a:lnTo>
                  <a:lnTo>
                    <a:pt x="345" y="78"/>
                  </a:lnTo>
                  <a:lnTo>
                    <a:pt x="350" y="78"/>
                  </a:lnTo>
                  <a:lnTo>
                    <a:pt x="350" y="95"/>
                  </a:lnTo>
                  <a:lnTo>
                    <a:pt x="345" y="95"/>
                  </a:lnTo>
                  <a:lnTo>
                    <a:pt x="345" y="95"/>
                  </a:lnTo>
                  <a:lnTo>
                    <a:pt x="345" y="95"/>
                  </a:lnTo>
                  <a:close/>
                  <a:moveTo>
                    <a:pt x="413" y="102"/>
                  </a:moveTo>
                  <a:lnTo>
                    <a:pt x="421" y="111"/>
                  </a:lnTo>
                  <a:lnTo>
                    <a:pt x="413" y="111"/>
                  </a:lnTo>
                  <a:lnTo>
                    <a:pt x="397" y="102"/>
                  </a:lnTo>
                  <a:lnTo>
                    <a:pt x="413" y="102"/>
                  </a:lnTo>
                  <a:lnTo>
                    <a:pt x="413" y="102"/>
                  </a:lnTo>
                  <a:lnTo>
                    <a:pt x="413" y="102"/>
                  </a:lnTo>
                  <a:close/>
                  <a:moveTo>
                    <a:pt x="397" y="140"/>
                  </a:moveTo>
                  <a:lnTo>
                    <a:pt x="397" y="168"/>
                  </a:lnTo>
                  <a:lnTo>
                    <a:pt x="387" y="152"/>
                  </a:lnTo>
                  <a:lnTo>
                    <a:pt x="383" y="156"/>
                  </a:lnTo>
                  <a:lnTo>
                    <a:pt x="383" y="168"/>
                  </a:lnTo>
                  <a:lnTo>
                    <a:pt x="376" y="156"/>
                  </a:lnTo>
                  <a:lnTo>
                    <a:pt x="376" y="152"/>
                  </a:lnTo>
                  <a:lnTo>
                    <a:pt x="397" y="140"/>
                  </a:lnTo>
                  <a:lnTo>
                    <a:pt x="397" y="140"/>
                  </a:lnTo>
                  <a:lnTo>
                    <a:pt x="397" y="140"/>
                  </a:lnTo>
                  <a:close/>
                  <a:moveTo>
                    <a:pt x="5" y="156"/>
                  </a:moveTo>
                  <a:lnTo>
                    <a:pt x="10" y="168"/>
                  </a:lnTo>
                  <a:lnTo>
                    <a:pt x="5" y="173"/>
                  </a:lnTo>
                  <a:lnTo>
                    <a:pt x="10" y="189"/>
                  </a:lnTo>
                  <a:lnTo>
                    <a:pt x="21" y="189"/>
                  </a:lnTo>
                  <a:lnTo>
                    <a:pt x="26" y="196"/>
                  </a:lnTo>
                  <a:lnTo>
                    <a:pt x="10" y="189"/>
                  </a:lnTo>
                  <a:lnTo>
                    <a:pt x="0" y="173"/>
                  </a:lnTo>
                  <a:lnTo>
                    <a:pt x="0" y="168"/>
                  </a:lnTo>
                  <a:lnTo>
                    <a:pt x="5" y="156"/>
                  </a:lnTo>
                  <a:lnTo>
                    <a:pt x="5" y="156"/>
                  </a:lnTo>
                  <a:lnTo>
                    <a:pt x="5" y="156"/>
                  </a:lnTo>
                  <a:close/>
                  <a:moveTo>
                    <a:pt x="468" y="206"/>
                  </a:moveTo>
                  <a:lnTo>
                    <a:pt x="468" y="206"/>
                  </a:lnTo>
                  <a:lnTo>
                    <a:pt x="484" y="230"/>
                  </a:lnTo>
                  <a:lnTo>
                    <a:pt x="458" y="230"/>
                  </a:lnTo>
                  <a:lnTo>
                    <a:pt x="442" y="222"/>
                  </a:lnTo>
                  <a:lnTo>
                    <a:pt x="458" y="213"/>
                  </a:lnTo>
                  <a:lnTo>
                    <a:pt x="442" y="222"/>
                  </a:lnTo>
                  <a:lnTo>
                    <a:pt x="430" y="213"/>
                  </a:lnTo>
                  <a:lnTo>
                    <a:pt x="451" y="196"/>
                  </a:lnTo>
                  <a:lnTo>
                    <a:pt x="468" y="206"/>
                  </a:lnTo>
                  <a:lnTo>
                    <a:pt x="468" y="206"/>
                  </a:lnTo>
                  <a:lnTo>
                    <a:pt x="468" y="206"/>
                  </a:lnTo>
                  <a:close/>
                  <a:moveTo>
                    <a:pt x="258" y="222"/>
                  </a:moveTo>
                  <a:lnTo>
                    <a:pt x="258" y="213"/>
                  </a:lnTo>
                  <a:lnTo>
                    <a:pt x="269" y="213"/>
                  </a:lnTo>
                  <a:lnTo>
                    <a:pt x="258" y="222"/>
                  </a:lnTo>
                  <a:lnTo>
                    <a:pt x="258" y="222"/>
                  </a:lnTo>
                  <a:lnTo>
                    <a:pt x="258" y="222"/>
                  </a:lnTo>
                  <a:close/>
                  <a:moveTo>
                    <a:pt x="279" y="222"/>
                  </a:moveTo>
                  <a:lnTo>
                    <a:pt x="269" y="213"/>
                  </a:lnTo>
                  <a:lnTo>
                    <a:pt x="279" y="222"/>
                  </a:lnTo>
                  <a:lnTo>
                    <a:pt x="279" y="222"/>
                  </a:lnTo>
                  <a:lnTo>
                    <a:pt x="279" y="222"/>
                  </a:lnTo>
                  <a:lnTo>
                    <a:pt x="279" y="222"/>
                  </a:lnTo>
                  <a:close/>
                  <a:moveTo>
                    <a:pt x="307" y="284"/>
                  </a:moveTo>
                  <a:lnTo>
                    <a:pt x="274" y="279"/>
                  </a:lnTo>
                  <a:lnTo>
                    <a:pt x="274" y="267"/>
                  </a:lnTo>
                  <a:lnTo>
                    <a:pt x="241" y="246"/>
                  </a:lnTo>
                  <a:lnTo>
                    <a:pt x="220" y="246"/>
                  </a:lnTo>
                  <a:lnTo>
                    <a:pt x="253" y="230"/>
                  </a:lnTo>
                  <a:lnTo>
                    <a:pt x="269" y="251"/>
                  </a:lnTo>
                  <a:lnTo>
                    <a:pt x="312" y="263"/>
                  </a:lnTo>
                  <a:lnTo>
                    <a:pt x="312" y="291"/>
                  </a:lnTo>
                  <a:lnTo>
                    <a:pt x="333" y="300"/>
                  </a:lnTo>
                  <a:lnTo>
                    <a:pt x="333" y="317"/>
                  </a:lnTo>
                  <a:lnTo>
                    <a:pt x="328" y="317"/>
                  </a:lnTo>
                  <a:lnTo>
                    <a:pt x="307" y="284"/>
                  </a:lnTo>
                  <a:lnTo>
                    <a:pt x="307" y="284"/>
                  </a:lnTo>
                  <a:lnTo>
                    <a:pt x="307" y="284"/>
                  </a:lnTo>
                  <a:close/>
                  <a:moveTo>
                    <a:pt x="333" y="251"/>
                  </a:moveTo>
                  <a:lnTo>
                    <a:pt x="328" y="234"/>
                  </a:lnTo>
                  <a:lnTo>
                    <a:pt x="333" y="230"/>
                  </a:lnTo>
                  <a:lnTo>
                    <a:pt x="345" y="246"/>
                  </a:lnTo>
                  <a:lnTo>
                    <a:pt x="333" y="251"/>
                  </a:lnTo>
                  <a:lnTo>
                    <a:pt x="333" y="251"/>
                  </a:lnTo>
                  <a:lnTo>
                    <a:pt x="333" y="251"/>
                  </a:lnTo>
                  <a:close/>
                  <a:moveTo>
                    <a:pt x="64" y="246"/>
                  </a:moveTo>
                  <a:lnTo>
                    <a:pt x="64" y="263"/>
                  </a:lnTo>
                  <a:lnTo>
                    <a:pt x="59" y="267"/>
                  </a:lnTo>
                  <a:lnTo>
                    <a:pt x="59" y="246"/>
                  </a:lnTo>
                  <a:lnTo>
                    <a:pt x="64" y="246"/>
                  </a:lnTo>
                  <a:lnTo>
                    <a:pt x="64" y="246"/>
                  </a:lnTo>
                  <a:lnTo>
                    <a:pt x="64" y="246"/>
                  </a:lnTo>
                  <a:close/>
                  <a:moveTo>
                    <a:pt x="404" y="267"/>
                  </a:moveTo>
                  <a:lnTo>
                    <a:pt x="404" y="263"/>
                  </a:lnTo>
                  <a:lnTo>
                    <a:pt x="413" y="263"/>
                  </a:lnTo>
                  <a:lnTo>
                    <a:pt x="404" y="267"/>
                  </a:lnTo>
                  <a:lnTo>
                    <a:pt x="404" y="267"/>
                  </a:lnTo>
                  <a:lnTo>
                    <a:pt x="404" y="267"/>
                  </a:lnTo>
                  <a:close/>
                  <a:moveTo>
                    <a:pt x="442" y="300"/>
                  </a:moveTo>
                  <a:lnTo>
                    <a:pt x="430" y="291"/>
                  </a:lnTo>
                  <a:lnTo>
                    <a:pt x="435" y="284"/>
                  </a:lnTo>
                  <a:lnTo>
                    <a:pt x="430" y="267"/>
                  </a:lnTo>
                  <a:lnTo>
                    <a:pt x="451" y="267"/>
                  </a:lnTo>
                  <a:lnTo>
                    <a:pt x="451" y="291"/>
                  </a:lnTo>
                  <a:lnTo>
                    <a:pt x="442" y="300"/>
                  </a:lnTo>
                  <a:lnTo>
                    <a:pt x="442" y="300"/>
                  </a:lnTo>
                  <a:lnTo>
                    <a:pt x="442" y="300"/>
                  </a:lnTo>
                  <a:close/>
                  <a:moveTo>
                    <a:pt x="59" y="279"/>
                  </a:moveTo>
                  <a:lnTo>
                    <a:pt x="76" y="307"/>
                  </a:lnTo>
                  <a:lnTo>
                    <a:pt x="43" y="300"/>
                  </a:lnTo>
                  <a:lnTo>
                    <a:pt x="59" y="279"/>
                  </a:lnTo>
                  <a:lnTo>
                    <a:pt x="59" y="279"/>
                  </a:lnTo>
                  <a:lnTo>
                    <a:pt x="59" y="279"/>
                  </a:lnTo>
                  <a:close/>
                  <a:moveTo>
                    <a:pt x="269" y="317"/>
                  </a:moveTo>
                  <a:lnTo>
                    <a:pt x="269" y="324"/>
                  </a:lnTo>
                  <a:lnTo>
                    <a:pt x="258" y="324"/>
                  </a:lnTo>
                  <a:lnTo>
                    <a:pt x="269" y="317"/>
                  </a:lnTo>
                  <a:lnTo>
                    <a:pt x="269" y="317"/>
                  </a:lnTo>
                  <a:lnTo>
                    <a:pt x="269" y="317"/>
                  </a:lnTo>
                  <a:close/>
                  <a:moveTo>
                    <a:pt x="366" y="341"/>
                  </a:moveTo>
                  <a:lnTo>
                    <a:pt x="350" y="317"/>
                  </a:lnTo>
                  <a:lnTo>
                    <a:pt x="350" y="317"/>
                  </a:lnTo>
                  <a:lnTo>
                    <a:pt x="366" y="324"/>
                  </a:lnTo>
                  <a:lnTo>
                    <a:pt x="366" y="341"/>
                  </a:lnTo>
                  <a:lnTo>
                    <a:pt x="366" y="341"/>
                  </a:lnTo>
                  <a:lnTo>
                    <a:pt x="366" y="341"/>
                  </a:lnTo>
                  <a:close/>
                  <a:moveTo>
                    <a:pt x="76" y="341"/>
                  </a:moveTo>
                  <a:lnTo>
                    <a:pt x="64" y="333"/>
                  </a:lnTo>
                  <a:lnTo>
                    <a:pt x="64" y="324"/>
                  </a:lnTo>
                  <a:lnTo>
                    <a:pt x="92" y="341"/>
                  </a:lnTo>
                  <a:lnTo>
                    <a:pt x="80" y="341"/>
                  </a:lnTo>
                  <a:lnTo>
                    <a:pt x="76" y="341"/>
                  </a:lnTo>
                  <a:lnTo>
                    <a:pt x="76" y="341"/>
                  </a:lnTo>
                  <a:lnTo>
                    <a:pt x="76" y="341"/>
                  </a:lnTo>
                  <a:close/>
                  <a:moveTo>
                    <a:pt x="494" y="345"/>
                  </a:moveTo>
                  <a:lnTo>
                    <a:pt x="484" y="341"/>
                  </a:lnTo>
                  <a:lnTo>
                    <a:pt x="489" y="333"/>
                  </a:lnTo>
                  <a:lnTo>
                    <a:pt x="510" y="341"/>
                  </a:lnTo>
                  <a:lnTo>
                    <a:pt x="494" y="345"/>
                  </a:lnTo>
                  <a:lnTo>
                    <a:pt x="494" y="345"/>
                  </a:lnTo>
                  <a:lnTo>
                    <a:pt x="494" y="345"/>
                  </a:lnTo>
                  <a:close/>
                  <a:moveTo>
                    <a:pt x="258" y="341"/>
                  </a:moveTo>
                  <a:lnTo>
                    <a:pt x="258" y="333"/>
                  </a:lnTo>
                  <a:lnTo>
                    <a:pt x="269" y="333"/>
                  </a:lnTo>
                  <a:lnTo>
                    <a:pt x="258" y="341"/>
                  </a:lnTo>
                  <a:lnTo>
                    <a:pt x="258" y="341"/>
                  </a:lnTo>
                  <a:lnTo>
                    <a:pt x="258" y="341"/>
                  </a:lnTo>
                  <a:close/>
                  <a:moveTo>
                    <a:pt x="435" y="357"/>
                  </a:moveTo>
                  <a:lnTo>
                    <a:pt x="442" y="345"/>
                  </a:lnTo>
                  <a:lnTo>
                    <a:pt x="468" y="341"/>
                  </a:lnTo>
                  <a:lnTo>
                    <a:pt x="435" y="357"/>
                  </a:lnTo>
                  <a:lnTo>
                    <a:pt x="435" y="357"/>
                  </a:lnTo>
                  <a:lnTo>
                    <a:pt x="435" y="357"/>
                  </a:lnTo>
                  <a:close/>
                  <a:moveTo>
                    <a:pt x="324" y="357"/>
                  </a:moveTo>
                  <a:lnTo>
                    <a:pt x="324" y="341"/>
                  </a:lnTo>
                  <a:lnTo>
                    <a:pt x="328" y="341"/>
                  </a:lnTo>
                  <a:lnTo>
                    <a:pt x="324" y="357"/>
                  </a:lnTo>
                  <a:lnTo>
                    <a:pt x="324" y="357"/>
                  </a:lnTo>
                  <a:lnTo>
                    <a:pt x="324" y="357"/>
                  </a:lnTo>
                  <a:close/>
                  <a:moveTo>
                    <a:pt x="376" y="341"/>
                  </a:moveTo>
                  <a:lnTo>
                    <a:pt x="383" y="345"/>
                  </a:lnTo>
                  <a:lnTo>
                    <a:pt x="383" y="357"/>
                  </a:lnTo>
                  <a:lnTo>
                    <a:pt x="366" y="341"/>
                  </a:lnTo>
                  <a:lnTo>
                    <a:pt x="376" y="341"/>
                  </a:lnTo>
                  <a:lnTo>
                    <a:pt x="376" y="341"/>
                  </a:lnTo>
                  <a:lnTo>
                    <a:pt x="376" y="341"/>
                  </a:lnTo>
                  <a:close/>
                  <a:moveTo>
                    <a:pt x="359" y="362"/>
                  </a:moveTo>
                  <a:lnTo>
                    <a:pt x="359" y="357"/>
                  </a:lnTo>
                  <a:lnTo>
                    <a:pt x="366" y="362"/>
                  </a:lnTo>
                  <a:lnTo>
                    <a:pt x="359" y="362"/>
                  </a:lnTo>
                  <a:lnTo>
                    <a:pt x="359" y="362"/>
                  </a:lnTo>
                  <a:lnTo>
                    <a:pt x="359" y="362"/>
                  </a:lnTo>
                  <a:close/>
                  <a:moveTo>
                    <a:pt x="397" y="362"/>
                  </a:moveTo>
                  <a:lnTo>
                    <a:pt x="387" y="357"/>
                  </a:lnTo>
                  <a:lnTo>
                    <a:pt x="397" y="357"/>
                  </a:lnTo>
                  <a:lnTo>
                    <a:pt x="397" y="362"/>
                  </a:lnTo>
                  <a:lnTo>
                    <a:pt x="397" y="362"/>
                  </a:lnTo>
                  <a:lnTo>
                    <a:pt x="397" y="362"/>
                  </a:lnTo>
                  <a:close/>
                  <a:moveTo>
                    <a:pt x="328" y="357"/>
                  </a:moveTo>
                  <a:lnTo>
                    <a:pt x="333" y="362"/>
                  </a:lnTo>
                  <a:lnTo>
                    <a:pt x="328" y="374"/>
                  </a:lnTo>
                  <a:lnTo>
                    <a:pt x="328" y="357"/>
                  </a:lnTo>
                  <a:lnTo>
                    <a:pt x="328" y="357"/>
                  </a:lnTo>
                  <a:lnTo>
                    <a:pt x="328" y="357"/>
                  </a:lnTo>
                  <a:close/>
                  <a:moveTo>
                    <a:pt x="333" y="390"/>
                  </a:moveTo>
                  <a:lnTo>
                    <a:pt x="328" y="390"/>
                  </a:lnTo>
                  <a:lnTo>
                    <a:pt x="328" y="378"/>
                  </a:lnTo>
                  <a:lnTo>
                    <a:pt x="333" y="378"/>
                  </a:lnTo>
                  <a:lnTo>
                    <a:pt x="333" y="390"/>
                  </a:lnTo>
                  <a:lnTo>
                    <a:pt x="333" y="390"/>
                  </a:lnTo>
                  <a:lnTo>
                    <a:pt x="333" y="390"/>
                  </a:lnTo>
                  <a:close/>
                  <a:moveTo>
                    <a:pt x="397" y="402"/>
                  </a:moveTo>
                  <a:lnTo>
                    <a:pt x="387" y="390"/>
                  </a:lnTo>
                  <a:lnTo>
                    <a:pt x="404" y="378"/>
                  </a:lnTo>
                  <a:lnTo>
                    <a:pt x="413" y="395"/>
                  </a:lnTo>
                  <a:lnTo>
                    <a:pt x="397" y="402"/>
                  </a:lnTo>
                  <a:lnTo>
                    <a:pt x="397" y="402"/>
                  </a:lnTo>
                  <a:lnTo>
                    <a:pt x="397" y="402"/>
                  </a:lnTo>
                  <a:close/>
                  <a:moveTo>
                    <a:pt x="383" y="395"/>
                  </a:moveTo>
                  <a:lnTo>
                    <a:pt x="376" y="395"/>
                  </a:lnTo>
                  <a:lnTo>
                    <a:pt x="387" y="390"/>
                  </a:lnTo>
                  <a:lnTo>
                    <a:pt x="383" y="395"/>
                  </a:lnTo>
                  <a:lnTo>
                    <a:pt x="383" y="395"/>
                  </a:lnTo>
                  <a:lnTo>
                    <a:pt x="383" y="395"/>
                  </a:lnTo>
                  <a:close/>
                  <a:moveTo>
                    <a:pt x="506" y="402"/>
                  </a:moveTo>
                  <a:lnTo>
                    <a:pt x="494" y="390"/>
                  </a:lnTo>
                  <a:lnTo>
                    <a:pt x="510" y="395"/>
                  </a:lnTo>
                  <a:lnTo>
                    <a:pt x="506" y="402"/>
                  </a:lnTo>
                  <a:lnTo>
                    <a:pt x="506" y="402"/>
                  </a:lnTo>
                  <a:lnTo>
                    <a:pt x="506" y="402"/>
                  </a:lnTo>
                  <a:close/>
                  <a:moveTo>
                    <a:pt x="350" y="402"/>
                  </a:moveTo>
                  <a:lnTo>
                    <a:pt x="345" y="395"/>
                  </a:lnTo>
                  <a:lnTo>
                    <a:pt x="350" y="402"/>
                  </a:lnTo>
                  <a:lnTo>
                    <a:pt x="350" y="402"/>
                  </a:lnTo>
                  <a:lnTo>
                    <a:pt x="350" y="402"/>
                  </a:lnTo>
                  <a:lnTo>
                    <a:pt x="350" y="402"/>
                  </a:lnTo>
                  <a:close/>
                  <a:moveTo>
                    <a:pt x="376" y="402"/>
                  </a:moveTo>
                  <a:lnTo>
                    <a:pt x="366" y="395"/>
                  </a:lnTo>
                  <a:lnTo>
                    <a:pt x="376" y="395"/>
                  </a:lnTo>
                  <a:lnTo>
                    <a:pt x="376" y="402"/>
                  </a:lnTo>
                  <a:lnTo>
                    <a:pt x="376" y="402"/>
                  </a:lnTo>
                  <a:lnTo>
                    <a:pt x="376" y="402"/>
                  </a:lnTo>
                  <a:close/>
                  <a:moveTo>
                    <a:pt x="506" y="428"/>
                  </a:moveTo>
                  <a:lnTo>
                    <a:pt x="506" y="418"/>
                  </a:lnTo>
                  <a:lnTo>
                    <a:pt x="510" y="411"/>
                  </a:lnTo>
                  <a:lnTo>
                    <a:pt x="539" y="411"/>
                  </a:lnTo>
                  <a:lnTo>
                    <a:pt x="506" y="418"/>
                  </a:lnTo>
                  <a:lnTo>
                    <a:pt x="506" y="428"/>
                  </a:lnTo>
                  <a:lnTo>
                    <a:pt x="506" y="428"/>
                  </a:lnTo>
                  <a:lnTo>
                    <a:pt x="506" y="428"/>
                  </a:lnTo>
                  <a:close/>
                  <a:moveTo>
                    <a:pt x="430" y="418"/>
                  </a:moveTo>
                  <a:lnTo>
                    <a:pt x="421" y="411"/>
                  </a:lnTo>
                  <a:lnTo>
                    <a:pt x="435" y="411"/>
                  </a:lnTo>
                  <a:lnTo>
                    <a:pt x="430" y="418"/>
                  </a:lnTo>
                  <a:lnTo>
                    <a:pt x="430" y="418"/>
                  </a:lnTo>
                  <a:lnTo>
                    <a:pt x="430" y="418"/>
                  </a:lnTo>
                  <a:close/>
                  <a:moveTo>
                    <a:pt x="397" y="428"/>
                  </a:moveTo>
                  <a:lnTo>
                    <a:pt x="387" y="411"/>
                  </a:lnTo>
                  <a:lnTo>
                    <a:pt x="397" y="418"/>
                  </a:lnTo>
                  <a:lnTo>
                    <a:pt x="397" y="428"/>
                  </a:lnTo>
                  <a:lnTo>
                    <a:pt x="397" y="428"/>
                  </a:lnTo>
                  <a:lnTo>
                    <a:pt x="397" y="428"/>
                  </a:lnTo>
                  <a:close/>
                  <a:moveTo>
                    <a:pt x="324" y="428"/>
                  </a:moveTo>
                  <a:lnTo>
                    <a:pt x="324" y="418"/>
                  </a:lnTo>
                  <a:lnTo>
                    <a:pt x="333" y="418"/>
                  </a:lnTo>
                  <a:lnTo>
                    <a:pt x="333" y="428"/>
                  </a:lnTo>
                  <a:lnTo>
                    <a:pt x="324" y="428"/>
                  </a:lnTo>
                  <a:lnTo>
                    <a:pt x="324" y="428"/>
                  </a:lnTo>
                  <a:lnTo>
                    <a:pt x="324" y="428"/>
                  </a:lnTo>
                  <a:close/>
                  <a:moveTo>
                    <a:pt x="565" y="435"/>
                  </a:moveTo>
                  <a:lnTo>
                    <a:pt x="560" y="435"/>
                  </a:lnTo>
                  <a:lnTo>
                    <a:pt x="565" y="428"/>
                  </a:lnTo>
                  <a:lnTo>
                    <a:pt x="565" y="435"/>
                  </a:lnTo>
                  <a:lnTo>
                    <a:pt x="565" y="435"/>
                  </a:lnTo>
                  <a:lnTo>
                    <a:pt x="565" y="435"/>
                  </a:lnTo>
                  <a:close/>
                  <a:moveTo>
                    <a:pt x="473" y="435"/>
                  </a:moveTo>
                  <a:lnTo>
                    <a:pt x="458" y="435"/>
                  </a:lnTo>
                  <a:lnTo>
                    <a:pt x="458" y="435"/>
                  </a:lnTo>
                  <a:lnTo>
                    <a:pt x="468" y="428"/>
                  </a:lnTo>
                  <a:lnTo>
                    <a:pt x="473" y="435"/>
                  </a:lnTo>
                  <a:lnTo>
                    <a:pt x="473" y="435"/>
                  </a:lnTo>
                  <a:lnTo>
                    <a:pt x="473" y="435"/>
                  </a:lnTo>
                  <a:close/>
                  <a:moveTo>
                    <a:pt x="397" y="452"/>
                  </a:moveTo>
                  <a:lnTo>
                    <a:pt x="397" y="444"/>
                  </a:lnTo>
                  <a:lnTo>
                    <a:pt x="404" y="444"/>
                  </a:lnTo>
                  <a:lnTo>
                    <a:pt x="397" y="452"/>
                  </a:lnTo>
                  <a:lnTo>
                    <a:pt x="397" y="452"/>
                  </a:lnTo>
                  <a:lnTo>
                    <a:pt x="397" y="452"/>
                  </a:lnTo>
                  <a:close/>
                  <a:moveTo>
                    <a:pt x="539" y="452"/>
                  </a:moveTo>
                  <a:lnTo>
                    <a:pt x="527" y="444"/>
                  </a:lnTo>
                  <a:lnTo>
                    <a:pt x="543" y="444"/>
                  </a:lnTo>
                  <a:lnTo>
                    <a:pt x="539" y="452"/>
                  </a:lnTo>
                  <a:lnTo>
                    <a:pt x="539" y="452"/>
                  </a:lnTo>
                  <a:lnTo>
                    <a:pt x="539" y="452"/>
                  </a:lnTo>
                  <a:close/>
                  <a:moveTo>
                    <a:pt x="591" y="444"/>
                  </a:moveTo>
                  <a:lnTo>
                    <a:pt x="581" y="468"/>
                  </a:lnTo>
                  <a:lnTo>
                    <a:pt x="565" y="485"/>
                  </a:lnTo>
                  <a:lnTo>
                    <a:pt x="560" y="489"/>
                  </a:lnTo>
                  <a:lnTo>
                    <a:pt x="560" y="468"/>
                  </a:lnTo>
                  <a:lnTo>
                    <a:pt x="565" y="456"/>
                  </a:lnTo>
                  <a:lnTo>
                    <a:pt x="591" y="444"/>
                  </a:lnTo>
                  <a:lnTo>
                    <a:pt x="591" y="444"/>
                  </a:lnTo>
                  <a:lnTo>
                    <a:pt x="591" y="444"/>
                  </a:lnTo>
                  <a:close/>
                  <a:moveTo>
                    <a:pt x="421" y="452"/>
                  </a:moveTo>
                  <a:lnTo>
                    <a:pt x="421" y="444"/>
                  </a:lnTo>
                  <a:lnTo>
                    <a:pt x="430" y="452"/>
                  </a:lnTo>
                  <a:lnTo>
                    <a:pt x="421" y="452"/>
                  </a:lnTo>
                  <a:lnTo>
                    <a:pt x="421" y="452"/>
                  </a:lnTo>
                  <a:lnTo>
                    <a:pt x="421" y="452"/>
                  </a:lnTo>
                  <a:close/>
                  <a:moveTo>
                    <a:pt x="227" y="452"/>
                  </a:moveTo>
                  <a:lnTo>
                    <a:pt x="236" y="456"/>
                  </a:lnTo>
                  <a:lnTo>
                    <a:pt x="236" y="468"/>
                  </a:lnTo>
                  <a:lnTo>
                    <a:pt x="220" y="468"/>
                  </a:lnTo>
                  <a:lnTo>
                    <a:pt x="227" y="452"/>
                  </a:lnTo>
                  <a:lnTo>
                    <a:pt x="227" y="452"/>
                  </a:lnTo>
                  <a:lnTo>
                    <a:pt x="227" y="452"/>
                  </a:lnTo>
                  <a:close/>
                  <a:moveTo>
                    <a:pt x="522" y="529"/>
                  </a:moveTo>
                  <a:lnTo>
                    <a:pt x="510" y="513"/>
                  </a:lnTo>
                  <a:lnTo>
                    <a:pt x="527" y="489"/>
                  </a:lnTo>
                  <a:lnTo>
                    <a:pt x="522" y="529"/>
                  </a:lnTo>
                  <a:lnTo>
                    <a:pt x="522" y="529"/>
                  </a:lnTo>
                  <a:lnTo>
                    <a:pt x="522" y="529"/>
                  </a:lnTo>
                  <a:close/>
                  <a:moveTo>
                    <a:pt x="274" y="546"/>
                  </a:moveTo>
                  <a:lnTo>
                    <a:pt x="269" y="539"/>
                  </a:lnTo>
                  <a:lnTo>
                    <a:pt x="269" y="513"/>
                  </a:lnTo>
                  <a:lnTo>
                    <a:pt x="279" y="522"/>
                  </a:lnTo>
                  <a:lnTo>
                    <a:pt x="279" y="506"/>
                  </a:lnTo>
                  <a:lnTo>
                    <a:pt x="291" y="522"/>
                  </a:lnTo>
                  <a:lnTo>
                    <a:pt x="312" y="513"/>
                  </a:lnTo>
                  <a:lnTo>
                    <a:pt x="307" y="522"/>
                  </a:lnTo>
                  <a:lnTo>
                    <a:pt x="324" y="529"/>
                  </a:lnTo>
                  <a:lnTo>
                    <a:pt x="350" y="529"/>
                  </a:lnTo>
                  <a:lnTo>
                    <a:pt x="397" y="539"/>
                  </a:lnTo>
                  <a:lnTo>
                    <a:pt x="421" y="539"/>
                  </a:lnTo>
                  <a:lnTo>
                    <a:pt x="421" y="546"/>
                  </a:lnTo>
                  <a:lnTo>
                    <a:pt x="430" y="555"/>
                  </a:lnTo>
                  <a:lnTo>
                    <a:pt x="458" y="539"/>
                  </a:lnTo>
                  <a:lnTo>
                    <a:pt x="458" y="555"/>
                  </a:lnTo>
                  <a:lnTo>
                    <a:pt x="442" y="563"/>
                  </a:lnTo>
                  <a:lnTo>
                    <a:pt x="366" y="567"/>
                  </a:lnTo>
                  <a:lnTo>
                    <a:pt x="350" y="567"/>
                  </a:lnTo>
                  <a:lnTo>
                    <a:pt x="350" y="555"/>
                  </a:lnTo>
                  <a:lnTo>
                    <a:pt x="328" y="546"/>
                  </a:lnTo>
                  <a:lnTo>
                    <a:pt x="274" y="546"/>
                  </a:lnTo>
                  <a:lnTo>
                    <a:pt x="274" y="546"/>
                  </a:lnTo>
                  <a:lnTo>
                    <a:pt x="274" y="546"/>
                  </a:lnTo>
                  <a:close/>
                  <a:moveTo>
                    <a:pt x="494" y="529"/>
                  </a:moveTo>
                  <a:lnTo>
                    <a:pt x="506" y="529"/>
                  </a:lnTo>
                  <a:lnTo>
                    <a:pt x="510" y="522"/>
                  </a:lnTo>
                  <a:lnTo>
                    <a:pt x="494" y="529"/>
                  </a:lnTo>
                  <a:lnTo>
                    <a:pt x="494" y="529"/>
                  </a:lnTo>
                  <a:lnTo>
                    <a:pt x="494" y="52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8" name="Freeform 457">
              <a:extLst>
                <a:ext uri="{FF2B5EF4-FFF2-40B4-BE49-F238E27FC236}">
                  <a16:creationId xmlns:a16="http://schemas.microsoft.com/office/drawing/2014/main" id="{E6111962-9428-4C2D-89F1-66A6A79AD29F}"/>
                </a:ext>
              </a:extLst>
            </p:cNvPr>
            <p:cNvSpPr>
              <a:spLocks/>
            </p:cNvSpPr>
            <p:nvPr/>
          </p:nvSpPr>
          <p:spPr bwMode="gray">
            <a:xfrm>
              <a:off x="11625247" y="3689248"/>
              <a:ext cx="94261" cy="98189"/>
            </a:xfrm>
            <a:custGeom>
              <a:avLst/>
              <a:gdLst>
                <a:gd name="T0" fmla="*/ 0 w 288"/>
                <a:gd name="T1" fmla="*/ 239 h 300"/>
                <a:gd name="T2" fmla="*/ 17 w 288"/>
                <a:gd name="T3" fmla="*/ 206 h 300"/>
                <a:gd name="T4" fmla="*/ 7 w 288"/>
                <a:gd name="T5" fmla="*/ 189 h 300"/>
                <a:gd name="T6" fmla="*/ 40 w 288"/>
                <a:gd name="T7" fmla="*/ 128 h 300"/>
                <a:gd name="T8" fmla="*/ 132 w 288"/>
                <a:gd name="T9" fmla="*/ 128 h 300"/>
                <a:gd name="T10" fmla="*/ 132 w 288"/>
                <a:gd name="T11" fmla="*/ 104 h 300"/>
                <a:gd name="T12" fmla="*/ 116 w 288"/>
                <a:gd name="T13" fmla="*/ 104 h 300"/>
                <a:gd name="T14" fmla="*/ 109 w 288"/>
                <a:gd name="T15" fmla="*/ 78 h 300"/>
                <a:gd name="T16" fmla="*/ 62 w 288"/>
                <a:gd name="T17" fmla="*/ 38 h 300"/>
                <a:gd name="T18" fmla="*/ 95 w 288"/>
                <a:gd name="T19" fmla="*/ 38 h 300"/>
                <a:gd name="T20" fmla="*/ 95 w 288"/>
                <a:gd name="T21" fmla="*/ 0 h 300"/>
                <a:gd name="T22" fmla="*/ 225 w 288"/>
                <a:gd name="T23" fmla="*/ 0 h 300"/>
                <a:gd name="T24" fmla="*/ 217 w 288"/>
                <a:gd name="T25" fmla="*/ 144 h 300"/>
                <a:gd name="T26" fmla="*/ 241 w 288"/>
                <a:gd name="T27" fmla="*/ 144 h 300"/>
                <a:gd name="T28" fmla="*/ 255 w 288"/>
                <a:gd name="T29" fmla="*/ 161 h 300"/>
                <a:gd name="T30" fmla="*/ 272 w 288"/>
                <a:gd name="T31" fmla="*/ 144 h 300"/>
                <a:gd name="T32" fmla="*/ 262 w 288"/>
                <a:gd name="T33" fmla="*/ 132 h 300"/>
                <a:gd name="T34" fmla="*/ 288 w 288"/>
                <a:gd name="T35" fmla="*/ 161 h 300"/>
                <a:gd name="T36" fmla="*/ 225 w 288"/>
                <a:gd name="T37" fmla="*/ 206 h 300"/>
                <a:gd name="T38" fmla="*/ 217 w 288"/>
                <a:gd name="T39" fmla="*/ 222 h 300"/>
                <a:gd name="T40" fmla="*/ 225 w 288"/>
                <a:gd name="T41" fmla="*/ 234 h 300"/>
                <a:gd name="T42" fmla="*/ 208 w 288"/>
                <a:gd name="T43" fmla="*/ 255 h 300"/>
                <a:gd name="T44" fmla="*/ 196 w 288"/>
                <a:gd name="T45" fmla="*/ 255 h 300"/>
                <a:gd name="T46" fmla="*/ 196 w 288"/>
                <a:gd name="T47" fmla="*/ 260 h 300"/>
                <a:gd name="T48" fmla="*/ 163 w 288"/>
                <a:gd name="T49" fmla="*/ 288 h 300"/>
                <a:gd name="T50" fmla="*/ 154 w 288"/>
                <a:gd name="T51" fmla="*/ 300 h 300"/>
                <a:gd name="T52" fmla="*/ 116 w 288"/>
                <a:gd name="T53" fmla="*/ 288 h 300"/>
                <a:gd name="T54" fmla="*/ 62 w 288"/>
                <a:gd name="T55" fmla="*/ 288 h 300"/>
                <a:gd name="T56" fmla="*/ 0 w 288"/>
                <a:gd name="T57" fmla="*/ 239 h 300"/>
                <a:gd name="T58" fmla="*/ 0 w 288"/>
                <a:gd name="T59" fmla="*/ 239 h 300"/>
                <a:gd name="T60" fmla="*/ 0 w 288"/>
                <a:gd name="T61" fmla="*/ 23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8" h="300">
                  <a:moveTo>
                    <a:pt x="0" y="239"/>
                  </a:moveTo>
                  <a:lnTo>
                    <a:pt x="17" y="206"/>
                  </a:lnTo>
                  <a:lnTo>
                    <a:pt x="7" y="189"/>
                  </a:lnTo>
                  <a:lnTo>
                    <a:pt x="40" y="128"/>
                  </a:lnTo>
                  <a:lnTo>
                    <a:pt x="132" y="128"/>
                  </a:lnTo>
                  <a:lnTo>
                    <a:pt x="132" y="104"/>
                  </a:lnTo>
                  <a:lnTo>
                    <a:pt x="116" y="104"/>
                  </a:lnTo>
                  <a:lnTo>
                    <a:pt x="109" y="78"/>
                  </a:lnTo>
                  <a:lnTo>
                    <a:pt x="62" y="38"/>
                  </a:lnTo>
                  <a:lnTo>
                    <a:pt x="95" y="38"/>
                  </a:lnTo>
                  <a:lnTo>
                    <a:pt x="95" y="0"/>
                  </a:lnTo>
                  <a:lnTo>
                    <a:pt x="225" y="0"/>
                  </a:lnTo>
                  <a:lnTo>
                    <a:pt x="217" y="144"/>
                  </a:lnTo>
                  <a:lnTo>
                    <a:pt x="241" y="144"/>
                  </a:lnTo>
                  <a:lnTo>
                    <a:pt x="255" y="161"/>
                  </a:lnTo>
                  <a:lnTo>
                    <a:pt x="272" y="144"/>
                  </a:lnTo>
                  <a:lnTo>
                    <a:pt x="262" y="132"/>
                  </a:lnTo>
                  <a:lnTo>
                    <a:pt x="288" y="161"/>
                  </a:lnTo>
                  <a:lnTo>
                    <a:pt x="225" y="206"/>
                  </a:lnTo>
                  <a:lnTo>
                    <a:pt x="217" y="222"/>
                  </a:lnTo>
                  <a:lnTo>
                    <a:pt x="225" y="234"/>
                  </a:lnTo>
                  <a:lnTo>
                    <a:pt x="208" y="255"/>
                  </a:lnTo>
                  <a:lnTo>
                    <a:pt x="196" y="255"/>
                  </a:lnTo>
                  <a:lnTo>
                    <a:pt x="196" y="260"/>
                  </a:lnTo>
                  <a:lnTo>
                    <a:pt x="163" y="288"/>
                  </a:lnTo>
                  <a:lnTo>
                    <a:pt x="154" y="300"/>
                  </a:lnTo>
                  <a:lnTo>
                    <a:pt x="116" y="288"/>
                  </a:lnTo>
                  <a:lnTo>
                    <a:pt x="62" y="288"/>
                  </a:lnTo>
                  <a:lnTo>
                    <a:pt x="0" y="239"/>
                  </a:lnTo>
                  <a:lnTo>
                    <a:pt x="0" y="239"/>
                  </a:lnTo>
                  <a:lnTo>
                    <a:pt x="0" y="23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9" name="Freeform 458">
              <a:extLst>
                <a:ext uri="{FF2B5EF4-FFF2-40B4-BE49-F238E27FC236}">
                  <a16:creationId xmlns:a16="http://schemas.microsoft.com/office/drawing/2014/main" id="{1E1578B3-EE90-4934-95B2-57A150D5253D}"/>
                </a:ext>
              </a:extLst>
            </p:cNvPr>
            <p:cNvSpPr>
              <a:spLocks/>
            </p:cNvSpPr>
            <p:nvPr/>
          </p:nvSpPr>
          <p:spPr bwMode="gray">
            <a:xfrm>
              <a:off x="13398213" y="3815257"/>
              <a:ext cx="169867" cy="127646"/>
            </a:xfrm>
            <a:custGeom>
              <a:avLst/>
              <a:gdLst>
                <a:gd name="T0" fmla="*/ 21 w 519"/>
                <a:gd name="T1" fmla="*/ 83 h 390"/>
                <a:gd name="T2" fmla="*/ 54 w 519"/>
                <a:gd name="T3" fmla="*/ 71 h 390"/>
                <a:gd name="T4" fmla="*/ 92 w 519"/>
                <a:gd name="T5" fmla="*/ 71 h 390"/>
                <a:gd name="T6" fmla="*/ 75 w 519"/>
                <a:gd name="T7" fmla="*/ 38 h 390"/>
                <a:gd name="T8" fmla="*/ 92 w 519"/>
                <a:gd name="T9" fmla="*/ 0 h 390"/>
                <a:gd name="T10" fmla="*/ 141 w 519"/>
                <a:gd name="T11" fmla="*/ 17 h 390"/>
                <a:gd name="T12" fmla="*/ 196 w 519"/>
                <a:gd name="T13" fmla="*/ 21 h 390"/>
                <a:gd name="T14" fmla="*/ 264 w 519"/>
                <a:gd name="T15" fmla="*/ 17 h 390"/>
                <a:gd name="T16" fmla="*/ 271 w 519"/>
                <a:gd name="T17" fmla="*/ 45 h 390"/>
                <a:gd name="T18" fmla="*/ 309 w 519"/>
                <a:gd name="T19" fmla="*/ 54 h 390"/>
                <a:gd name="T20" fmla="*/ 363 w 519"/>
                <a:gd name="T21" fmla="*/ 45 h 390"/>
                <a:gd name="T22" fmla="*/ 378 w 519"/>
                <a:gd name="T23" fmla="*/ 38 h 390"/>
                <a:gd name="T24" fmla="*/ 401 w 519"/>
                <a:gd name="T25" fmla="*/ 17 h 390"/>
                <a:gd name="T26" fmla="*/ 427 w 519"/>
                <a:gd name="T27" fmla="*/ 28 h 390"/>
                <a:gd name="T28" fmla="*/ 439 w 519"/>
                <a:gd name="T29" fmla="*/ 71 h 390"/>
                <a:gd name="T30" fmla="*/ 448 w 519"/>
                <a:gd name="T31" fmla="*/ 83 h 390"/>
                <a:gd name="T32" fmla="*/ 448 w 519"/>
                <a:gd name="T33" fmla="*/ 128 h 390"/>
                <a:gd name="T34" fmla="*/ 481 w 519"/>
                <a:gd name="T35" fmla="*/ 116 h 390"/>
                <a:gd name="T36" fmla="*/ 491 w 519"/>
                <a:gd name="T37" fmla="*/ 165 h 390"/>
                <a:gd name="T38" fmla="*/ 486 w 519"/>
                <a:gd name="T39" fmla="*/ 194 h 390"/>
                <a:gd name="T40" fmla="*/ 491 w 519"/>
                <a:gd name="T41" fmla="*/ 236 h 390"/>
                <a:gd name="T42" fmla="*/ 503 w 519"/>
                <a:gd name="T43" fmla="*/ 248 h 390"/>
                <a:gd name="T44" fmla="*/ 503 w 519"/>
                <a:gd name="T45" fmla="*/ 260 h 390"/>
                <a:gd name="T46" fmla="*/ 519 w 519"/>
                <a:gd name="T47" fmla="*/ 293 h 390"/>
                <a:gd name="T48" fmla="*/ 519 w 519"/>
                <a:gd name="T49" fmla="*/ 302 h 390"/>
                <a:gd name="T50" fmla="*/ 481 w 519"/>
                <a:gd name="T51" fmla="*/ 298 h 390"/>
                <a:gd name="T52" fmla="*/ 491 w 519"/>
                <a:gd name="T53" fmla="*/ 319 h 390"/>
                <a:gd name="T54" fmla="*/ 491 w 519"/>
                <a:gd name="T55" fmla="*/ 331 h 390"/>
                <a:gd name="T56" fmla="*/ 470 w 519"/>
                <a:gd name="T57" fmla="*/ 359 h 390"/>
                <a:gd name="T58" fmla="*/ 453 w 519"/>
                <a:gd name="T59" fmla="*/ 359 h 390"/>
                <a:gd name="T60" fmla="*/ 439 w 519"/>
                <a:gd name="T61" fmla="*/ 385 h 390"/>
                <a:gd name="T62" fmla="*/ 401 w 519"/>
                <a:gd name="T63" fmla="*/ 376 h 390"/>
                <a:gd name="T64" fmla="*/ 401 w 519"/>
                <a:gd name="T65" fmla="*/ 352 h 390"/>
                <a:gd name="T66" fmla="*/ 373 w 519"/>
                <a:gd name="T67" fmla="*/ 298 h 390"/>
                <a:gd name="T68" fmla="*/ 309 w 519"/>
                <a:gd name="T69" fmla="*/ 314 h 390"/>
                <a:gd name="T70" fmla="*/ 318 w 519"/>
                <a:gd name="T71" fmla="*/ 276 h 390"/>
                <a:gd name="T72" fmla="*/ 302 w 519"/>
                <a:gd name="T73" fmla="*/ 260 h 390"/>
                <a:gd name="T74" fmla="*/ 271 w 519"/>
                <a:gd name="T75" fmla="*/ 187 h 390"/>
                <a:gd name="T76" fmla="*/ 222 w 519"/>
                <a:gd name="T77" fmla="*/ 194 h 390"/>
                <a:gd name="T78" fmla="*/ 200 w 519"/>
                <a:gd name="T79" fmla="*/ 194 h 390"/>
                <a:gd name="T80" fmla="*/ 167 w 519"/>
                <a:gd name="T81" fmla="*/ 236 h 390"/>
                <a:gd name="T82" fmla="*/ 141 w 519"/>
                <a:gd name="T83" fmla="*/ 260 h 390"/>
                <a:gd name="T84" fmla="*/ 125 w 519"/>
                <a:gd name="T85" fmla="*/ 248 h 390"/>
                <a:gd name="T86" fmla="*/ 108 w 519"/>
                <a:gd name="T87" fmla="*/ 220 h 390"/>
                <a:gd name="T88" fmla="*/ 104 w 519"/>
                <a:gd name="T89" fmla="*/ 220 h 390"/>
                <a:gd name="T90" fmla="*/ 104 w 519"/>
                <a:gd name="T91" fmla="*/ 203 h 390"/>
                <a:gd name="T92" fmla="*/ 92 w 519"/>
                <a:gd name="T93" fmla="*/ 210 h 390"/>
                <a:gd name="T94" fmla="*/ 87 w 519"/>
                <a:gd name="T95" fmla="*/ 203 h 390"/>
                <a:gd name="T96" fmla="*/ 37 w 519"/>
                <a:gd name="T97" fmla="*/ 154 h 390"/>
                <a:gd name="T98" fmla="*/ 37 w 519"/>
                <a:gd name="T99" fmla="*/ 132 h 390"/>
                <a:gd name="T100" fmla="*/ 16 w 519"/>
                <a:gd name="T101" fmla="*/ 128 h 390"/>
                <a:gd name="T102" fmla="*/ 16 w 519"/>
                <a:gd name="T103" fmla="*/ 116 h 390"/>
                <a:gd name="T104" fmla="*/ 0 w 519"/>
                <a:gd name="T105" fmla="*/ 132 h 390"/>
                <a:gd name="T106" fmla="*/ 0 w 519"/>
                <a:gd name="T107" fmla="*/ 12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9" h="390">
                  <a:moveTo>
                    <a:pt x="0" y="128"/>
                  </a:moveTo>
                  <a:lnTo>
                    <a:pt x="21" y="83"/>
                  </a:lnTo>
                  <a:lnTo>
                    <a:pt x="37" y="78"/>
                  </a:lnTo>
                  <a:lnTo>
                    <a:pt x="54" y="71"/>
                  </a:lnTo>
                  <a:lnTo>
                    <a:pt x="75" y="71"/>
                  </a:lnTo>
                  <a:lnTo>
                    <a:pt x="92" y="71"/>
                  </a:lnTo>
                  <a:lnTo>
                    <a:pt x="92" y="45"/>
                  </a:lnTo>
                  <a:lnTo>
                    <a:pt x="75" y="38"/>
                  </a:lnTo>
                  <a:lnTo>
                    <a:pt x="104" y="21"/>
                  </a:lnTo>
                  <a:lnTo>
                    <a:pt x="92" y="0"/>
                  </a:lnTo>
                  <a:lnTo>
                    <a:pt x="141" y="0"/>
                  </a:lnTo>
                  <a:lnTo>
                    <a:pt x="141" y="17"/>
                  </a:lnTo>
                  <a:lnTo>
                    <a:pt x="158" y="7"/>
                  </a:lnTo>
                  <a:lnTo>
                    <a:pt x="196" y="21"/>
                  </a:lnTo>
                  <a:lnTo>
                    <a:pt x="217" y="17"/>
                  </a:lnTo>
                  <a:lnTo>
                    <a:pt x="264" y="17"/>
                  </a:lnTo>
                  <a:lnTo>
                    <a:pt x="255" y="28"/>
                  </a:lnTo>
                  <a:lnTo>
                    <a:pt x="271" y="45"/>
                  </a:lnTo>
                  <a:lnTo>
                    <a:pt x="285" y="28"/>
                  </a:lnTo>
                  <a:lnTo>
                    <a:pt x="309" y="54"/>
                  </a:lnTo>
                  <a:lnTo>
                    <a:pt x="330" y="28"/>
                  </a:lnTo>
                  <a:lnTo>
                    <a:pt x="363" y="45"/>
                  </a:lnTo>
                  <a:lnTo>
                    <a:pt x="378" y="45"/>
                  </a:lnTo>
                  <a:lnTo>
                    <a:pt x="378" y="38"/>
                  </a:lnTo>
                  <a:lnTo>
                    <a:pt x="401" y="28"/>
                  </a:lnTo>
                  <a:lnTo>
                    <a:pt x="401" y="17"/>
                  </a:lnTo>
                  <a:lnTo>
                    <a:pt x="427" y="17"/>
                  </a:lnTo>
                  <a:lnTo>
                    <a:pt x="427" y="28"/>
                  </a:lnTo>
                  <a:lnTo>
                    <a:pt x="439" y="54"/>
                  </a:lnTo>
                  <a:lnTo>
                    <a:pt x="439" y="71"/>
                  </a:lnTo>
                  <a:lnTo>
                    <a:pt x="448" y="71"/>
                  </a:lnTo>
                  <a:lnTo>
                    <a:pt x="448" y="83"/>
                  </a:lnTo>
                  <a:lnTo>
                    <a:pt x="470" y="95"/>
                  </a:lnTo>
                  <a:lnTo>
                    <a:pt x="448" y="128"/>
                  </a:lnTo>
                  <a:lnTo>
                    <a:pt x="465" y="116"/>
                  </a:lnTo>
                  <a:lnTo>
                    <a:pt x="481" y="116"/>
                  </a:lnTo>
                  <a:lnTo>
                    <a:pt x="481" y="154"/>
                  </a:lnTo>
                  <a:lnTo>
                    <a:pt x="491" y="165"/>
                  </a:lnTo>
                  <a:lnTo>
                    <a:pt x="491" y="182"/>
                  </a:lnTo>
                  <a:lnTo>
                    <a:pt x="486" y="194"/>
                  </a:lnTo>
                  <a:lnTo>
                    <a:pt x="486" y="227"/>
                  </a:lnTo>
                  <a:lnTo>
                    <a:pt x="491" y="236"/>
                  </a:lnTo>
                  <a:lnTo>
                    <a:pt x="503" y="236"/>
                  </a:lnTo>
                  <a:lnTo>
                    <a:pt x="503" y="248"/>
                  </a:lnTo>
                  <a:lnTo>
                    <a:pt x="519" y="260"/>
                  </a:lnTo>
                  <a:lnTo>
                    <a:pt x="503" y="260"/>
                  </a:lnTo>
                  <a:lnTo>
                    <a:pt x="503" y="276"/>
                  </a:lnTo>
                  <a:lnTo>
                    <a:pt x="519" y="293"/>
                  </a:lnTo>
                  <a:lnTo>
                    <a:pt x="519" y="302"/>
                  </a:lnTo>
                  <a:lnTo>
                    <a:pt x="519" y="302"/>
                  </a:lnTo>
                  <a:lnTo>
                    <a:pt x="507" y="298"/>
                  </a:lnTo>
                  <a:lnTo>
                    <a:pt x="481" y="298"/>
                  </a:lnTo>
                  <a:lnTo>
                    <a:pt x="481" y="319"/>
                  </a:lnTo>
                  <a:lnTo>
                    <a:pt x="491" y="319"/>
                  </a:lnTo>
                  <a:lnTo>
                    <a:pt x="503" y="336"/>
                  </a:lnTo>
                  <a:lnTo>
                    <a:pt x="491" y="331"/>
                  </a:lnTo>
                  <a:lnTo>
                    <a:pt x="481" y="369"/>
                  </a:lnTo>
                  <a:lnTo>
                    <a:pt x="470" y="359"/>
                  </a:lnTo>
                  <a:lnTo>
                    <a:pt x="465" y="369"/>
                  </a:lnTo>
                  <a:lnTo>
                    <a:pt x="453" y="359"/>
                  </a:lnTo>
                  <a:lnTo>
                    <a:pt x="448" y="359"/>
                  </a:lnTo>
                  <a:lnTo>
                    <a:pt x="439" y="385"/>
                  </a:lnTo>
                  <a:lnTo>
                    <a:pt x="415" y="390"/>
                  </a:lnTo>
                  <a:lnTo>
                    <a:pt x="401" y="376"/>
                  </a:lnTo>
                  <a:lnTo>
                    <a:pt x="394" y="385"/>
                  </a:lnTo>
                  <a:lnTo>
                    <a:pt x="401" y="352"/>
                  </a:lnTo>
                  <a:lnTo>
                    <a:pt x="394" y="314"/>
                  </a:lnTo>
                  <a:lnTo>
                    <a:pt x="373" y="298"/>
                  </a:lnTo>
                  <a:lnTo>
                    <a:pt x="340" y="298"/>
                  </a:lnTo>
                  <a:lnTo>
                    <a:pt x="309" y="314"/>
                  </a:lnTo>
                  <a:lnTo>
                    <a:pt x="323" y="281"/>
                  </a:lnTo>
                  <a:lnTo>
                    <a:pt x="318" y="276"/>
                  </a:lnTo>
                  <a:lnTo>
                    <a:pt x="318" y="260"/>
                  </a:lnTo>
                  <a:lnTo>
                    <a:pt x="302" y="260"/>
                  </a:lnTo>
                  <a:lnTo>
                    <a:pt x="309" y="243"/>
                  </a:lnTo>
                  <a:lnTo>
                    <a:pt x="271" y="187"/>
                  </a:lnTo>
                  <a:lnTo>
                    <a:pt x="222" y="187"/>
                  </a:lnTo>
                  <a:lnTo>
                    <a:pt x="222" y="194"/>
                  </a:lnTo>
                  <a:lnTo>
                    <a:pt x="210" y="203"/>
                  </a:lnTo>
                  <a:lnTo>
                    <a:pt x="200" y="194"/>
                  </a:lnTo>
                  <a:lnTo>
                    <a:pt x="184" y="194"/>
                  </a:lnTo>
                  <a:lnTo>
                    <a:pt x="167" y="236"/>
                  </a:lnTo>
                  <a:lnTo>
                    <a:pt x="146" y="243"/>
                  </a:lnTo>
                  <a:lnTo>
                    <a:pt x="141" y="260"/>
                  </a:lnTo>
                  <a:lnTo>
                    <a:pt x="125" y="260"/>
                  </a:lnTo>
                  <a:lnTo>
                    <a:pt x="125" y="248"/>
                  </a:lnTo>
                  <a:lnTo>
                    <a:pt x="108" y="227"/>
                  </a:lnTo>
                  <a:lnTo>
                    <a:pt x="108" y="220"/>
                  </a:lnTo>
                  <a:lnTo>
                    <a:pt x="108" y="227"/>
                  </a:lnTo>
                  <a:lnTo>
                    <a:pt x="104" y="220"/>
                  </a:lnTo>
                  <a:lnTo>
                    <a:pt x="104" y="210"/>
                  </a:lnTo>
                  <a:lnTo>
                    <a:pt x="104" y="203"/>
                  </a:lnTo>
                  <a:lnTo>
                    <a:pt x="104" y="210"/>
                  </a:lnTo>
                  <a:lnTo>
                    <a:pt x="92" y="210"/>
                  </a:lnTo>
                  <a:lnTo>
                    <a:pt x="104" y="194"/>
                  </a:lnTo>
                  <a:lnTo>
                    <a:pt x="87" y="203"/>
                  </a:lnTo>
                  <a:lnTo>
                    <a:pt x="49" y="170"/>
                  </a:lnTo>
                  <a:lnTo>
                    <a:pt x="37" y="154"/>
                  </a:lnTo>
                  <a:lnTo>
                    <a:pt x="33" y="154"/>
                  </a:lnTo>
                  <a:lnTo>
                    <a:pt x="37" y="132"/>
                  </a:lnTo>
                  <a:lnTo>
                    <a:pt x="21" y="149"/>
                  </a:lnTo>
                  <a:lnTo>
                    <a:pt x="16" y="128"/>
                  </a:lnTo>
                  <a:lnTo>
                    <a:pt x="21" y="116"/>
                  </a:lnTo>
                  <a:lnTo>
                    <a:pt x="16" y="116"/>
                  </a:lnTo>
                  <a:lnTo>
                    <a:pt x="4" y="132"/>
                  </a:lnTo>
                  <a:lnTo>
                    <a:pt x="0" y="132"/>
                  </a:lnTo>
                  <a:lnTo>
                    <a:pt x="0" y="128"/>
                  </a:lnTo>
                  <a:lnTo>
                    <a:pt x="0" y="128"/>
                  </a:lnTo>
                  <a:lnTo>
                    <a:pt x="0" y="128"/>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0" name="Freeform 459">
              <a:extLst>
                <a:ext uri="{FF2B5EF4-FFF2-40B4-BE49-F238E27FC236}">
                  <a16:creationId xmlns:a16="http://schemas.microsoft.com/office/drawing/2014/main" id="{9431F62E-CAEF-4763-A8C8-0F1CAA4033AA}"/>
                </a:ext>
              </a:extLst>
            </p:cNvPr>
            <p:cNvSpPr>
              <a:spLocks/>
            </p:cNvSpPr>
            <p:nvPr/>
          </p:nvSpPr>
          <p:spPr bwMode="gray">
            <a:xfrm>
              <a:off x="12335153" y="3912791"/>
              <a:ext cx="113572" cy="173795"/>
            </a:xfrm>
            <a:custGeom>
              <a:avLst/>
              <a:gdLst>
                <a:gd name="T0" fmla="*/ 85 w 347"/>
                <a:gd name="T1" fmla="*/ 236 h 531"/>
                <a:gd name="T2" fmla="*/ 47 w 347"/>
                <a:gd name="T3" fmla="*/ 236 h 531"/>
                <a:gd name="T4" fmla="*/ 16 w 347"/>
                <a:gd name="T5" fmla="*/ 165 h 531"/>
                <a:gd name="T6" fmla="*/ 16 w 347"/>
                <a:gd name="T7" fmla="*/ 127 h 531"/>
                <a:gd name="T8" fmla="*/ 80 w 347"/>
                <a:gd name="T9" fmla="*/ 104 h 531"/>
                <a:gd name="T10" fmla="*/ 63 w 347"/>
                <a:gd name="T11" fmla="*/ 104 h 531"/>
                <a:gd name="T12" fmla="*/ 54 w 347"/>
                <a:gd name="T13" fmla="*/ 87 h 531"/>
                <a:gd name="T14" fmla="*/ 63 w 347"/>
                <a:gd name="T15" fmla="*/ 49 h 531"/>
                <a:gd name="T16" fmla="*/ 101 w 347"/>
                <a:gd name="T17" fmla="*/ 21 h 531"/>
                <a:gd name="T18" fmla="*/ 101 w 347"/>
                <a:gd name="T19" fmla="*/ 0 h 531"/>
                <a:gd name="T20" fmla="*/ 118 w 347"/>
                <a:gd name="T21" fmla="*/ 4 h 531"/>
                <a:gd name="T22" fmla="*/ 203 w 347"/>
                <a:gd name="T23" fmla="*/ 87 h 531"/>
                <a:gd name="T24" fmla="*/ 203 w 347"/>
                <a:gd name="T25" fmla="*/ 115 h 531"/>
                <a:gd name="T26" fmla="*/ 207 w 347"/>
                <a:gd name="T27" fmla="*/ 115 h 531"/>
                <a:gd name="T28" fmla="*/ 241 w 347"/>
                <a:gd name="T29" fmla="*/ 127 h 531"/>
                <a:gd name="T30" fmla="*/ 267 w 347"/>
                <a:gd name="T31" fmla="*/ 165 h 531"/>
                <a:gd name="T32" fmla="*/ 293 w 347"/>
                <a:gd name="T33" fmla="*/ 170 h 531"/>
                <a:gd name="T34" fmla="*/ 293 w 347"/>
                <a:gd name="T35" fmla="*/ 219 h 531"/>
                <a:gd name="T36" fmla="*/ 293 w 347"/>
                <a:gd name="T37" fmla="*/ 243 h 531"/>
                <a:gd name="T38" fmla="*/ 283 w 347"/>
                <a:gd name="T39" fmla="*/ 253 h 531"/>
                <a:gd name="T40" fmla="*/ 241 w 347"/>
                <a:gd name="T41" fmla="*/ 271 h 531"/>
                <a:gd name="T42" fmla="*/ 229 w 347"/>
                <a:gd name="T43" fmla="*/ 314 h 531"/>
                <a:gd name="T44" fmla="*/ 262 w 347"/>
                <a:gd name="T45" fmla="*/ 364 h 531"/>
                <a:gd name="T46" fmla="*/ 283 w 347"/>
                <a:gd name="T47" fmla="*/ 371 h 531"/>
                <a:gd name="T48" fmla="*/ 330 w 347"/>
                <a:gd name="T49" fmla="*/ 465 h 531"/>
                <a:gd name="T50" fmla="*/ 321 w 347"/>
                <a:gd name="T51" fmla="*/ 482 h 531"/>
                <a:gd name="T52" fmla="*/ 283 w 347"/>
                <a:gd name="T53" fmla="*/ 475 h 531"/>
                <a:gd name="T54" fmla="*/ 257 w 347"/>
                <a:gd name="T55" fmla="*/ 491 h 531"/>
                <a:gd name="T56" fmla="*/ 241 w 347"/>
                <a:gd name="T57" fmla="*/ 503 h 531"/>
                <a:gd name="T58" fmla="*/ 203 w 347"/>
                <a:gd name="T59" fmla="*/ 503 h 531"/>
                <a:gd name="T60" fmla="*/ 186 w 347"/>
                <a:gd name="T61" fmla="*/ 519 h 531"/>
                <a:gd name="T62" fmla="*/ 170 w 347"/>
                <a:gd name="T63" fmla="*/ 519 h 531"/>
                <a:gd name="T64" fmla="*/ 132 w 347"/>
                <a:gd name="T65" fmla="*/ 491 h 531"/>
                <a:gd name="T66" fmla="*/ 122 w 347"/>
                <a:gd name="T67" fmla="*/ 482 h 531"/>
                <a:gd name="T68" fmla="*/ 118 w 347"/>
                <a:gd name="T69" fmla="*/ 449 h 531"/>
                <a:gd name="T70" fmla="*/ 101 w 347"/>
                <a:gd name="T71" fmla="*/ 420 h 531"/>
                <a:gd name="T72" fmla="*/ 122 w 347"/>
                <a:gd name="T73" fmla="*/ 330 h 531"/>
                <a:gd name="T74" fmla="*/ 118 w 347"/>
                <a:gd name="T75" fmla="*/ 297 h 531"/>
                <a:gd name="T76" fmla="*/ 96 w 347"/>
                <a:gd name="T77" fmla="*/ 276 h 531"/>
                <a:gd name="T78" fmla="*/ 96 w 347"/>
                <a:gd name="T79" fmla="*/ 243 h 531"/>
                <a:gd name="T80" fmla="*/ 96 w 347"/>
                <a:gd name="T81" fmla="*/ 243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7" h="531">
                  <a:moveTo>
                    <a:pt x="96" y="243"/>
                  </a:moveTo>
                  <a:lnTo>
                    <a:pt x="85" y="236"/>
                  </a:lnTo>
                  <a:lnTo>
                    <a:pt x="80" y="236"/>
                  </a:lnTo>
                  <a:lnTo>
                    <a:pt x="47" y="236"/>
                  </a:lnTo>
                  <a:lnTo>
                    <a:pt x="0" y="186"/>
                  </a:lnTo>
                  <a:lnTo>
                    <a:pt x="16" y="165"/>
                  </a:lnTo>
                  <a:lnTo>
                    <a:pt x="16" y="144"/>
                  </a:lnTo>
                  <a:lnTo>
                    <a:pt x="16" y="127"/>
                  </a:lnTo>
                  <a:lnTo>
                    <a:pt x="47" y="127"/>
                  </a:lnTo>
                  <a:lnTo>
                    <a:pt x="80" y="104"/>
                  </a:lnTo>
                  <a:lnTo>
                    <a:pt x="68" y="92"/>
                  </a:lnTo>
                  <a:lnTo>
                    <a:pt x="63" y="104"/>
                  </a:lnTo>
                  <a:lnTo>
                    <a:pt x="54" y="92"/>
                  </a:lnTo>
                  <a:lnTo>
                    <a:pt x="54" y="87"/>
                  </a:lnTo>
                  <a:lnTo>
                    <a:pt x="47" y="71"/>
                  </a:lnTo>
                  <a:lnTo>
                    <a:pt x="63" y="49"/>
                  </a:lnTo>
                  <a:lnTo>
                    <a:pt x="96" y="33"/>
                  </a:lnTo>
                  <a:lnTo>
                    <a:pt x="101" y="21"/>
                  </a:lnTo>
                  <a:lnTo>
                    <a:pt x="106" y="21"/>
                  </a:lnTo>
                  <a:lnTo>
                    <a:pt x="101" y="0"/>
                  </a:lnTo>
                  <a:lnTo>
                    <a:pt x="106" y="4"/>
                  </a:lnTo>
                  <a:lnTo>
                    <a:pt x="118" y="4"/>
                  </a:lnTo>
                  <a:lnTo>
                    <a:pt x="160" y="33"/>
                  </a:lnTo>
                  <a:lnTo>
                    <a:pt x="203" y="87"/>
                  </a:lnTo>
                  <a:lnTo>
                    <a:pt x="203" y="108"/>
                  </a:lnTo>
                  <a:lnTo>
                    <a:pt x="203" y="115"/>
                  </a:lnTo>
                  <a:lnTo>
                    <a:pt x="191" y="149"/>
                  </a:lnTo>
                  <a:lnTo>
                    <a:pt x="207" y="115"/>
                  </a:lnTo>
                  <a:lnTo>
                    <a:pt x="212" y="115"/>
                  </a:lnTo>
                  <a:lnTo>
                    <a:pt x="241" y="127"/>
                  </a:lnTo>
                  <a:lnTo>
                    <a:pt x="262" y="149"/>
                  </a:lnTo>
                  <a:lnTo>
                    <a:pt x="267" y="165"/>
                  </a:lnTo>
                  <a:lnTo>
                    <a:pt x="278" y="160"/>
                  </a:lnTo>
                  <a:lnTo>
                    <a:pt x="293" y="170"/>
                  </a:lnTo>
                  <a:lnTo>
                    <a:pt x="300" y="182"/>
                  </a:lnTo>
                  <a:lnTo>
                    <a:pt x="293" y="219"/>
                  </a:lnTo>
                  <a:lnTo>
                    <a:pt x="283" y="227"/>
                  </a:lnTo>
                  <a:lnTo>
                    <a:pt x="293" y="243"/>
                  </a:lnTo>
                  <a:lnTo>
                    <a:pt x="283" y="243"/>
                  </a:lnTo>
                  <a:lnTo>
                    <a:pt x="283" y="253"/>
                  </a:lnTo>
                  <a:lnTo>
                    <a:pt x="262" y="253"/>
                  </a:lnTo>
                  <a:lnTo>
                    <a:pt x="241" y="271"/>
                  </a:lnTo>
                  <a:lnTo>
                    <a:pt x="245" y="276"/>
                  </a:lnTo>
                  <a:lnTo>
                    <a:pt x="229" y="314"/>
                  </a:lnTo>
                  <a:lnTo>
                    <a:pt x="229" y="326"/>
                  </a:lnTo>
                  <a:lnTo>
                    <a:pt x="262" y="364"/>
                  </a:lnTo>
                  <a:lnTo>
                    <a:pt x="262" y="371"/>
                  </a:lnTo>
                  <a:lnTo>
                    <a:pt x="283" y="371"/>
                  </a:lnTo>
                  <a:lnTo>
                    <a:pt x="293" y="408"/>
                  </a:lnTo>
                  <a:lnTo>
                    <a:pt x="330" y="465"/>
                  </a:lnTo>
                  <a:lnTo>
                    <a:pt x="347" y="475"/>
                  </a:lnTo>
                  <a:lnTo>
                    <a:pt x="321" y="482"/>
                  </a:lnTo>
                  <a:lnTo>
                    <a:pt x="300" y="465"/>
                  </a:lnTo>
                  <a:lnTo>
                    <a:pt x="283" y="475"/>
                  </a:lnTo>
                  <a:lnTo>
                    <a:pt x="267" y="491"/>
                  </a:lnTo>
                  <a:lnTo>
                    <a:pt x="257" y="491"/>
                  </a:lnTo>
                  <a:lnTo>
                    <a:pt x="241" y="498"/>
                  </a:lnTo>
                  <a:lnTo>
                    <a:pt x="241" y="503"/>
                  </a:lnTo>
                  <a:lnTo>
                    <a:pt x="212" y="498"/>
                  </a:lnTo>
                  <a:lnTo>
                    <a:pt x="203" y="503"/>
                  </a:lnTo>
                  <a:lnTo>
                    <a:pt x="203" y="519"/>
                  </a:lnTo>
                  <a:lnTo>
                    <a:pt x="186" y="519"/>
                  </a:lnTo>
                  <a:lnTo>
                    <a:pt x="177" y="531"/>
                  </a:lnTo>
                  <a:lnTo>
                    <a:pt x="170" y="519"/>
                  </a:lnTo>
                  <a:lnTo>
                    <a:pt x="148" y="515"/>
                  </a:lnTo>
                  <a:lnTo>
                    <a:pt x="132" y="491"/>
                  </a:lnTo>
                  <a:lnTo>
                    <a:pt x="122" y="491"/>
                  </a:lnTo>
                  <a:lnTo>
                    <a:pt x="122" y="482"/>
                  </a:lnTo>
                  <a:lnTo>
                    <a:pt x="118" y="482"/>
                  </a:lnTo>
                  <a:lnTo>
                    <a:pt x="118" y="449"/>
                  </a:lnTo>
                  <a:lnTo>
                    <a:pt x="106" y="441"/>
                  </a:lnTo>
                  <a:lnTo>
                    <a:pt x="101" y="420"/>
                  </a:lnTo>
                  <a:lnTo>
                    <a:pt x="106" y="364"/>
                  </a:lnTo>
                  <a:lnTo>
                    <a:pt x="122" y="330"/>
                  </a:lnTo>
                  <a:lnTo>
                    <a:pt x="118" y="309"/>
                  </a:lnTo>
                  <a:lnTo>
                    <a:pt x="118" y="297"/>
                  </a:lnTo>
                  <a:lnTo>
                    <a:pt x="85" y="293"/>
                  </a:lnTo>
                  <a:lnTo>
                    <a:pt x="96" y="276"/>
                  </a:lnTo>
                  <a:lnTo>
                    <a:pt x="101" y="253"/>
                  </a:lnTo>
                  <a:lnTo>
                    <a:pt x="96" y="243"/>
                  </a:lnTo>
                  <a:lnTo>
                    <a:pt x="96" y="243"/>
                  </a:lnTo>
                  <a:lnTo>
                    <a:pt x="96" y="243"/>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1" name="Freeform 460">
              <a:extLst>
                <a:ext uri="{FF2B5EF4-FFF2-40B4-BE49-F238E27FC236}">
                  <a16:creationId xmlns:a16="http://schemas.microsoft.com/office/drawing/2014/main" id="{363DD3F7-7F59-4D42-B8D9-E89FF5868DE8}"/>
                </a:ext>
              </a:extLst>
            </p:cNvPr>
            <p:cNvSpPr>
              <a:spLocks/>
            </p:cNvSpPr>
            <p:nvPr/>
          </p:nvSpPr>
          <p:spPr bwMode="gray">
            <a:xfrm>
              <a:off x="14529023" y="3345259"/>
              <a:ext cx="7201" cy="6873"/>
            </a:xfrm>
            <a:custGeom>
              <a:avLst/>
              <a:gdLst>
                <a:gd name="T0" fmla="*/ 22 w 22"/>
                <a:gd name="T1" fmla="*/ 0 h 21"/>
                <a:gd name="T2" fmla="*/ 22 w 22"/>
                <a:gd name="T3" fmla="*/ 0 h 21"/>
                <a:gd name="T4" fmla="*/ 10 w 22"/>
                <a:gd name="T5" fmla="*/ 21 h 21"/>
                <a:gd name="T6" fmla="*/ 0 w 22"/>
                <a:gd name="T7" fmla="*/ 14 h 21"/>
                <a:gd name="T8" fmla="*/ 22 w 22"/>
                <a:gd name="T9" fmla="*/ 0 h 21"/>
                <a:gd name="T10" fmla="*/ 22 w 22"/>
                <a:gd name="T11" fmla="*/ 0 h 21"/>
                <a:gd name="T12" fmla="*/ 22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22" y="0"/>
                  </a:moveTo>
                  <a:lnTo>
                    <a:pt x="22" y="0"/>
                  </a:lnTo>
                  <a:lnTo>
                    <a:pt x="10" y="21"/>
                  </a:lnTo>
                  <a:lnTo>
                    <a:pt x="0" y="14"/>
                  </a:lnTo>
                  <a:lnTo>
                    <a:pt x="22" y="0"/>
                  </a:lnTo>
                  <a:lnTo>
                    <a:pt x="22" y="0"/>
                  </a:lnTo>
                  <a:lnTo>
                    <a:pt x="22" y="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2" name="Freeform 461">
              <a:extLst>
                <a:ext uri="{FF2B5EF4-FFF2-40B4-BE49-F238E27FC236}">
                  <a16:creationId xmlns:a16="http://schemas.microsoft.com/office/drawing/2014/main" id="{3C2275EC-58A2-4B43-ADB6-AA6703F56FBD}"/>
                </a:ext>
              </a:extLst>
            </p:cNvPr>
            <p:cNvSpPr>
              <a:spLocks noEditPoints="1"/>
            </p:cNvSpPr>
            <p:nvPr/>
          </p:nvSpPr>
          <p:spPr bwMode="gray">
            <a:xfrm>
              <a:off x="12034368" y="3635898"/>
              <a:ext cx="64805" cy="48767"/>
            </a:xfrm>
            <a:custGeom>
              <a:avLst/>
              <a:gdLst>
                <a:gd name="T0" fmla="*/ 134 w 198"/>
                <a:gd name="T1" fmla="*/ 10 h 149"/>
                <a:gd name="T2" fmla="*/ 106 w 198"/>
                <a:gd name="T3" fmla="*/ 0 h 149"/>
                <a:gd name="T4" fmla="*/ 118 w 198"/>
                <a:gd name="T5" fmla="*/ 0 h 149"/>
                <a:gd name="T6" fmla="*/ 134 w 198"/>
                <a:gd name="T7" fmla="*/ 10 h 149"/>
                <a:gd name="T8" fmla="*/ 134 w 198"/>
                <a:gd name="T9" fmla="*/ 10 h 149"/>
                <a:gd name="T10" fmla="*/ 134 w 198"/>
                <a:gd name="T11" fmla="*/ 10 h 149"/>
                <a:gd name="T12" fmla="*/ 191 w 198"/>
                <a:gd name="T13" fmla="*/ 21 h 149"/>
                <a:gd name="T14" fmla="*/ 191 w 198"/>
                <a:gd name="T15" fmla="*/ 38 h 149"/>
                <a:gd name="T16" fmla="*/ 191 w 198"/>
                <a:gd name="T17" fmla="*/ 54 h 149"/>
                <a:gd name="T18" fmla="*/ 198 w 198"/>
                <a:gd name="T19" fmla="*/ 66 h 149"/>
                <a:gd name="T20" fmla="*/ 186 w 198"/>
                <a:gd name="T21" fmla="*/ 78 h 149"/>
                <a:gd name="T22" fmla="*/ 191 w 198"/>
                <a:gd name="T23" fmla="*/ 95 h 149"/>
                <a:gd name="T24" fmla="*/ 186 w 198"/>
                <a:gd name="T25" fmla="*/ 104 h 149"/>
                <a:gd name="T26" fmla="*/ 170 w 198"/>
                <a:gd name="T27" fmla="*/ 111 h 149"/>
                <a:gd name="T28" fmla="*/ 177 w 198"/>
                <a:gd name="T29" fmla="*/ 121 h 149"/>
                <a:gd name="T30" fmla="*/ 191 w 198"/>
                <a:gd name="T31" fmla="*/ 128 h 149"/>
                <a:gd name="T32" fmla="*/ 191 w 198"/>
                <a:gd name="T33" fmla="*/ 149 h 149"/>
                <a:gd name="T34" fmla="*/ 170 w 198"/>
                <a:gd name="T35" fmla="*/ 132 h 149"/>
                <a:gd name="T36" fmla="*/ 118 w 198"/>
                <a:gd name="T37" fmla="*/ 144 h 149"/>
                <a:gd name="T38" fmla="*/ 80 w 198"/>
                <a:gd name="T39" fmla="*/ 132 h 149"/>
                <a:gd name="T40" fmla="*/ 47 w 198"/>
                <a:gd name="T41" fmla="*/ 144 h 149"/>
                <a:gd name="T42" fmla="*/ 47 w 198"/>
                <a:gd name="T43" fmla="*/ 149 h 149"/>
                <a:gd name="T44" fmla="*/ 38 w 198"/>
                <a:gd name="T45" fmla="*/ 149 h 149"/>
                <a:gd name="T46" fmla="*/ 26 w 198"/>
                <a:gd name="T47" fmla="*/ 132 h 149"/>
                <a:gd name="T48" fmla="*/ 0 w 198"/>
                <a:gd name="T49" fmla="*/ 128 h 149"/>
                <a:gd name="T50" fmla="*/ 0 w 198"/>
                <a:gd name="T51" fmla="*/ 121 h 149"/>
                <a:gd name="T52" fmla="*/ 0 w 198"/>
                <a:gd name="T53" fmla="*/ 104 h 149"/>
                <a:gd name="T54" fmla="*/ 16 w 198"/>
                <a:gd name="T55" fmla="*/ 104 h 149"/>
                <a:gd name="T56" fmla="*/ 47 w 198"/>
                <a:gd name="T57" fmla="*/ 111 h 149"/>
                <a:gd name="T58" fmla="*/ 63 w 198"/>
                <a:gd name="T59" fmla="*/ 111 h 149"/>
                <a:gd name="T60" fmla="*/ 54 w 198"/>
                <a:gd name="T61" fmla="*/ 111 h 149"/>
                <a:gd name="T62" fmla="*/ 54 w 198"/>
                <a:gd name="T63" fmla="*/ 121 h 149"/>
                <a:gd name="T64" fmla="*/ 123 w 198"/>
                <a:gd name="T65" fmla="*/ 121 h 149"/>
                <a:gd name="T66" fmla="*/ 134 w 198"/>
                <a:gd name="T67" fmla="*/ 111 h 149"/>
                <a:gd name="T68" fmla="*/ 144 w 198"/>
                <a:gd name="T69" fmla="*/ 111 h 149"/>
                <a:gd name="T70" fmla="*/ 144 w 198"/>
                <a:gd name="T71" fmla="*/ 104 h 149"/>
                <a:gd name="T72" fmla="*/ 118 w 198"/>
                <a:gd name="T73" fmla="*/ 71 h 149"/>
                <a:gd name="T74" fmla="*/ 123 w 198"/>
                <a:gd name="T75" fmla="*/ 50 h 149"/>
                <a:gd name="T76" fmla="*/ 92 w 198"/>
                <a:gd name="T77" fmla="*/ 33 h 149"/>
                <a:gd name="T78" fmla="*/ 80 w 198"/>
                <a:gd name="T79" fmla="*/ 33 h 149"/>
                <a:gd name="T80" fmla="*/ 80 w 198"/>
                <a:gd name="T81" fmla="*/ 17 h 149"/>
                <a:gd name="T82" fmla="*/ 118 w 198"/>
                <a:gd name="T83" fmla="*/ 10 h 149"/>
                <a:gd name="T84" fmla="*/ 156 w 198"/>
                <a:gd name="T85" fmla="*/ 21 h 149"/>
                <a:gd name="T86" fmla="*/ 191 w 198"/>
                <a:gd name="T87" fmla="*/ 21 h 149"/>
                <a:gd name="T88" fmla="*/ 191 w 198"/>
                <a:gd name="T89" fmla="*/ 21 h 149"/>
                <a:gd name="T90" fmla="*/ 191 w 198"/>
                <a:gd name="T91" fmla="*/ 21 h 149"/>
                <a:gd name="T92" fmla="*/ 118 w 198"/>
                <a:gd name="T93" fmla="*/ 104 h 149"/>
                <a:gd name="T94" fmla="*/ 85 w 198"/>
                <a:gd name="T95" fmla="*/ 88 h 149"/>
                <a:gd name="T96" fmla="*/ 92 w 198"/>
                <a:gd name="T97" fmla="*/ 78 h 149"/>
                <a:gd name="T98" fmla="*/ 118 w 198"/>
                <a:gd name="T99" fmla="*/ 88 h 149"/>
                <a:gd name="T100" fmla="*/ 118 w 198"/>
                <a:gd name="T101" fmla="*/ 104 h 149"/>
                <a:gd name="T102" fmla="*/ 118 w 198"/>
                <a:gd name="T103" fmla="*/ 104 h 149"/>
                <a:gd name="T104" fmla="*/ 118 w 198"/>
                <a:gd name="T105" fmla="*/ 104 h 149"/>
                <a:gd name="T106" fmla="*/ 54 w 198"/>
                <a:gd name="T107" fmla="*/ 111 h 149"/>
                <a:gd name="T108" fmla="*/ 47 w 198"/>
                <a:gd name="T109" fmla="*/ 104 h 149"/>
                <a:gd name="T110" fmla="*/ 54 w 198"/>
                <a:gd name="T111" fmla="*/ 104 h 149"/>
                <a:gd name="T112" fmla="*/ 54 w 198"/>
                <a:gd name="T113" fmla="*/ 111 h 149"/>
                <a:gd name="T114" fmla="*/ 54 w 198"/>
                <a:gd name="T115" fmla="*/ 111 h 149"/>
                <a:gd name="T116" fmla="*/ 54 w 198"/>
                <a:gd name="T117" fmla="*/ 11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 h="149">
                  <a:moveTo>
                    <a:pt x="134" y="10"/>
                  </a:moveTo>
                  <a:lnTo>
                    <a:pt x="106" y="0"/>
                  </a:lnTo>
                  <a:lnTo>
                    <a:pt x="118" y="0"/>
                  </a:lnTo>
                  <a:lnTo>
                    <a:pt x="134" y="10"/>
                  </a:lnTo>
                  <a:lnTo>
                    <a:pt x="134" y="10"/>
                  </a:lnTo>
                  <a:lnTo>
                    <a:pt x="134" y="10"/>
                  </a:lnTo>
                  <a:close/>
                  <a:moveTo>
                    <a:pt x="191" y="21"/>
                  </a:moveTo>
                  <a:lnTo>
                    <a:pt x="191" y="38"/>
                  </a:lnTo>
                  <a:lnTo>
                    <a:pt x="191" y="54"/>
                  </a:lnTo>
                  <a:lnTo>
                    <a:pt x="198" y="66"/>
                  </a:lnTo>
                  <a:lnTo>
                    <a:pt x="186" y="78"/>
                  </a:lnTo>
                  <a:lnTo>
                    <a:pt x="191" y="95"/>
                  </a:lnTo>
                  <a:lnTo>
                    <a:pt x="186" y="104"/>
                  </a:lnTo>
                  <a:lnTo>
                    <a:pt x="170" y="111"/>
                  </a:lnTo>
                  <a:lnTo>
                    <a:pt x="177" y="121"/>
                  </a:lnTo>
                  <a:lnTo>
                    <a:pt x="191" y="128"/>
                  </a:lnTo>
                  <a:lnTo>
                    <a:pt x="191" y="149"/>
                  </a:lnTo>
                  <a:lnTo>
                    <a:pt x="170" y="132"/>
                  </a:lnTo>
                  <a:lnTo>
                    <a:pt x="118" y="144"/>
                  </a:lnTo>
                  <a:lnTo>
                    <a:pt x="80" y="132"/>
                  </a:lnTo>
                  <a:lnTo>
                    <a:pt x="47" y="144"/>
                  </a:lnTo>
                  <a:lnTo>
                    <a:pt x="47" y="149"/>
                  </a:lnTo>
                  <a:lnTo>
                    <a:pt x="38" y="149"/>
                  </a:lnTo>
                  <a:lnTo>
                    <a:pt x="26" y="132"/>
                  </a:lnTo>
                  <a:lnTo>
                    <a:pt x="0" y="128"/>
                  </a:lnTo>
                  <a:lnTo>
                    <a:pt x="0" y="121"/>
                  </a:lnTo>
                  <a:lnTo>
                    <a:pt x="0" y="104"/>
                  </a:lnTo>
                  <a:lnTo>
                    <a:pt x="16" y="104"/>
                  </a:lnTo>
                  <a:lnTo>
                    <a:pt x="47" y="111"/>
                  </a:lnTo>
                  <a:lnTo>
                    <a:pt x="63" y="111"/>
                  </a:lnTo>
                  <a:lnTo>
                    <a:pt x="54" y="111"/>
                  </a:lnTo>
                  <a:lnTo>
                    <a:pt x="54" y="121"/>
                  </a:lnTo>
                  <a:lnTo>
                    <a:pt x="123" y="121"/>
                  </a:lnTo>
                  <a:lnTo>
                    <a:pt x="134" y="111"/>
                  </a:lnTo>
                  <a:lnTo>
                    <a:pt x="144" y="111"/>
                  </a:lnTo>
                  <a:lnTo>
                    <a:pt x="144" y="104"/>
                  </a:lnTo>
                  <a:lnTo>
                    <a:pt x="118" y="71"/>
                  </a:lnTo>
                  <a:lnTo>
                    <a:pt x="123" y="50"/>
                  </a:lnTo>
                  <a:lnTo>
                    <a:pt x="92" y="33"/>
                  </a:lnTo>
                  <a:lnTo>
                    <a:pt x="80" y="33"/>
                  </a:lnTo>
                  <a:lnTo>
                    <a:pt x="80" y="17"/>
                  </a:lnTo>
                  <a:lnTo>
                    <a:pt x="118" y="10"/>
                  </a:lnTo>
                  <a:lnTo>
                    <a:pt x="156" y="21"/>
                  </a:lnTo>
                  <a:lnTo>
                    <a:pt x="191" y="21"/>
                  </a:lnTo>
                  <a:lnTo>
                    <a:pt x="191" y="21"/>
                  </a:lnTo>
                  <a:lnTo>
                    <a:pt x="191" y="21"/>
                  </a:lnTo>
                  <a:close/>
                  <a:moveTo>
                    <a:pt x="118" y="104"/>
                  </a:moveTo>
                  <a:lnTo>
                    <a:pt x="85" y="88"/>
                  </a:lnTo>
                  <a:lnTo>
                    <a:pt x="92" y="78"/>
                  </a:lnTo>
                  <a:lnTo>
                    <a:pt x="118" y="88"/>
                  </a:lnTo>
                  <a:lnTo>
                    <a:pt x="118" y="104"/>
                  </a:lnTo>
                  <a:lnTo>
                    <a:pt x="118" y="104"/>
                  </a:lnTo>
                  <a:lnTo>
                    <a:pt x="118" y="104"/>
                  </a:lnTo>
                  <a:close/>
                  <a:moveTo>
                    <a:pt x="54" y="111"/>
                  </a:moveTo>
                  <a:lnTo>
                    <a:pt x="47" y="104"/>
                  </a:lnTo>
                  <a:lnTo>
                    <a:pt x="54" y="104"/>
                  </a:lnTo>
                  <a:lnTo>
                    <a:pt x="54" y="111"/>
                  </a:lnTo>
                  <a:lnTo>
                    <a:pt x="54" y="111"/>
                  </a:lnTo>
                  <a:lnTo>
                    <a:pt x="54" y="111"/>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3" name="Freeform 462">
              <a:extLst>
                <a:ext uri="{FF2B5EF4-FFF2-40B4-BE49-F238E27FC236}">
                  <a16:creationId xmlns:a16="http://schemas.microsoft.com/office/drawing/2014/main" id="{091A355A-4B9D-4B5C-BDF7-AA7708314B31}"/>
                </a:ext>
              </a:extLst>
            </p:cNvPr>
            <p:cNvSpPr>
              <a:spLocks/>
            </p:cNvSpPr>
            <p:nvPr/>
          </p:nvSpPr>
          <p:spPr bwMode="gray">
            <a:xfrm>
              <a:off x="15425161" y="5495270"/>
              <a:ext cx="14074" cy="6873"/>
            </a:xfrm>
            <a:custGeom>
              <a:avLst/>
              <a:gdLst>
                <a:gd name="T0" fmla="*/ 43 w 43"/>
                <a:gd name="T1" fmla="*/ 17 h 21"/>
                <a:gd name="T2" fmla="*/ 14 w 43"/>
                <a:gd name="T3" fmla="*/ 21 h 21"/>
                <a:gd name="T4" fmla="*/ 0 w 43"/>
                <a:gd name="T5" fmla="*/ 0 h 21"/>
                <a:gd name="T6" fmla="*/ 43 w 43"/>
                <a:gd name="T7" fmla="*/ 17 h 21"/>
                <a:gd name="T8" fmla="*/ 43 w 43"/>
                <a:gd name="T9" fmla="*/ 17 h 21"/>
                <a:gd name="T10" fmla="*/ 43 w 43"/>
                <a:gd name="T11" fmla="*/ 17 h 21"/>
              </a:gdLst>
              <a:ahLst/>
              <a:cxnLst>
                <a:cxn ang="0">
                  <a:pos x="T0" y="T1"/>
                </a:cxn>
                <a:cxn ang="0">
                  <a:pos x="T2" y="T3"/>
                </a:cxn>
                <a:cxn ang="0">
                  <a:pos x="T4" y="T5"/>
                </a:cxn>
                <a:cxn ang="0">
                  <a:pos x="T6" y="T7"/>
                </a:cxn>
                <a:cxn ang="0">
                  <a:pos x="T8" y="T9"/>
                </a:cxn>
                <a:cxn ang="0">
                  <a:pos x="T10" y="T11"/>
                </a:cxn>
              </a:cxnLst>
              <a:rect l="0" t="0" r="r" b="b"/>
              <a:pathLst>
                <a:path w="43" h="21">
                  <a:moveTo>
                    <a:pt x="43" y="17"/>
                  </a:moveTo>
                  <a:lnTo>
                    <a:pt x="14" y="21"/>
                  </a:lnTo>
                  <a:lnTo>
                    <a:pt x="0" y="0"/>
                  </a:lnTo>
                  <a:lnTo>
                    <a:pt x="43" y="17"/>
                  </a:lnTo>
                  <a:lnTo>
                    <a:pt x="43" y="17"/>
                  </a:lnTo>
                  <a:lnTo>
                    <a:pt x="43" y="1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4" name="Freeform 463">
              <a:extLst>
                <a:ext uri="{FF2B5EF4-FFF2-40B4-BE49-F238E27FC236}">
                  <a16:creationId xmlns:a16="http://schemas.microsoft.com/office/drawing/2014/main" id="{75FC2D71-131A-435D-BD5A-AD86C7D82403}"/>
                </a:ext>
              </a:extLst>
            </p:cNvPr>
            <p:cNvSpPr>
              <a:spLocks noEditPoints="1"/>
            </p:cNvSpPr>
            <p:nvPr/>
          </p:nvSpPr>
          <p:spPr bwMode="gray">
            <a:xfrm>
              <a:off x="11693325" y="3723941"/>
              <a:ext cx="141392" cy="81170"/>
            </a:xfrm>
            <a:custGeom>
              <a:avLst/>
              <a:gdLst>
                <a:gd name="T0" fmla="*/ 206 w 432"/>
                <a:gd name="T1" fmla="*/ 0 h 248"/>
                <a:gd name="T2" fmla="*/ 189 w 432"/>
                <a:gd name="T3" fmla="*/ 5 h 248"/>
                <a:gd name="T4" fmla="*/ 189 w 432"/>
                <a:gd name="T5" fmla="*/ 5 h 248"/>
                <a:gd name="T6" fmla="*/ 43 w 432"/>
                <a:gd name="T7" fmla="*/ 166 h 248"/>
                <a:gd name="T8" fmla="*/ 26 w 432"/>
                <a:gd name="T9" fmla="*/ 149 h 248"/>
                <a:gd name="T10" fmla="*/ 17 w 432"/>
                <a:gd name="T11" fmla="*/ 128 h 248"/>
                <a:gd name="T12" fmla="*/ 17 w 432"/>
                <a:gd name="T13" fmla="*/ 100 h 248"/>
                <a:gd name="T14" fmla="*/ 85 w 432"/>
                <a:gd name="T15" fmla="*/ 57 h 248"/>
                <a:gd name="T16" fmla="*/ 135 w 432"/>
                <a:gd name="T17" fmla="*/ 45 h 248"/>
                <a:gd name="T18" fmla="*/ 210 w 432"/>
                <a:gd name="T19" fmla="*/ 45 h 248"/>
                <a:gd name="T20" fmla="*/ 243 w 432"/>
                <a:gd name="T21" fmla="*/ 29 h 248"/>
                <a:gd name="T22" fmla="*/ 269 w 432"/>
                <a:gd name="T23" fmla="*/ 38 h 248"/>
                <a:gd name="T24" fmla="*/ 324 w 432"/>
                <a:gd name="T25" fmla="*/ 38 h 248"/>
                <a:gd name="T26" fmla="*/ 340 w 432"/>
                <a:gd name="T27" fmla="*/ 45 h 248"/>
                <a:gd name="T28" fmla="*/ 357 w 432"/>
                <a:gd name="T29" fmla="*/ 45 h 248"/>
                <a:gd name="T30" fmla="*/ 357 w 432"/>
                <a:gd name="T31" fmla="*/ 62 h 248"/>
                <a:gd name="T32" fmla="*/ 390 w 432"/>
                <a:gd name="T33" fmla="*/ 83 h 248"/>
                <a:gd name="T34" fmla="*/ 378 w 432"/>
                <a:gd name="T35" fmla="*/ 74 h 248"/>
                <a:gd name="T36" fmla="*/ 411 w 432"/>
                <a:gd name="T37" fmla="*/ 83 h 248"/>
                <a:gd name="T38" fmla="*/ 406 w 432"/>
                <a:gd name="T39" fmla="*/ 95 h 248"/>
                <a:gd name="T40" fmla="*/ 406 w 432"/>
                <a:gd name="T41" fmla="*/ 78 h 248"/>
                <a:gd name="T42" fmla="*/ 428 w 432"/>
                <a:gd name="T43" fmla="*/ 100 h 248"/>
                <a:gd name="T44" fmla="*/ 411 w 432"/>
                <a:gd name="T45" fmla="*/ 100 h 248"/>
                <a:gd name="T46" fmla="*/ 340 w 432"/>
                <a:gd name="T47" fmla="*/ 133 h 248"/>
                <a:gd name="T48" fmla="*/ 298 w 432"/>
                <a:gd name="T49" fmla="*/ 149 h 248"/>
                <a:gd name="T50" fmla="*/ 260 w 432"/>
                <a:gd name="T51" fmla="*/ 182 h 248"/>
                <a:gd name="T52" fmla="*/ 231 w 432"/>
                <a:gd name="T53" fmla="*/ 173 h 248"/>
                <a:gd name="T54" fmla="*/ 177 w 432"/>
                <a:gd name="T55" fmla="*/ 194 h 248"/>
                <a:gd name="T56" fmla="*/ 172 w 432"/>
                <a:gd name="T57" fmla="*/ 239 h 248"/>
                <a:gd name="T58" fmla="*/ 139 w 432"/>
                <a:gd name="T59" fmla="*/ 248 h 248"/>
                <a:gd name="T60" fmla="*/ 135 w 432"/>
                <a:gd name="T61" fmla="*/ 222 h 248"/>
                <a:gd name="T62" fmla="*/ 118 w 432"/>
                <a:gd name="T63" fmla="*/ 222 h 248"/>
                <a:gd name="T64" fmla="*/ 109 w 432"/>
                <a:gd name="T65" fmla="*/ 222 h 248"/>
                <a:gd name="T66" fmla="*/ 109 w 432"/>
                <a:gd name="T67" fmla="*/ 211 h 248"/>
                <a:gd name="T68" fmla="*/ 109 w 432"/>
                <a:gd name="T69" fmla="*/ 182 h 248"/>
                <a:gd name="T70" fmla="*/ 85 w 432"/>
                <a:gd name="T71" fmla="*/ 182 h 248"/>
                <a:gd name="T72" fmla="*/ 54 w 432"/>
                <a:gd name="T73" fmla="*/ 182 h 248"/>
                <a:gd name="T74" fmla="*/ 54 w 432"/>
                <a:gd name="T75" fmla="*/ 182 h 248"/>
                <a:gd name="T76" fmla="*/ 118 w 432"/>
                <a:gd name="T77" fmla="*/ 222 h 248"/>
                <a:gd name="T78" fmla="*/ 123 w 432"/>
                <a:gd name="T79" fmla="*/ 227 h 248"/>
                <a:gd name="T80" fmla="*/ 123 w 432"/>
                <a:gd name="T81" fmla="*/ 2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2" h="248">
                  <a:moveTo>
                    <a:pt x="189" y="5"/>
                  </a:moveTo>
                  <a:lnTo>
                    <a:pt x="206" y="0"/>
                  </a:lnTo>
                  <a:lnTo>
                    <a:pt x="215" y="0"/>
                  </a:lnTo>
                  <a:lnTo>
                    <a:pt x="189" y="5"/>
                  </a:lnTo>
                  <a:lnTo>
                    <a:pt x="189" y="5"/>
                  </a:lnTo>
                  <a:lnTo>
                    <a:pt x="189" y="5"/>
                  </a:lnTo>
                  <a:close/>
                  <a:moveTo>
                    <a:pt x="54" y="182"/>
                  </a:moveTo>
                  <a:lnTo>
                    <a:pt x="43" y="166"/>
                  </a:lnTo>
                  <a:lnTo>
                    <a:pt x="43" y="173"/>
                  </a:lnTo>
                  <a:lnTo>
                    <a:pt x="26" y="149"/>
                  </a:lnTo>
                  <a:lnTo>
                    <a:pt x="0" y="149"/>
                  </a:lnTo>
                  <a:lnTo>
                    <a:pt x="17" y="128"/>
                  </a:lnTo>
                  <a:lnTo>
                    <a:pt x="9" y="116"/>
                  </a:lnTo>
                  <a:lnTo>
                    <a:pt x="17" y="100"/>
                  </a:lnTo>
                  <a:lnTo>
                    <a:pt x="80" y="57"/>
                  </a:lnTo>
                  <a:lnTo>
                    <a:pt x="85" y="57"/>
                  </a:lnTo>
                  <a:lnTo>
                    <a:pt x="118" y="38"/>
                  </a:lnTo>
                  <a:lnTo>
                    <a:pt x="135" y="45"/>
                  </a:lnTo>
                  <a:lnTo>
                    <a:pt x="139" y="38"/>
                  </a:lnTo>
                  <a:lnTo>
                    <a:pt x="210" y="45"/>
                  </a:lnTo>
                  <a:lnTo>
                    <a:pt x="243" y="38"/>
                  </a:lnTo>
                  <a:lnTo>
                    <a:pt x="243" y="29"/>
                  </a:lnTo>
                  <a:lnTo>
                    <a:pt x="231" y="29"/>
                  </a:lnTo>
                  <a:lnTo>
                    <a:pt x="269" y="38"/>
                  </a:lnTo>
                  <a:lnTo>
                    <a:pt x="302" y="29"/>
                  </a:lnTo>
                  <a:lnTo>
                    <a:pt x="324" y="38"/>
                  </a:lnTo>
                  <a:lnTo>
                    <a:pt x="335" y="45"/>
                  </a:lnTo>
                  <a:lnTo>
                    <a:pt x="340" y="45"/>
                  </a:lnTo>
                  <a:lnTo>
                    <a:pt x="340" y="38"/>
                  </a:lnTo>
                  <a:lnTo>
                    <a:pt x="357" y="45"/>
                  </a:lnTo>
                  <a:lnTo>
                    <a:pt x="390" y="74"/>
                  </a:lnTo>
                  <a:lnTo>
                    <a:pt x="357" y="62"/>
                  </a:lnTo>
                  <a:lnTo>
                    <a:pt x="373" y="78"/>
                  </a:lnTo>
                  <a:lnTo>
                    <a:pt x="390" y="83"/>
                  </a:lnTo>
                  <a:lnTo>
                    <a:pt x="373" y="78"/>
                  </a:lnTo>
                  <a:lnTo>
                    <a:pt x="378" y="74"/>
                  </a:lnTo>
                  <a:lnTo>
                    <a:pt x="394" y="83"/>
                  </a:lnTo>
                  <a:lnTo>
                    <a:pt x="411" y="83"/>
                  </a:lnTo>
                  <a:lnTo>
                    <a:pt x="406" y="83"/>
                  </a:lnTo>
                  <a:lnTo>
                    <a:pt x="406" y="95"/>
                  </a:lnTo>
                  <a:lnTo>
                    <a:pt x="411" y="83"/>
                  </a:lnTo>
                  <a:lnTo>
                    <a:pt x="406" y="78"/>
                  </a:lnTo>
                  <a:lnTo>
                    <a:pt x="423" y="83"/>
                  </a:lnTo>
                  <a:lnTo>
                    <a:pt x="428" y="100"/>
                  </a:lnTo>
                  <a:lnTo>
                    <a:pt x="432" y="100"/>
                  </a:lnTo>
                  <a:lnTo>
                    <a:pt x="411" y="100"/>
                  </a:lnTo>
                  <a:lnTo>
                    <a:pt x="390" y="116"/>
                  </a:lnTo>
                  <a:lnTo>
                    <a:pt x="340" y="133"/>
                  </a:lnTo>
                  <a:lnTo>
                    <a:pt x="314" y="116"/>
                  </a:lnTo>
                  <a:lnTo>
                    <a:pt x="298" y="149"/>
                  </a:lnTo>
                  <a:lnTo>
                    <a:pt x="298" y="149"/>
                  </a:lnTo>
                  <a:lnTo>
                    <a:pt x="260" y="182"/>
                  </a:lnTo>
                  <a:lnTo>
                    <a:pt x="260" y="189"/>
                  </a:lnTo>
                  <a:lnTo>
                    <a:pt x="231" y="173"/>
                  </a:lnTo>
                  <a:lnTo>
                    <a:pt x="210" y="194"/>
                  </a:lnTo>
                  <a:lnTo>
                    <a:pt x="177" y="194"/>
                  </a:lnTo>
                  <a:lnTo>
                    <a:pt x="189" y="227"/>
                  </a:lnTo>
                  <a:lnTo>
                    <a:pt x="172" y="239"/>
                  </a:lnTo>
                  <a:lnTo>
                    <a:pt x="161" y="248"/>
                  </a:lnTo>
                  <a:lnTo>
                    <a:pt x="139" y="248"/>
                  </a:lnTo>
                  <a:lnTo>
                    <a:pt x="123" y="227"/>
                  </a:lnTo>
                  <a:lnTo>
                    <a:pt x="135" y="222"/>
                  </a:lnTo>
                  <a:lnTo>
                    <a:pt x="123" y="227"/>
                  </a:lnTo>
                  <a:lnTo>
                    <a:pt x="118" y="222"/>
                  </a:lnTo>
                  <a:lnTo>
                    <a:pt x="118" y="222"/>
                  </a:lnTo>
                  <a:lnTo>
                    <a:pt x="109" y="222"/>
                  </a:lnTo>
                  <a:lnTo>
                    <a:pt x="118" y="211"/>
                  </a:lnTo>
                  <a:lnTo>
                    <a:pt x="109" y="211"/>
                  </a:lnTo>
                  <a:lnTo>
                    <a:pt x="118" y="189"/>
                  </a:lnTo>
                  <a:lnTo>
                    <a:pt x="109" y="182"/>
                  </a:lnTo>
                  <a:lnTo>
                    <a:pt x="97" y="189"/>
                  </a:lnTo>
                  <a:lnTo>
                    <a:pt x="85" y="182"/>
                  </a:lnTo>
                  <a:lnTo>
                    <a:pt x="64" y="189"/>
                  </a:lnTo>
                  <a:lnTo>
                    <a:pt x="54" y="182"/>
                  </a:lnTo>
                  <a:lnTo>
                    <a:pt x="54" y="182"/>
                  </a:lnTo>
                  <a:lnTo>
                    <a:pt x="54" y="182"/>
                  </a:lnTo>
                  <a:close/>
                  <a:moveTo>
                    <a:pt x="123" y="227"/>
                  </a:moveTo>
                  <a:lnTo>
                    <a:pt x="118" y="222"/>
                  </a:lnTo>
                  <a:lnTo>
                    <a:pt x="123" y="222"/>
                  </a:lnTo>
                  <a:lnTo>
                    <a:pt x="123" y="227"/>
                  </a:lnTo>
                  <a:lnTo>
                    <a:pt x="123" y="227"/>
                  </a:lnTo>
                  <a:lnTo>
                    <a:pt x="123" y="22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5" name="Freeform 464">
              <a:extLst>
                <a:ext uri="{FF2B5EF4-FFF2-40B4-BE49-F238E27FC236}">
                  <a16:creationId xmlns:a16="http://schemas.microsoft.com/office/drawing/2014/main" id="{BFF6FBF4-6B2B-4017-B8EB-00C241B580FB}"/>
                </a:ext>
              </a:extLst>
            </p:cNvPr>
            <p:cNvSpPr>
              <a:spLocks noEditPoints="1"/>
            </p:cNvSpPr>
            <p:nvPr/>
          </p:nvSpPr>
          <p:spPr bwMode="gray">
            <a:xfrm>
              <a:off x="14053788" y="2929265"/>
              <a:ext cx="138446" cy="119136"/>
            </a:xfrm>
            <a:custGeom>
              <a:avLst/>
              <a:gdLst>
                <a:gd name="T0" fmla="*/ 82 w 423"/>
                <a:gd name="T1" fmla="*/ 83 h 364"/>
                <a:gd name="T2" fmla="*/ 125 w 423"/>
                <a:gd name="T3" fmla="*/ 95 h 364"/>
                <a:gd name="T4" fmla="*/ 125 w 423"/>
                <a:gd name="T5" fmla="*/ 71 h 364"/>
                <a:gd name="T6" fmla="*/ 151 w 423"/>
                <a:gd name="T7" fmla="*/ 38 h 364"/>
                <a:gd name="T8" fmla="*/ 196 w 423"/>
                <a:gd name="T9" fmla="*/ 0 h 364"/>
                <a:gd name="T10" fmla="*/ 264 w 423"/>
                <a:gd name="T11" fmla="*/ 54 h 364"/>
                <a:gd name="T12" fmla="*/ 340 w 423"/>
                <a:gd name="T13" fmla="*/ 71 h 364"/>
                <a:gd name="T14" fmla="*/ 378 w 423"/>
                <a:gd name="T15" fmla="*/ 88 h 364"/>
                <a:gd name="T16" fmla="*/ 389 w 423"/>
                <a:gd name="T17" fmla="*/ 104 h 364"/>
                <a:gd name="T18" fmla="*/ 389 w 423"/>
                <a:gd name="T19" fmla="*/ 149 h 364"/>
                <a:gd name="T20" fmla="*/ 356 w 423"/>
                <a:gd name="T21" fmla="*/ 137 h 364"/>
                <a:gd name="T22" fmla="*/ 260 w 423"/>
                <a:gd name="T23" fmla="*/ 128 h 364"/>
                <a:gd name="T24" fmla="*/ 212 w 423"/>
                <a:gd name="T25" fmla="*/ 121 h 364"/>
                <a:gd name="T26" fmla="*/ 163 w 423"/>
                <a:gd name="T27" fmla="*/ 128 h 364"/>
                <a:gd name="T28" fmla="*/ 189 w 423"/>
                <a:gd name="T29" fmla="*/ 199 h 364"/>
                <a:gd name="T30" fmla="*/ 243 w 423"/>
                <a:gd name="T31" fmla="*/ 260 h 364"/>
                <a:gd name="T32" fmla="*/ 286 w 423"/>
                <a:gd name="T33" fmla="*/ 310 h 364"/>
                <a:gd name="T34" fmla="*/ 243 w 423"/>
                <a:gd name="T35" fmla="*/ 276 h 364"/>
                <a:gd name="T36" fmla="*/ 175 w 423"/>
                <a:gd name="T37" fmla="*/ 253 h 364"/>
                <a:gd name="T38" fmla="*/ 108 w 423"/>
                <a:gd name="T39" fmla="*/ 203 h 364"/>
                <a:gd name="T40" fmla="*/ 141 w 423"/>
                <a:gd name="T41" fmla="*/ 203 h 364"/>
                <a:gd name="T42" fmla="*/ 104 w 423"/>
                <a:gd name="T43" fmla="*/ 144 h 364"/>
                <a:gd name="T44" fmla="*/ 54 w 423"/>
                <a:gd name="T45" fmla="*/ 111 h 364"/>
                <a:gd name="T46" fmla="*/ 12 w 423"/>
                <a:gd name="T47" fmla="*/ 128 h 364"/>
                <a:gd name="T48" fmla="*/ 12 w 423"/>
                <a:gd name="T49" fmla="*/ 95 h 364"/>
                <a:gd name="T50" fmla="*/ 66 w 423"/>
                <a:gd name="T51" fmla="*/ 137 h 364"/>
                <a:gd name="T52" fmla="*/ 87 w 423"/>
                <a:gd name="T53" fmla="*/ 144 h 364"/>
                <a:gd name="T54" fmla="*/ 71 w 423"/>
                <a:gd name="T55" fmla="*/ 177 h 364"/>
                <a:gd name="T56" fmla="*/ 54 w 423"/>
                <a:gd name="T57" fmla="*/ 128 h 364"/>
                <a:gd name="T58" fmla="*/ 71 w 423"/>
                <a:gd name="T59" fmla="*/ 177 h 364"/>
                <a:gd name="T60" fmla="*/ 87 w 423"/>
                <a:gd name="T61" fmla="*/ 165 h 364"/>
                <a:gd name="T62" fmla="*/ 87 w 423"/>
                <a:gd name="T63" fmla="*/ 165 h 364"/>
                <a:gd name="T64" fmla="*/ 120 w 423"/>
                <a:gd name="T65" fmla="*/ 236 h 364"/>
                <a:gd name="T66" fmla="*/ 120 w 423"/>
                <a:gd name="T67" fmla="*/ 236 h 364"/>
                <a:gd name="T68" fmla="*/ 226 w 423"/>
                <a:gd name="T69" fmla="*/ 293 h 364"/>
                <a:gd name="T70" fmla="*/ 243 w 423"/>
                <a:gd name="T71" fmla="*/ 288 h 364"/>
                <a:gd name="T72" fmla="*/ 226 w 423"/>
                <a:gd name="T73" fmla="*/ 293 h 364"/>
                <a:gd name="T74" fmla="*/ 260 w 423"/>
                <a:gd name="T75" fmla="*/ 305 h 364"/>
                <a:gd name="T76" fmla="*/ 248 w 423"/>
                <a:gd name="T77" fmla="*/ 310 h 364"/>
                <a:gd name="T78" fmla="*/ 196 w 423"/>
                <a:gd name="T79" fmla="*/ 310 h 364"/>
                <a:gd name="T80" fmla="*/ 179 w 423"/>
                <a:gd name="T81" fmla="*/ 314 h 364"/>
                <a:gd name="T82" fmla="*/ 352 w 423"/>
                <a:gd name="T83" fmla="*/ 359 h 364"/>
                <a:gd name="T84" fmla="*/ 314 w 423"/>
                <a:gd name="T85" fmla="*/ 331 h 364"/>
                <a:gd name="T86" fmla="*/ 286 w 423"/>
                <a:gd name="T87" fmla="*/ 326 h 364"/>
                <a:gd name="T88" fmla="*/ 217 w 423"/>
                <a:gd name="T89" fmla="*/ 314 h 364"/>
                <a:gd name="T90" fmla="*/ 234 w 423"/>
                <a:gd name="T91" fmla="*/ 326 h 364"/>
                <a:gd name="T92" fmla="*/ 234 w 423"/>
                <a:gd name="T93" fmla="*/ 331 h 364"/>
                <a:gd name="T94" fmla="*/ 243 w 423"/>
                <a:gd name="T95" fmla="*/ 343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3" h="364">
                  <a:moveTo>
                    <a:pt x="12" y="95"/>
                  </a:moveTo>
                  <a:lnTo>
                    <a:pt x="66" y="95"/>
                  </a:lnTo>
                  <a:lnTo>
                    <a:pt x="82" y="83"/>
                  </a:lnTo>
                  <a:lnTo>
                    <a:pt x="99" y="95"/>
                  </a:lnTo>
                  <a:lnTo>
                    <a:pt x="120" y="104"/>
                  </a:lnTo>
                  <a:lnTo>
                    <a:pt x="125" y="95"/>
                  </a:lnTo>
                  <a:lnTo>
                    <a:pt x="137" y="83"/>
                  </a:lnTo>
                  <a:lnTo>
                    <a:pt x="125" y="83"/>
                  </a:lnTo>
                  <a:lnTo>
                    <a:pt x="125" y="71"/>
                  </a:lnTo>
                  <a:lnTo>
                    <a:pt x="158" y="66"/>
                  </a:lnTo>
                  <a:lnTo>
                    <a:pt x="158" y="50"/>
                  </a:lnTo>
                  <a:lnTo>
                    <a:pt x="151" y="38"/>
                  </a:lnTo>
                  <a:lnTo>
                    <a:pt x="151" y="33"/>
                  </a:lnTo>
                  <a:lnTo>
                    <a:pt x="196" y="17"/>
                  </a:lnTo>
                  <a:lnTo>
                    <a:pt x="196" y="0"/>
                  </a:lnTo>
                  <a:lnTo>
                    <a:pt x="217" y="12"/>
                  </a:lnTo>
                  <a:lnTo>
                    <a:pt x="260" y="33"/>
                  </a:lnTo>
                  <a:lnTo>
                    <a:pt x="264" y="54"/>
                  </a:lnTo>
                  <a:lnTo>
                    <a:pt x="286" y="54"/>
                  </a:lnTo>
                  <a:lnTo>
                    <a:pt x="297" y="66"/>
                  </a:lnTo>
                  <a:lnTo>
                    <a:pt x="340" y="71"/>
                  </a:lnTo>
                  <a:lnTo>
                    <a:pt x="373" y="54"/>
                  </a:lnTo>
                  <a:lnTo>
                    <a:pt x="378" y="71"/>
                  </a:lnTo>
                  <a:lnTo>
                    <a:pt x="378" y="88"/>
                  </a:lnTo>
                  <a:lnTo>
                    <a:pt x="394" y="95"/>
                  </a:lnTo>
                  <a:lnTo>
                    <a:pt x="389" y="95"/>
                  </a:lnTo>
                  <a:lnTo>
                    <a:pt x="389" y="104"/>
                  </a:lnTo>
                  <a:lnTo>
                    <a:pt x="423" y="121"/>
                  </a:lnTo>
                  <a:lnTo>
                    <a:pt x="394" y="121"/>
                  </a:lnTo>
                  <a:lnTo>
                    <a:pt x="389" y="149"/>
                  </a:lnTo>
                  <a:lnTo>
                    <a:pt x="373" y="149"/>
                  </a:lnTo>
                  <a:lnTo>
                    <a:pt x="373" y="144"/>
                  </a:lnTo>
                  <a:lnTo>
                    <a:pt x="356" y="137"/>
                  </a:lnTo>
                  <a:lnTo>
                    <a:pt x="335" y="128"/>
                  </a:lnTo>
                  <a:lnTo>
                    <a:pt x="302" y="137"/>
                  </a:lnTo>
                  <a:lnTo>
                    <a:pt x="260" y="128"/>
                  </a:lnTo>
                  <a:lnTo>
                    <a:pt x="243" y="121"/>
                  </a:lnTo>
                  <a:lnTo>
                    <a:pt x="234" y="121"/>
                  </a:lnTo>
                  <a:lnTo>
                    <a:pt x="212" y="121"/>
                  </a:lnTo>
                  <a:lnTo>
                    <a:pt x="196" y="144"/>
                  </a:lnTo>
                  <a:lnTo>
                    <a:pt x="179" y="121"/>
                  </a:lnTo>
                  <a:lnTo>
                    <a:pt x="163" y="128"/>
                  </a:lnTo>
                  <a:lnTo>
                    <a:pt x="158" y="161"/>
                  </a:lnTo>
                  <a:lnTo>
                    <a:pt x="189" y="182"/>
                  </a:lnTo>
                  <a:lnTo>
                    <a:pt x="189" y="199"/>
                  </a:lnTo>
                  <a:lnTo>
                    <a:pt x="189" y="215"/>
                  </a:lnTo>
                  <a:lnTo>
                    <a:pt x="212" y="232"/>
                  </a:lnTo>
                  <a:lnTo>
                    <a:pt x="243" y="260"/>
                  </a:lnTo>
                  <a:lnTo>
                    <a:pt x="264" y="276"/>
                  </a:lnTo>
                  <a:lnTo>
                    <a:pt x="264" y="293"/>
                  </a:lnTo>
                  <a:lnTo>
                    <a:pt x="286" y="310"/>
                  </a:lnTo>
                  <a:lnTo>
                    <a:pt x="297" y="314"/>
                  </a:lnTo>
                  <a:lnTo>
                    <a:pt x="286" y="314"/>
                  </a:lnTo>
                  <a:lnTo>
                    <a:pt x="243" y="276"/>
                  </a:lnTo>
                  <a:lnTo>
                    <a:pt x="205" y="272"/>
                  </a:lnTo>
                  <a:lnTo>
                    <a:pt x="175" y="272"/>
                  </a:lnTo>
                  <a:lnTo>
                    <a:pt x="175" y="253"/>
                  </a:lnTo>
                  <a:lnTo>
                    <a:pt x="137" y="236"/>
                  </a:lnTo>
                  <a:lnTo>
                    <a:pt x="120" y="215"/>
                  </a:lnTo>
                  <a:lnTo>
                    <a:pt x="108" y="203"/>
                  </a:lnTo>
                  <a:lnTo>
                    <a:pt x="125" y="203"/>
                  </a:lnTo>
                  <a:lnTo>
                    <a:pt x="125" y="199"/>
                  </a:lnTo>
                  <a:lnTo>
                    <a:pt x="141" y="203"/>
                  </a:lnTo>
                  <a:lnTo>
                    <a:pt x="104" y="177"/>
                  </a:lnTo>
                  <a:lnTo>
                    <a:pt x="99" y="165"/>
                  </a:lnTo>
                  <a:lnTo>
                    <a:pt x="104" y="144"/>
                  </a:lnTo>
                  <a:lnTo>
                    <a:pt x="99" y="128"/>
                  </a:lnTo>
                  <a:lnTo>
                    <a:pt x="71" y="111"/>
                  </a:lnTo>
                  <a:lnTo>
                    <a:pt x="54" y="111"/>
                  </a:lnTo>
                  <a:lnTo>
                    <a:pt x="49" y="144"/>
                  </a:lnTo>
                  <a:lnTo>
                    <a:pt x="28" y="161"/>
                  </a:lnTo>
                  <a:lnTo>
                    <a:pt x="12" y="128"/>
                  </a:lnTo>
                  <a:lnTo>
                    <a:pt x="0" y="95"/>
                  </a:lnTo>
                  <a:lnTo>
                    <a:pt x="12" y="95"/>
                  </a:lnTo>
                  <a:lnTo>
                    <a:pt x="12" y="95"/>
                  </a:lnTo>
                  <a:lnTo>
                    <a:pt x="12" y="95"/>
                  </a:lnTo>
                  <a:close/>
                  <a:moveTo>
                    <a:pt x="87" y="144"/>
                  </a:moveTo>
                  <a:lnTo>
                    <a:pt x="66" y="137"/>
                  </a:lnTo>
                  <a:lnTo>
                    <a:pt x="71" y="121"/>
                  </a:lnTo>
                  <a:lnTo>
                    <a:pt x="99" y="144"/>
                  </a:lnTo>
                  <a:lnTo>
                    <a:pt x="87" y="144"/>
                  </a:lnTo>
                  <a:lnTo>
                    <a:pt x="87" y="144"/>
                  </a:lnTo>
                  <a:lnTo>
                    <a:pt x="87" y="144"/>
                  </a:lnTo>
                  <a:close/>
                  <a:moveTo>
                    <a:pt x="71" y="177"/>
                  </a:moveTo>
                  <a:lnTo>
                    <a:pt x="54" y="149"/>
                  </a:lnTo>
                  <a:lnTo>
                    <a:pt x="66" y="149"/>
                  </a:lnTo>
                  <a:lnTo>
                    <a:pt x="54" y="128"/>
                  </a:lnTo>
                  <a:lnTo>
                    <a:pt x="54" y="128"/>
                  </a:lnTo>
                  <a:lnTo>
                    <a:pt x="71" y="144"/>
                  </a:lnTo>
                  <a:lnTo>
                    <a:pt x="71" y="177"/>
                  </a:lnTo>
                  <a:lnTo>
                    <a:pt x="71" y="177"/>
                  </a:lnTo>
                  <a:lnTo>
                    <a:pt x="71" y="177"/>
                  </a:lnTo>
                  <a:close/>
                  <a:moveTo>
                    <a:pt x="87" y="165"/>
                  </a:moveTo>
                  <a:lnTo>
                    <a:pt x="125" y="199"/>
                  </a:lnTo>
                  <a:lnTo>
                    <a:pt x="108" y="199"/>
                  </a:lnTo>
                  <a:lnTo>
                    <a:pt x="87" y="165"/>
                  </a:lnTo>
                  <a:lnTo>
                    <a:pt x="87" y="165"/>
                  </a:lnTo>
                  <a:lnTo>
                    <a:pt x="87" y="165"/>
                  </a:lnTo>
                  <a:close/>
                  <a:moveTo>
                    <a:pt x="120" y="236"/>
                  </a:moveTo>
                  <a:lnTo>
                    <a:pt x="99" y="215"/>
                  </a:lnTo>
                  <a:lnTo>
                    <a:pt x="108" y="220"/>
                  </a:lnTo>
                  <a:lnTo>
                    <a:pt x="120" y="236"/>
                  </a:lnTo>
                  <a:lnTo>
                    <a:pt x="120" y="236"/>
                  </a:lnTo>
                  <a:lnTo>
                    <a:pt x="120" y="236"/>
                  </a:lnTo>
                  <a:close/>
                  <a:moveTo>
                    <a:pt x="226" y="293"/>
                  </a:moveTo>
                  <a:lnTo>
                    <a:pt x="205" y="288"/>
                  </a:lnTo>
                  <a:lnTo>
                    <a:pt x="205" y="288"/>
                  </a:lnTo>
                  <a:lnTo>
                    <a:pt x="243" y="288"/>
                  </a:lnTo>
                  <a:lnTo>
                    <a:pt x="226" y="293"/>
                  </a:lnTo>
                  <a:lnTo>
                    <a:pt x="226" y="293"/>
                  </a:lnTo>
                  <a:lnTo>
                    <a:pt x="226" y="293"/>
                  </a:lnTo>
                  <a:close/>
                  <a:moveTo>
                    <a:pt x="248" y="310"/>
                  </a:moveTo>
                  <a:lnTo>
                    <a:pt x="205" y="305"/>
                  </a:lnTo>
                  <a:lnTo>
                    <a:pt x="260" y="305"/>
                  </a:lnTo>
                  <a:lnTo>
                    <a:pt x="248" y="310"/>
                  </a:lnTo>
                  <a:lnTo>
                    <a:pt x="248" y="310"/>
                  </a:lnTo>
                  <a:lnTo>
                    <a:pt x="248" y="310"/>
                  </a:lnTo>
                  <a:close/>
                  <a:moveTo>
                    <a:pt x="179" y="314"/>
                  </a:moveTo>
                  <a:lnTo>
                    <a:pt x="179" y="310"/>
                  </a:lnTo>
                  <a:lnTo>
                    <a:pt x="196" y="310"/>
                  </a:lnTo>
                  <a:lnTo>
                    <a:pt x="179" y="314"/>
                  </a:lnTo>
                  <a:lnTo>
                    <a:pt x="179" y="314"/>
                  </a:lnTo>
                  <a:lnTo>
                    <a:pt x="179" y="314"/>
                  </a:lnTo>
                  <a:close/>
                  <a:moveTo>
                    <a:pt x="286" y="326"/>
                  </a:moveTo>
                  <a:lnTo>
                    <a:pt x="302" y="326"/>
                  </a:lnTo>
                  <a:lnTo>
                    <a:pt x="352" y="359"/>
                  </a:lnTo>
                  <a:lnTo>
                    <a:pt x="352" y="364"/>
                  </a:lnTo>
                  <a:lnTo>
                    <a:pt x="352" y="364"/>
                  </a:lnTo>
                  <a:lnTo>
                    <a:pt x="314" y="331"/>
                  </a:lnTo>
                  <a:lnTo>
                    <a:pt x="248" y="310"/>
                  </a:lnTo>
                  <a:lnTo>
                    <a:pt x="286" y="326"/>
                  </a:lnTo>
                  <a:lnTo>
                    <a:pt x="286" y="326"/>
                  </a:lnTo>
                  <a:lnTo>
                    <a:pt x="286" y="326"/>
                  </a:lnTo>
                  <a:close/>
                  <a:moveTo>
                    <a:pt x="234" y="326"/>
                  </a:moveTo>
                  <a:lnTo>
                    <a:pt x="217" y="314"/>
                  </a:lnTo>
                  <a:lnTo>
                    <a:pt x="260" y="326"/>
                  </a:lnTo>
                  <a:lnTo>
                    <a:pt x="234" y="326"/>
                  </a:lnTo>
                  <a:lnTo>
                    <a:pt x="234" y="326"/>
                  </a:lnTo>
                  <a:lnTo>
                    <a:pt x="234" y="326"/>
                  </a:lnTo>
                  <a:close/>
                  <a:moveTo>
                    <a:pt x="243" y="343"/>
                  </a:moveTo>
                  <a:lnTo>
                    <a:pt x="234" y="331"/>
                  </a:lnTo>
                  <a:lnTo>
                    <a:pt x="243" y="331"/>
                  </a:lnTo>
                  <a:lnTo>
                    <a:pt x="243" y="343"/>
                  </a:lnTo>
                  <a:lnTo>
                    <a:pt x="243" y="343"/>
                  </a:lnTo>
                  <a:lnTo>
                    <a:pt x="243" y="343"/>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6" name="Freeform 465">
              <a:extLst>
                <a:ext uri="{FF2B5EF4-FFF2-40B4-BE49-F238E27FC236}">
                  <a16:creationId xmlns:a16="http://schemas.microsoft.com/office/drawing/2014/main" id="{A24C30FE-4653-4AE7-A024-A3855A05A048}"/>
                </a:ext>
              </a:extLst>
            </p:cNvPr>
            <p:cNvSpPr>
              <a:spLocks/>
            </p:cNvSpPr>
            <p:nvPr/>
          </p:nvSpPr>
          <p:spPr bwMode="gray">
            <a:xfrm>
              <a:off x="14111720" y="2869042"/>
              <a:ext cx="156775" cy="84115"/>
            </a:xfrm>
            <a:custGeom>
              <a:avLst/>
              <a:gdLst>
                <a:gd name="T0" fmla="*/ 298 w 479"/>
                <a:gd name="T1" fmla="*/ 224 h 257"/>
                <a:gd name="T2" fmla="*/ 248 w 479"/>
                <a:gd name="T3" fmla="*/ 217 h 257"/>
                <a:gd name="T4" fmla="*/ 227 w 479"/>
                <a:gd name="T5" fmla="*/ 234 h 257"/>
                <a:gd name="T6" fmla="*/ 215 w 479"/>
                <a:gd name="T7" fmla="*/ 234 h 257"/>
                <a:gd name="T8" fmla="*/ 194 w 479"/>
                <a:gd name="T9" fmla="*/ 241 h 257"/>
                <a:gd name="T10" fmla="*/ 163 w 479"/>
                <a:gd name="T11" fmla="*/ 257 h 257"/>
                <a:gd name="T12" fmla="*/ 118 w 479"/>
                <a:gd name="T13" fmla="*/ 250 h 257"/>
                <a:gd name="T14" fmla="*/ 109 w 479"/>
                <a:gd name="T15" fmla="*/ 241 h 257"/>
                <a:gd name="T16" fmla="*/ 87 w 479"/>
                <a:gd name="T17" fmla="*/ 241 h 257"/>
                <a:gd name="T18" fmla="*/ 80 w 479"/>
                <a:gd name="T19" fmla="*/ 217 h 257"/>
                <a:gd name="T20" fmla="*/ 38 w 479"/>
                <a:gd name="T21" fmla="*/ 196 h 257"/>
                <a:gd name="T22" fmla="*/ 16 w 479"/>
                <a:gd name="T23" fmla="*/ 168 h 257"/>
                <a:gd name="T24" fmla="*/ 26 w 479"/>
                <a:gd name="T25" fmla="*/ 160 h 257"/>
                <a:gd name="T26" fmla="*/ 0 w 479"/>
                <a:gd name="T27" fmla="*/ 156 h 257"/>
                <a:gd name="T28" fmla="*/ 16 w 479"/>
                <a:gd name="T29" fmla="*/ 144 h 257"/>
                <a:gd name="T30" fmla="*/ 33 w 479"/>
                <a:gd name="T31" fmla="*/ 144 h 257"/>
                <a:gd name="T32" fmla="*/ 26 w 479"/>
                <a:gd name="T33" fmla="*/ 123 h 257"/>
                <a:gd name="T34" fmla="*/ 33 w 479"/>
                <a:gd name="T35" fmla="*/ 123 h 257"/>
                <a:gd name="T36" fmla="*/ 33 w 479"/>
                <a:gd name="T37" fmla="*/ 106 h 257"/>
                <a:gd name="T38" fmla="*/ 49 w 479"/>
                <a:gd name="T39" fmla="*/ 99 h 257"/>
                <a:gd name="T40" fmla="*/ 33 w 479"/>
                <a:gd name="T41" fmla="*/ 83 h 257"/>
                <a:gd name="T42" fmla="*/ 38 w 479"/>
                <a:gd name="T43" fmla="*/ 73 h 257"/>
                <a:gd name="T44" fmla="*/ 49 w 479"/>
                <a:gd name="T45" fmla="*/ 83 h 257"/>
                <a:gd name="T46" fmla="*/ 71 w 479"/>
                <a:gd name="T47" fmla="*/ 83 h 257"/>
                <a:gd name="T48" fmla="*/ 80 w 479"/>
                <a:gd name="T49" fmla="*/ 49 h 257"/>
                <a:gd name="T50" fmla="*/ 92 w 479"/>
                <a:gd name="T51" fmla="*/ 49 h 257"/>
                <a:gd name="T52" fmla="*/ 125 w 479"/>
                <a:gd name="T53" fmla="*/ 73 h 257"/>
                <a:gd name="T54" fmla="*/ 156 w 479"/>
                <a:gd name="T55" fmla="*/ 73 h 257"/>
                <a:gd name="T56" fmla="*/ 194 w 479"/>
                <a:gd name="T57" fmla="*/ 66 h 257"/>
                <a:gd name="T58" fmla="*/ 194 w 479"/>
                <a:gd name="T59" fmla="*/ 54 h 257"/>
                <a:gd name="T60" fmla="*/ 210 w 479"/>
                <a:gd name="T61" fmla="*/ 49 h 257"/>
                <a:gd name="T62" fmla="*/ 243 w 479"/>
                <a:gd name="T63" fmla="*/ 45 h 257"/>
                <a:gd name="T64" fmla="*/ 248 w 479"/>
                <a:gd name="T65" fmla="*/ 33 h 257"/>
                <a:gd name="T66" fmla="*/ 269 w 479"/>
                <a:gd name="T67" fmla="*/ 45 h 257"/>
                <a:gd name="T68" fmla="*/ 302 w 479"/>
                <a:gd name="T69" fmla="*/ 28 h 257"/>
                <a:gd name="T70" fmla="*/ 319 w 479"/>
                <a:gd name="T71" fmla="*/ 0 h 257"/>
                <a:gd name="T72" fmla="*/ 323 w 479"/>
                <a:gd name="T73" fmla="*/ 0 h 257"/>
                <a:gd name="T74" fmla="*/ 357 w 479"/>
                <a:gd name="T75" fmla="*/ 0 h 257"/>
                <a:gd name="T76" fmla="*/ 378 w 479"/>
                <a:gd name="T77" fmla="*/ 0 h 257"/>
                <a:gd name="T78" fmla="*/ 404 w 479"/>
                <a:gd name="T79" fmla="*/ 16 h 257"/>
                <a:gd name="T80" fmla="*/ 427 w 479"/>
                <a:gd name="T81" fmla="*/ 16 h 257"/>
                <a:gd name="T82" fmla="*/ 432 w 479"/>
                <a:gd name="T83" fmla="*/ 16 h 257"/>
                <a:gd name="T84" fmla="*/ 465 w 479"/>
                <a:gd name="T85" fmla="*/ 45 h 257"/>
                <a:gd name="T86" fmla="*/ 475 w 479"/>
                <a:gd name="T87" fmla="*/ 45 h 257"/>
                <a:gd name="T88" fmla="*/ 479 w 479"/>
                <a:gd name="T89" fmla="*/ 54 h 257"/>
                <a:gd name="T90" fmla="*/ 465 w 479"/>
                <a:gd name="T91" fmla="*/ 73 h 257"/>
                <a:gd name="T92" fmla="*/ 442 w 479"/>
                <a:gd name="T93" fmla="*/ 83 h 257"/>
                <a:gd name="T94" fmla="*/ 420 w 479"/>
                <a:gd name="T95" fmla="*/ 99 h 257"/>
                <a:gd name="T96" fmla="*/ 420 w 479"/>
                <a:gd name="T97" fmla="*/ 111 h 257"/>
                <a:gd name="T98" fmla="*/ 394 w 479"/>
                <a:gd name="T99" fmla="*/ 144 h 257"/>
                <a:gd name="T100" fmla="*/ 390 w 479"/>
                <a:gd name="T101" fmla="*/ 168 h 257"/>
                <a:gd name="T102" fmla="*/ 373 w 479"/>
                <a:gd name="T103" fmla="*/ 179 h 257"/>
                <a:gd name="T104" fmla="*/ 366 w 479"/>
                <a:gd name="T105" fmla="*/ 212 h 257"/>
                <a:gd name="T106" fmla="*/ 335 w 479"/>
                <a:gd name="T107" fmla="*/ 212 h 257"/>
                <a:gd name="T108" fmla="*/ 323 w 479"/>
                <a:gd name="T109" fmla="*/ 224 h 257"/>
                <a:gd name="T110" fmla="*/ 314 w 479"/>
                <a:gd name="T111" fmla="*/ 217 h 257"/>
                <a:gd name="T112" fmla="*/ 298 w 479"/>
                <a:gd name="T113" fmla="*/ 224 h 257"/>
                <a:gd name="T114" fmla="*/ 298 w 479"/>
                <a:gd name="T115" fmla="*/ 224 h 257"/>
                <a:gd name="T116" fmla="*/ 298 w 479"/>
                <a:gd name="T117" fmla="*/ 22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9" h="257">
                  <a:moveTo>
                    <a:pt x="298" y="224"/>
                  </a:moveTo>
                  <a:lnTo>
                    <a:pt x="248" y="217"/>
                  </a:lnTo>
                  <a:lnTo>
                    <a:pt x="227" y="234"/>
                  </a:lnTo>
                  <a:lnTo>
                    <a:pt x="215" y="234"/>
                  </a:lnTo>
                  <a:lnTo>
                    <a:pt x="194" y="241"/>
                  </a:lnTo>
                  <a:lnTo>
                    <a:pt x="163" y="257"/>
                  </a:lnTo>
                  <a:lnTo>
                    <a:pt x="118" y="250"/>
                  </a:lnTo>
                  <a:lnTo>
                    <a:pt x="109" y="241"/>
                  </a:lnTo>
                  <a:lnTo>
                    <a:pt x="87" y="241"/>
                  </a:lnTo>
                  <a:lnTo>
                    <a:pt x="80" y="217"/>
                  </a:lnTo>
                  <a:lnTo>
                    <a:pt x="38" y="196"/>
                  </a:lnTo>
                  <a:lnTo>
                    <a:pt x="16" y="168"/>
                  </a:lnTo>
                  <a:lnTo>
                    <a:pt x="26" y="160"/>
                  </a:lnTo>
                  <a:lnTo>
                    <a:pt x="0" y="156"/>
                  </a:lnTo>
                  <a:lnTo>
                    <a:pt x="16" y="144"/>
                  </a:lnTo>
                  <a:lnTo>
                    <a:pt x="33" y="144"/>
                  </a:lnTo>
                  <a:lnTo>
                    <a:pt x="26" y="123"/>
                  </a:lnTo>
                  <a:lnTo>
                    <a:pt x="33" y="123"/>
                  </a:lnTo>
                  <a:lnTo>
                    <a:pt x="33" y="106"/>
                  </a:lnTo>
                  <a:lnTo>
                    <a:pt x="49" y="99"/>
                  </a:lnTo>
                  <a:lnTo>
                    <a:pt x="33" y="83"/>
                  </a:lnTo>
                  <a:lnTo>
                    <a:pt x="38" y="73"/>
                  </a:lnTo>
                  <a:lnTo>
                    <a:pt x="49" y="83"/>
                  </a:lnTo>
                  <a:lnTo>
                    <a:pt x="71" y="83"/>
                  </a:lnTo>
                  <a:lnTo>
                    <a:pt x="80" y="49"/>
                  </a:lnTo>
                  <a:lnTo>
                    <a:pt x="92" y="49"/>
                  </a:lnTo>
                  <a:lnTo>
                    <a:pt x="125" y="73"/>
                  </a:lnTo>
                  <a:lnTo>
                    <a:pt x="156" y="73"/>
                  </a:lnTo>
                  <a:lnTo>
                    <a:pt x="194" y="66"/>
                  </a:lnTo>
                  <a:lnTo>
                    <a:pt x="194" y="54"/>
                  </a:lnTo>
                  <a:lnTo>
                    <a:pt x="210" y="49"/>
                  </a:lnTo>
                  <a:lnTo>
                    <a:pt x="243" y="45"/>
                  </a:lnTo>
                  <a:lnTo>
                    <a:pt x="248" y="33"/>
                  </a:lnTo>
                  <a:lnTo>
                    <a:pt x="269" y="45"/>
                  </a:lnTo>
                  <a:lnTo>
                    <a:pt x="302" y="28"/>
                  </a:lnTo>
                  <a:lnTo>
                    <a:pt x="319" y="0"/>
                  </a:lnTo>
                  <a:lnTo>
                    <a:pt x="323" y="0"/>
                  </a:lnTo>
                  <a:lnTo>
                    <a:pt x="357" y="0"/>
                  </a:lnTo>
                  <a:lnTo>
                    <a:pt x="378" y="0"/>
                  </a:lnTo>
                  <a:lnTo>
                    <a:pt x="404" y="16"/>
                  </a:lnTo>
                  <a:lnTo>
                    <a:pt x="427" y="16"/>
                  </a:lnTo>
                  <a:lnTo>
                    <a:pt x="432" y="16"/>
                  </a:lnTo>
                  <a:lnTo>
                    <a:pt x="465" y="45"/>
                  </a:lnTo>
                  <a:lnTo>
                    <a:pt x="475" y="45"/>
                  </a:lnTo>
                  <a:lnTo>
                    <a:pt x="479" y="54"/>
                  </a:lnTo>
                  <a:lnTo>
                    <a:pt x="465" y="73"/>
                  </a:lnTo>
                  <a:lnTo>
                    <a:pt x="442" y="83"/>
                  </a:lnTo>
                  <a:lnTo>
                    <a:pt x="420" y="99"/>
                  </a:lnTo>
                  <a:lnTo>
                    <a:pt x="420" y="111"/>
                  </a:lnTo>
                  <a:lnTo>
                    <a:pt x="394" y="144"/>
                  </a:lnTo>
                  <a:lnTo>
                    <a:pt x="390" y="168"/>
                  </a:lnTo>
                  <a:lnTo>
                    <a:pt x="373" y="179"/>
                  </a:lnTo>
                  <a:lnTo>
                    <a:pt x="366" y="212"/>
                  </a:lnTo>
                  <a:lnTo>
                    <a:pt x="335" y="212"/>
                  </a:lnTo>
                  <a:lnTo>
                    <a:pt x="323" y="224"/>
                  </a:lnTo>
                  <a:lnTo>
                    <a:pt x="314" y="217"/>
                  </a:lnTo>
                  <a:lnTo>
                    <a:pt x="298" y="224"/>
                  </a:lnTo>
                  <a:lnTo>
                    <a:pt x="298" y="224"/>
                  </a:lnTo>
                  <a:lnTo>
                    <a:pt x="298" y="224"/>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7" name="Freeform 466">
              <a:extLst>
                <a:ext uri="{FF2B5EF4-FFF2-40B4-BE49-F238E27FC236}">
                  <a16:creationId xmlns:a16="http://schemas.microsoft.com/office/drawing/2014/main" id="{8824F35A-2351-4504-9CDC-6B4F6E4B1F7C}"/>
                </a:ext>
              </a:extLst>
            </p:cNvPr>
            <p:cNvSpPr>
              <a:spLocks/>
            </p:cNvSpPr>
            <p:nvPr/>
          </p:nvSpPr>
          <p:spPr bwMode="gray">
            <a:xfrm>
              <a:off x="13180888" y="2252088"/>
              <a:ext cx="252673" cy="122082"/>
            </a:xfrm>
            <a:custGeom>
              <a:avLst/>
              <a:gdLst>
                <a:gd name="T0" fmla="*/ 215 w 772"/>
                <a:gd name="T1" fmla="*/ 241 h 373"/>
                <a:gd name="T2" fmla="*/ 160 w 772"/>
                <a:gd name="T3" fmla="*/ 250 h 373"/>
                <a:gd name="T4" fmla="*/ 156 w 772"/>
                <a:gd name="T5" fmla="*/ 224 h 373"/>
                <a:gd name="T6" fmla="*/ 47 w 772"/>
                <a:gd name="T7" fmla="*/ 224 h 373"/>
                <a:gd name="T8" fmla="*/ 90 w 772"/>
                <a:gd name="T9" fmla="*/ 184 h 373"/>
                <a:gd name="T10" fmla="*/ 172 w 772"/>
                <a:gd name="T11" fmla="*/ 179 h 373"/>
                <a:gd name="T12" fmla="*/ 156 w 772"/>
                <a:gd name="T13" fmla="*/ 127 h 373"/>
                <a:gd name="T14" fmla="*/ 101 w 772"/>
                <a:gd name="T15" fmla="*/ 123 h 373"/>
                <a:gd name="T16" fmla="*/ 14 w 772"/>
                <a:gd name="T17" fmla="*/ 111 h 373"/>
                <a:gd name="T18" fmla="*/ 52 w 772"/>
                <a:gd name="T19" fmla="*/ 111 h 373"/>
                <a:gd name="T20" fmla="*/ 68 w 772"/>
                <a:gd name="T21" fmla="*/ 111 h 373"/>
                <a:gd name="T22" fmla="*/ 90 w 772"/>
                <a:gd name="T23" fmla="*/ 94 h 373"/>
                <a:gd name="T24" fmla="*/ 52 w 772"/>
                <a:gd name="T25" fmla="*/ 85 h 373"/>
                <a:gd name="T26" fmla="*/ 52 w 772"/>
                <a:gd name="T27" fmla="*/ 68 h 373"/>
                <a:gd name="T28" fmla="*/ 75 w 772"/>
                <a:gd name="T29" fmla="*/ 49 h 373"/>
                <a:gd name="T30" fmla="*/ 139 w 772"/>
                <a:gd name="T31" fmla="*/ 73 h 373"/>
                <a:gd name="T32" fmla="*/ 144 w 772"/>
                <a:gd name="T33" fmla="*/ 90 h 373"/>
                <a:gd name="T34" fmla="*/ 106 w 772"/>
                <a:gd name="T35" fmla="*/ 40 h 373"/>
                <a:gd name="T36" fmla="*/ 106 w 772"/>
                <a:gd name="T37" fmla="*/ 16 h 373"/>
                <a:gd name="T38" fmla="*/ 194 w 772"/>
                <a:gd name="T39" fmla="*/ 49 h 373"/>
                <a:gd name="T40" fmla="*/ 210 w 772"/>
                <a:gd name="T41" fmla="*/ 73 h 373"/>
                <a:gd name="T42" fmla="*/ 210 w 772"/>
                <a:gd name="T43" fmla="*/ 106 h 373"/>
                <a:gd name="T44" fmla="*/ 227 w 772"/>
                <a:gd name="T45" fmla="*/ 123 h 373"/>
                <a:gd name="T46" fmla="*/ 248 w 772"/>
                <a:gd name="T47" fmla="*/ 139 h 373"/>
                <a:gd name="T48" fmla="*/ 269 w 772"/>
                <a:gd name="T49" fmla="*/ 123 h 373"/>
                <a:gd name="T50" fmla="*/ 302 w 772"/>
                <a:gd name="T51" fmla="*/ 94 h 373"/>
                <a:gd name="T52" fmla="*/ 345 w 772"/>
                <a:gd name="T53" fmla="*/ 94 h 373"/>
                <a:gd name="T54" fmla="*/ 354 w 772"/>
                <a:gd name="T55" fmla="*/ 73 h 373"/>
                <a:gd name="T56" fmla="*/ 387 w 772"/>
                <a:gd name="T57" fmla="*/ 49 h 373"/>
                <a:gd name="T58" fmla="*/ 425 w 772"/>
                <a:gd name="T59" fmla="*/ 73 h 373"/>
                <a:gd name="T60" fmla="*/ 453 w 772"/>
                <a:gd name="T61" fmla="*/ 90 h 373"/>
                <a:gd name="T62" fmla="*/ 463 w 772"/>
                <a:gd name="T63" fmla="*/ 49 h 373"/>
                <a:gd name="T64" fmla="*/ 517 w 772"/>
                <a:gd name="T65" fmla="*/ 40 h 373"/>
                <a:gd name="T66" fmla="*/ 571 w 772"/>
                <a:gd name="T67" fmla="*/ 33 h 373"/>
                <a:gd name="T68" fmla="*/ 614 w 772"/>
                <a:gd name="T69" fmla="*/ 28 h 373"/>
                <a:gd name="T70" fmla="*/ 668 w 772"/>
                <a:gd name="T71" fmla="*/ 28 h 373"/>
                <a:gd name="T72" fmla="*/ 668 w 772"/>
                <a:gd name="T73" fmla="*/ 49 h 373"/>
                <a:gd name="T74" fmla="*/ 680 w 772"/>
                <a:gd name="T75" fmla="*/ 106 h 373"/>
                <a:gd name="T76" fmla="*/ 701 w 772"/>
                <a:gd name="T77" fmla="*/ 127 h 373"/>
                <a:gd name="T78" fmla="*/ 765 w 772"/>
                <a:gd name="T79" fmla="*/ 127 h 373"/>
                <a:gd name="T80" fmla="*/ 734 w 772"/>
                <a:gd name="T81" fmla="*/ 168 h 373"/>
                <a:gd name="T82" fmla="*/ 765 w 772"/>
                <a:gd name="T83" fmla="*/ 196 h 373"/>
                <a:gd name="T84" fmla="*/ 734 w 772"/>
                <a:gd name="T85" fmla="*/ 196 h 373"/>
                <a:gd name="T86" fmla="*/ 739 w 772"/>
                <a:gd name="T87" fmla="*/ 224 h 373"/>
                <a:gd name="T88" fmla="*/ 711 w 772"/>
                <a:gd name="T89" fmla="*/ 224 h 373"/>
                <a:gd name="T90" fmla="*/ 701 w 772"/>
                <a:gd name="T91" fmla="*/ 257 h 373"/>
                <a:gd name="T92" fmla="*/ 642 w 772"/>
                <a:gd name="T93" fmla="*/ 262 h 373"/>
                <a:gd name="T94" fmla="*/ 560 w 772"/>
                <a:gd name="T95" fmla="*/ 319 h 373"/>
                <a:gd name="T96" fmla="*/ 522 w 772"/>
                <a:gd name="T97" fmla="*/ 328 h 373"/>
                <a:gd name="T98" fmla="*/ 468 w 772"/>
                <a:gd name="T99" fmla="*/ 352 h 373"/>
                <a:gd name="T100" fmla="*/ 302 w 772"/>
                <a:gd name="T101" fmla="*/ 364 h 373"/>
                <a:gd name="T102" fmla="*/ 290 w 772"/>
                <a:gd name="T103" fmla="*/ 335 h 373"/>
                <a:gd name="T104" fmla="*/ 279 w 772"/>
                <a:gd name="T105" fmla="*/ 328 h 373"/>
                <a:gd name="T106" fmla="*/ 231 w 772"/>
                <a:gd name="T107" fmla="*/ 319 h 373"/>
                <a:gd name="T108" fmla="*/ 123 w 772"/>
                <a:gd name="T109" fmla="*/ 328 h 373"/>
                <a:gd name="T110" fmla="*/ 177 w 772"/>
                <a:gd name="T111" fmla="*/ 295 h 373"/>
                <a:gd name="T112" fmla="*/ 198 w 772"/>
                <a:gd name="T113" fmla="*/ 279 h 373"/>
                <a:gd name="T114" fmla="*/ 227 w 772"/>
                <a:gd name="T115" fmla="*/ 262 h 373"/>
                <a:gd name="T116" fmla="*/ 177 w 772"/>
                <a:gd name="T117" fmla="*/ 257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72" h="373">
                  <a:moveTo>
                    <a:pt x="177" y="257"/>
                  </a:moveTo>
                  <a:lnTo>
                    <a:pt x="198" y="234"/>
                  </a:lnTo>
                  <a:lnTo>
                    <a:pt x="215" y="241"/>
                  </a:lnTo>
                  <a:lnTo>
                    <a:pt x="198" y="234"/>
                  </a:lnTo>
                  <a:lnTo>
                    <a:pt x="210" y="234"/>
                  </a:lnTo>
                  <a:lnTo>
                    <a:pt x="160" y="250"/>
                  </a:lnTo>
                  <a:lnTo>
                    <a:pt x="156" y="241"/>
                  </a:lnTo>
                  <a:lnTo>
                    <a:pt x="144" y="234"/>
                  </a:lnTo>
                  <a:lnTo>
                    <a:pt x="156" y="224"/>
                  </a:lnTo>
                  <a:lnTo>
                    <a:pt x="144" y="208"/>
                  </a:lnTo>
                  <a:lnTo>
                    <a:pt x="75" y="208"/>
                  </a:lnTo>
                  <a:lnTo>
                    <a:pt x="47" y="224"/>
                  </a:lnTo>
                  <a:lnTo>
                    <a:pt x="31" y="201"/>
                  </a:lnTo>
                  <a:lnTo>
                    <a:pt x="64" y="201"/>
                  </a:lnTo>
                  <a:lnTo>
                    <a:pt x="90" y="184"/>
                  </a:lnTo>
                  <a:lnTo>
                    <a:pt x="182" y="184"/>
                  </a:lnTo>
                  <a:lnTo>
                    <a:pt x="194" y="163"/>
                  </a:lnTo>
                  <a:lnTo>
                    <a:pt x="172" y="179"/>
                  </a:lnTo>
                  <a:lnTo>
                    <a:pt x="139" y="168"/>
                  </a:lnTo>
                  <a:lnTo>
                    <a:pt x="198" y="139"/>
                  </a:lnTo>
                  <a:lnTo>
                    <a:pt x="156" y="127"/>
                  </a:lnTo>
                  <a:lnTo>
                    <a:pt x="172" y="123"/>
                  </a:lnTo>
                  <a:lnTo>
                    <a:pt x="144" y="127"/>
                  </a:lnTo>
                  <a:lnTo>
                    <a:pt x="101" y="123"/>
                  </a:lnTo>
                  <a:lnTo>
                    <a:pt x="47" y="139"/>
                  </a:lnTo>
                  <a:lnTo>
                    <a:pt x="0" y="127"/>
                  </a:lnTo>
                  <a:lnTo>
                    <a:pt x="14" y="111"/>
                  </a:lnTo>
                  <a:lnTo>
                    <a:pt x="52" y="127"/>
                  </a:lnTo>
                  <a:lnTo>
                    <a:pt x="31" y="111"/>
                  </a:lnTo>
                  <a:lnTo>
                    <a:pt x="52" y="111"/>
                  </a:lnTo>
                  <a:lnTo>
                    <a:pt x="31" y="106"/>
                  </a:lnTo>
                  <a:lnTo>
                    <a:pt x="31" y="90"/>
                  </a:lnTo>
                  <a:lnTo>
                    <a:pt x="68" y="111"/>
                  </a:lnTo>
                  <a:lnTo>
                    <a:pt x="85" y="111"/>
                  </a:lnTo>
                  <a:lnTo>
                    <a:pt x="68" y="106"/>
                  </a:lnTo>
                  <a:lnTo>
                    <a:pt x="90" y="94"/>
                  </a:lnTo>
                  <a:lnTo>
                    <a:pt x="52" y="94"/>
                  </a:lnTo>
                  <a:lnTo>
                    <a:pt x="47" y="90"/>
                  </a:lnTo>
                  <a:lnTo>
                    <a:pt x="52" y="85"/>
                  </a:lnTo>
                  <a:lnTo>
                    <a:pt x="90" y="90"/>
                  </a:lnTo>
                  <a:lnTo>
                    <a:pt x="47" y="68"/>
                  </a:lnTo>
                  <a:lnTo>
                    <a:pt x="52" y="68"/>
                  </a:lnTo>
                  <a:lnTo>
                    <a:pt x="85" y="73"/>
                  </a:lnTo>
                  <a:lnTo>
                    <a:pt x="64" y="57"/>
                  </a:lnTo>
                  <a:lnTo>
                    <a:pt x="75" y="49"/>
                  </a:lnTo>
                  <a:lnTo>
                    <a:pt x="123" y="73"/>
                  </a:lnTo>
                  <a:lnTo>
                    <a:pt x="127" y="68"/>
                  </a:lnTo>
                  <a:lnTo>
                    <a:pt x="139" y="73"/>
                  </a:lnTo>
                  <a:lnTo>
                    <a:pt x="127" y="90"/>
                  </a:lnTo>
                  <a:lnTo>
                    <a:pt x="139" y="73"/>
                  </a:lnTo>
                  <a:lnTo>
                    <a:pt x="144" y="90"/>
                  </a:lnTo>
                  <a:lnTo>
                    <a:pt x="144" y="73"/>
                  </a:lnTo>
                  <a:lnTo>
                    <a:pt x="139" y="57"/>
                  </a:lnTo>
                  <a:lnTo>
                    <a:pt x="106" y="40"/>
                  </a:lnTo>
                  <a:lnTo>
                    <a:pt x="144" y="40"/>
                  </a:lnTo>
                  <a:lnTo>
                    <a:pt x="90" y="28"/>
                  </a:lnTo>
                  <a:lnTo>
                    <a:pt x="106" y="16"/>
                  </a:lnTo>
                  <a:lnTo>
                    <a:pt x="144" y="16"/>
                  </a:lnTo>
                  <a:lnTo>
                    <a:pt x="160" y="33"/>
                  </a:lnTo>
                  <a:lnTo>
                    <a:pt x="194" y="49"/>
                  </a:lnTo>
                  <a:lnTo>
                    <a:pt x="198" y="68"/>
                  </a:lnTo>
                  <a:lnTo>
                    <a:pt x="215" y="68"/>
                  </a:lnTo>
                  <a:lnTo>
                    <a:pt x="210" y="73"/>
                  </a:lnTo>
                  <a:lnTo>
                    <a:pt x="227" y="85"/>
                  </a:lnTo>
                  <a:lnTo>
                    <a:pt x="227" y="106"/>
                  </a:lnTo>
                  <a:lnTo>
                    <a:pt x="210" y="106"/>
                  </a:lnTo>
                  <a:lnTo>
                    <a:pt x="194" y="94"/>
                  </a:lnTo>
                  <a:lnTo>
                    <a:pt x="198" y="111"/>
                  </a:lnTo>
                  <a:lnTo>
                    <a:pt x="227" y="123"/>
                  </a:lnTo>
                  <a:lnTo>
                    <a:pt x="236" y="168"/>
                  </a:lnTo>
                  <a:lnTo>
                    <a:pt x="236" y="139"/>
                  </a:lnTo>
                  <a:lnTo>
                    <a:pt x="248" y="139"/>
                  </a:lnTo>
                  <a:lnTo>
                    <a:pt x="253" y="123"/>
                  </a:lnTo>
                  <a:lnTo>
                    <a:pt x="269" y="106"/>
                  </a:lnTo>
                  <a:lnTo>
                    <a:pt x="269" y="123"/>
                  </a:lnTo>
                  <a:lnTo>
                    <a:pt x="286" y="127"/>
                  </a:lnTo>
                  <a:lnTo>
                    <a:pt x="290" y="111"/>
                  </a:lnTo>
                  <a:lnTo>
                    <a:pt x="302" y="94"/>
                  </a:lnTo>
                  <a:lnTo>
                    <a:pt x="286" y="57"/>
                  </a:lnTo>
                  <a:lnTo>
                    <a:pt x="307" y="57"/>
                  </a:lnTo>
                  <a:lnTo>
                    <a:pt x="345" y="94"/>
                  </a:lnTo>
                  <a:lnTo>
                    <a:pt x="354" y="106"/>
                  </a:lnTo>
                  <a:lnTo>
                    <a:pt x="361" y="90"/>
                  </a:lnTo>
                  <a:lnTo>
                    <a:pt x="354" y="73"/>
                  </a:lnTo>
                  <a:lnTo>
                    <a:pt x="354" y="68"/>
                  </a:lnTo>
                  <a:lnTo>
                    <a:pt x="387" y="57"/>
                  </a:lnTo>
                  <a:lnTo>
                    <a:pt x="387" y="49"/>
                  </a:lnTo>
                  <a:lnTo>
                    <a:pt x="399" y="49"/>
                  </a:lnTo>
                  <a:lnTo>
                    <a:pt x="416" y="57"/>
                  </a:lnTo>
                  <a:lnTo>
                    <a:pt x="425" y="73"/>
                  </a:lnTo>
                  <a:lnTo>
                    <a:pt x="442" y="85"/>
                  </a:lnTo>
                  <a:lnTo>
                    <a:pt x="453" y="111"/>
                  </a:lnTo>
                  <a:lnTo>
                    <a:pt x="453" y="90"/>
                  </a:lnTo>
                  <a:lnTo>
                    <a:pt x="442" y="68"/>
                  </a:lnTo>
                  <a:lnTo>
                    <a:pt x="442" y="49"/>
                  </a:lnTo>
                  <a:lnTo>
                    <a:pt x="463" y="49"/>
                  </a:lnTo>
                  <a:lnTo>
                    <a:pt x="484" y="73"/>
                  </a:lnTo>
                  <a:lnTo>
                    <a:pt x="501" y="73"/>
                  </a:lnTo>
                  <a:lnTo>
                    <a:pt x="517" y="40"/>
                  </a:lnTo>
                  <a:lnTo>
                    <a:pt x="555" y="57"/>
                  </a:lnTo>
                  <a:lnTo>
                    <a:pt x="550" y="49"/>
                  </a:lnTo>
                  <a:lnTo>
                    <a:pt x="571" y="33"/>
                  </a:lnTo>
                  <a:lnTo>
                    <a:pt x="555" y="12"/>
                  </a:lnTo>
                  <a:lnTo>
                    <a:pt x="593" y="0"/>
                  </a:lnTo>
                  <a:lnTo>
                    <a:pt x="614" y="28"/>
                  </a:lnTo>
                  <a:lnTo>
                    <a:pt x="614" y="40"/>
                  </a:lnTo>
                  <a:lnTo>
                    <a:pt x="642" y="49"/>
                  </a:lnTo>
                  <a:lnTo>
                    <a:pt x="668" y="28"/>
                  </a:lnTo>
                  <a:lnTo>
                    <a:pt x="685" y="28"/>
                  </a:lnTo>
                  <a:lnTo>
                    <a:pt x="668" y="33"/>
                  </a:lnTo>
                  <a:lnTo>
                    <a:pt x="668" y="49"/>
                  </a:lnTo>
                  <a:lnTo>
                    <a:pt x="657" y="57"/>
                  </a:lnTo>
                  <a:lnTo>
                    <a:pt x="697" y="73"/>
                  </a:lnTo>
                  <a:lnTo>
                    <a:pt x="680" y="106"/>
                  </a:lnTo>
                  <a:lnTo>
                    <a:pt x="718" y="94"/>
                  </a:lnTo>
                  <a:lnTo>
                    <a:pt x="718" y="111"/>
                  </a:lnTo>
                  <a:lnTo>
                    <a:pt x="701" y="127"/>
                  </a:lnTo>
                  <a:lnTo>
                    <a:pt x="718" y="111"/>
                  </a:lnTo>
                  <a:lnTo>
                    <a:pt x="765" y="123"/>
                  </a:lnTo>
                  <a:lnTo>
                    <a:pt x="765" y="127"/>
                  </a:lnTo>
                  <a:lnTo>
                    <a:pt x="756" y="151"/>
                  </a:lnTo>
                  <a:lnTo>
                    <a:pt x="772" y="163"/>
                  </a:lnTo>
                  <a:lnTo>
                    <a:pt x="734" y="168"/>
                  </a:lnTo>
                  <a:lnTo>
                    <a:pt x="765" y="168"/>
                  </a:lnTo>
                  <a:lnTo>
                    <a:pt x="772" y="179"/>
                  </a:lnTo>
                  <a:lnTo>
                    <a:pt x="765" y="196"/>
                  </a:lnTo>
                  <a:lnTo>
                    <a:pt x="739" y="179"/>
                  </a:lnTo>
                  <a:lnTo>
                    <a:pt x="756" y="201"/>
                  </a:lnTo>
                  <a:lnTo>
                    <a:pt x="734" y="196"/>
                  </a:lnTo>
                  <a:lnTo>
                    <a:pt x="756" y="201"/>
                  </a:lnTo>
                  <a:lnTo>
                    <a:pt x="734" y="217"/>
                  </a:lnTo>
                  <a:lnTo>
                    <a:pt x="739" y="224"/>
                  </a:lnTo>
                  <a:lnTo>
                    <a:pt x="718" y="224"/>
                  </a:lnTo>
                  <a:lnTo>
                    <a:pt x="701" y="208"/>
                  </a:lnTo>
                  <a:lnTo>
                    <a:pt x="711" y="224"/>
                  </a:lnTo>
                  <a:lnTo>
                    <a:pt x="697" y="241"/>
                  </a:lnTo>
                  <a:lnTo>
                    <a:pt x="711" y="241"/>
                  </a:lnTo>
                  <a:lnTo>
                    <a:pt x="701" y="257"/>
                  </a:lnTo>
                  <a:lnTo>
                    <a:pt x="685" y="257"/>
                  </a:lnTo>
                  <a:lnTo>
                    <a:pt x="668" y="274"/>
                  </a:lnTo>
                  <a:lnTo>
                    <a:pt x="642" y="262"/>
                  </a:lnTo>
                  <a:lnTo>
                    <a:pt x="642" y="274"/>
                  </a:lnTo>
                  <a:lnTo>
                    <a:pt x="593" y="290"/>
                  </a:lnTo>
                  <a:lnTo>
                    <a:pt x="560" y="319"/>
                  </a:lnTo>
                  <a:lnTo>
                    <a:pt x="538" y="328"/>
                  </a:lnTo>
                  <a:lnTo>
                    <a:pt x="534" y="312"/>
                  </a:lnTo>
                  <a:lnTo>
                    <a:pt x="522" y="328"/>
                  </a:lnTo>
                  <a:lnTo>
                    <a:pt x="468" y="335"/>
                  </a:lnTo>
                  <a:lnTo>
                    <a:pt x="463" y="345"/>
                  </a:lnTo>
                  <a:lnTo>
                    <a:pt x="468" y="352"/>
                  </a:lnTo>
                  <a:lnTo>
                    <a:pt x="463" y="364"/>
                  </a:lnTo>
                  <a:lnTo>
                    <a:pt x="408" y="373"/>
                  </a:lnTo>
                  <a:lnTo>
                    <a:pt x="302" y="364"/>
                  </a:lnTo>
                  <a:lnTo>
                    <a:pt x="279" y="335"/>
                  </a:lnTo>
                  <a:lnTo>
                    <a:pt x="290" y="335"/>
                  </a:lnTo>
                  <a:lnTo>
                    <a:pt x="290" y="335"/>
                  </a:lnTo>
                  <a:lnTo>
                    <a:pt x="279" y="335"/>
                  </a:lnTo>
                  <a:lnTo>
                    <a:pt x="269" y="335"/>
                  </a:lnTo>
                  <a:lnTo>
                    <a:pt x="279" y="328"/>
                  </a:lnTo>
                  <a:lnTo>
                    <a:pt x="269" y="319"/>
                  </a:lnTo>
                  <a:lnTo>
                    <a:pt x="253" y="328"/>
                  </a:lnTo>
                  <a:lnTo>
                    <a:pt x="231" y="319"/>
                  </a:lnTo>
                  <a:lnTo>
                    <a:pt x="248" y="312"/>
                  </a:lnTo>
                  <a:lnTo>
                    <a:pt x="198" y="328"/>
                  </a:lnTo>
                  <a:lnTo>
                    <a:pt x="123" y="328"/>
                  </a:lnTo>
                  <a:lnTo>
                    <a:pt x="127" y="295"/>
                  </a:lnTo>
                  <a:lnTo>
                    <a:pt x="139" y="307"/>
                  </a:lnTo>
                  <a:lnTo>
                    <a:pt x="177" y="295"/>
                  </a:lnTo>
                  <a:lnTo>
                    <a:pt x="182" y="295"/>
                  </a:lnTo>
                  <a:lnTo>
                    <a:pt x="177" y="290"/>
                  </a:lnTo>
                  <a:lnTo>
                    <a:pt x="198" y="279"/>
                  </a:lnTo>
                  <a:lnTo>
                    <a:pt x="182" y="279"/>
                  </a:lnTo>
                  <a:lnTo>
                    <a:pt x="194" y="262"/>
                  </a:lnTo>
                  <a:lnTo>
                    <a:pt x="227" y="262"/>
                  </a:lnTo>
                  <a:lnTo>
                    <a:pt x="172" y="274"/>
                  </a:lnTo>
                  <a:lnTo>
                    <a:pt x="177" y="257"/>
                  </a:lnTo>
                  <a:lnTo>
                    <a:pt x="177" y="257"/>
                  </a:lnTo>
                  <a:lnTo>
                    <a:pt x="177" y="25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8" name="Freeform 467">
              <a:extLst>
                <a:ext uri="{FF2B5EF4-FFF2-40B4-BE49-F238E27FC236}">
                  <a16:creationId xmlns:a16="http://schemas.microsoft.com/office/drawing/2014/main" id="{E3AA16E9-53D6-4472-A384-9EC575B818BE}"/>
                </a:ext>
              </a:extLst>
            </p:cNvPr>
            <p:cNvSpPr>
              <a:spLocks noEditPoints="1"/>
            </p:cNvSpPr>
            <p:nvPr/>
          </p:nvSpPr>
          <p:spPr bwMode="gray">
            <a:xfrm>
              <a:off x="15930834" y="3973668"/>
              <a:ext cx="1051604" cy="398320"/>
            </a:xfrm>
            <a:custGeom>
              <a:avLst/>
              <a:gdLst>
                <a:gd name="T0" fmla="*/ 647 w 3213"/>
                <a:gd name="T1" fmla="*/ 629 h 1217"/>
                <a:gd name="T2" fmla="*/ 392 w 3213"/>
                <a:gd name="T3" fmla="*/ 600 h 1217"/>
                <a:gd name="T4" fmla="*/ 123 w 3213"/>
                <a:gd name="T5" fmla="*/ 52 h 1217"/>
                <a:gd name="T6" fmla="*/ 2213 w 3213"/>
                <a:gd name="T7" fmla="*/ 123 h 1217"/>
                <a:gd name="T8" fmla="*/ 1403 w 3213"/>
                <a:gd name="T9" fmla="*/ 206 h 1217"/>
                <a:gd name="T10" fmla="*/ 1592 w 3213"/>
                <a:gd name="T11" fmla="*/ 345 h 1217"/>
                <a:gd name="T12" fmla="*/ 1365 w 3213"/>
                <a:gd name="T13" fmla="*/ 733 h 1217"/>
                <a:gd name="T14" fmla="*/ 1042 w 3213"/>
                <a:gd name="T15" fmla="*/ 527 h 1217"/>
                <a:gd name="T16" fmla="*/ 895 w 3213"/>
                <a:gd name="T17" fmla="*/ 152 h 1217"/>
                <a:gd name="T18" fmla="*/ 1545 w 3213"/>
                <a:gd name="T19" fmla="*/ 180 h 1217"/>
                <a:gd name="T20" fmla="*/ 735 w 3213"/>
                <a:gd name="T21" fmla="*/ 222 h 1217"/>
                <a:gd name="T22" fmla="*/ 2332 w 3213"/>
                <a:gd name="T23" fmla="*/ 279 h 1217"/>
                <a:gd name="T24" fmla="*/ 2284 w 3213"/>
                <a:gd name="T25" fmla="*/ 456 h 1217"/>
                <a:gd name="T26" fmla="*/ 1852 w 3213"/>
                <a:gd name="T27" fmla="*/ 723 h 1217"/>
                <a:gd name="T28" fmla="*/ 1651 w 3213"/>
                <a:gd name="T29" fmla="*/ 629 h 1217"/>
                <a:gd name="T30" fmla="*/ 1906 w 3213"/>
                <a:gd name="T31" fmla="*/ 362 h 1217"/>
                <a:gd name="T32" fmla="*/ 1781 w 3213"/>
                <a:gd name="T33" fmla="*/ 527 h 1217"/>
                <a:gd name="T34" fmla="*/ 1890 w 3213"/>
                <a:gd name="T35" fmla="*/ 666 h 1217"/>
                <a:gd name="T36" fmla="*/ 2105 w 3213"/>
                <a:gd name="T37" fmla="*/ 317 h 1217"/>
                <a:gd name="T38" fmla="*/ 610 w 3213"/>
                <a:gd name="T39" fmla="*/ 350 h 1217"/>
                <a:gd name="T40" fmla="*/ 605 w 3213"/>
                <a:gd name="T41" fmla="*/ 350 h 1217"/>
                <a:gd name="T42" fmla="*/ 555 w 3213"/>
                <a:gd name="T43" fmla="*/ 378 h 1217"/>
                <a:gd name="T44" fmla="*/ 232 w 3213"/>
                <a:gd name="T45" fmla="*/ 456 h 1217"/>
                <a:gd name="T46" fmla="*/ 593 w 3213"/>
                <a:gd name="T47" fmla="*/ 444 h 1217"/>
                <a:gd name="T48" fmla="*/ 2284 w 3213"/>
                <a:gd name="T49" fmla="*/ 478 h 1217"/>
                <a:gd name="T50" fmla="*/ 3149 w 3213"/>
                <a:gd name="T51" fmla="*/ 995 h 1217"/>
                <a:gd name="T52" fmla="*/ 2787 w 3213"/>
                <a:gd name="T53" fmla="*/ 711 h 1217"/>
                <a:gd name="T54" fmla="*/ 2575 w 3213"/>
                <a:gd name="T55" fmla="*/ 629 h 1217"/>
                <a:gd name="T56" fmla="*/ 2587 w 3213"/>
                <a:gd name="T57" fmla="*/ 461 h 1217"/>
                <a:gd name="T58" fmla="*/ 3149 w 3213"/>
                <a:gd name="T59" fmla="*/ 600 h 1217"/>
                <a:gd name="T60" fmla="*/ 2872 w 3213"/>
                <a:gd name="T61" fmla="*/ 518 h 1217"/>
                <a:gd name="T62" fmla="*/ 236 w 3213"/>
                <a:gd name="T63" fmla="*/ 494 h 1217"/>
                <a:gd name="T64" fmla="*/ 1954 w 3213"/>
                <a:gd name="T65" fmla="*/ 527 h 1217"/>
                <a:gd name="T66" fmla="*/ 749 w 3213"/>
                <a:gd name="T67" fmla="*/ 629 h 1217"/>
                <a:gd name="T68" fmla="*/ 2894 w 3213"/>
                <a:gd name="T69" fmla="*/ 567 h 1217"/>
                <a:gd name="T70" fmla="*/ 2117 w 3213"/>
                <a:gd name="T71" fmla="*/ 555 h 1217"/>
                <a:gd name="T72" fmla="*/ 345 w 3213"/>
                <a:gd name="T73" fmla="*/ 629 h 1217"/>
                <a:gd name="T74" fmla="*/ 2461 w 3213"/>
                <a:gd name="T75" fmla="*/ 645 h 1217"/>
                <a:gd name="T76" fmla="*/ 810 w 3213"/>
                <a:gd name="T77" fmla="*/ 638 h 1217"/>
                <a:gd name="T78" fmla="*/ 1474 w 3213"/>
                <a:gd name="T79" fmla="*/ 711 h 1217"/>
                <a:gd name="T80" fmla="*/ 2306 w 3213"/>
                <a:gd name="T81" fmla="*/ 695 h 1217"/>
                <a:gd name="T82" fmla="*/ 1970 w 3213"/>
                <a:gd name="T83" fmla="*/ 723 h 1217"/>
                <a:gd name="T84" fmla="*/ 1923 w 3213"/>
                <a:gd name="T85" fmla="*/ 806 h 1217"/>
                <a:gd name="T86" fmla="*/ 2662 w 3213"/>
                <a:gd name="T87" fmla="*/ 811 h 1217"/>
                <a:gd name="T88" fmla="*/ 1765 w 3213"/>
                <a:gd name="T89" fmla="*/ 844 h 1217"/>
                <a:gd name="T90" fmla="*/ 739 w 3213"/>
                <a:gd name="T91" fmla="*/ 889 h 1217"/>
                <a:gd name="T92" fmla="*/ 1214 w 3213"/>
                <a:gd name="T93" fmla="*/ 933 h 1217"/>
                <a:gd name="T94" fmla="*/ 2733 w 3213"/>
                <a:gd name="T95" fmla="*/ 860 h 1217"/>
                <a:gd name="T96" fmla="*/ 697 w 3213"/>
                <a:gd name="T97" fmla="*/ 905 h 1217"/>
                <a:gd name="T98" fmla="*/ 1781 w 3213"/>
                <a:gd name="T99" fmla="*/ 938 h 1217"/>
                <a:gd name="T100" fmla="*/ 2523 w 3213"/>
                <a:gd name="T101" fmla="*/ 971 h 1217"/>
                <a:gd name="T102" fmla="*/ 2511 w 3213"/>
                <a:gd name="T103" fmla="*/ 962 h 1217"/>
                <a:gd name="T104" fmla="*/ 1349 w 3213"/>
                <a:gd name="T105" fmla="*/ 1011 h 1217"/>
                <a:gd name="T106" fmla="*/ 1944 w 3213"/>
                <a:gd name="T107" fmla="*/ 1016 h 1217"/>
                <a:gd name="T108" fmla="*/ 1559 w 3213"/>
                <a:gd name="T109" fmla="*/ 1044 h 1217"/>
                <a:gd name="T110" fmla="*/ 2301 w 3213"/>
                <a:gd name="T111" fmla="*/ 1028 h 1217"/>
                <a:gd name="T112" fmla="*/ 3061 w 3213"/>
                <a:gd name="T113" fmla="*/ 1033 h 1217"/>
                <a:gd name="T114" fmla="*/ 2306 w 3213"/>
                <a:gd name="T115" fmla="*/ 1016 h 1217"/>
                <a:gd name="T116" fmla="*/ 2230 w 3213"/>
                <a:gd name="T117" fmla="*/ 1028 h 1217"/>
                <a:gd name="T118" fmla="*/ 1961 w 3213"/>
                <a:gd name="T119" fmla="*/ 1044 h 1217"/>
                <a:gd name="T120" fmla="*/ 1755 w 3213"/>
                <a:gd name="T121" fmla="*/ 1127 h 1217"/>
                <a:gd name="T122" fmla="*/ 1939 w 3213"/>
                <a:gd name="T123" fmla="*/ 1210 h 1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13" h="1217">
                  <a:moveTo>
                    <a:pt x="10" y="12"/>
                  </a:moveTo>
                  <a:lnTo>
                    <a:pt x="0" y="12"/>
                  </a:lnTo>
                  <a:lnTo>
                    <a:pt x="0" y="0"/>
                  </a:lnTo>
                  <a:lnTo>
                    <a:pt x="10" y="12"/>
                  </a:lnTo>
                  <a:lnTo>
                    <a:pt x="10" y="12"/>
                  </a:lnTo>
                  <a:lnTo>
                    <a:pt x="10" y="12"/>
                  </a:lnTo>
                  <a:close/>
                  <a:moveTo>
                    <a:pt x="539" y="383"/>
                  </a:moveTo>
                  <a:lnTo>
                    <a:pt x="550" y="400"/>
                  </a:lnTo>
                  <a:lnTo>
                    <a:pt x="517" y="418"/>
                  </a:lnTo>
                  <a:lnTo>
                    <a:pt x="501" y="407"/>
                  </a:lnTo>
                  <a:lnTo>
                    <a:pt x="517" y="418"/>
                  </a:lnTo>
                  <a:lnTo>
                    <a:pt x="572" y="390"/>
                  </a:lnTo>
                  <a:lnTo>
                    <a:pt x="593" y="407"/>
                  </a:lnTo>
                  <a:lnTo>
                    <a:pt x="605" y="435"/>
                  </a:lnTo>
                  <a:lnTo>
                    <a:pt x="588" y="435"/>
                  </a:lnTo>
                  <a:lnTo>
                    <a:pt x="560" y="444"/>
                  </a:lnTo>
                  <a:lnTo>
                    <a:pt x="576" y="444"/>
                  </a:lnTo>
                  <a:lnTo>
                    <a:pt x="560" y="456"/>
                  </a:lnTo>
                  <a:lnTo>
                    <a:pt x="588" y="461"/>
                  </a:lnTo>
                  <a:lnTo>
                    <a:pt x="572" y="478"/>
                  </a:lnTo>
                  <a:lnTo>
                    <a:pt x="593" y="501"/>
                  </a:lnTo>
                  <a:lnTo>
                    <a:pt x="643" y="501"/>
                  </a:lnTo>
                  <a:lnTo>
                    <a:pt x="647" y="555"/>
                  </a:lnTo>
                  <a:lnTo>
                    <a:pt x="647" y="567"/>
                  </a:lnTo>
                  <a:lnTo>
                    <a:pt x="659" y="567"/>
                  </a:lnTo>
                  <a:lnTo>
                    <a:pt x="669" y="572"/>
                  </a:lnTo>
                  <a:lnTo>
                    <a:pt x="669" y="584"/>
                  </a:lnTo>
                  <a:lnTo>
                    <a:pt x="664" y="600"/>
                  </a:lnTo>
                  <a:lnTo>
                    <a:pt x="664" y="612"/>
                  </a:lnTo>
                  <a:lnTo>
                    <a:pt x="647" y="629"/>
                  </a:lnTo>
                  <a:lnTo>
                    <a:pt x="664" y="612"/>
                  </a:lnTo>
                  <a:lnTo>
                    <a:pt x="669" y="589"/>
                  </a:lnTo>
                  <a:lnTo>
                    <a:pt x="685" y="600"/>
                  </a:lnTo>
                  <a:lnTo>
                    <a:pt x="723" y="600"/>
                  </a:lnTo>
                  <a:lnTo>
                    <a:pt x="723" y="612"/>
                  </a:lnTo>
                  <a:lnTo>
                    <a:pt x="739" y="622"/>
                  </a:lnTo>
                  <a:lnTo>
                    <a:pt x="739" y="638"/>
                  </a:lnTo>
                  <a:lnTo>
                    <a:pt x="756" y="645"/>
                  </a:lnTo>
                  <a:lnTo>
                    <a:pt x="756" y="662"/>
                  </a:lnTo>
                  <a:lnTo>
                    <a:pt x="749" y="678"/>
                  </a:lnTo>
                  <a:lnTo>
                    <a:pt x="739" y="695"/>
                  </a:lnTo>
                  <a:lnTo>
                    <a:pt x="749" y="711"/>
                  </a:lnTo>
                  <a:lnTo>
                    <a:pt x="739" y="733"/>
                  </a:lnTo>
                  <a:lnTo>
                    <a:pt x="749" y="756"/>
                  </a:lnTo>
                  <a:lnTo>
                    <a:pt x="739" y="834"/>
                  </a:lnTo>
                  <a:lnTo>
                    <a:pt x="735" y="851"/>
                  </a:lnTo>
                  <a:lnTo>
                    <a:pt x="702" y="822"/>
                  </a:lnTo>
                  <a:lnTo>
                    <a:pt x="697" y="834"/>
                  </a:lnTo>
                  <a:lnTo>
                    <a:pt x="702" y="844"/>
                  </a:lnTo>
                  <a:lnTo>
                    <a:pt x="697" y="844"/>
                  </a:lnTo>
                  <a:lnTo>
                    <a:pt x="664" y="827"/>
                  </a:lnTo>
                  <a:lnTo>
                    <a:pt x="647" y="827"/>
                  </a:lnTo>
                  <a:lnTo>
                    <a:pt x="664" y="851"/>
                  </a:lnTo>
                  <a:lnTo>
                    <a:pt x="659" y="860"/>
                  </a:lnTo>
                  <a:lnTo>
                    <a:pt x="605" y="794"/>
                  </a:lnTo>
                  <a:lnTo>
                    <a:pt x="496" y="716"/>
                  </a:lnTo>
                  <a:lnTo>
                    <a:pt x="484" y="695"/>
                  </a:lnTo>
                  <a:lnTo>
                    <a:pt x="447" y="662"/>
                  </a:lnTo>
                  <a:lnTo>
                    <a:pt x="425" y="622"/>
                  </a:lnTo>
                  <a:lnTo>
                    <a:pt x="392" y="600"/>
                  </a:lnTo>
                  <a:lnTo>
                    <a:pt x="392" y="584"/>
                  </a:lnTo>
                  <a:lnTo>
                    <a:pt x="392" y="567"/>
                  </a:lnTo>
                  <a:lnTo>
                    <a:pt x="378" y="546"/>
                  </a:lnTo>
                  <a:lnTo>
                    <a:pt x="371" y="527"/>
                  </a:lnTo>
                  <a:lnTo>
                    <a:pt x="361" y="518"/>
                  </a:lnTo>
                  <a:lnTo>
                    <a:pt x="354" y="489"/>
                  </a:lnTo>
                  <a:lnTo>
                    <a:pt x="317" y="444"/>
                  </a:lnTo>
                  <a:lnTo>
                    <a:pt x="317" y="435"/>
                  </a:lnTo>
                  <a:lnTo>
                    <a:pt x="307" y="423"/>
                  </a:lnTo>
                  <a:lnTo>
                    <a:pt x="269" y="407"/>
                  </a:lnTo>
                  <a:lnTo>
                    <a:pt x="269" y="383"/>
                  </a:lnTo>
                  <a:lnTo>
                    <a:pt x="236" y="312"/>
                  </a:lnTo>
                  <a:lnTo>
                    <a:pt x="248" y="312"/>
                  </a:lnTo>
                  <a:lnTo>
                    <a:pt x="248" y="307"/>
                  </a:lnTo>
                  <a:lnTo>
                    <a:pt x="182" y="263"/>
                  </a:lnTo>
                  <a:lnTo>
                    <a:pt x="177" y="263"/>
                  </a:lnTo>
                  <a:lnTo>
                    <a:pt x="173" y="255"/>
                  </a:lnTo>
                  <a:lnTo>
                    <a:pt x="161" y="222"/>
                  </a:lnTo>
                  <a:lnTo>
                    <a:pt x="144" y="218"/>
                  </a:lnTo>
                  <a:lnTo>
                    <a:pt x="118" y="163"/>
                  </a:lnTo>
                  <a:lnTo>
                    <a:pt x="85" y="152"/>
                  </a:lnTo>
                  <a:lnTo>
                    <a:pt x="14" y="90"/>
                  </a:lnTo>
                  <a:lnTo>
                    <a:pt x="0" y="57"/>
                  </a:lnTo>
                  <a:lnTo>
                    <a:pt x="0" y="29"/>
                  </a:lnTo>
                  <a:lnTo>
                    <a:pt x="10" y="19"/>
                  </a:lnTo>
                  <a:lnTo>
                    <a:pt x="21" y="19"/>
                  </a:lnTo>
                  <a:lnTo>
                    <a:pt x="47" y="36"/>
                  </a:lnTo>
                  <a:lnTo>
                    <a:pt x="52" y="41"/>
                  </a:lnTo>
                  <a:lnTo>
                    <a:pt x="76" y="52"/>
                  </a:lnTo>
                  <a:lnTo>
                    <a:pt x="123" y="52"/>
                  </a:lnTo>
                  <a:lnTo>
                    <a:pt x="139" y="57"/>
                  </a:lnTo>
                  <a:lnTo>
                    <a:pt x="156" y="52"/>
                  </a:lnTo>
                  <a:lnTo>
                    <a:pt x="182" y="74"/>
                  </a:lnTo>
                  <a:lnTo>
                    <a:pt x="194" y="95"/>
                  </a:lnTo>
                  <a:lnTo>
                    <a:pt x="210" y="107"/>
                  </a:lnTo>
                  <a:lnTo>
                    <a:pt x="210" y="128"/>
                  </a:lnTo>
                  <a:lnTo>
                    <a:pt x="333" y="218"/>
                  </a:lnTo>
                  <a:lnTo>
                    <a:pt x="333" y="239"/>
                  </a:lnTo>
                  <a:lnTo>
                    <a:pt x="333" y="234"/>
                  </a:lnTo>
                  <a:lnTo>
                    <a:pt x="340" y="234"/>
                  </a:lnTo>
                  <a:lnTo>
                    <a:pt x="340" y="251"/>
                  </a:lnTo>
                  <a:lnTo>
                    <a:pt x="340" y="234"/>
                  </a:lnTo>
                  <a:lnTo>
                    <a:pt x="345" y="234"/>
                  </a:lnTo>
                  <a:lnTo>
                    <a:pt x="361" y="263"/>
                  </a:lnTo>
                  <a:lnTo>
                    <a:pt x="392" y="279"/>
                  </a:lnTo>
                  <a:lnTo>
                    <a:pt x="399" y="296"/>
                  </a:lnTo>
                  <a:lnTo>
                    <a:pt x="387" y="263"/>
                  </a:lnTo>
                  <a:lnTo>
                    <a:pt x="409" y="263"/>
                  </a:lnTo>
                  <a:lnTo>
                    <a:pt x="425" y="279"/>
                  </a:lnTo>
                  <a:lnTo>
                    <a:pt x="430" y="307"/>
                  </a:lnTo>
                  <a:lnTo>
                    <a:pt x="454" y="312"/>
                  </a:lnTo>
                  <a:lnTo>
                    <a:pt x="484" y="329"/>
                  </a:lnTo>
                  <a:lnTo>
                    <a:pt x="484" y="350"/>
                  </a:lnTo>
                  <a:lnTo>
                    <a:pt x="501" y="366"/>
                  </a:lnTo>
                  <a:lnTo>
                    <a:pt x="534" y="378"/>
                  </a:lnTo>
                  <a:lnTo>
                    <a:pt x="539" y="383"/>
                  </a:lnTo>
                  <a:lnTo>
                    <a:pt x="539" y="383"/>
                  </a:lnTo>
                  <a:lnTo>
                    <a:pt x="539" y="383"/>
                  </a:lnTo>
                  <a:close/>
                  <a:moveTo>
                    <a:pt x="2209" y="140"/>
                  </a:moveTo>
                  <a:lnTo>
                    <a:pt x="2213" y="123"/>
                  </a:lnTo>
                  <a:lnTo>
                    <a:pt x="2209" y="111"/>
                  </a:lnTo>
                  <a:lnTo>
                    <a:pt x="2209" y="95"/>
                  </a:lnTo>
                  <a:lnTo>
                    <a:pt x="2213" y="107"/>
                  </a:lnTo>
                  <a:lnTo>
                    <a:pt x="2225" y="123"/>
                  </a:lnTo>
                  <a:lnTo>
                    <a:pt x="2209" y="140"/>
                  </a:lnTo>
                  <a:lnTo>
                    <a:pt x="2209" y="140"/>
                  </a:lnTo>
                  <a:lnTo>
                    <a:pt x="2209" y="140"/>
                  </a:lnTo>
                  <a:close/>
                  <a:moveTo>
                    <a:pt x="1009" y="279"/>
                  </a:moveTo>
                  <a:lnTo>
                    <a:pt x="1004" y="291"/>
                  </a:lnTo>
                  <a:lnTo>
                    <a:pt x="1009" y="312"/>
                  </a:lnTo>
                  <a:lnTo>
                    <a:pt x="1075" y="366"/>
                  </a:lnTo>
                  <a:lnTo>
                    <a:pt x="1117" y="350"/>
                  </a:lnTo>
                  <a:lnTo>
                    <a:pt x="1167" y="362"/>
                  </a:lnTo>
                  <a:lnTo>
                    <a:pt x="1172" y="345"/>
                  </a:lnTo>
                  <a:lnTo>
                    <a:pt x="1181" y="345"/>
                  </a:lnTo>
                  <a:lnTo>
                    <a:pt x="1188" y="317"/>
                  </a:lnTo>
                  <a:lnTo>
                    <a:pt x="1205" y="312"/>
                  </a:lnTo>
                  <a:lnTo>
                    <a:pt x="1243" y="312"/>
                  </a:lnTo>
                  <a:lnTo>
                    <a:pt x="1252" y="329"/>
                  </a:lnTo>
                  <a:lnTo>
                    <a:pt x="1290" y="333"/>
                  </a:lnTo>
                  <a:lnTo>
                    <a:pt x="1311" y="317"/>
                  </a:lnTo>
                  <a:lnTo>
                    <a:pt x="1344" y="317"/>
                  </a:lnTo>
                  <a:lnTo>
                    <a:pt x="1361" y="329"/>
                  </a:lnTo>
                  <a:lnTo>
                    <a:pt x="1365" y="307"/>
                  </a:lnTo>
                  <a:lnTo>
                    <a:pt x="1377" y="291"/>
                  </a:lnTo>
                  <a:lnTo>
                    <a:pt x="1377" y="263"/>
                  </a:lnTo>
                  <a:lnTo>
                    <a:pt x="1403" y="251"/>
                  </a:lnTo>
                  <a:lnTo>
                    <a:pt x="1387" y="239"/>
                  </a:lnTo>
                  <a:lnTo>
                    <a:pt x="1398" y="218"/>
                  </a:lnTo>
                  <a:lnTo>
                    <a:pt x="1403" y="206"/>
                  </a:lnTo>
                  <a:lnTo>
                    <a:pt x="1420" y="206"/>
                  </a:lnTo>
                  <a:lnTo>
                    <a:pt x="1432" y="180"/>
                  </a:lnTo>
                  <a:lnTo>
                    <a:pt x="1432" y="163"/>
                  </a:lnTo>
                  <a:lnTo>
                    <a:pt x="1432" y="128"/>
                  </a:lnTo>
                  <a:lnTo>
                    <a:pt x="1441" y="111"/>
                  </a:lnTo>
                  <a:lnTo>
                    <a:pt x="1458" y="123"/>
                  </a:lnTo>
                  <a:lnTo>
                    <a:pt x="1469" y="111"/>
                  </a:lnTo>
                  <a:lnTo>
                    <a:pt x="1491" y="123"/>
                  </a:lnTo>
                  <a:lnTo>
                    <a:pt x="1545" y="111"/>
                  </a:lnTo>
                  <a:lnTo>
                    <a:pt x="1566" y="128"/>
                  </a:lnTo>
                  <a:lnTo>
                    <a:pt x="1550" y="128"/>
                  </a:lnTo>
                  <a:lnTo>
                    <a:pt x="1583" y="163"/>
                  </a:lnTo>
                  <a:lnTo>
                    <a:pt x="1576" y="168"/>
                  </a:lnTo>
                  <a:lnTo>
                    <a:pt x="1528" y="168"/>
                  </a:lnTo>
                  <a:lnTo>
                    <a:pt x="1538" y="168"/>
                  </a:lnTo>
                  <a:lnTo>
                    <a:pt x="1545" y="180"/>
                  </a:lnTo>
                  <a:lnTo>
                    <a:pt x="1559" y="180"/>
                  </a:lnTo>
                  <a:lnTo>
                    <a:pt x="1545" y="196"/>
                  </a:lnTo>
                  <a:lnTo>
                    <a:pt x="1566" y="206"/>
                  </a:lnTo>
                  <a:lnTo>
                    <a:pt x="1576" y="222"/>
                  </a:lnTo>
                  <a:lnTo>
                    <a:pt x="1583" y="222"/>
                  </a:lnTo>
                  <a:lnTo>
                    <a:pt x="1604" y="263"/>
                  </a:lnTo>
                  <a:lnTo>
                    <a:pt x="1592" y="279"/>
                  </a:lnTo>
                  <a:lnTo>
                    <a:pt x="1583" y="272"/>
                  </a:lnTo>
                  <a:lnTo>
                    <a:pt x="1592" y="296"/>
                  </a:lnTo>
                  <a:lnTo>
                    <a:pt x="1668" y="362"/>
                  </a:lnTo>
                  <a:lnTo>
                    <a:pt x="1651" y="366"/>
                  </a:lnTo>
                  <a:lnTo>
                    <a:pt x="1621" y="366"/>
                  </a:lnTo>
                  <a:lnTo>
                    <a:pt x="1597" y="362"/>
                  </a:lnTo>
                  <a:lnTo>
                    <a:pt x="1592" y="345"/>
                  </a:lnTo>
                  <a:lnTo>
                    <a:pt x="1597" y="366"/>
                  </a:lnTo>
                  <a:lnTo>
                    <a:pt x="1592" y="366"/>
                  </a:lnTo>
                  <a:lnTo>
                    <a:pt x="1576" y="378"/>
                  </a:lnTo>
                  <a:lnTo>
                    <a:pt x="1559" y="423"/>
                  </a:lnTo>
                  <a:lnTo>
                    <a:pt x="1559" y="435"/>
                  </a:lnTo>
                  <a:lnTo>
                    <a:pt x="1559" y="444"/>
                  </a:lnTo>
                  <a:lnTo>
                    <a:pt x="1559" y="461"/>
                  </a:lnTo>
                  <a:lnTo>
                    <a:pt x="1566" y="456"/>
                  </a:lnTo>
                  <a:lnTo>
                    <a:pt x="1566" y="489"/>
                  </a:lnTo>
                  <a:lnTo>
                    <a:pt x="1559" y="489"/>
                  </a:lnTo>
                  <a:lnTo>
                    <a:pt x="1545" y="489"/>
                  </a:lnTo>
                  <a:lnTo>
                    <a:pt x="1521" y="518"/>
                  </a:lnTo>
                  <a:lnTo>
                    <a:pt x="1512" y="518"/>
                  </a:lnTo>
                  <a:lnTo>
                    <a:pt x="1507" y="501"/>
                  </a:lnTo>
                  <a:lnTo>
                    <a:pt x="1507" y="527"/>
                  </a:lnTo>
                  <a:lnTo>
                    <a:pt x="1491" y="534"/>
                  </a:lnTo>
                  <a:lnTo>
                    <a:pt x="1491" y="546"/>
                  </a:lnTo>
                  <a:lnTo>
                    <a:pt x="1474" y="555"/>
                  </a:lnTo>
                  <a:lnTo>
                    <a:pt x="1491" y="555"/>
                  </a:lnTo>
                  <a:lnTo>
                    <a:pt x="1491" y="572"/>
                  </a:lnTo>
                  <a:lnTo>
                    <a:pt x="1484" y="584"/>
                  </a:lnTo>
                  <a:lnTo>
                    <a:pt x="1495" y="589"/>
                  </a:lnTo>
                  <a:lnTo>
                    <a:pt x="1491" y="612"/>
                  </a:lnTo>
                  <a:lnTo>
                    <a:pt x="1474" y="612"/>
                  </a:lnTo>
                  <a:lnTo>
                    <a:pt x="1484" y="629"/>
                  </a:lnTo>
                  <a:lnTo>
                    <a:pt x="1474" y="645"/>
                  </a:lnTo>
                  <a:lnTo>
                    <a:pt x="1469" y="629"/>
                  </a:lnTo>
                  <a:lnTo>
                    <a:pt x="1474" y="655"/>
                  </a:lnTo>
                  <a:lnTo>
                    <a:pt x="1453" y="683"/>
                  </a:lnTo>
                  <a:lnTo>
                    <a:pt x="1365" y="733"/>
                  </a:lnTo>
                  <a:lnTo>
                    <a:pt x="1361" y="723"/>
                  </a:lnTo>
                  <a:lnTo>
                    <a:pt x="1361" y="695"/>
                  </a:lnTo>
                  <a:lnTo>
                    <a:pt x="1349" y="678"/>
                  </a:lnTo>
                  <a:lnTo>
                    <a:pt x="1323" y="666"/>
                  </a:lnTo>
                  <a:lnTo>
                    <a:pt x="1290" y="678"/>
                  </a:lnTo>
                  <a:lnTo>
                    <a:pt x="1290" y="655"/>
                  </a:lnTo>
                  <a:lnTo>
                    <a:pt x="1273" y="662"/>
                  </a:lnTo>
                  <a:lnTo>
                    <a:pt x="1252" y="645"/>
                  </a:lnTo>
                  <a:lnTo>
                    <a:pt x="1243" y="655"/>
                  </a:lnTo>
                  <a:lnTo>
                    <a:pt x="1243" y="662"/>
                  </a:lnTo>
                  <a:lnTo>
                    <a:pt x="1219" y="678"/>
                  </a:lnTo>
                  <a:lnTo>
                    <a:pt x="1214" y="678"/>
                  </a:lnTo>
                  <a:lnTo>
                    <a:pt x="1188" y="666"/>
                  </a:lnTo>
                  <a:lnTo>
                    <a:pt x="1167" y="683"/>
                  </a:lnTo>
                  <a:lnTo>
                    <a:pt x="1160" y="683"/>
                  </a:lnTo>
                  <a:lnTo>
                    <a:pt x="1167" y="645"/>
                  </a:lnTo>
                  <a:lnTo>
                    <a:pt x="1160" y="629"/>
                  </a:lnTo>
                  <a:lnTo>
                    <a:pt x="1150" y="638"/>
                  </a:lnTo>
                  <a:lnTo>
                    <a:pt x="1143" y="645"/>
                  </a:lnTo>
                  <a:lnTo>
                    <a:pt x="1127" y="638"/>
                  </a:lnTo>
                  <a:lnTo>
                    <a:pt x="1106" y="655"/>
                  </a:lnTo>
                  <a:lnTo>
                    <a:pt x="1089" y="645"/>
                  </a:lnTo>
                  <a:lnTo>
                    <a:pt x="1096" y="638"/>
                  </a:lnTo>
                  <a:lnTo>
                    <a:pt x="1080" y="655"/>
                  </a:lnTo>
                  <a:lnTo>
                    <a:pt x="1075" y="638"/>
                  </a:lnTo>
                  <a:lnTo>
                    <a:pt x="1051" y="645"/>
                  </a:lnTo>
                  <a:lnTo>
                    <a:pt x="1042" y="572"/>
                  </a:lnTo>
                  <a:lnTo>
                    <a:pt x="1025" y="555"/>
                  </a:lnTo>
                  <a:lnTo>
                    <a:pt x="1037" y="551"/>
                  </a:lnTo>
                  <a:lnTo>
                    <a:pt x="1042" y="527"/>
                  </a:lnTo>
                  <a:lnTo>
                    <a:pt x="1021" y="494"/>
                  </a:lnTo>
                  <a:lnTo>
                    <a:pt x="983" y="489"/>
                  </a:lnTo>
                  <a:lnTo>
                    <a:pt x="983" y="478"/>
                  </a:lnTo>
                  <a:lnTo>
                    <a:pt x="1004" y="478"/>
                  </a:lnTo>
                  <a:lnTo>
                    <a:pt x="971" y="461"/>
                  </a:lnTo>
                  <a:lnTo>
                    <a:pt x="966" y="444"/>
                  </a:lnTo>
                  <a:lnTo>
                    <a:pt x="983" y="440"/>
                  </a:lnTo>
                  <a:lnTo>
                    <a:pt x="971" y="423"/>
                  </a:lnTo>
                  <a:lnTo>
                    <a:pt x="966" y="407"/>
                  </a:lnTo>
                  <a:lnTo>
                    <a:pt x="954" y="407"/>
                  </a:lnTo>
                  <a:lnTo>
                    <a:pt x="954" y="383"/>
                  </a:lnTo>
                  <a:lnTo>
                    <a:pt x="954" y="366"/>
                  </a:lnTo>
                  <a:lnTo>
                    <a:pt x="966" y="362"/>
                  </a:lnTo>
                  <a:lnTo>
                    <a:pt x="966" y="345"/>
                  </a:lnTo>
                  <a:lnTo>
                    <a:pt x="983" y="329"/>
                  </a:lnTo>
                  <a:lnTo>
                    <a:pt x="966" y="345"/>
                  </a:lnTo>
                  <a:lnTo>
                    <a:pt x="971" y="317"/>
                  </a:lnTo>
                  <a:lnTo>
                    <a:pt x="983" y="307"/>
                  </a:lnTo>
                  <a:lnTo>
                    <a:pt x="987" y="291"/>
                  </a:lnTo>
                  <a:lnTo>
                    <a:pt x="1009" y="279"/>
                  </a:lnTo>
                  <a:lnTo>
                    <a:pt x="1009" y="279"/>
                  </a:lnTo>
                  <a:lnTo>
                    <a:pt x="1009" y="279"/>
                  </a:lnTo>
                  <a:close/>
                  <a:moveTo>
                    <a:pt x="895" y="152"/>
                  </a:moveTo>
                  <a:lnTo>
                    <a:pt x="895" y="140"/>
                  </a:lnTo>
                  <a:lnTo>
                    <a:pt x="912" y="128"/>
                  </a:lnTo>
                  <a:lnTo>
                    <a:pt x="917" y="140"/>
                  </a:lnTo>
                  <a:lnTo>
                    <a:pt x="917" y="163"/>
                  </a:lnTo>
                  <a:lnTo>
                    <a:pt x="900" y="163"/>
                  </a:lnTo>
                  <a:lnTo>
                    <a:pt x="912" y="152"/>
                  </a:lnTo>
                  <a:lnTo>
                    <a:pt x="895" y="152"/>
                  </a:lnTo>
                  <a:lnTo>
                    <a:pt x="895" y="152"/>
                  </a:lnTo>
                  <a:lnTo>
                    <a:pt x="895" y="152"/>
                  </a:lnTo>
                  <a:close/>
                  <a:moveTo>
                    <a:pt x="1576" y="128"/>
                  </a:moveTo>
                  <a:lnTo>
                    <a:pt x="1592" y="128"/>
                  </a:lnTo>
                  <a:lnTo>
                    <a:pt x="1592" y="140"/>
                  </a:lnTo>
                  <a:lnTo>
                    <a:pt x="1576" y="128"/>
                  </a:lnTo>
                  <a:lnTo>
                    <a:pt x="1576" y="128"/>
                  </a:lnTo>
                  <a:lnTo>
                    <a:pt x="1576" y="128"/>
                  </a:lnTo>
                  <a:close/>
                  <a:moveTo>
                    <a:pt x="1566" y="128"/>
                  </a:moveTo>
                  <a:lnTo>
                    <a:pt x="1576" y="140"/>
                  </a:lnTo>
                  <a:lnTo>
                    <a:pt x="1566" y="140"/>
                  </a:lnTo>
                  <a:lnTo>
                    <a:pt x="1566" y="128"/>
                  </a:lnTo>
                  <a:lnTo>
                    <a:pt x="1566" y="128"/>
                  </a:lnTo>
                  <a:lnTo>
                    <a:pt x="1566" y="128"/>
                  </a:lnTo>
                  <a:close/>
                  <a:moveTo>
                    <a:pt x="2209" y="152"/>
                  </a:moveTo>
                  <a:lnTo>
                    <a:pt x="2197" y="140"/>
                  </a:lnTo>
                  <a:lnTo>
                    <a:pt x="2209" y="147"/>
                  </a:lnTo>
                  <a:lnTo>
                    <a:pt x="2209" y="152"/>
                  </a:lnTo>
                  <a:lnTo>
                    <a:pt x="2209" y="152"/>
                  </a:lnTo>
                  <a:lnTo>
                    <a:pt x="2209" y="152"/>
                  </a:lnTo>
                  <a:close/>
                  <a:moveTo>
                    <a:pt x="2143" y="185"/>
                  </a:moveTo>
                  <a:lnTo>
                    <a:pt x="2133" y="163"/>
                  </a:lnTo>
                  <a:lnTo>
                    <a:pt x="2143" y="163"/>
                  </a:lnTo>
                  <a:lnTo>
                    <a:pt x="2154" y="180"/>
                  </a:lnTo>
                  <a:lnTo>
                    <a:pt x="2143" y="185"/>
                  </a:lnTo>
                  <a:lnTo>
                    <a:pt x="2143" y="185"/>
                  </a:lnTo>
                  <a:lnTo>
                    <a:pt x="2143" y="185"/>
                  </a:lnTo>
                  <a:close/>
                  <a:moveTo>
                    <a:pt x="1545" y="168"/>
                  </a:moveTo>
                  <a:lnTo>
                    <a:pt x="1559" y="180"/>
                  </a:lnTo>
                  <a:lnTo>
                    <a:pt x="1545" y="180"/>
                  </a:lnTo>
                  <a:lnTo>
                    <a:pt x="1545" y="168"/>
                  </a:lnTo>
                  <a:lnTo>
                    <a:pt x="1545" y="168"/>
                  </a:lnTo>
                  <a:lnTo>
                    <a:pt x="1545" y="168"/>
                  </a:lnTo>
                  <a:close/>
                  <a:moveTo>
                    <a:pt x="1566" y="180"/>
                  </a:moveTo>
                  <a:lnTo>
                    <a:pt x="1576" y="185"/>
                  </a:lnTo>
                  <a:lnTo>
                    <a:pt x="1566" y="196"/>
                  </a:lnTo>
                  <a:lnTo>
                    <a:pt x="1566" y="180"/>
                  </a:lnTo>
                  <a:lnTo>
                    <a:pt x="1566" y="180"/>
                  </a:lnTo>
                  <a:lnTo>
                    <a:pt x="1566" y="180"/>
                  </a:lnTo>
                  <a:close/>
                  <a:moveTo>
                    <a:pt x="773" y="196"/>
                  </a:moveTo>
                  <a:lnTo>
                    <a:pt x="773" y="185"/>
                  </a:lnTo>
                  <a:lnTo>
                    <a:pt x="773" y="196"/>
                  </a:lnTo>
                  <a:lnTo>
                    <a:pt x="773" y="196"/>
                  </a:lnTo>
                  <a:lnTo>
                    <a:pt x="773" y="196"/>
                  </a:lnTo>
                  <a:close/>
                  <a:moveTo>
                    <a:pt x="1559" y="185"/>
                  </a:moveTo>
                  <a:lnTo>
                    <a:pt x="1559" y="196"/>
                  </a:lnTo>
                  <a:lnTo>
                    <a:pt x="1559" y="185"/>
                  </a:lnTo>
                  <a:lnTo>
                    <a:pt x="1559" y="185"/>
                  </a:lnTo>
                  <a:lnTo>
                    <a:pt x="1559" y="185"/>
                  </a:lnTo>
                  <a:close/>
                  <a:moveTo>
                    <a:pt x="773" y="201"/>
                  </a:moveTo>
                  <a:lnTo>
                    <a:pt x="773" y="196"/>
                  </a:lnTo>
                  <a:lnTo>
                    <a:pt x="773" y="201"/>
                  </a:lnTo>
                  <a:lnTo>
                    <a:pt x="773" y="201"/>
                  </a:lnTo>
                  <a:lnTo>
                    <a:pt x="773" y="201"/>
                  </a:lnTo>
                  <a:close/>
                  <a:moveTo>
                    <a:pt x="735" y="222"/>
                  </a:moveTo>
                  <a:lnTo>
                    <a:pt x="735" y="206"/>
                  </a:lnTo>
                  <a:lnTo>
                    <a:pt x="739" y="218"/>
                  </a:lnTo>
                  <a:lnTo>
                    <a:pt x="735" y="222"/>
                  </a:lnTo>
                  <a:lnTo>
                    <a:pt x="735" y="222"/>
                  </a:lnTo>
                  <a:lnTo>
                    <a:pt x="735" y="222"/>
                  </a:lnTo>
                  <a:close/>
                  <a:moveTo>
                    <a:pt x="950" y="218"/>
                  </a:moveTo>
                  <a:lnTo>
                    <a:pt x="954" y="206"/>
                  </a:lnTo>
                  <a:lnTo>
                    <a:pt x="954" y="218"/>
                  </a:lnTo>
                  <a:lnTo>
                    <a:pt x="950" y="218"/>
                  </a:lnTo>
                  <a:lnTo>
                    <a:pt x="950" y="218"/>
                  </a:lnTo>
                  <a:lnTo>
                    <a:pt x="950" y="218"/>
                  </a:lnTo>
                  <a:close/>
                  <a:moveTo>
                    <a:pt x="85" y="255"/>
                  </a:moveTo>
                  <a:lnTo>
                    <a:pt x="76" y="255"/>
                  </a:lnTo>
                  <a:lnTo>
                    <a:pt x="52" y="239"/>
                  </a:lnTo>
                  <a:lnTo>
                    <a:pt x="38" y="234"/>
                  </a:lnTo>
                  <a:lnTo>
                    <a:pt x="31" y="222"/>
                  </a:lnTo>
                  <a:lnTo>
                    <a:pt x="38" y="218"/>
                  </a:lnTo>
                  <a:lnTo>
                    <a:pt x="47" y="218"/>
                  </a:lnTo>
                  <a:lnTo>
                    <a:pt x="85" y="251"/>
                  </a:lnTo>
                  <a:lnTo>
                    <a:pt x="85" y="255"/>
                  </a:lnTo>
                  <a:lnTo>
                    <a:pt x="85" y="255"/>
                  </a:lnTo>
                  <a:lnTo>
                    <a:pt x="85" y="255"/>
                  </a:lnTo>
                  <a:close/>
                  <a:moveTo>
                    <a:pt x="2117" y="234"/>
                  </a:moveTo>
                  <a:lnTo>
                    <a:pt x="2117" y="239"/>
                  </a:lnTo>
                  <a:lnTo>
                    <a:pt x="2117" y="222"/>
                  </a:lnTo>
                  <a:lnTo>
                    <a:pt x="2117" y="234"/>
                  </a:lnTo>
                  <a:lnTo>
                    <a:pt x="2117" y="234"/>
                  </a:lnTo>
                  <a:lnTo>
                    <a:pt x="2117" y="234"/>
                  </a:lnTo>
                  <a:close/>
                  <a:moveTo>
                    <a:pt x="2317" y="279"/>
                  </a:moveTo>
                  <a:lnTo>
                    <a:pt x="2317" y="263"/>
                  </a:lnTo>
                  <a:lnTo>
                    <a:pt x="2332" y="239"/>
                  </a:lnTo>
                  <a:lnTo>
                    <a:pt x="2339" y="239"/>
                  </a:lnTo>
                  <a:lnTo>
                    <a:pt x="2348" y="251"/>
                  </a:lnTo>
                  <a:lnTo>
                    <a:pt x="2339" y="263"/>
                  </a:lnTo>
                  <a:lnTo>
                    <a:pt x="2332" y="279"/>
                  </a:lnTo>
                  <a:lnTo>
                    <a:pt x="2317" y="279"/>
                  </a:lnTo>
                  <a:lnTo>
                    <a:pt x="2317" y="279"/>
                  </a:lnTo>
                  <a:lnTo>
                    <a:pt x="2317" y="279"/>
                  </a:lnTo>
                  <a:close/>
                  <a:moveTo>
                    <a:pt x="144" y="279"/>
                  </a:moveTo>
                  <a:lnTo>
                    <a:pt x="128" y="263"/>
                  </a:lnTo>
                  <a:lnTo>
                    <a:pt x="139" y="263"/>
                  </a:lnTo>
                  <a:lnTo>
                    <a:pt x="144" y="279"/>
                  </a:lnTo>
                  <a:lnTo>
                    <a:pt x="144" y="279"/>
                  </a:lnTo>
                  <a:lnTo>
                    <a:pt x="144" y="279"/>
                  </a:lnTo>
                  <a:close/>
                  <a:moveTo>
                    <a:pt x="2284" y="366"/>
                  </a:moveTo>
                  <a:lnTo>
                    <a:pt x="2294" y="366"/>
                  </a:lnTo>
                  <a:lnTo>
                    <a:pt x="2294" y="350"/>
                  </a:lnTo>
                  <a:lnTo>
                    <a:pt x="2306" y="345"/>
                  </a:lnTo>
                  <a:lnTo>
                    <a:pt x="2306" y="329"/>
                  </a:lnTo>
                  <a:lnTo>
                    <a:pt x="2332" y="317"/>
                  </a:lnTo>
                  <a:lnTo>
                    <a:pt x="2348" y="312"/>
                  </a:lnTo>
                  <a:lnTo>
                    <a:pt x="2348" y="350"/>
                  </a:lnTo>
                  <a:lnTo>
                    <a:pt x="2317" y="366"/>
                  </a:lnTo>
                  <a:lnTo>
                    <a:pt x="2322" y="383"/>
                  </a:lnTo>
                  <a:lnTo>
                    <a:pt x="2348" y="390"/>
                  </a:lnTo>
                  <a:lnTo>
                    <a:pt x="2348" y="400"/>
                  </a:lnTo>
                  <a:lnTo>
                    <a:pt x="2360" y="418"/>
                  </a:lnTo>
                  <a:lnTo>
                    <a:pt x="2301" y="390"/>
                  </a:lnTo>
                  <a:lnTo>
                    <a:pt x="2294" y="400"/>
                  </a:lnTo>
                  <a:lnTo>
                    <a:pt x="2294" y="407"/>
                  </a:lnTo>
                  <a:lnTo>
                    <a:pt x="2294" y="435"/>
                  </a:lnTo>
                  <a:lnTo>
                    <a:pt x="2301" y="456"/>
                  </a:lnTo>
                  <a:lnTo>
                    <a:pt x="2322" y="494"/>
                  </a:lnTo>
                  <a:lnTo>
                    <a:pt x="2301" y="478"/>
                  </a:lnTo>
                  <a:lnTo>
                    <a:pt x="2284" y="456"/>
                  </a:lnTo>
                  <a:lnTo>
                    <a:pt x="2280" y="444"/>
                  </a:lnTo>
                  <a:lnTo>
                    <a:pt x="2280" y="418"/>
                  </a:lnTo>
                  <a:lnTo>
                    <a:pt x="2263" y="383"/>
                  </a:lnTo>
                  <a:lnTo>
                    <a:pt x="2268" y="366"/>
                  </a:lnTo>
                  <a:lnTo>
                    <a:pt x="2263" y="366"/>
                  </a:lnTo>
                  <a:lnTo>
                    <a:pt x="2263" y="350"/>
                  </a:lnTo>
                  <a:lnTo>
                    <a:pt x="2251" y="350"/>
                  </a:lnTo>
                  <a:lnTo>
                    <a:pt x="2268" y="307"/>
                  </a:lnTo>
                  <a:lnTo>
                    <a:pt x="2294" y="272"/>
                  </a:lnTo>
                  <a:lnTo>
                    <a:pt x="2301" y="272"/>
                  </a:lnTo>
                  <a:lnTo>
                    <a:pt x="2284" y="291"/>
                  </a:lnTo>
                  <a:lnTo>
                    <a:pt x="2301" y="307"/>
                  </a:lnTo>
                  <a:lnTo>
                    <a:pt x="2301" y="329"/>
                  </a:lnTo>
                  <a:lnTo>
                    <a:pt x="2268" y="362"/>
                  </a:lnTo>
                  <a:lnTo>
                    <a:pt x="2284" y="366"/>
                  </a:lnTo>
                  <a:lnTo>
                    <a:pt x="2284" y="366"/>
                  </a:lnTo>
                  <a:lnTo>
                    <a:pt x="2284" y="366"/>
                  </a:lnTo>
                  <a:close/>
                  <a:moveTo>
                    <a:pt x="454" y="291"/>
                  </a:moveTo>
                  <a:lnTo>
                    <a:pt x="447" y="307"/>
                  </a:lnTo>
                  <a:lnTo>
                    <a:pt x="430" y="307"/>
                  </a:lnTo>
                  <a:lnTo>
                    <a:pt x="430" y="291"/>
                  </a:lnTo>
                  <a:lnTo>
                    <a:pt x="430" y="279"/>
                  </a:lnTo>
                  <a:lnTo>
                    <a:pt x="447" y="272"/>
                  </a:lnTo>
                  <a:lnTo>
                    <a:pt x="454" y="291"/>
                  </a:lnTo>
                  <a:lnTo>
                    <a:pt x="454" y="291"/>
                  </a:lnTo>
                  <a:lnTo>
                    <a:pt x="454" y="291"/>
                  </a:lnTo>
                  <a:close/>
                  <a:moveTo>
                    <a:pt x="1873" y="778"/>
                  </a:moveTo>
                  <a:lnTo>
                    <a:pt x="1852" y="778"/>
                  </a:lnTo>
                  <a:lnTo>
                    <a:pt x="1835" y="766"/>
                  </a:lnTo>
                  <a:lnTo>
                    <a:pt x="1852" y="723"/>
                  </a:lnTo>
                  <a:lnTo>
                    <a:pt x="1831" y="716"/>
                  </a:lnTo>
                  <a:lnTo>
                    <a:pt x="1798" y="683"/>
                  </a:lnTo>
                  <a:lnTo>
                    <a:pt x="1798" y="666"/>
                  </a:lnTo>
                  <a:lnTo>
                    <a:pt x="1814" y="662"/>
                  </a:lnTo>
                  <a:lnTo>
                    <a:pt x="1814" y="629"/>
                  </a:lnTo>
                  <a:lnTo>
                    <a:pt x="1809" y="622"/>
                  </a:lnTo>
                  <a:lnTo>
                    <a:pt x="1793" y="612"/>
                  </a:lnTo>
                  <a:lnTo>
                    <a:pt x="1755" y="645"/>
                  </a:lnTo>
                  <a:lnTo>
                    <a:pt x="1765" y="662"/>
                  </a:lnTo>
                  <a:lnTo>
                    <a:pt x="1765" y="695"/>
                  </a:lnTo>
                  <a:lnTo>
                    <a:pt x="1760" y="723"/>
                  </a:lnTo>
                  <a:lnTo>
                    <a:pt x="1765" y="766"/>
                  </a:lnTo>
                  <a:lnTo>
                    <a:pt x="1755" y="794"/>
                  </a:lnTo>
                  <a:lnTo>
                    <a:pt x="1765" y="834"/>
                  </a:lnTo>
                  <a:lnTo>
                    <a:pt x="1760" y="827"/>
                  </a:lnTo>
                  <a:lnTo>
                    <a:pt x="1743" y="834"/>
                  </a:lnTo>
                  <a:lnTo>
                    <a:pt x="1727" y="827"/>
                  </a:lnTo>
                  <a:lnTo>
                    <a:pt x="1722" y="844"/>
                  </a:lnTo>
                  <a:lnTo>
                    <a:pt x="1710" y="844"/>
                  </a:lnTo>
                  <a:lnTo>
                    <a:pt x="1689" y="822"/>
                  </a:lnTo>
                  <a:lnTo>
                    <a:pt x="1706" y="740"/>
                  </a:lnTo>
                  <a:lnTo>
                    <a:pt x="1706" y="716"/>
                  </a:lnTo>
                  <a:lnTo>
                    <a:pt x="1701" y="695"/>
                  </a:lnTo>
                  <a:lnTo>
                    <a:pt x="1706" y="683"/>
                  </a:lnTo>
                  <a:lnTo>
                    <a:pt x="1689" y="678"/>
                  </a:lnTo>
                  <a:lnTo>
                    <a:pt x="1658" y="683"/>
                  </a:lnTo>
                  <a:lnTo>
                    <a:pt x="1651" y="666"/>
                  </a:lnTo>
                  <a:lnTo>
                    <a:pt x="1658" y="638"/>
                  </a:lnTo>
                  <a:lnTo>
                    <a:pt x="1651" y="638"/>
                  </a:lnTo>
                  <a:lnTo>
                    <a:pt x="1651" y="629"/>
                  </a:lnTo>
                  <a:lnTo>
                    <a:pt x="1651" y="612"/>
                  </a:lnTo>
                  <a:lnTo>
                    <a:pt x="1658" y="622"/>
                  </a:lnTo>
                  <a:lnTo>
                    <a:pt x="1672" y="605"/>
                  </a:lnTo>
                  <a:lnTo>
                    <a:pt x="1684" y="572"/>
                  </a:lnTo>
                  <a:lnTo>
                    <a:pt x="1689" y="567"/>
                  </a:lnTo>
                  <a:lnTo>
                    <a:pt x="1689" y="518"/>
                  </a:lnTo>
                  <a:lnTo>
                    <a:pt x="1706" y="494"/>
                  </a:lnTo>
                  <a:lnTo>
                    <a:pt x="1710" y="478"/>
                  </a:lnTo>
                  <a:lnTo>
                    <a:pt x="1727" y="489"/>
                  </a:lnTo>
                  <a:lnTo>
                    <a:pt x="1722" y="461"/>
                  </a:lnTo>
                  <a:lnTo>
                    <a:pt x="1722" y="440"/>
                  </a:lnTo>
                  <a:lnTo>
                    <a:pt x="1710" y="440"/>
                  </a:lnTo>
                  <a:lnTo>
                    <a:pt x="1706" y="435"/>
                  </a:lnTo>
                  <a:lnTo>
                    <a:pt x="1722" y="440"/>
                  </a:lnTo>
                  <a:lnTo>
                    <a:pt x="1727" y="423"/>
                  </a:lnTo>
                  <a:lnTo>
                    <a:pt x="1722" y="418"/>
                  </a:lnTo>
                  <a:lnTo>
                    <a:pt x="1727" y="390"/>
                  </a:lnTo>
                  <a:lnTo>
                    <a:pt x="1739" y="390"/>
                  </a:lnTo>
                  <a:lnTo>
                    <a:pt x="1739" y="378"/>
                  </a:lnTo>
                  <a:lnTo>
                    <a:pt x="1755" y="366"/>
                  </a:lnTo>
                  <a:lnTo>
                    <a:pt x="1760" y="362"/>
                  </a:lnTo>
                  <a:lnTo>
                    <a:pt x="1760" y="366"/>
                  </a:lnTo>
                  <a:lnTo>
                    <a:pt x="1776" y="378"/>
                  </a:lnTo>
                  <a:lnTo>
                    <a:pt x="1793" y="350"/>
                  </a:lnTo>
                  <a:lnTo>
                    <a:pt x="1793" y="333"/>
                  </a:lnTo>
                  <a:lnTo>
                    <a:pt x="1835" y="333"/>
                  </a:lnTo>
                  <a:lnTo>
                    <a:pt x="1847" y="350"/>
                  </a:lnTo>
                  <a:lnTo>
                    <a:pt x="1869" y="350"/>
                  </a:lnTo>
                  <a:lnTo>
                    <a:pt x="1873" y="350"/>
                  </a:lnTo>
                  <a:lnTo>
                    <a:pt x="1906" y="362"/>
                  </a:lnTo>
                  <a:lnTo>
                    <a:pt x="1939" y="366"/>
                  </a:lnTo>
                  <a:lnTo>
                    <a:pt x="1944" y="362"/>
                  </a:lnTo>
                  <a:lnTo>
                    <a:pt x="1961" y="362"/>
                  </a:lnTo>
                  <a:lnTo>
                    <a:pt x="2015" y="366"/>
                  </a:lnTo>
                  <a:lnTo>
                    <a:pt x="2036" y="350"/>
                  </a:lnTo>
                  <a:lnTo>
                    <a:pt x="2046" y="345"/>
                  </a:lnTo>
                  <a:lnTo>
                    <a:pt x="2062" y="345"/>
                  </a:lnTo>
                  <a:lnTo>
                    <a:pt x="2053" y="329"/>
                  </a:lnTo>
                  <a:lnTo>
                    <a:pt x="2079" y="317"/>
                  </a:lnTo>
                  <a:lnTo>
                    <a:pt x="2079" y="312"/>
                  </a:lnTo>
                  <a:lnTo>
                    <a:pt x="2084" y="307"/>
                  </a:lnTo>
                  <a:lnTo>
                    <a:pt x="2100" y="307"/>
                  </a:lnTo>
                  <a:lnTo>
                    <a:pt x="2105" y="317"/>
                  </a:lnTo>
                  <a:lnTo>
                    <a:pt x="2091" y="329"/>
                  </a:lnTo>
                  <a:lnTo>
                    <a:pt x="2079" y="362"/>
                  </a:lnTo>
                  <a:lnTo>
                    <a:pt x="2036" y="400"/>
                  </a:lnTo>
                  <a:lnTo>
                    <a:pt x="1991" y="407"/>
                  </a:lnTo>
                  <a:lnTo>
                    <a:pt x="1970" y="407"/>
                  </a:lnTo>
                  <a:lnTo>
                    <a:pt x="1954" y="390"/>
                  </a:lnTo>
                  <a:lnTo>
                    <a:pt x="1864" y="400"/>
                  </a:lnTo>
                  <a:lnTo>
                    <a:pt x="1847" y="390"/>
                  </a:lnTo>
                  <a:lnTo>
                    <a:pt x="1814" y="400"/>
                  </a:lnTo>
                  <a:lnTo>
                    <a:pt x="1776" y="390"/>
                  </a:lnTo>
                  <a:lnTo>
                    <a:pt x="1760" y="390"/>
                  </a:lnTo>
                  <a:lnTo>
                    <a:pt x="1743" y="418"/>
                  </a:lnTo>
                  <a:lnTo>
                    <a:pt x="1739" y="440"/>
                  </a:lnTo>
                  <a:lnTo>
                    <a:pt x="1743" y="473"/>
                  </a:lnTo>
                  <a:lnTo>
                    <a:pt x="1755" y="494"/>
                  </a:lnTo>
                  <a:lnTo>
                    <a:pt x="1776" y="501"/>
                  </a:lnTo>
                  <a:lnTo>
                    <a:pt x="1781" y="527"/>
                  </a:lnTo>
                  <a:lnTo>
                    <a:pt x="1793" y="527"/>
                  </a:lnTo>
                  <a:lnTo>
                    <a:pt x="1814" y="534"/>
                  </a:lnTo>
                  <a:lnTo>
                    <a:pt x="1835" y="494"/>
                  </a:lnTo>
                  <a:lnTo>
                    <a:pt x="1852" y="489"/>
                  </a:lnTo>
                  <a:lnTo>
                    <a:pt x="1852" y="494"/>
                  </a:lnTo>
                  <a:lnTo>
                    <a:pt x="1869" y="494"/>
                  </a:lnTo>
                  <a:lnTo>
                    <a:pt x="1885" y="494"/>
                  </a:lnTo>
                  <a:lnTo>
                    <a:pt x="1890" y="489"/>
                  </a:lnTo>
                  <a:lnTo>
                    <a:pt x="1939" y="489"/>
                  </a:lnTo>
                  <a:lnTo>
                    <a:pt x="1944" y="478"/>
                  </a:lnTo>
                  <a:lnTo>
                    <a:pt x="1928" y="478"/>
                  </a:lnTo>
                  <a:lnTo>
                    <a:pt x="1954" y="473"/>
                  </a:lnTo>
                  <a:lnTo>
                    <a:pt x="1970" y="473"/>
                  </a:lnTo>
                  <a:lnTo>
                    <a:pt x="1977" y="489"/>
                  </a:lnTo>
                  <a:lnTo>
                    <a:pt x="1970" y="501"/>
                  </a:lnTo>
                  <a:lnTo>
                    <a:pt x="1961" y="494"/>
                  </a:lnTo>
                  <a:lnTo>
                    <a:pt x="1939" y="494"/>
                  </a:lnTo>
                  <a:lnTo>
                    <a:pt x="1906" y="534"/>
                  </a:lnTo>
                  <a:lnTo>
                    <a:pt x="1869" y="551"/>
                  </a:lnTo>
                  <a:lnTo>
                    <a:pt x="1852" y="567"/>
                  </a:lnTo>
                  <a:lnTo>
                    <a:pt x="1831" y="555"/>
                  </a:lnTo>
                  <a:lnTo>
                    <a:pt x="1831" y="572"/>
                  </a:lnTo>
                  <a:lnTo>
                    <a:pt x="1835" y="572"/>
                  </a:lnTo>
                  <a:lnTo>
                    <a:pt x="1847" y="584"/>
                  </a:lnTo>
                  <a:lnTo>
                    <a:pt x="1869" y="600"/>
                  </a:lnTo>
                  <a:lnTo>
                    <a:pt x="1873" y="622"/>
                  </a:lnTo>
                  <a:lnTo>
                    <a:pt x="1902" y="638"/>
                  </a:lnTo>
                  <a:lnTo>
                    <a:pt x="1902" y="645"/>
                  </a:lnTo>
                  <a:lnTo>
                    <a:pt x="1906" y="655"/>
                  </a:lnTo>
                  <a:lnTo>
                    <a:pt x="1890" y="666"/>
                  </a:lnTo>
                  <a:lnTo>
                    <a:pt x="1890" y="695"/>
                  </a:lnTo>
                  <a:lnTo>
                    <a:pt x="1923" y="711"/>
                  </a:lnTo>
                  <a:lnTo>
                    <a:pt x="1923" y="723"/>
                  </a:lnTo>
                  <a:lnTo>
                    <a:pt x="1939" y="723"/>
                  </a:lnTo>
                  <a:lnTo>
                    <a:pt x="1928" y="716"/>
                  </a:lnTo>
                  <a:lnTo>
                    <a:pt x="1939" y="733"/>
                  </a:lnTo>
                  <a:lnTo>
                    <a:pt x="1939" y="749"/>
                  </a:lnTo>
                  <a:lnTo>
                    <a:pt x="1928" y="749"/>
                  </a:lnTo>
                  <a:lnTo>
                    <a:pt x="1916" y="749"/>
                  </a:lnTo>
                  <a:lnTo>
                    <a:pt x="1885" y="756"/>
                  </a:lnTo>
                  <a:lnTo>
                    <a:pt x="1873" y="766"/>
                  </a:lnTo>
                  <a:lnTo>
                    <a:pt x="1885" y="773"/>
                  </a:lnTo>
                  <a:lnTo>
                    <a:pt x="1873" y="778"/>
                  </a:lnTo>
                  <a:lnTo>
                    <a:pt x="1873" y="778"/>
                  </a:lnTo>
                  <a:lnTo>
                    <a:pt x="1873" y="778"/>
                  </a:lnTo>
                  <a:close/>
                  <a:moveTo>
                    <a:pt x="508" y="329"/>
                  </a:moveTo>
                  <a:lnTo>
                    <a:pt x="508" y="333"/>
                  </a:lnTo>
                  <a:lnTo>
                    <a:pt x="496" y="329"/>
                  </a:lnTo>
                  <a:lnTo>
                    <a:pt x="480" y="317"/>
                  </a:lnTo>
                  <a:lnTo>
                    <a:pt x="470" y="312"/>
                  </a:lnTo>
                  <a:lnTo>
                    <a:pt x="501" y="317"/>
                  </a:lnTo>
                  <a:lnTo>
                    <a:pt x="508" y="329"/>
                  </a:lnTo>
                  <a:lnTo>
                    <a:pt x="508" y="329"/>
                  </a:lnTo>
                  <a:lnTo>
                    <a:pt x="508" y="329"/>
                  </a:lnTo>
                  <a:close/>
                  <a:moveTo>
                    <a:pt x="2105" y="317"/>
                  </a:moveTo>
                  <a:lnTo>
                    <a:pt x="2105" y="329"/>
                  </a:lnTo>
                  <a:lnTo>
                    <a:pt x="2100" y="329"/>
                  </a:lnTo>
                  <a:lnTo>
                    <a:pt x="2105" y="317"/>
                  </a:lnTo>
                  <a:lnTo>
                    <a:pt x="2105" y="317"/>
                  </a:lnTo>
                  <a:lnTo>
                    <a:pt x="2105" y="317"/>
                  </a:lnTo>
                  <a:close/>
                  <a:moveTo>
                    <a:pt x="177" y="390"/>
                  </a:moveTo>
                  <a:lnTo>
                    <a:pt x="173" y="383"/>
                  </a:lnTo>
                  <a:lnTo>
                    <a:pt x="161" y="366"/>
                  </a:lnTo>
                  <a:lnTo>
                    <a:pt x="128" y="329"/>
                  </a:lnTo>
                  <a:lnTo>
                    <a:pt x="144" y="317"/>
                  </a:lnTo>
                  <a:lnTo>
                    <a:pt x="156" y="317"/>
                  </a:lnTo>
                  <a:lnTo>
                    <a:pt x="173" y="345"/>
                  </a:lnTo>
                  <a:lnTo>
                    <a:pt x="182" y="350"/>
                  </a:lnTo>
                  <a:lnTo>
                    <a:pt x="182" y="383"/>
                  </a:lnTo>
                  <a:lnTo>
                    <a:pt x="177" y="390"/>
                  </a:lnTo>
                  <a:lnTo>
                    <a:pt x="177" y="390"/>
                  </a:lnTo>
                  <a:lnTo>
                    <a:pt x="177" y="390"/>
                  </a:lnTo>
                  <a:close/>
                  <a:moveTo>
                    <a:pt x="508" y="345"/>
                  </a:moveTo>
                  <a:lnTo>
                    <a:pt x="508" y="362"/>
                  </a:lnTo>
                  <a:lnTo>
                    <a:pt x="501" y="362"/>
                  </a:lnTo>
                  <a:lnTo>
                    <a:pt x="484" y="350"/>
                  </a:lnTo>
                  <a:lnTo>
                    <a:pt x="484" y="329"/>
                  </a:lnTo>
                  <a:lnTo>
                    <a:pt x="508" y="345"/>
                  </a:lnTo>
                  <a:lnTo>
                    <a:pt x="508" y="345"/>
                  </a:lnTo>
                  <a:lnTo>
                    <a:pt x="508" y="345"/>
                  </a:lnTo>
                  <a:close/>
                  <a:moveTo>
                    <a:pt x="664" y="350"/>
                  </a:moveTo>
                  <a:lnTo>
                    <a:pt x="659" y="366"/>
                  </a:lnTo>
                  <a:lnTo>
                    <a:pt x="631" y="350"/>
                  </a:lnTo>
                  <a:lnTo>
                    <a:pt x="643" y="345"/>
                  </a:lnTo>
                  <a:lnTo>
                    <a:pt x="664" y="350"/>
                  </a:lnTo>
                  <a:lnTo>
                    <a:pt x="664" y="350"/>
                  </a:lnTo>
                  <a:lnTo>
                    <a:pt x="664" y="350"/>
                  </a:lnTo>
                  <a:close/>
                  <a:moveTo>
                    <a:pt x="626" y="345"/>
                  </a:moveTo>
                  <a:lnTo>
                    <a:pt x="614" y="362"/>
                  </a:lnTo>
                  <a:lnTo>
                    <a:pt x="610" y="350"/>
                  </a:lnTo>
                  <a:lnTo>
                    <a:pt x="614" y="345"/>
                  </a:lnTo>
                  <a:lnTo>
                    <a:pt x="626" y="345"/>
                  </a:lnTo>
                  <a:lnTo>
                    <a:pt x="626" y="345"/>
                  </a:lnTo>
                  <a:lnTo>
                    <a:pt x="626" y="345"/>
                  </a:lnTo>
                  <a:close/>
                  <a:moveTo>
                    <a:pt x="550" y="366"/>
                  </a:moveTo>
                  <a:lnTo>
                    <a:pt x="522" y="350"/>
                  </a:lnTo>
                  <a:lnTo>
                    <a:pt x="522" y="345"/>
                  </a:lnTo>
                  <a:lnTo>
                    <a:pt x="550" y="350"/>
                  </a:lnTo>
                  <a:lnTo>
                    <a:pt x="555" y="366"/>
                  </a:lnTo>
                  <a:lnTo>
                    <a:pt x="550" y="366"/>
                  </a:lnTo>
                  <a:lnTo>
                    <a:pt x="550" y="366"/>
                  </a:lnTo>
                  <a:lnTo>
                    <a:pt x="550" y="366"/>
                  </a:lnTo>
                  <a:close/>
                  <a:moveTo>
                    <a:pt x="539" y="378"/>
                  </a:moveTo>
                  <a:lnTo>
                    <a:pt x="534" y="366"/>
                  </a:lnTo>
                  <a:lnTo>
                    <a:pt x="508" y="366"/>
                  </a:lnTo>
                  <a:lnTo>
                    <a:pt x="501" y="366"/>
                  </a:lnTo>
                  <a:lnTo>
                    <a:pt x="508" y="362"/>
                  </a:lnTo>
                  <a:lnTo>
                    <a:pt x="508" y="345"/>
                  </a:lnTo>
                  <a:lnTo>
                    <a:pt x="550" y="366"/>
                  </a:lnTo>
                  <a:lnTo>
                    <a:pt x="539" y="378"/>
                  </a:lnTo>
                  <a:lnTo>
                    <a:pt x="539" y="378"/>
                  </a:lnTo>
                  <a:lnTo>
                    <a:pt x="539" y="378"/>
                  </a:lnTo>
                  <a:close/>
                  <a:moveTo>
                    <a:pt x="572" y="350"/>
                  </a:moveTo>
                  <a:lnTo>
                    <a:pt x="572" y="362"/>
                  </a:lnTo>
                  <a:lnTo>
                    <a:pt x="560" y="345"/>
                  </a:lnTo>
                  <a:lnTo>
                    <a:pt x="572" y="350"/>
                  </a:lnTo>
                  <a:lnTo>
                    <a:pt x="572" y="350"/>
                  </a:lnTo>
                  <a:lnTo>
                    <a:pt x="572" y="350"/>
                  </a:lnTo>
                  <a:close/>
                  <a:moveTo>
                    <a:pt x="610" y="362"/>
                  </a:moveTo>
                  <a:lnTo>
                    <a:pt x="605" y="350"/>
                  </a:lnTo>
                  <a:lnTo>
                    <a:pt x="610" y="362"/>
                  </a:lnTo>
                  <a:lnTo>
                    <a:pt x="610" y="362"/>
                  </a:lnTo>
                  <a:lnTo>
                    <a:pt x="610" y="362"/>
                  </a:lnTo>
                  <a:close/>
                  <a:moveTo>
                    <a:pt x="626" y="366"/>
                  </a:moveTo>
                  <a:lnTo>
                    <a:pt x="614" y="362"/>
                  </a:lnTo>
                  <a:lnTo>
                    <a:pt x="631" y="366"/>
                  </a:lnTo>
                  <a:lnTo>
                    <a:pt x="626" y="366"/>
                  </a:lnTo>
                  <a:lnTo>
                    <a:pt x="626" y="366"/>
                  </a:lnTo>
                  <a:lnTo>
                    <a:pt x="626" y="366"/>
                  </a:lnTo>
                  <a:close/>
                  <a:moveTo>
                    <a:pt x="576" y="378"/>
                  </a:moveTo>
                  <a:lnTo>
                    <a:pt x="572" y="383"/>
                  </a:lnTo>
                  <a:lnTo>
                    <a:pt x="572" y="366"/>
                  </a:lnTo>
                  <a:lnTo>
                    <a:pt x="576" y="378"/>
                  </a:lnTo>
                  <a:lnTo>
                    <a:pt x="576" y="378"/>
                  </a:lnTo>
                  <a:lnTo>
                    <a:pt x="576" y="378"/>
                  </a:lnTo>
                  <a:close/>
                  <a:moveTo>
                    <a:pt x="631" y="378"/>
                  </a:moveTo>
                  <a:lnTo>
                    <a:pt x="626" y="378"/>
                  </a:lnTo>
                  <a:lnTo>
                    <a:pt x="631" y="366"/>
                  </a:lnTo>
                  <a:lnTo>
                    <a:pt x="631" y="378"/>
                  </a:lnTo>
                  <a:lnTo>
                    <a:pt x="631" y="378"/>
                  </a:lnTo>
                  <a:lnTo>
                    <a:pt x="631" y="378"/>
                  </a:lnTo>
                  <a:close/>
                  <a:moveTo>
                    <a:pt x="2263" y="378"/>
                  </a:moveTo>
                  <a:lnTo>
                    <a:pt x="2251" y="383"/>
                  </a:lnTo>
                  <a:lnTo>
                    <a:pt x="2251" y="378"/>
                  </a:lnTo>
                  <a:lnTo>
                    <a:pt x="2263" y="378"/>
                  </a:lnTo>
                  <a:lnTo>
                    <a:pt x="2263" y="378"/>
                  </a:lnTo>
                  <a:lnTo>
                    <a:pt x="2263" y="378"/>
                  </a:lnTo>
                  <a:close/>
                  <a:moveTo>
                    <a:pt x="560" y="383"/>
                  </a:moveTo>
                  <a:lnTo>
                    <a:pt x="555" y="390"/>
                  </a:lnTo>
                  <a:lnTo>
                    <a:pt x="555" y="378"/>
                  </a:lnTo>
                  <a:lnTo>
                    <a:pt x="560" y="383"/>
                  </a:lnTo>
                  <a:lnTo>
                    <a:pt x="560" y="383"/>
                  </a:lnTo>
                  <a:lnTo>
                    <a:pt x="560" y="383"/>
                  </a:lnTo>
                  <a:close/>
                  <a:moveTo>
                    <a:pt x="2251" y="400"/>
                  </a:moveTo>
                  <a:lnTo>
                    <a:pt x="2251" y="407"/>
                  </a:lnTo>
                  <a:lnTo>
                    <a:pt x="2251" y="400"/>
                  </a:lnTo>
                  <a:lnTo>
                    <a:pt x="2251" y="400"/>
                  </a:lnTo>
                  <a:lnTo>
                    <a:pt x="2251" y="400"/>
                  </a:lnTo>
                  <a:close/>
                  <a:moveTo>
                    <a:pt x="248" y="423"/>
                  </a:moveTo>
                  <a:lnTo>
                    <a:pt x="232" y="418"/>
                  </a:lnTo>
                  <a:lnTo>
                    <a:pt x="248" y="418"/>
                  </a:lnTo>
                  <a:lnTo>
                    <a:pt x="248" y="423"/>
                  </a:lnTo>
                  <a:lnTo>
                    <a:pt x="248" y="423"/>
                  </a:lnTo>
                  <a:lnTo>
                    <a:pt x="248" y="423"/>
                  </a:lnTo>
                  <a:close/>
                  <a:moveTo>
                    <a:pt x="2407" y="444"/>
                  </a:moveTo>
                  <a:lnTo>
                    <a:pt x="2386" y="423"/>
                  </a:lnTo>
                  <a:lnTo>
                    <a:pt x="2407" y="440"/>
                  </a:lnTo>
                  <a:lnTo>
                    <a:pt x="2407" y="444"/>
                  </a:lnTo>
                  <a:lnTo>
                    <a:pt x="2407" y="444"/>
                  </a:lnTo>
                  <a:lnTo>
                    <a:pt x="2407" y="444"/>
                  </a:lnTo>
                  <a:close/>
                  <a:moveTo>
                    <a:pt x="680" y="456"/>
                  </a:moveTo>
                  <a:lnTo>
                    <a:pt x="664" y="444"/>
                  </a:lnTo>
                  <a:lnTo>
                    <a:pt x="647" y="444"/>
                  </a:lnTo>
                  <a:lnTo>
                    <a:pt x="643" y="444"/>
                  </a:lnTo>
                  <a:lnTo>
                    <a:pt x="647" y="435"/>
                  </a:lnTo>
                  <a:lnTo>
                    <a:pt x="680" y="440"/>
                  </a:lnTo>
                  <a:lnTo>
                    <a:pt x="680" y="456"/>
                  </a:lnTo>
                  <a:lnTo>
                    <a:pt x="680" y="456"/>
                  </a:lnTo>
                  <a:lnTo>
                    <a:pt x="680" y="456"/>
                  </a:lnTo>
                  <a:close/>
                  <a:moveTo>
                    <a:pt x="232" y="456"/>
                  </a:moveTo>
                  <a:lnTo>
                    <a:pt x="215" y="435"/>
                  </a:lnTo>
                  <a:lnTo>
                    <a:pt x="227" y="435"/>
                  </a:lnTo>
                  <a:lnTo>
                    <a:pt x="232" y="456"/>
                  </a:lnTo>
                  <a:lnTo>
                    <a:pt x="232" y="456"/>
                  </a:lnTo>
                  <a:lnTo>
                    <a:pt x="232" y="456"/>
                  </a:lnTo>
                  <a:close/>
                  <a:moveTo>
                    <a:pt x="2485" y="435"/>
                  </a:moveTo>
                  <a:lnTo>
                    <a:pt x="2516" y="435"/>
                  </a:lnTo>
                  <a:lnTo>
                    <a:pt x="2532" y="440"/>
                  </a:lnTo>
                  <a:lnTo>
                    <a:pt x="2532" y="444"/>
                  </a:lnTo>
                  <a:lnTo>
                    <a:pt x="2523" y="456"/>
                  </a:lnTo>
                  <a:lnTo>
                    <a:pt x="2511" y="456"/>
                  </a:lnTo>
                  <a:lnTo>
                    <a:pt x="2478" y="435"/>
                  </a:lnTo>
                  <a:lnTo>
                    <a:pt x="2499" y="456"/>
                  </a:lnTo>
                  <a:lnTo>
                    <a:pt x="2495" y="461"/>
                  </a:lnTo>
                  <a:lnTo>
                    <a:pt x="2485" y="444"/>
                  </a:lnTo>
                  <a:lnTo>
                    <a:pt x="2478" y="456"/>
                  </a:lnTo>
                  <a:lnTo>
                    <a:pt x="2478" y="444"/>
                  </a:lnTo>
                  <a:lnTo>
                    <a:pt x="2457" y="444"/>
                  </a:lnTo>
                  <a:lnTo>
                    <a:pt x="2469" y="440"/>
                  </a:lnTo>
                  <a:lnTo>
                    <a:pt x="2461" y="440"/>
                  </a:lnTo>
                  <a:lnTo>
                    <a:pt x="2457" y="440"/>
                  </a:lnTo>
                  <a:lnTo>
                    <a:pt x="2485" y="435"/>
                  </a:lnTo>
                  <a:lnTo>
                    <a:pt x="2485" y="435"/>
                  </a:lnTo>
                  <a:lnTo>
                    <a:pt x="2485" y="435"/>
                  </a:lnTo>
                  <a:close/>
                  <a:moveTo>
                    <a:pt x="1890" y="444"/>
                  </a:moveTo>
                  <a:lnTo>
                    <a:pt x="1885" y="444"/>
                  </a:lnTo>
                  <a:lnTo>
                    <a:pt x="1890" y="444"/>
                  </a:lnTo>
                  <a:lnTo>
                    <a:pt x="1890" y="444"/>
                  </a:lnTo>
                  <a:lnTo>
                    <a:pt x="1890" y="444"/>
                  </a:lnTo>
                  <a:close/>
                  <a:moveTo>
                    <a:pt x="593" y="444"/>
                  </a:moveTo>
                  <a:lnTo>
                    <a:pt x="593" y="456"/>
                  </a:lnTo>
                  <a:lnTo>
                    <a:pt x="572" y="456"/>
                  </a:lnTo>
                  <a:lnTo>
                    <a:pt x="576" y="444"/>
                  </a:lnTo>
                  <a:lnTo>
                    <a:pt x="593" y="444"/>
                  </a:lnTo>
                  <a:lnTo>
                    <a:pt x="593" y="444"/>
                  </a:lnTo>
                  <a:lnTo>
                    <a:pt x="593" y="444"/>
                  </a:lnTo>
                  <a:close/>
                  <a:moveTo>
                    <a:pt x="227" y="461"/>
                  </a:moveTo>
                  <a:lnTo>
                    <a:pt x="227" y="473"/>
                  </a:lnTo>
                  <a:lnTo>
                    <a:pt x="215" y="473"/>
                  </a:lnTo>
                  <a:lnTo>
                    <a:pt x="227" y="444"/>
                  </a:lnTo>
                  <a:lnTo>
                    <a:pt x="227" y="461"/>
                  </a:lnTo>
                  <a:lnTo>
                    <a:pt x="227" y="461"/>
                  </a:lnTo>
                  <a:lnTo>
                    <a:pt x="227" y="461"/>
                  </a:lnTo>
                  <a:close/>
                  <a:moveTo>
                    <a:pt x="2246" y="444"/>
                  </a:moveTo>
                  <a:lnTo>
                    <a:pt x="2246" y="461"/>
                  </a:lnTo>
                  <a:lnTo>
                    <a:pt x="2242" y="461"/>
                  </a:lnTo>
                  <a:lnTo>
                    <a:pt x="2242" y="444"/>
                  </a:lnTo>
                  <a:lnTo>
                    <a:pt x="2246" y="444"/>
                  </a:lnTo>
                  <a:lnTo>
                    <a:pt x="2246" y="444"/>
                  </a:lnTo>
                  <a:lnTo>
                    <a:pt x="2246" y="444"/>
                  </a:lnTo>
                  <a:close/>
                  <a:moveTo>
                    <a:pt x="1885" y="456"/>
                  </a:moveTo>
                  <a:lnTo>
                    <a:pt x="1885" y="444"/>
                  </a:lnTo>
                  <a:lnTo>
                    <a:pt x="1885" y="456"/>
                  </a:lnTo>
                  <a:lnTo>
                    <a:pt x="1885" y="456"/>
                  </a:lnTo>
                  <a:lnTo>
                    <a:pt x="1885" y="456"/>
                  </a:lnTo>
                  <a:close/>
                  <a:moveTo>
                    <a:pt x="2263" y="444"/>
                  </a:moveTo>
                  <a:lnTo>
                    <a:pt x="2280" y="461"/>
                  </a:lnTo>
                  <a:lnTo>
                    <a:pt x="2268" y="473"/>
                  </a:lnTo>
                  <a:lnTo>
                    <a:pt x="2280" y="478"/>
                  </a:lnTo>
                  <a:lnTo>
                    <a:pt x="2284" y="478"/>
                  </a:lnTo>
                  <a:lnTo>
                    <a:pt x="2294" y="489"/>
                  </a:lnTo>
                  <a:lnTo>
                    <a:pt x="2284" y="494"/>
                  </a:lnTo>
                  <a:lnTo>
                    <a:pt x="2268" y="489"/>
                  </a:lnTo>
                  <a:lnTo>
                    <a:pt x="2263" y="489"/>
                  </a:lnTo>
                  <a:lnTo>
                    <a:pt x="2246" y="461"/>
                  </a:lnTo>
                  <a:lnTo>
                    <a:pt x="2246" y="456"/>
                  </a:lnTo>
                  <a:lnTo>
                    <a:pt x="2263" y="444"/>
                  </a:lnTo>
                  <a:lnTo>
                    <a:pt x="2263" y="444"/>
                  </a:lnTo>
                  <a:lnTo>
                    <a:pt x="2263" y="444"/>
                  </a:lnTo>
                  <a:close/>
                  <a:moveTo>
                    <a:pt x="1885" y="456"/>
                  </a:moveTo>
                  <a:lnTo>
                    <a:pt x="1869" y="456"/>
                  </a:lnTo>
                  <a:lnTo>
                    <a:pt x="1873" y="444"/>
                  </a:lnTo>
                  <a:lnTo>
                    <a:pt x="1885" y="456"/>
                  </a:lnTo>
                  <a:lnTo>
                    <a:pt x="1885" y="456"/>
                  </a:lnTo>
                  <a:lnTo>
                    <a:pt x="1885" y="456"/>
                  </a:lnTo>
                  <a:close/>
                  <a:moveTo>
                    <a:pt x="647" y="456"/>
                  </a:moveTo>
                  <a:lnTo>
                    <a:pt x="659" y="461"/>
                  </a:lnTo>
                  <a:lnTo>
                    <a:pt x="647" y="473"/>
                  </a:lnTo>
                  <a:lnTo>
                    <a:pt x="631" y="461"/>
                  </a:lnTo>
                  <a:lnTo>
                    <a:pt x="647" y="456"/>
                  </a:lnTo>
                  <a:lnTo>
                    <a:pt x="647" y="456"/>
                  </a:lnTo>
                  <a:lnTo>
                    <a:pt x="647" y="456"/>
                  </a:lnTo>
                  <a:close/>
                  <a:moveTo>
                    <a:pt x="3213" y="612"/>
                  </a:moveTo>
                  <a:lnTo>
                    <a:pt x="3213" y="884"/>
                  </a:lnTo>
                  <a:lnTo>
                    <a:pt x="3203" y="905"/>
                  </a:lnTo>
                  <a:lnTo>
                    <a:pt x="3203" y="922"/>
                  </a:lnTo>
                  <a:lnTo>
                    <a:pt x="3213" y="922"/>
                  </a:lnTo>
                  <a:lnTo>
                    <a:pt x="3213" y="1089"/>
                  </a:lnTo>
                  <a:lnTo>
                    <a:pt x="3142" y="1016"/>
                  </a:lnTo>
                  <a:lnTo>
                    <a:pt x="3149" y="995"/>
                  </a:lnTo>
                  <a:lnTo>
                    <a:pt x="3132" y="1016"/>
                  </a:lnTo>
                  <a:lnTo>
                    <a:pt x="3095" y="1016"/>
                  </a:lnTo>
                  <a:lnTo>
                    <a:pt x="3090" y="1011"/>
                  </a:lnTo>
                  <a:lnTo>
                    <a:pt x="3061" y="1028"/>
                  </a:lnTo>
                  <a:lnTo>
                    <a:pt x="3057" y="1016"/>
                  </a:lnTo>
                  <a:lnTo>
                    <a:pt x="3078" y="978"/>
                  </a:lnTo>
                  <a:lnTo>
                    <a:pt x="3052" y="945"/>
                  </a:lnTo>
                  <a:lnTo>
                    <a:pt x="3073" y="955"/>
                  </a:lnTo>
                  <a:lnTo>
                    <a:pt x="3090" y="945"/>
                  </a:lnTo>
                  <a:lnTo>
                    <a:pt x="3073" y="945"/>
                  </a:lnTo>
                  <a:lnTo>
                    <a:pt x="3057" y="945"/>
                  </a:lnTo>
                  <a:lnTo>
                    <a:pt x="3040" y="933"/>
                  </a:lnTo>
                  <a:lnTo>
                    <a:pt x="3061" y="922"/>
                  </a:lnTo>
                  <a:lnTo>
                    <a:pt x="3078" y="933"/>
                  </a:lnTo>
                  <a:lnTo>
                    <a:pt x="3052" y="917"/>
                  </a:lnTo>
                  <a:lnTo>
                    <a:pt x="3052" y="905"/>
                  </a:lnTo>
                  <a:lnTo>
                    <a:pt x="3024" y="884"/>
                  </a:lnTo>
                  <a:lnTo>
                    <a:pt x="3019" y="851"/>
                  </a:lnTo>
                  <a:lnTo>
                    <a:pt x="3007" y="844"/>
                  </a:lnTo>
                  <a:lnTo>
                    <a:pt x="3024" y="834"/>
                  </a:lnTo>
                  <a:lnTo>
                    <a:pt x="3002" y="844"/>
                  </a:lnTo>
                  <a:lnTo>
                    <a:pt x="3002" y="822"/>
                  </a:lnTo>
                  <a:lnTo>
                    <a:pt x="2998" y="822"/>
                  </a:lnTo>
                  <a:lnTo>
                    <a:pt x="2948" y="789"/>
                  </a:lnTo>
                  <a:lnTo>
                    <a:pt x="2915" y="778"/>
                  </a:lnTo>
                  <a:lnTo>
                    <a:pt x="2856" y="756"/>
                  </a:lnTo>
                  <a:lnTo>
                    <a:pt x="2802" y="749"/>
                  </a:lnTo>
                  <a:lnTo>
                    <a:pt x="2764" y="723"/>
                  </a:lnTo>
                  <a:lnTo>
                    <a:pt x="2771" y="711"/>
                  </a:lnTo>
                  <a:lnTo>
                    <a:pt x="2787" y="711"/>
                  </a:lnTo>
                  <a:lnTo>
                    <a:pt x="2764" y="711"/>
                  </a:lnTo>
                  <a:lnTo>
                    <a:pt x="2754" y="716"/>
                  </a:lnTo>
                  <a:lnTo>
                    <a:pt x="2750" y="711"/>
                  </a:lnTo>
                  <a:lnTo>
                    <a:pt x="2738" y="716"/>
                  </a:lnTo>
                  <a:lnTo>
                    <a:pt x="2733" y="716"/>
                  </a:lnTo>
                  <a:lnTo>
                    <a:pt x="2733" y="700"/>
                  </a:lnTo>
                  <a:lnTo>
                    <a:pt x="2717" y="700"/>
                  </a:lnTo>
                  <a:lnTo>
                    <a:pt x="2712" y="683"/>
                  </a:lnTo>
                  <a:lnTo>
                    <a:pt x="2700" y="695"/>
                  </a:lnTo>
                  <a:lnTo>
                    <a:pt x="2695" y="678"/>
                  </a:lnTo>
                  <a:lnTo>
                    <a:pt x="2700" y="662"/>
                  </a:lnTo>
                  <a:lnTo>
                    <a:pt x="2712" y="655"/>
                  </a:lnTo>
                  <a:lnTo>
                    <a:pt x="2712" y="645"/>
                  </a:lnTo>
                  <a:lnTo>
                    <a:pt x="2695" y="655"/>
                  </a:lnTo>
                  <a:lnTo>
                    <a:pt x="2695" y="678"/>
                  </a:lnTo>
                  <a:lnTo>
                    <a:pt x="2683" y="678"/>
                  </a:lnTo>
                  <a:lnTo>
                    <a:pt x="2683" y="683"/>
                  </a:lnTo>
                  <a:lnTo>
                    <a:pt x="2679" y="700"/>
                  </a:lnTo>
                  <a:lnTo>
                    <a:pt x="2679" y="711"/>
                  </a:lnTo>
                  <a:lnTo>
                    <a:pt x="2662" y="723"/>
                  </a:lnTo>
                  <a:lnTo>
                    <a:pt x="2641" y="723"/>
                  </a:lnTo>
                  <a:lnTo>
                    <a:pt x="2629" y="695"/>
                  </a:lnTo>
                  <a:lnTo>
                    <a:pt x="2641" y="683"/>
                  </a:lnTo>
                  <a:lnTo>
                    <a:pt x="2641" y="678"/>
                  </a:lnTo>
                  <a:lnTo>
                    <a:pt x="2629" y="666"/>
                  </a:lnTo>
                  <a:lnTo>
                    <a:pt x="2624" y="666"/>
                  </a:lnTo>
                  <a:lnTo>
                    <a:pt x="2620" y="655"/>
                  </a:lnTo>
                  <a:lnTo>
                    <a:pt x="2603" y="638"/>
                  </a:lnTo>
                  <a:lnTo>
                    <a:pt x="2587" y="645"/>
                  </a:lnTo>
                  <a:lnTo>
                    <a:pt x="2575" y="629"/>
                  </a:lnTo>
                  <a:lnTo>
                    <a:pt x="2603" y="622"/>
                  </a:lnTo>
                  <a:lnTo>
                    <a:pt x="2629" y="629"/>
                  </a:lnTo>
                  <a:lnTo>
                    <a:pt x="2646" y="605"/>
                  </a:lnTo>
                  <a:lnTo>
                    <a:pt x="2662" y="605"/>
                  </a:lnTo>
                  <a:lnTo>
                    <a:pt x="2683" y="612"/>
                  </a:lnTo>
                  <a:lnTo>
                    <a:pt x="2695" y="612"/>
                  </a:lnTo>
                  <a:lnTo>
                    <a:pt x="2695" y="622"/>
                  </a:lnTo>
                  <a:lnTo>
                    <a:pt x="2700" y="605"/>
                  </a:lnTo>
                  <a:lnTo>
                    <a:pt x="2712" y="622"/>
                  </a:lnTo>
                  <a:lnTo>
                    <a:pt x="2700" y="605"/>
                  </a:lnTo>
                  <a:lnTo>
                    <a:pt x="2717" y="600"/>
                  </a:lnTo>
                  <a:lnTo>
                    <a:pt x="2717" y="589"/>
                  </a:lnTo>
                  <a:lnTo>
                    <a:pt x="2712" y="600"/>
                  </a:lnTo>
                  <a:lnTo>
                    <a:pt x="2700" y="589"/>
                  </a:lnTo>
                  <a:lnTo>
                    <a:pt x="2717" y="584"/>
                  </a:lnTo>
                  <a:lnTo>
                    <a:pt x="2695" y="589"/>
                  </a:lnTo>
                  <a:lnTo>
                    <a:pt x="2674" y="589"/>
                  </a:lnTo>
                  <a:lnTo>
                    <a:pt x="2624" y="600"/>
                  </a:lnTo>
                  <a:lnTo>
                    <a:pt x="2620" y="589"/>
                  </a:lnTo>
                  <a:lnTo>
                    <a:pt x="2603" y="589"/>
                  </a:lnTo>
                  <a:lnTo>
                    <a:pt x="2575" y="584"/>
                  </a:lnTo>
                  <a:lnTo>
                    <a:pt x="2570" y="551"/>
                  </a:lnTo>
                  <a:lnTo>
                    <a:pt x="2523" y="527"/>
                  </a:lnTo>
                  <a:lnTo>
                    <a:pt x="2532" y="534"/>
                  </a:lnTo>
                  <a:lnTo>
                    <a:pt x="2523" y="534"/>
                  </a:lnTo>
                  <a:lnTo>
                    <a:pt x="2511" y="527"/>
                  </a:lnTo>
                  <a:lnTo>
                    <a:pt x="2523" y="511"/>
                  </a:lnTo>
                  <a:lnTo>
                    <a:pt x="2523" y="489"/>
                  </a:lnTo>
                  <a:lnTo>
                    <a:pt x="2570" y="478"/>
                  </a:lnTo>
                  <a:lnTo>
                    <a:pt x="2587" y="461"/>
                  </a:lnTo>
                  <a:lnTo>
                    <a:pt x="2608" y="456"/>
                  </a:lnTo>
                  <a:lnTo>
                    <a:pt x="2662" y="473"/>
                  </a:lnTo>
                  <a:lnTo>
                    <a:pt x="2679" y="478"/>
                  </a:lnTo>
                  <a:lnTo>
                    <a:pt x="2717" y="478"/>
                  </a:lnTo>
                  <a:lnTo>
                    <a:pt x="2726" y="489"/>
                  </a:lnTo>
                  <a:lnTo>
                    <a:pt x="2717" y="494"/>
                  </a:lnTo>
                  <a:lnTo>
                    <a:pt x="2738" y="527"/>
                  </a:lnTo>
                  <a:lnTo>
                    <a:pt x="2726" y="551"/>
                  </a:lnTo>
                  <a:lnTo>
                    <a:pt x="2733" y="600"/>
                  </a:lnTo>
                  <a:lnTo>
                    <a:pt x="2750" y="638"/>
                  </a:lnTo>
                  <a:lnTo>
                    <a:pt x="2754" y="629"/>
                  </a:lnTo>
                  <a:lnTo>
                    <a:pt x="2754" y="612"/>
                  </a:lnTo>
                  <a:lnTo>
                    <a:pt x="2754" y="605"/>
                  </a:lnTo>
                  <a:lnTo>
                    <a:pt x="2764" y="605"/>
                  </a:lnTo>
                  <a:lnTo>
                    <a:pt x="2771" y="645"/>
                  </a:lnTo>
                  <a:lnTo>
                    <a:pt x="2780" y="638"/>
                  </a:lnTo>
                  <a:lnTo>
                    <a:pt x="2780" y="655"/>
                  </a:lnTo>
                  <a:lnTo>
                    <a:pt x="2780" y="662"/>
                  </a:lnTo>
                  <a:lnTo>
                    <a:pt x="2792" y="666"/>
                  </a:lnTo>
                  <a:lnTo>
                    <a:pt x="2825" y="666"/>
                  </a:lnTo>
                  <a:lnTo>
                    <a:pt x="2856" y="645"/>
                  </a:lnTo>
                  <a:lnTo>
                    <a:pt x="2863" y="622"/>
                  </a:lnTo>
                  <a:lnTo>
                    <a:pt x="2877" y="612"/>
                  </a:lnTo>
                  <a:lnTo>
                    <a:pt x="2889" y="589"/>
                  </a:lnTo>
                  <a:lnTo>
                    <a:pt x="2910" y="589"/>
                  </a:lnTo>
                  <a:lnTo>
                    <a:pt x="2943" y="584"/>
                  </a:lnTo>
                  <a:lnTo>
                    <a:pt x="2943" y="555"/>
                  </a:lnTo>
                  <a:lnTo>
                    <a:pt x="2986" y="534"/>
                  </a:lnTo>
                  <a:lnTo>
                    <a:pt x="3128" y="600"/>
                  </a:lnTo>
                  <a:lnTo>
                    <a:pt x="3149" y="600"/>
                  </a:lnTo>
                  <a:lnTo>
                    <a:pt x="3165" y="605"/>
                  </a:lnTo>
                  <a:lnTo>
                    <a:pt x="3187" y="605"/>
                  </a:lnTo>
                  <a:lnTo>
                    <a:pt x="3187" y="622"/>
                  </a:lnTo>
                  <a:lnTo>
                    <a:pt x="3213" y="612"/>
                  </a:lnTo>
                  <a:lnTo>
                    <a:pt x="3213" y="612"/>
                  </a:lnTo>
                  <a:lnTo>
                    <a:pt x="3213" y="612"/>
                  </a:lnTo>
                  <a:close/>
                  <a:moveTo>
                    <a:pt x="1869" y="461"/>
                  </a:moveTo>
                  <a:lnTo>
                    <a:pt x="1852" y="473"/>
                  </a:lnTo>
                  <a:lnTo>
                    <a:pt x="1864" y="456"/>
                  </a:lnTo>
                  <a:lnTo>
                    <a:pt x="1869" y="461"/>
                  </a:lnTo>
                  <a:lnTo>
                    <a:pt x="1869" y="461"/>
                  </a:lnTo>
                  <a:lnTo>
                    <a:pt x="1869" y="461"/>
                  </a:lnTo>
                  <a:close/>
                  <a:moveTo>
                    <a:pt x="2485" y="456"/>
                  </a:moveTo>
                  <a:lnTo>
                    <a:pt x="2485" y="461"/>
                  </a:lnTo>
                  <a:lnTo>
                    <a:pt x="2469" y="461"/>
                  </a:lnTo>
                  <a:lnTo>
                    <a:pt x="2485" y="456"/>
                  </a:lnTo>
                  <a:lnTo>
                    <a:pt x="2485" y="456"/>
                  </a:lnTo>
                  <a:lnTo>
                    <a:pt x="2485" y="456"/>
                  </a:lnTo>
                  <a:close/>
                  <a:moveTo>
                    <a:pt x="2246" y="473"/>
                  </a:moveTo>
                  <a:lnTo>
                    <a:pt x="2246" y="489"/>
                  </a:lnTo>
                  <a:lnTo>
                    <a:pt x="2242" y="489"/>
                  </a:lnTo>
                  <a:lnTo>
                    <a:pt x="2246" y="473"/>
                  </a:lnTo>
                  <a:lnTo>
                    <a:pt x="2246" y="473"/>
                  </a:lnTo>
                  <a:lnTo>
                    <a:pt x="2246" y="473"/>
                  </a:lnTo>
                  <a:close/>
                  <a:moveTo>
                    <a:pt x="2818" y="478"/>
                  </a:moveTo>
                  <a:lnTo>
                    <a:pt x="2839" y="478"/>
                  </a:lnTo>
                  <a:lnTo>
                    <a:pt x="2846" y="478"/>
                  </a:lnTo>
                  <a:lnTo>
                    <a:pt x="2872" y="501"/>
                  </a:lnTo>
                  <a:lnTo>
                    <a:pt x="2889" y="511"/>
                  </a:lnTo>
                  <a:lnTo>
                    <a:pt x="2872" y="518"/>
                  </a:lnTo>
                  <a:lnTo>
                    <a:pt x="2846" y="511"/>
                  </a:lnTo>
                  <a:lnTo>
                    <a:pt x="2839" y="489"/>
                  </a:lnTo>
                  <a:lnTo>
                    <a:pt x="2835" y="494"/>
                  </a:lnTo>
                  <a:lnTo>
                    <a:pt x="2825" y="489"/>
                  </a:lnTo>
                  <a:lnTo>
                    <a:pt x="2818" y="478"/>
                  </a:lnTo>
                  <a:lnTo>
                    <a:pt x="2818" y="478"/>
                  </a:lnTo>
                  <a:lnTo>
                    <a:pt x="2818" y="478"/>
                  </a:lnTo>
                  <a:close/>
                  <a:moveTo>
                    <a:pt x="2495" y="489"/>
                  </a:moveTo>
                  <a:lnTo>
                    <a:pt x="2499" y="489"/>
                  </a:lnTo>
                  <a:lnTo>
                    <a:pt x="2495" y="489"/>
                  </a:lnTo>
                  <a:lnTo>
                    <a:pt x="2461" y="494"/>
                  </a:lnTo>
                  <a:lnTo>
                    <a:pt x="2469" y="489"/>
                  </a:lnTo>
                  <a:lnTo>
                    <a:pt x="2495" y="489"/>
                  </a:lnTo>
                  <a:lnTo>
                    <a:pt x="2495" y="489"/>
                  </a:lnTo>
                  <a:lnTo>
                    <a:pt x="2495" y="489"/>
                  </a:lnTo>
                  <a:close/>
                  <a:moveTo>
                    <a:pt x="2499" y="494"/>
                  </a:moveTo>
                  <a:lnTo>
                    <a:pt x="2516" y="494"/>
                  </a:lnTo>
                  <a:lnTo>
                    <a:pt x="2511" y="527"/>
                  </a:lnTo>
                  <a:lnTo>
                    <a:pt x="2495" y="518"/>
                  </a:lnTo>
                  <a:lnTo>
                    <a:pt x="2485" y="501"/>
                  </a:lnTo>
                  <a:lnTo>
                    <a:pt x="2499" y="494"/>
                  </a:lnTo>
                  <a:lnTo>
                    <a:pt x="2499" y="494"/>
                  </a:lnTo>
                  <a:lnTo>
                    <a:pt x="2499" y="494"/>
                  </a:lnTo>
                  <a:close/>
                  <a:moveTo>
                    <a:pt x="286" y="551"/>
                  </a:moveTo>
                  <a:lnTo>
                    <a:pt x="279" y="546"/>
                  </a:lnTo>
                  <a:lnTo>
                    <a:pt x="279" y="555"/>
                  </a:lnTo>
                  <a:lnTo>
                    <a:pt x="269" y="555"/>
                  </a:lnTo>
                  <a:lnTo>
                    <a:pt x="248" y="546"/>
                  </a:lnTo>
                  <a:lnTo>
                    <a:pt x="232" y="511"/>
                  </a:lnTo>
                  <a:lnTo>
                    <a:pt x="236" y="494"/>
                  </a:lnTo>
                  <a:lnTo>
                    <a:pt x="253" y="494"/>
                  </a:lnTo>
                  <a:lnTo>
                    <a:pt x="286" y="551"/>
                  </a:lnTo>
                  <a:lnTo>
                    <a:pt x="286" y="551"/>
                  </a:lnTo>
                  <a:lnTo>
                    <a:pt x="286" y="551"/>
                  </a:lnTo>
                  <a:close/>
                  <a:moveTo>
                    <a:pt x="2780" y="494"/>
                  </a:moveTo>
                  <a:lnTo>
                    <a:pt x="2787" y="501"/>
                  </a:lnTo>
                  <a:lnTo>
                    <a:pt x="2780" y="511"/>
                  </a:lnTo>
                  <a:lnTo>
                    <a:pt x="2771" y="501"/>
                  </a:lnTo>
                  <a:lnTo>
                    <a:pt x="2780" y="494"/>
                  </a:lnTo>
                  <a:lnTo>
                    <a:pt x="2780" y="494"/>
                  </a:lnTo>
                  <a:lnTo>
                    <a:pt x="2780" y="494"/>
                  </a:lnTo>
                  <a:close/>
                  <a:moveTo>
                    <a:pt x="1021" y="501"/>
                  </a:moveTo>
                  <a:lnTo>
                    <a:pt x="1021" y="511"/>
                  </a:lnTo>
                  <a:lnTo>
                    <a:pt x="999" y="518"/>
                  </a:lnTo>
                  <a:lnTo>
                    <a:pt x="999" y="501"/>
                  </a:lnTo>
                  <a:lnTo>
                    <a:pt x="1021" y="501"/>
                  </a:lnTo>
                  <a:lnTo>
                    <a:pt x="1021" y="501"/>
                  </a:lnTo>
                  <a:lnTo>
                    <a:pt x="1021" y="501"/>
                  </a:lnTo>
                  <a:close/>
                  <a:moveTo>
                    <a:pt x="2431" y="511"/>
                  </a:moveTo>
                  <a:lnTo>
                    <a:pt x="2414" y="518"/>
                  </a:lnTo>
                  <a:lnTo>
                    <a:pt x="2431" y="511"/>
                  </a:lnTo>
                  <a:lnTo>
                    <a:pt x="2431" y="511"/>
                  </a:lnTo>
                  <a:lnTo>
                    <a:pt x="2431" y="511"/>
                  </a:lnTo>
                  <a:close/>
                  <a:moveTo>
                    <a:pt x="1982" y="518"/>
                  </a:moveTo>
                  <a:lnTo>
                    <a:pt x="1977" y="534"/>
                  </a:lnTo>
                  <a:lnTo>
                    <a:pt x="1970" y="534"/>
                  </a:lnTo>
                  <a:lnTo>
                    <a:pt x="1961" y="546"/>
                  </a:lnTo>
                  <a:lnTo>
                    <a:pt x="1954" y="546"/>
                  </a:lnTo>
                  <a:lnTo>
                    <a:pt x="1961" y="534"/>
                  </a:lnTo>
                  <a:lnTo>
                    <a:pt x="1954" y="527"/>
                  </a:lnTo>
                  <a:lnTo>
                    <a:pt x="1939" y="546"/>
                  </a:lnTo>
                  <a:lnTo>
                    <a:pt x="1928" y="534"/>
                  </a:lnTo>
                  <a:lnTo>
                    <a:pt x="1939" y="511"/>
                  </a:lnTo>
                  <a:lnTo>
                    <a:pt x="1961" y="511"/>
                  </a:lnTo>
                  <a:lnTo>
                    <a:pt x="1961" y="527"/>
                  </a:lnTo>
                  <a:lnTo>
                    <a:pt x="1977" y="518"/>
                  </a:lnTo>
                  <a:lnTo>
                    <a:pt x="1982" y="518"/>
                  </a:lnTo>
                  <a:lnTo>
                    <a:pt x="1982" y="518"/>
                  </a:lnTo>
                  <a:lnTo>
                    <a:pt x="1982" y="518"/>
                  </a:lnTo>
                  <a:close/>
                  <a:moveTo>
                    <a:pt x="2268" y="511"/>
                  </a:moveTo>
                  <a:lnTo>
                    <a:pt x="2268" y="518"/>
                  </a:lnTo>
                  <a:lnTo>
                    <a:pt x="2263" y="518"/>
                  </a:lnTo>
                  <a:lnTo>
                    <a:pt x="2268" y="511"/>
                  </a:lnTo>
                  <a:lnTo>
                    <a:pt x="2268" y="511"/>
                  </a:lnTo>
                  <a:lnTo>
                    <a:pt x="2268" y="511"/>
                  </a:lnTo>
                  <a:close/>
                  <a:moveTo>
                    <a:pt x="2251" y="546"/>
                  </a:moveTo>
                  <a:lnTo>
                    <a:pt x="2263" y="534"/>
                  </a:lnTo>
                  <a:lnTo>
                    <a:pt x="2268" y="527"/>
                  </a:lnTo>
                  <a:lnTo>
                    <a:pt x="2306" y="551"/>
                  </a:lnTo>
                  <a:lnTo>
                    <a:pt x="2301" y="551"/>
                  </a:lnTo>
                  <a:lnTo>
                    <a:pt x="2268" y="551"/>
                  </a:lnTo>
                  <a:lnTo>
                    <a:pt x="2251" y="551"/>
                  </a:lnTo>
                  <a:lnTo>
                    <a:pt x="2251" y="546"/>
                  </a:lnTo>
                  <a:lnTo>
                    <a:pt x="2251" y="546"/>
                  </a:lnTo>
                  <a:lnTo>
                    <a:pt x="2251" y="546"/>
                  </a:lnTo>
                  <a:close/>
                  <a:moveTo>
                    <a:pt x="803" y="645"/>
                  </a:moveTo>
                  <a:lnTo>
                    <a:pt x="803" y="655"/>
                  </a:lnTo>
                  <a:lnTo>
                    <a:pt x="787" y="655"/>
                  </a:lnTo>
                  <a:lnTo>
                    <a:pt x="787" y="645"/>
                  </a:lnTo>
                  <a:lnTo>
                    <a:pt x="749" y="629"/>
                  </a:lnTo>
                  <a:lnTo>
                    <a:pt x="749" y="622"/>
                  </a:lnTo>
                  <a:lnTo>
                    <a:pt x="749" y="605"/>
                  </a:lnTo>
                  <a:lnTo>
                    <a:pt x="739" y="600"/>
                  </a:lnTo>
                  <a:lnTo>
                    <a:pt x="735" y="584"/>
                  </a:lnTo>
                  <a:lnTo>
                    <a:pt x="697" y="572"/>
                  </a:lnTo>
                  <a:lnTo>
                    <a:pt x="697" y="567"/>
                  </a:lnTo>
                  <a:lnTo>
                    <a:pt x="711" y="555"/>
                  </a:lnTo>
                  <a:lnTo>
                    <a:pt x="711" y="551"/>
                  </a:lnTo>
                  <a:lnTo>
                    <a:pt x="711" y="546"/>
                  </a:lnTo>
                  <a:lnTo>
                    <a:pt x="723" y="546"/>
                  </a:lnTo>
                  <a:lnTo>
                    <a:pt x="735" y="551"/>
                  </a:lnTo>
                  <a:lnTo>
                    <a:pt x="739" y="555"/>
                  </a:lnTo>
                  <a:lnTo>
                    <a:pt x="735" y="546"/>
                  </a:lnTo>
                  <a:lnTo>
                    <a:pt x="749" y="534"/>
                  </a:lnTo>
                  <a:lnTo>
                    <a:pt x="756" y="546"/>
                  </a:lnTo>
                  <a:lnTo>
                    <a:pt x="773" y="600"/>
                  </a:lnTo>
                  <a:lnTo>
                    <a:pt x="810" y="612"/>
                  </a:lnTo>
                  <a:lnTo>
                    <a:pt x="794" y="638"/>
                  </a:lnTo>
                  <a:lnTo>
                    <a:pt x="803" y="645"/>
                  </a:lnTo>
                  <a:lnTo>
                    <a:pt x="803" y="645"/>
                  </a:lnTo>
                  <a:lnTo>
                    <a:pt x="803" y="645"/>
                  </a:lnTo>
                  <a:close/>
                  <a:moveTo>
                    <a:pt x="966" y="546"/>
                  </a:moveTo>
                  <a:lnTo>
                    <a:pt x="954" y="551"/>
                  </a:lnTo>
                  <a:lnTo>
                    <a:pt x="950" y="546"/>
                  </a:lnTo>
                  <a:lnTo>
                    <a:pt x="966" y="546"/>
                  </a:lnTo>
                  <a:lnTo>
                    <a:pt x="966" y="546"/>
                  </a:lnTo>
                  <a:lnTo>
                    <a:pt x="966" y="546"/>
                  </a:lnTo>
                  <a:close/>
                  <a:moveTo>
                    <a:pt x="2825" y="546"/>
                  </a:moveTo>
                  <a:lnTo>
                    <a:pt x="2927" y="555"/>
                  </a:lnTo>
                  <a:lnTo>
                    <a:pt x="2894" y="567"/>
                  </a:lnTo>
                  <a:lnTo>
                    <a:pt x="2872" y="567"/>
                  </a:lnTo>
                  <a:lnTo>
                    <a:pt x="2818" y="546"/>
                  </a:lnTo>
                  <a:lnTo>
                    <a:pt x="2825" y="546"/>
                  </a:lnTo>
                  <a:lnTo>
                    <a:pt x="2825" y="546"/>
                  </a:lnTo>
                  <a:lnTo>
                    <a:pt x="2825" y="546"/>
                  </a:lnTo>
                  <a:close/>
                  <a:moveTo>
                    <a:pt x="2046" y="551"/>
                  </a:moveTo>
                  <a:lnTo>
                    <a:pt x="2100" y="551"/>
                  </a:lnTo>
                  <a:lnTo>
                    <a:pt x="2105" y="551"/>
                  </a:lnTo>
                  <a:lnTo>
                    <a:pt x="2105" y="567"/>
                  </a:lnTo>
                  <a:lnTo>
                    <a:pt x="2079" y="567"/>
                  </a:lnTo>
                  <a:lnTo>
                    <a:pt x="2046" y="572"/>
                  </a:lnTo>
                  <a:lnTo>
                    <a:pt x="2036" y="555"/>
                  </a:lnTo>
                  <a:lnTo>
                    <a:pt x="2046" y="551"/>
                  </a:lnTo>
                  <a:lnTo>
                    <a:pt x="2046" y="551"/>
                  </a:lnTo>
                  <a:lnTo>
                    <a:pt x="2046" y="551"/>
                  </a:lnTo>
                  <a:close/>
                  <a:moveTo>
                    <a:pt x="2461" y="551"/>
                  </a:moveTo>
                  <a:lnTo>
                    <a:pt x="2469" y="555"/>
                  </a:lnTo>
                  <a:lnTo>
                    <a:pt x="2461" y="572"/>
                  </a:lnTo>
                  <a:lnTo>
                    <a:pt x="2445" y="572"/>
                  </a:lnTo>
                  <a:lnTo>
                    <a:pt x="2414" y="567"/>
                  </a:lnTo>
                  <a:lnTo>
                    <a:pt x="2461" y="551"/>
                  </a:lnTo>
                  <a:lnTo>
                    <a:pt x="2461" y="551"/>
                  </a:lnTo>
                  <a:lnTo>
                    <a:pt x="2461" y="551"/>
                  </a:lnTo>
                  <a:close/>
                  <a:moveTo>
                    <a:pt x="1961" y="555"/>
                  </a:moveTo>
                  <a:lnTo>
                    <a:pt x="1954" y="567"/>
                  </a:lnTo>
                  <a:lnTo>
                    <a:pt x="1954" y="555"/>
                  </a:lnTo>
                  <a:lnTo>
                    <a:pt x="1961" y="555"/>
                  </a:lnTo>
                  <a:lnTo>
                    <a:pt x="1961" y="555"/>
                  </a:lnTo>
                  <a:lnTo>
                    <a:pt x="1961" y="555"/>
                  </a:lnTo>
                  <a:close/>
                  <a:moveTo>
                    <a:pt x="2117" y="555"/>
                  </a:moveTo>
                  <a:lnTo>
                    <a:pt x="2187" y="555"/>
                  </a:lnTo>
                  <a:lnTo>
                    <a:pt x="2121" y="567"/>
                  </a:lnTo>
                  <a:lnTo>
                    <a:pt x="2105" y="567"/>
                  </a:lnTo>
                  <a:lnTo>
                    <a:pt x="2117" y="555"/>
                  </a:lnTo>
                  <a:lnTo>
                    <a:pt x="2117" y="555"/>
                  </a:lnTo>
                  <a:lnTo>
                    <a:pt x="2117" y="555"/>
                  </a:lnTo>
                  <a:close/>
                  <a:moveTo>
                    <a:pt x="2008" y="567"/>
                  </a:moveTo>
                  <a:lnTo>
                    <a:pt x="2008" y="572"/>
                  </a:lnTo>
                  <a:lnTo>
                    <a:pt x="1998" y="567"/>
                  </a:lnTo>
                  <a:lnTo>
                    <a:pt x="2008" y="567"/>
                  </a:lnTo>
                  <a:lnTo>
                    <a:pt x="2008" y="567"/>
                  </a:lnTo>
                  <a:lnTo>
                    <a:pt x="2008" y="567"/>
                  </a:lnTo>
                  <a:close/>
                  <a:moveTo>
                    <a:pt x="2154" y="572"/>
                  </a:moveTo>
                  <a:lnTo>
                    <a:pt x="2159" y="605"/>
                  </a:lnTo>
                  <a:lnTo>
                    <a:pt x="2143" y="584"/>
                  </a:lnTo>
                  <a:lnTo>
                    <a:pt x="2154" y="572"/>
                  </a:lnTo>
                  <a:lnTo>
                    <a:pt x="2154" y="572"/>
                  </a:lnTo>
                  <a:lnTo>
                    <a:pt x="2154" y="572"/>
                  </a:lnTo>
                  <a:close/>
                  <a:moveTo>
                    <a:pt x="324" y="600"/>
                  </a:moveTo>
                  <a:lnTo>
                    <a:pt x="302" y="589"/>
                  </a:lnTo>
                  <a:lnTo>
                    <a:pt x="302" y="572"/>
                  </a:lnTo>
                  <a:lnTo>
                    <a:pt x="307" y="572"/>
                  </a:lnTo>
                  <a:lnTo>
                    <a:pt x="324" y="600"/>
                  </a:lnTo>
                  <a:lnTo>
                    <a:pt x="324" y="600"/>
                  </a:lnTo>
                  <a:lnTo>
                    <a:pt x="324" y="600"/>
                  </a:lnTo>
                  <a:close/>
                  <a:moveTo>
                    <a:pt x="345" y="629"/>
                  </a:moveTo>
                  <a:lnTo>
                    <a:pt x="333" y="629"/>
                  </a:lnTo>
                  <a:lnTo>
                    <a:pt x="333" y="605"/>
                  </a:lnTo>
                  <a:lnTo>
                    <a:pt x="345" y="629"/>
                  </a:lnTo>
                  <a:lnTo>
                    <a:pt x="345" y="629"/>
                  </a:lnTo>
                  <a:lnTo>
                    <a:pt x="345" y="629"/>
                  </a:lnTo>
                  <a:close/>
                  <a:moveTo>
                    <a:pt x="862" y="629"/>
                  </a:moveTo>
                  <a:lnTo>
                    <a:pt x="874" y="612"/>
                  </a:lnTo>
                  <a:lnTo>
                    <a:pt x="879" y="612"/>
                  </a:lnTo>
                  <a:lnTo>
                    <a:pt x="900" y="612"/>
                  </a:lnTo>
                  <a:lnTo>
                    <a:pt x="917" y="638"/>
                  </a:lnTo>
                  <a:lnTo>
                    <a:pt x="900" y="662"/>
                  </a:lnTo>
                  <a:lnTo>
                    <a:pt x="895" y="662"/>
                  </a:lnTo>
                  <a:lnTo>
                    <a:pt x="891" y="645"/>
                  </a:lnTo>
                  <a:lnTo>
                    <a:pt x="879" y="655"/>
                  </a:lnTo>
                  <a:lnTo>
                    <a:pt x="862" y="662"/>
                  </a:lnTo>
                  <a:lnTo>
                    <a:pt x="862" y="629"/>
                  </a:lnTo>
                  <a:lnTo>
                    <a:pt x="862" y="629"/>
                  </a:lnTo>
                  <a:lnTo>
                    <a:pt x="862" y="629"/>
                  </a:lnTo>
                  <a:close/>
                  <a:moveTo>
                    <a:pt x="361" y="666"/>
                  </a:moveTo>
                  <a:lnTo>
                    <a:pt x="345" y="645"/>
                  </a:lnTo>
                  <a:lnTo>
                    <a:pt x="345" y="629"/>
                  </a:lnTo>
                  <a:lnTo>
                    <a:pt x="361" y="645"/>
                  </a:lnTo>
                  <a:lnTo>
                    <a:pt x="361" y="655"/>
                  </a:lnTo>
                  <a:lnTo>
                    <a:pt x="361" y="666"/>
                  </a:lnTo>
                  <a:lnTo>
                    <a:pt x="361" y="666"/>
                  </a:lnTo>
                  <a:lnTo>
                    <a:pt x="361" y="666"/>
                  </a:lnTo>
                  <a:close/>
                  <a:moveTo>
                    <a:pt x="2294" y="683"/>
                  </a:moveTo>
                  <a:lnTo>
                    <a:pt x="2284" y="662"/>
                  </a:lnTo>
                  <a:lnTo>
                    <a:pt x="2306" y="638"/>
                  </a:lnTo>
                  <a:lnTo>
                    <a:pt x="2360" y="638"/>
                  </a:lnTo>
                  <a:lnTo>
                    <a:pt x="2376" y="645"/>
                  </a:lnTo>
                  <a:lnTo>
                    <a:pt x="2407" y="629"/>
                  </a:lnTo>
                  <a:lnTo>
                    <a:pt x="2440" y="645"/>
                  </a:lnTo>
                  <a:lnTo>
                    <a:pt x="2461" y="645"/>
                  </a:lnTo>
                  <a:lnTo>
                    <a:pt x="2478" y="655"/>
                  </a:lnTo>
                  <a:lnTo>
                    <a:pt x="2485" y="666"/>
                  </a:lnTo>
                  <a:lnTo>
                    <a:pt x="2495" y="678"/>
                  </a:lnTo>
                  <a:lnTo>
                    <a:pt x="2499" y="683"/>
                  </a:lnTo>
                  <a:lnTo>
                    <a:pt x="2495" y="711"/>
                  </a:lnTo>
                  <a:lnTo>
                    <a:pt x="2440" y="678"/>
                  </a:lnTo>
                  <a:lnTo>
                    <a:pt x="2431" y="666"/>
                  </a:lnTo>
                  <a:lnTo>
                    <a:pt x="2402" y="666"/>
                  </a:lnTo>
                  <a:lnTo>
                    <a:pt x="2402" y="678"/>
                  </a:lnTo>
                  <a:lnTo>
                    <a:pt x="2360" y="666"/>
                  </a:lnTo>
                  <a:lnTo>
                    <a:pt x="2369" y="662"/>
                  </a:lnTo>
                  <a:lnTo>
                    <a:pt x="2360" y="662"/>
                  </a:lnTo>
                  <a:lnTo>
                    <a:pt x="2332" y="678"/>
                  </a:lnTo>
                  <a:lnTo>
                    <a:pt x="2306" y="655"/>
                  </a:lnTo>
                  <a:lnTo>
                    <a:pt x="2294" y="683"/>
                  </a:lnTo>
                  <a:lnTo>
                    <a:pt x="2294" y="683"/>
                  </a:lnTo>
                  <a:lnTo>
                    <a:pt x="2294" y="683"/>
                  </a:lnTo>
                  <a:close/>
                  <a:moveTo>
                    <a:pt x="858" y="629"/>
                  </a:moveTo>
                  <a:lnTo>
                    <a:pt x="858" y="638"/>
                  </a:lnTo>
                  <a:lnTo>
                    <a:pt x="848" y="638"/>
                  </a:lnTo>
                  <a:lnTo>
                    <a:pt x="858" y="629"/>
                  </a:lnTo>
                  <a:lnTo>
                    <a:pt x="858" y="629"/>
                  </a:lnTo>
                  <a:lnTo>
                    <a:pt x="858" y="629"/>
                  </a:lnTo>
                  <a:close/>
                  <a:moveTo>
                    <a:pt x="810" y="638"/>
                  </a:moveTo>
                  <a:lnTo>
                    <a:pt x="820" y="638"/>
                  </a:lnTo>
                  <a:lnTo>
                    <a:pt x="820" y="645"/>
                  </a:lnTo>
                  <a:lnTo>
                    <a:pt x="803" y="645"/>
                  </a:lnTo>
                  <a:lnTo>
                    <a:pt x="810" y="638"/>
                  </a:lnTo>
                  <a:lnTo>
                    <a:pt x="810" y="638"/>
                  </a:lnTo>
                  <a:lnTo>
                    <a:pt x="810" y="638"/>
                  </a:lnTo>
                  <a:close/>
                  <a:moveTo>
                    <a:pt x="2294" y="638"/>
                  </a:moveTo>
                  <a:lnTo>
                    <a:pt x="2294" y="645"/>
                  </a:lnTo>
                  <a:lnTo>
                    <a:pt x="2284" y="645"/>
                  </a:lnTo>
                  <a:lnTo>
                    <a:pt x="2294" y="638"/>
                  </a:lnTo>
                  <a:lnTo>
                    <a:pt x="2294" y="638"/>
                  </a:lnTo>
                  <a:lnTo>
                    <a:pt x="2294" y="638"/>
                  </a:lnTo>
                  <a:close/>
                  <a:moveTo>
                    <a:pt x="2171" y="655"/>
                  </a:moveTo>
                  <a:lnTo>
                    <a:pt x="2171" y="662"/>
                  </a:lnTo>
                  <a:lnTo>
                    <a:pt x="2187" y="655"/>
                  </a:lnTo>
                  <a:lnTo>
                    <a:pt x="2209" y="645"/>
                  </a:lnTo>
                  <a:lnTo>
                    <a:pt x="2230" y="655"/>
                  </a:lnTo>
                  <a:lnTo>
                    <a:pt x="2242" y="662"/>
                  </a:lnTo>
                  <a:lnTo>
                    <a:pt x="2230" y="666"/>
                  </a:lnTo>
                  <a:lnTo>
                    <a:pt x="2246" y="666"/>
                  </a:lnTo>
                  <a:lnTo>
                    <a:pt x="2246" y="695"/>
                  </a:lnTo>
                  <a:lnTo>
                    <a:pt x="2209" y="700"/>
                  </a:lnTo>
                  <a:lnTo>
                    <a:pt x="2192" y="700"/>
                  </a:lnTo>
                  <a:lnTo>
                    <a:pt x="2159" y="678"/>
                  </a:lnTo>
                  <a:lnTo>
                    <a:pt x="2159" y="662"/>
                  </a:lnTo>
                  <a:lnTo>
                    <a:pt x="2171" y="655"/>
                  </a:lnTo>
                  <a:lnTo>
                    <a:pt x="2171" y="655"/>
                  </a:lnTo>
                  <a:lnTo>
                    <a:pt x="2171" y="655"/>
                  </a:lnTo>
                  <a:close/>
                  <a:moveTo>
                    <a:pt x="2280" y="655"/>
                  </a:moveTo>
                  <a:lnTo>
                    <a:pt x="2284" y="662"/>
                  </a:lnTo>
                  <a:lnTo>
                    <a:pt x="2268" y="662"/>
                  </a:lnTo>
                  <a:lnTo>
                    <a:pt x="2280" y="655"/>
                  </a:lnTo>
                  <a:lnTo>
                    <a:pt x="2280" y="655"/>
                  </a:lnTo>
                  <a:lnTo>
                    <a:pt x="2280" y="655"/>
                  </a:lnTo>
                  <a:close/>
                  <a:moveTo>
                    <a:pt x="1474" y="662"/>
                  </a:moveTo>
                  <a:lnTo>
                    <a:pt x="1474" y="711"/>
                  </a:lnTo>
                  <a:lnTo>
                    <a:pt x="1458" y="716"/>
                  </a:lnTo>
                  <a:lnTo>
                    <a:pt x="1458" y="695"/>
                  </a:lnTo>
                  <a:lnTo>
                    <a:pt x="1469" y="666"/>
                  </a:lnTo>
                  <a:lnTo>
                    <a:pt x="1474" y="662"/>
                  </a:lnTo>
                  <a:lnTo>
                    <a:pt x="1474" y="662"/>
                  </a:lnTo>
                  <a:lnTo>
                    <a:pt x="1474" y="662"/>
                  </a:lnTo>
                  <a:close/>
                  <a:moveTo>
                    <a:pt x="2268" y="662"/>
                  </a:moveTo>
                  <a:lnTo>
                    <a:pt x="2268" y="666"/>
                  </a:lnTo>
                  <a:lnTo>
                    <a:pt x="2263" y="666"/>
                  </a:lnTo>
                  <a:lnTo>
                    <a:pt x="2268" y="662"/>
                  </a:lnTo>
                  <a:lnTo>
                    <a:pt x="2268" y="662"/>
                  </a:lnTo>
                  <a:lnTo>
                    <a:pt x="2268" y="662"/>
                  </a:lnTo>
                  <a:close/>
                  <a:moveTo>
                    <a:pt x="1484" y="678"/>
                  </a:moveTo>
                  <a:lnTo>
                    <a:pt x="1484" y="695"/>
                  </a:lnTo>
                  <a:lnTo>
                    <a:pt x="1474" y="683"/>
                  </a:lnTo>
                  <a:lnTo>
                    <a:pt x="1484" y="678"/>
                  </a:lnTo>
                  <a:lnTo>
                    <a:pt x="1484" y="678"/>
                  </a:lnTo>
                  <a:lnTo>
                    <a:pt x="1484" y="678"/>
                  </a:lnTo>
                  <a:close/>
                  <a:moveTo>
                    <a:pt x="2339" y="678"/>
                  </a:moveTo>
                  <a:lnTo>
                    <a:pt x="2348" y="678"/>
                  </a:lnTo>
                  <a:lnTo>
                    <a:pt x="2348" y="683"/>
                  </a:lnTo>
                  <a:lnTo>
                    <a:pt x="2339" y="695"/>
                  </a:lnTo>
                  <a:lnTo>
                    <a:pt x="2339" y="678"/>
                  </a:lnTo>
                  <a:lnTo>
                    <a:pt x="2339" y="678"/>
                  </a:lnTo>
                  <a:lnTo>
                    <a:pt x="2339" y="678"/>
                  </a:lnTo>
                  <a:close/>
                  <a:moveTo>
                    <a:pt x="2301" y="683"/>
                  </a:moveTo>
                  <a:lnTo>
                    <a:pt x="2322" y="683"/>
                  </a:lnTo>
                  <a:lnTo>
                    <a:pt x="2317" y="700"/>
                  </a:lnTo>
                  <a:lnTo>
                    <a:pt x="2306" y="700"/>
                  </a:lnTo>
                  <a:lnTo>
                    <a:pt x="2306" y="695"/>
                  </a:lnTo>
                  <a:lnTo>
                    <a:pt x="2294" y="700"/>
                  </a:lnTo>
                  <a:lnTo>
                    <a:pt x="2294" y="695"/>
                  </a:lnTo>
                  <a:lnTo>
                    <a:pt x="2301" y="683"/>
                  </a:lnTo>
                  <a:lnTo>
                    <a:pt x="2301" y="683"/>
                  </a:lnTo>
                  <a:lnTo>
                    <a:pt x="2301" y="683"/>
                  </a:lnTo>
                  <a:close/>
                  <a:moveTo>
                    <a:pt x="2332" y="683"/>
                  </a:moveTo>
                  <a:lnTo>
                    <a:pt x="2339" y="683"/>
                  </a:lnTo>
                  <a:lnTo>
                    <a:pt x="2322" y="695"/>
                  </a:lnTo>
                  <a:lnTo>
                    <a:pt x="2332" y="683"/>
                  </a:lnTo>
                  <a:lnTo>
                    <a:pt x="2332" y="683"/>
                  </a:lnTo>
                  <a:lnTo>
                    <a:pt x="2332" y="683"/>
                  </a:lnTo>
                  <a:close/>
                  <a:moveTo>
                    <a:pt x="1954" y="683"/>
                  </a:moveTo>
                  <a:lnTo>
                    <a:pt x="1961" y="683"/>
                  </a:lnTo>
                  <a:lnTo>
                    <a:pt x="1954" y="695"/>
                  </a:lnTo>
                  <a:lnTo>
                    <a:pt x="1954" y="683"/>
                  </a:lnTo>
                  <a:lnTo>
                    <a:pt x="1954" y="683"/>
                  </a:lnTo>
                  <a:lnTo>
                    <a:pt x="1954" y="683"/>
                  </a:lnTo>
                  <a:close/>
                  <a:moveTo>
                    <a:pt x="2246" y="700"/>
                  </a:moveTo>
                  <a:lnTo>
                    <a:pt x="2246" y="711"/>
                  </a:lnTo>
                  <a:lnTo>
                    <a:pt x="2242" y="711"/>
                  </a:lnTo>
                  <a:lnTo>
                    <a:pt x="2246" y="700"/>
                  </a:lnTo>
                  <a:lnTo>
                    <a:pt x="2246" y="700"/>
                  </a:lnTo>
                  <a:lnTo>
                    <a:pt x="2246" y="700"/>
                  </a:lnTo>
                  <a:close/>
                  <a:moveTo>
                    <a:pt x="2726" y="711"/>
                  </a:moveTo>
                  <a:lnTo>
                    <a:pt x="2733" y="716"/>
                  </a:lnTo>
                  <a:lnTo>
                    <a:pt x="2726" y="711"/>
                  </a:lnTo>
                  <a:lnTo>
                    <a:pt x="2726" y="711"/>
                  </a:lnTo>
                  <a:lnTo>
                    <a:pt x="2726" y="711"/>
                  </a:lnTo>
                  <a:close/>
                  <a:moveTo>
                    <a:pt x="1954" y="716"/>
                  </a:moveTo>
                  <a:lnTo>
                    <a:pt x="1970" y="723"/>
                  </a:lnTo>
                  <a:lnTo>
                    <a:pt x="1961" y="733"/>
                  </a:lnTo>
                  <a:lnTo>
                    <a:pt x="1944" y="723"/>
                  </a:lnTo>
                  <a:lnTo>
                    <a:pt x="1954" y="716"/>
                  </a:lnTo>
                  <a:lnTo>
                    <a:pt x="1954" y="716"/>
                  </a:lnTo>
                  <a:lnTo>
                    <a:pt x="1954" y="716"/>
                  </a:lnTo>
                  <a:close/>
                  <a:moveTo>
                    <a:pt x="2674" y="723"/>
                  </a:moveTo>
                  <a:lnTo>
                    <a:pt x="2695" y="740"/>
                  </a:lnTo>
                  <a:lnTo>
                    <a:pt x="2674" y="733"/>
                  </a:lnTo>
                  <a:lnTo>
                    <a:pt x="2674" y="723"/>
                  </a:lnTo>
                  <a:lnTo>
                    <a:pt x="2674" y="723"/>
                  </a:lnTo>
                  <a:lnTo>
                    <a:pt x="2674" y="723"/>
                  </a:lnTo>
                  <a:close/>
                  <a:moveTo>
                    <a:pt x="1954" y="749"/>
                  </a:moveTo>
                  <a:lnTo>
                    <a:pt x="1961" y="756"/>
                  </a:lnTo>
                  <a:lnTo>
                    <a:pt x="1961" y="778"/>
                  </a:lnTo>
                  <a:lnTo>
                    <a:pt x="1954" y="766"/>
                  </a:lnTo>
                  <a:lnTo>
                    <a:pt x="1954" y="773"/>
                  </a:lnTo>
                  <a:lnTo>
                    <a:pt x="1944" y="794"/>
                  </a:lnTo>
                  <a:lnTo>
                    <a:pt x="1961" y="811"/>
                  </a:lnTo>
                  <a:lnTo>
                    <a:pt x="1939" y="822"/>
                  </a:lnTo>
                  <a:lnTo>
                    <a:pt x="1939" y="834"/>
                  </a:lnTo>
                  <a:lnTo>
                    <a:pt x="1923" y="834"/>
                  </a:lnTo>
                  <a:lnTo>
                    <a:pt x="1916" y="827"/>
                  </a:lnTo>
                  <a:lnTo>
                    <a:pt x="1928" y="794"/>
                  </a:lnTo>
                  <a:lnTo>
                    <a:pt x="1939" y="756"/>
                  </a:lnTo>
                  <a:lnTo>
                    <a:pt x="1954" y="749"/>
                  </a:lnTo>
                  <a:lnTo>
                    <a:pt x="1954" y="749"/>
                  </a:lnTo>
                  <a:lnTo>
                    <a:pt x="1954" y="749"/>
                  </a:lnTo>
                  <a:close/>
                  <a:moveTo>
                    <a:pt x="1928" y="766"/>
                  </a:moveTo>
                  <a:lnTo>
                    <a:pt x="1928" y="789"/>
                  </a:lnTo>
                  <a:lnTo>
                    <a:pt x="1923" y="806"/>
                  </a:lnTo>
                  <a:lnTo>
                    <a:pt x="1923" y="811"/>
                  </a:lnTo>
                  <a:lnTo>
                    <a:pt x="1916" y="822"/>
                  </a:lnTo>
                  <a:lnTo>
                    <a:pt x="1902" y="822"/>
                  </a:lnTo>
                  <a:lnTo>
                    <a:pt x="1906" y="794"/>
                  </a:lnTo>
                  <a:lnTo>
                    <a:pt x="1902" y="778"/>
                  </a:lnTo>
                  <a:lnTo>
                    <a:pt x="1928" y="766"/>
                  </a:lnTo>
                  <a:lnTo>
                    <a:pt x="1928" y="766"/>
                  </a:lnTo>
                  <a:lnTo>
                    <a:pt x="1928" y="766"/>
                  </a:lnTo>
                  <a:close/>
                  <a:moveTo>
                    <a:pt x="1873" y="794"/>
                  </a:moveTo>
                  <a:lnTo>
                    <a:pt x="1885" y="822"/>
                  </a:lnTo>
                  <a:lnTo>
                    <a:pt x="1873" y="822"/>
                  </a:lnTo>
                  <a:lnTo>
                    <a:pt x="1864" y="811"/>
                  </a:lnTo>
                  <a:lnTo>
                    <a:pt x="1869" y="794"/>
                  </a:lnTo>
                  <a:lnTo>
                    <a:pt x="1873" y="794"/>
                  </a:lnTo>
                  <a:lnTo>
                    <a:pt x="1873" y="794"/>
                  </a:lnTo>
                  <a:lnTo>
                    <a:pt x="1873" y="794"/>
                  </a:lnTo>
                  <a:close/>
                  <a:moveTo>
                    <a:pt x="501" y="827"/>
                  </a:moveTo>
                  <a:lnTo>
                    <a:pt x="480" y="811"/>
                  </a:lnTo>
                  <a:lnTo>
                    <a:pt x="484" y="811"/>
                  </a:lnTo>
                  <a:lnTo>
                    <a:pt x="501" y="822"/>
                  </a:lnTo>
                  <a:lnTo>
                    <a:pt x="501" y="827"/>
                  </a:lnTo>
                  <a:lnTo>
                    <a:pt x="501" y="827"/>
                  </a:lnTo>
                  <a:lnTo>
                    <a:pt x="501" y="827"/>
                  </a:lnTo>
                  <a:close/>
                  <a:moveTo>
                    <a:pt x="2662" y="811"/>
                  </a:moveTo>
                  <a:lnTo>
                    <a:pt x="2658" y="834"/>
                  </a:lnTo>
                  <a:lnTo>
                    <a:pt x="2641" y="860"/>
                  </a:lnTo>
                  <a:lnTo>
                    <a:pt x="2658" y="811"/>
                  </a:lnTo>
                  <a:lnTo>
                    <a:pt x="2662" y="811"/>
                  </a:lnTo>
                  <a:lnTo>
                    <a:pt x="2662" y="811"/>
                  </a:lnTo>
                  <a:lnTo>
                    <a:pt x="2662" y="811"/>
                  </a:lnTo>
                  <a:close/>
                  <a:moveTo>
                    <a:pt x="2754" y="822"/>
                  </a:moveTo>
                  <a:lnTo>
                    <a:pt x="2764" y="827"/>
                  </a:lnTo>
                  <a:lnTo>
                    <a:pt x="2771" y="851"/>
                  </a:lnTo>
                  <a:lnTo>
                    <a:pt x="2771" y="860"/>
                  </a:lnTo>
                  <a:lnTo>
                    <a:pt x="2764" y="860"/>
                  </a:lnTo>
                  <a:lnTo>
                    <a:pt x="2738" y="860"/>
                  </a:lnTo>
                  <a:lnTo>
                    <a:pt x="2750" y="844"/>
                  </a:lnTo>
                  <a:lnTo>
                    <a:pt x="2733" y="844"/>
                  </a:lnTo>
                  <a:lnTo>
                    <a:pt x="2738" y="844"/>
                  </a:lnTo>
                  <a:lnTo>
                    <a:pt x="2754" y="822"/>
                  </a:lnTo>
                  <a:lnTo>
                    <a:pt x="2754" y="822"/>
                  </a:lnTo>
                  <a:lnTo>
                    <a:pt x="2754" y="822"/>
                  </a:lnTo>
                  <a:close/>
                  <a:moveTo>
                    <a:pt x="2629" y="834"/>
                  </a:moveTo>
                  <a:lnTo>
                    <a:pt x="2629" y="851"/>
                  </a:lnTo>
                  <a:lnTo>
                    <a:pt x="2629" y="860"/>
                  </a:lnTo>
                  <a:lnTo>
                    <a:pt x="2624" y="834"/>
                  </a:lnTo>
                  <a:lnTo>
                    <a:pt x="2629" y="834"/>
                  </a:lnTo>
                  <a:lnTo>
                    <a:pt x="2629" y="834"/>
                  </a:lnTo>
                  <a:lnTo>
                    <a:pt x="2629" y="834"/>
                  </a:lnTo>
                  <a:close/>
                  <a:moveTo>
                    <a:pt x="1226" y="844"/>
                  </a:moveTo>
                  <a:lnTo>
                    <a:pt x="1226" y="851"/>
                  </a:lnTo>
                  <a:lnTo>
                    <a:pt x="1219" y="851"/>
                  </a:lnTo>
                  <a:lnTo>
                    <a:pt x="1226" y="844"/>
                  </a:lnTo>
                  <a:lnTo>
                    <a:pt x="1226" y="844"/>
                  </a:lnTo>
                  <a:lnTo>
                    <a:pt x="1226" y="844"/>
                  </a:lnTo>
                  <a:close/>
                  <a:moveTo>
                    <a:pt x="1765" y="844"/>
                  </a:moveTo>
                  <a:lnTo>
                    <a:pt x="1776" y="867"/>
                  </a:lnTo>
                  <a:lnTo>
                    <a:pt x="1765" y="900"/>
                  </a:lnTo>
                  <a:lnTo>
                    <a:pt x="1765" y="844"/>
                  </a:lnTo>
                  <a:lnTo>
                    <a:pt x="1765" y="844"/>
                  </a:lnTo>
                  <a:lnTo>
                    <a:pt x="1765" y="844"/>
                  </a:lnTo>
                  <a:close/>
                  <a:moveTo>
                    <a:pt x="1361" y="1066"/>
                  </a:moveTo>
                  <a:lnTo>
                    <a:pt x="1332" y="1049"/>
                  </a:lnTo>
                  <a:lnTo>
                    <a:pt x="1323" y="1049"/>
                  </a:lnTo>
                  <a:lnTo>
                    <a:pt x="1295" y="1044"/>
                  </a:lnTo>
                  <a:lnTo>
                    <a:pt x="1257" y="1028"/>
                  </a:lnTo>
                  <a:lnTo>
                    <a:pt x="1219" y="1033"/>
                  </a:lnTo>
                  <a:lnTo>
                    <a:pt x="1160" y="1028"/>
                  </a:lnTo>
                  <a:lnTo>
                    <a:pt x="1150" y="1033"/>
                  </a:lnTo>
                  <a:lnTo>
                    <a:pt x="1080" y="1016"/>
                  </a:lnTo>
                  <a:lnTo>
                    <a:pt x="1037" y="995"/>
                  </a:lnTo>
                  <a:lnTo>
                    <a:pt x="987" y="988"/>
                  </a:lnTo>
                  <a:lnTo>
                    <a:pt x="966" y="988"/>
                  </a:lnTo>
                  <a:lnTo>
                    <a:pt x="954" y="978"/>
                  </a:lnTo>
                  <a:lnTo>
                    <a:pt x="933" y="988"/>
                  </a:lnTo>
                  <a:lnTo>
                    <a:pt x="928" y="995"/>
                  </a:lnTo>
                  <a:lnTo>
                    <a:pt x="900" y="995"/>
                  </a:lnTo>
                  <a:lnTo>
                    <a:pt x="858" y="971"/>
                  </a:lnTo>
                  <a:lnTo>
                    <a:pt x="777" y="962"/>
                  </a:lnTo>
                  <a:lnTo>
                    <a:pt x="777" y="955"/>
                  </a:lnTo>
                  <a:lnTo>
                    <a:pt x="794" y="938"/>
                  </a:lnTo>
                  <a:lnTo>
                    <a:pt x="787" y="933"/>
                  </a:lnTo>
                  <a:lnTo>
                    <a:pt x="777" y="933"/>
                  </a:lnTo>
                  <a:lnTo>
                    <a:pt x="756" y="922"/>
                  </a:lnTo>
                  <a:lnTo>
                    <a:pt x="718" y="922"/>
                  </a:lnTo>
                  <a:lnTo>
                    <a:pt x="702" y="917"/>
                  </a:lnTo>
                  <a:lnTo>
                    <a:pt x="718" y="922"/>
                  </a:lnTo>
                  <a:lnTo>
                    <a:pt x="723" y="905"/>
                  </a:lnTo>
                  <a:lnTo>
                    <a:pt x="723" y="900"/>
                  </a:lnTo>
                  <a:lnTo>
                    <a:pt x="739" y="889"/>
                  </a:lnTo>
                  <a:lnTo>
                    <a:pt x="739" y="867"/>
                  </a:lnTo>
                  <a:lnTo>
                    <a:pt x="756" y="851"/>
                  </a:lnTo>
                  <a:lnTo>
                    <a:pt x="765" y="860"/>
                  </a:lnTo>
                  <a:lnTo>
                    <a:pt x="773" y="860"/>
                  </a:lnTo>
                  <a:lnTo>
                    <a:pt x="787" y="867"/>
                  </a:lnTo>
                  <a:lnTo>
                    <a:pt x="803" y="860"/>
                  </a:lnTo>
                  <a:lnTo>
                    <a:pt x="810" y="867"/>
                  </a:lnTo>
                  <a:lnTo>
                    <a:pt x="824" y="867"/>
                  </a:lnTo>
                  <a:lnTo>
                    <a:pt x="824" y="851"/>
                  </a:lnTo>
                  <a:lnTo>
                    <a:pt x="848" y="860"/>
                  </a:lnTo>
                  <a:lnTo>
                    <a:pt x="874" y="884"/>
                  </a:lnTo>
                  <a:lnTo>
                    <a:pt x="891" y="877"/>
                  </a:lnTo>
                  <a:lnTo>
                    <a:pt x="900" y="884"/>
                  </a:lnTo>
                  <a:lnTo>
                    <a:pt x="917" y="884"/>
                  </a:lnTo>
                  <a:lnTo>
                    <a:pt x="933" y="900"/>
                  </a:lnTo>
                  <a:lnTo>
                    <a:pt x="933" y="917"/>
                  </a:lnTo>
                  <a:lnTo>
                    <a:pt x="983" y="922"/>
                  </a:lnTo>
                  <a:lnTo>
                    <a:pt x="1004" y="922"/>
                  </a:lnTo>
                  <a:lnTo>
                    <a:pt x="1063" y="933"/>
                  </a:lnTo>
                  <a:lnTo>
                    <a:pt x="1075" y="922"/>
                  </a:lnTo>
                  <a:lnTo>
                    <a:pt x="1089" y="889"/>
                  </a:lnTo>
                  <a:lnTo>
                    <a:pt x="1096" y="889"/>
                  </a:lnTo>
                  <a:lnTo>
                    <a:pt x="1113" y="889"/>
                  </a:lnTo>
                  <a:lnTo>
                    <a:pt x="1113" y="917"/>
                  </a:lnTo>
                  <a:lnTo>
                    <a:pt x="1134" y="917"/>
                  </a:lnTo>
                  <a:lnTo>
                    <a:pt x="1143" y="905"/>
                  </a:lnTo>
                  <a:lnTo>
                    <a:pt x="1160" y="917"/>
                  </a:lnTo>
                  <a:lnTo>
                    <a:pt x="1172" y="917"/>
                  </a:lnTo>
                  <a:lnTo>
                    <a:pt x="1181" y="933"/>
                  </a:lnTo>
                  <a:lnTo>
                    <a:pt x="1214" y="933"/>
                  </a:lnTo>
                  <a:lnTo>
                    <a:pt x="1219" y="945"/>
                  </a:lnTo>
                  <a:lnTo>
                    <a:pt x="1226" y="945"/>
                  </a:lnTo>
                  <a:lnTo>
                    <a:pt x="1235" y="955"/>
                  </a:lnTo>
                  <a:lnTo>
                    <a:pt x="1226" y="971"/>
                  </a:lnTo>
                  <a:lnTo>
                    <a:pt x="1257" y="988"/>
                  </a:lnTo>
                  <a:lnTo>
                    <a:pt x="1295" y="988"/>
                  </a:lnTo>
                  <a:lnTo>
                    <a:pt x="1323" y="978"/>
                  </a:lnTo>
                  <a:lnTo>
                    <a:pt x="1344" y="995"/>
                  </a:lnTo>
                  <a:lnTo>
                    <a:pt x="1344" y="1033"/>
                  </a:lnTo>
                  <a:lnTo>
                    <a:pt x="1349" y="1049"/>
                  </a:lnTo>
                  <a:lnTo>
                    <a:pt x="1361" y="1056"/>
                  </a:lnTo>
                  <a:lnTo>
                    <a:pt x="1361" y="1066"/>
                  </a:lnTo>
                  <a:lnTo>
                    <a:pt x="1361" y="1066"/>
                  </a:lnTo>
                  <a:lnTo>
                    <a:pt x="1361" y="1066"/>
                  </a:lnTo>
                  <a:close/>
                  <a:moveTo>
                    <a:pt x="2754" y="860"/>
                  </a:moveTo>
                  <a:lnTo>
                    <a:pt x="2764" y="860"/>
                  </a:lnTo>
                  <a:lnTo>
                    <a:pt x="2771" y="867"/>
                  </a:lnTo>
                  <a:lnTo>
                    <a:pt x="2771" y="884"/>
                  </a:lnTo>
                  <a:lnTo>
                    <a:pt x="2764" y="889"/>
                  </a:lnTo>
                  <a:lnTo>
                    <a:pt x="2738" y="867"/>
                  </a:lnTo>
                  <a:lnTo>
                    <a:pt x="2754" y="860"/>
                  </a:lnTo>
                  <a:lnTo>
                    <a:pt x="2754" y="860"/>
                  </a:lnTo>
                  <a:lnTo>
                    <a:pt x="2754" y="860"/>
                  </a:lnTo>
                  <a:close/>
                  <a:moveTo>
                    <a:pt x="2733" y="860"/>
                  </a:moveTo>
                  <a:lnTo>
                    <a:pt x="2733" y="867"/>
                  </a:lnTo>
                  <a:lnTo>
                    <a:pt x="2750" y="884"/>
                  </a:lnTo>
                  <a:lnTo>
                    <a:pt x="2738" y="884"/>
                  </a:lnTo>
                  <a:lnTo>
                    <a:pt x="2726" y="867"/>
                  </a:lnTo>
                  <a:lnTo>
                    <a:pt x="2726" y="860"/>
                  </a:lnTo>
                  <a:lnTo>
                    <a:pt x="2733" y="860"/>
                  </a:lnTo>
                  <a:lnTo>
                    <a:pt x="2733" y="860"/>
                  </a:lnTo>
                  <a:lnTo>
                    <a:pt x="2733" y="860"/>
                  </a:lnTo>
                  <a:close/>
                  <a:moveTo>
                    <a:pt x="2726" y="877"/>
                  </a:moveTo>
                  <a:lnTo>
                    <a:pt x="2754" y="905"/>
                  </a:lnTo>
                  <a:lnTo>
                    <a:pt x="2733" y="933"/>
                  </a:lnTo>
                  <a:lnTo>
                    <a:pt x="2726" y="917"/>
                  </a:lnTo>
                  <a:lnTo>
                    <a:pt x="2726" y="877"/>
                  </a:lnTo>
                  <a:lnTo>
                    <a:pt x="2726" y="877"/>
                  </a:lnTo>
                  <a:lnTo>
                    <a:pt x="2726" y="877"/>
                  </a:lnTo>
                  <a:close/>
                  <a:moveTo>
                    <a:pt x="2750" y="884"/>
                  </a:moveTo>
                  <a:lnTo>
                    <a:pt x="2764" y="889"/>
                  </a:lnTo>
                  <a:lnTo>
                    <a:pt x="2754" y="900"/>
                  </a:lnTo>
                  <a:lnTo>
                    <a:pt x="2738" y="889"/>
                  </a:lnTo>
                  <a:lnTo>
                    <a:pt x="2750" y="884"/>
                  </a:lnTo>
                  <a:lnTo>
                    <a:pt x="2750" y="884"/>
                  </a:lnTo>
                  <a:lnTo>
                    <a:pt x="2750" y="884"/>
                  </a:lnTo>
                  <a:close/>
                  <a:moveTo>
                    <a:pt x="2780" y="884"/>
                  </a:moveTo>
                  <a:lnTo>
                    <a:pt x="2780" y="900"/>
                  </a:lnTo>
                  <a:lnTo>
                    <a:pt x="2771" y="889"/>
                  </a:lnTo>
                  <a:lnTo>
                    <a:pt x="2780" y="884"/>
                  </a:lnTo>
                  <a:lnTo>
                    <a:pt x="2780" y="884"/>
                  </a:lnTo>
                  <a:lnTo>
                    <a:pt x="2780" y="884"/>
                  </a:lnTo>
                  <a:close/>
                  <a:moveTo>
                    <a:pt x="2764" y="889"/>
                  </a:moveTo>
                  <a:lnTo>
                    <a:pt x="2771" y="900"/>
                  </a:lnTo>
                  <a:lnTo>
                    <a:pt x="2764" y="900"/>
                  </a:lnTo>
                  <a:lnTo>
                    <a:pt x="2764" y="889"/>
                  </a:lnTo>
                  <a:lnTo>
                    <a:pt x="2764" y="889"/>
                  </a:lnTo>
                  <a:lnTo>
                    <a:pt x="2764" y="889"/>
                  </a:lnTo>
                  <a:close/>
                  <a:moveTo>
                    <a:pt x="702" y="900"/>
                  </a:moveTo>
                  <a:lnTo>
                    <a:pt x="697" y="905"/>
                  </a:lnTo>
                  <a:lnTo>
                    <a:pt x="702" y="900"/>
                  </a:lnTo>
                  <a:lnTo>
                    <a:pt x="702" y="900"/>
                  </a:lnTo>
                  <a:lnTo>
                    <a:pt x="702" y="900"/>
                  </a:lnTo>
                  <a:close/>
                  <a:moveTo>
                    <a:pt x="3040" y="917"/>
                  </a:moveTo>
                  <a:lnTo>
                    <a:pt x="3057" y="922"/>
                  </a:lnTo>
                  <a:lnTo>
                    <a:pt x="3052" y="922"/>
                  </a:lnTo>
                  <a:lnTo>
                    <a:pt x="3040" y="917"/>
                  </a:lnTo>
                  <a:lnTo>
                    <a:pt x="3040" y="917"/>
                  </a:lnTo>
                  <a:lnTo>
                    <a:pt x="3040" y="917"/>
                  </a:lnTo>
                  <a:close/>
                  <a:moveTo>
                    <a:pt x="1403" y="922"/>
                  </a:moveTo>
                  <a:lnTo>
                    <a:pt x="1432" y="933"/>
                  </a:lnTo>
                  <a:lnTo>
                    <a:pt x="1415" y="933"/>
                  </a:lnTo>
                  <a:lnTo>
                    <a:pt x="1403" y="933"/>
                  </a:lnTo>
                  <a:lnTo>
                    <a:pt x="1398" y="933"/>
                  </a:lnTo>
                  <a:lnTo>
                    <a:pt x="1403" y="922"/>
                  </a:lnTo>
                  <a:lnTo>
                    <a:pt x="1403" y="922"/>
                  </a:lnTo>
                  <a:lnTo>
                    <a:pt x="1403" y="922"/>
                  </a:lnTo>
                  <a:close/>
                  <a:moveTo>
                    <a:pt x="1243" y="922"/>
                  </a:moveTo>
                  <a:lnTo>
                    <a:pt x="1311" y="922"/>
                  </a:lnTo>
                  <a:lnTo>
                    <a:pt x="1328" y="933"/>
                  </a:lnTo>
                  <a:lnTo>
                    <a:pt x="1280" y="945"/>
                  </a:lnTo>
                  <a:lnTo>
                    <a:pt x="1226" y="945"/>
                  </a:lnTo>
                  <a:lnTo>
                    <a:pt x="1219" y="938"/>
                  </a:lnTo>
                  <a:lnTo>
                    <a:pt x="1243" y="922"/>
                  </a:lnTo>
                  <a:lnTo>
                    <a:pt x="1243" y="922"/>
                  </a:lnTo>
                  <a:lnTo>
                    <a:pt x="1243" y="922"/>
                  </a:lnTo>
                  <a:close/>
                  <a:moveTo>
                    <a:pt x="1781" y="938"/>
                  </a:moveTo>
                  <a:lnTo>
                    <a:pt x="1793" y="938"/>
                  </a:lnTo>
                  <a:lnTo>
                    <a:pt x="1793" y="945"/>
                  </a:lnTo>
                  <a:lnTo>
                    <a:pt x="1781" y="938"/>
                  </a:lnTo>
                  <a:lnTo>
                    <a:pt x="1781" y="938"/>
                  </a:lnTo>
                  <a:lnTo>
                    <a:pt x="1781" y="938"/>
                  </a:lnTo>
                  <a:close/>
                  <a:moveTo>
                    <a:pt x="1332" y="938"/>
                  </a:moveTo>
                  <a:lnTo>
                    <a:pt x="1344" y="945"/>
                  </a:lnTo>
                  <a:lnTo>
                    <a:pt x="1332" y="945"/>
                  </a:lnTo>
                  <a:lnTo>
                    <a:pt x="1332" y="938"/>
                  </a:lnTo>
                  <a:lnTo>
                    <a:pt x="1332" y="938"/>
                  </a:lnTo>
                  <a:lnTo>
                    <a:pt x="1332" y="938"/>
                  </a:lnTo>
                  <a:close/>
                  <a:moveTo>
                    <a:pt x="2339" y="938"/>
                  </a:moveTo>
                  <a:lnTo>
                    <a:pt x="2348" y="938"/>
                  </a:lnTo>
                  <a:lnTo>
                    <a:pt x="2339" y="945"/>
                  </a:lnTo>
                  <a:lnTo>
                    <a:pt x="2332" y="945"/>
                  </a:lnTo>
                  <a:lnTo>
                    <a:pt x="2339" y="938"/>
                  </a:lnTo>
                  <a:lnTo>
                    <a:pt x="2339" y="938"/>
                  </a:lnTo>
                  <a:lnTo>
                    <a:pt x="2339" y="938"/>
                  </a:lnTo>
                  <a:close/>
                  <a:moveTo>
                    <a:pt x="2565" y="938"/>
                  </a:moveTo>
                  <a:lnTo>
                    <a:pt x="2570" y="938"/>
                  </a:lnTo>
                  <a:lnTo>
                    <a:pt x="2575" y="955"/>
                  </a:lnTo>
                  <a:lnTo>
                    <a:pt x="2565" y="938"/>
                  </a:lnTo>
                  <a:lnTo>
                    <a:pt x="2565" y="938"/>
                  </a:lnTo>
                  <a:lnTo>
                    <a:pt x="2565" y="938"/>
                  </a:lnTo>
                  <a:close/>
                  <a:moveTo>
                    <a:pt x="2554" y="938"/>
                  </a:moveTo>
                  <a:lnTo>
                    <a:pt x="2565" y="945"/>
                  </a:lnTo>
                  <a:lnTo>
                    <a:pt x="2554" y="955"/>
                  </a:lnTo>
                  <a:lnTo>
                    <a:pt x="2554" y="978"/>
                  </a:lnTo>
                  <a:lnTo>
                    <a:pt x="2537" y="995"/>
                  </a:lnTo>
                  <a:lnTo>
                    <a:pt x="2532" y="1011"/>
                  </a:lnTo>
                  <a:lnTo>
                    <a:pt x="2516" y="1011"/>
                  </a:lnTo>
                  <a:lnTo>
                    <a:pt x="2516" y="995"/>
                  </a:lnTo>
                  <a:lnTo>
                    <a:pt x="2523" y="971"/>
                  </a:lnTo>
                  <a:lnTo>
                    <a:pt x="2554" y="938"/>
                  </a:lnTo>
                  <a:lnTo>
                    <a:pt x="2554" y="938"/>
                  </a:lnTo>
                  <a:lnTo>
                    <a:pt x="2554" y="938"/>
                  </a:lnTo>
                  <a:close/>
                  <a:moveTo>
                    <a:pt x="1814" y="955"/>
                  </a:moveTo>
                  <a:lnTo>
                    <a:pt x="1819" y="962"/>
                  </a:lnTo>
                  <a:lnTo>
                    <a:pt x="1814" y="962"/>
                  </a:lnTo>
                  <a:lnTo>
                    <a:pt x="1814" y="955"/>
                  </a:lnTo>
                  <a:lnTo>
                    <a:pt x="1814" y="955"/>
                  </a:lnTo>
                  <a:lnTo>
                    <a:pt x="1814" y="955"/>
                  </a:lnTo>
                  <a:close/>
                  <a:moveTo>
                    <a:pt x="1864" y="962"/>
                  </a:moveTo>
                  <a:lnTo>
                    <a:pt x="1869" y="962"/>
                  </a:lnTo>
                  <a:lnTo>
                    <a:pt x="1864" y="962"/>
                  </a:lnTo>
                  <a:lnTo>
                    <a:pt x="1864" y="962"/>
                  </a:lnTo>
                  <a:lnTo>
                    <a:pt x="1864" y="962"/>
                  </a:lnTo>
                  <a:close/>
                  <a:moveTo>
                    <a:pt x="3040" y="962"/>
                  </a:moveTo>
                  <a:lnTo>
                    <a:pt x="3057" y="962"/>
                  </a:lnTo>
                  <a:lnTo>
                    <a:pt x="3073" y="978"/>
                  </a:lnTo>
                  <a:lnTo>
                    <a:pt x="3057" y="1011"/>
                  </a:lnTo>
                  <a:lnTo>
                    <a:pt x="3024" y="1033"/>
                  </a:lnTo>
                  <a:lnTo>
                    <a:pt x="2986" y="1033"/>
                  </a:lnTo>
                  <a:lnTo>
                    <a:pt x="2969" y="1033"/>
                  </a:lnTo>
                  <a:lnTo>
                    <a:pt x="3002" y="978"/>
                  </a:lnTo>
                  <a:lnTo>
                    <a:pt x="3040" y="962"/>
                  </a:lnTo>
                  <a:lnTo>
                    <a:pt x="3040" y="962"/>
                  </a:lnTo>
                  <a:lnTo>
                    <a:pt x="3040" y="962"/>
                  </a:lnTo>
                  <a:close/>
                  <a:moveTo>
                    <a:pt x="2511" y="962"/>
                  </a:moveTo>
                  <a:lnTo>
                    <a:pt x="2523" y="962"/>
                  </a:lnTo>
                  <a:lnTo>
                    <a:pt x="2511" y="971"/>
                  </a:lnTo>
                  <a:lnTo>
                    <a:pt x="2511" y="962"/>
                  </a:lnTo>
                  <a:lnTo>
                    <a:pt x="2511" y="962"/>
                  </a:lnTo>
                  <a:lnTo>
                    <a:pt x="2511" y="962"/>
                  </a:lnTo>
                  <a:close/>
                  <a:moveTo>
                    <a:pt x="2251" y="971"/>
                  </a:moveTo>
                  <a:lnTo>
                    <a:pt x="2263" y="978"/>
                  </a:lnTo>
                  <a:lnTo>
                    <a:pt x="2251" y="978"/>
                  </a:lnTo>
                  <a:lnTo>
                    <a:pt x="2251" y="971"/>
                  </a:lnTo>
                  <a:lnTo>
                    <a:pt x="2251" y="971"/>
                  </a:lnTo>
                  <a:lnTo>
                    <a:pt x="2251" y="971"/>
                  </a:lnTo>
                  <a:close/>
                  <a:moveTo>
                    <a:pt x="2154" y="978"/>
                  </a:moveTo>
                  <a:lnTo>
                    <a:pt x="2171" y="988"/>
                  </a:lnTo>
                  <a:lnTo>
                    <a:pt x="2197" y="978"/>
                  </a:lnTo>
                  <a:lnTo>
                    <a:pt x="2213" y="988"/>
                  </a:lnTo>
                  <a:lnTo>
                    <a:pt x="2187" y="1000"/>
                  </a:lnTo>
                  <a:lnTo>
                    <a:pt x="2159" y="995"/>
                  </a:lnTo>
                  <a:lnTo>
                    <a:pt x="2138" y="1011"/>
                  </a:lnTo>
                  <a:lnTo>
                    <a:pt x="2154" y="978"/>
                  </a:lnTo>
                  <a:lnTo>
                    <a:pt x="2154" y="978"/>
                  </a:lnTo>
                  <a:lnTo>
                    <a:pt x="2154" y="978"/>
                  </a:lnTo>
                  <a:close/>
                  <a:moveTo>
                    <a:pt x="2407" y="995"/>
                  </a:moveTo>
                  <a:lnTo>
                    <a:pt x="2424" y="995"/>
                  </a:lnTo>
                  <a:lnTo>
                    <a:pt x="2424" y="1011"/>
                  </a:lnTo>
                  <a:lnTo>
                    <a:pt x="2407" y="1000"/>
                  </a:lnTo>
                  <a:lnTo>
                    <a:pt x="2407" y="995"/>
                  </a:lnTo>
                  <a:lnTo>
                    <a:pt x="2407" y="995"/>
                  </a:lnTo>
                  <a:lnTo>
                    <a:pt x="2407" y="995"/>
                  </a:lnTo>
                  <a:close/>
                  <a:moveTo>
                    <a:pt x="2242" y="1011"/>
                  </a:moveTo>
                  <a:lnTo>
                    <a:pt x="2246" y="1011"/>
                  </a:lnTo>
                  <a:lnTo>
                    <a:pt x="2242" y="1011"/>
                  </a:lnTo>
                  <a:lnTo>
                    <a:pt x="2242" y="1011"/>
                  </a:lnTo>
                  <a:lnTo>
                    <a:pt x="2242" y="1011"/>
                  </a:lnTo>
                  <a:close/>
                  <a:moveTo>
                    <a:pt x="1349" y="1011"/>
                  </a:moveTo>
                  <a:lnTo>
                    <a:pt x="1382" y="1016"/>
                  </a:lnTo>
                  <a:lnTo>
                    <a:pt x="1398" y="1011"/>
                  </a:lnTo>
                  <a:lnTo>
                    <a:pt x="1420" y="1016"/>
                  </a:lnTo>
                  <a:lnTo>
                    <a:pt x="1436" y="1033"/>
                  </a:lnTo>
                  <a:lnTo>
                    <a:pt x="1403" y="1049"/>
                  </a:lnTo>
                  <a:lnTo>
                    <a:pt x="1398" y="1056"/>
                  </a:lnTo>
                  <a:lnTo>
                    <a:pt x="1403" y="1066"/>
                  </a:lnTo>
                  <a:lnTo>
                    <a:pt x="1398" y="1066"/>
                  </a:lnTo>
                  <a:lnTo>
                    <a:pt x="1398" y="1056"/>
                  </a:lnTo>
                  <a:lnTo>
                    <a:pt x="1377" y="1044"/>
                  </a:lnTo>
                  <a:lnTo>
                    <a:pt x="1361" y="1033"/>
                  </a:lnTo>
                  <a:lnTo>
                    <a:pt x="1349" y="1016"/>
                  </a:lnTo>
                  <a:lnTo>
                    <a:pt x="1349" y="1011"/>
                  </a:lnTo>
                  <a:lnTo>
                    <a:pt x="1349" y="1011"/>
                  </a:lnTo>
                  <a:lnTo>
                    <a:pt x="1349" y="1011"/>
                  </a:lnTo>
                  <a:close/>
                  <a:moveTo>
                    <a:pt x="1722" y="1056"/>
                  </a:moveTo>
                  <a:lnTo>
                    <a:pt x="1722" y="1049"/>
                  </a:lnTo>
                  <a:lnTo>
                    <a:pt x="1755" y="1028"/>
                  </a:lnTo>
                  <a:lnTo>
                    <a:pt x="1798" y="1033"/>
                  </a:lnTo>
                  <a:lnTo>
                    <a:pt x="1847" y="1049"/>
                  </a:lnTo>
                  <a:lnTo>
                    <a:pt x="1852" y="1044"/>
                  </a:lnTo>
                  <a:lnTo>
                    <a:pt x="1873" y="1044"/>
                  </a:lnTo>
                  <a:lnTo>
                    <a:pt x="1902" y="1049"/>
                  </a:lnTo>
                  <a:lnTo>
                    <a:pt x="1906" y="1049"/>
                  </a:lnTo>
                  <a:lnTo>
                    <a:pt x="1923" y="1033"/>
                  </a:lnTo>
                  <a:lnTo>
                    <a:pt x="1939" y="1028"/>
                  </a:lnTo>
                  <a:lnTo>
                    <a:pt x="1944" y="1016"/>
                  </a:lnTo>
                  <a:lnTo>
                    <a:pt x="1928" y="1028"/>
                  </a:lnTo>
                  <a:lnTo>
                    <a:pt x="1939" y="1011"/>
                  </a:lnTo>
                  <a:lnTo>
                    <a:pt x="1944" y="1016"/>
                  </a:lnTo>
                  <a:lnTo>
                    <a:pt x="1944" y="1028"/>
                  </a:lnTo>
                  <a:lnTo>
                    <a:pt x="1928" y="1033"/>
                  </a:lnTo>
                  <a:lnTo>
                    <a:pt x="1939" y="1049"/>
                  </a:lnTo>
                  <a:lnTo>
                    <a:pt x="1864" y="1073"/>
                  </a:lnTo>
                  <a:lnTo>
                    <a:pt x="1835" y="1066"/>
                  </a:lnTo>
                  <a:lnTo>
                    <a:pt x="1831" y="1073"/>
                  </a:lnTo>
                  <a:lnTo>
                    <a:pt x="1809" y="1073"/>
                  </a:lnTo>
                  <a:lnTo>
                    <a:pt x="1776" y="1066"/>
                  </a:lnTo>
                  <a:lnTo>
                    <a:pt x="1727" y="1066"/>
                  </a:lnTo>
                  <a:lnTo>
                    <a:pt x="1722" y="1056"/>
                  </a:lnTo>
                  <a:lnTo>
                    <a:pt x="1722" y="1056"/>
                  </a:lnTo>
                  <a:lnTo>
                    <a:pt x="1722" y="1056"/>
                  </a:lnTo>
                  <a:close/>
                  <a:moveTo>
                    <a:pt x="1684" y="1056"/>
                  </a:moveTo>
                  <a:lnTo>
                    <a:pt x="1668" y="1066"/>
                  </a:lnTo>
                  <a:lnTo>
                    <a:pt x="1658" y="1056"/>
                  </a:lnTo>
                  <a:lnTo>
                    <a:pt x="1651" y="1056"/>
                  </a:lnTo>
                  <a:lnTo>
                    <a:pt x="1647" y="1056"/>
                  </a:lnTo>
                  <a:lnTo>
                    <a:pt x="1658" y="1066"/>
                  </a:lnTo>
                  <a:lnTo>
                    <a:pt x="1630" y="1066"/>
                  </a:lnTo>
                  <a:lnTo>
                    <a:pt x="1621" y="1066"/>
                  </a:lnTo>
                  <a:lnTo>
                    <a:pt x="1621" y="1049"/>
                  </a:lnTo>
                  <a:lnTo>
                    <a:pt x="1604" y="1066"/>
                  </a:lnTo>
                  <a:lnTo>
                    <a:pt x="1576" y="1073"/>
                  </a:lnTo>
                  <a:lnTo>
                    <a:pt x="1550" y="1082"/>
                  </a:lnTo>
                  <a:lnTo>
                    <a:pt x="1545" y="1082"/>
                  </a:lnTo>
                  <a:lnTo>
                    <a:pt x="1528" y="1089"/>
                  </a:lnTo>
                  <a:lnTo>
                    <a:pt x="1507" y="1073"/>
                  </a:lnTo>
                  <a:lnTo>
                    <a:pt x="1512" y="1049"/>
                  </a:lnTo>
                  <a:lnTo>
                    <a:pt x="1538" y="1033"/>
                  </a:lnTo>
                  <a:lnTo>
                    <a:pt x="1559" y="1044"/>
                  </a:lnTo>
                  <a:lnTo>
                    <a:pt x="1566" y="1033"/>
                  </a:lnTo>
                  <a:lnTo>
                    <a:pt x="1566" y="1044"/>
                  </a:lnTo>
                  <a:lnTo>
                    <a:pt x="1592" y="1056"/>
                  </a:lnTo>
                  <a:lnTo>
                    <a:pt x="1597" y="1056"/>
                  </a:lnTo>
                  <a:lnTo>
                    <a:pt x="1613" y="1056"/>
                  </a:lnTo>
                  <a:lnTo>
                    <a:pt x="1613" y="1049"/>
                  </a:lnTo>
                  <a:lnTo>
                    <a:pt x="1597" y="1044"/>
                  </a:lnTo>
                  <a:lnTo>
                    <a:pt x="1576" y="1028"/>
                  </a:lnTo>
                  <a:lnTo>
                    <a:pt x="1576" y="1016"/>
                  </a:lnTo>
                  <a:lnTo>
                    <a:pt x="1592" y="1011"/>
                  </a:lnTo>
                  <a:lnTo>
                    <a:pt x="1604" y="1016"/>
                  </a:lnTo>
                  <a:lnTo>
                    <a:pt x="1621" y="1033"/>
                  </a:lnTo>
                  <a:lnTo>
                    <a:pt x="1630" y="1028"/>
                  </a:lnTo>
                  <a:lnTo>
                    <a:pt x="1647" y="1028"/>
                  </a:lnTo>
                  <a:lnTo>
                    <a:pt x="1647" y="1049"/>
                  </a:lnTo>
                  <a:lnTo>
                    <a:pt x="1651" y="1028"/>
                  </a:lnTo>
                  <a:lnTo>
                    <a:pt x="1668" y="1028"/>
                  </a:lnTo>
                  <a:lnTo>
                    <a:pt x="1668" y="1049"/>
                  </a:lnTo>
                  <a:lnTo>
                    <a:pt x="1684" y="1056"/>
                  </a:lnTo>
                  <a:lnTo>
                    <a:pt x="1684" y="1056"/>
                  </a:lnTo>
                  <a:lnTo>
                    <a:pt x="1684" y="1056"/>
                  </a:lnTo>
                  <a:close/>
                  <a:moveTo>
                    <a:pt x="2495" y="1033"/>
                  </a:moveTo>
                  <a:lnTo>
                    <a:pt x="2511" y="1011"/>
                  </a:lnTo>
                  <a:lnTo>
                    <a:pt x="2523" y="1016"/>
                  </a:lnTo>
                  <a:lnTo>
                    <a:pt x="2495" y="1033"/>
                  </a:lnTo>
                  <a:lnTo>
                    <a:pt x="2495" y="1033"/>
                  </a:lnTo>
                  <a:lnTo>
                    <a:pt x="2495" y="1033"/>
                  </a:lnTo>
                  <a:close/>
                  <a:moveTo>
                    <a:pt x="2284" y="1011"/>
                  </a:moveTo>
                  <a:lnTo>
                    <a:pt x="2306" y="1016"/>
                  </a:lnTo>
                  <a:lnTo>
                    <a:pt x="2301" y="1028"/>
                  </a:lnTo>
                  <a:lnTo>
                    <a:pt x="2284" y="1016"/>
                  </a:lnTo>
                  <a:lnTo>
                    <a:pt x="2284" y="1011"/>
                  </a:lnTo>
                  <a:lnTo>
                    <a:pt x="2284" y="1011"/>
                  </a:lnTo>
                  <a:lnTo>
                    <a:pt x="2284" y="1011"/>
                  </a:lnTo>
                  <a:close/>
                  <a:moveTo>
                    <a:pt x="2053" y="1016"/>
                  </a:moveTo>
                  <a:lnTo>
                    <a:pt x="2091" y="1016"/>
                  </a:lnTo>
                  <a:lnTo>
                    <a:pt x="2100" y="1028"/>
                  </a:lnTo>
                  <a:lnTo>
                    <a:pt x="2046" y="1044"/>
                  </a:lnTo>
                  <a:lnTo>
                    <a:pt x="2053" y="1016"/>
                  </a:lnTo>
                  <a:lnTo>
                    <a:pt x="2053" y="1016"/>
                  </a:lnTo>
                  <a:lnTo>
                    <a:pt x="2053" y="1016"/>
                  </a:lnTo>
                  <a:close/>
                  <a:moveTo>
                    <a:pt x="1672" y="1016"/>
                  </a:moveTo>
                  <a:lnTo>
                    <a:pt x="1668" y="1028"/>
                  </a:lnTo>
                  <a:lnTo>
                    <a:pt x="1672" y="1016"/>
                  </a:lnTo>
                  <a:lnTo>
                    <a:pt x="1672" y="1016"/>
                  </a:lnTo>
                  <a:lnTo>
                    <a:pt x="1672" y="1016"/>
                  </a:lnTo>
                  <a:close/>
                  <a:moveTo>
                    <a:pt x="1566" y="1033"/>
                  </a:moveTo>
                  <a:lnTo>
                    <a:pt x="1559" y="1016"/>
                  </a:lnTo>
                  <a:lnTo>
                    <a:pt x="1576" y="1016"/>
                  </a:lnTo>
                  <a:lnTo>
                    <a:pt x="1566" y="1033"/>
                  </a:lnTo>
                  <a:lnTo>
                    <a:pt x="1566" y="1033"/>
                  </a:lnTo>
                  <a:lnTo>
                    <a:pt x="1566" y="1033"/>
                  </a:lnTo>
                  <a:close/>
                  <a:moveTo>
                    <a:pt x="2280" y="1016"/>
                  </a:moveTo>
                  <a:lnTo>
                    <a:pt x="2284" y="1016"/>
                  </a:lnTo>
                  <a:lnTo>
                    <a:pt x="2268" y="1028"/>
                  </a:lnTo>
                  <a:lnTo>
                    <a:pt x="2280" y="1016"/>
                  </a:lnTo>
                  <a:lnTo>
                    <a:pt x="2280" y="1016"/>
                  </a:lnTo>
                  <a:lnTo>
                    <a:pt x="2280" y="1016"/>
                  </a:lnTo>
                  <a:close/>
                  <a:moveTo>
                    <a:pt x="3057" y="1016"/>
                  </a:moveTo>
                  <a:lnTo>
                    <a:pt x="3061" y="1033"/>
                  </a:lnTo>
                  <a:lnTo>
                    <a:pt x="3040" y="1033"/>
                  </a:lnTo>
                  <a:lnTo>
                    <a:pt x="3052" y="1016"/>
                  </a:lnTo>
                  <a:lnTo>
                    <a:pt x="3057" y="1016"/>
                  </a:lnTo>
                  <a:lnTo>
                    <a:pt x="3057" y="1016"/>
                  </a:lnTo>
                  <a:lnTo>
                    <a:pt x="3057" y="1016"/>
                  </a:lnTo>
                  <a:close/>
                  <a:moveTo>
                    <a:pt x="2015" y="1033"/>
                  </a:moveTo>
                  <a:lnTo>
                    <a:pt x="2024" y="1033"/>
                  </a:lnTo>
                  <a:lnTo>
                    <a:pt x="2036" y="1016"/>
                  </a:lnTo>
                  <a:lnTo>
                    <a:pt x="2024" y="1049"/>
                  </a:lnTo>
                  <a:lnTo>
                    <a:pt x="2015" y="1033"/>
                  </a:lnTo>
                  <a:lnTo>
                    <a:pt x="2008" y="1044"/>
                  </a:lnTo>
                  <a:lnTo>
                    <a:pt x="2015" y="1033"/>
                  </a:lnTo>
                  <a:lnTo>
                    <a:pt x="2015" y="1033"/>
                  </a:lnTo>
                  <a:lnTo>
                    <a:pt x="2015" y="1033"/>
                  </a:lnTo>
                  <a:close/>
                  <a:moveTo>
                    <a:pt x="1977" y="1049"/>
                  </a:moveTo>
                  <a:lnTo>
                    <a:pt x="1961" y="1044"/>
                  </a:lnTo>
                  <a:lnTo>
                    <a:pt x="1982" y="1033"/>
                  </a:lnTo>
                  <a:lnTo>
                    <a:pt x="1970" y="1028"/>
                  </a:lnTo>
                  <a:lnTo>
                    <a:pt x="1977" y="1028"/>
                  </a:lnTo>
                  <a:lnTo>
                    <a:pt x="1982" y="1028"/>
                  </a:lnTo>
                  <a:lnTo>
                    <a:pt x="1991" y="1033"/>
                  </a:lnTo>
                  <a:lnTo>
                    <a:pt x="1998" y="1016"/>
                  </a:lnTo>
                  <a:lnTo>
                    <a:pt x="2015" y="1028"/>
                  </a:lnTo>
                  <a:lnTo>
                    <a:pt x="1977" y="1049"/>
                  </a:lnTo>
                  <a:lnTo>
                    <a:pt x="1977" y="1049"/>
                  </a:lnTo>
                  <a:lnTo>
                    <a:pt x="1977" y="1049"/>
                  </a:lnTo>
                  <a:close/>
                  <a:moveTo>
                    <a:pt x="2306" y="1016"/>
                  </a:moveTo>
                  <a:lnTo>
                    <a:pt x="2317" y="1028"/>
                  </a:lnTo>
                  <a:lnTo>
                    <a:pt x="2306" y="1028"/>
                  </a:lnTo>
                  <a:lnTo>
                    <a:pt x="2306" y="1016"/>
                  </a:lnTo>
                  <a:lnTo>
                    <a:pt x="2306" y="1016"/>
                  </a:lnTo>
                  <a:lnTo>
                    <a:pt x="2306" y="1016"/>
                  </a:lnTo>
                  <a:close/>
                  <a:moveTo>
                    <a:pt x="1484" y="1016"/>
                  </a:moveTo>
                  <a:lnTo>
                    <a:pt x="1507" y="1033"/>
                  </a:lnTo>
                  <a:lnTo>
                    <a:pt x="1495" y="1066"/>
                  </a:lnTo>
                  <a:lnTo>
                    <a:pt x="1495" y="1073"/>
                  </a:lnTo>
                  <a:lnTo>
                    <a:pt x="1491" y="1073"/>
                  </a:lnTo>
                  <a:lnTo>
                    <a:pt x="1491" y="1066"/>
                  </a:lnTo>
                  <a:lnTo>
                    <a:pt x="1469" y="1073"/>
                  </a:lnTo>
                  <a:lnTo>
                    <a:pt x="1441" y="1066"/>
                  </a:lnTo>
                  <a:lnTo>
                    <a:pt x="1441" y="1056"/>
                  </a:lnTo>
                  <a:lnTo>
                    <a:pt x="1458" y="1056"/>
                  </a:lnTo>
                  <a:lnTo>
                    <a:pt x="1458" y="1033"/>
                  </a:lnTo>
                  <a:lnTo>
                    <a:pt x="1484" y="1016"/>
                  </a:lnTo>
                  <a:lnTo>
                    <a:pt x="1484" y="1016"/>
                  </a:lnTo>
                  <a:lnTo>
                    <a:pt x="1484" y="1016"/>
                  </a:lnTo>
                  <a:close/>
                  <a:moveTo>
                    <a:pt x="1954" y="1028"/>
                  </a:moveTo>
                  <a:lnTo>
                    <a:pt x="1970" y="1028"/>
                  </a:lnTo>
                  <a:lnTo>
                    <a:pt x="1970" y="1033"/>
                  </a:lnTo>
                  <a:lnTo>
                    <a:pt x="1944" y="1033"/>
                  </a:lnTo>
                  <a:lnTo>
                    <a:pt x="1954" y="1028"/>
                  </a:lnTo>
                  <a:lnTo>
                    <a:pt x="1954" y="1028"/>
                  </a:lnTo>
                  <a:lnTo>
                    <a:pt x="1954" y="1028"/>
                  </a:lnTo>
                  <a:close/>
                  <a:moveTo>
                    <a:pt x="2024" y="1106"/>
                  </a:moveTo>
                  <a:lnTo>
                    <a:pt x="2062" y="1089"/>
                  </a:lnTo>
                  <a:lnTo>
                    <a:pt x="2084" y="1073"/>
                  </a:lnTo>
                  <a:lnTo>
                    <a:pt x="2100" y="1049"/>
                  </a:lnTo>
                  <a:lnTo>
                    <a:pt x="2187" y="1033"/>
                  </a:lnTo>
                  <a:lnTo>
                    <a:pt x="2197" y="1044"/>
                  </a:lnTo>
                  <a:lnTo>
                    <a:pt x="2230" y="1028"/>
                  </a:lnTo>
                  <a:lnTo>
                    <a:pt x="2246" y="1033"/>
                  </a:lnTo>
                  <a:lnTo>
                    <a:pt x="2230" y="1056"/>
                  </a:lnTo>
                  <a:lnTo>
                    <a:pt x="2197" y="1066"/>
                  </a:lnTo>
                  <a:lnTo>
                    <a:pt x="2192" y="1073"/>
                  </a:lnTo>
                  <a:lnTo>
                    <a:pt x="2171" y="1082"/>
                  </a:lnTo>
                  <a:lnTo>
                    <a:pt x="2117" y="1099"/>
                  </a:lnTo>
                  <a:lnTo>
                    <a:pt x="2091" y="1111"/>
                  </a:lnTo>
                  <a:lnTo>
                    <a:pt x="2084" y="1127"/>
                  </a:lnTo>
                  <a:lnTo>
                    <a:pt x="2046" y="1160"/>
                  </a:lnTo>
                  <a:lnTo>
                    <a:pt x="2024" y="1160"/>
                  </a:lnTo>
                  <a:lnTo>
                    <a:pt x="2008" y="1177"/>
                  </a:lnTo>
                  <a:lnTo>
                    <a:pt x="1982" y="1177"/>
                  </a:lnTo>
                  <a:lnTo>
                    <a:pt x="1982" y="1165"/>
                  </a:lnTo>
                  <a:lnTo>
                    <a:pt x="1998" y="1160"/>
                  </a:lnTo>
                  <a:lnTo>
                    <a:pt x="1982" y="1155"/>
                  </a:lnTo>
                  <a:lnTo>
                    <a:pt x="1991" y="1127"/>
                  </a:lnTo>
                  <a:lnTo>
                    <a:pt x="2024" y="1106"/>
                  </a:lnTo>
                  <a:lnTo>
                    <a:pt x="2024" y="1106"/>
                  </a:lnTo>
                  <a:lnTo>
                    <a:pt x="2024" y="1106"/>
                  </a:lnTo>
                  <a:close/>
                  <a:moveTo>
                    <a:pt x="1701" y="1033"/>
                  </a:moveTo>
                  <a:lnTo>
                    <a:pt x="1706" y="1049"/>
                  </a:lnTo>
                  <a:lnTo>
                    <a:pt x="1701" y="1049"/>
                  </a:lnTo>
                  <a:lnTo>
                    <a:pt x="1701" y="1056"/>
                  </a:lnTo>
                  <a:lnTo>
                    <a:pt x="1689" y="1056"/>
                  </a:lnTo>
                  <a:lnTo>
                    <a:pt x="1701" y="1033"/>
                  </a:lnTo>
                  <a:lnTo>
                    <a:pt x="1701" y="1033"/>
                  </a:lnTo>
                  <a:lnTo>
                    <a:pt x="1701" y="1033"/>
                  </a:lnTo>
                  <a:close/>
                  <a:moveTo>
                    <a:pt x="1944" y="1049"/>
                  </a:moveTo>
                  <a:lnTo>
                    <a:pt x="1944" y="1044"/>
                  </a:lnTo>
                  <a:lnTo>
                    <a:pt x="1961" y="1044"/>
                  </a:lnTo>
                  <a:lnTo>
                    <a:pt x="1944" y="1049"/>
                  </a:lnTo>
                  <a:lnTo>
                    <a:pt x="1944" y="1049"/>
                  </a:lnTo>
                  <a:lnTo>
                    <a:pt x="1944" y="1049"/>
                  </a:lnTo>
                  <a:close/>
                  <a:moveTo>
                    <a:pt x="1269" y="1044"/>
                  </a:moveTo>
                  <a:lnTo>
                    <a:pt x="1269" y="1033"/>
                  </a:lnTo>
                  <a:lnTo>
                    <a:pt x="1273" y="1044"/>
                  </a:lnTo>
                  <a:lnTo>
                    <a:pt x="1269" y="1044"/>
                  </a:lnTo>
                  <a:lnTo>
                    <a:pt x="1269" y="1044"/>
                  </a:lnTo>
                  <a:lnTo>
                    <a:pt x="1269" y="1044"/>
                  </a:lnTo>
                  <a:close/>
                  <a:moveTo>
                    <a:pt x="1710" y="1056"/>
                  </a:moveTo>
                  <a:lnTo>
                    <a:pt x="1710" y="1066"/>
                  </a:lnTo>
                  <a:lnTo>
                    <a:pt x="1706" y="1066"/>
                  </a:lnTo>
                  <a:lnTo>
                    <a:pt x="1710" y="1049"/>
                  </a:lnTo>
                  <a:lnTo>
                    <a:pt x="1710" y="1056"/>
                  </a:lnTo>
                  <a:lnTo>
                    <a:pt x="1710" y="1056"/>
                  </a:lnTo>
                  <a:lnTo>
                    <a:pt x="1710" y="1056"/>
                  </a:lnTo>
                  <a:close/>
                  <a:moveTo>
                    <a:pt x="1432" y="1066"/>
                  </a:moveTo>
                  <a:lnTo>
                    <a:pt x="1420" y="1056"/>
                  </a:lnTo>
                  <a:lnTo>
                    <a:pt x="1432" y="1056"/>
                  </a:lnTo>
                  <a:lnTo>
                    <a:pt x="1432" y="1066"/>
                  </a:lnTo>
                  <a:lnTo>
                    <a:pt x="1432" y="1066"/>
                  </a:lnTo>
                  <a:lnTo>
                    <a:pt x="1432" y="1066"/>
                  </a:lnTo>
                  <a:close/>
                  <a:moveTo>
                    <a:pt x="1684" y="1139"/>
                  </a:moveTo>
                  <a:lnTo>
                    <a:pt x="1658" y="1122"/>
                  </a:lnTo>
                  <a:lnTo>
                    <a:pt x="1668" y="1111"/>
                  </a:lnTo>
                  <a:lnTo>
                    <a:pt x="1684" y="1106"/>
                  </a:lnTo>
                  <a:lnTo>
                    <a:pt x="1722" y="1106"/>
                  </a:lnTo>
                  <a:lnTo>
                    <a:pt x="1727" y="1099"/>
                  </a:lnTo>
                  <a:lnTo>
                    <a:pt x="1755" y="1111"/>
                  </a:lnTo>
                  <a:lnTo>
                    <a:pt x="1755" y="1127"/>
                  </a:lnTo>
                  <a:lnTo>
                    <a:pt x="1765" y="1122"/>
                  </a:lnTo>
                  <a:lnTo>
                    <a:pt x="1776" y="1127"/>
                  </a:lnTo>
                  <a:lnTo>
                    <a:pt x="1798" y="1160"/>
                  </a:lnTo>
                  <a:lnTo>
                    <a:pt x="1781" y="1165"/>
                  </a:lnTo>
                  <a:lnTo>
                    <a:pt x="1755" y="1165"/>
                  </a:lnTo>
                  <a:lnTo>
                    <a:pt x="1710" y="1139"/>
                  </a:lnTo>
                  <a:lnTo>
                    <a:pt x="1684" y="1139"/>
                  </a:lnTo>
                  <a:lnTo>
                    <a:pt x="1684" y="1139"/>
                  </a:lnTo>
                  <a:lnTo>
                    <a:pt x="1684" y="1139"/>
                  </a:lnTo>
                  <a:close/>
                  <a:moveTo>
                    <a:pt x="1977" y="1160"/>
                  </a:moveTo>
                  <a:lnTo>
                    <a:pt x="1982" y="1165"/>
                  </a:lnTo>
                  <a:lnTo>
                    <a:pt x="1970" y="1177"/>
                  </a:lnTo>
                  <a:lnTo>
                    <a:pt x="1977" y="1160"/>
                  </a:lnTo>
                  <a:lnTo>
                    <a:pt x="1977" y="1160"/>
                  </a:lnTo>
                  <a:lnTo>
                    <a:pt x="1977" y="1160"/>
                  </a:lnTo>
                  <a:close/>
                  <a:moveTo>
                    <a:pt x="1864" y="1193"/>
                  </a:moveTo>
                  <a:lnTo>
                    <a:pt x="1869" y="1181"/>
                  </a:lnTo>
                  <a:lnTo>
                    <a:pt x="1873" y="1181"/>
                  </a:lnTo>
                  <a:lnTo>
                    <a:pt x="1869" y="1193"/>
                  </a:lnTo>
                  <a:lnTo>
                    <a:pt x="1864" y="1193"/>
                  </a:lnTo>
                  <a:lnTo>
                    <a:pt x="1864" y="1193"/>
                  </a:lnTo>
                  <a:lnTo>
                    <a:pt x="1864" y="1193"/>
                  </a:lnTo>
                  <a:close/>
                  <a:moveTo>
                    <a:pt x="1939" y="1210"/>
                  </a:moveTo>
                  <a:lnTo>
                    <a:pt x="1977" y="1181"/>
                  </a:lnTo>
                  <a:lnTo>
                    <a:pt x="1977" y="1200"/>
                  </a:lnTo>
                  <a:lnTo>
                    <a:pt x="1961" y="1210"/>
                  </a:lnTo>
                  <a:lnTo>
                    <a:pt x="1939" y="1217"/>
                  </a:lnTo>
                  <a:lnTo>
                    <a:pt x="1939" y="1210"/>
                  </a:lnTo>
                  <a:lnTo>
                    <a:pt x="1939" y="1210"/>
                  </a:lnTo>
                  <a:lnTo>
                    <a:pt x="1939" y="121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9" name="Freeform 468">
              <a:extLst>
                <a:ext uri="{FF2B5EF4-FFF2-40B4-BE49-F238E27FC236}">
                  <a16:creationId xmlns:a16="http://schemas.microsoft.com/office/drawing/2014/main" id="{F2FEA076-2DBB-4289-ABF5-F43D7607E292}"/>
                </a:ext>
              </a:extLst>
            </p:cNvPr>
            <p:cNvSpPr>
              <a:spLocks/>
            </p:cNvSpPr>
            <p:nvPr/>
          </p:nvSpPr>
          <p:spPr bwMode="gray">
            <a:xfrm>
              <a:off x="13635503" y="2686411"/>
              <a:ext cx="9819" cy="12437"/>
            </a:xfrm>
            <a:custGeom>
              <a:avLst/>
              <a:gdLst>
                <a:gd name="T0" fmla="*/ 0 w 30"/>
                <a:gd name="T1" fmla="*/ 38 h 38"/>
                <a:gd name="T2" fmla="*/ 0 w 30"/>
                <a:gd name="T3" fmla="*/ 22 h 38"/>
                <a:gd name="T4" fmla="*/ 26 w 30"/>
                <a:gd name="T5" fmla="*/ 0 h 38"/>
                <a:gd name="T6" fmla="*/ 30 w 30"/>
                <a:gd name="T7" fmla="*/ 17 h 38"/>
                <a:gd name="T8" fmla="*/ 26 w 30"/>
                <a:gd name="T9" fmla="*/ 22 h 38"/>
                <a:gd name="T10" fmla="*/ 0 w 30"/>
                <a:gd name="T11" fmla="*/ 38 h 38"/>
                <a:gd name="T12" fmla="*/ 0 w 30"/>
                <a:gd name="T13" fmla="*/ 38 h 38"/>
                <a:gd name="T14" fmla="*/ 0 w 3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8">
                  <a:moveTo>
                    <a:pt x="0" y="38"/>
                  </a:moveTo>
                  <a:lnTo>
                    <a:pt x="0" y="22"/>
                  </a:lnTo>
                  <a:lnTo>
                    <a:pt x="26" y="0"/>
                  </a:lnTo>
                  <a:lnTo>
                    <a:pt x="30" y="17"/>
                  </a:lnTo>
                  <a:lnTo>
                    <a:pt x="26" y="22"/>
                  </a:lnTo>
                  <a:lnTo>
                    <a:pt x="0" y="38"/>
                  </a:lnTo>
                  <a:lnTo>
                    <a:pt x="0" y="38"/>
                  </a:lnTo>
                  <a:lnTo>
                    <a:pt x="0" y="38"/>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0" name="Freeform 469">
              <a:extLst>
                <a:ext uri="{FF2B5EF4-FFF2-40B4-BE49-F238E27FC236}">
                  <a16:creationId xmlns:a16="http://schemas.microsoft.com/office/drawing/2014/main" id="{9456CAE9-BF74-42AF-BE36-3F255A8F8940}"/>
                </a:ext>
              </a:extLst>
            </p:cNvPr>
            <p:cNvSpPr>
              <a:spLocks noEditPoints="1"/>
            </p:cNvSpPr>
            <p:nvPr/>
          </p:nvSpPr>
          <p:spPr bwMode="gray">
            <a:xfrm>
              <a:off x="15307007" y="3240851"/>
              <a:ext cx="670958" cy="713507"/>
            </a:xfrm>
            <a:custGeom>
              <a:avLst/>
              <a:gdLst>
                <a:gd name="T0" fmla="*/ 1634 w 2050"/>
                <a:gd name="T1" fmla="*/ 959 h 2180"/>
                <a:gd name="T2" fmla="*/ 1701 w 2050"/>
                <a:gd name="T3" fmla="*/ 839 h 2180"/>
                <a:gd name="T4" fmla="*/ 1507 w 2050"/>
                <a:gd name="T5" fmla="*/ 756 h 2180"/>
                <a:gd name="T6" fmla="*/ 1419 w 2050"/>
                <a:gd name="T7" fmla="*/ 711 h 2180"/>
                <a:gd name="T8" fmla="*/ 1469 w 2050"/>
                <a:gd name="T9" fmla="*/ 810 h 2180"/>
                <a:gd name="T10" fmla="*/ 1441 w 2050"/>
                <a:gd name="T11" fmla="*/ 876 h 2180"/>
                <a:gd name="T12" fmla="*/ 1474 w 2050"/>
                <a:gd name="T13" fmla="*/ 1049 h 2180"/>
                <a:gd name="T14" fmla="*/ 1431 w 2050"/>
                <a:gd name="T15" fmla="*/ 1094 h 2180"/>
                <a:gd name="T16" fmla="*/ 1386 w 2050"/>
                <a:gd name="T17" fmla="*/ 1020 h 2180"/>
                <a:gd name="T18" fmla="*/ 1327 w 2050"/>
                <a:gd name="T19" fmla="*/ 1160 h 2180"/>
                <a:gd name="T20" fmla="*/ 1219 w 2050"/>
                <a:gd name="T21" fmla="*/ 1238 h 2180"/>
                <a:gd name="T22" fmla="*/ 1171 w 2050"/>
                <a:gd name="T23" fmla="*/ 1276 h 2180"/>
                <a:gd name="T24" fmla="*/ 954 w 2050"/>
                <a:gd name="T25" fmla="*/ 1481 h 2180"/>
                <a:gd name="T26" fmla="*/ 848 w 2050"/>
                <a:gd name="T27" fmla="*/ 1609 h 2180"/>
                <a:gd name="T28" fmla="*/ 827 w 2050"/>
                <a:gd name="T29" fmla="*/ 1864 h 2180"/>
                <a:gd name="T30" fmla="*/ 765 w 2050"/>
                <a:gd name="T31" fmla="*/ 1998 h 2180"/>
                <a:gd name="T32" fmla="*/ 593 w 2050"/>
                <a:gd name="T33" fmla="*/ 2020 h 2180"/>
                <a:gd name="T34" fmla="*/ 534 w 2050"/>
                <a:gd name="T35" fmla="*/ 1835 h 2180"/>
                <a:gd name="T36" fmla="*/ 404 w 2050"/>
                <a:gd name="T37" fmla="*/ 1547 h 2180"/>
                <a:gd name="T38" fmla="*/ 340 w 2050"/>
                <a:gd name="T39" fmla="*/ 1292 h 2180"/>
                <a:gd name="T40" fmla="*/ 340 w 2050"/>
                <a:gd name="T41" fmla="*/ 1148 h 2180"/>
                <a:gd name="T42" fmla="*/ 356 w 2050"/>
                <a:gd name="T43" fmla="*/ 1077 h 2180"/>
                <a:gd name="T44" fmla="*/ 286 w 2050"/>
                <a:gd name="T45" fmla="*/ 1037 h 2180"/>
                <a:gd name="T46" fmla="*/ 297 w 2050"/>
                <a:gd name="T47" fmla="*/ 1087 h 2180"/>
                <a:gd name="T48" fmla="*/ 172 w 2050"/>
                <a:gd name="T49" fmla="*/ 983 h 2180"/>
                <a:gd name="T50" fmla="*/ 26 w 2050"/>
                <a:gd name="T51" fmla="*/ 933 h 2180"/>
                <a:gd name="T52" fmla="*/ 64 w 2050"/>
                <a:gd name="T53" fmla="*/ 888 h 2180"/>
                <a:gd name="T54" fmla="*/ 198 w 2050"/>
                <a:gd name="T55" fmla="*/ 872 h 2180"/>
                <a:gd name="T56" fmla="*/ 125 w 2050"/>
                <a:gd name="T57" fmla="*/ 704 h 2180"/>
                <a:gd name="T58" fmla="*/ 286 w 2050"/>
                <a:gd name="T59" fmla="*/ 560 h 2180"/>
                <a:gd name="T60" fmla="*/ 458 w 2050"/>
                <a:gd name="T61" fmla="*/ 354 h 2180"/>
                <a:gd name="T62" fmla="*/ 486 w 2050"/>
                <a:gd name="T63" fmla="*/ 243 h 2180"/>
                <a:gd name="T64" fmla="*/ 411 w 2050"/>
                <a:gd name="T65" fmla="*/ 111 h 2180"/>
                <a:gd name="T66" fmla="*/ 621 w 2050"/>
                <a:gd name="T67" fmla="*/ 61 h 2180"/>
                <a:gd name="T68" fmla="*/ 751 w 2050"/>
                <a:gd name="T69" fmla="*/ 111 h 2180"/>
                <a:gd name="T70" fmla="*/ 751 w 2050"/>
                <a:gd name="T71" fmla="*/ 243 h 2180"/>
                <a:gd name="T72" fmla="*/ 756 w 2050"/>
                <a:gd name="T73" fmla="*/ 338 h 2180"/>
                <a:gd name="T74" fmla="*/ 864 w 2050"/>
                <a:gd name="T75" fmla="*/ 477 h 2180"/>
                <a:gd name="T76" fmla="*/ 982 w 2050"/>
                <a:gd name="T77" fmla="*/ 600 h 2180"/>
                <a:gd name="T78" fmla="*/ 1129 w 2050"/>
                <a:gd name="T79" fmla="*/ 633 h 2180"/>
                <a:gd name="T80" fmla="*/ 1327 w 2050"/>
                <a:gd name="T81" fmla="*/ 711 h 2180"/>
                <a:gd name="T82" fmla="*/ 1403 w 2050"/>
                <a:gd name="T83" fmla="*/ 600 h 2180"/>
                <a:gd name="T84" fmla="*/ 1474 w 2050"/>
                <a:gd name="T85" fmla="*/ 687 h 2180"/>
                <a:gd name="T86" fmla="*/ 1684 w 2050"/>
                <a:gd name="T87" fmla="*/ 683 h 2180"/>
                <a:gd name="T88" fmla="*/ 1710 w 2050"/>
                <a:gd name="T89" fmla="*/ 609 h 2180"/>
                <a:gd name="T90" fmla="*/ 1916 w 2050"/>
                <a:gd name="T91" fmla="*/ 517 h 2180"/>
                <a:gd name="T92" fmla="*/ 1982 w 2050"/>
                <a:gd name="T93" fmla="*/ 555 h 2180"/>
                <a:gd name="T94" fmla="*/ 2024 w 2050"/>
                <a:gd name="T95" fmla="*/ 654 h 2180"/>
                <a:gd name="T96" fmla="*/ 1861 w 2050"/>
                <a:gd name="T97" fmla="*/ 810 h 2180"/>
                <a:gd name="T98" fmla="*/ 1764 w 2050"/>
                <a:gd name="T99" fmla="*/ 983 h 2180"/>
                <a:gd name="T100" fmla="*/ 1705 w 2050"/>
                <a:gd name="T101" fmla="*/ 983 h 2180"/>
                <a:gd name="T102" fmla="*/ 1441 w 2050"/>
                <a:gd name="T103" fmla="*/ 1070 h 2180"/>
                <a:gd name="T104" fmla="*/ 1743 w 2050"/>
                <a:gd name="T105" fmla="*/ 1687 h 2180"/>
                <a:gd name="T106" fmla="*/ 1727 w 2050"/>
                <a:gd name="T107" fmla="*/ 1743 h 2180"/>
                <a:gd name="T108" fmla="*/ 1727 w 2050"/>
                <a:gd name="T109" fmla="*/ 1776 h 2180"/>
                <a:gd name="T110" fmla="*/ 1727 w 2050"/>
                <a:gd name="T111" fmla="*/ 1793 h 2180"/>
                <a:gd name="T112" fmla="*/ 1701 w 2050"/>
                <a:gd name="T113" fmla="*/ 1831 h 2180"/>
                <a:gd name="T114" fmla="*/ 1722 w 2050"/>
                <a:gd name="T115" fmla="*/ 1847 h 2180"/>
                <a:gd name="T116" fmla="*/ 1710 w 2050"/>
                <a:gd name="T117" fmla="*/ 1887 h 2180"/>
                <a:gd name="T118" fmla="*/ 1755 w 2050"/>
                <a:gd name="T119" fmla="*/ 2069 h 2180"/>
                <a:gd name="T120" fmla="*/ 1776 w 2050"/>
                <a:gd name="T121" fmla="*/ 2091 h 2180"/>
                <a:gd name="T122" fmla="*/ 1793 w 2050"/>
                <a:gd name="T123" fmla="*/ 2091 h 2180"/>
                <a:gd name="T124" fmla="*/ 1814 w 2050"/>
                <a:gd name="T125" fmla="*/ 2164 h 2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0" h="2180">
                  <a:moveTo>
                    <a:pt x="1701" y="926"/>
                  </a:moveTo>
                  <a:lnTo>
                    <a:pt x="1684" y="933"/>
                  </a:lnTo>
                  <a:lnTo>
                    <a:pt x="1672" y="926"/>
                  </a:lnTo>
                  <a:lnTo>
                    <a:pt x="1672" y="943"/>
                  </a:lnTo>
                  <a:lnTo>
                    <a:pt x="1656" y="959"/>
                  </a:lnTo>
                  <a:lnTo>
                    <a:pt x="1667" y="976"/>
                  </a:lnTo>
                  <a:lnTo>
                    <a:pt x="1656" y="983"/>
                  </a:lnTo>
                  <a:lnTo>
                    <a:pt x="1646" y="983"/>
                  </a:lnTo>
                  <a:lnTo>
                    <a:pt x="1634" y="959"/>
                  </a:lnTo>
                  <a:lnTo>
                    <a:pt x="1634" y="976"/>
                  </a:lnTo>
                  <a:lnTo>
                    <a:pt x="1630" y="976"/>
                  </a:lnTo>
                  <a:lnTo>
                    <a:pt x="1618" y="933"/>
                  </a:lnTo>
                  <a:lnTo>
                    <a:pt x="1630" y="909"/>
                  </a:lnTo>
                  <a:lnTo>
                    <a:pt x="1634" y="893"/>
                  </a:lnTo>
                  <a:lnTo>
                    <a:pt x="1667" y="893"/>
                  </a:lnTo>
                  <a:lnTo>
                    <a:pt x="1672" y="876"/>
                  </a:lnTo>
                  <a:lnTo>
                    <a:pt x="1689" y="872"/>
                  </a:lnTo>
                  <a:lnTo>
                    <a:pt x="1701" y="839"/>
                  </a:lnTo>
                  <a:lnTo>
                    <a:pt x="1710" y="839"/>
                  </a:lnTo>
                  <a:lnTo>
                    <a:pt x="1705" y="822"/>
                  </a:lnTo>
                  <a:lnTo>
                    <a:pt x="1684" y="815"/>
                  </a:lnTo>
                  <a:lnTo>
                    <a:pt x="1566" y="815"/>
                  </a:lnTo>
                  <a:lnTo>
                    <a:pt x="1528" y="810"/>
                  </a:lnTo>
                  <a:lnTo>
                    <a:pt x="1528" y="761"/>
                  </a:lnTo>
                  <a:lnTo>
                    <a:pt x="1521" y="737"/>
                  </a:lnTo>
                  <a:lnTo>
                    <a:pt x="1512" y="737"/>
                  </a:lnTo>
                  <a:lnTo>
                    <a:pt x="1507" y="756"/>
                  </a:lnTo>
                  <a:lnTo>
                    <a:pt x="1490" y="756"/>
                  </a:lnTo>
                  <a:lnTo>
                    <a:pt x="1474" y="737"/>
                  </a:lnTo>
                  <a:lnTo>
                    <a:pt x="1474" y="721"/>
                  </a:lnTo>
                  <a:lnTo>
                    <a:pt x="1469" y="721"/>
                  </a:lnTo>
                  <a:lnTo>
                    <a:pt x="1457" y="721"/>
                  </a:lnTo>
                  <a:lnTo>
                    <a:pt x="1474" y="728"/>
                  </a:lnTo>
                  <a:lnTo>
                    <a:pt x="1457" y="737"/>
                  </a:lnTo>
                  <a:lnTo>
                    <a:pt x="1431" y="704"/>
                  </a:lnTo>
                  <a:lnTo>
                    <a:pt x="1419" y="711"/>
                  </a:lnTo>
                  <a:lnTo>
                    <a:pt x="1431" y="711"/>
                  </a:lnTo>
                  <a:lnTo>
                    <a:pt x="1436" y="721"/>
                  </a:lnTo>
                  <a:lnTo>
                    <a:pt x="1415" y="737"/>
                  </a:lnTo>
                  <a:lnTo>
                    <a:pt x="1403" y="761"/>
                  </a:lnTo>
                  <a:lnTo>
                    <a:pt x="1419" y="765"/>
                  </a:lnTo>
                  <a:lnTo>
                    <a:pt x="1436" y="794"/>
                  </a:lnTo>
                  <a:lnTo>
                    <a:pt x="1453" y="794"/>
                  </a:lnTo>
                  <a:lnTo>
                    <a:pt x="1457" y="798"/>
                  </a:lnTo>
                  <a:lnTo>
                    <a:pt x="1469" y="810"/>
                  </a:lnTo>
                  <a:lnTo>
                    <a:pt x="1469" y="815"/>
                  </a:lnTo>
                  <a:lnTo>
                    <a:pt x="1431" y="815"/>
                  </a:lnTo>
                  <a:lnTo>
                    <a:pt x="1419" y="839"/>
                  </a:lnTo>
                  <a:lnTo>
                    <a:pt x="1403" y="832"/>
                  </a:lnTo>
                  <a:lnTo>
                    <a:pt x="1415" y="839"/>
                  </a:lnTo>
                  <a:lnTo>
                    <a:pt x="1398" y="855"/>
                  </a:lnTo>
                  <a:lnTo>
                    <a:pt x="1403" y="865"/>
                  </a:lnTo>
                  <a:lnTo>
                    <a:pt x="1436" y="876"/>
                  </a:lnTo>
                  <a:lnTo>
                    <a:pt x="1441" y="876"/>
                  </a:lnTo>
                  <a:lnTo>
                    <a:pt x="1453" y="888"/>
                  </a:lnTo>
                  <a:lnTo>
                    <a:pt x="1453" y="909"/>
                  </a:lnTo>
                  <a:lnTo>
                    <a:pt x="1436" y="921"/>
                  </a:lnTo>
                  <a:lnTo>
                    <a:pt x="1436" y="933"/>
                  </a:lnTo>
                  <a:lnTo>
                    <a:pt x="1453" y="943"/>
                  </a:lnTo>
                  <a:lnTo>
                    <a:pt x="1453" y="959"/>
                  </a:lnTo>
                  <a:lnTo>
                    <a:pt x="1469" y="966"/>
                  </a:lnTo>
                  <a:lnTo>
                    <a:pt x="1457" y="983"/>
                  </a:lnTo>
                  <a:lnTo>
                    <a:pt x="1474" y="1049"/>
                  </a:lnTo>
                  <a:lnTo>
                    <a:pt x="1469" y="1061"/>
                  </a:lnTo>
                  <a:lnTo>
                    <a:pt x="1474" y="1087"/>
                  </a:lnTo>
                  <a:lnTo>
                    <a:pt x="1441" y="1094"/>
                  </a:lnTo>
                  <a:lnTo>
                    <a:pt x="1453" y="1054"/>
                  </a:lnTo>
                  <a:lnTo>
                    <a:pt x="1441" y="1054"/>
                  </a:lnTo>
                  <a:lnTo>
                    <a:pt x="1441" y="1061"/>
                  </a:lnTo>
                  <a:lnTo>
                    <a:pt x="1441" y="1037"/>
                  </a:lnTo>
                  <a:lnTo>
                    <a:pt x="1436" y="1094"/>
                  </a:lnTo>
                  <a:lnTo>
                    <a:pt x="1431" y="1094"/>
                  </a:lnTo>
                  <a:lnTo>
                    <a:pt x="1436" y="1061"/>
                  </a:lnTo>
                  <a:lnTo>
                    <a:pt x="1431" y="1087"/>
                  </a:lnTo>
                  <a:lnTo>
                    <a:pt x="1419" y="1087"/>
                  </a:lnTo>
                  <a:lnTo>
                    <a:pt x="1415" y="1070"/>
                  </a:lnTo>
                  <a:lnTo>
                    <a:pt x="1415" y="1094"/>
                  </a:lnTo>
                  <a:lnTo>
                    <a:pt x="1403" y="1061"/>
                  </a:lnTo>
                  <a:lnTo>
                    <a:pt x="1415" y="1049"/>
                  </a:lnTo>
                  <a:lnTo>
                    <a:pt x="1398" y="1037"/>
                  </a:lnTo>
                  <a:lnTo>
                    <a:pt x="1386" y="1020"/>
                  </a:lnTo>
                  <a:lnTo>
                    <a:pt x="1398" y="1037"/>
                  </a:lnTo>
                  <a:lnTo>
                    <a:pt x="1415" y="1054"/>
                  </a:lnTo>
                  <a:lnTo>
                    <a:pt x="1382" y="1077"/>
                  </a:lnTo>
                  <a:lnTo>
                    <a:pt x="1344" y="1094"/>
                  </a:lnTo>
                  <a:lnTo>
                    <a:pt x="1327" y="1103"/>
                  </a:lnTo>
                  <a:lnTo>
                    <a:pt x="1311" y="1115"/>
                  </a:lnTo>
                  <a:lnTo>
                    <a:pt x="1327" y="1148"/>
                  </a:lnTo>
                  <a:lnTo>
                    <a:pt x="1323" y="1148"/>
                  </a:lnTo>
                  <a:lnTo>
                    <a:pt x="1327" y="1160"/>
                  </a:lnTo>
                  <a:lnTo>
                    <a:pt x="1311" y="1172"/>
                  </a:lnTo>
                  <a:lnTo>
                    <a:pt x="1306" y="1181"/>
                  </a:lnTo>
                  <a:lnTo>
                    <a:pt x="1311" y="1172"/>
                  </a:lnTo>
                  <a:lnTo>
                    <a:pt x="1311" y="1181"/>
                  </a:lnTo>
                  <a:lnTo>
                    <a:pt x="1290" y="1198"/>
                  </a:lnTo>
                  <a:lnTo>
                    <a:pt x="1290" y="1214"/>
                  </a:lnTo>
                  <a:lnTo>
                    <a:pt x="1273" y="1205"/>
                  </a:lnTo>
                  <a:lnTo>
                    <a:pt x="1280" y="1214"/>
                  </a:lnTo>
                  <a:lnTo>
                    <a:pt x="1219" y="1238"/>
                  </a:lnTo>
                  <a:lnTo>
                    <a:pt x="1226" y="1221"/>
                  </a:lnTo>
                  <a:lnTo>
                    <a:pt x="1219" y="1214"/>
                  </a:lnTo>
                  <a:lnTo>
                    <a:pt x="1205" y="1226"/>
                  </a:lnTo>
                  <a:lnTo>
                    <a:pt x="1197" y="1243"/>
                  </a:lnTo>
                  <a:lnTo>
                    <a:pt x="1205" y="1238"/>
                  </a:lnTo>
                  <a:lnTo>
                    <a:pt x="1214" y="1226"/>
                  </a:lnTo>
                  <a:lnTo>
                    <a:pt x="1214" y="1238"/>
                  </a:lnTo>
                  <a:lnTo>
                    <a:pt x="1167" y="1276"/>
                  </a:lnTo>
                  <a:lnTo>
                    <a:pt x="1171" y="1276"/>
                  </a:lnTo>
                  <a:lnTo>
                    <a:pt x="1167" y="1283"/>
                  </a:lnTo>
                  <a:lnTo>
                    <a:pt x="1129" y="1332"/>
                  </a:lnTo>
                  <a:lnTo>
                    <a:pt x="1091" y="1354"/>
                  </a:lnTo>
                  <a:lnTo>
                    <a:pt x="1063" y="1387"/>
                  </a:lnTo>
                  <a:lnTo>
                    <a:pt x="1004" y="1427"/>
                  </a:lnTo>
                  <a:lnTo>
                    <a:pt x="999" y="1436"/>
                  </a:lnTo>
                  <a:lnTo>
                    <a:pt x="1004" y="1443"/>
                  </a:lnTo>
                  <a:lnTo>
                    <a:pt x="999" y="1460"/>
                  </a:lnTo>
                  <a:lnTo>
                    <a:pt x="954" y="1481"/>
                  </a:lnTo>
                  <a:lnTo>
                    <a:pt x="928" y="1481"/>
                  </a:lnTo>
                  <a:lnTo>
                    <a:pt x="912" y="1521"/>
                  </a:lnTo>
                  <a:lnTo>
                    <a:pt x="895" y="1514"/>
                  </a:lnTo>
                  <a:lnTo>
                    <a:pt x="895" y="1505"/>
                  </a:lnTo>
                  <a:lnTo>
                    <a:pt x="895" y="1521"/>
                  </a:lnTo>
                  <a:lnTo>
                    <a:pt x="890" y="1514"/>
                  </a:lnTo>
                  <a:lnTo>
                    <a:pt x="857" y="1531"/>
                  </a:lnTo>
                  <a:lnTo>
                    <a:pt x="841" y="1576"/>
                  </a:lnTo>
                  <a:lnTo>
                    <a:pt x="848" y="1609"/>
                  </a:lnTo>
                  <a:lnTo>
                    <a:pt x="841" y="1642"/>
                  </a:lnTo>
                  <a:lnTo>
                    <a:pt x="857" y="1698"/>
                  </a:lnTo>
                  <a:lnTo>
                    <a:pt x="848" y="1670"/>
                  </a:lnTo>
                  <a:lnTo>
                    <a:pt x="841" y="1682"/>
                  </a:lnTo>
                  <a:lnTo>
                    <a:pt x="857" y="1703"/>
                  </a:lnTo>
                  <a:lnTo>
                    <a:pt x="848" y="1769"/>
                  </a:lnTo>
                  <a:lnTo>
                    <a:pt x="827" y="1798"/>
                  </a:lnTo>
                  <a:lnTo>
                    <a:pt x="819" y="1826"/>
                  </a:lnTo>
                  <a:lnTo>
                    <a:pt x="827" y="1864"/>
                  </a:lnTo>
                  <a:lnTo>
                    <a:pt x="827" y="1925"/>
                  </a:lnTo>
                  <a:lnTo>
                    <a:pt x="789" y="1925"/>
                  </a:lnTo>
                  <a:lnTo>
                    <a:pt x="782" y="1942"/>
                  </a:lnTo>
                  <a:lnTo>
                    <a:pt x="756" y="1980"/>
                  </a:lnTo>
                  <a:lnTo>
                    <a:pt x="765" y="1998"/>
                  </a:lnTo>
                  <a:lnTo>
                    <a:pt x="789" y="1998"/>
                  </a:lnTo>
                  <a:lnTo>
                    <a:pt x="793" y="2003"/>
                  </a:lnTo>
                  <a:lnTo>
                    <a:pt x="789" y="1998"/>
                  </a:lnTo>
                  <a:lnTo>
                    <a:pt x="765" y="1998"/>
                  </a:lnTo>
                  <a:lnTo>
                    <a:pt x="727" y="2015"/>
                  </a:lnTo>
                  <a:lnTo>
                    <a:pt x="713" y="2020"/>
                  </a:lnTo>
                  <a:lnTo>
                    <a:pt x="701" y="2057"/>
                  </a:lnTo>
                  <a:lnTo>
                    <a:pt x="664" y="2086"/>
                  </a:lnTo>
                  <a:lnTo>
                    <a:pt x="647" y="2086"/>
                  </a:lnTo>
                  <a:lnTo>
                    <a:pt x="626" y="2057"/>
                  </a:lnTo>
                  <a:lnTo>
                    <a:pt x="593" y="2031"/>
                  </a:lnTo>
                  <a:lnTo>
                    <a:pt x="605" y="2020"/>
                  </a:lnTo>
                  <a:lnTo>
                    <a:pt x="593" y="2020"/>
                  </a:lnTo>
                  <a:lnTo>
                    <a:pt x="576" y="1998"/>
                  </a:lnTo>
                  <a:lnTo>
                    <a:pt x="571" y="1946"/>
                  </a:lnTo>
                  <a:lnTo>
                    <a:pt x="576" y="1958"/>
                  </a:lnTo>
                  <a:lnTo>
                    <a:pt x="576" y="1980"/>
                  </a:lnTo>
                  <a:lnTo>
                    <a:pt x="588" y="1980"/>
                  </a:lnTo>
                  <a:lnTo>
                    <a:pt x="571" y="1937"/>
                  </a:lnTo>
                  <a:lnTo>
                    <a:pt x="571" y="1946"/>
                  </a:lnTo>
                  <a:lnTo>
                    <a:pt x="571" y="1942"/>
                  </a:lnTo>
                  <a:lnTo>
                    <a:pt x="534" y="1835"/>
                  </a:lnTo>
                  <a:lnTo>
                    <a:pt x="501" y="1798"/>
                  </a:lnTo>
                  <a:lnTo>
                    <a:pt x="470" y="1736"/>
                  </a:lnTo>
                  <a:lnTo>
                    <a:pt x="442" y="1616"/>
                  </a:lnTo>
                  <a:lnTo>
                    <a:pt x="442" y="1609"/>
                  </a:lnTo>
                  <a:lnTo>
                    <a:pt x="432" y="1616"/>
                  </a:lnTo>
                  <a:lnTo>
                    <a:pt x="432" y="1604"/>
                  </a:lnTo>
                  <a:lnTo>
                    <a:pt x="425" y="1592"/>
                  </a:lnTo>
                  <a:lnTo>
                    <a:pt x="411" y="1554"/>
                  </a:lnTo>
                  <a:lnTo>
                    <a:pt x="404" y="1547"/>
                  </a:lnTo>
                  <a:lnTo>
                    <a:pt x="411" y="1554"/>
                  </a:lnTo>
                  <a:lnTo>
                    <a:pt x="404" y="1547"/>
                  </a:lnTo>
                  <a:lnTo>
                    <a:pt x="378" y="1498"/>
                  </a:lnTo>
                  <a:lnTo>
                    <a:pt x="361" y="1427"/>
                  </a:lnTo>
                  <a:lnTo>
                    <a:pt x="335" y="1309"/>
                  </a:lnTo>
                  <a:lnTo>
                    <a:pt x="335" y="1299"/>
                  </a:lnTo>
                  <a:lnTo>
                    <a:pt x="340" y="1299"/>
                  </a:lnTo>
                  <a:lnTo>
                    <a:pt x="349" y="1299"/>
                  </a:lnTo>
                  <a:lnTo>
                    <a:pt x="340" y="1292"/>
                  </a:lnTo>
                  <a:lnTo>
                    <a:pt x="349" y="1283"/>
                  </a:lnTo>
                  <a:lnTo>
                    <a:pt x="340" y="1276"/>
                  </a:lnTo>
                  <a:lnTo>
                    <a:pt x="335" y="1292"/>
                  </a:lnTo>
                  <a:lnTo>
                    <a:pt x="335" y="1283"/>
                  </a:lnTo>
                  <a:lnTo>
                    <a:pt x="335" y="1259"/>
                  </a:lnTo>
                  <a:lnTo>
                    <a:pt x="349" y="1271"/>
                  </a:lnTo>
                  <a:lnTo>
                    <a:pt x="323" y="1254"/>
                  </a:lnTo>
                  <a:lnTo>
                    <a:pt x="323" y="1221"/>
                  </a:lnTo>
                  <a:lnTo>
                    <a:pt x="340" y="1148"/>
                  </a:lnTo>
                  <a:lnTo>
                    <a:pt x="335" y="1143"/>
                  </a:lnTo>
                  <a:lnTo>
                    <a:pt x="335" y="1127"/>
                  </a:lnTo>
                  <a:lnTo>
                    <a:pt x="319" y="1127"/>
                  </a:lnTo>
                  <a:lnTo>
                    <a:pt x="323" y="1115"/>
                  </a:lnTo>
                  <a:lnTo>
                    <a:pt x="319" y="1103"/>
                  </a:lnTo>
                  <a:lnTo>
                    <a:pt x="323" y="1103"/>
                  </a:lnTo>
                  <a:lnTo>
                    <a:pt x="319" y="1103"/>
                  </a:lnTo>
                  <a:lnTo>
                    <a:pt x="335" y="1087"/>
                  </a:lnTo>
                  <a:lnTo>
                    <a:pt x="356" y="1077"/>
                  </a:lnTo>
                  <a:lnTo>
                    <a:pt x="307" y="1087"/>
                  </a:lnTo>
                  <a:lnTo>
                    <a:pt x="319" y="1070"/>
                  </a:lnTo>
                  <a:lnTo>
                    <a:pt x="323" y="1061"/>
                  </a:lnTo>
                  <a:lnTo>
                    <a:pt x="319" y="1061"/>
                  </a:lnTo>
                  <a:lnTo>
                    <a:pt x="307" y="1061"/>
                  </a:lnTo>
                  <a:lnTo>
                    <a:pt x="319" y="1049"/>
                  </a:lnTo>
                  <a:lnTo>
                    <a:pt x="323" y="1049"/>
                  </a:lnTo>
                  <a:lnTo>
                    <a:pt x="340" y="1037"/>
                  </a:lnTo>
                  <a:lnTo>
                    <a:pt x="286" y="1037"/>
                  </a:lnTo>
                  <a:lnTo>
                    <a:pt x="302" y="1049"/>
                  </a:lnTo>
                  <a:lnTo>
                    <a:pt x="297" y="1054"/>
                  </a:lnTo>
                  <a:lnTo>
                    <a:pt x="281" y="1061"/>
                  </a:lnTo>
                  <a:lnTo>
                    <a:pt x="286" y="1061"/>
                  </a:lnTo>
                  <a:lnTo>
                    <a:pt x="286" y="1070"/>
                  </a:lnTo>
                  <a:lnTo>
                    <a:pt x="281" y="1070"/>
                  </a:lnTo>
                  <a:lnTo>
                    <a:pt x="281" y="1077"/>
                  </a:lnTo>
                  <a:lnTo>
                    <a:pt x="286" y="1070"/>
                  </a:lnTo>
                  <a:lnTo>
                    <a:pt x="297" y="1087"/>
                  </a:lnTo>
                  <a:lnTo>
                    <a:pt x="286" y="1115"/>
                  </a:lnTo>
                  <a:lnTo>
                    <a:pt x="243" y="1143"/>
                  </a:lnTo>
                  <a:lnTo>
                    <a:pt x="193" y="1160"/>
                  </a:lnTo>
                  <a:lnTo>
                    <a:pt x="139" y="1127"/>
                  </a:lnTo>
                  <a:lnTo>
                    <a:pt x="64" y="1037"/>
                  </a:lnTo>
                  <a:lnTo>
                    <a:pt x="71" y="1020"/>
                  </a:lnTo>
                  <a:lnTo>
                    <a:pt x="80" y="1037"/>
                  </a:lnTo>
                  <a:lnTo>
                    <a:pt x="146" y="1016"/>
                  </a:lnTo>
                  <a:lnTo>
                    <a:pt x="172" y="983"/>
                  </a:lnTo>
                  <a:lnTo>
                    <a:pt x="172" y="976"/>
                  </a:lnTo>
                  <a:lnTo>
                    <a:pt x="163" y="976"/>
                  </a:lnTo>
                  <a:lnTo>
                    <a:pt x="163" y="983"/>
                  </a:lnTo>
                  <a:lnTo>
                    <a:pt x="125" y="987"/>
                  </a:lnTo>
                  <a:lnTo>
                    <a:pt x="118" y="999"/>
                  </a:lnTo>
                  <a:lnTo>
                    <a:pt x="80" y="987"/>
                  </a:lnTo>
                  <a:lnTo>
                    <a:pt x="38" y="966"/>
                  </a:lnTo>
                  <a:lnTo>
                    <a:pt x="26" y="950"/>
                  </a:lnTo>
                  <a:lnTo>
                    <a:pt x="26" y="933"/>
                  </a:lnTo>
                  <a:lnTo>
                    <a:pt x="49" y="921"/>
                  </a:lnTo>
                  <a:lnTo>
                    <a:pt x="26" y="926"/>
                  </a:lnTo>
                  <a:lnTo>
                    <a:pt x="16" y="933"/>
                  </a:lnTo>
                  <a:lnTo>
                    <a:pt x="0" y="933"/>
                  </a:lnTo>
                  <a:lnTo>
                    <a:pt x="12" y="921"/>
                  </a:lnTo>
                  <a:lnTo>
                    <a:pt x="16" y="909"/>
                  </a:lnTo>
                  <a:lnTo>
                    <a:pt x="49" y="909"/>
                  </a:lnTo>
                  <a:lnTo>
                    <a:pt x="49" y="876"/>
                  </a:lnTo>
                  <a:lnTo>
                    <a:pt x="64" y="888"/>
                  </a:lnTo>
                  <a:lnTo>
                    <a:pt x="108" y="888"/>
                  </a:lnTo>
                  <a:lnTo>
                    <a:pt x="118" y="893"/>
                  </a:lnTo>
                  <a:lnTo>
                    <a:pt x="134" y="893"/>
                  </a:lnTo>
                  <a:lnTo>
                    <a:pt x="139" y="876"/>
                  </a:lnTo>
                  <a:lnTo>
                    <a:pt x="172" y="872"/>
                  </a:lnTo>
                  <a:lnTo>
                    <a:pt x="177" y="888"/>
                  </a:lnTo>
                  <a:lnTo>
                    <a:pt x="189" y="888"/>
                  </a:lnTo>
                  <a:lnTo>
                    <a:pt x="210" y="872"/>
                  </a:lnTo>
                  <a:lnTo>
                    <a:pt x="198" y="872"/>
                  </a:lnTo>
                  <a:lnTo>
                    <a:pt x="198" y="855"/>
                  </a:lnTo>
                  <a:lnTo>
                    <a:pt x="210" y="855"/>
                  </a:lnTo>
                  <a:lnTo>
                    <a:pt x="193" y="815"/>
                  </a:lnTo>
                  <a:lnTo>
                    <a:pt x="189" y="798"/>
                  </a:lnTo>
                  <a:lnTo>
                    <a:pt x="177" y="777"/>
                  </a:lnTo>
                  <a:lnTo>
                    <a:pt x="156" y="777"/>
                  </a:lnTo>
                  <a:lnTo>
                    <a:pt x="139" y="756"/>
                  </a:lnTo>
                  <a:lnTo>
                    <a:pt x="146" y="711"/>
                  </a:lnTo>
                  <a:lnTo>
                    <a:pt x="125" y="704"/>
                  </a:lnTo>
                  <a:lnTo>
                    <a:pt x="101" y="699"/>
                  </a:lnTo>
                  <a:lnTo>
                    <a:pt x="108" y="654"/>
                  </a:lnTo>
                  <a:lnTo>
                    <a:pt x="163" y="593"/>
                  </a:lnTo>
                  <a:lnTo>
                    <a:pt x="177" y="593"/>
                  </a:lnTo>
                  <a:lnTo>
                    <a:pt x="189" y="617"/>
                  </a:lnTo>
                  <a:lnTo>
                    <a:pt x="193" y="617"/>
                  </a:lnTo>
                  <a:lnTo>
                    <a:pt x="269" y="600"/>
                  </a:lnTo>
                  <a:lnTo>
                    <a:pt x="269" y="588"/>
                  </a:lnTo>
                  <a:lnTo>
                    <a:pt x="286" y="560"/>
                  </a:lnTo>
                  <a:lnTo>
                    <a:pt x="302" y="539"/>
                  </a:lnTo>
                  <a:lnTo>
                    <a:pt x="340" y="517"/>
                  </a:lnTo>
                  <a:lnTo>
                    <a:pt x="373" y="444"/>
                  </a:lnTo>
                  <a:lnTo>
                    <a:pt x="411" y="428"/>
                  </a:lnTo>
                  <a:lnTo>
                    <a:pt x="411" y="411"/>
                  </a:lnTo>
                  <a:lnTo>
                    <a:pt x="442" y="371"/>
                  </a:lnTo>
                  <a:lnTo>
                    <a:pt x="463" y="354"/>
                  </a:lnTo>
                  <a:lnTo>
                    <a:pt x="458" y="350"/>
                  </a:lnTo>
                  <a:lnTo>
                    <a:pt x="458" y="354"/>
                  </a:lnTo>
                  <a:lnTo>
                    <a:pt x="449" y="350"/>
                  </a:lnTo>
                  <a:lnTo>
                    <a:pt x="458" y="321"/>
                  </a:lnTo>
                  <a:lnTo>
                    <a:pt x="449" y="300"/>
                  </a:lnTo>
                  <a:lnTo>
                    <a:pt x="458" y="295"/>
                  </a:lnTo>
                  <a:lnTo>
                    <a:pt x="479" y="279"/>
                  </a:lnTo>
                  <a:lnTo>
                    <a:pt x="501" y="279"/>
                  </a:lnTo>
                  <a:lnTo>
                    <a:pt x="512" y="262"/>
                  </a:lnTo>
                  <a:lnTo>
                    <a:pt x="512" y="255"/>
                  </a:lnTo>
                  <a:lnTo>
                    <a:pt x="486" y="243"/>
                  </a:lnTo>
                  <a:lnTo>
                    <a:pt x="463" y="243"/>
                  </a:lnTo>
                  <a:lnTo>
                    <a:pt x="463" y="222"/>
                  </a:lnTo>
                  <a:lnTo>
                    <a:pt x="442" y="222"/>
                  </a:lnTo>
                  <a:lnTo>
                    <a:pt x="442" y="201"/>
                  </a:lnTo>
                  <a:lnTo>
                    <a:pt x="416" y="189"/>
                  </a:lnTo>
                  <a:lnTo>
                    <a:pt x="425" y="156"/>
                  </a:lnTo>
                  <a:lnTo>
                    <a:pt x="416" y="144"/>
                  </a:lnTo>
                  <a:lnTo>
                    <a:pt x="432" y="116"/>
                  </a:lnTo>
                  <a:lnTo>
                    <a:pt x="411" y="111"/>
                  </a:lnTo>
                  <a:lnTo>
                    <a:pt x="416" y="99"/>
                  </a:lnTo>
                  <a:lnTo>
                    <a:pt x="404" y="90"/>
                  </a:lnTo>
                  <a:lnTo>
                    <a:pt x="411" y="73"/>
                  </a:lnTo>
                  <a:lnTo>
                    <a:pt x="442" y="57"/>
                  </a:lnTo>
                  <a:lnTo>
                    <a:pt x="534" y="78"/>
                  </a:lnTo>
                  <a:lnTo>
                    <a:pt x="555" y="73"/>
                  </a:lnTo>
                  <a:lnTo>
                    <a:pt x="567" y="73"/>
                  </a:lnTo>
                  <a:lnTo>
                    <a:pt x="588" y="57"/>
                  </a:lnTo>
                  <a:lnTo>
                    <a:pt x="621" y="61"/>
                  </a:lnTo>
                  <a:lnTo>
                    <a:pt x="626" y="33"/>
                  </a:lnTo>
                  <a:lnTo>
                    <a:pt x="685" y="0"/>
                  </a:lnTo>
                  <a:lnTo>
                    <a:pt x="701" y="0"/>
                  </a:lnTo>
                  <a:lnTo>
                    <a:pt x="697" y="17"/>
                  </a:lnTo>
                  <a:lnTo>
                    <a:pt x="718" y="73"/>
                  </a:lnTo>
                  <a:lnTo>
                    <a:pt x="739" y="78"/>
                  </a:lnTo>
                  <a:lnTo>
                    <a:pt x="765" y="95"/>
                  </a:lnTo>
                  <a:lnTo>
                    <a:pt x="765" y="99"/>
                  </a:lnTo>
                  <a:lnTo>
                    <a:pt x="751" y="111"/>
                  </a:lnTo>
                  <a:lnTo>
                    <a:pt x="751" y="156"/>
                  </a:lnTo>
                  <a:lnTo>
                    <a:pt x="765" y="172"/>
                  </a:lnTo>
                  <a:lnTo>
                    <a:pt x="793" y="189"/>
                  </a:lnTo>
                  <a:lnTo>
                    <a:pt x="789" y="206"/>
                  </a:lnTo>
                  <a:lnTo>
                    <a:pt x="803" y="222"/>
                  </a:lnTo>
                  <a:lnTo>
                    <a:pt x="789" y="243"/>
                  </a:lnTo>
                  <a:lnTo>
                    <a:pt x="782" y="243"/>
                  </a:lnTo>
                  <a:lnTo>
                    <a:pt x="765" y="255"/>
                  </a:lnTo>
                  <a:lnTo>
                    <a:pt x="751" y="243"/>
                  </a:lnTo>
                  <a:lnTo>
                    <a:pt x="751" y="227"/>
                  </a:lnTo>
                  <a:lnTo>
                    <a:pt x="727" y="239"/>
                  </a:lnTo>
                  <a:lnTo>
                    <a:pt x="727" y="262"/>
                  </a:lnTo>
                  <a:lnTo>
                    <a:pt x="751" y="284"/>
                  </a:lnTo>
                  <a:lnTo>
                    <a:pt x="739" y="300"/>
                  </a:lnTo>
                  <a:lnTo>
                    <a:pt x="756" y="312"/>
                  </a:lnTo>
                  <a:lnTo>
                    <a:pt x="751" y="317"/>
                  </a:lnTo>
                  <a:lnTo>
                    <a:pt x="751" y="333"/>
                  </a:lnTo>
                  <a:lnTo>
                    <a:pt x="756" y="338"/>
                  </a:lnTo>
                  <a:lnTo>
                    <a:pt x="772" y="321"/>
                  </a:lnTo>
                  <a:lnTo>
                    <a:pt x="803" y="366"/>
                  </a:lnTo>
                  <a:lnTo>
                    <a:pt x="827" y="366"/>
                  </a:lnTo>
                  <a:lnTo>
                    <a:pt x="857" y="378"/>
                  </a:lnTo>
                  <a:lnTo>
                    <a:pt x="848" y="395"/>
                  </a:lnTo>
                  <a:lnTo>
                    <a:pt x="879" y="406"/>
                  </a:lnTo>
                  <a:lnTo>
                    <a:pt x="912" y="428"/>
                  </a:lnTo>
                  <a:lnTo>
                    <a:pt x="864" y="461"/>
                  </a:lnTo>
                  <a:lnTo>
                    <a:pt x="864" y="477"/>
                  </a:lnTo>
                  <a:lnTo>
                    <a:pt x="848" y="482"/>
                  </a:lnTo>
                  <a:lnTo>
                    <a:pt x="857" y="501"/>
                  </a:lnTo>
                  <a:lnTo>
                    <a:pt x="841" y="534"/>
                  </a:lnTo>
                  <a:lnTo>
                    <a:pt x="874" y="555"/>
                  </a:lnTo>
                  <a:lnTo>
                    <a:pt x="874" y="543"/>
                  </a:lnTo>
                  <a:lnTo>
                    <a:pt x="916" y="572"/>
                  </a:lnTo>
                  <a:lnTo>
                    <a:pt x="928" y="588"/>
                  </a:lnTo>
                  <a:lnTo>
                    <a:pt x="966" y="609"/>
                  </a:lnTo>
                  <a:lnTo>
                    <a:pt x="982" y="600"/>
                  </a:lnTo>
                  <a:lnTo>
                    <a:pt x="1004" y="628"/>
                  </a:lnTo>
                  <a:lnTo>
                    <a:pt x="1025" y="617"/>
                  </a:lnTo>
                  <a:lnTo>
                    <a:pt x="1025" y="633"/>
                  </a:lnTo>
                  <a:lnTo>
                    <a:pt x="1058" y="645"/>
                  </a:lnTo>
                  <a:lnTo>
                    <a:pt x="1063" y="650"/>
                  </a:lnTo>
                  <a:lnTo>
                    <a:pt x="1075" y="645"/>
                  </a:lnTo>
                  <a:lnTo>
                    <a:pt x="1105" y="650"/>
                  </a:lnTo>
                  <a:lnTo>
                    <a:pt x="1105" y="645"/>
                  </a:lnTo>
                  <a:lnTo>
                    <a:pt x="1129" y="633"/>
                  </a:lnTo>
                  <a:lnTo>
                    <a:pt x="1134" y="645"/>
                  </a:lnTo>
                  <a:lnTo>
                    <a:pt x="1160" y="650"/>
                  </a:lnTo>
                  <a:lnTo>
                    <a:pt x="1167" y="671"/>
                  </a:lnTo>
                  <a:lnTo>
                    <a:pt x="1214" y="699"/>
                  </a:lnTo>
                  <a:lnTo>
                    <a:pt x="1226" y="683"/>
                  </a:lnTo>
                  <a:lnTo>
                    <a:pt x="1252" y="704"/>
                  </a:lnTo>
                  <a:lnTo>
                    <a:pt x="1256" y="699"/>
                  </a:lnTo>
                  <a:lnTo>
                    <a:pt x="1311" y="721"/>
                  </a:lnTo>
                  <a:lnTo>
                    <a:pt x="1327" y="711"/>
                  </a:lnTo>
                  <a:lnTo>
                    <a:pt x="1344" y="721"/>
                  </a:lnTo>
                  <a:lnTo>
                    <a:pt x="1386" y="711"/>
                  </a:lnTo>
                  <a:lnTo>
                    <a:pt x="1398" y="721"/>
                  </a:lnTo>
                  <a:lnTo>
                    <a:pt x="1415" y="699"/>
                  </a:lnTo>
                  <a:lnTo>
                    <a:pt x="1398" y="666"/>
                  </a:lnTo>
                  <a:lnTo>
                    <a:pt x="1403" y="633"/>
                  </a:lnTo>
                  <a:lnTo>
                    <a:pt x="1415" y="609"/>
                  </a:lnTo>
                  <a:lnTo>
                    <a:pt x="1403" y="609"/>
                  </a:lnTo>
                  <a:lnTo>
                    <a:pt x="1403" y="600"/>
                  </a:lnTo>
                  <a:lnTo>
                    <a:pt x="1431" y="593"/>
                  </a:lnTo>
                  <a:lnTo>
                    <a:pt x="1441" y="588"/>
                  </a:lnTo>
                  <a:lnTo>
                    <a:pt x="1457" y="593"/>
                  </a:lnTo>
                  <a:lnTo>
                    <a:pt x="1457" y="609"/>
                  </a:lnTo>
                  <a:lnTo>
                    <a:pt x="1453" y="633"/>
                  </a:lnTo>
                  <a:lnTo>
                    <a:pt x="1457" y="650"/>
                  </a:lnTo>
                  <a:lnTo>
                    <a:pt x="1453" y="666"/>
                  </a:lnTo>
                  <a:lnTo>
                    <a:pt x="1457" y="671"/>
                  </a:lnTo>
                  <a:lnTo>
                    <a:pt x="1474" y="687"/>
                  </a:lnTo>
                  <a:lnTo>
                    <a:pt x="1490" y="687"/>
                  </a:lnTo>
                  <a:lnTo>
                    <a:pt x="1512" y="699"/>
                  </a:lnTo>
                  <a:lnTo>
                    <a:pt x="1545" y="699"/>
                  </a:lnTo>
                  <a:lnTo>
                    <a:pt x="1566" y="683"/>
                  </a:lnTo>
                  <a:lnTo>
                    <a:pt x="1592" y="687"/>
                  </a:lnTo>
                  <a:lnTo>
                    <a:pt x="1630" y="687"/>
                  </a:lnTo>
                  <a:lnTo>
                    <a:pt x="1634" y="683"/>
                  </a:lnTo>
                  <a:lnTo>
                    <a:pt x="1646" y="687"/>
                  </a:lnTo>
                  <a:lnTo>
                    <a:pt x="1684" y="683"/>
                  </a:lnTo>
                  <a:lnTo>
                    <a:pt x="1672" y="666"/>
                  </a:lnTo>
                  <a:lnTo>
                    <a:pt x="1684" y="650"/>
                  </a:lnTo>
                  <a:lnTo>
                    <a:pt x="1672" y="633"/>
                  </a:lnTo>
                  <a:lnTo>
                    <a:pt x="1651" y="633"/>
                  </a:lnTo>
                  <a:lnTo>
                    <a:pt x="1651" y="628"/>
                  </a:lnTo>
                  <a:lnTo>
                    <a:pt x="1651" y="617"/>
                  </a:lnTo>
                  <a:lnTo>
                    <a:pt x="1672" y="617"/>
                  </a:lnTo>
                  <a:lnTo>
                    <a:pt x="1701" y="609"/>
                  </a:lnTo>
                  <a:lnTo>
                    <a:pt x="1710" y="609"/>
                  </a:lnTo>
                  <a:lnTo>
                    <a:pt x="1727" y="600"/>
                  </a:lnTo>
                  <a:lnTo>
                    <a:pt x="1727" y="588"/>
                  </a:lnTo>
                  <a:lnTo>
                    <a:pt x="1760" y="572"/>
                  </a:lnTo>
                  <a:lnTo>
                    <a:pt x="1776" y="543"/>
                  </a:lnTo>
                  <a:lnTo>
                    <a:pt x="1814" y="543"/>
                  </a:lnTo>
                  <a:lnTo>
                    <a:pt x="1835" y="517"/>
                  </a:lnTo>
                  <a:lnTo>
                    <a:pt x="1861" y="489"/>
                  </a:lnTo>
                  <a:lnTo>
                    <a:pt x="1873" y="506"/>
                  </a:lnTo>
                  <a:lnTo>
                    <a:pt x="1916" y="517"/>
                  </a:lnTo>
                  <a:lnTo>
                    <a:pt x="1927" y="501"/>
                  </a:lnTo>
                  <a:lnTo>
                    <a:pt x="1958" y="482"/>
                  </a:lnTo>
                  <a:lnTo>
                    <a:pt x="1975" y="501"/>
                  </a:lnTo>
                  <a:lnTo>
                    <a:pt x="1982" y="501"/>
                  </a:lnTo>
                  <a:lnTo>
                    <a:pt x="1970" y="517"/>
                  </a:lnTo>
                  <a:lnTo>
                    <a:pt x="1970" y="522"/>
                  </a:lnTo>
                  <a:lnTo>
                    <a:pt x="1991" y="517"/>
                  </a:lnTo>
                  <a:lnTo>
                    <a:pt x="1996" y="539"/>
                  </a:lnTo>
                  <a:lnTo>
                    <a:pt x="1982" y="555"/>
                  </a:lnTo>
                  <a:lnTo>
                    <a:pt x="1982" y="572"/>
                  </a:lnTo>
                  <a:lnTo>
                    <a:pt x="2008" y="560"/>
                  </a:lnTo>
                  <a:lnTo>
                    <a:pt x="2029" y="572"/>
                  </a:lnTo>
                  <a:lnTo>
                    <a:pt x="2034" y="572"/>
                  </a:lnTo>
                  <a:lnTo>
                    <a:pt x="2050" y="576"/>
                  </a:lnTo>
                  <a:lnTo>
                    <a:pt x="2050" y="600"/>
                  </a:lnTo>
                  <a:lnTo>
                    <a:pt x="2024" y="628"/>
                  </a:lnTo>
                  <a:lnTo>
                    <a:pt x="2034" y="666"/>
                  </a:lnTo>
                  <a:lnTo>
                    <a:pt x="2024" y="654"/>
                  </a:lnTo>
                  <a:lnTo>
                    <a:pt x="2008" y="650"/>
                  </a:lnTo>
                  <a:lnTo>
                    <a:pt x="1975" y="650"/>
                  </a:lnTo>
                  <a:lnTo>
                    <a:pt x="1920" y="699"/>
                  </a:lnTo>
                  <a:lnTo>
                    <a:pt x="1899" y="704"/>
                  </a:lnTo>
                  <a:lnTo>
                    <a:pt x="1890" y="728"/>
                  </a:lnTo>
                  <a:lnTo>
                    <a:pt x="1899" y="744"/>
                  </a:lnTo>
                  <a:lnTo>
                    <a:pt x="1882" y="782"/>
                  </a:lnTo>
                  <a:lnTo>
                    <a:pt x="1861" y="798"/>
                  </a:lnTo>
                  <a:lnTo>
                    <a:pt x="1861" y="810"/>
                  </a:lnTo>
                  <a:lnTo>
                    <a:pt x="1868" y="815"/>
                  </a:lnTo>
                  <a:lnTo>
                    <a:pt x="1868" y="822"/>
                  </a:lnTo>
                  <a:lnTo>
                    <a:pt x="1830" y="921"/>
                  </a:lnTo>
                  <a:lnTo>
                    <a:pt x="1797" y="905"/>
                  </a:lnTo>
                  <a:lnTo>
                    <a:pt x="1781" y="909"/>
                  </a:lnTo>
                  <a:lnTo>
                    <a:pt x="1776" y="893"/>
                  </a:lnTo>
                  <a:lnTo>
                    <a:pt x="1776" y="926"/>
                  </a:lnTo>
                  <a:lnTo>
                    <a:pt x="1776" y="966"/>
                  </a:lnTo>
                  <a:lnTo>
                    <a:pt x="1764" y="983"/>
                  </a:lnTo>
                  <a:lnTo>
                    <a:pt x="1760" y="976"/>
                  </a:lnTo>
                  <a:lnTo>
                    <a:pt x="1755" y="1004"/>
                  </a:lnTo>
                  <a:lnTo>
                    <a:pt x="1760" y="1037"/>
                  </a:lnTo>
                  <a:lnTo>
                    <a:pt x="1755" y="1037"/>
                  </a:lnTo>
                  <a:lnTo>
                    <a:pt x="1743" y="1054"/>
                  </a:lnTo>
                  <a:lnTo>
                    <a:pt x="1727" y="1049"/>
                  </a:lnTo>
                  <a:lnTo>
                    <a:pt x="1722" y="1061"/>
                  </a:lnTo>
                  <a:lnTo>
                    <a:pt x="1710" y="1004"/>
                  </a:lnTo>
                  <a:lnTo>
                    <a:pt x="1705" y="983"/>
                  </a:lnTo>
                  <a:lnTo>
                    <a:pt x="1705" y="959"/>
                  </a:lnTo>
                  <a:lnTo>
                    <a:pt x="1701" y="926"/>
                  </a:lnTo>
                  <a:lnTo>
                    <a:pt x="1701" y="926"/>
                  </a:lnTo>
                  <a:lnTo>
                    <a:pt x="1701" y="926"/>
                  </a:lnTo>
                  <a:close/>
                  <a:moveTo>
                    <a:pt x="1441" y="1070"/>
                  </a:moveTo>
                  <a:lnTo>
                    <a:pt x="1436" y="1070"/>
                  </a:lnTo>
                  <a:lnTo>
                    <a:pt x="1441" y="1061"/>
                  </a:lnTo>
                  <a:lnTo>
                    <a:pt x="1441" y="1070"/>
                  </a:lnTo>
                  <a:lnTo>
                    <a:pt x="1441" y="1070"/>
                  </a:lnTo>
                  <a:lnTo>
                    <a:pt x="1441" y="1070"/>
                  </a:lnTo>
                  <a:close/>
                  <a:moveTo>
                    <a:pt x="1403" y="1070"/>
                  </a:moveTo>
                  <a:lnTo>
                    <a:pt x="1403" y="1087"/>
                  </a:lnTo>
                  <a:lnTo>
                    <a:pt x="1403" y="1070"/>
                  </a:lnTo>
                  <a:lnTo>
                    <a:pt x="1403" y="1070"/>
                  </a:lnTo>
                  <a:lnTo>
                    <a:pt x="1403" y="1070"/>
                  </a:lnTo>
                  <a:close/>
                  <a:moveTo>
                    <a:pt x="1738" y="1736"/>
                  </a:moveTo>
                  <a:lnTo>
                    <a:pt x="1738" y="1703"/>
                  </a:lnTo>
                  <a:lnTo>
                    <a:pt x="1743" y="1687"/>
                  </a:lnTo>
                  <a:lnTo>
                    <a:pt x="1755" y="1687"/>
                  </a:lnTo>
                  <a:lnTo>
                    <a:pt x="1755" y="1720"/>
                  </a:lnTo>
                  <a:lnTo>
                    <a:pt x="1743" y="1720"/>
                  </a:lnTo>
                  <a:lnTo>
                    <a:pt x="1738" y="1736"/>
                  </a:lnTo>
                  <a:lnTo>
                    <a:pt x="1738" y="1736"/>
                  </a:lnTo>
                  <a:lnTo>
                    <a:pt x="1738" y="1736"/>
                  </a:lnTo>
                  <a:close/>
                  <a:moveTo>
                    <a:pt x="1738" y="1776"/>
                  </a:moveTo>
                  <a:lnTo>
                    <a:pt x="1727" y="1776"/>
                  </a:lnTo>
                  <a:lnTo>
                    <a:pt x="1727" y="1743"/>
                  </a:lnTo>
                  <a:lnTo>
                    <a:pt x="1743" y="1736"/>
                  </a:lnTo>
                  <a:lnTo>
                    <a:pt x="1743" y="1760"/>
                  </a:lnTo>
                  <a:lnTo>
                    <a:pt x="1743" y="1769"/>
                  </a:lnTo>
                  <a:lnTo>
                    <a:pt x="1738" y="1769"/>
                  </a:lnTo>
                  <a:lnTo>
                    <a:pt x="1738" y="1776"/>
                  </a:lnTo>
                  <a:lnTo>
                    <a:pt x="1738" y="1776"/>
                  </a:lnTo>
                  <a:lnTo>
                    <a:pt x="1738" y="1776"/>
                  </a:lnTo>
                  <a:close/>
                  <a:moveTo>
                    <a:pt x="1727" y="1793"/>
                  </a:moveTo>
                  <a:lnTo>
                    <a:pt x="1727" y="1776"/>
                  </a:lnTo>
                  <a:lnTo>
                    <a:pt x="1743" y="1776"/>
                  </a:lnTo>
                  <a:lnTo>
                    <a:pt x="1727" y="1793"/>
                  </a:lnTo>
                  <a:lnTo>
                    <a:pt x="1727" y="1793"/>
                  </a:lnTo>
                  <a:lnTo>
                    <a:pt x="1727" y="1793"/>
                  </a:lnTo>
                  <a:close/>
                  <a:moveTo>
                    <a:pt x="1727" y="1793"/>
                  </a:moveTo>
                  <a:lnTo>
                    <a:pt x="1727" y="1835"/>
                  </a:lnTo>
                  <a:lnTo>
                    <a:pt x="1710" y="1809"/>
                  </a:lnTo>
                  <a:lnTo>
                    <a:pt x="1727" y="1781"/>
                  </a:lnTo>
                  <a:lnTo>
                    <a:pt x="1727" y="1793"/>
                  </a:lnTo>
                  <a:lnTo>
                    <a:pt x="1727" y="1793"/>
                  </a:lnTo>
                  <a:lnTo>
                    <a:pt x="1727" y="1793"/>
                  </a:lnTo>
                  <a:close/>
                  <a:moveTo>
                    <a:pt x="1755" y="1798"/>
                  </a:moveTo>
                  <a:lnTo>
                    <a:pt x="1755" y="1809"/>
                  </a:lnTo>
                  <a:lnTo>
                    <a:pt x="1743" y="1798"/>
                  </a:lnTo>
                  <a:lnTo>
                    <a:pt x="1755" y="1798"/>
                  </a:lnTo>
                  <a:lnTo>
                    <a:pt x="1755" y="1798"/>
                  </a:lnTo>
                  <a:lnTo>
                    <a:pt x="1755" y="1798"/>
                  </a:lnTo>
                  <a:close/>
                  <a:moveTo>
                    <a:pt x="1701" y="1831"/>
                  </a:moveTo>
                  <a:lnTo>
                    <a:pt x="1689" y="1831"/>
                  </a:lnTo>
                  <a:lnTo>
                    <a:pt x="1701" y="1831"/>
                  </a:lnTo>
                  <a:lnTo>
                    <a:pt x="1701" y="1831"/>
                  </a:lnTo>
                  <a:lnTo>
                    <a:pt x="1701" y="1831"/>
                  </a:lnTo>
                  <a:close/>
                  <a:moveTo>
                    <a:pt x="1722" y="1847"/>
                  </a:moveTo>
                  <a:lnTo>
                    <a:pt x="1722" y="1831"/>
                  </a:lnTo>
                  <a:lnTo>
                    <a:pt x="1727" y="1847"/>
                  </a:lnTo>
                  <a:lnTo>
                    <a:pt x="1722" y="1847"/>
                  </a:lnTo>
                  <a:lnTo>
                    <a:pt x="1722" y="1847"/>
                  </a:lnTo>
                  <a:lnTo>
                    <a:pt x="1722" y="1847"/>
                  </a:lnTo>
                  <a:close/>
                  <a:moveTo>
                    <a:pt x="1710" y="1887"/>
                  </a:moveTo>
                  <a:lnTo>
                    <a:pt x="1710" y="1909"/>
                  </a:lnTo>
                  <a:lnTo>
                    <a:pt x="1705" y="1904"/>
                  </a:lnTo>
                  <a:lnTo>
                    <a:pt x="1705" y="1887"/>
                  </a:lnTo>
                  <a:lnTo>
                    <a:pt x="1710" y="1880"/>
                  </a:lnTo>
                  <a:lnTo>
                    <a:pt x="1710" y="1887"/>
                  </a:lnTo>
                  <a:lnTo>
                    <a:pt x="1710" y="1887"/>
                  </a:lnTo>
                  <a:lnTo>
                    <a:pt x="1710" y="1887"/>
                  </a:lnTo>
                  <a:close/>
                  <a:moveTo>
                    <a:pt x="1738" y="1998"/>
                  </a:moveTo>
                  <a:lnTo>
                    <a:pt x="1738" y="2003"/>
                  </a:lnTo>
                  <a:lnTo>
                    <a:pt x="1727" y="2003"/>
                  </a:lnTo>
                  <a:lnTo>
                    <a:pt x="1738" y="1998"/>
                  </a:lnTo>
                  <a:lnTo>
                    <a:pt x="1738" y="1998"/>
                  </a:lnTo>
                  <a:lnTo>
                    <a:pt x="1738" y="1998"/>
                  </a:lnTo>
                  <a:close/>
                  <a:moveTo>
                    <a:pt x="1755" y="2069"/>
                  </a:moveTo>
                  <a:lnTo>
                    <a:pt x="1760" y="2074"/>
                  </a:lnTo>
                  <a:lnTo>
                    <a:pt x="1755" y="2069"/>
                  </a:lnTo>
                  <a:lnTo>
                    <a:pt x="1755" y="2069"/>
                  </a:lnTo>
                  <a:lnTo>
                    <a:pt x="1755" y="2069"/>
                  </a:lnTo>
                  <a:close/>
                  <a:moveTo>
                    <a:pt x="1781" y="2074"/>
                  </a:moveTo>
                  <a:lnTo>
                    <a:pt x="1781" y="2091"/>
                  </a:lnTo>
                  <a:lnTo>
                    <a:pt x="1776" y="2074"/>
                  </a:lnTo>
                  <a:lnTo>
                    <a:pt x="1781" y="2074"/>
                  </a:lnTo>
                  <a:lnTo>
                    <a:pt x="1781" y="2074"/>
                  </a:lnTo>
                  <a:lnTo>
                    <a:pt x="1781" y="2074"/>
                  </a:lnTo>
                  <a:close/>
                  <a:moveTo>
                    <a:pt x="1776" y="2091"/>
                  </a:moveTo>
                  <a:lnTo>
                    <a:pt x="1781" y="2102"/>
                  </a:lnTo>
                  <a:lnTo>
                    <a:pt x="1764" y="2091"/>
                  </a:lnTo>
                  <a:lnTo>
                    <a:pt x="1776" y="2091"/>
                  </a:lnTo>
                  <a:lnTo>
                    <a:pt x="1776" y="2091"/>
                  </a:lnTo>
                  <a:lnTo>
                    <a:pt x="1776" y="2091"/>
                  </a:lnTo>
                  <a:close/>
                  <a:moveTo>
                    <a:pt x="1793" y="2091"/>
                  </a:moveTo>
                  <a:lnTo>
                    <a:pt x="1781" y="2091"/>
                  </a:lnTo>
                  <a:lnTo>
                    <a:pt x="1793" y="2091"/>
                  </a:lnTo>
                  <a:lnTo>
                    <a:pt x="1793" y="2091"/>
                  </a:lnTo>
                  <a:lnTo>
                    <a:pt x="1793" y="2091"/>
                  </a:lnTo>
                  <a:close/>
                  <a:moveTo>
                    <a:pt x="1797" y="2131"/>
                  </a:moveTo>
                  <a:lnTo>
                    <a:pt x="1797" y="2143"/>
                  </a:lnTo>
                  <a:lnTo>
                    <a:pt x="1793" y="2147"/>
                  </a:lnTo>
                  <a:lnTo>
                    <a:pt x="1797" y="2131"/>
                  </a:lnTo>
                  <a:lnTo>
                    <a:pt x="1797" y="2131"/>
                  </a:lnTo>
                  <a:lnTo>
                    <a:pt x="1797" y="2131"/>
                  </a:lnTo>
                  <a:close/>
                  <a:moveTo>
                    <a:pt x="1807" y="2147"/>
                  </a:moveTo>
                  <a:lnTo>
                    <a:pt x="1814" y="2164"/>
                  </a:lnTo>
                  <a:lnTo>
                    <a:pt x="1807" y="2180"/>
                  </a:lnTo>
                  <a:lnTo>
                    <a:pt x="1793" y="2159"/>
                  </a:lnTo>
                  <a:lnTo>
                    <a:pt x="1807" y="2147"/>
                  </a:lnTo>
                  <a:lnTo>
                    <a:pt x="1807" y="2147"/>
                  </a:lnTo>
                  <a:lnTo>
                    <a:pt x="1807" y="214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1" name="Freeform 470">
              <a:extLst>
                <a:ext uri="{FF2B5EF4-FFF2-40B4-BE49-F238E27FC236}">
                  <a16:creationId xmlns:a16="http://schemas.microsoft.com/office/drawing/2014/main" id="{69D4E3D2-B2BE-4954-879D-6B0F73614D31}"/>
                </a:ext>
              </a:extLst>
            </p:cNvPr>
            <p:cNvSpPr>
              <a:spLocks/>
            </p:cNvSpPr>
            <p:nvPr/>
          </p:nvSpPr>
          <p:spPr bwMode="gray">
            <a:xfrm>
              <a:off x="15405196" y="4282964"/>
              <a:ext cx="2946" cy="5564"/>
            </a:xfrm>
            <a:custGeom>
              <a:avLst/>
              <a:gdLst>
                <a:gd name="T0" fmla="*/ 9 w 9"/>
                <a:gd name="T1" fmla="*/ 17 h 17"/>
                <a:gd name="T2" fmla="*/ 0 w 9"/>
                <a:gd name="T3" fmla="*/ 12 h 17"/>
                <a:gd name="T4" fmla="*/ 9 w 9"/>
                <a:gd name="T5" fmla="*/ 17 h 17"/>
                <a:gd name="T6" fmla="*/ 9 w 9"/>
                <a:gd name="T7" fmla="*/ 0 h 17"/>
                <a:gd name="T8" fmla="*/ 9 w 9"/>
                <a:gd name="T9" fmla="*/ 12 h 17"/>
                <a:gd name="T10" fmla="*/ 9 w 9"/>
                <a:gd name="T11" fmla="*/ 17 h 17"/>
                <a:gd name="T12" fmla="*/ 9 w 9"/>
                <a:gd name="T13" fmla="*/ 17 h 17"/>
                <a:gd name="T14" fmla="*/ 9 w 9"/>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7">
                  <a:moveTo>
                    <a:pt x="9" y="17"/>
                  </a:moveTo>
                  <a:lnTo>
                    <a:pt x="0" y="12"/>
                  </a:lnTo>
                  <a:lnTo>
                    <a:pt x="9" y="17"/>
                  </a:lnTo>
                  <a:lnTo>
                    <a:pt x="9" y="0"/>
                  </a:lnTo>
                  <a:lnTo>
                    <a:pt x="9" y="12"/>
                  </a:lnTo>
                  <a:lnTo>
                    <a:pt x="9" y="17"/>
                  </a:lnTo>
                  <a:lnTo>
                    <a:pt x="9" y="17"/>
                  </a:lnTo>
                  <a:lnTo>
                    <a:pt x="9" y="1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2" name="Freeform 471">
              <a:extLst>
                <a:ext uri="{FF2B5EF4-FFF2-40B4-BE49-F238E27FC236}">
                  <a16:creationId xmlns:a16="http://schemas.microsoft.com/office/drawing/2014/main" id="{EFCE762D-E7D7-46DC-A523-73275454C639}"/>
                </a:ext>
              </a:extLst>
            </p:cNvPr>
            <p:cNvSpPr>
              <a:spLocks noEditPoints="1"/>
            </p:cNvSpPr>
            <p:nvPr/>
          </p:nvSpPr>
          <p:spPr bwMode="gray">
            <a:xfrm>
              <a:off x="14753221" y="3125643"/>
              <a:ext cx="445451" cy="384901"/>
            </a:xfrm>
            <a:custGeom>
              <a:avLst/>
              <a:gdLst>
                <a:gd name="T0" fmla="*/ 1252 w 1361"/>
                <a:gd name="T1" fmla="*/ 711 h 1176"/>
                <a:gd name="T2" fmla="*/ 1238 w 1361"/>
                <a:gd name="T3" fmla="*/ 893 h 1176"/>
                <a:gd name="T4" fmla="*/ 1323 w 1361"/>
                <a:gd name="T5" fmla="*/ 933 h 1176"/>
                <a:gd name="T6" fmla="*/ 1361 w 1361"/>
                <a:gd name="T7" fmla="*/ 1021 h 1176"/>
                <a:gd name="T8" fmla="*/ 1297 w 1361"/>
                <a:gd name="T9" fmla="*/ 1061 h 1176"/>
                <a:gd name="T10" fmla="*/ 1252 w 1361"/>
                <a:gd name="T11" fmla="*/ 1094 h 1176"/>
                <a:gd name="T12" fmla="*/ 1222 w 1361"/>
                <a:gd name="T13" fmla="*/ 1176 h 1176"/>
                <a:gd name="T14" fmla="*/ 1163 w 1361"/>
                <a:gd name="T15" fmla="*/ 1165 h 1176"/>
                <a:gd name="T16" fmla="*/ 1059 w 1361"/>
                <a:gd name="T17" fmla="*/ 1155 h 1176"/>
                <a:gd name="T18" fmla="*/ 983 w 1361"/>
                <a:gd name="T19" fmla="*/ 1132 h 1176"/>
                <a:gd name="T20" fmla="*/ 898 w 1361"/>
                <a:gd name="T21" fmla="*/ 1021 h 1176"/>
                <a:gd name="T22" fmla="*/ 823 w 1361"/>
                <a:gd name="T23" fmla="*/ 1028 h 1176"/>
                <a:gd name="T24" fmla="*/ 730 w 1361"/>
                <a:gd name="T25" fmla="*/ 1054 h 1176"/>
                <a:gd name="T26" fmla="*/ 605 w 1361"/>
                <a:gd name="T27" fmla="*/ 999 h 1176"/>
                <a:gd name="T28" fmla="*/ 525 w 1361"/>
                <a:gd name="T29" fmla="*/ 954 h 1176"/>
                <a:gd name="T30" fmla="*/ 482 w 1361"/>
                <a:gd name="T31" fmla="*/ 876 h 1176"/>
                <a:gd name="T32" fmla="*/ 466 w 1361"/>
                <a:gd name="T33" fmla="*/ 839 h 1176"/>
                <a:gd name="T34" fmla="*/ 390 w 1361"/>
                <a:gd name="T35" fmla="*/ 782 h 1176"/>
                <a:gd name="T36" fmla="*/ 374 w 1361"/>
                <a:gd name="T37" fmla="*/ 761 h 1176"/>
                <a:gd name="T38" fmla="*/ 319 w 1361"/>
                <a:gd name="T39" fmla="*/ 798 h 1176"/>
                <a:gd name="T40" fmla="*/ 286 w 1361"/>
                <a:gd name="T41" fmla="*/ 721 h 1176"/>
                <a:gd name="T42" fmla="*/ 244 w 1361"/>
                <a:gd name="T43" fmla="*/ 610 h 1176"/>
                <a:gd name="T44" fmla="*/ 147 w 1361"/>
                <a:gd name="T45" fmla="*/ 560 h 1176"/>
                <a:gd name="T46" fmla="*/ 142 w 1361"/>
                <a:gd name="T47" fmla="*/ 510 h 1176"/>
                <a:gd name="T48" fmla="*/ 104 w 1361"/>
                <a:gd name="T49" fmla="*/ 473 h 1176"/>
                <a:gd name="T50" fmla="*/ 109 w 1361"/>
                <a:gd name="T51" fmla="*/ 428 h 1176"/>
                <a:gd name="T52" fmla="*/ 142 w 1361"/>
                <a:gd name="T53" fmla="*/ 390 h 1176"/>
                <a:gd name="T54" fmla="*/ 142 w 1361"/>
                <a:gd name="T55" fmla="*/ 338 h 1176"/>
                <a:gd name="T56" fmla="*/ 119 w 1361"/>
                <a:gd name="T57" fmla="*/ 317 h 1176"/>
                <a:gd name="T58" fmla="*/ 71 w 1361"/>
                <a:gd name="T59" fmla="*/ 267 h 1176"/>
                <a:gd name="T60" fmla="*/ 55 w 1361"/>
                <a:gd name="T61" fmla="*/ 222 h 1176"/>
                <a:gd name="T62" fmla="*/ 17 w 1361"/>
                <a:gd name="T63" fmla="*/ 156 h 1176"/>
                <a:gd name="T64" fmla="*/ 17 w 1361"/>
                <a:gd name="T65" fmla="*/ 66 h 1176"/>
                <a:gd name="T66" fmla="*/ 34 w 1361"/>
                <a:gd name="T67" fmla="*/ 7 h 1176"/>
                <a:gd name="T68" fmla="*/ 93 w 1361"/>
                <a:gd name="T69" fmla="*/ 45 h 1176"/>
                <a:gd name="T70" fmla="*/ 201 w 1361"/>
                <a:gd name="T71" fmla="*/ 45 h 1176"/>
                <a:gd name="T72" fmla="*/ 303 w 1361"/>
                <a:gd name="T73" fmla="*/ 62 h 1176"/>
                <a:gd name="T74" fmla="*/ 308 w 1361"/>
                <a:gd name="T75" fmla="*/ 95 h 1176"/>
                <a:gd name="T76" fmla="*/ 357 w 1361"/>
                <a:gd name="T77" fmla="*/ 173 h 1176"/>
                <a:gd name="T78" fmla="*/ 504 w 1361"/>
                <a:gd name="T79" fmla="*/ 250 h 1176"/>
                <a:gd name="T80" fmla="*/ 697 w 1361"/>
                <a:gd name="T81" fmla="*/ 246 h 1176"/>
                <a:gd name="T82" fmla="*/ 719 w 1361"/>
                <a:gd name="T83" fmla="*/ 206 h 1176"/>
                <a:gd name="T84" fmla="*/ 806 w 1361"/>
                <a:gd name="T85" fmla="*/ 139 h 1176"/>
                <a:gd name="T86" fmla="*/ 874 w 1361"/>
                <a:gd name="T87" fmla="*/ 123 h 1176"/>
                <a:gd name="T88" fmla="*/ 945 w 1361"/>
                <a:gd name="T89" fmla="*/ 151 h 1176"/>
                <a:gd name="T90" fmla="*/ 1075 w 1361"/>
                <a:gd name="T91" fmla="*/ 189 h 1176"/>
                <a:gd name="T92" fmla="*/ 1205 w 1361"/>
                <a:gd name="T93" fmla="*/ 262 h 1176"/>
                <a:gd name="T94" fmla="*/ 1189 w 1361"/>
                <a:gd name="T95" fmla="*/ 428 h 1176"/>
                <a:gd name="T96" fmla="*/ 1163 w 1361"/>
                <a:gd name="T97" fmla="*/ 465 h 1176"/>
                <a:gd name="T98" fmla="*/ 1184 w 1361"/>
                <a:gd name="T99" fmla="*/ 617 h 1176"/>
                <a:gd name="T100" fmla="*/ 865 w 1361"/>
                <a:gd name="T101" fmla="*/ 1037 h 1176"/>
                <a:gd name="T102" fmla="*/ 827 w 1361"/>
                <a:gd name="T103" fmla="*/ 1044 h 1176"/>
                <a:gd name="T104" fmla="*/ 865 w 1361"/>
                <a:gd name="T105" fmla="*/ 1037 h 1176"/>
                <a:gd name="T106" fmla="*/ 823 w 1361"/>
                <a:gd name="T107" fmla="*/ 1044 h 1176"/>
                <a:gd name="T108" fmla="*/ 697 w 1361"/>
                <a:gd name="T109" fmla="*/ 1065 h 1176"/>
                <a:gd name="T110" fmla="*/ 702 w 1361"/>
                <a:gd name="T111" fmla="*/ 1065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61" h="1176">
                  <a:moveTo>
                    <a:pt x="1184" y="638"/>
                  </a:moveTo>
                  <a:lnTo>
                    <a:pt x="1184" y="678"/>
                  </a:lnTo>
                  <a:lnTo>
                    <a:pt x="1243" y="687"/>
                  </a:lnTo>
                  <a:lnTo>
                    <a:pt x="1252" y="711"/>
                  </a:lnTo>
                  <a:lnTo>
                    <a:pt x="1243" y="732"/>
                  </a:lnTo>
                  <a:lnTo>
                    <a:pt x="1184" y="806"/>
                  </a:lnTo>
                  <a:lnTo>
                    <a:pt x="1215" y="843"/>
                  </a:lnTo>
                  <a:lnTo>
                    <a:pt x="1238" y="893"/>
                  </a:lnTo>
                  <a:lnTo>
                    <a:pt x="1260" y="910"/>
                  </a:lnTo>
                  <a:lnTo>
                    <a:pt x="1290" y="917"/>
                  </a:lnTo>
                  <a:lnTo>
                    <a:pt x="1307" y="933"/>
                  </a:lnTo>
                  <a:lnTo>
                    <a:pt x="1323" y="933"/>
                  </a:lnTo>
                  <a:lnTo>
                    <a:pt x="1323" y="999"/>
                  </a:lnTo>
                  <a:lnTo>
                    <a:pt x="1323" y="1011"/>
                  </a:lnTo>
                  <a:lnTo>
                    <a:pt x="1349" y="1004"/>
                  </a:lnTo>
                  <a:lnTo>
                    <a:pt x="1361" y="1021"/>
                  </a:lnTo>
                  <a:lnTo>
                    <a:pt x="1349" y="1021"/>
                  </a:lnTo>
                  <a:lnTo>
                    <a:pt x="1345" y="1061"/>
                  </a:lnTo>
                  <a:lnTo>
                    <a:pt x="1323" y="1061"/>
                  </a:lnTo>
                  <a:lnTo>
                    <a:pt x="1297" y="1061"/>
                  </a:lnTo>
                  <a:lnTo>
                    <a:pt x="1281" y="1065"/>
                  </a:lnTo>
                  <a:lnTo>
                    <a:pt x="1281" y="1077"/>
                  </a:lnTo>
                  <a:lnTo>
                    <a:pt x="1276" y="1077"/>
                  </a:lnTo>
                  <a:lnTo>
                    <a:pt x="1252" y="1094"/>
                  </a:lnTo>
                  <a:lnTo>
                    <a:pt x="1252" y="1120"/>
                  </a:lnTo>
                  <a:lnTo>
                    <a:pt x="1243" y="1120"/>
                  </a:lnTo>
                  <a:lnTo>
                    <a:pt x="1238" y="1172"/>
                  </a:lnTo>
                  <a:lnTo>
                    <a:pt x="1222" y="1176"/>
                  </a:lnTo>
                  <a:lnTo>
                    <a:pt x="1167" y="1165"/>
                  </a:lnTo>
                  <a:lnTo>
                    <a:pt x="1163" y="1148"/>
                  </a:lnTo>
                  <a:lnTo>
                    <a:pt x="1151" y="1155"/>
                  </a:lnTo>
                  <a:lnTo>
                    <a:pt x="1163" y="1165"/>
                  </a:lnTo>
                  <a:lnTo>
                    <a:pt x="1146" y="1155"/>
                  </a:lnTo>
                  <a:lnTo>
                    <a:pt x="1097" y="1155"/>
                  </a:lnTo>
                  <a:lnTo>
                    <a:pt x="1092" y="1148"/>
                  </a:lnTo>
                  <a:lnTo>
                    <a:pt x="1059" y="1155"/>
                  </a:lnTo>
                  <a:lnTo>
                    <a:pt x="1042" y="1139"/>
                  </a:lnTo>
                  <a:lnTo>
                    <a:pt x="1011" y="1139"/>
                  </a:lnTo>
                  <a:lnTo>
                    <a:pt x="1000" y="1139"/>
                  </a:lnTo>
                  <a:lnTo>
                    <a:pt x="983" y="1132"/>
                  </a:lnTo>
                  <a:lnTo>
                    <a:pt x="936" y="1120"/>
                  </a:lnTo>
                  <a:lnTo>
                    <a:pt x="929" y="1098"/>
                  </a:lnTo>
                  <a:lnTo>
                    <a:pt x="912" y="1044"/>
                  </a:lnTo>
                  <a:lnTo>
                    <a:pt x="898" y="1021"/>
                  </a:lnTo>
                  <a:lnTo>
                    <a:pt x="891" y="1021"/>
                  </a:lnTo>
                  <a:lnTo>
                    <a:pt x="849" y="1021"/>
                  </a:lnTo>
                  <a:lnTo>
                    <a:pt x="844" y="1028"/>
                  </a:lnTo>
                  <a:lnTo>
                    <a:pt x="823" y="1028"/>
                  </a:lnTo>
                  <a:lnTo>
                    <a:pt x="811" y="1044"/>
                  </a:lnTo>
                  <a:lnTo>
                    <a:pt x="789" y="1044"/>
                  </a:lnTo>
                  <a:lnTo>
                    <a:pt x="756" y="1065"/>
                  </a:lnTo>
                  <a:lnTo>
                    <a:pt x="730" y="1054"/>
                  </a:lnTo>
                  <a:lnTo>
                    <a:pt x="686" y="1054"/>
                  </a:lnTo>
                  <a:lnTo>
                    <a:pt x="660" y="1028"/>
                  </a:lnTo>
                  <a:lnTo>
                    <a:pt x="605" y="1004"/>
                  </a:lnTo>
                  <a:lnTo>
                    <a:pt x="605" y="999"/>
                  </a:lnTo>
                  <a:lnTo>
                    <a:pt x="596" y="983"/>
                  </a:lnTo>
                  <a:lnTo>
                    <a:pt x="567" y="966"/>
                  </a:lnTo>
                  <a:lnTo>
                    <a:pt x="534" y="966"/>
                  </a:lnTo>
                  <a:lnTo>
                    <a:pt x="525" y="954"/>
                  </a:lnTo>
                  <a:lnTo>
                    <a:pt x="497" y="910"/>
                  </a:lnTo>
                  <a:lnTo>
                    <a:pt x="497" y="893"/>
                  </a:lnTo>
                  <a:lnTo>
                    <a:pt x="482" y="876"/>
                  </a:lnTo>
                  <a:lnTo>
                    <a:pt x="482" y="876"/>
                  </a:lnTo>
                  <a:lnTo>
                    <a:pt x="487" y="876"/>
                  </a:lnTo>
                  <a:lnTo>
                    <a:pt x="487" y="872"/>
                  </a:lnTo>
                  <a:lnTo>
                    <a:pt x="466" y="860"/>
                  </a:lnTo>
                  <a:lnTo>
                    <a:pt x="466" y="839"/>
                  </a:lnTo>
                  <a:lnTo>
                    <a:pt x="433" y="798"/>
                  </a:lnTo>
                  <a:lnTo>
                    <a:pt x="428" y="777"/>
                  </a:lnTo>
                  <a:lnTo>
                    <a:pt x="390" y="789"/>
                  </a:lnTo>
                  <a:lnTo>
                    <a:pt x="390" y="782"/>
                  </a:lnTo>
                  <a:lnTo>
                    <a:pt x="357" y="777"/>
                  </a:lnTo>
                  <a:lnTo>
                    <a:pt x="352" y="765"/>
                  </a:lnTo>
                  <a:lnTo>
                    <a:pt x="362" y="765"/>
                  </a:lnTo>
                  <a:lnTo>
                    <a:pt x="374" y="761"/>
                  </a:lnTo>
                  <a:lnTo>
                    <a:pt x="352" y="749"/>
                  </a:lnTo>
                  <a:lnTo>
                    <a:pt x="341" y="765"/>
                  </a:lnTo>
                  <a:lnTo>
                    <a:pt x="352" y="789"/>
                  </a:lnTo>
                  <a:lnTo>
                    <a:pt x="319" y="798"/>
                  </a:lnTo>
                  <a:lnTo>
                    <a:pt x="308" y="798"/>
                  </a:lnTo>
                  <a:lnTo>
                    <a:pt x="308" y="777"/>
                  </a:lnTo>
                  <a:lnTo>
                    <a:pt x="286" y="761"/>
                  </a:lnTo>
                  <a:lnTo>
                    <a:pt x="286" y="721"/>
                  </a:lnTo>
                  <a:lnTo>
                    <a:pt x="265" y="721"/>
                  </a:lnTo>
                  <a:lnTo>
                    <a:pt x="265" y="678"/>
                  </a:lnTo>
                  <a:lnTo>
                    <a:pt x="270" y="654"/>
                  </a:lnTo>
                  <a:lnTo>
                    <a:pt x="244" y="610"/>
                  </a:lnTo>
                  <a:lnTo>
                    <a:pt x="244" y="600"/>
                  </a:lnTo>
                  <a:lnTo>
                    <a:pt x="227" y="600"/>
                  </a:lnTo>
                  <a:lnTo>
                    <a:pt x="173" y="560"/>
                  </a:lnTo>
                  <a:lnTo>
                    <a:pt x="147" y="560"/>
                  </a:lnTo>
                  <a:lnTo>
                    <a:pt x="156" y="539"/>
                  </a:lnTo>
                  <a:lnTo>
                    <a:pt x="142" y="510"/>
                  </a:lnTo>
                  <a:lnTo>
                    <a:pt x="135" y="510"/>
                  </a:lnTo>
                  <a:lnTo>
                    <a:pt x="142" y="510"/>
                  </a:lnTo>
                  <a:lnTo>
                    <a:pt x="135" y="506"/>
                  </a:lnTo>
                  <a:lnTo>
                    <a:pt x="126" y="506"/>
                  </a:lnTo>
                  <a:lnTo>
                    <a:pt x="109" y="482"/>
                  </a:lnTo>
                  <a:lnTo>
                    <a:pt x="104" y="473"/>
                  </a:lnTo>
                  <a:lnTo>
                    <a:pt x="109" y="465"/>
                  </a:lnTo>
                  <a:lnTo>
                    <a:pt x="109" y="449"/>
                  </a:lnTo>
                  <a:lnTo>
                    <a:pt x="104" y="432"/>
                  </a:lnTo>
                  <a:lnTo>
                    <a:pt x="109" y="428"/>
                  </a:lnTo>
                  <a:lnTo>
                    <a:pt x="126" y="432"/>
                  </a:lnTo>
                  <a:lnTo>
                    <a:pt x="119" y="416"/>
                  </a:lnTo>
                  <a:lnTo>
                    <a:pt x="135" y="399"/>
                  </a:lnTo>
                  <a:lnTo>
                    <a:pt x="142" y="390"/>
                  </a:lnTo>
                  <a:lnTo>
                    <a:pt x="156" y="390"/>
                  </a:lnTo>
                  <a:lnTo>
                    <a:pt x="156" y="378"/>
                  </a:lnTo>
                  <a:lnTo>
                    <a:pt x="142" y="354"/>
                  </a:lnTo>
                  <a:lnTo>
                    <a:pt x="142" y="338"/>
                  </a:lnTo>
                  <a:lnTo>
                    <a:pt x="163" y="333"/>
                  </a:lnTo>
                  <a:lnTo>
                    <a:pt x="147" y="321"/>
                  </a:lnTo>
                  <a:lnTo>
                    <a:pt x="126" y="333"/>
                  </a:lnTo>
                  <a:lnTo>
                    <a:pt x="119" y="317"/>
                  </a:lnTo>
                  <a:lnTo>
                    <a:pt x="104" y="317"/>
                  </a:lnTo>
                  <a:lnTo>
                    <a:pt x="93" y="284"/>
                  </a:lnTo>
                  <a:lnTo>
                    <a:pt x="81" y="279"/>
                  </a:lnTo>
                  <a:lnTo>
                    <a:pt x="71" y="267"/>
                  </a:lnTo>
                  <a:lnTo>
                    <a:pt x="81" y="250"/>
                  </a:lnTo>
                  <a:lnTo>
                    <a:pt x="67" y="246"/>
                  </a:lnTo>
                  <a:lnTo>
                    <a:pt x="67" y="227"/>
                  </a:lnTo>
                  <a:lnTo>
                    <a:pt x="55" y="222"/>
                  </a:lnTo>
                  <a:lnTo>
                    <a:pt x="55" y="206"/>
                  </a:lnTo>
                  <a:lnTo>
                    <a:pt x="38" y="194"/>
                  </a:lnTo>
                  <a:lnTo>
                    <a:pt x="50" y="173"/>
                  </a:lnTo>
                  <a:lnTo>
                    <a:pt x="17" y="156"/>
                  </a:lnTo>
                  <a:lnTo>
                    <a:pt x="34" y="118"/>
                  </a:lnTo>
                  <a:lnTo>
                    <a:pt x="29" y="118"/>
                  </a:lnTo>
                  <a:lnTo>
                    <a:pt x="29" y="78"/>
                  </a:lnTo>
                  <a:lnTo>
                    <a:pt x="17" y="66"/>
                  </a:lnTo>
                  <a:lnTo>
                    <a:pt x="17" y="57"/>
                  </a:lnTo>
                  <a:lnTo>
                    <a:pt x="0" y="28"/>
                  </a:lnTo>
                  <a:lnTo>
                    <a:pt x="34" y="28"/>
                  </a:lnTo>
                  <a:lnTo>
                    <a:pt x="34" y="7"/>
                  </a:lnTo>
                  <a:lnTo>
                    <a:pt x="50" y="0"/>
                  </a:lnTo>
                  <a:lnTo>
                    <a:pt x="55" y="7"/>
                  </a:lnTo>
                  <a:lnTo>
                    <a:pt x="81" y="45"/>
                  </a:lnTo>
                  <a:lnTo>
                    <a:pt x="93" y="45"/>
                  </a:lnTo>
                  <a:lnTo>
                    <a:pt x="104" y="62"/>
                  </a:lnTo>
                  <a:lnTo>
                    <a:pt x="156" y="78"/>
                  </a:lnTo>
                  <a:lnTo>
                    <a:pt x="180" y="66"/>
                  </a:lnTo>
                  <a:lnTo>
                    <a:pt x="201" y="45"/>
                  </a:lnTo>
                  <a:lnTo>
                    <a:pt x="282" y="0"/>
                  </a:lnTo>
                  <a:lnTo>
                    <a:pt x="308" y="28"/>
                  </a:lnTo>
                  <a:lnTo>
                    <a:pt x="286" y="40"/>
                  </a:lnTo>
                  <a:lnTo>
                    <a:pt x="303" y="62"/>
                  </a:lnTo>
                  <a:lnTo>
                    <a:pt x="286" y="66"/>
                  </a:lnTo>
                  <a:lnTo>
                    <a:pt x="286" y="78"/>
                  </a:lnTo>
                  <a:lnTo>
                    <a:pt x="303" y="95"/>
                  </a:lnTo>
                  <a:lnTo>
                    <a:pt x="308" y="95"/>
                  </a:lnTo>
                  <a:lnTo>
                    <a:pt x="324" y="118"/>
                  </a:lnTo>
                  <a:lnTo>
                    <a:pt x="341" y="111"/>
                  </a:lnTo>
                  <a:lnTo>
                    <a:pt x="352" y="156"/>
                  </a:lnTo>
                  <a:lnTo>
                    <a:pt x="357" y="173"/>
                  </a:lnTo>
                  <a:lnTo>
                    <a:pt x="378" y="189"/>
                  </a:lnTo>
                  <a:lnTo>
                    <a:pt x="433" y="194"/>
                  </a:lnTo>
                  <a:lnTo>
                    <a:pt x="449" y="222"/>
                  </a:lnTo>
                  <a:lnTo>
                    <a:pt x="504" y="250"/>
                  </a:lnTo>
                  <a:lnTo>
                    <a:pt x="558" y="267"/>
                  </a:lnTo>
                  <a:lnTo>
                    <a:pt x="702" y="234"/>
                  </a:lnTo>
                  <a:lnTo>
                    <a:pt x="676" y="246"/>
                  </a:lnTo>
                  <a:lnTo>
                    <a:pt x="697" y="246"/>
                  </a:lnTo>
                  <a:lnTo>
                    <a:pt x="702" y="246"/>
                  </a:lnTo>
                  <a:lnTo>
                    <a:pt x="702" y="234"/>
                  </a:lnTo>
                  <a:lnTo>
                    <a:pt x="697" y="206"/>
                  </a:lnTo>
                  <a:lnTo>
                    <a:pt x="719" y="206"/>
                  </a:lnTo>
                  <a:lnTo>
                    <a:pt x="752" y="194"/>
                  </a:lnTo>
                  <a:lnTo>
                    <a:pt x="756" y="189"/>
                  </a:lnTo>
                  <a:lnTo>
                    <a:pt x="768" y="168"/>
                  </a:lnTo>
                  <a:lnTo>
                    <a:pt x="806" y="139"/>
                  </a:lnTo>
                  <a:lnTo>
                    <a:pt x="860" y="139"/>
                  </a:lnTo>
                  <a:lnTo>
                    <a:pt x="865" y="139"/>
                  </a:lnTo>
                  <a:lnTo>
                    <a:pt x="865" y="135"/>
                  </a:lnTo>
                  <a:lnTo>
                    <a:pt x="874" y="123"/>
                  </a:lnTo>
                  <a:lnTo>
                    <a:pt x="898" y="123"/>
                  </a:lnTo>
                  <a:lnTo>
                    <a:pt x="919" y="135"/>
                  </a:lnTo>
                  <a:lnTo>
                    <a:pt x="929" y="123"/>
                  </a:lnTo>
                  <a:lnTo>
                    <a:pt x="945" y="151"/>
                  </a:lnTo>
                  <a:lnTo>
                    <a:pt x="1000" y="168"/>
                  </a:lnTo>
                  <a:lnTo>
                    <a:pt x="1004" y="173"/>
                  </a:lnTo>
                  <a:lnTo>
                    <a:pt x="1054" y="173"/>
                  </a:lnTo>
                  <a:lnTo>
                    <a:pt x="1075" y="189"/>
                  </a:lnTo>
                  <a:lnTo>
                    <a:pt x="1092" y="210"/>
                  </a:lnTo>
                  <a:lnTo>
                    <a:pt x="1130" y="227"/>
                  </a:lnTo>
                  <a:lnTo>
                    <a:pt x="1146" y="262"/>
                  </a:lnTo>
                  <a:lnTo>
                    <a:pt x="1205" y="262"/>
                  </a:lnTo>
                  <a:lnTo>
                    <a:pt x="1215" y="345"/>
                  </a:lnTo>
                  <a:lnTo>
                    <a:pt x="1200" y="373"/>
                  </a:lnTo>
                  <a:lnTo>
                    <a:pt x="1200" y="411"/>
                  </a:lnTo>
                  <a:lnTo>
                    <a:pt x="1189" y="428"/>
                  </a:lnTo>
                  <a:lnTo>
                    <a:pt x="1172" y="432"/>
                  </a:lnTo>
                  <a:lnTo>
                    <a:pt x="1184" y="449"/>
                  </a:lnTo>
                  <a:lnTo>
                    <a:pt x="1167" y="449"/>
                  </a:lnTo>
                  <a:lnTo>
                    <a:pt x="1163" y="465"/>
                  </a:lnTo>
                  <a:lnTo>
                    <a:pt x="1163" y="506"/>
                  </a:lnTo>
                  <a:lnTo>
                    <a:pt x="1189" y="510"/>
                  </a:lnTo>
                  <a:lnTo>
                    <a:pt x="1167" y="543"/>
                  </a:lnTo>
                  <a:lnTo>
                    <a:pt x="1184" y="617"/>
                  </a:lnTo>
                  <a:lnTo>
                    <a:pt x="1184" y="638"/>
                  </a:lnTo>
                  <a:lnTo>
                    <a:pt x="1184" y="638"/>
                  </a:lnTo>
                  <a:lnTo>
                    <a:pt x="1184" y="638"/>
                  </a:lnTo>
                  <a:close/>
                  <a:moveTo>
                    <a:pt x="865" y="1037"/>
                  </a:moveTo>
                  <a:lnTo>
                    <a:pt x="844" y="1054"/>
                  </a:lnTo>
                  <a:lnTo>
                    <a:pt x="794" y="1061"/>
                  </a:lnTo>
                  <a:lnTo>
                    <a:pt x="794" y="1054"/>
                  </a:lnTo>
                  <a:lnTo>
                    <a:pt x="827" y="1044"/>
                  </a:lnTo>
                  <a:lnTo>
                    <a:pt x="827" y="1037"/>
                  </a:lnTo>
                  <a:lnTo>
                    <a:pt x="865" y="1037"/>
                  </a:lnTo>
                  <a:lnTo>
                    <a:pt x="865" y="1037"/>
                  </a:lnTo>
                  <a:lnTo>
                    <a:pt x="865" y="1037"/>
                  </a:lnTo>
                  <a:close/>
                  <a:moveTo>
                    <a:pt x="823" y="1044"/>
                  </a:moveTo>
                  <a:lnTo>
                    <a:pt x="823" y="1044"/>
                  </a:lnTo>
                  <a:lnTo>
                    <a:pt x="823" y="1037"/>
                  </a:lnTo>
                  <a:lnTo>
                    <a:pt x="823" y="1044"/>
                  </a:lnTo>
                  <a:lnTo>
                    <a:pt x="823" y="1044"/>
                  </a:lnTo>
                  <a:lnTo>
                    <a:pt x="823" y="1044"/>
                  </a:lnTo>
                  <a:close/>
                  <a:moveTo>
                    <a:pt x="702" y="1065"/>
                  </a:moveTo>
                  <a:lnTo>
                    <a:pt x="697" y="1065"/>
                  </a:lnTo>
                  <a:lnTo>
                    <a:pt x="702" y="1061"/>
                  </a:lnTo>
                  <a:lnTo>
                    <a:pt x="702" y="1065"/>
                  </a:lnTo>
                  <a:lnTo>
                    <a:pt x="702" y="1065"/>
                  </a:lnTo>
                  <a:lnTo>
                    <a:pt x="702" y="1065"/>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3" name="Freeform 472">
              <a:extLst>
                <a:ext uri="{FF2B5EF4-FFF2-40B4-BE49-F238E27FC236}">
                  <a16:creationId xmlns:a16="http://schemas.microsoft.com/office/drawing/2014/main" id="{F820C7DF-B139-4A43-9987-9B08DB2DB8E0}"/>
                </a:ext>
              </a:extLst>
            </p:cNvPr>
            <p:cNvSpPr>
              <a:spLocks/>
            </p:cNvSpPr>
            <p:nvPr/>
          </p:nvSpPr>
          <p:spPr bwMode="gray">
            <a:xfrm>
              <a:off x="14532950" y="3301074"/>
              <a:ext cx="29457" cy="98189"/>
            </a:xfrm>
            <a:custGeom>
              <a:avLst/>
              <a:gdLst>
                <a:gd name="T0" fmla="*/ 52 w 90"/>
                <a:gd name="T1" fmla="*/ 7 h 300"/>
                <a:gd name="T2" fmla="*/ 73 w 90"/>
                <a:gd name="T3" fmla="*/ 17 h 300"/>
                <a:gd name="T4" fmla="*/ 90 w 90"/>
                <a:gd name="T5" fmla="*/ 0 h 300"/>
                <a:gd name="T6" fmla="*/ 90 w 90"/>
                <a:gd name="T7" fmla="*/ 0 h 300"/>
                <a:gd name="T8" fmla="*/ 90 w 90"/>
                <a:gd name="T9" fmla="*/ 45 h 300"/>
                <a:gd name="T10" fmla="*/ 81 w 90"/>
                <a:gd name="T11" fmla="*/ 45 h 300"/>
                <a:gd name="T12" fmla="*/ 81 w 90"/>
                <a:gd name="T13" fmla="*/ 74 h 300"/>
                <a:gd name="T14" fmla="*/ 59 w 90"/>
                <a:gd name="T15" fmla="*/ 57 h 300"/>
                <a:gd name="T16" fmla="*/ 52 w 90"/>
                <a:gd name="T17" fmla="*/ 62 h 300"/>
                <a:gd name="T18" fmla="*/ 43 w 90"/>
                <a:gd name="T19" fmla="*/ 111 h 300"/>
                <a:gd name="T20" fmla="*/ 59 w 90"/>
                <a:gd name="T21" fmla="*/ 118 h 300"/>
                <a:gd name="T22" fmla="*/ 43 w 90"/>
                <a:gd name="T23" fmla="*/ 128 h 300"/>
                <a:gd name="T24" fmla="*/ 38 w 90"/>
                <a:gd name="T25" fmla="*/ 151 h 300"/>
                <a:gd name="T26" fmla="*/ 52 w 90"/>
                <a:gd name="T27" fmla="*/ 151 h 300"/>
                <a:gd name="T28" fmla="*/ 81 w 90"/>
                <a:gd name="T29" fmla="*/ 140 h 300"/>
                <a:gd name="T30" fmla="*/ 73 w 90"/>
                <a:gd name="T31" fmla="*/ 156 h 300"/>
                <a:gd name="T32" fmla="*/ 73 w 90"/>
                <a:gd name="T33" fmla="*/ 168 h 300"/>
                <a:gd name="T34" fmla="*/ 59 w 90"/>
                <a:gd name="T35" fmla="*/ 222 h 300"/>
                <a:gd name="T36" fmla="*/ 59 w 90"/>
                <a:gd name="T37" fmla="*/ 246 h 300"/>
                <a:gd name="T38" fmla="*/ 43 w 90"/>
                <a:gd name="T39" fmla="*/ 296 h 300"/>
                <a:gd name="T40" fmla="*/ 38 w 90"/>
                <a:gd name="T41" fmla="*/ 300 h 300"/>
                <a:gd name="T42" fmla="*/ 0 w 90"/>
                <a:gd name="T43" fmla="*/ 156 h 300"/>
                <a:gd name="T44" fmla="*/ 10 w 90"/>
                <a:gd name="T45" fmla="*/ 135 h 300"/>
                <a:gd name="T46" fmla="*/ 10 w 90"/>
                <a:gd name="T47" fmla="*/ 135 h 300"/>
                <a:gd name="T48" fmla="*/ 26 w 90"/>
                <a:gd name="T49" fmla="*/ 102 h 300"/>
                <a:gd name="T50" fmla="*/ 43 w 90"/>
                <a:gd name="T51" fmla="*/ 29 h 300"/>
                <a:gd name="T52" fmla="*/ 52 w 90"/>
                <a:gd name="T53" fmla="*/ 29 h 300"/>
                <a:gd name="T54" fmla="*/ 52 w 90"/>
                <a:gd name="T55" fmla="*/ 7 h 300"/>
                <a:gd name="T56" fmla="*/ 52 w 90"/>
                <a:gd name="T57" fmla="*/ 7 h 300"/>
                <a:gd name="T58" fmla="*/ 52 w 90"/>
                <a:gd name="T59" fmla="*/ 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 h="300">
                  <a:moveTo>
                    <a:pt x="52" y="7"/>
                  </a:moveTo>
                  <a:lnTo>
                    <a:pt x="73" y="17"/>
                  </a:lnTo>
                  <a:lnTo>
                    <a:pt x="90" y="0"/>
                  </a:lnTo>
                  <a:lnTo>
                    <a:pt x="90" y="0"/>
                  </a:lnTo>
                  <a:lnTo>
                    <a:pt x="90" y="45"/>
                  </a:lnTo>
                  <a:lnTo>
                    <a:pt x="81" y="45"/>
                  </a:lnTo>
                  <a:lnTo>
                    <a:pt x="81" y="74"/>
                  </a:lnTo>
                  <a:lnTo>
                    <a:pt x="59" y="57"/>
                  </a:lnTo>
                  <a:lnTo>
                    <a:pt x="52" y="62"/>
                  </a:lnTo>
                  <a:lnTo>
                    <a:pt x="43" y="111"/>
                  </a:lnTo>
                  <a:lnTo>
                    <a:pt x="59" y="118"/>
                  </a:lnTo>
                  <a:lnTo>
                    <a:pt x="43" y="128"/>
                  </a:lnTo>
                  <a:lnTo>
                    <a:pt x="38" y="151"/>
                  </a:lnTo>
                  <a:lnTo>
                    <a:pt x="52" y="151"/>
                  </a:lnTo>
                  <a:lnTo>
                    <a:pt x="81" y="140"/>
                  </a:lnTo>
                  <a:lnTo>
                    <a:pt x="73" y="156"/>
                  </a:lnTo>
                  <a:lnTo>
                    <a:pt x="73" y="168"/>
                  </a:lnTo>
                  <a:lnTo>
                    <a:pt x="59" y="222"/>
                  </a:lnTo>
                  <a:lnTo>
                    <a:pt x="59" y="246"/>
                  </a:lnTo>
                  <a:lnTo>
                    <a:pt x="43" y="296"/>
                  </a:lnTo>
                  <a:lnTo>
                    <a:pt x="38" y="300"/>
                  </a:lnTo>
                  <a:lnTo>
                    <a:pt x="0" y="156"/>
                  </a:lnTo>
                  <a:lnTo>
                    <a:pt x="10" y="135"/>
                  </a:lnTo>
                  <a:lnTo>
                    <a:pt x="10" y="135"/>
                  </a:lnTo>
                  <a:lnTo>
                    <a:pt x="26" y="102"/>
                  </a:lnTo>
                  <a:lnTo>
                    <a:pt x="43" y="29"/>
                  </a:lnTo>
                  <a:lnTo>
                    <a:pt x="52" y="29"/>
                  </a:lnTo>
                  <a:lnTo>
                    <a:pt x="52" y="7"/>
                  </a:lnTo>
                  <a:lnTo>
                    <a:pt x="52" y="7"/>
                  </a:lnTo>
                  <a:lnTo>
                    <a:pt x="52" y="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4" name="Freeform 474">
              <a:extLst>
                <a:ext uri="{FF2B5EF4-FFF2-40B4-BE49-F238E27FC236}">
                  <a16:creationId xmlns:a16="http://schemas.microsoft.com/office/drawing/2014/main" id="{547BCA59-8AD8-48FB-A278-0BED07910476}"/>
                </a:ext>
              </a:extLst>
            </p:cNvPr>
            <p:cNvSpPr>
              <a:spLocks noEditPoints="1"/>
            </p:cNvSpPr>
            <p:nvPr/>
          </p:nvSpPr>
          <p:spPr bwMode="gray">
            <a:xfrm>
              <a:off x="13547133" y="3860096"/>
              <a:ext cx="139428" cy="150884"/>
            </a:xfrm>
            <a:custGeom>
              <a:avLst/>
              <a:gdLst>
                <a:gd name="T0" fmla="*/ 69 w 426"/>
                <a:gd name="T1" fmla="*/ 421 h 461"/>
                <a:gd name="T2" fmla="*/ 81 w 426"/>
                <a:gd name="T3" fmla="*/ 383 h 461"/>
                <a:gd name="T4" fmla="*/ 86 w 426"/>
                <a:gd name="T5" fmla="*/ 350 h 461"/>
                <a:gd name="T6" fmla="*/ 48 w 426"/>
                <a:gd name="T7" fmla="*/ 326 h 461"/>
                <a:gd name="T8" fmla="*/ 0 w 426"/>
                <a:gd name="T9" fmla="*/ 305 h 461"/>
                <a:gd name="T10" fmla="*/ 26 w 426"/>
                <a:gd name="T11" fmla="*/ 255 h 461"/>
                <a:gd name="T12" fmla="*/ 15 w 426"/>
                <a:gd name="T13" fmla="*/ 222 h 461"/>
                <a:gd name="T14" fmla="*/ 38 w 426"/>
                <a:gd name="T15" fmla="*/ 194 h 461"/>
                <a:gd name="T16" fmla="*/ 38 w 426"/>
                <a:gd name="T17" fmla="*/ 184 h 461"/>
                <a:gd name="T18" fmla="*/ 26 w 426"/>
                <a:gd name="T19" fmla="*/ 161 h 461"/>
                <a:gd name="T20" fmla="*/ 64 w 426"/>
                <a:gd name="T21" fmla="*/ 168 h 461"/>
                <a:gd name="T22" fmla="*/ 64 w 426"/>
                <a:gd name="T23" fmla="*/ 156 h 461"/>
                <a:gd name="T24" fmla="*/ 48 w 426"/>
                <a:gd name="T25" fmla="*/ 123 h 461"/>
                <a:gd name="T26" fmla="*/ 48 w 426"/>
                <a:gd name="T27" fmla="*/ 111 h 461"/>
                <a:gd name="T28" fmla="*/ 38 w 426"/>
                <a:gd name="T29" fmla="*/ 99 h 461"/>
                <a:gd name="T30" fmla="*/ 31 w 426"/>
                <a:gd name="T31" fmla="*/ 57 h 461"/>
                <a:gd name="T32" fmla="*/ 52 w 426"/>
                <a:gd name="T33" fmla="*/ 45 h 461"/>
                <a:gd name="T34" fmla="*/ 107 w 426"/>
                <a:gd name="T35" fmla="*/ 45 h 461"/>
                <a:gd name="T36" fmla="*/ 140 w 426"/>
                <a:gd name="T37" fmla="*/ 28 h 461"/>
                <a:gd name="T38" fmla="*/ 156 w 426"/>
                <a:gd name="T39" fmla="*/ 12 h 461"/>
                <a:gd name="T40" fmla="*/ 161 w 426"/>
                <a:gd name="T41" fmla="*/ 0 h 461"/>
                <a:gd name="T42" fmla="*/ 173 w 426"/>
                <a:gd name="T43" fmla="*/ 45 h 461"/>
                <a:gd name="T44" fmla="*/ 194 w 426"/>
                <a:gd name="T45" fmla="*/ 28 h 461"/>
                <a:gd name="T46" fmla="*/ 225 w 426"/>
                <a:gd name="T47" fmla="*/ 33 h 461"/>
                <a:gd name="T48" fmla="*/ 253 w 426"/>
                <a:gd name="T49" fmla="*/ 57 h 461"/>
                <a:gd name="T50" fmla="*/ 300 w 426"/>
                <a:gd name="T51" fmla="*/ 83 h 461"/>
                <a:gd name="T52" fmla="*/ 350 w 426"/>
                <a:gd name="T53" fmla="*/ 57 h 461"/>
                <a:gd name="T54" fmla="*/ 409 w 426"/>
                <a:gd name="T55" fmla="*/ 99 h 461"/>
                <a:gd name="T56" fmla="*/ 409 w 426"/>
                <a:gd name="T57" fmla="*/ 123 h 461"/>
                <a:gd name="T58" fmla="*/ 426 w 426"/>
                <a:gd name="T59" fmla="*/ 184 h 461"/>
                <a:gd name="T60" fmla="*/ 393 w 426"/>
                <a:gd name="T61" fmla="*/ 267 h 461"/>
                <a:gd name="T62" fmla="*/ 371 w 426"/>
                <a:gd name="T63" fmla="*/ 293 h 461"/>
                <a:gd name="T64" fmla="*/ 409 w 426"/>
                <a:gd name="T65" fmla="*/ 378 h 461"/>
                <a:gd name="T66" fmla="*/ 393 w 426"/>
                <a:gd name="T67" fmla="*/ 404 h 461"/>
                <a:gd name="T68" fmla="*/ 393 w 426"/>
                <a:gd name="T69" fmla="*/ 404 h 461"/>
                <a:gd name="T70" fmla="*/ 376 w 426"/>
                <a:gd name="T71" fmla="*/ 388 h 461"/>
                <a:gd name="T72" fmla="*/ 371 w 426"/>
                <a:gd name="T73" fmla="*/ 404 h 461"/>
                <a:gd name="T74" fmla="*/ 338 w 426"/>
                <a:gd name="T75" fmla="*/ 399 h 461"/>
                <a:gd name="T76" fmla="*/ 338 w 426"/>
                <a:gd name="T77" fmla="*/ 399 h 461"/>
                <a:gd name="T78" fmla="*/ 263 w 426"/>
                <a:gd name="T79" fmla="*/ 404 h 461"/>
                <a:gd name="T80" fmla="*/ 232 w 426"/>
                <a:gd name="T81" fmla="*/ 399 h 461"/>
                <a:gd name="T82" fmla="*/ 232 w 426"/>
                <a:gd name="T83" fmla="*/ 404 h 461"/>
                <a:gd name="T84" fmla="*/ 253 w 426"/>
                <a:gd name="T85" fmla="*/ 404 h 461"/>
                <a:gd name="T86" fmla="*/ 81 w 426"/>
                <a:gd name="T87" fmla="*/ 461 h 461"/>
                <a:gd name="T88" fmla="*/ 81 w 426"/>
                <a:gd name="T89" fmla="*/ 461 h 461"/>
                <a:gd name="T90" fmla="*/ 305 w 426"/>
                <a:gd name="T91" fmla="*/ 399 h 461"/>
                <a:gd name="T92" fmla="*/ 263 w 426"/>
                <a:gd name="T93" fmla="*/ 404 h 461"/>
                <a:gd name="T94" fmla="*/ 263 w 426"/>
                <a:gd name="T95" fmla="*/ 404 h 461"/>
                <a:gd name="T96" fmla="*/ 388 w 426"/>
                <a:gd name="T97" fmla="*/ 404 h 461"/>
                <a:gd name="T98" fmla="*/ 388 w 426"/>
                <a:gd name="T99" fmla="*/ 404 h 461"/>
                <a:gd name="T100" fmla="*/ 388 w 426"/>
                <a:gd name="T101" fmla="*/ 404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6" h="461">
                  <a:moveTo>
                    <a:pt x="81" y="461"/>
                  </a:moveTo>
                  <a:lnTo>
                    <a:pt x="69" y="421"/>
                  </a:lnTo>
                  <a:lnTo>
                    <a:pt x="86" y="388"/>
                  </a:lnTo>
                  <a:lnTo>
                    <a:pt x="81" y="383"/>
                  </a:lnTo>
                  <a:lnTo>
                    <a:pt x="86" y="378"/>
                  </a:lnTo>
                  <a:lnTo>
                    <a:pt x="86" y="350"/>
                  </a:lnTo>
                  <a:lnTo>
                    <a:pt x="52" y="350"/>
                  </a:lnTo>
                  <a:lnTo>
                    <a:pt x="48" y="326"/>
                  </a:lnTo>
                  <a:lnTo>
                    <a:pt x="31" y="326"/>
                  </a:lnTo>
                  <a:lnTo>
                    <a:pt x="0" y="305"/>
                  </a:lnTo>
                  <a:lnTo>
                    <a:pt x="15" y="276"/>
                  </a:lnTo>
                  <a:lnTo>
                    <a:pt x="26" y="255"/>
                  </a:lnTo>
                  <a:lnTo>
                    <a:pt x="10" y="234"/>
                  </a:lnTo>
                  <a:lnTo>
                    <a:pt x="15" y="222"/>
                  </a:lnTo>
                  <a:lnTo>
                    <a:pt x="26" y="234"/>
                  </a:lnTo>
                  <a:lnTo>
                    <a:pt x="38" y="194"/>
                  </a:lnTo>
                  <a:lnTo>
                    <a:pt x="48" y="201"/>
                  </a:lnTo>
                  <a:lnTo>
                    <a:pt x="38" y="184"/>
                  </a:lnTo>
                  <a:lnTo>
                    <a:pt x="26" y="184"/>
                  </a:lnTo>
                  <a:lnTo>
                    <a:pt x="26" y="161"/>
                  </a:lnTo>
                  <a:lnTo>
                    <a:pt x="52" y="161"/>
                  </a:lnTo>
                  <a:lnTo>
                    <a:pt x="64" y="168"/>
                  </a:lnTo>
                  <a:lnTo>
                    <a:pt x="64" y="168"/>
                  </a:lnTo>
                  <a:lnTo>
                    <a:pt x="64" y="156"/>
                  </a:lnTo>
                  <a:lnTo>
                    <a:pt x="48" y="139"/>
                  </a:lnTo>
                  <a:lnTo>
                    <a:pt x="48" y="123"/>
                  </a:lnTo>
                  <a:lnTo>
                    <a:pt x="64" y="123"/>
                  </a:lnTo>
                  <a:lnTo>
                    <a:pt x="48" y="111"/>
                  </a:lnTo>
                  <a:lnTo>
                    <a:pt x="48" y="99"/>
                  </a:lnTo>
                  <a:lnTo>
                    <a:pt x="38" y="99"/>
                  </a:lnTo>
                  <a:lnTo>
                    <a:pt x="31" y="90"/>
                  </a:lnTo>
                  <a:lnTo>
                    <a:pt x="31" y="57"/>
                  </a:lnTo>
                  <a:lnTo>
                    <a:pt x="38" y="45"/>
                  </a:lnTo>
                  <a:lnTo>
                    <a:pt x="52" y="45"/>
                  </a:lnTo>
                  <a:lnTo>
                    <a:pt x="69" y="17"/>
                  </a:lnTo>
                  <a:lnTo>
                    <a:pt x="107" y="45"/>
                  </a:lnTo>
                  <a:lnTo>
                    <a:pt x="119" y="28"/>
                  </a:lnTo>
                  <a:lnTo>
                    <a:pt x="140" y="28"/>
                  </a:lnTo>
                  <a:lnTo>
                    <a:pt x="140" y="0"/>
                  </a:lnTo>
                  <a:lnTo>
                    <a:pt x="156" y="12"/>
                  </a:lnTo>
                  <a:lnTo>
                    <a:pt x="156" y="0"/>
                  </a:lnTo>
                  <a:lnTo>
                    <a:pt x="161" y="0"/>
                  </a:lnTo>
                  <a:lnTo>
                    <a:pt x="173" y="33"/>
                  </a:lnTo>
                  <a:lnTo>
                    <a:pt x="173" y="45"/>
                  </a:lnTo>
                  <a:lnTo>
                    <a:pt x="178" y="45"/>
                  </a:lnTo>
                  <a:lnTo>
                    <a:pt x="194" y="28"/>
                  </a:lnTo>
                  <a:lnTo>
                    <a:pt x="215" y="17"/>
                  </a:lnTo>
                  <a:lnTo>
                    <a:pt x="225" y="33"/>
                  </a:lnTo>
                  <a:lnTo>
                    <a:pt x="241" y="33"/>
                  </a:lnTo>
                  <a:lnTo>
                    <a:pt x="253" y="57"/>
                  </a:lnTo>
                  <a:lnTo>
                    <a:pt x="267" y="73"/>
                  </a:lnTo>
                  <a:lnTo>
                    <a:pt x="300" y="83"/>
                  </a:lnTo>
                  <a:lnTo>
                    <a:pt x="305" y="66"/>
                  </a:lnTo>
                  <a:lnTo>
                    <a:pt x="350" y="57"/>
                  </a:lnTo>
                  <a:lnTo>
                    <a:pt x="376" y="57"/>
                  </a:lnTo>
                  <a:lnTo>
                    <a:pt x="409" y="99"/>
                  </a:lnTo>
                  <a:lnTo>
                    <a:pt x="414" y="90"/>
                  </a:lnTo>
                  <a:lnTo>
                    <a:pt x="409" y="123"/>
                  </a:lnTo>
                  <a:lnTo>
                    <a:pt x="414" y="128"/>
                  </a:lnTo>
                  <a:lnTo>
                    <a:pt x="426" y="184"/>
                  </a:lnTo>
                  <a:lnTo>
                    <a:pt x="409" y="201"/>
                  </a:lnTo>
                  <a:lnTo>
                    <a:pt x="393" y="267"/>
                  </a:lnTo>
                  <a:lnTo>
                    <a:pt x="376" y="288"/>
                  </a:lnTo>
                  <a:lnTo>
                    <a:pt x="371" y="293"/>
                  </a:lnTo>
                  <a:lnTo>
                    <a:pt x="393" y="366"/>
                  </a:lnTo>
                  <a:lnTo>
                    <a:pt x="409" y="378"/>
                  </a:lnTo>
                  <a:lnTo>
                    <a:pt x="409" y="404"/>
                  </a:lnTo>
                  <a:lnTo>
                    <a:pt x="393" y="404"/>
                  </a:lnTo>
                  <a:lnTo>
                    <a:pt x="402" y="399"/>
                  </a:lnTo>
                  <a:lnTo>
                    <a:pt x="393" y="404"/>
                  </a:lnTo>
                  <a:lnTo>
                    <a:pt x="376" y="399"/>
                  </a:lnTo>
                  <a:lnTo>
                    <a:pt x="376" y="388"/>
                  </a:lnTo>
                  <a:lnTo>
                    <a:pt x="371" y="388"/>
                  </a:lnTo>
                  <a:lnTo>
                    <a:pt x="371" y="404"/>
                  </a:lnTo>
                  <a:lnTo>
                    <a:pt x="322" y="399"/>
                  </a:lnTo>
                  <a:lnTo>
                    <a:pt x="338" y="399"/>
                  </a:lnTo>
                  <a:lnTo>
                    <a:pt x="334" y="388"/>
                  </a:lnTo>
                  <a:lnTo>
                    <a:pt x="338" y="399"/>
                  </a:lnTo>
                  <a:lnTo>
                    <a:pt x="284" y="388"/>
                  </a:lnTo>
                  <a:lnTo>
                    <a:pt x="263" y="404"/>
                  </a:lnTo>
                  <a:lnTo>
                    <a:pt x="253" y="399"/>
                  </a:lnTo>
                  <a:lnTo>
                    <a:pt x="232" y="399"/>
                  </a:lnTo>
                  <a:lnTo>
                    <a:pt x="225" y="404"/>
                  </a:lnTo>
                  <a:lnTo>
                    <a:pt x="232" y="404"/>
                  </a:lnTo>
                  <a:lnTo>
                    <a:pt x="232" y="399"/>
                  </a:lnTo>
                  <a:lnTo>
                    <a:pt x="253" y="404"/>
                  </a:lnTo>
                  <a:lnTo>
                    <a:pt x="187" y="416"/>
                  </a:lnTo>
                  <a:lnTo>
                    <a:pt x="81" y="461"/>
                  </a:lnTo>
                  <a:lnTo>
                    <a:pt x="81" y="461"/>
                  </a:lnTo>
                  <a:lnTo>
                    <a:pt x="81" y="461"/>
                  </a:lnTo>
                  <a:close/>
                  <a:moveTo>
                    <a:pt x="263" y="404"/>
                  </a:moveTo>
                  <a:lnTo>
                    <a:pt x="305" y="399"/>
                  </a:lnTo>
                  <a:lnTo>
                    <a:pt x="322" y="399"/>
                  </a:lnTo>
                  <a:lnTo>
                    <a:pt x="263" y="404"/>
                  </a:lnTo>
                  <a:lnTo>
                    <a:pt x="263" y="404"/>
                  </a:lnTo>
                  <a:lnTo>
                    <a:pt x="263" y="404"/>
                  </a:lnTo>
                  <a:close/>
                  <a:moveTo>
                    <a:pt x="388" y="404"/>
                  </a:moveTo>
                  <a:lnTo>
                    <a:pt x="388" y="404"/>
                  </a:lnTo>
                  <a:lnTo>
                    <a:pt x="376" y="404"/>
                  </a:lnTo>
                  <a:lnTo>
                    <a:pt x="388" y="404"/>
                  </a:lnTo>
                  <a:lnTo>
                    <a:pt x="388" y="404"/>
                  </a:lnTo>
                  <a:lnTo>
                    <a:pt x="388" y="404"/>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5" name="Freeform 475">
              <a:extLst>
                <a:ext uri="{FF2B5EF4-FFF2-40B4-BE49-F238E27FC236}">
                  <a16:creationId xmlns:a16="http://schemas.microsoft.com/office/drawing/2014/main" id="{3E530761-2C6E-4235-AB99-2D2F4D148269}"/>
                </a:ext>
              </a:extLst>
            </p:cNvPr>
            <p:cNvSpPr>
              <a:spLocks/>
            </p:cNvSpPr>
            <p:nvPr/>
          </p:nvSpPr>
          <p:spPr bwMode="gray">
            <a:xfrm>
              <a:off x="14635721" y="3189138"/>
              <a:ext cx="221907" cy="217980"/>
            </a:xfrm>
            <a:custGeom>
              <a:avLst/>
              <a:gdLst>
                <a:gd name="T0" fmla="*/ 31 w 678"/>
                <a:gd name="T1" fmla="*/ 420 h 666"/>
                <a:gd name="T2" fmla="*/ 15 w 678"/>
                <a:gd name="T3" fmla="*/ 416 h 666"/>
                <a:gd name="T4" fmla="*/ 15 w 678"/>
                <a:gd name="T5" fmla="*/ 399 h 666"/>
                <a:gd name="T6" fmla="*/ 156 w 678"/>
                <a:gd name="T7" fmla="*/ 250 h 666"/>
                <a:gd name="T8" fmla="*/ 171 w 678"/>
                <a:gd name="T9" fmla="*/ 182 h 666"/>
                <a:gd name="T10" fmla="*/ 178 w 678"/>
                <a:gd name="T11" fmla="*/ 127 h 666"/>
                <a:gd name="T12" fmla="*/ 171 w 678"/>
                <a:gd name="T13" fmla="*/ 87 h 666"/>
                <a:gd name="T14" fmla="*/ 208 w 678"/>
                <a:gd name="T15" fmla="*/ 66 h 666"/>
                <a:gd name="T16" fmla="*/ 263 w 678"/>
                <a:gd name="T17" fmla="*/ 28 h 666"/>
                <a:gd name="T18" fmla="*/ 291 w 678"/>
                <a:gd name="T19" fmla="*/ 12 h 666"/>
                <a:gd name="T20" fmla="*/ 338 w 678"/>
                <a:gd name="T21" fmla="*/ 16 h 666"/>
                <a:gd name="T22" fmla="*/ 371 w 678"/>
                <a:gd name="T23" fmla="*/ 12 h 666"/>
                <a:gd name="T24" fmla="*/ 376 w 678"/>
                <a:gd name="T25" fmla="*/ 28 h 666"/>
                <a:gd name="T26" fmla="*/ 409 w 678"/>
                <a:gd name="T27" fmla="*/ 16 h 666"/>
                <a:gd name="T28" fmla="*/ 426 w 678"/>
                <a:gd name="T29" fmla="*/ 33 h 666"/>
                <a:gd name="T30" fmla="*/ 440 w 678"/>
                <a:gd name="T31" fmla="*/ 54 h 666"/>
                <a:gd name="T32" fmla="*/ 440 w 678"/>
                <a:gd name="T33" fmla="*/ 82 h 666"/>
                <a:gd name="T34" fmla="*/ 461 w 678"/>
                <a:gd name="T35" fmla="*/ 123 h 666"/>
                <a:gd name="T36" fmla="*/ 485 w 678"/>
                <a:gd name="T37" fmla="*/ 139 h 666"/>
                <a:gd name="T38" fmla="*/ 522 w 678"/>
                <a:gd name="T39" fmla="*/ 139 h 666"/>
                <a:gd name="T40" fmla="*/ 499 w 678"/>
                <a:gd name="T41" fmla="*/ 160 h 666"/>
                <a:gd name="T42" fmla="*/ 515 w 678"/>
                <a:gd name="T43" fmla="*/ 193 h 666"/>
                <a:gd name="T44" fmla="*/ 494 w 678"/>
                <a:gd name="T45" fmla="*/ 205 h 666"/>
                <a:gd name="T46" fmla="*/ 485 w 678"/>
                <a:gd name="T47" fmla="*/ 238 h 666"/>
                <a:gd name="T48" fmla="*/ 461 w 678"/>
                <a:gd name="T49" fmla="*/ 238 h 666"/>
                <a:gd name="T50" fmla="*/ 468 w 678"/>
                <a:gd name="T51" fmla="*/ 271 h 666"/>
                <a:gd name="T52" fmla="*/ 468 w 678"/>
                <a:gd name="T53" fmla="*/ 288 h 666"/>
                <a:gd name="T54" fmla="*/ 494 w 678"/>
                <a:gd name="T55" fmla="*/ 309 h 666"/>
                <a:gd name="T56" fmla="*/ 494 w 678"/>
                <a:gd name="T57" fmla="*/ 316 h 666"/>
                <a:gd name="T58" fmla="*/ 515 w 678"/>
                <a:gd name="T59" fmla="*/ 342 h 666"/>
                <a:gd name="T60" fmla="*/ 532 w 678"/>
                <a:gd name="T61" fmla="*/ 366 h 666"/>
                <a:gd name="T62" fmla="*/ 603 w 678"/>
                <a:gd name="T63" fmla="*/ 404 h 666"/>
                <a:gd name="T64" fmla="*/ 629 w 678"/>
                <a:gd name="T65" fmla="*/ 460 h 666"/>
                <a:gd name="T66" fmla="*/ 624 w 678"/>
                <a:gd name="T67" fmla="*/ 527 h 666"/>
                <a:gd name="T68" fmla="*/ 645 w 678"/>
                <a:gd name="T69" fmla="*/ 564 h 666"/>
                <a:gd name="T70" fmla="*/ 667 w 678"/>
                <a:gd name="T71" fmla="*/ 604 h 666"/>
                <a:gd name="T72" fmla="*/ 641 w 678"/>
                <a:gd name="T73" fmla="*/ 593 h 666"/>
                <a:gd name="T74" fmla="*/ 586 w 678"/>
                <a:gd name="T75" fmla="*/ 593 h 666"/>
                <a:gd name="T76" fmla="*/ 537 w 678"/>
                <a:gd name="T77" fmla="*/ 666 h 666"/>
                <a:gd name="T78" fmla="*/ 414 w 678"/>
                <a:gd name="T79" fmla="*/ 666 h 666"/>
                <a:gd name="T80" fmla="*/ 182 w 678"/>
                <a:gd name="T81" fmla="*/ 493 h 666"/>
                <a:gd name="T82" fmla="*/ 22 w 678"/>
                <a:gd name="T83" fmla="*/ 427 h 666"/>
                <a:gd name="T84" fmla="*/ 22 w 678"/>
                <a:gd name="T85" fmla="*/ 427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8" h="666">
                  <a:moveTo>
                    <a:pt x="22" y="427"/>
                  </a:moveTo>
                  <a:lnTo>
                    <a:pt x="31" y="420"/>
                  </a:lnTo>
                  <a:lnTo>
                    <a:pt x="31" y="416"/>
                  </a:lnTo>
                  <a:lnTo>
                    <a:pt x="15" y="416"/>
                  </a:lnTo>
                  <a:lnTo>
                    <a:pt x="10" y="404"/>
                  </a:lnTo>
                  <a:lnTo>
                    <a:pt x="15" y="399"/>
                  </a:lnTo>
                  <a:lnTo>
                    <a:pt x="0" y="333"/>
                  </a:lnTo>
                  <a:lnTo>
                    <a:pt x="156" y="250"/>
                  </a:lnTo>
                  <a:lnTo>
                    <a:pt x="171" y="215"/>
                  </a:lnTo>
                  <a:lnTo>
                    <a:pt x="171" y="182"/>
                  </a:lnTo>
                  <a:lnTo>
                    <a:pt x="178" y="149"/>
                  </a:lnTo>
                  <a:lnTo>
                    <a:pt x="178" y="127"/>
                  </a:lnTo>
                  <a:lnTo>
                    <a:pt x="171" y="111"/>
                  </a:lnTo>
                  <a:lnTo>
                    <a:pt x="171" y="87"/>
                  </a:lnTo>
                  <a:lnTo>
                    <a:pt x="178" y="71"/>
                  </a:lnTo>
                  <a:lnTo>
                    <a:pt x="208" y="66"/>
                  </a:lnTo>
                  <a:lnTo>
                    <a:pt x="246" y="28"/>
                  </a:lnTo>
                  <a:lnTo>
                    <a:pt x="263" y="28"/>
                  </a:lnTo>
                  <a:lnTo>
                    <a:pt x="279" y="0"/>
                  </a:lnTo>
                  <a:lnTo>
                    <a:pt x="291" y="12"/>
                  </a:lnTo>
                  <a:lnTo>
                    <a:pt x="300" y="0"/>
                  </a:lnTo>
                  <a:lnTo>
                    <a:pt x="338" y="16"/>
                  </a:lnTo>
                  <a:lnTo>
                    <a:pt x="355" y="16"/>
                  </a:lnTo>
                  <a:lnTo>
                    <a:pt x="371" y="12"/>
                  </a:lnTo>
                  <a:lnTo>
                    <a:pt x="376" y="16"/>
                  </a:lnTo>
                  <a:lnTo>
                    <a:pt x="376" y="28"/>
                  </a:lnTo>
                  <a:lnTo>
                    <a:pt x="388" y="38"/>
                  </a:lnTo>
                  <a:lnTo>
                    <a:pt x="409" y="16"/>
                  </a:lnTo>
                  <a:lnTo>
                    <a:pt x="414" y="28"/>
                  </a:lnTo>
                  <a:lnTo>
                    <a:pt x="426" y="33"/>
                  </a:lnTo>
                  <a:lnTo>
                    <a:pt x="426" y="49"/>
                  </a:lnTo>
                  <a:lnTo>
                    <a:pt x="440" y="54"/>
                  </a:lnTo>
                  <a:lnTo>
                    <a:pt x="430" y="71"/>
                  </a:lnTo>
                  <a:lnTo>
                    <a:pt x="440" y="82"/>
                  </a:lnTo>
                  <a:lnTo>
                    <a:pt x="452" y="87"/>
                  </a:lnTo>
                  <a:lnTo>
                    <a:pt x="461" y="123"/>
                  </a:lnTo>
                  <a:lnTo>
                    <a:pt x="478" y="123"/>
                  </a:lnTo>
                  <a:lnTo>
                    <a:pt x="485" y="139"/>
                  </a:lnTo>
                  <a:lnTo>
                    <a:pt x="506" y="127"/>
                  </a:lnTo>
                  <a:lnTo>
                    <a:pt x="522" y="139"/>
                  </a:lnTo>
                  <a:lnTo>
                    <a:pt x="499" y="144"/>
                  </a:lnTo>
                  <a:lnTo>
                    <a:pt x="499" y="160"/>
                  </a:lnTo>
                  <a:lnTo>
                    <a:pt x="515" y="182"/>
                  </a:lnTo>
                  <a:lnTo>
                    <a:pt x="515" y="193"/>
                  </a:lnTo>
                  <a:lnTo>
                    <a:pt x="499" y="193"/>
                  </a:lnTo>
                  <a:lnTo>
                    <a:pt x="494" y="205"/>
                  </a:lnTo>
                  <a:lnTo>
                    <a:pt x="478" y="222"/>
                  </a:lnTo>
                  <a:lnTo>
                    <a:pt x="485" y="238"/>
                  </a:lnTo>
                  <a:lnTo>
                    <a:pt x="468" y="234"/>
                  </a:lnTo>
                  <a:lnTo>
                    <a:pt x="461" y="238"/>
                  </a:lnTo>
                  <a:lnTo>
                    <a:pt x="468" y="255"/>
                  </a:lnTo>
                  <a:lnTo>
                    <a:pt x="468" y="271"/>
                  </a:lnTo>
                  <a:lnTo>
                    <a:pt x="461" y="276"/>
                  </a:lnTo>
                  <a:lnTo>
                    <a:pt x="468" y="288"/>
                  </a:lnTo>
                  <a:lnTo>
                    <a:pt x="485" y="309"/>
                  </a:lnTo>
                  <a:lnTo>
                    <a:pt x="494" y="309"/>
                  </a:lnTo>
                  <a:lnTo>
                    <a:pt x="499" y="316"/>
                  </a:lnTo>
                  <a:lnTo>
                    <a:pt x="494" y="316"/>
                  </a:lnTo>
                  <a:lnTo>
                    <a:pt x="499" y="316"/>
                  </a:lnTo>
                  <a:lnTo>
                    <a:pt x="515" y="342"/>
                  </a:lnTo>
                  <a:lnTo>
                    <a:pt x="506" y="366"/>
                  </a:lnTo>
                  <a:lnTo>
                    <a:pt x="532" y="366"/>
                  </a:lnTo>
                  <a:lnTo>
                    <a:pt x="586" y="404"/>
                  </a:lnTo>
                  <a:lnTo>
                    <a:pt x="603" y="404"/>
                  </a:lnTo>
                  <a:lnTo>
                    <a:pt x="603" y="416"/>
                  </a:lnTo>
                  <a:lnTo>
                    <a:pt x="629" y="460"/>
                  </a:lnTo>
                  <a:lnTo>
                    <a:pt x="624" y="482"/>
                  </a:lnTo>
                  <a:lnTo>
                    <a:pt x="624" y="527"/>
                  </a:lnTo>
                  <a:lnTo>
                    <a:pt x="645" y="527"/>
                  </a:lnTo>
                  <a:lnTo>
                    <a:pt x="645" y="564"/>
                  </a:lnTo>
                  <a:lnTo>
                    <a:pt x="667" y="581"/>
                  </a:lnTo>
                  <a:lnTo>
                    <a:pt x="667" y="604"/>
                  </a:lnTo>
                  <a:lnTo>
                    <a:pt x="678" y="604"/>
                  </a:lnTo>
                  <a:lnTo>
                    <a:pt x="641" y="593"/>
                  </a:lnTo>
                  <a:lnTo>
                    <a:pt x="624" y="593"/>
                  </a:lnTo>
                  <a:lnTo>
                    <a:pt x="586" y="593"/>
                  </a:lnTo>
                  <a:lnTo>
                    <a:pt x="570" y="638"/>
                  </a:lnTo>
                  <a:lnTo>
                    <a:pt x="537" y="666"/>
                  </a:lnTo>
                  <a:lnTo>
                    <a:pt x="537" y="666"/>
                  </a:lnTo>
                  <a:lnTo>
                    <a:pt x="414" y="666"/>
                  </a:lnTo>
                  <a:lnTo>
                    <a:pt x="232" y="510"/>
                  </a:lnTo>
                  <a:lnTo>
                    <a:pt x="182" y="493"/>
                  </a:lnTo>
                  <a:lnTo>
                    <a:pt x="107" y="444"/>
                  </a:lnTo>
                  <a:lnTo>
                    <a:pt x="22" y="427"/>
                  </a:lnTo>
                  <a:lnTo>
                    <a:pt x="22" y="427"/>
                  </a:lnTo>
                  <a:lnTo>
                    <a:pt x="22" y="42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6" name="Freeform 476">
              <a:extLst>
                <a:ext uri="{FF2B5EF4-FFF2-40B4-BE49-F238E27FC236}">
                  <a16:creationId xmlns:a16="http://schemas.microsoft.com/office/drawing/2014/main" id="{6B119AC4-53A7-4B05-B098-A29F97D1A93D}"/>
                </a:ext>
              </a:extLst>
            </p:cNvPr>
            <p:cNvSpPr>
              <a:spLocks noEditPoints="1"/>
            </p:cNvSpPr>
            <p:nvPr/>
          </p:nvSpPr>
          <p:spPr bwMode="gray">
            <a:xfrm>
              <a:off x="16581827" y="2960358"/>
              <a:ext cx="510255" cy="571133"/>
            </a:xfrm>
            <a:custGeom>
              <a:avLst/>
              <a:gdLst>
                <a:gd name="T0" fmla="*/ 1521 w 1559"/>
                <a:gd name="T1" fmla="*/ 193 h 1745"/>
                <a:gd name="T2" fmla="*/ 1483 w 1559"/>
                <a:gd name="T3" fmla="*/ 215 h 1745"/>
                <a:gd name="T4" fmla="*/ 1207 w 1559"/>
                <a:gd name="T5" fmla="*/ 267 h 1745"/>
                <a:gd name="T6" fmla="*/ 1181 w 1559"/>
                <a:gd name="T7" fmla="*/ 337 h 1745"/>
                <a:gd name="T8" fmla="*/ 1191 w 1559"/>
                <a:gd name="T9" fmla="*/ 222 h 1745"/>
                <a:gd name="T10" fmla="*/ 1278 w 1559"/>
                <a:gd name="T11" fmla="*/ 82 h 1745"/>
                <a:gd name="T12" fmla="*/ 1450 w 1559"/>
                <a:gd name="T13" fmla="*/ 139 h 1745"/>
                <a:gd name="T14" fmla="*/ 1245 w 1559"/>
                <a:gd name="T15" fmla="*/ 33 h 1745"/>
                <a:gd name="T16" fmla="*/ 1115 w 1559"/>
                <a:gd name="T17" fmla="*/ 292 h 1745"/>
                <a:gd name="T18" fmla="*/ 1136 w 1559"/>
                <a:gd name="T19" fmla="*/ 897 h 1745"/>
                <a:gd name="T20" fmla="*/ 1127 w 1559"/>
                <a:gd name="T21" fmla="*/ 876 h 1745"/>
                <a:gd name="T22" fmla="*/ 1072 w 1559"/>
                <a:gd name="T23" fmla="*/ 897 h 1745"/>
                <a:gd name="T24" fmla="*/ 943 w 1559"/>
                <a:gd name="T25" fmla="*/ 914 h 1745"/>
                <a:gd name="T26" fmla="*/ 938 w 1559"/>
                <a:gd name="T27" fmla="*/ 947 h 1745"/>
                <a:gd name="T28" fmla="*/ 801 w 1559"/>
                <a:gd name="T29" fmla="*/ 987 h 1745"/>
                <a:gd name="T30" fmla="*/ 737 w 1559"/>
                <a:gd name="T31" fmla="*/ 930 h 1745"/>
                <a:gd name="T32" fmla="*/ 666 w 1559"/>
                <a:gd name="T33" fmla="*/ 954 h 1745"/>
                <a:gd name="T34" fmla="*/ 574 w 1559"/>
                <a:gd name="T35" fmla="*/ 975 h 1745"/>
                <a:gd name="T36" fmla="*/ 633 w 1559"/>
                <a:gd name="T37" fmla="*/ 864 h 1745"/>
                <a:gd name="T38" fmla="*/ 829 w 1559"/>
                <a:gd name="T39" fmla="*/ 859 h 1745"/>
                <a:gd name="T40" fmla="*/ 921 w 1559"/>
                <a:gd name="T41" fmla="*/ 753 h 1745"/>
                <a:gd name="T42" fmla="*/ 943 w 1559"/>
                <a:gd name="T43" fmla="*/ 732 h 1745"/>
                <a:gd name="T44" fmla="*/ 1136 w 1559"/>
                <a:gd name="T45" fmla="*/ 581 h 1745"/>
                <a:gd name="T46" fmla="*/ 1169 w 1559"/>
                <a:gd name="T47" fmla="*/ 415 h 1745"/>
                <a:gd name="T48" fmla="*/ 1235 w 1559"/>
                <a:gd name="T49" fmla="*/ 375 h 1745"/>
                <a:gd name="T50" fmla="*/ 1283 w 1559"/>
                <a:gd name="T51" fmla="*/ 543 h 1745"/>
                <a:gd name="T52" fmla="*/ 1212 w 1559"/>
                <a:gd name="T53" fmla="*/ 654 h 1745"/>
                <a:gd name="T54" fmla="*/ 1051 w 1559"/>
                <a:gd name="T55" fmla="*/ 642 h 1745"/>
                <a:gd name="T56" fmla="*/ 683 w 1559"/>
                <a:gd name="T57" fmla="*/ 786 h 1745"/>
                <a:gd name="T58" fmla="*/ 1106 w 1559"/>
                <a:gd name="T59" fmla="*/ 918 h 1745"/>
                <a:gd name="T60" fmla="*/ 411 w 1559"/>
                <a:gd name="T61" fmla="*/ 918 h 1745"/>
                <a:gd name="T62" fmla="*/ 780 w 1559"/>
                <a:gd name="T63" fmla="*/ 959 h 1745"/>
                <a:gd name="T64" fmla="*/ 725 w 1559"/>
                <a:gd name="T65" fmla="*/ 1025 h 1745"/>
                <a:gd name="T66" fmla="*/ 628 w 1559"/>
                <a:gd name="T67" fmla="*/ 1041 h 1745"/>
                <a:gd name="T68" fmla="*/ 720 w 1559"/>
                <a:gd name="T69" fmla="*/ 954 h 1745"/>
                <a:gd name="T70" fmla="*/ 402 w 1559"/>
                <a:gd name="T71" fmla="*/ 959 h 1745"/>
                <a:gd name="T72" fmla="*/ 657 w 1559"/>
                <a:gd name="T73" fmla="*/ 954 h 1745"/>
                <a:gd name="T74" fmla="*/ 628 w 1559"/>
                <a:gd name="T75" fmla="*/ 970 h 1745"/>
                <a:gd name="T76" fmla="*/ 565 w 1559"/>
                <a:gd name="T77" fmla="*/ 1008 h 1745"/>
                <a:gd name="T78" fmla="*/ 527 w 1559"/>
                <a:gd name="T79" fmla="*/ 1181 h 1745"/>
                <a:gd name="T80" fmla="*/ 489 w 1559"/>
                <a:gd name="T81" fmla="*/ 1174 h 1745"/>
                <a:gd name="T82" fmla="*/ 489 w 1559"/>
                <a:gd name="T83" fmla="*/ 1081 h 1745"/>
                <a:gd name="T84" fmla="*/ 456 w 1559"/>
                <a:gd name="T85" fmla="*/ 1098 h 1745"/>
                <a:gd name="T86" fmla="*/ 435 w 1559"/>
                <a:gd name="T87" fmla="*/ 1070 h 1745"/>
                <a:gd name="T88" fmla="*/ 472 w 1559"/>
                <a:gd name="T89" fmla="*/ 1008 h 1745"/>
                <a:gd name="T90" fmla="*/ 423 w 1559"/>
                <a:gd name="T91" fmla="*/ 1004 h 1745"/>
                <a:gd name="T92" fmla="*/ 418 w 1559"/>
                <a:gd name="T93" fmla="*/ 1029 h 1745"/>
                <a:gd name="T94" fmla="*/ 385 w 1559"/>
                <a:gd name="T95" fmla="*/ 1058 h 1745"/>
                <a:gd name="T96" fmla="*/ 359 w 1559"/>
                <a:gd name="T97" fmla="*/ 1081 h 1745"/>
                <a:gd name="T98" fmla="*/ 465 w 1559"/>
                <a:gd name="T99" fmla="*/ 1103 h 1745"/>
                <a:gd name="T100" fmla="*/ 456 w 1559"/>
                <a:gd name="T101" fmla="*/ 1124 h 1745"/>
                <a:gd name="T102" fmla="*/ 527 w 1559"/>
                <a:gd name="T103" fmla="*/ 1230 h 1745"/>
                <a:gd name="T104" fmla="*/ 489 w 1559"/>
                <a:gd name="T105" fmla="*/ 1280 h 1745"/>
                <a:gd name="T106" fmla="*/ 385 w 1559"/>
                <a:gd name="T107" fmla="*/ 1436 h 1745"/>
                <a:gd name="T108" fmla="*/ 397 w 1559"/>
                <a:gd name="T109" fmla="*/ 1436 h 1745"/>
                <a:gd name="T110" fmla="*/ 359 w 1559"/>
                <a:gd name="T111" fmla="*/ 1502 h 1745"/>
                <a:gd name="T112" fmla="*/ 293 w 1559"/>
                <a:gd name="T113" fmla="*/ 1596 h 1745"/>
                <a:gd name="T114" fmla="*/ 217 w 1559"/>
                <a:gd name="T115" fmla="*/ 1580 h 1745"/>
                <a:gd name="T116" fmla="*/ 116 w 1559"/>
                <a:gd name="T117" fmla="*/ 1696 h 1745"/>
                <a:gd name="T118" fmla="*/ 33 w 1559"/>
                <a:gd name="T119" fmla="*/ 1729 h 1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59" h="1745">
                  <a:moveTo>
                    <a:pt x="1450" y="139"/>
                  </a:moveTo>
                  <a:lnTo>
                    <a:pt x="1483" y="144"/>
                  </a:lnTo>
                  <a:lnTo>
                    <a:pt x="1521" y="104"/>
                  </a:lnTo>
                  <a:lnTo>
                    <a:pt x="1531" y="111"/>
                  </a:lnTo>
                  <a:lnTo>
                    <a:pt x="1505" y="155"/>
                  </a:lnTo>
                  <a:lnTo>
                    <a:pt x="1517" y="165"/>
                  </a:lnTo>
                  <a:lnTo>
                    <a:pt x="1521" y="177"/>
                  </a:lnTo>
                  <a:lnTo>
                    <a:pt x="1517" y="165"/>
                  </a:lnTo>
                  <a:lnTo>
                    <a:pt x="1521" y="193"/>
                  </a:lnTo>
                  <a:lnTo>
                    <a:pt x="1521" y="193"/>
                  </a:lnTo>
                  <a:lnTo>
                    <a:pt x="1538" y="198"/>
                  </a:lnTo>
                  <a:lnTo>
                    <a:pt x="1547" y="193"/>
                  </a:lnTo>
                  <a:lnTo>
                    <a:pt x="1559" y="193"/>
                  </a:lnTo>
                  <a:lnTo>
                    <a:pt x="1547" y="193"/>
                  </a:lnTo>
                  <a:lnTo>
                    <a:pt x="1538" y="210"/>
                  </a:lnTo>
                  <a:lnTo>
                    <a:pt x="1517" y="210"/>
                  </a:lnTo>
                  <a:lnTo>
                    <a:pt x="1500" y="222"/>
                  </a:lnTo>
                  <a:lnTo>
                    <a:pt x="1483" y="215"/>
                  </a:lnTo>
                  <a:lnTo>
                    <a:pt x="1479" y="231"/>
                  </a:lnTo>
                  <a:lnTo>
                    <a:pt x="1450" y="222"/>
                  </a:lnTo>
                  <a:lnTo>
                    <a:pt x="1429" y="231"/>
                  </a:lnTo>
                  <a:lnTo>
                    <a:pt x="1391" y="271"/>
                  </a:lnTo>
                  <a:lnTo>
                    <a:pt x="1375" y="321"/>
                  </a:lnTo>
                  <a:lnTo>
                    <a:pt x="1278" y="255"/>
                  </a:lnTo>
                  <a:lnTo>
                    <a:pt x="1250" y="267"/>
                  </a:lnTo>
                  <a:lnTo>
                    <a:pt x="1224" y="288"/>
                  </a:lnTo>
                  <a:lnTo>
                    <a:pt x="1207" y="267"/>
                  </a:lnTo>
                  <a:lnTo>
                    <a:pt x="1181" y="267"/>
                  </a:lnTo>
                  <a:lnTo>
                    <a:pt x="1174" y="271"/>
                  </a:lnTo>
                  <a:lnTo>
                    <a:pt x="1169" y="288"/>
                  </a:lnTo>
                  <a:lnTo>
                    <a:pt x="1191" y="304"/>
                  </a:lnTo>
                  <a:lnTo>
                    <a:pt x="1198" y="304"/>
                  </a:lnTo>
                  <a:lnTo>
                    <a:pt x="1235" y="326"/>
                  </a:lnTo>
                  <a:lnTo>
                    <a:pt x="1224" y="337"/>
                  </a:lnTo>
                  <a:lnTo>
                    <a:pt x="1198" y="326"/>
                  </a:lnTo>
                  <a:lnTo>
                    <a:pt x="1181" y="337"/>
                  </a:lnTo>
                  <a:lnTo>
                    <a:pt x="1181" y="349"/>
                  </a:lnTo>
                  <a:lnTo>
                    <a:pt x="1169" y="359"/>
                  </a:lnTo>
                  <a:lnTo>
                    <a:pt x="1153" y="359"/>
                  </a:lnTo>
                  <a:lnTo>
                    <a:pt x="1153" y="342"/>
                  </a:lnTo>
                  <a:lnTo>
                    <a:pt x="1157" y="309"/>
                  </a:lnTo>
                  <a:lnTo>
                    <a:pt x="1136" y="288"/>
                  </a:lnTo>
                  <a:lnTo>
                    <a:pt x="1136" y="255"/>
                  </a:lnTo>
                  <a:lnTo>
                    <a:pt x="1174" y="238"/>
                  </a:lnTo>
                  <a:lnTo>
                    <a:pt x="1191" y="222"/>
                  </a:lnTo>
                  <a:lnTo>
                    <a:pt x="1174" y="198"/>
                  </a:lnTo>
                  <a:lnTo>
                    <a:pt x="1181" y="193"/>
                  </a:lnTo>
                  <a:lnTo>
                    <a:pt x="1207" y="210"/>
                  </a:lnTo>
                  <a:lnTo>
                    <a:pt x="1228" y="210"/>
                  </a:lnTo>
                  <a:lnTo>
                    <a:pt x="1250" y="193"/>
                  </a:lnTo>
                  <a:lnTo>
                    <a:pt x="1245" y="160"/>
                  </a:lnTo>
                  <a:lnTo>
                    <a:pt x="1266" y="139"/>
                  </a:lnTo>
                  <a:lnTo>
                    <a:pt x="1266" y="111"/>
                  </a:lnTo>
                  <a:lnTo>
                    <a:pt x="1278" y="82"/>
                  </a:lnTo>
                  <a:lnTo>
                    <a:pt x="1261" y="28"/>
                  </a:lnTo>
                  <a:lnTo>
                    <a:pt x="1266" y="11"/>
                  </a:lnTo>
                  <a:lnTo>
                    <a:pt x="1287" y="0"/>
                  </a:lnTo>
                  <a:lnTo>
                    <a:pt x="1370" y="87"/>
                  </a:lnTo>
                  <a:lnTo>
                    <a:pt x="1408" y="111"/>
                  </a:lnTo>
                  <a:lnTo>
                    <a:pt x="1413" y="127"/>
                  </a:lnTo>
                  <a:lnTo>
                    <a:pt x="1446" y="127"/>
                  </a:lnTo>
                  <a:lnTo>
                    <a:pt x="1450" y="139"/>
                  </a:lnTo>
                  <a:lnTo>
                    <a:pt x="1450" y="139"/>
                  </a:lnTo>
                  <a:lnTo>
                    <a:pt x="1450" y="139"/>
                  </a:lnTo>
                  <a:close/>
                  <a:moveTo>
                    <a:pt x="1224" y="11"/>
                  </a:moveTo>
                  <a:lnTo>
                    <a:pt x="1228" y="11"/>
                  </a:lnTo>
                  <a:lnTo>
                    <a:pt x="1224" y="28"/>
                  </a:lnTo>
                  <a:lnTo>
                    <a:pt x="1224" y="11"/>
                  </a:lnTo>
                  <a:lnTo>
                    <a:pt x="1224" y="11"/>
                  </a:lnTo>
                  <a:lnTo>
                    <a:pt x="1224" y="11"/>
                  </a:lnTo>
                  <a:close/>
                  <a:moveTo>
                    <a:pt x="1228" y="28"/>
                  </a:moveTo>
                  <a:lnTo>
                    <a:pt x="1245" y="33"/>
                  </a:lnTo>
                  <a:lnTo>
                    <a:pt x="1228" y="33"/>
                  </a:lnTo>
                  <a:lnTo>
                    <a:pt x="1228" y="28"/>
                  </a:lnTo>
                  <a:lnTo>
                    <a:pt x="1228" y="28"/>
                  </a:lnTo>
                  <a:lnTo>
                    <a:pt x="1228" y="28"/>
                  </a:lnTo>
                  <a:close/>
                  <a:moveTo>
                    <a:pt x="1115" y="292"/>
                  </a:moveTo>
                  <a:lnTo>
                    <a:pt x="1120" y="288"/>
                  </a:lnTo>
                  <a:lnTo>
                    <a:pt x="1115" y="304"/>
                  </a:lnTo>
                  <a:lnTo>
                    <a:pt x="1115" y="292"/>
                  </a:lnTo>
                  <a:lnTo>
                    <a:pt x="1115" y="292"/>
                  </a:lnTo>
                  <a:lnTo>
                    <a:pt x="1115" y="292"/>
                  </a:lnTo>
                  <a:close/>
                  <a:moveTo>
                    <a:pt x="1207" y="748"/>
                  </a:moveTo>
                  <a:lnTo>
                    <a:pt x="1191" y="791"/>
                  </a:lnTo>
                  <a:lnTo>
                    <a:pt x="1207" y="843"/>
                  </a:lnTo>
                  <a:lnTo>
                    <a:pt x="1181" y="859"/>
                  </a:lnTo>
                  <a:lnTo>
                    <a:pt x="1174" y="892"/>
                  </a:lnTo>
                  <a:lnTo>
                    <a:pt x="1157" y="892"/>
                  </a:lnTo>
                  <a:lnTo>
                    <a:pt x="1143" y="902"/>
                  </a:lnTo>
                  <a:lnTo>
                    <a:pt x="1136" y="897"/>
                  </a:lnTo>
                  <a:lnTo>
                    <a:pt x="1143" y="897"/>
                  </a:lnTo>
                  <a:lnTo>
                    <a:pt x="1136" y="876"/>
                  </a:lnTo>
                  <a:lnTo>
                    <a:pt x="1157" y="848"/>
                  </a:lnTo>
                  <a:lnTo>
                    <a:pt x="1143" y="843"/>
                  </a:lnTo>
                  <a:lnTo>
                    <a:pt x="1136" y="843"/>
                  </a:lnTo>
                  <a:lnTo>
                    <a:pt x="1136" y="859"/>
                  </a:lnTo>
                  <a:lnTo>
                    <a:pt x="1127" y="859"/>
                  </a:lnTo>
                  <a:lnTo>
                    <a:pt x="1127" y="876"/>
                  </a:lnTo>
                  <a:lnTo>
                    <a:pt x="1127" y="876"/>
                  </a:lnTo>
                  <a:lnTo>
                    <a:pt x="1127" y="892"/>
                  </a:lnTo>
                  <a:lnTo>
                    <a:pt x="1120" y="876"/>
                  </a:lnTo>
                  <a:lnTo>
                    <a:pt x="1089" y="881"/>
                  </a:lnTo>
                  <a:lnTo>
                    <a:pt x="1082" y="892"/>
                  </a:lnTo>
                  <a:lnTo>
                    <a:pt x="1089" y="902"/>
                  </a:lnTo>
                  <a:lnTo>
                    <a:pt x="1068" y="930"/>
                  </a:lnTo>
                  <a:lnTo>
                    <a:pt x="1061" y="918"/>
                  </a:lnTo>
                  <a:lnTo>
                    <a:pt x="1068" y="897"/>
                  </a:lnTo>
                  <a:lnTo>
                    <a:pt x="1072" y="897"/>
                  </a:lnTo>
                  <a:lnTo>
                    <a:pt x="1061" y="892"/>
                  </a:lnTo>
                  <a:lnTo>
                    <a:pt x="1051" y="892"/>
                  </a:lnTo>
                  <a:lnTo>
                    <a:pt x="1035" y="902"/>
                  </a:lnTo>
                  <a:lnTo>
                    <a:pt x="1018" y="930"/>
                  </a:lnTo>
                  <a:lnTo>
                    <a:pt x="980" y="918"/>
                  </a:lnTo>
                  <a:lnTo>
                    <a:pt x="943" y="930"/>
                  </a:lnTo>
                  <a:lnTo>
                    <a:pt x="964" y="918"/>
                  </a:lnTo>
                  <a:lnTo>
                    <a:pt x="959" y="914"/>
                  </a:lnTo>
                  <a:lnTo>
                    <a:pt x="943" y="914"/>
                  </a:lnTo>
                  <a:lnTo>
                    <a:pt x="938" y="902"/>
                  </a:lnTo>
                  <a:lnTo>
                    <a:pt x="938" y="914"/>
                  </a:lnTo>
                  <a:lnTo>
                    <a:pt x="938" y="918"/>
                  </a:lnTo>
                  <a:lnTo>
                    <a:pt x="926" y="918"/>
                  </a:lnTo>
                  <a:lnTo>
                    <a:pt x="926" y="892"/>
                  </a:lnTo>
                  <a:lnTo>
                    <a:pt x="909" y="897"/>
                  </a:lnTo>
                  <a:lnTo>
                    <a:pt x="905" y="918"/>
                  </a:lnTo>
                  <a:lnTo>
                    <a:pt x="905" y="930"/>
                  </a:lnTo>
                  <a:lnTo>
                    <a:pt x="938" y="947"/>
                  </a:lnTo>
                  <a:lnTo>
                    <a:pt x="938" y="954"/>
                  </a:lnTo>
                  <a:lnTo>
                    <a:pt x="909" y="954"/>
                  </a:lnTo>
                  <a:lnTo>
                    <a:pt x="900" y="959"/>
                  </a:lnTo>
                  <a:lnTo>
                    <a:pt x="888" y="987"/>
                  </a:lnTo>
                  <a:lnTo>
                    <a:pt x="850" y="1025"/>
                  </a:lnTo>
                  <a:lnTo>
                    <a:pt x="829" y="1013"/>
                  </a:lnTo>
                  <a:lnTo>
                    <a:pt x="817" y="1008"/>
                  </a:lnTo>
                  <a:lnTo>
                    <a:pt x="829" y="1004"/>
                  </a:lnTo>
                  <a:lnTo>
                    <a:pt x="801" y="987"/>
                  </a:lnTo>
                  <a:lnTo>
                    <a:pt x="813" y="970"/>
                  </a:lnTo>
                  <a:lnTo>
                    <a:pt x="801" y="959"/>
                  </a:lnTo>
                  <a:lnTo>
                    <a:pt x="801" y="954"/>
                  </a:lnTo>
                  <a:lnTo>
                    <a:pt x="829" y="930"/>
                  </a:lnTo>
                  <a:lnTo>
                    <a:pt x="817" y="918"/>
                  </a:lnTo>
                  <a:lnTo>
                    <a:pt x="801" y="930"/>
                  </a:lnTo>
                  <a:lnTo>
                    <a:pt x="775" y="914"/>
                  </a:lnTo>
                  <a:lnTo>
                    <a:pt x="742" y="918"/>
                  </a:lnTo>
                  <a:lnTo>
                    <a:pt x="737" y="930"/>
                  </a:lnTo>
                  <a:lnTo>
                    <a:pt x="725" y="930"/>
                  </a:lnTo>
                  <a:lnTo>
                    <a:pt x="737" y="930"/>
                  </a:lnTo>
                  <a:lnTo>
                    <a:pt x="725" y="947"/>
                  </a:lnTo>
                  <a:lnTo>
                    <a:pt x="704" y="937"/>
                  </a:lnTo>
                  <a:lnTo>
                    <a:pt x="683" y="954"/>
                  </a:lnTo>
                  <a:lnTo>
                    <a:pt x="671" y="947"/>
                  </a:lnTo>
                  <a:lnTo>
                    <a:pt x="671" y="954"/>
                  </a:lnTo>
                  <a:lnTo>
                    <a:pt x="666" y="959"/>
                  </a:lnTo>
                  <a:lnTo>
                    <a:pt x="666" y="954"/>
                  </a:lnTo>
                  <a:lnTo>
                    <a:pt x="650" y="954"/>
                  </a:lnTo>
                  <a:lnTo>
                    <a:pt x="628" y="959"/>
                  </a:lnTo>
                  <a:lnTo>
                    <a:pt x="628" y="954"/>
                  </a:lnTo>
                  <a:lnTo>
                    <a:pt x="612" y="954"/>
                  </a:lnTo>
                  <a:lnTo>
                    <a:pt x="602" y="959"/>
                  </a:lnTo>
                  <a:lnTo>
                    <a:pt x="595" y="992"/>
                  </a:lnTo>
                  <a:lnTo>
                    <a:pt x="586" y="1004"/>
                  </a:lnTo>
                  <a:lnTo>
                    <a:pt x="586" y="987"/>
                  </a:lnTo>
                  <a:lnTo>
                    <a:pt x="574" y="975"/>
                  </a:lnTo>
                  <a:lnTo>
                    <a:pt x="532" y="987"/>
                  </a:lnTo>
                  <a:lnTo>
                    <a:pt x="520" y="975"/>
                  </a:lnTo>
                  <a:lnTo>
                    <a:pt x="510" y="987"/>
                  </a:lnTo>
                  <a:lnTo>
                    <a:pt x="510" y="947"/>
                  </a:lnTo>
                  <a:lnTo>
                    <a:pt x="548" y="947"/>
                  </a:lnTo>
                  <a:lnTo>
                    <a:pt x="557" y="930"/>
                  </a:lnTo>
                  <a:lnTo>
                    <a:pt x="579" y="918"/>
                  </a:lnTo>
                  <a:lnTo>
                    <a:pt x="633" y="876"/>
                  </a:lnTo>
                  <a:lnTo>
                    <a:pt x="633" y="864"/>
                  </a:lnTo>
                  <a:lnTo>
                    <a:pt x="666" y="848"/>
                  </a:lnTo>
                  <a:lnTo>
                    <a:pt x="687" y="859"/>
                  </a:lnTo>
                  <a:lnTo>
                    <a:pt x="742" y="848"/>
                  </a:lnTo>
                  <a:lnTo>
                    <a:pt x="763" y="843"/>
                  </a:lnTo>
                  <a:lnTo>
                    <a:pt x="796" y="843"/>
                  </a:lnTo>
                  <a:lnTo>
                    <a:pt x="813" y="836"/>
                  </a:lnTo>
                  <a:lnTo>
                    <a:pt x="817" y="843"/>
                  </a:lnTo>
                  <a:lnTo>
                    <a:pt x="813" y="848"/>
                  </a:lnTo>
                  <a:lnTo>
                    <a:pt x="829" y="859"/>
                  </a:lnTo>
                  <a:lnTo>
                    <a:pt x="817" y="848"/>
                  </a:lnTo>
                  <a:lnTo>
                    <a:pt x="829" y="848"/>
                  </a:lnTo>
                  <a:lnTo>
                    <a:pt x="834" y="859"/>
                  </a:lnTo>
                  <a:lnTo>
                    <a:pt x="850" y="859"/>
                  </a:lnTo>
                  <a:lnTo>
                    <a:pt x="872" y="836"/>
                  </a:lnTo>
                  <a:lnTo>
                    <a:pt x="872" y="843"/>
                  </a:lnTo>
                  <a:lnTo>
                    <a:pt x="872" y="836"/>
                  </a:lnTo>
                  <a:lnTo>
                    <a:pt x="867" y="819"/>
                  </a:lnTo>
                  <a:lnTo>
                    <a:pt x="921" y="753"/>
                  </a:lnTo>
                  <a:lnTo>
                    <a:pt x="921" y="737"/>
                  </a:lnTo>
                  <a:lnTo>
                    <a:pt x="921" y="715"/>
                  </a:lnTo>
                  <a:lnTo>
                    <a:pt x="926" y="699"/>
                  </a:lnTo>
                  <a:lnTo>
                    <a:pt x="964" y="692"/>
                  </a:lnTo>
                  <a:lnTo>
                    <a:pt x="964" y="699"/>
                  </a:lnTo>
                  <a:lnTo>
                    <a:pt x="943" y="715"/>
                  </a:lnTo>
                  <a:lnTo>
                    <a:pt x="938" y="715"/>
                  </a:lnTo>
                  <a:lnTo>
                    <a:pt x="926" y="725"/>
                  </a:lnTo>
                  <a:lnTo>
                    <a:pt x="943" y="732"/>
                  </a:lnTo>
                  <a:lnTo>
                    <a:pt x="943" y="748"/>
                  </a:lnTo>
                  <a:lnTo>
                    <a:pt x="959" y="753"/>
                  </a:lnTo>
                  <a:lnTo>
                    <a:pt x="976" y="737"/>
                  </a:lnTo>
                  <a:lnTo>
                    <a:pt x="1030" y="715"/>
                  </a:lnTo>
                  <a:lnTo>
                    <a:pt x="1051" y="699"/>
                  </a:lnTo>
                  <a:lnTo>
                    <a:pt x="1068" y="670"/>
                  </a:lnTo>
                  <a:lnTo>
                    <a:pt x="1115" y="637"/>
                  </a:lnTo>
                  <a:lnTo>
                    <a:pt x="1115" y="614"/>
                  </a:lnTo>
                  <a:lnTo>
                    <a:pt x="1136" y="581"/>
                  </a:lnTo>
                  <a:lnTo>
                    <a:pt x="1153" y="531"/>
                  </a:lnTo>
                  <a:lnTo>
                    <a:pt x="1153" y="503"/>
                  </a:lnTo>
                  <a:lnTo>
                    <a:pt x="1127" y="486"/>
                  </a:lnTo>
                  <a:lnTo>
                    <a:pt x="1127" y="486"/>
                  </a:lnTo>
                  <a:lnTo>
                    <a:pt x="1143" y="486"/>
                  </a:lnTo>
                  <a:lnTo>
                    <a:pt x="1153" y="460"/>
                  </a:lnTo>
                  <a:lnTo>
                    <a:pt x="1136" y="432"/>
                  </a:lnTo>
                  <a:lnTo>
                    <a:pt x="1153" y="415"/>
                  </a:lnTo>
                  <a:lnTo>
                    <a:pt x="1169" y="415"/>
                  </a:lnTo>
                  <a:lnTo>
                    <a:pt x="1174" y="375"/>
                  </a:lnTo>
                  <a:lnTo>
                    <a:pt x="1198" y="382"/>
                  </a:lnTo>
                  <a:lnTo>
                    <a:pt x="1198" y="415"/>
                  </a:lnTo>
                  <a:lnTo>
                    <a:pt x="1207" y="404"/>
                  </a:lnTo>
                  <a:lnTo>
                    <a:pt x="1212" y="399"/>
                  </a:lnTo>
                  <a:lnTo>
                    <a:pt x="1228" y="404"/>
                  </a:lnTo>
                  <a:lnTo>
                    <a:pt x="1235" y="404"/>
                  </a:lnTo>
                  <a:lnTo>
                    <a:pt x="1235" y="382"/>
                  </a:lnTo>
                  <a:lnTo>
                    <a:pt x="1235" y="375"/>
                  </a:lnTo>
                  <a:lnTo>
                    <a:pt x="1207" y="382"/>
                  </a:lnTo>
                  <a:lnTo>
                    <a:pt x="1212" y="349"/>
                  </a:lnTo>
                  <a:lnTo>
                    <a:pt x="1235" y="366"/>
                  </a:lnTo>
                  <a:lnTo>
                    <a:pt x="1250" y="366"/>
                  </a:lnTo>
                  <a:lnTo>
                    <a:pt x="1245" y="382"/>
                  </a:lnTo>
                  <a:lnTo>
                    <a:pt x="1250" y="432"/>
                  </a:lnTo>
                  <a:lnTo>
                    <a:pt x="1278" y="460"/>
                  </a:lnTo>
                  <a:lnTo>
                    <a:pt x="1299" y="515"/>
                  </a:lnTo>
                  <a:lnTo>
                    <a:pt x="1283" y="543"/>
                  </a:lnTo>
                  <a:lnTo>
                    <a:pt x="1283" y="564"/>
                  </a:lnTo>
                  <a:lnTo>
                    <a:pt x="1266" y="564"/>
                  </a:lnTo>
                  <a:lnTo>
                    <a:pt x="1266" y="571"/>
                  </a:lnTo>
                  <a:lnTo>
                    <a:pt x="1261" y="581"/>
                  </a:lnTo>
                  <a:lnTo>
                    <a:pt x="1261" y="626"/>
                  </a:lnTo>
                  <a:lnTo>
                    <a:pt x="1245" y="614"/>
                  </a:lnTo>
                  <a:lnTo>
                    <a:pt x="1228" y="621"/>
                  </a:lnTo>
                  <a:lnTo>
                    <a:pt x="1212" y="637"/>
                  </a:lnTo>
                  <a:lnTo>
                    <a:pt x="1212" y="654"/>
                  </a:lnTo>
                  <a:lnTo>
                    <a:pt x="1224" y="675"/>
                  </a:lnTo>
                  <a:lnTo>
                    <a:pt x="1224" y="699"/>
                  </a:lnTo>
                  <a:lnTo>
                    <a:pt x="1224" y="732"/>
                  </a:lnTo>
                  <a:lnTo>
                    <a:pt x="1207" y="748"/>
                  </a:lnTo>
                  <a:lnTo>
                    <a:pt x="1207" y="748"/>
                  </a:lnTo>
                  <a:lnTo>
                    <a:pt x="1207" y="748"/>
                  </a:lnTo>
                  <a:close/>
                  <a:moveTo>
                    <a:pt x="1044" y="626"/>
                  </a:moveTo>
                  <a:lnTo>
                    <a:pt x="1035" y="642"/>
                  </a:lnTo>
                  <a:lnTo>
                    <a:pt x="1051" y="642"/>
                  </a:lnTo>
                  <a:lnTo>
                    <a:pt x="1044" y="659"/>
                  </a:lnTo>
                  <a:lnTo>
                    <a:pt x="1030" y="670"/>
                  </a:lnTo>
                  <a:lnTo>
                    <a:pt x="1035" y="654"/>
                  </a:lnTo>
                  <a:lnTo>
                    <a:pt x="1030" y="654"/>
                  </a:lnTo>
                  <a:lnTo>
                    <a:pt x="1030" y="642"/>
                  </a:lnTo>
                  <a:lnTo>
                    <a:pt x="1044" y="626"/>
                  </a:lnTo>
                  <a:lnTo>
                    <a:pt x="1044" y="626"/>
                  </a:lnTo>
                  <a:lnTo>
                    <a:pt x="1044" y="626"/>
                  </a:lnTo>
                  <a:close/>
                  <a:moveTo>
                    <a:pt x="683" y="786"/>
                  </a:moveTo>
                  <a:lnTo>
                    <a:pt x="687" y="803"/>
                  </a:lnTo>
                  <a:lnTo>
                    <a:pt x="671" y="803"/>
                  </a:lnTo>
                  <a:lnTo>
                    <a:pt x="671" y="791"/>
                  </a:lnTo>
                  <a:lnTo>
                    <a:pt x="683" y="786"/>
                  </a:lnTo>
                  <a:lnTo>
                    <a:pt x="683" y="786"/>
                  </a:lnTo>
                  <a:lnTo>
                    <a:pt x="683" y="786"/>
                  </a:lnTo>
                  <a:close/>
                  <a:moveTo>
                    <a:pt x="1106" y="914"/>
                  </a:moveTo>
                  <a:lnTo>
                    <a:pt x="1115" y="918"/>
                  </a:lnTo>
                  <a:lnTo>
                    <a:pt x="1106" y="918"/>
                  </a:lnTo>
                  <a:lnTo>
                    <a:pt x="1106" y="914"/>
                  </a:lnTo>
                  <a:lnTo>
                    <a:pt x="1106" y="914"/>
                  </a:lnTo>
                  <a:lnTo>
                    <a:pt x="1106" y="914"/>
                  </a:lnTo>
                  <a:close/>
                  <a:moveTo>
                    <a:pt x="411" y="918"/>
                  </a:moveTo>
                  <a:lnTo>
                    <a:pt x="402" y="954"/>
                  </a:lnTo>
                  <a:lnTo>
                    <a:pt x="397" y="954"/>
                  </a:lnTo>
                  <a:lnTo>
                    <a:pt x="397" y="930"/>
                  </a:lnTo>
                  <a:lnTo>
                    <a:pt x="411" y="918"/>
                  </a:lnTo>
                  <a:lnTo>
                    <a:pt x="411" y="918"/>
                  </a:lnTo>
                  <a:lnTo>
                    <a:pt x="411" y="918"/>
                  </a:lnTo>
                  <a:close/>
                  <a:moveTo>
                    <a:pt x="780" y="959"/>
                  </a:moveTo>
                  <a:lnTo>
                    <a:pt x="775" y="954"/>
                  </a:lnTo>
                  <a:lnTo>
                    <a:pt x="796" y="930"/>
                  </a:lnTo>
                  <a:lnTo>
                    <a:pt x="791" y="947"/>
                  </a:lnTo>
                  <a:lnTo>
                    <a:pt x="796" y="959"/>
                  </a:lnTo>
                  <a:lnTo>
                    <a:pt x="780" y="959"/>
                  </a:lnTo>
                  <a:lnTo>
                    <a:pt x="780" y="959"/>
                  </a:lnTo>
                  <a:lnTo>
                    <a:pt x="780" y="959"/>
                  </a:lnTo>
                  <a:close/>
                  <a:moveTo>
                    <a:pt x="758" y="937"/>
                  </a:moveTo>
                  <a:lnTo>
                    <a:pt x="746" y="947"/>
                  </a:lnTo>
                  <a:lnTo>
                    <a:pt x="742" y="937"/>
                  </a:lnTo>
                  <a:lnTo>
                    <a:pt x="758" y="937"/>
                  </a:lnTo>
                  <a:lnTo>
                    <a:pt x="758" y="937"/>
                  </a:lnTo>
                  <a:lnTo>
                    <a:pt x="758" y="937"/>
                  </a:lnTo>
                  <a:close/>
                  <a:moveTo>
                    <a:pt x="746" y="1013"/>
                  </a:moveTo>
                  <a:lnTo>
                    <a:pt x="742" y="1041"/>
                  </a:lnTo>
                  <a:lnTo>
                    <a:pt x="725" y="1025"/>
                  </a:lnTo>
                  <a:lnTo>
                    <a:pt x="709" y="1013"/>
                  </a:lnTo>
                  <a:lnTo>
                    <a:pt x="683" y="1029"/>
                  </a:lnTo>
                  <a:lnTo>
                    <a:pt x="671" y="1041"/>
                  </a:lnTo>
                  <a:lnTo>
                    <a:pt x="657" y="1058"/>
                  </a:lnTo>
                  <a:lnTo>
                    <a:pt x="657" y="1081"/>
                  </a:lnTo>
                  <a:lnTo>
                    <a:pt x="633" y="1081"/>
                  </a:lnTo>
                  <a:lnTo>
                    <a:pt x="640" y="1065"/>
                  </a:lnTo>
                  <a:lnTo>
                    <a:pt x="619" y="1065"/>
                  </a:lnTo>
                  <a:lnTo>
                    <a:pt x="628" y="1041"/>
                  </a:lnTo>
                  <a:lnTo>
                    <a:pt x="612" y="1029"/>
                  </a:lnTo>
                  <a:lnTo>
                    <a:pt x="612" y="1025"/>
                  </a:lnTo>
                  <a:lnTo>
                    <a:pt x="586" y="1029"/>
                  </a:lnTo>
                  <a:lnTo>
                    <a:pt x="633" y="1008"/>
                  </a:lnTo>
                  <a:lnTo>
                    <a:pt x="650" y="970"/>
                  </a:lnTo>
                  <a:lnTo>
                    <a:pt x="666" y="987"/>
                  </a:lnTo>
                  <a:lnTo>
                    <a:pt x="694" y="987"/>
                  </a:lnTo>
                  <a:lnTo>
                    <a:pt x="704" y="959"/>
                  </a:lnTo>
                  <a:lnTo>
                    <a:pt x="720" y="954"/>
                  </a:lnTo>
                  <a:lnTo>
                    <a:pt x="737" y="947"/>
                  </a:lnTo>
                  <a:lnTo>
                    <a:pt x="758" y="959"/>
                  </a:lnTo>
                  <a:lnTo>
                    <a:pt x="763" y="959"/>
                  </a:lnTo>
                  <a:lnTo>
                    <a:pt x="775" y="975"/>
                  </a:lnTo>
                  <a:lnTo>
                    <a:pt x="780" y="992"/>
                  </a:lnTo>
                  <a:lnTo>
                    <a:pt x="746" y="1013"/>
                  </a:lnTo>
                  <a:lnTo>
                    <a:pt x="746" y="1013"/>
                  </a:lnTo>
                  <a:lnTo>
                    <a:pt x="746" y="1013"/>
                  </a:lnTo>
                  <a:close/>
                  <a:moveTo>
                    <a:pt x="402" y="959"/>
                  </a:moveTo>
                  <a:lnTo>
                    <a:pt x="385" y="970"/>
                  </a:lnTo>
                  <a:lnTo>
                    <a:pt x="397" y="954"/>
                  </a:lnTo>
                  <a:lnTo>
                    <a:pt x="402" y="959"/>
                  </a:lnTo>
                  <a:lnTo>
                    <a:pt x="402" y="959"/>
                  </a:lnTo>
                  <a:lnTo>
                    <a:pt x="402" y="959"/>
                  </a:lnTo>
                  <a:close/>
                  <a:moveTo>
                    <a:pt x="657" y="954"/>
                  </a:moveTo>
                  <a:lnTo>
                    <a:pt x="666" y="959"/>
                  </a:lnTo>
                  <a:lnTo>
                    <a:pt x="657" y="959"/>
                  </a:lnTo>
                  <a:lnTo>
                    <a:pt x="657" y="954"/>
                  </a:lnTo>
                  <a:lnTo>
                    <a:pt x="657" y="954"/>
                  </a:lnTo>
                  <a:lnTo>
                    <a:pt x="657" y="954"/>
                  </a:lnTo>
                  <a:close/>
                  <a:moveTo>
                    <a:pt x="628" y="959"/>
                  </a:moveTo>
                  <a:lnTo>
                    <a:pt x="619" y="970"/>
                  </a:lnTo>
                  <a:lnTo>
                    <a:pt x="619" y="959"/>
                  </a:lnTo>
                  <a:lnTo>
                    <a:pt x="628" y="959"/>
                  </a:lnTo>
                  <a:lnTo>
                    <a:pt x="628" y="959"/>
                  </a:lnTo>
                  <a:lnTo>
                    <a:pt x="628" y="959"/>
                  </a:lnTo>
                  <a:close/>
                  <a:moveTo>
                    <a:pt x="628" y="970"/>
                  </a:moveTo>
                  <a:lnTo>
                    <a:pt x="628" y="975"/>
                  </a:lnTo>
                  <a:lnTo>
                    <a:pt x="619" y="970"/>
                  </a:lnTo>
                  <a:lnTo>
                    <a:pt x="628" y="970"/>
                  </a:lnTo>
                  <a:lnTo>
                    <a:pt x="628" y="970"/>
                  </a:lnTo>
                  <a:lnTo>
                    <a:pt x="628" y="970"/>
                  </a:lnTo>
                  <a:close/>
                  <a:moveTo>
                    <a:pt x="532" y="1008"/>
                  </a:moveTo>
                  <a:lnTo>
                    <a:pt x="548" y="1013"/>
                  </a:lnTo>
                  <a:lnTo>
                    <a:pt x="557" y="1008"/>
                  </a:lnTo>
                  <a:lnTo>
                    <a:pt x="565" y="1008"/>
                  </a:lnTo>
                  <a:lnTo>
                    <a:pt x="574" y="1025"/>
                  </a:lnTo>
                  <a:lnTo>
                    <a:pt x="557" y="1029"/>
                  </a:lnTo>
                  <a:lnTo>
                    <a:pt x="557" y="1041"/>
                  </a:lnTo>
                  <a:lnTo>
                    <a:pt x="579" y="1041"/>
                  </a:lnTo>
                  <a:lnTo>
                    <a:pt x="574" y="1046"/>
                  </a:lnTo>
                  <a:lnTo>
                    <a:pt x="586" y="1070"/>
                  </a:lnTo>
                  <a:lnTo>
                    <a:pt x="565" y="1098"/>
                  </a:lnTo>
                  <a:lnTo>
                    <a:pt x="541" y="1190"/>
                  </a:lnTo>
                  <a:lnTo>
                    <a:pt x="527" y="1181"/>
                  </a:lnTo>
                  <a:lnTo>
                    <a:pt x="520" y="1190"/>
                  </a:lnTo>
                  <a:lnTo>
                    <a:pt x="527" y="1197"/>
                  </a:lnTo>
                  <a:lnTo>
                    <a:pt x="494" y="1226"/>
                  </a:lnTo>
                  <a:lnTo>
                    <a:pt x="503" y="1190"/>
                  </a:lnTo>
                  <a:lnTo>
                    <a:pt x="489" y="1174"/>
                  </a:lnTo>
                  <a:lnTo>
                    <a:pt x="503" y="1174"/>
                  </a:lnTo>
                  <a:lnTo>
                    <a:pt x="503" y="1169"/>
                  </a:lnTo>
                  <a:lnTo>
                    <a:pt x="494" y="1157"/>
                  </a:lnTo>
                  <a:lnTo>
                    <a:pt x="489" y="1174"/>
                  </a:lnTo>
                  <a:lnTo>
                    <a:pt x="494" y="1209"/>
                  </a:lnTo>
                  <a:lnTo>
                    <a:pt x="465" y="1197"/>
                  </a:lnTo>
                  <a:lnTo>
                    <a:pt x="472" y="1169"/>
                  </a:lnTo>
                  <a:lnTo>
                    <a:pt x="456" y="1157"/>
                  </a:lnTo>
                  <a:lnTo>
                    <a:pt x="456" y="1136"/>
                  </a:lnTo>
                  <a:lnTo>
                    <a:pt x="489" y="1103"/>
                  </a:lnTo>
                  <a:lnTo>
                    <a:pt x="489" y="1086"/>
                  </a:lnTo>
                  <a:lnTo>
                    <a:pt x="477" y="1086"/>
                  </a:lnTo>
                  <a:lnTo>
                    <a:pt x="489" y="1081"/>
                  </a:lnTo>
                  <a:lnTo>
                    <a:pt x="477" y="1065"/>
                  </a:lnTo>
                  <a:lnTo>
                    <a:pt x="477" y="1058"/>
                  </a:lnTo>
                  <a:lnTo>
                    <a:pt x="465" y="1046"/>
                  </a:lnTo>
                  <a:lnTo>
                    <a:pt x="456" y="1046"/>
                  </a:lnTo>
                  <a:lnTo>
                    <a:pt x="465" y="1065"/>
                  </a:lnTo>
                  <a:lnTo>
                    <a:pt x="456" y="1070"/>
                  </a:lnTo>
                  <a:lnTo>
                    <a:pt x="472" y="1070"/>
                  </a:lnTo>
                  <a:lnTo>
                    <a:pt x="472" y="1086"/>
                  </a:lnTo>
                  <a:lnTo>
                    <a:pt x="456" y="1098"/>
                  </a:lnTo>
                  <a:lnTo>
                    <a:pt x="456" y="1086"/>
                  </a:lnTo>
                  <a:lnTo>
                    <a:pt x="465" y="1081"/>
                  </a:lnTo>
                  <a:lnTo>
                    <a:pt x="456" y="1081"/>
                  </a:lnTo>
                  <a:lnTo>
                    <a:pt x="435" y="1098"/>
                  </a:lnTo>
                  <a:lnTo>
                    <a:pt x="439" y="1081"/>
                  </a:lnTo>
                  <a:lnTo>
                    <a:pt x="423" y="1070"/>
                  </a:lnTo>
                  <a:lnTo>
                    <a:pt x="423" y="1058"/>
                  </a:lnTo>
                  <a:lnTo>
                    <a:pt x="435" y="1065"/>
                  </a:lnTo>
                  <a:lnTo>
                    <a:pt x="435" y="1070"/>
                  </a:lnTo>
                  <a:lnTo>
                    <a:pt x="451" y="1070"/>
                  </a:lnTo>
                  <a:lnTo>
                    <a:pt x="439" y="1058"/>
                  </a:lnTo>
                  <a:lnTo>
                    <a:pt x="418" y="1041"/>
                  </a:lnTo>
                  <a:lnTo>
                    <a:pt x="418" y="1029"/>
                  </a:lnTo>
                  <a:lnTo>
                    <a:pt x="435" y="1029"/>
                  </a:lnTo>
                  <a:lnTo>
                    <a:pt x="439" y="1013"/>
                  </a:lnTo>
                  <a:lnTo>
                    <a:pt x="451" y="1025"/>
                  </a:lnTo>
                  <a:lnTo>
                    <a:pt x="465" y="1008"/>
                  </a:lnTo>
                  <a:lnTo>
                    <a:pt x="472" y="1008"/>
                  </a:lnTo>
                  <a:lnTo>
                    <a:pt x="477" y="992"/>
                  </a:lnTo>
                  <a:lnTo>
                    <a:pt x="494" y="987"/>
                  </a:lnTo>
                  <a:lnTo>
                    <a:pt x="520" y="987"/>
                  </a:lnTo>
                  <a:lnTo>
                    <a:pt x="527" y="1008"/>
                  </a:lnTo>
                  <a:lnTo>
                    <a:pt x="532" y="1008"/>
                  </a:lnTo>
                  <a:lnTo>
                    <a:pt x="532" y="1008"/>
                  </a:lnTo>
                  <a:lnTo>
                    <a:pt x="532" y="1008"/>
                  </a:lnTo>
                  <a:close/>
                  <a:moveTo>
                    <a:pt x="423" y="1004"/>
                  </a:moveTo>
                  <a:lnTo>
                    <a:pt x="423" y="1004"/>
                  </a:lnTo>
                  <a:lnTo>
                    <a:pt x="423" y="992"/>
                  </a:lnTo>
                  <a:lnTo>
                    <a:pt x="435" y="1004"/>
                  </a:lnTo>
                  <a:lnTo>
                    <a:pt x="423" y="1004"/>
                  </a:lnTo>
                  <a:lnTo>
                    <a:pt x="423" y="1004"/>
                  </a:lnTo>
                  <a:lnTo>
                    <a:pt x="423" y="1004"/>
                  </a:lnTo>
                  <a:close/>
                  <a:moveTo>
                    <a:pt x="418" y="1029"/>
                  </a:moveTo>
                  <a:lnTo>
                    <a:pt x="402" y="1046"/>
                  </a:lnTo>
                  <a:lnTo>
                    <a:pt x="418" y="1025"/>
                  </a:lnTo>
                  <a:lnTo>
                    <a:pt x="418" y="1029"/>
                  </a:lnTo>
                  <a:lnTo>
                    <a:pt x="418" y="1029"/>
                  </a:lnTo>
                  <a:lnTo>
                    <a:pt x="418" y="1029"/>
                  </a:lnTo>
                  <a:close/>
                  <a:moveTo>
                    <a:pt x="385" y="1058"/>
                  </a:moveTo>
                  <a:lnTo>
                    <a:pt x="385" y="1065"/>
                  </a:lnTo>
                  <a:lnTo>
                    <a:pt x="385" y="1065"/>
                  </a:lnTo>
                  <a:lnTo>
                    <a:pt x="380" y="1070"/>
                  </a:lnTo>
                  <a:lnTo>
                    <a:pt x="380" y="1065"/>
                  </a:lnTo>
                  <a:lnTo>
                    <a:pt x="385" y="1046"/>
                  </a:lnTo>
                  <a:lnTo>
                    <a:pt x="385" y="1058"/>
                  </a:lnTo>
                  <a:lnTo>
                    <a:pt x="385" y="1058"/>
                  </a:lnTo>
                  <a:lnTo>
                    <a:pt x="385" y="1058"/>
                  </a:lnTo>
                  <a:close/>
                  <a:moveTo>
                    <a:pt x="359" y="1081"/>
                  </a:moveTo>
                  <a:lnTo>
                    <a:pt x="359" y="1081"/>
                  </a:lnTo>
                  <a:lnTo>
                    <a:pt x="364" y="1081"/>
                  </a:lnTo>
                  <a:lnTo>
                    <a:pt x="369" y="1086"/>
                  </a:lnTo>
                  <a:lnTo>
                    <a:pt x="347" y="1086"/>
                  </a:lnTo>
                  <a:lnTo>
                    <a:pt x="359" y="1081"/>
                  </a:lnTo>
                  <a:lnTo>
                    <a:pt x="359" y="1081"/>
                  </a:lnTo>
                  <a:lnTo>
                    <a:pt x="359" y="1081"/>
                  </a:lnTo>
                  <a:close/>
                  <a:moveTo>
                    <a:pt x="451" y="1124"/>
                  </a:moveTo>
                  <a:lnTo>
                    <a:pt x="451" y="1103"/>
                  </a:lnTo>
                  <a:lnTo>
                    <a:pt x="456" y="1098"/>
                  </a:lnTo>
                  <a:lnTo>
                    <a:pt x="465" y="1115"/>
                  </a:lnTo>
                  <a:lnTo>
                    <a:pt x="451" y="1124"/>
                  </a:lnTo>
                  <a:lnTo>
                    <a:pt x="451" y="1124"/>
                  </a:lnTo>
                  <a:lnTo>
                    <a:pt x="451" y="1124"/>
                  </a:lnTo>
                  <a:close/>
                  <a:moveTo>
                    <a:pt x="465" y="1103"/>
                  </a:moveTo>
                  <a:lnTo>
                    <a:pt x="477" y="1098"/>
                  </a:lnTo>
                  <a:lnTo>
                    <a:pt x="472" y="1115"/>
                  </a:lnTo>
                  <a:lnTo>
                    <a:pt x="465" y="1103"/>
                  </a:lnTo>
                  <a:lnTo>
                    <a:pt x="465" y="1103"/>
                  </a:lnTo>
                  <a:lnTo>
                    <a:pt x="465" y="1103"/>
                  </a:lnTo>
                  <a:close/>
                  <a:moveTo>
                    <a:pt x="456" y="1124"/>
                  </a:moveTo>
                  <a:lnTo>
                    <a:pt x="465" y="1124"/>
                  </a:lnTo>
                  <a:lnTo>
                    <a:pt x="456" y="1124"/>
                  </a:lnTo>
                  <a:lnTo>
                    <a:pt x="456" y="1124"/>
                  </a:lnTo>
                  <a:lnTo>
                    <a:pt x="456" y="1124"/>
                  </a:lnTo>
                  <a:lnTo>
                    <a:pt x="456" y="1124"/>
                  </a:lnTo>
                  <a:close/>
                  <a:moveTo>
                    <a:pt x="423" y="1169"/>
                  </a:moveTo>
                  <a:lnTo>
                    <a:pt x="435" y="1157"/>
                  </a:lnTo>
                  <a:lnTo>
                    <a:pt x="423" y="1169"/>
                  </a:lnTo>
                  <a:lnTo>
                    <a:pt x="423" y="1169"/>
                  </a:lnTo>
                  <a:lnTo>
                    <a:pt x="423" y="1169"/>
                  </a:lnTo>
                  <a:lnTo>
                    <a:pt x="423" y="1169"/>
                  </a:lnTo>
                  <a:close/>
                  <a:moveTo>
                    <a:pt x="527" y="1230"/>
                  </a:moveTo>
                  <a:lnTo>
                    <a:pt x="520" y="1268"/>
                  </a:lnTo>
                  <a:lnTo>
                    <a:pt x="510" y="1268"/>
                  </a:lnTo>
                  <a:lnTo>
                    <a:pt x="510" y="1247"/>
                  </a:lnTo>
                  <a:lnTo>
                    <a:pt x="527" y="1230"/>
                  </a:lnTo>
                  <a:lnTo>
                    <a:pt x="527" y="1230"/>
                  </a:lnTo>
                  <a:lnTo>
                    <a:pt x="527" y="1230"/>
                  </a:lnTo>
                  <a:close/>
                  <a:moveTo>
                    <a:pt x="489" y="1263"/>
                  </a:moveTo>
                  <a:lnTo>
                    <a:pt x="494" y="1268"/>
                  </a:lnTo>
                  <a:lnTo>
                    <a:pt x="489" y="1280"/>
                  </a:lnTo>
                  <a:lnTo>
                    <a:pt x="477" y="1280"/>
                  </a:lnTo>
                  <a:lnTo>
                    <a:pt x="472" y="1268"/>
                  </a:lnTo>
                  <a:lnTo>
                    <a:pt x="489" y="1263"/>
                  </a:lnTo>
                  <a:lnTo>
                    <a:pt x="489" y="1263"/>
                  </a:lnTo>
                  <a:lnTo>
                    <a:pt x="489" y="1263"/>
                  </a:lnTo>
                  <a:close/>
                  <a:moveTo>
                    <a:pt x="423" y="1412"/>
                  </a:moveTo>
                  <a:lnTo>
                    <a:pt x="423" y="1419"/>
                  </a:lnTo>
                  <a:lnTo>
                    <a:pt x="402" y="1445"/>
                  </a:lnTo>
                  <a:lnTo>
                    <a:pt x="385" y="1436"/>
                  </a:lnTo>
                  <a:lnTo>
                    <a:pt x="423" y="1412"/>
                  </a:lnTo>
                  <a:lnTo>
                    <a:pt x="423" y="1412"/>
                  </a:lnTo>
                  <a:lnTo>
                    <a:pt x="423" y="1412"/>
                  </a:lnTo>
                  <a:close/>
                  <a:moveTo>
                    <a:pt x="397" y="1436"/>
                  </a:moveTo>
                  <a:lnTo>
                    <a:pt x="402" y="1445"/>
                  </a:lnTo>
                  <a:lnTo>
                    <a:pt x="397" y="1445"/>
                  </a:lnTo>
                  <a:lnTo>
                    <a:pt x="397" y="1436"/>
                  </a:lnTo>
                  <a:lnTo>
                    <a:pt x="397" y="1436"/>
                  </a:lnTo>
                  <a:lnTo>
                    <a:pt x="397" y="1436"/>
                  </a:lnTo>
                  <a:close/>
                  <a:moveTo>
                    <a:pt x="369" y="1457"/>
                  </a:moveTo>
                  <a:lnTo>
                    <a:pt x="380" y="1474"/>
                  </a:lnTo>
                  <a:lnTo>
                    <a:pt x="369" y="1485"/>
                  </a:lnTo>
                  <a:lnTo>
                    <a:pt x="369" y="1469"/>
                  </a:lnTo>
                  <a:lnTo>
                    <a:pt x="369" y="1457"/>
                  </a:lnTo>
                  <a:lnTo>
                    <a:pt x="369" y="1457"/>
                  </a:lnTo>
                  <a:lnTo>
                    <a:pt x="369" y="1457"/>
                  </a:lnTo>
                  <a:close/>
                  <a:moveTo>
                    <a:pt x="347" y="1502"/>
                  </a:moveTo>
                  <a:lnTo>
                    <a:pt x="359" y="1502"/>
                  </a:lnTo>
                  <a:lnTo>
                    <a:pt x="347" y="1507"/>
                  </a:lnTo>
                  <a:lnTo>
                    <a:pt x="347" y="1502"/>
                  </a:lnTo>
                  <a:lnTo>
                    <a:pt x="347" y="1502"/>
                  </a:lnTo>
                  <a:lnTo>
                    <a:pt x="347" y="1502"/>
                  </a:lnTo>
                  <a:close/>
                  <a:moveTo>
                    <a:pt x="326" y="1547"/>
                  </a:moveTo>
                  <a:lnTo>
                    <a:pt x="331" y="1547"/>
                  </a:lnTo>
                  <a:lnTo>
                    <a:pt x="326" y="1556"/>
                  </a:lnTo>
                  <a:lnTo>
                    <a:pt x="293" y="1580"/>
                  </a:lnTo>
                  <a:lnTo>
                    <a:pt x="293" y="1596"/>
                  </a:lnTo>
                  <a:lnTo>
                    <a:pt x="288" y="1601"/>
                  </a:lnTo>
                  <a:lnTo>
                    <a:pt x="288" y="1580"/>
                  </a:lnTo>
                  <a:lnTo>
                    <a:pt x="305" y="1568"/>
                  </a:lnTo>
                  <a:lnTo>
                    <a:pt x="305" y="1556"/>
                  </a:lnTo>
                  <a:lnTo>
                    <a:pt x="309" y="1563"/>
                  </a:lnTo>
                  <a:lnTo>
                    <a:pt x="326" y="1547"/>
                  </a:lnTo>
                  <a:lnTo>
                    <a:pt x="326" y="1547"/>
                  </a:lnTo>
                  <a:lnTo>
                    <a:pt x="326" y="1547"/>
                  </a:lnTo>
                  <a:close/>
                  <a:moveTo>
                    <a:pt x="217" y="1580"/>
                  </a:moveTo>
                  <a:lnTo>
                    <a:pt x="222" y="1585"/>
                  </a:lnTo>
                  <a:lnTo>
                    <a:pt x="217" y="1580"/>
                  </a:lnTo>
                  <a:lnTo>
                    <a:pt x="217" y="1580"/>
                  </a:lnTo>
                  <a:lnTo>
                    <a:pt x="217" y="1580"/>
                  </a:lnTo>
                  <a:lnTo>
                    <a:pt x="217" y="1580"/>
                  </a:lnTo>
                  <a:close/>
                  <a:moveTo>
                    <a:pt x="116" y="1696"/>
                  </a:moveTo>
                  <a:lnTo>
                    <a:pt x="125" y="1707"/>
                  </a:lnTo>
                  <a:lnTo>
                    <a:pt x="116" y="1707"/>
                  </a:lnTo>
                  <a:lnTo>
                    <a:pt x="116" y="1696"/>
                  </a:lnTo>
                  <a:lnTo>
                    <a:pt x="116" y="1696"/>
                  </a:lnTo>
                  <a:lnTo>
                    <a:pt x="116" y="1696"/>
                  </a:lnTo>
                  <a:close/>
                  <a:moveTo>
                    <a:pt x="33" y="1729"/>
                  </a:moveTo>
                  <a:lnTo>
                    <a:pt x="40" y="1729"/>
                  </a:lnTo>
                  <a:lnTo>
                    <a:pt x="45" y="1724"/>
                  </a:lnTo>
                  <a:lnTo>
                    <a:pt x="40" y="1736"/>
                  </a:lnTo>
                  <a:lnTo>
                    <a:pt x="33" y="1736"/>
                  </a:lnTo>
                  <a:lnTo>
                    <a:pt x="33" y="1729"/>
                  </a:lnTo>
                  <a:lnTo>
                    <a:pt x="33" y="1729"/>
                  </a:lnTo>
                  <a:lnTo>
                    <a:pt x="33" y="1729"/>
                  </a:lnTo>
                  <a:close/>
                  <a:moveTo>
                    <a:pt x="7" y="1729"/>
                  </a:moveTo>
                  <a:lnTo>
                    <a:pt x="24" y="1736"/>
                  </a:lnTo>
                  <a:lnTo>
                    <a:pt x="17" y="1745"/>
                  </a:lnTo>
                  <a:lnTo>
                    <a:pt x="0" y="1736"/>
                  </a:lnTo>
                  <a:lnTo>
                    <a:pt x="7" y="1729"/>
                  </a:lnTo>
                  <a:lnTo>
                    <a:pt x="7" y="1729"/>
                  </a:lnTo>
                  <a:lnTo>
                    <a:pt x="7" y="172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7" name="Freeform 477">
              <a:extLst>
                <a:ext uri="{FF2B5EF4-FFF2-40B4-BE49-F238E27FC236}">
                  <a16:creationId xmlns:a16="http://schemas.microsoft.com/office/drawing/2014/main" id="{3CD9A3AB-3572-4C95-8C0E-118DFC9E4A38}"/>
                </a:ext>
              </a:extLst>
            </p:cNvPr>
            <p:cNvSpPr>
              <a:spLocks/>
            </p:cNvSpPr>
            <p:nvPr/>
          </p:nvSpPr>
          <p:spPr bwMode="gray">
            <a:xfrm>
              <a:off x="13693435" y="2848750"/>
              <a:ext cx="5237" cy="3273"/>
            </a:xfrm>
            <a:custGeom>
              <a:avLst/>
              <a:gdLst>
                <a:gd name="T0" fmla="*/ 9 w 16"/>
                <a:gd name="T1" fmla="*/ 10 h 10"/>
                <a:gd name="T2" fmla="*/ 0 w 16"/>
                <a:gd name="T3" fmla="*/ 0 h 10"/>
                <a:gd name="T4" fmla="*/ 16 w 16"/>
                <a:gd name="T5" fmla="*/ 0 h 10"/>
                <a:gd name="T6" fmla="*/ 9 w 16"/>
                <a:gd name="T7" fmla="*/ 10 h 10"/>
                <a:gd name="T8" fmla="*/ 9 w 16"/>
                <a:gd name="T9" fmla="*/ 10 h 10"/>
                <a:gd name="T10" fmla="*/ 9 w 16"/>
                <a:gd name="T11" fmla="*/ 10 h 10"/>
              </a:gdLst>
              <a:ahLst/>
              <a:cxnLst>
                <a:cxn ang="0">
                  <a:pos x="T0" y="T1"/>
                </a:cxn>
                <a:cxn ang="0">
                  <a:pos x="T2" y="T3"/>
                </a:cxn>
                <a:cxn ang="0">
                  <a:pos x="T4" y="T5"/>
                </a:cxn>
                <a:cxn ang="0">
                  <a:pos x="T6" y="T7"/>
                </a:cxn>
                <a:cxn ang="0">
                  <a:pos x="T8" y="T9"/>
                </a:cxn>
                <a:cxn ang="0">
                  <a:pos x="T10" y="T11"/>
                </a:cxn>
              </a:cxnLst>
              <a:rect l="0" t="0" r="r" b="b"/>
              <a:pathLst>
                <a:path w="16" h="10">
                  <a:moveTo>
                    <a:pt x="9" y="10"/>
                  </a:moveTo>
                  <a:lnTo>
                    <a:pt x="0" y="0"/>
                  </a:lnTo>
                  <a:lnTo>
                    <a:pt x="16" y="0"/>
                  </a:lnTo>
                  <a:lnTo>
                    <a:pt x="9" y="10"/>
                  </a:lnTo>
                  <a:lnTo>
                    <a:pt x="9" y="10"/>
                  </a:lnTo>
                  <a:lnTo>
                    <a:pt x="9" y="1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8" name="Freeform 478">
              <a:extLst>
                <a:ext uri="{FF2B5EF4-FFF2-40B4-BE49-F238E27FC236}">
                  <a16:creationId xmlns:a16="http://schemas.microsoft.com/office/drawing/2014/main" id="{9A2D7071-77BD-4022-8A74-3528B6EF4866}"/>
                </a:ext>
              </a:extLst>
            </p:cNvPr>
            <p:cNvSpPr>
              <a:spLocks/>
            </p:cNvSpPr>
            <p:nvPr/>
          </p:nvSpPr>
          <p:spPr bwMode="gray">
            <a:xfrm>
              <a:off x="11945998" y="3672228"/>
              <a:ext cx="47458" cy="20947"/>
            </a:xfrm>
            <a:custGeom>
              <a:avLst/>
              <a:gdLst>
                <a:gd name="T0" fmla="*/ 119 w 145"/>
                <a:gd name="T1" fmla="*/ 47 h 64"/>
                <a:gd name="T2" fmla="*/ 102 w 145"/>
                <a:gd name="T3" fmla="*/ 38 h 64"/>
                <a:gd name="T4" fmla="*/ 93 w 145"/>
                <a:gd name="T5" fmla="*/ 54 h 64"/>
                <a:gd name="T6" fmla="*/ 85 w 145"/>
                <a:gd name="T7" fmla="*/ 47 h 64"/>
                <a:gd name="T8" fmla="*/ 81 w 145"/>
                <a:gd name="T9" fmla="*/ 64 h 64"/>
                <a:gd name="T10" fmla="*/ 64 w 145"/>
                <a:gd name="T11" fmla="*/ 54 h 64"/>
                <a:gd name="T12" fmla="*/ 38 w 145"/>
                <a:gd name="T13" fmla="*/ 54 h 64"/>
                <a:gd name="T14" fmla="*/ 17 w 145"/>
                <a:gd name="T15" fmla="*/ 21 h 64"/>
                <a:gd name="T16" fmla="*/ 0 w 145"/>
                <a:gd name="T17" fmla="*/ 21 h 64"/>
                <a:gd name="T18" fmla="*/ 10 w 145"/>
                <a:gd name="T19" fmla="*/ 10 h 64"/>
                <a:gd name="T20" fmla="*/ 31 w 145"/>
                <a:gd name="T21" fmla="*/ 0 h 64"/>
                <a:gd name="T22" fmla="*/ 81 w 145"/>
                <a:gd name="T23" fmla="*/ 10 h 64"/>
                <a:gd name="T24" fmla="*/ 140 w 145"/>
                <a:gd name="T25" fmla="*/ 33 h 64"/>
                <a:gd name="T26" fmla="*/ 145 w 145"/>
                <a:gd name="T27" fmla="*/ 47 h 64"/>
                <a:gd name="T28" fmla="*/ 123 w 145"/>
                <a:gd name="T29" fmla="*/ 54 h 64"/>
                <a:gd name="T30" fmla="*/ 119 w 145"/>
                <a:gd name="T31" fmla="*/ 47 h 64"/>
                <a:gd name="T32" fmla="*/ 119 w 145"/>
                <a:gd name="T33" fmla="*/ 47 h 64"/>
                <a:gd name="T34" fmla="*/ 119 w 145"/>
                <a:gd name="T35"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5" h="64">
                  <a:moveTo>
                    <a:pt x="119" y="47"/>
                  </a:moveTo>
                  <a:lnTo>
                    <a:pt x="102" y="38"/>
                  </a:lnTo>
                  <a:lnTo>
                    <a:pt x="93" y="54"/>
                  </a:lnTo>
                  <a:lnTo>
                    <a:pt x="85" y="47"/>
                  </a:lnTo>
                  <a:lnTo>
                    <a:pt x="81" y="64"/>
                  </a:lnTo>
                  <a:lnTo>
                    <a:pt x="64" y="54"/>
                  </a:lnTo>
                  <a:lnTo>
                    <a:pt x="38" y="54"/>
                  </a:lnTo>
                  <a:lnTo>
                    <a:pt x="17" y="21"/>
                  </a:lnTo>
                  <a:lnTo>
                    <a:pt x="0" y="21"/>
                  </a:lnTo>
                  <a:lnTo>
                    <a:pt x="10" y="10"/>
                  </a:lnTo>
                  <a:lnTo>
                    <a:pt x="31" y="0"/>
                  </a:lnTo>
                  <a:lnTo>
                    <a:pt x="81" y="10"/>
                  </a:lnTo>
                  <a:lnTo>
                    <a:pt x="140" y="33"/>
                  </a:lnTo>
                  <a:lnTo>
                    <a:pt x="145" y="47"/>
                  </a:lnTo>
                  <a:lnTo>
                    <a:pt x="123" y="54"/>
                  </a:lnTo>
                  <a:lnTo>
                    <a:pt x="119" y="47"/>
                  </a:lnTo>
                  <a:lnTo>
                    <a:pt x="119" y="47"/>
                  </a:lnTo>
                  <a:lnTo>
                    <a:pt x="119" y="4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9" name="Freeform 479">
              <a:extLst>
                <a:ext uri="{FF2B5EF4-FFF2-40B4-BE49-F238E27FC236}">
                  <a16:creationId xmlns:a16="http://schemas.microsoft.com/office/drawing/2014/main" id="{8965764F-1113-426F-9DED-7688209EDE18}"/>
                </a:ext>
              </a:extLst>
            </p:cNvPr>
            <p:cNvSpPr>
              <a:spLocks/>
            </p:cNvSpPr>
            <p:nvPr/>
          </p:nvSpPr>
          <p:spPr bwMode="gray">
            <a:xfrm>
              <a:off x="13534041" y="2064220"/>
              <a:ext cx="28802" cy="15383"/>
            </a:xfrm>
            <a:custGeom>
              <a:avLst/>
              <a:gdLst>
                <a:gd name="T0" fmla="*/ 12 w 88"/>
                <a:gd name="T1" fmla="*/ 47 h 47"/>
                <a:gd name="T2" fmla="*/ 0 w 88"/>
                <a:gd name="T3" fmla="*/ 35 h 47"/>
                <a:gd name="T4" fmla="*/ 50 w 88"/>
                <a:gd name="T5" fmla="*/ 14 h 47"/>
                <a:gd name="T6" fmla="*/ 55 w 88"/>
                <a:gd name="T7" fmla="*/ 0 h 47"/>
                <a:gd name="T8" fmla="*/ 88 w 88"/>
                <a:gd name="T9" fmla="*/ 0 h 47"/>
                <a:gd name="T10" fmla="*/ 76 w 88"/>
                <a:gd name="T11" fmla="*/ 14 h 47"/>
                <a:gd name="T12" fmla="*/ 38 w 88"/>
                <a:gd name="T13" fmla="*/ 21 h 47"/>
                <a:gd name="T14" fmla="*/ 12 w 88"/>
                <a:gd name="T15" fmla="*/ 47 h 47"/>
                <a:gd name="T16" fmla="*/ 12 w 88"/>
                <a:gd name="T17" fmla="*/ 47 h 47"/>
                <a:gd name="T18" fmla="*/ 12 w 88"/>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47">
                  <a:moveTo>
                    <a:pt x="12" y="47"/>
                  </a:moveTo>
                  <a:lnTo>
                    <a:pt x="0" y="35"/>
                  </a:lnTo>
                  <a:lnTo>
                    <a:pt x="50" y="14"/>
                  </a:lnTo>
                  <a:lnTo>
                    <a:pt x="55" y="0"/>
                  </a:lnTo>
                  <a:lnTo>
                    <a:pt x="88" y="0"/>
                  </a:lnTo>
                  <a:lnTo>
                    <a:pt x="76" y="14"/>
                  </a:lnTo>
                  <a:lnTo>
                    <a:pt x="38" y="21"/>
                  </a:lnTo>
                  <a:lnTo>
                    <a:pt x="12" y="47"/>
                  </a:lnTo>
                  <a:lnTo>
                    <a:pt x="12" y="47"/>
                  </a:lnTo>
                  <a:lnTo>
                    <a:pt x="12" y="4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0" name="Freeform 480">
              <a:extLst>
                <a:ext uri="{FF2B5EF4-FFF2-40B4-BE49-F238E27FC236}">
                  <a16:creationId xmlns:a16="http://schemas.microsoft.com/office/drawing/2014/main" id="{8B3214CD-1556-483C-81D9-DC743C555E41}"/>
                </a:ext>
              </a:extLst>
            </p:cNvPr>
            <p:cNvSpPr>
              <a:spLocks/>
            </p:cNvSpPr>
            <p:nvPr/>
          </p:nvSpPr>
          <p:spPr bwMode="gray">
            <a:xfrm>
              <a:off x="14547024" y="3297146"/>
              <a:ext cx="98189" cy="109972"/>
            </a:xfrm>
            <a:custGeom>
              <a:avLst/>
              <a:gdLst>
                <a:gd name="T0" fmla="*/ 38 w 300"/>
                <a:gd name="T1" fmla="*/ 152 h 336"/>
                <a:gd name="T2" fmla="*/ 38 w 300"/>
                <a:gd name="T3" fmla="*/ 90 h 336"/>
                <a:gd name="T4" fmla="*/ 38 w 300"/>
                <a:gd name="T5" fmla="*/ 83 h 336"/>
                <a:gd name="T6" fmla="*/ 38 w 300"/>
                <a:gd name="T7" fmla="*/ 55 h 336"/>
                <a:gd name="T8" fmla="*/ 49 w 300"/>
                <a:gd name="T9" fmla="*/ 55 h 336"/>
                <a:gd name="T10" fmla="*/ 71 w 300"/>
                <a:gd name="T11" fmla="*/ 50 h 336"/>
                <a:gd name="T12" fmla="*/ 75 w 300"/>
                <a:gd name="T13" fmla="*/ 67 h 336"/>
                <a:gd name="T14" fmla="*/ 101 w 300"/>
                <a:gd name="T15" fmla="*/ 83 h 336"/>
                <a:gd name="T16" fmla="*/ 130 w 300"/>
                <a:gd name="T17" fmla="*/ 83 h 336"/>
                <a:gd name="T18" fmla="*/ 269 w 300"/>
                <a:gd name="T19" fmla="*/ 0 h 336"/>
                <a:gd name="T20" fmla="*/ 283 w 300"/>
                <a:gd name="T21" fmla="*/ 67 h 336"/>
                <a:gd name="T22" fmla="*/ 279 w 300"/>
                <a:gd name="T23" fmla="*/ 74 h 336"/>
                <a:gd name="T24" fmla="*/ 283 w 300"/>
                <a:gd name="T25" fmla="*/ 83 h 336"/>
                <a:gd name="T26" fmla="*/ 300 w 300"/>
                <a:gd name="T27" fmla="*/ 83 h 336"/>
                <a:gd name="T28" fmla="*/ 300 w 300"/>
                <a:gd name="T29" fmla="*/ 90 h 336"/>
                <a:gd name="T30" fmla="*/ 290 w 300"/>
                <a:gd name="T31" fmla="*/ 95 h 336"/>
                <a:gd name="T32" fmla="*/ 283 w 300"/>
                <a:gd name="T33" fmla="*/ 107 h 336"/>
                <a:gd name="T34" fmla="*/ 139 w 300"/>
                <a:gd name="T35" fmla="*/ 145 h 336"/>
                <a:gd name="T36" fmla="*/ 210 w 300"/>
                <a:gd name="T37" fmla="*/ 234 h 336"/>
                <a:gd name="T38" fmla="*/ 182 w 300"/>
                <a:gd name="T39" fmla="*/ 239 h 336"/>
                <a:gd name="T40" fmla="*/ 177 w 300"/>
                <a:gd name="T41" fmla="*/ 274 h 336"/>
                <a:gd name="T42" fmla="*/ 123 w 300"/>
                <a:gd name="T43" fmla="*/ 279 h 336"/>
                <a:gd name="T44" fmla="*/ 108 w 300"/>
                <a:gd name="T45" fmla="*/ 312 h 336"/>
                <a:gd name="T46" fmla="*/ 75 w 300"/>
                <a:gd name="T47" fmla="*/ 336 h 336"/>
                <a:gd name="T48" fmla="*/ 0 w 300"/>
                <a:gd name="T49" fmla="*/ 317 h 336"/>
                <a:gd name="T50" fmla="*/ 0 w 300"/>
                <a:gd name="T51" fmla="*/ 308 h 336"/>
                <a:gd name="T52" fmla="*/ 16 w 300"/>
                <a:gd name="T53" fmla="*/ 256 h 336"/>
                <a:gd name="T54" fmla="*/ 16 w 300"/>
                <a:gd name="T55" fmla="*/ 234 h 336"/>
                <a:gd name="T56" fmla="*/ 33 w 300"/>
                <a:gd name="T57" fmla="*/ 178 h 336"/>
                <a:gd name="T58" fmla="*/ 33 w 300"/>
                <a:gd name="T59" fmla="*/ 168 h 336"/>
                <a:gd name="T60" fmla="*/ 38 w 300"/>
                <a:gd name="T61" fmla="*/ 152 h 336"/>
                <a:gd name="T62" fmla="*/ 38 w 300"/>
                <a:gd name="T63" fmla="*/ 152 h 336"/>
                <a:gd name="T64" fmla="*/ 38 w 300"/>
                <a:gd name="T65" fmla="*/ 15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336">
                  <a:moveTo>
                    <a:pt x="38" y="152"/>
                  </a:moveTo>
                  <a:lnTo>
                    <a:pt x="38" y="90"/>
                  </a:lnTo>
                  <a:lnTo>
                    <a:pt x="38" y="83"/>
                  </a:lnTo>
                  <a:lnTo>
                    <a:pt x="38" y="55"/>
                  </a:lnTo>
                  <a:lnTo>
                    <a:pt x="49" y="55"/>
                  </a:lnTo>
                  <a:lnTo>
                    <a:pt x="71" y="50"/>
                  </a:lnTo>
                  <a:lnTo>
                    <a:pt x="75" y="67"/>
                  </a:lnTo>
                  <a:lnTo>
                    <a:pt x="101" y="83"/>
                  </a:lnTo>
                  <a:lnTo>
                    <a:pt x="130" y="83"/>
                  </a:lnTo>
                  <a:lnTo>
                    <a:pt x="269" y="0"/>
                  </a:lnTo>
                  <a:lnTo>
                    <a:pt x="283" y="67"/>
                  </a:lnTo>
                  <a:lnTo>
                    <a:pt x="279" y="74"/>
                  </a:lnTo>
                  <a:lnTo>
                    <a:pt x="283" y="83"/>
                  </a:lnTo>
                  <a:lnTo>
                    <a:pt x="300" y="83"/>
                  </a:lnTo>
                  <a:lnTo>
                    <a:pt x="300" y="90"/>
                  </a:lnTo>
                  <a:lnTo>
                    <a:pt x="290" y="95"/>
                  </a:lnTo>
                  <a:lnTo>
                    <a:pt x="283" y="107"/>
                  </a:lnTo>
                  <a:lnTo>
                    <a:pt x="139" y="145"/>
                  </a:lnTo>
                  <a:lnTo>
                    <a:pt x="210" y="234"/>
                  </a:lnTo>
                  <a:lnTo>
                    <a:pt x="182" y="239"/>
                  </a:lnTo>
                  <a:lnTo>
                    <a:pt x="177" y="274"/>
                  </a:lnTo>
                  <a:lnTo>
                    <a:pt x="123" y="279"/>
                  </a:lnTo>
                  <a:lnTo>
                    <a:pt x="108" y="312"/>
                  </a:lnTo>
                  <a:lnTo>
                    <a:pt x="75" y="336"/>
                  </a:lnTo>
                  <a:lnTo>
                    <a:pt x="0" y="317"/>
                  </a:lnTo>
                  <a:lnTo>
                    <a:pt x="0" y="308"/>
                  </a:lnTo>
                  <a:lnTo>
                    <a:pt x="16" y="256"/>
                  </a:lnTo>
                  <a:lnTo>
                    <a:pt x="16" y="234"/>
                  </a:lnTo>
                  <a:lnTo>
                    <a:pt x="33" y="178"/>
                  </a:lnTo>
                  <a:lnTo>
                    <a:pt x="33" y="168"/>
                  </a:lnTo>
                  <a:lnTo>
                    <a:pt x="38" y="152"/>
                  </a:lnTo>
                  <a:lnTo>
                    <a:pt x="38" y="152"/>
                  </a:lnTo>
                  <a:lnTo>
                    <a:pt x="38" y="152"/>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1" name="Freeform 481">
              <a:extLst>
                <a:ext uri="{FF2B5EF4-FFF2-40B4-BE49-F238E27FC236}">
                  <a16:creationId xmlns:a16="http://schemas.microsoft.com/office/drawing/2014/main" id="{96EACF7D-6D07-485C-A9AA-186015F94B57}"/>
                </a:ext>
              </a:extLst>
            </p:cNvPr>
            <p:cNvSpPr>
              <a:spLocks noEditPoints="1"/>
            </p:cNvSpPr>
            <p:nvPr/>
          </p:nvSpPr>
          <p:spPr bwMode="gray">
            <a:xfrm>
              <a:off x="14521495" y="4004761"/>
              <a:ext cx="183941" cy="220925"/>
            </a:xfrm>
            <a:custGeom>
              <a:avLst/>
              <a:gdLst>
                <a:gd name="T0" fmla="*/ 0 w 562"/>
                <a:gd name="T1" fmla="*/ 408 h 675"/>
                <a:gd name="T2" fmla="*/ 7 w 562"/>
                <a:gd name="T3" fmla="*/ 347 h 675"/>
                <a:gd name="T4" fmla="*/ 0 w 562"/>
                <a:gd name="T5" fmla="*/ 331 h 675"/>
                <a:gd name="T6" fmla="*/ 23 w 562"/>
                <a:gd name="T7" fmla="*/ 290 h 675"/>
                <a:gd name="T8" fmla="*/ 38 w 562"/>
                <a:gd name="T9" fmla="*/ 274 h 675"/>
                <a:gd name="T10" fmla="*/ 45 w 562"/>
                <a:gd name="T11" fmla="*/ 253 h 675"/>
                <a:gd name="T12" fmla="*/ 71 w 562"/>
                <a:gd name="T13" fmla="*/ 241 h 675"/>
                <a:gd name="T14" fmla="*/ 61 w 562"/>
                <a:gd name="T15" fmla="*/ 234 h 675"/>
                <a:gd name="T16" fmla="*/ 75 w 562"/>
                <a:gd name="T17" fmla="*/ 212 h 675"/>
                <a:gd name="T18" fmla="*/ 75 w 562"/>
                <a:gd name="T19" fmla="*/ 196 h 675"/>
                <a:gd name="T20" fmla="*/ 71 w 562"/>
                <a:gd name="T21" fmla="*/ 156 h 675"/>
                <a:gd name="T22" fmla="*/ 61 w 562"/>
                <a:gd name="T23" fmla="*/ 130 h 675"/>
                <a:gd name="T24" fmla="*/ 45 w 562"/>
                <a:gd name="T25" fmla="*/ 123 h 675"/>
                <a:gd name="T26" fmla="*/ 38 w 562"/>
                <a:gd name="T27" fmla="*/ 90 h 675"/>
                <a:gd name="T28" fmla="*/ 38 w 562"/>
                <a:gd name="T29" fmla="*/ 68 h 675"/>
                <a:gd name="T30" fmla="*/ 23 w 562"/>
                <a:gd name="T31" fmla="*/ 57 h 675"/>
                <a:gd name="T32" fmla="*/ 7 w 562"/>
                <a:gd name="T33" fmla="*/ 28 h 675"/>
                <a:gd name="T34" fmla="*/ 38 w 562"/>
                <a:gd name="T35" fmla="*/ 0 h 675"/>
                <a:gd name="T36" fmla="*/ 146 w 562"/>
                <a:gd name="T37" fmla="*/ 0 h 675"/>
                <a:gd name="T38" fmla="*/ 153 w 562"/>
                <a:gd name="T39" fmla="*/ 12 h 675"/>
                <a:gd name="T40" fmla="*/ 222 w 562"/>
                <a:gd name="T41" fmla="*/ 19 h 675"/>
                <a:gd name="T42" fmla="*/ 305 w 562"/>
                <a:gd name="T43" fmla="*/ 73 h 675"/>
                <a:gd name="T44" fmla="*/ 326 w 562"/>
                <a:gd name="T45" fmla="*/ 73 h 675"/>
                <a:gd name="T46" fmla="*/ 394 w 562"/>
                <a:gd name="T47" fmla="*/ 90 h 675"/>
                <a:gd name="T48" fmla="*/ 418 w 562"/>
                <a:gd name="T49" fmla="*/ 52 h 675"/>
                <a:gd name="T50" fmla="*/ 486 w 562"/>
                <a:gd name="T51" fmla="*/ 28 h 675"/>
                <a:gd name="T52" fmla="*/ 510 w 562"/>
                <a:gd name="T53" fmla="*/ 52 h 675"/>
                <a:gd name="T54" fmla="*/ 562 w 562"/>
                <a:gd name="T55" fmla="*/ 45 h 675"/>
                <a:gd name="T56" fmla="*/ 524 w 562"/>
                <a:gd name="T57" fmla="*/ 106 h 675"/>
                <a:gd name="T58" fmla="*/ 503 w 562"/>
                <a:gd name="T59" fmla="*/ 130 h 675"/>
                <a:gd name="T60" fmla="*/ 503 w 562"/>
                <a:gd name="T61" fmla="*/ 401 h 675"/>
                <a:gd name="T62" fmla="*/ 541 w 562"/>
                <a:gd name="T63" fmla="*/ 458 h 675"/>
                <a:gd name="T64" fmla="*/ 524 w 562"/>
                <a:gd name="T65" fmla="*/ 475 h 675"/>
                <a:gd name="T66" fmla="*/ 494 w 562"/>
                <a:gd name="T67" fmla="*/ 479 h 675"/>
                <a:gd name="T68" fmla="*/ 494 w 562"/>
                <a:gd name="T69" fmla="*/ 508 h 675"/>
                <a:gd name="T70" fmla="*/ 486 w 562"/>
                <a:gd name="T71" fmla="*/ 496 h 675"/>
                <a:gd name="T72" fmla="*/ 486 w 562"/>
                <a:gd name="T73" fmla="*/ 508 h 675"/>
                <a:gd name="T74" fmla="*/ 472 w 562"/>
                <a:gd name="T75" fmla="*/ 520 h 675"/>
                <a:gd name="T76" fmla="*/ 465 w 562"/>
                <a:gd name="T77" fmla="*/ 520 h 675"/>
                <a:gd name="T78" fmla="*/ 449 w 562"/>
                <a:gd name="T79" fmla="*/ 529 h 675"/>
                <a:gd name="T80" fmla="*/ 439 w 562"/>
                <a:gd name="T81" fmla="*/ 569 h 675"/>
                <a:gd name="T82" fmla="*/ 423 w 562"/>
                <a:gd name="T83" fmla="*/ 574 h 675"/>
                <a:gd name="T84" fmla="*/ 385 w 562"/>
                <a:gd name="T85" fmla="*/ 675 h 675"/>
                <a:gd name="T86" fmla="*/ 368 w 562"/>
                <a:gd name="T87" fmla="*/ 675 h 675"/>
                <a:gd name="T88" fmla="*/ 260 w 562"/>
                <a:gd name="T89" fmla="*/ 586 h 675"/>
                <a:gd name="T90" fmla="*/ 271 w 562"/>
                <a:gd name="T91" fmla="*/ 574 h 675"/>
                <a:gd name="T92" fmla="*/ 260 w 562"/>
                <a:gd name="T93" fmla="*/ 553 h 675"/>
                <a:gd name="T94" fmla="*/ 0 w 562"/>
                <a:gd name="T95" fmla="*/ 408 h 675"/>
                <a:gd name="T96" fmla="*/ 0 w 562"/>
                <a:gd name="T97" fmla="*/ 408 h 675"/>
                <a:gd name="T98" fmla="*/ 0 w 562"/>
                <a:gd name="T99" fmla="*/ 408 h 675"/>
                <a:gd name="T100" fmla="*/ 503 w 562"/>
                <a:gd name="T101" fmla="*/ 496 h 675"/>
                <a:gd name="T102" fmla="*/ 503 w 562"/>
                <a:gd name="T103" fmla="*/ 491 h 675"/>
                <a:gd name="T104" fmla="*/ 510 w 562"/>
                <a:gd name="T105" fmla="*/ 491 h 675"/>
                <a:gd name="T106" fmla="*/ 503 w 562"/>
                <a:gd name="T107" fmla="*/ 496 h 675"/>
                <a:gd name="T108" fmla="*/ 503 w 562"/>
                <a:gd name="T109" fmla="*/ 496 h 675"/>
                <a:gd name="T110" fmla="*/ 503 w 562"/>
                <a:gd name="T111" fmla="*/ 496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2" h="675">
                  <a:moveTo>
                    <a:pt x="0" y="408"/>
                  </a:moveTo>
                  <a:lnTo>
                    <a:pt x="7" y="347"/>
                  </a:lnTo>
                  <a:lnTo>
                    <a:pt x="0" y="331"/>
                  </a:lnTo>
                  <a:lnTo>
                    <a:pt x="23" y="290"/>
                  </a:lnTo>
                  <a:lnTo>
                    <a:pt x="38" y="274"/>
                  </a:lnTo>
                  <a:lnTo>
                    <a:pt x="45" y="253"/>
                  </a:lnTo>
                  <a:lnTo>
                    <a:pt x="71" y="241"/>
                  </a:lnTo>
                  <a:lnTo>
                    <a:pt x="61" y="234"/>
                  </a:lnTo>
                  <a:lnTo>
                    <a:pt x="75" y="212"/>
                  </a:lnTo>
                  <a:lnTo>
                    <a:pt x="75" y="196"/>
                  </a:lnTo>
                  <a:lnTo>
                    <a:pt x="71" y="156"/>
                  </a:lnTo>
                  <a:lnTo>
                    <a:pt x="61" y="130"/>
                  </a:lnTo>
                  <a:lnTo>
                    <a:pt x="45" y="123"/>
                  </a:lnTo>
                  <a:lnTo>
                    <a:pt x="38" y="90"/>
                  </a:lnTo>
                  <a:lnTo>
                    <a:pt x="38" y="68"/>
                  </a:lnTo>
                  <a:lnTo>
                    <a:pt x="23" y="57"/>
                  </a:lnTo>
                  <a:lnTo>
                    <a:pt x="7" y="28"/>
                  </a:lnTo>
                  <a:lnTo>
                    <a:pt x="38" y="0"/>
                  </a:lnTo>
                  <a:lnTo>
                    <a:pt x="146" y="0"/>
                  </a:lnTo>
                  <a:lnTo>
                    <a:pt x="153" y="12"/>
                  </a:lnTo>
                  <a:lnTo>
                    <a:pt x="222" y="19"/>
                  </a:lnTo>
                  <a:lnTo>
                    <a:pt x="305" y="73"/>
                  </a:lnTo>
                  <a:lnTo>
                    <a:pt x="326" y="73"/>
                  </a:lnTo>
                  <a:lnTo>
                    <a:pt x="394" y="90"/>
                  </a:lnTo>
                  <a:lnTo>
                    <a:pt x="418" y="52"/>
                  </a:lnTo>
                  <a:lnTo>
                    <a:pt x="486" y="28"/>
                  </a:lnTo>
                  <a:lnTo>
                    <a:pt x="510" y="52"/>
                  </a:lnTo>
                  <a:lnTo>
                    <a:pt x="562" y="45"/>
                  </a:lnTo>
                  <a:lnTo>
                    <a:pt x="524" y="106"/>
                  </a:lnTo>
                  <a:lnTo>
                    <a:pt x="503" y="130"/>
                  </a:lnTo>
                  <a:lnTo>
                    <a:pt x="503" y="401"/>
                  </a:lnTo>
                  <a:lnTo>
                    <a:pt x="541" y="458"/>
                  </a:lnTo>
                  <a:lnTo>
                    <a:pt x="524" y="475"/>
                  </a:lnTo>
                  <a:lnTo>
                    <a:pt x="494" y="479"/>
                  </a:lnTo>
                  <a:lnTo>
                    <a:pt x="494" y="508"/>
                  </a:lnTo>
                  <a:lnTo>
                    <a:pt x="486" y="496"/>
                  </a:lnTo>
                  <a:lnTo>
                    <a:pt x="486" y="508"/>
                  </a:lnTo>
                  <a:lnTo>
                    <a:pt x="472" y="520"/>
                  </a:lnTo>
                  <a:lnTo>
                    <a:pt x="465" y="520"/>
                  </a:lnTo>
                  <a:lnTo>
                    <a:pt x="449" y="529"/>
                  </a:lnTo>
                  <a:lnTo>
                    <a:pt x="439" y="569"/>
                  </a:lnTo>
                  <a:lnTo>
                    <a:pt x="423" y="574"/>
                  </a:lnTo>
                  <a:lnTo>
                    <a:pt x="385" y="675"/>
                  </a:lnTo>
                  <a:lnTo>
                    <a:pt x="368" y="675"/>
                  </a:lnTo>
                  <a:lnTo>
                    <a:pt x="260" y="586"/>
                  </a:lnTo>
                  <a:lnTo>
                    <a:pt x="271" y="574"/>
                  </a:lnTo>
                  <a:lnTo>
                    <a:pt x="260" y="553"/>
                  </a:lnTo>
                  <a:lnTo>
                    <a:pt x="0" y="408"/>
                  </a:lnTo>
                  <a:lnTo>
                    <a:pt x="0" y="408"/>
                  </a:lnTo>
                  <a:lnTo>
                    <a:pt x="0" y="408"/>
                  </a:lnTo>
                  <a:close/>
                  <a:moveTo>
                    <a:pt x="503" y="496"/>
                  </a:moveTo>
                  <a:lnTo>
                    <a:pt x="503" y="491"/>
                  </a:lnTo>
                  <a:lnTo>
                    <a:pt x="510" y="491"/>
                  </a:lnTo>
                  <a:lnTo>
                    <a:pt x="503" y="496"/>
                  </a:lnTo>
                  <a:lnTo>
                    <a:pt x="503" y="496"/>
                  </a:lnTo>
                  <a:lnTo>
                    <a:pt x="503" y="496"/>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2" name="Freeform 482">
              <a:extLst>
                <a:ext uri="{FF2B5EF4-FFF2-40B4-BE49-F238E27FC236}">
                  <a16:creationId xmlns:a16="http://schemas.microsoft.com/office/drawing/2014/main" id="{8340FE2C-471C-4472-96FE-CC530387E2FA}"/>
                </a:ext>
              </a:extLst>
            </p:cNvPr>
            <p:cNvSpPr>
              <a:spLocks/>
            </p:cNvSpPr>
            <p:nvPr/>
          </p:nvSpPr>
          <p:spPr bwMode="gray">
            <a:xfrm>
              <a:off x="15334827" y="3025817"/>
              <a:ext cx="250382" cy="113899"/>
            </a:xfrm>
            <a:custGeom>
              <a:avLst/>
              <a:gdLst>
                <a:gd name="T0" fmla="*/ 397 w 765"/>
                <a:gd name="T1" fmla="*/ 255 h 348"/>
                <a:gd name="T2" fmla="*/ 359 w 765"/>
                <a:gd name="T3" fmla="*/ 272 h 348"/>
                <a:gd name="T4" fmla="*/ 321 w 765"/>
                <a:gd name="T5" fmla="*/ 305 h 348"/>
                <a:gd name="T6" fmla="*/ 321 w 765"/>
                <a:gd name="T7" fmla="*/ 326 h 348"/>
                <a:gd name="T8" fmla="*/ 271 w 765"/>
                <a:gd name="T9" fmla="*/ 331 h 348"/>
                <a:gd name="T10" fmla="*/ 212 w 765"/>
                <a:gd name="T11" fmla="*/ 348 h 348"/>
                <a:gd name="T12" fmla="*/ 168 w 765"/>
                <a:gd name="T13" fmla="*/ 343 h 348"/>
                <a:gd name="T14" fmla="*/ 158 w 765"/>
                <a:gd name="T15" fmla="*/ 326 h 348"/>
                <a:gd name="T16" fmla="*/ 125 w 765"/>
                <a:gd name="T17" fmla="*/ 326 h 348"/>
                <a:gd name="T18" fmla="*/ 104 w 765"/>
                <a:gd name="T19" fmla="*/ 331 h 348"/>
                <a:gd name="T20" fmla="*/ 87 w 765"/>
                <a:gd name="T21" fmla="*/ 315 h 348"/>
                <a:gd name="T22" fmla="*/ 0 w 765"/>
                <a:gd name="T23" fmla="*/ 293 h 348"/>
                <a:gd name="T24" fmla="*/ 7 w 765"/>
                <a:gd name="T25" fmla="*/ 289 h 348"/>
                <a:gd name="T26" fmla="*/ 16 w 765"/>
                <a:gd name="T27" fmla="*/ 272 h 348"/>
                <a:gd name="T28" fmla="*/ 87 w 765"/>
                <a:gd name="T29" fmla="*/ 277 h 348"/>
                <a:gd name="T30" fmla="*/ 92 w 765"/>
                <a:gd name="T31" fmla="*/ 289 h 348"/>
                <a:gd name="T32" fmla="*/ 113 w 765"/>
                <a:gd name="T33" fmla="*/ 272 h 348"/>
                <a:gd name="T34" fmla="*/ 146 w 765"/>
                <a:gd name="T35" fmla="*/ 255 h 348"/>
                <a:gd name="T36" fmla="*/ 196 w 765"/>
                <a:gd name="T37" fmla="*/ 260 h 348"/>
                <a:gd name="T38" fmla="*/ 201 w 765"/>
                <a:gd name="T39" fmla="*/ 248 h 348"/>
                <a:gd name="T40" fmla="*/ 217 w 765"/>
                <a:gd name="T41" fmla="*/ 232 h 348"/>
                <a:gd name="T42" fmla="*/ 250 w 765"/>
                <a:gd name="T43" fmla="*/ 222 h 348"/>
                <a:gd name="T44" fmla="*/ 234 w 765"/>
                <a:gd name="T45" fmla="*/ 206 h 348"/>
                <a:gd name="T46" fmla="*/ 201 w 765"/>
                <a:gd name="T47" fmla="*/ 199 h 348"/>
                <a:gd name="T48" fmla="*/ 184 w 765"/>
                <a:gd name="T49" fmla="*/ 182 h 348"/>
                <a:gd name="T50" fmla="*/ 168 w 765"/>
                <a:gd name="T51" fmla="*/ 149 h 348"/>
                <a:gd name="T52" fmla="*/ 146 w 765"/>
                <a:gd name="T53" fmla="*/ 166 h 348"/>
                <a:gd name="T54" fmla="*/ 108 w 765"/>
                <a:gd name="T55" fmla="*/ 178 h 348"/>
                <a:gd name="T56" fmla="*/ 87 w 765"/>
                <a:gd name="T57" fmla="*/ 161 h 348"/>
                <a:gd name="T58" fmla="*/ 104 w 765"/>
                <a:gd name="T59" fmla="*/ 123 h 348"/>
                <a:gd name="T60" fmla="*/ 108 w 765"/>
                <a:gd name="T61" fmla="*/ 107 h 348"/>
                <a:gd name="T62" fmla="*/ 125 w 765"/>
                <a:gd name="T63" fmla="*/ 78 h 348"/>
                <a:gd name="T64" fmla="*/ 108 w 765"/>
                <a:gd name="T65" fmla="*/ 78 h 348"/>
                <a:gd name="T66" fmla="*/ 168 w 765"/>
                <a:gd name="T67" fmla="*/ 41 h 348"/>
                <a:gd name="T68" fmla="*/ 293 w 765"/>
                <a:gd name="T69" fmla="*/ 74 h 348"/>
                <a:gd name="T70" fmla="*/ 305 w 765"/>
                <a:gd name="T71" fmla="*/ 17 h 348"/>
                <a:gd name="T72" fmla="*/ 385 w 765"/>
                <a:gd name="T73" fmla="*/ 24 h 348"/>
                <a:gd name="T74" fmla="*/ 456 w 765"/>
                <a:gd name="T75" fmla="*/ 24 h 348"/>
                <a:gd name="T76" fmla="*/ 543 w 765"/>
                <a:gd name="T77" fmla="*/ 24 h 348"/>
                <a:gd name="T78" fmla="*/ 699 w 765"/>
                <a:gd name="T79" fmla="*/ 41 h 348"/>
                <a:gd name="T80" fmla="*/ 711 w 765"/>
                <a:gd name="T81" fmla="*/ 74 h 348"/>
                <a:gd name="T82" fmla="*/ 765 w 765"/>
                <a:gd name="T83" fmla="*/ 95 h 348"/>
                <a:gd name="T84" fmla="*/ 742 w 765"/>
                <a:gd name="T85" fmla="*/ 111 h 348"/>
                <a:gd name="T86" fmla="*/ 704 w 765"/>
                <a:gd name="T87" fmla="*/ 128 h 348"/>
                <a:gd name="T88" fmla="*/ 635 w 765"/>
                <a:gd name="T89" fmla="*/ 178 h 348"/>
                <a:gd name="T90" fmla="*/ 536 w 765"/>
                <a:gd name="T91" fmla="*/ 199 h 348"/>
                <a:gd name="T92" fmla="*/ 520 w 765"/>
                <a:gd name="T93" fmla="*/ 232 h 348"/>
                <a:gd name="T94" fmla="*/ 482 w 765"/>
                <a:gd name="T95" fmla="*/ 248 h 348"/>
                <a:gd name="T96" fmla="*/ 439 w 765"/>
                <a:gd name="T97" fmla="*/ 232 h 348"/>
                <a:gd name="T98" fmla="*/ 385 w 765"/>
                <a:gd name="T99" fmla="*/ 239 h 348"/>
                <a:gd name="T100" fmla="*/ 385 w 765"/>
                <a:gd name="T101" fmla="*/ 23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5" h="348">
                  <a:moveTo>
                    <a:pt x="385" y="239"/>
                  </a:moveTo>
                  <a:lnTo>
                    <a:pt x="397" y="255"/>
                  </a:lnTo>
                  <a:lnTo>
                    <a:pt x="380" y="255"/>
                  </a:lnTo>
                  <a:lnTo>
                    <a:pt x="359" y="272"/>
                  </a:lnTo>
                  <a:lnTo>
                    <a:pt x="331" y="277"/>
                  </a:lnTo>
                  <a:lnTo>
                    <a:pt x="321" y="305"/>
                  </a:lnTo>
                  <a:lnTo>
                    <a:pt x="326" y="315"/>
                  </a:lnTo>
                  <a:lnTo>
                    <a:pt x="321" y="326"/>
                  </a:lnTo>
                  <a:lnTo>
                    <a:pt x="309" y="326"/>
                  </a:lnTo>
                  <a:lnTo>
                    <a:pt x="271" y="331"/>
                  </a:lnTo>
                  <a:lnTo>
                    <a:pt x="217" y="331"/>
                  </a:lnTo>
                  <a:lnTo>
                    <a:pt x="212" y="348"/>
                  </a:lnTo>
                  <a:lnTo>
                    <a:pt x="196" y="331"/>
                  </a:lnTo>
                  <a:lnTo>
                    <a:pt x="168" y="343"/>
                  </a:lnTo>
                  <a:lnTo>
                    <a:pt x="168" y="326"/>
                  </a:lnTo>
                  <a:lnTo>
                    <a:pt x="158" y="326"/>
                  </a:lnTo>
                  <a:lnTo>
                    <a:pt x="158" y="315"/>
                  </a:lnTo>
                  <a:lnTo>
                    <a:pt x="125" y="326"/>
                  </a:lnTo>
                  <a:lnTo>
                    <a:pt x="113" y="331"/>
                  </a:lnTo>
                  <a:lnTo>
                    <a:pt x="104" y="331"/>
                  </a:lnTo>
                  <a:lnTo>
                    <a:pt x="92" y="315"/>
                  </a:lnTo>
                  <a:lnTo>
                    <a:pt x="87" y="315"/>
                  </a:lnTo>
                  <a:lnTo>
                    <a:pt x="0" y="315"/>
                  </a:lnTo>
                  <a:lnTo>
                    <a:pt x="0" y="293"/>
                  </a:lnTo>
                  <a:lnTo>
                    <a:pt x="0" y="277"/>
                  </a:lnTo>
                  <a:lnTo>
                    <a:pt x="7" y="289"/>
                  </a:lnTo>
                  <a:lnTo>
                    <a:pt x="16" y="289"/>
                  </a:lnTo>
                  <a:lnTo>
                    <a:pt x="16" y="272"/>
                  </a:lnTo>
                  <a:lnTo>
                    <a:pt x="54" y="260"/>
                  </a:lnTo>
                  <a:lnTo>
                    <a:pt x="87" y="277"/>
                  </a:lnTo>
                  <a:lnTo>
                    <a:pt x="87" y="289"/>
                  </a:lnTo>
                  <a:lnTo>
                    <a:pt x="92" y="289"/>
                  </a:lnTo>
                  <a:lnTo>
                    <a:pt x="92" y="272"/>
                  </a:lnTo>
                  <a:lnTo>
                    <a:pt x="113" y="272"/>
                  </a:lnTo>
                  <a:lnTo>
                    <a:pt x="113" y="260"/>
                  </a:lnTo>
                  <a:lnTo>
                    <a:pt x="146" y="255"/>
                  </a:lnTo>
                  <a:lnTo>
                    <a:pt x="168" y="272"/>
                  </a:lnTo>
                  <a:lnTo>
                    <a:pt x="196" y="260"/>
                  </a:lnTo>
                  <a:lnTo>
                    <a:pt x="196" y="255"/>
                  </a:lnTo>
                  <a:lnTo>
                    <a:pt x="201" y="248"/>
                  </a:lnTo>
                  <a:lnTo>
                    <a:pt x="217" y="248"/>
                  </a:lnTo>
                  <a:lnTo>
                    <a:pt x="217" y="232"/>
                  </a:lnTo>
                  <a:lnTo>
                    <a:pt x="234" y="239"/>
                  </a:lnTo>
                  <a:lnTo>
                    <a:pt x="250" y="222"/>
                  </a:lnTo>
                  <a:lnTo>
                    <a:pt x="271" y="215"/>
                  </a:lnTo>
                  <a:lnTo>
                    <a:pt x="234" y="206"/>
                  </a:lnTo>
                  <a:lnTo>
                    <a:pt x="217" y="194"/>
                  </a:lnTo>
                  <a:lnTo>
                    <a:pt x="201" y="199"/>
                  </a:lnTo>
                  <a:lnTo>
                    <a:pt x="201" y="182"/>
                  </a:lnTo>
                  <a:lnTo>
                    <a:pt x="184" y="182"/>
                  </a:lnTo>
                  <a:lnTo>
                    <a:pt x="184" y="166"/>
                  </a:lnTo>
                  <a:lnTo>
                    <a:pt x="168" y="149"/>
                  </a:lnTo>
                  <a:lnTo>
                    <a:pt x="163" y="166"/>
                  </a:lnTo>
                  <a:lnTo>
                    <a:pt x="146" y="166"/>
                  </a:lnTo>
                  <a:lnTo>
                    <a:pt x="146" y="182"/>
                  </a:lnTo>
                  <a:lnTo>
                    <a:pt x="108" y="178"/>
                  </a:lnTo>
                  <a:lnTo>
                    <a:pt x="104" y="161"/>
                  </a:lnTo>
                  <a:lnTo>
                    <a:pt x="87" y="161"/>
                  </a:lnTo>
                  <a:lnTo>
                    <a:pt x="61" y="149"/>
                  </a:lnTo>
                  <a:lnTo>
                    <a:pt x="104" y="123"/>
                  </a:lnTo>
                  <a:lnTo>
                    <a:pt x="108" y="123"/>
                  </a:lnTo>
                  <a:lnTo>
                    <a:pt x="108" y="107"/>
                  </a:lnTo>
                  <a:lnTo>
                    <a:pt x="142" y="95"/>
                  </a:lnTo>
                  <a:lnTo>
                    <a:pt x="125" y="78"/>
                  </a:lnTo>
                  <a:lnTo>
                    <a:pt x="113" y="90"/>
                  </a:lnTo>
                  <a:lnTo>
                    <a:pt x="108" y="78"/>
                  </a:lnTo>
                  <a:lnTo>
                    <a:pt x="130" y="50"/>
                  </a:lnTo>
                  <a:lnTo>
                    <a:pt x="168" y="41"/>
                  </a:lnTo>
                  <a:lnTo>
                    <a:pt x="212" y="41"/>
                  </a:lnTo>
                  <a:lnTo>
                    <a:pt x="293" y="74"/>
                  </a:lnTo>
                  <a:lnTo>
                    <a:pt x="293" y="57"/>
                  </a:lnTo>
                  <a:lnTo>
                    <a:pt x="305" y="17"/>
                  </a:lnTo>
                  <a:lnTo>
                    <a:pt x="347" y="0"/>
                  </a:lnTo>
                  <a:lnTo>
                    <a:pt x="385" y="24"/>
                  </a:lnTo>
                  <a:lnTo>
                    <a:pt x="451" y="41"/>
                  </a:lnTo>
                  <a:lnTo>
                    <a:pt x="456" y="24"/>
                  </a:lnTo>
                  <a:lnTo>
                    <a:pt x="520" y="33"/>
                  </a:lnTo>
                  <a:lnTo>
                    <a:pt x="543" y="24"/>
                  </a:lnTo>
                  <a:lnTo>
                    <a:pt x="557" y="33"/>
                  </a:lnTo>
                  <a:lnTo>
                    <a:pt x="699" y="41"/>
                  </a:lnTo>
                  <a:lnTo>
                    <a:pt x="699" y="50"/>
                  </a:lnTo>
                  <a:lnTo>
                    <a:pt x="711" y="74"/>
                  </a:lnTo>
                  <a:lnTo>
                    <a:pt x="753" y="74"/>
                  </a:lnTo>
                  <a:lnTo>
                    <a:pt x="765" y="95"/>
                  </a:lnTo>
                  <a:lnTo>
                    <a:pt x="765" y="107"/>
                  </a:lnTo>
                  <a:lnTo>
                    <a:pt x="742" y="111"/>
                  </a:lnTo>
                  <a:lnTo>
                    <a:pt x="737" y="123"/>
                  </a:lnTo>
                  <a:lnTo>
                    <a:pt x="704" y="128"/>
                  </a:lnTo>
                  <a:lnTo>
                    <a:pt x="645" y="161"/>
                  </a:lnTo>
                  <a:lnTo>
                    <a:pt x="635" y="178"/>
                  </a:lnTo>
                  <a:lnTo>
                    <a:pt x="619" y="194"/>
                  </a:lnTo>
                  <a:lnTo>
                    <a:pt x="536" y="199"/>
                  </a:lnTo>
                  <a:lnTo>
                    <a:pt x="520" y="215"/>
                  </a:lnTo>
                  <a:lnTo>
                    <a:pt x="520" y="232"/>
                  </a:lnTo>
                  <a:lnTo>
                    <a:pt x="494" y="255"/>
                  </a:lnTo>
                  <a:lnTo>
                    <a:pt x="482" y="248"/>
                  </a:lnTo>
                  <a:lnTo>
                    <a:pt x="451" y="255"/>
                  </a:lnTo>
                  <a:lnTo>
                    <a:pt x="439" y="232"/>
                  </a:lnTo>
                  <a:lnTo>
                    <a:pt x="418" y="248"/>
                  </a:lnTo>
                  <a:lnTo>
                    <a:pt x="385" y="239"/>
                  </a:lnTo>
                  <a:lnTo>
                    <a:pt x="385" y="239"/>
                  </a:lnTo>
                  <a:lnTo>
                    <a:pt x="385" y="23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3" name="Freeform 483">
              <a:extLst>
                <a:ext uri="{FF2B5EF4-FFF2-40B4-BE49-F238E27FC236}">
                  <a16:creationId xmlns:a16="http://schemas.microsoft.com/office/drawing/2014/main" id="{D04EB60E-2FBF-447E-849B-BA6413046E7A}"/>
                </a:ext>
              </a:extLst>
            </p:cNvPr>
            <p:cNvSpPr>
              <a:spLocks/>
            </p:cNvSpPr>
            <p:nvPr/>
          </p:nvSpPr>
          <p:spPr bwMode="gray">
            <a:xfrm>
              <a:off x="16597210" y="3033018"/>
              <a:ext cx="146301" cy="149247"/>
            </a:xfrm>
            <a:custGeom>
              <a:avLst/>
              <a:gdLst>
                <a:gd name="T0" fmla="*/ 45 w 447"/>
                <a:gd name="T1" fmla="*/ 217 h 456"/>
                <a:gd name="T2" fmla="*/ 55 w 447"/>
                <a:gd name="T3" fmla="*/ 217 h 456"/>
                <a:gd name="T4" fmla="*/ 104 w 447"/>
                <a:gd name="T5" fmla="*/ 184 h 456"/>
                <a:gd name="T6" fmla="*/ 156 w 447"/>
                <a:gd name="T7" fmla="*/ 144 h 456"/>
                <a:gd name="T8" fmla="*/ 189 w 447"/>
                <a:gd name="T9" fmla="*/ 106 h 456"/>
                <a:gd name="T10" fmla="*/ 270 w 447"/>
                <a:gd name="T11" fmla="*/ 144 h 456"/>
                <a:gd name="T12" fmla="*/ 270 w 447"/>
                <a:gd name="T13" fmla="*/ 106 h 456"/>
                <a:gd name="T14" fmla="*/ 324 w 447"/>
                <a:gd name="T15" fmla="*/ 89 h 456"/>
                <a:gd name="T16" fmla="*/ 357 w 447"/>
                <a:gd name="T17" fmla="*/ 49 h 456"/>
                <a:gd name="T18" fmla="*/ 378 w 447"/>
                <a:gd name="T19" fmla="*/ 49 h 456"/>
                <a:gd name="T20" fmla="*/ 421 w 447"/>
                <a:gd name="T21" fmla="*/ 11 h 456"/>
                <a:gd name="T22" fmla="*/ 442 w 447"/>
                <a:gd name="T23" fmla="*/ 45 h 456"/>
                <a:gd name="T24" fmla="*/ 447 w 447"/>
                <a:gd name="T25" fmla="*/ 66 h 456"/>
                <a:gd name="T26" fmla="*/ 378 w 447"/>
                <a:gd name="T27" fmla="*/ 122 h 456"/>
                <a:gd name="T28" fmla="*/ 388 w 447"/>
                <a:gd name="T29" fmla="*/ 144 h 456"/>
                <a:gd name="T30" fmla="*/ 350 w 447"/>
                <a:gd name="T31" fmla="*/ 200 h 456"/>
                <a:gd name="T32" fmla="*/ 303 w 447"/>
                <a:gd name="T33" fmla="*/ 238 h 456"/>
                <a:gd name="T34" fmla="*/ 286 w 447"/>
                <a:gd name="T35" fmla="*/ 255 h 456"/>
                <a:gd name="T36" fmla="*/ 260 w 447"/>
                <a:gd name="T37" fmla="*/ 271 h 456"/>
                <a:gd name="T38" fmla="*/ 232 w 447"/>
                <a:gd name="T39" fmla="*/ 323 h 456"/>
                <a:gd name="T40" fmla="*/ 218 w 447"/>
                <a:gd name="T41" fmla="*/ 311 h 456"/>
                <a:gd name="T42" fmla="*/ 248 w 447"/>
                <a:gd name="T43" fmla="*/ 340 h 456"/>
                <a:gd name="T44" fmla="*/ 281 w 447"/>
                <a:gd name="T45" fmla="*/ 394 h 456"/>
                <a:gd name="T46" fmla="*/ 206 w 447"/>
                <a:gd name="T47" fmla="*/ 406 h 456"/>
                <a:gd name="T48" fmla="*/ 163 w 447"/>
                <a:gd name="T49" fmla="*/ 451 h 456"/>
                <a:gd name="T50" fmla="*/ 135 w 447"/>
                <a:gd name="T51" fmla="*/ 451 h 456"/>
                <a:gd name="T52" fmla="*/ 121 w 447"/>
                <a:gd name="T53" fmla="*/ 439 h 456"/>
                <a:gd name="T54" fmla="*/ 109 w 447"/>
                <a:gd name="T55" fmla="*/ 432 h 456"/>
                <a:gd name="T56" fmla="*/ 104 w 447"/>
                <a:gd name="T57" fmla="*/ 439 h 456"/>
                <a:gd name="T58" fmla="*/ 88 w 447"/>
                <a:gd name="T59" fmla="*/ 439 h 456"/>
                <a:gd name="T60" fmla="*/ 71 w 447"/>
                <a:gd name="T61" fmla="*/ 422 h 456"/>
                <a:gd name="T62" fmla="*/ 45 w 447"/>
                <a:gd name="T63" fmla="*/ 406 h 456"/>
                <a:gd name="T64" fmla="*/ 83 w 447"/>
                <a:gd name="T65" fmla="*/ 366 h 456"/>
                <a:gd name="T66" fmla="*/ 66 w 447"/>
                <a:gd name="T67" fmla="*/ 361 h 456"/>
                <a:gd name="T68" fmla="*/ 71 w 447"/>
                <a:gd name="T69" fmla="*/ 304 h 456"/>
                <a:gd name="T70" fmla="*/ 55 w 447"/>
                <a:gd name="T71" fmla="*/ 295 h 456"/>
                <a:gd name="T72" fmla="*/ 33 w 447"/>
                <a:gd name="T73" fmla="*/ 288 h 456"/>
                <a:gd name="T74" fmla="*/ 17 w 447"/>
                <a:gd name="T75" fmla="*/ 283 h 456"/>
                <a:gd name="T76" fmla="*/ 12 w 447"/>
                <a:gd name="T77" fmla="*/ 250 h 456"/>
                <a:gd name="T78" fmla="*/ 12 w 447"/>
                <a:gd name="T79" fmla="*/ 25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47" h="456">
                  <a:moveTo>
                    <a:pt x="12" y="250"/>
                  </a:moveTo>
                  <a:lnTo>
                    <a:pt x="45" y="217"/>
                  </a:lnTo>
                  <a:lnTo>
                    <a:pt x="55" y="229"/>
                  </a:lnTo>
                  <a:lnTo>
                    <a:pt x="55" y="217"/>
                  </a:lnTo>
                  <a:lnTo>
                    <a:pt x="83" y="200"/>
                  </a:lnTo>
                  <a:lnTo>
                    <a:pt x="104" y="184"/>
                  </a:lnTo>
                  <a:lnTo>
                    <a:pt x="125" y="184"/>
                  </a:lnTo>
                  <a:lnTo>
                    <a:pt x="156" y="144"/>
                  </a:lnTo>
                  <a:lnTo>
                    <a:pt x="163" y="122"/>
                  </a:lnTo>
                  <a:lnTo>
                    <a:pt x="189" y="106"/>
                  </a:lnTo>
                  <a:lnTo>
                    <a:pt x="210" y="139"/>
                  </a:lnTo>
                  <a:lnTo>
                    <a:pt x="270" y="144"/>
                  </a:lnTo>
                  <a:lnTo>
                    <a:pt x="281" y="122"/>
                  </a:lnTo>
                  <a:lnTo>
                    <a:pt x="270" y="106"/>
                  </a:lnTo>
                  <a:lnTo>
                    <a:pt x="265" y="89"/>
                  </a:lnTo>
                  <a:lnTo>
                    <a:pt x="324" y="89"/>
                  </a:lnTo>
                  <a:lnTo>
                    <a:pt x="350" y="66"/>
                  </a:lnTo>
                  <a:lnTo>
                    <a:pt x="357" y="49"/>
                  </a:lnTo>
                  <a:lnTo>
                    <a:pt x="366" y="56"/>
                  </a:lnTo>
                  <a:lnTo>
                    <a:pt x="378" y="49"/>
                  </a:lnTo>
                  <a:lnTo>
                    <a:pt x="395" y="0"/>
                  </a:lnTo>
                  <a:lnTo>
                    <a:pt x="421" y="11"/>
                  </a:lnTo>
                  <a:lnTo>
                    <a:pt x="421" y="28"/>
                  </a:lnTo>
                  <a:lnTo>
                    <a:pt x="442" y="45"/>
                  </a:lnTo>
                  <a:lnTo>
                    <a:pt x="442" y="49"/>
                  </a:lnTo>
                  <a:lnTo>
                    <a:pt x="447" y="66"/>
                  </a:lnTo>
                  <a:lnTo>
                    <a:pt x="433" y="56"/>
                  </a:lnTo>
                  <a:lnTo>
                    <a:pt x="378" y="122"/>
                  </a:lnTo>
                  <a:lnTo>
                    <a:pt x="378" y="139"/>
                  </a:lnTo>
                  <a:lnTo>
                    <a:pt x="388" y="144"/>
                  </a:lnTo>
                  <a:lnTo>
                    <a:pt x="378" y="193"/>
                  </a:lnTo>
                  <a:lnTo>
                    <a:pt x="350" y="200"/>
                  </a:lnTo>
                  <a:lnTo>
                    <a:pt x="340" y="217"/>
                  </a:lnTo>
                  <a:lnTo>
                    <a:pt x="303" y="238"/>
                  </a:lnTo>
                  <a:lnTo>
                    <a:pt x="303" y="250"/>
                  </a:lnTo>
                  <a:lnTo>
                    <a:pt x="286" y="255"/>
                  </a:lnTo>
                  <a:lnTo>
                    <a:pt x="265" y="255"/>
                  </a:lnTo>
                  <a:lnTo>
                    <a:pt x="260" y="271"/>
                  </a:lnTo>
                  <a:lnTo>
                    <a:pt x="227" y="283"/>
                  </a:lnTo>
                  <a:lnTo>
                    <a:pt x="232" y="323"/>
                  </a:lnTo>
                  <a:lnTo>
                    <a:pt x="227" y="311"/>
                  </a:lnTo>
                  <a:lnTo>
                    <a:pt x="218" y="311"/>
                  </a:lnTo>
                  <a:lnTo>
                    <a:pt x="218" y="328"/>
                  </a:lnTo>
                  <a:lnTo>
                    <a:pt x="248" y="340"/>
                  </a:lnTo>
                  <a:lnTo>
                    <a:pt x="286" y="378"/>
                  </a:lnTo>
                  <a:lnTo>
                    <a:pt x="281" y="394"/>
                  </a:lnTo>
                  <a:lnTo>
                    <a:pt x="265" y="399"/>
                  </a:lnTo>
                  <a:lnTo>
                    <a:pt x="206" y="406"/>
                  </a:lnTo>
                  <a:lnTo>
                    <a:pt x="173" y="439"/>
                  </a:lnTo>
                  <a:lnTo>
                    <a:pt x="163" y="451"/>
                  </a:lnTo>
                  <a:lnTo>
                    <a:pt x="151" y="439"/>
                  </a:lnTo>
                  <a:lnTo>
                    <a:pt x="135" y="451"/>
                  </a:lnTo>
                  <a:lnTo>
                    <a:pt x="135" y="456"/>
                  </a:lnTo>
                  <a:lnTo>
                    <a:pt x="121" y="439"/>
                  </a:lnTo>
                  <a:lnTo>
                    <a:pt x="121" y="451"/>
                  </a:lnTo>
                  <a:lnTo>
                    <a:pt x="109" y="432"/>
                  </a:lnTo>
                  <a:lnTo>
                    <a:pt x="97" y="422"/>
                  </a:lnTo>
                  <a:lnTo>
                    <a:pt x="104" y="439"/>
                  </a:lnTo>
                  <a:lnTo>
                    <a:pt x="71" y="456"/>
                  </a:lnTo>
                  <a:lnTo>
                    <a:pt x="88" y="439"/>
                  </a:lnTo>
                  <a:lnTo>
                    <a:pt x="50" y="432"/>
                  </a:lnTo>
                  <a:lnTo>
                    <a:pt x="71" y="422"/>
                  </a:lnTo>
                  <a:lnTo>
                    <a:pt x="29" y="415"/>
                  </a:lnTo>
                  <a:lnTo>
                    <a:pt x="45" y="406"/>
                  </a:lnTo>
                  <a:lnTo>
                    <a:pt x="50" y="382"/>
                  </a:lnTo>
                  <a:lnTo>
                    <a:pt x="83" y="366"/>
                  </a:lnTo>
                  <a:lnTo>
                    <a:pt x="97" y="378"/>
                  </a:lnTo>
                  <a:lnTo>
                    <a:pt x="66" y="361"/>
                  </a:lnTo>
                  <a:lnTo>
                    <a:pt x="83" y="323"/>
                  </a:lnTo>
                  <a:lnTo>
                    <a:pt x="71" y="304"/>
                  </a:lnTo>
                  <a:lnTo>
                    <a:pt x="83" y="295"/>
                  </a:lnTo>
                  <a:lnTo>
                    <a:pt x="55" y="295"/>
                  </a:lnTo>
                  <a:lnTo>
                    <a:pt x="33" y="283"/>
                  </a:lnTo>
                  <a:lnTo>
                    <a:pt x="33" y="288"/>
                  </a:lnTo>
                  <a:lnTo>
                    <a:pt x="29" y="295"/>
                  </a:lnTo>
                  <a:lnTo>
                    <a:pt x="17" y="283"/>
                  </a:lnTo>
                  <a:lnTo>
                    <a:pt x="0" y="267"/>
                  </a:lnTo>
                  <a:lnTo>
                    <a:pt x="12" y="250"/>
                  </a:lnTo>
                  <a:lnTo>
                    <a:pt x="12" y="250"/>
                  </a:lnTo>
                  <a:lnTo>
                    <a:pt x="12" y="25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4" name="Freeform 485">
              <a:extLst>
                <a:ext uri="{FF2B5EF4-FFF2-40B4-BE49-F238E27FC236}">
                  <a16:creationId xmlns:a16="http://schemas.microsoft.com/office/drawing/2014/main" id="{5A061037-6073-480A-B1CE-8F0F7B8ECA99}"/>
                </a:ext>
              </a:extLst>
            </p:cNvPr>
            <p:cNvSpPr>
              <a:spLocks noEditPoints="1"/>
            </p:cNvSpPr>
            <p:nvPr/>
          </p:nvSpPr>
          <p:spPr bwMode="gray">
            <a:xfrm>
              <a:off x="16605720" y="3156736"/>
              <a:ext cx="144011" cy="144338"/>
            </a:xfrm>
            <a:custGeom>
              <a:avLst/>
              <a:gdLst>
                <a:gd name="T0" fmla="*/ 239 w 440"/>
                <a:gd name="T1" fmla="*/ 23 h 441"/>
                <a:gd name="T2" fmla="*/ 277 w 440"/>
                <a:gd name="T3" fmla="*/ 40 h 441"/>
                <a:gd name="T4" fmla="*/ 340 w 440"/>
                <a:gd name="T5" fmla="*/ 155 h 441"/>
                <a:gd name="T6" fmla="*/ 347 w 440"/>
                <a:gd name="T7" fmla="*/ 210 h 441"/>
                <a:gd name="T8" fmla="*/ 314 w 440"/>
                <a:gd name="T9" fmla="*/ 292 h 441"/>
                <a:gd name="T10" fmla="*/ 260 w 440"/>
                <a:gd name="T11" fmla="*/ 297 h 441"/>
                <a:gd name="T12" fmla="*/ 260 w 440"/>
                <a:gd name="T13" fmla="*/ 297 h 441"/>
                <a:gd name="T14" fmla="*/ 206 w 440"/>
                <a:gd name="T15" fmla="*/ 304 h 441"/>
                <a:gd name="T16" fmla="*/ 206 w 440"/>
                <a:gd name="T17" fmla="*/ 333 h 441"/>
                <a:gd name="T18" fmla="*/ 201 w 440"/>
                <a:gd name="T19" fmla="*/ 333 h 441"/>
                <a:gd name="T20" fmla="*/ 189 w 440"/>
                <a:gd name="T21" fmla="*/ 333 h 441"/>
                <a:gd name="T22" fmla="*/ 163 w 440"/>
                <a:gd name="T23" fmla="*/ 349 h 441"/>
                <a:gd name="T24" fmla="*/ 114 w 440"/>
                <a:gd name="T25" fmla="*/ 321 h 441"/>
                <a:gd name="T26" fmla="*/ 130 w 440"/>
                <a:gd name="T27" fmla="*/ 333 h 441"/>
                <a:gd name="T28" fmla="*/ 137 w 440"/>
                <a:gd name="T29" fmla="*/ 314 h 441"/>
                <a:gd name="T30" fmla="*/ 125 w 440"/>
                <a:gd name="T31" fmla="*/ 314 h 441"/>
                <a:gd name="T32" fmla="*/ 114 w 440"/>
                <a:gd name="T33" fmla="*/ 292 h 441"/>
                <a:gd name="T34" fmla="*/ 125 w 440"/>
                <a:gd name="T35" fmla="*/ 281 h 441"/>
                <a:gd name="T36" fmla="*/ 147 w 440"/>
                <a:gd name="T37" fmla="*/ 248 h 441"/>
                <a:gd name="T38" fmla="*/ 137 w 440"/>
                <a:gd name="T39" fmla="*/ 226 h 441"/>
                <a:gd name="T40" fmla="*/ 147 w 440"/>
                <a:gd name="T41" fmla="*/ 222 h 441"/>
                <a:gd name="T42" fmla="*/ 125 w 440"/>
                <a:gd name="T43" fmla="*/ 155 h 441"/>
                <a:gd name="T44" fmla="*/ 109 w 440"/>
                <a:gd name="T45" fmla="*/ 155 h 441"/>
                <a:gd name="T46" fmla="*/ 125 w 440"/>
                <a:gd name="T47" fmla="*/ 148 h 441"/>
                <a:gd name="T48" fmla="*/ 130 w 440"/>
                <a:gd name="T49" fmla="*/ 148 h 441"/>
                <a:gd name="T50" fmla="*/ 151 w 440"/>
                <a:gd name="T51" fmla="*/ 155 h 441"/>
                <a:gd name="T52" fmla="*/ 151 w 440"/>
                <a:gd name="T53" fmla="*/ 115 h 441"/>
                <a:gd name="T54" fmla="*/ 151 w 440"/>
                <a:gd name="T55" fmla="*/ 111 h 441"/>
                <a:gd name="T56" fmla="*/ 130 w 440"/>
                <a:gd name="T57" fmla="*/ 73 h 441"/>
                <a:gd name="T58" fmla="*/ 147 w 440"/>
                <a:gd name="T59" fmla="*/ 61 h 441"/>
                <a:gd name="T60" fmla="*/ 7 w 440"/>
                <a:gd name="T61" fmla="*/ 61 h 441"/>
                <a:gd name="T62" fmla="*/ 7 w 440"/>
                <a:gd name="T63" fmla="*/ 56 h 441"/>
                <a:gd name="T64" fmla="*/ 130 w 440"/>
                <a:gd name="T65" fmla="*/ 82 h 441"/>
                <a:gd name="T66" fmla="*/ 130 w 440"/>
                <a:gd name="T67" fmla="*/ 73 h 441"/>
                <a:gd name="T68" fmla="*/ 440 w 440"/>
                <a:gd name="T69" fmla="*/ 94 h 441"/>
                <a:gd name="T70" fmla="*/ 440 w 440"/>
                <a:gd name="T71" fmla="*/ 94 h 441"/>
                <a:gd name="T72" fmla="*/ 125 w 440"/>
                <a:gd name="T73" fmla="*/ 181 h 441"/>
                <a:gd name="T74" fmla="*/ 125 w 440"/>
                <a:gd name="T75" fmla="*/ 181 h 441"/>
                <a:gd name="T76" fmla="*/ 288 w 440"/>
                <a:gd name="T77" fmla="*/ 304 h 441"/>
                <a:gd name="T78" fmla="*/ 277 w 440"/>
                <a:gd name="T79" fmla="*/ 314 h 441"/>
                <a:gd name="T80" fmla="*/ 288 w 440"/>
                <a:gd name="T81" fmla="*/ 304 h 441"/>
                <a:gd name="T82" fmla="*/ 234 w 440"/>
                <a:gd name="T83" fmla="*/ 314 h 441"/>
                <a:gd name="T84" fmla="*/ 222 w 440"/>
                <a:gd name="T85" fmla="*/ 321 h 441"/>
                <a:gd name="T86" fmla="*/ 234 w 440"/>
                <a:gd name="T87" fmla="*/ 304 h 441"/>
                <a:gd name="T88" fmla="*/ 222 w 440"/>
                <a:gd name="T89" fmla="*/ 333 h 441"/>
                <a:gd name="T90" fmla="*/ 222 w 440"/>
                <a:gd name="T91" fmla="*/ 333 h 441"/>
                <a:gd name="T92" fmla="*/ 114 w 440"/>
                <a:gd name="T93" fmla="*/ 349 h 441"/>
                <a:gd name="T94" fmla="*/ 125 w 440"/>
                <a:gd name="T95" fmla="*/ 337 h 441"/>
                <a:gd name="T96" fmla="*/ 222 w 440"/>
                <a:gd name="T97" fmla="*/ 337 h 441"/>
                <a:gd name="T98" fmla="*/ 222 w 440"/>
                <a:gd name="T99" fmla="*/ 337 h 441"/>
                <a:gd name="T100" fmla="*/ 184 w 440"/>
                <a:gd name="T101" fmla="*/ 337 h 441"/>
                <a:gd name="T102" fmla="*/ 184 w 440"/>
                <a:gd name="T103" fmla="*/ 337 h 441"/>
                <a:gd name="T104" fmla="*/ 147 w 440"/>
                <a:gd name="T105" fmla="*/ 349 h 441"/>
                <a:gd name="T106" fmla="*/ 147 w 440"/>
                <a:gd name="T107" fmla="*/ 349 h 441"/>
                <a:gd name="T108" fmla="*/ 151 w 440"/>
                <a:gd name="T109" fmla="*/ 415 h 441"/>
                <a:gd name="T110" fmla="*/ 114 w 440"/>
                <a:gd name="T111" fmla="*/ 441 h 441"/>
                <a:gd name="T112" fmla="*/ 151 w 440"/>
                <a:gd name="T113" fmla="*/ 415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0" h="441">
                  <a:moveTo>
                    <a:pt x="147" y="61"/>
                  </a:moveTo>
                  <a:lnTo>
                    <a:pt x="180" y="28"/>
                  </a:lnTo>
                  <a:lnTo>
                    <a:pt x="239" y="23"/>
                  </a:lnTo>
                  <a:lnTo>
                    <a:pt x="255" y="16"/>
                  </a:lnTo>
                  <a:lnTo>
                    <a:pt x="260" y="0"/>
                  </a:lnTo>
                  <a:lnTo>
                    <a:pt x="277" y="40"/>
                  </a:lnTo>
                  <a:lnTo>
                    <a:pt x="310" y="78"/>
                  </a:lnTo>
                  <a:lnTo>
                    <a:pt x="340" y="132"/>
                  </a:lnTo>
                  <a:lnTo>
                    <a:pt x="340" y="155"/>
                  </a:lnTo>
                  <a:lnTo>
                    <a:pt x="331" y="210"/>
                  </a:lnTo>
                  <a:lnTo>
                    <a:pt x="340" y="222"/>
                  </a:lnTo>
                  <a:lnTo>
                    <a:pt x="347" y="210"/>
                  </a:lnTo>
                  <a:lnTo>
                    <a:pt x="347" y="210"/>
                  </a:lnTo>
                  <a:lnTo>
                    <a:pt x="340" y="248"/>
                  </a:lnTo>
                  <a:lnTo>
                    <a:pt x="314" y="292"/>
                  </a:lnTo>
                  <a:lnTo>
                    <a:pt x="293" y="292"/>
                  </a:lnTo>
                  <a:lnTo>
                    <a:pt x="277" y="281"/>
                  </a:lnTo>
                  <a:lnTo>
                    <a:pt x="260" y="297"/>
                  </a:lnTo>
                  <a:lnTo>
                    <a:pt x="272" y="297"/>
                  </a:lnTo>
                  <a:lnTo>
                    <a:pt x="272" y="314"/>
                  </a:lnTo>
                  <a:lnTo>
                    <a:pt x="260" y="297"/>
                  </a:lnTo>
                  <a:lnTo>
                    <a:pt x="255" y="304"/>
                  </a:lnTo>
                  <a:lnTo>
                    <a:pt x="239" y="297"/>
                  </a:lnTo>
                  <a:lnTo>
                    <a:pt x="206" y="304"/>
                  </a:lnTo>
                  <a:lnTo>
                    <a:pt x="206" y="314"/>
                  </a:lnTo>
                  <a:lnTo>
                    <a:pt x="222" y="314"/>
                  </a:lnTo>
                  <a:lnTo>
                    <a:pt x="206" y="333"/>
                  </a:lnTo>
                  <a:lnTo>
                    <a:pt x="201" y="304"/>
                  </a:lnTo>
                  <a:lnTo>
                    <a:pt x="189" y="321"/>
                  </a:lnTo>
                  <a:lnTo>
                    <a:pt x="201" y="333"/>
                  </a:lnTo>
                  <a:lnTo>
                    <a:pt x="189" y="337"/>
                  </a:lnTo>
                  <a:lnTo>
                    <a:pt x="180" y="337"/>
                  </a:lnTo>
                  <a:lnTo>
                    <a:pt x="189" y="333"/>
                  </a:lnTo>
                  <a:lnTo>
                    <a:pt x="189" y="321"/>
                  </a:lnTo>
                  <a:lnTo>
                    <a:pt x="168" y="333"/>
                  </a:lnTo>
                  <a:lnTo>
                    <a:pt x="163" y="349"/>
                  </a:lnTo>
                  <a:lnTo>
                    <a:pt x="151" y="333"/>
                  </a:lnTo>
                  <a:lnTo>
                    <a:pt x="137" y="354"/>
                  </a:lnTo>
                  <a:lnTo>
                    <a:pt x="114" y="321"/>
                  </a:lnTo>
                  <a:lnTo>
                    <a:pt x="114" y="321"/>
                  </a:lnTo>
                  <a:lnTo>
                    <a:pt x="130" y="333"/>
                  </a:lnTo>
                  <a:lnTo>
                    <a:pt x="130" y="333"/>
                  </a:lnTo>
                  <a:lnTo>
                    <a:pt x="137" y="333"/>
                  </a:lnTo>
                  <a:lnTo>
                    <a:pt x="130" y="321"/>
                  </a:lnTo>
                  <a:lnTo>
                    <a:pt x="137" y="314"/>
                  </a:lnTo>
                  <a:lnTo>
                    <a:pt x="130" y="304"/>
                  </a:lnTo>
                  <a:lnTo>
                    <a:pt x="130" y="314"/>
                  </a:lnTo>
                  <a:lnTo>
                    <a:pt x="125" y="314"/>
                  </a:lnTo>
                  <a:lnTo>
                    <a:pt x="125" y="297"/>
                  </a:lnTo>
                  <a:lnTo>
                    <a:pt x="114" y="304"/>
                  </a:lnTo>
                  <a:lnTo>
                    <a:pt x="114" y="292"/>
                  </a:lnTo>
                  <a:lnTo>
                    <a:pt x="125" y="281"/>
                  </a:lnTo>
                  <a:lnTo>
                    <a:pt x="125" y="297"/>
                  </a:lnTo>
                  <a:lnTo>
                    <a:pt x="125" y="281"/>
                  </a:lnTo>
                  <a:lnTo>
                    <a:pt x="125" y="264"/>
                  </a:lnTo>
                  <a:lnTo>
                    <a:pt x="130" y="259"/>
                  </a:lnTo>
                  <a:lnTo>
                    <a:pt x="147" y="248"/>
                  </a:lnTo>
                  <a:lnTo>
                    <a:pt x="130" y="243"/>
                  </a:lnTo>
                  <a:lnTo>
                    <a:pt x="151" y="226"/>
                  </a:lnTo>
                  <a:lnTo>
                    <a:pt x="137" y="226"/>
                  </a:lnTo>
                  <a:lnTo>
                    <a:pt x="137" y="222"/>
                  </a:lnTo>
                  <a:lnTo>
                    <a:pt x="151" y="210"/>
                  </a:lnTo>
                  <a:lnTo>
                    <a:pt x="147" y="222"/>
                  </a:lnTo>
                  <a:lnTo>
                    <a:pt x="130" y="205"/>
                  </a:lnTo>
                  <a:lnTo>
                    <a:pt x="130" y="155"/>
                  </a:lnTo>
                  <a:lnTo>
                    <a:pt x="125" y="155"/>
                  </a:lnTo>
                  <a:lnTo>
                    <a:pt x="114" y="172"/>
                  </a:lnTo>
                  <a:lnTo>
                    <a:pt x="114" y="155"/>
                  </a:lnTo>
                  <a:lnTo>
                    <a:pt x="109" y="155"/>
                  </a:lnTo>
                  <a:lnTo>
                    <a:pt x="114" y="139"/>
                  </a:lnTo>
                  <a:lnTo>
                    <a:pt x="114" y="148"/>
                  </a:lnTo>
                  <a:lnTo>
                    <a:pt x="125" y="148"/>
                  </a:lnTo>
                  <a:lnTo>
                    <a:pt x="125" y="132"/>
                  </a:lnTo>
                  <a:lnTo>
                    <a:pt x="125" y="132"/>
                  </a:lnTo>
                  <a:lnTo>
                    <a:pt x="130" y="148"/>
                  </a:lnTo>
                  <a:lnTo>
                    <a:pt x="130" y="132"/>
                  </a:lnTo>
                  <a:lnTo>
                    <a:pt x="151" y="139"/>
                  </a:lnTo>
                  <a:lnTo>
                    <a:pt x="151" y="155"/>
                  </a:lnTo>
                  <a:lnTo>
                    <a:pt x="168" y="139"/>
                  </a:lnTo>
                  <a:lnTo>
                    <a:pt x="147" y="132"/>
                  </a:lnTo>
                  <a:lnTo>
                    <a:pt x="151" y="115"/>
                  </a:lnTo>
                  <a:lnTo>
                    <a:pt x="137" y="127"/>
                  </a:lnTo>
                  <a:lnTo>
                    <a:pt x="137" y="115"/>
                  </a:lnTo>
                  <a:lnTo>
                    <a:pt x="151" y="111"/>
                  </a:lnTo>
                  <a:lnTo>
                    <a:pt x="147" y="111"/>
                  </a:lnTo>
                  <a:lnTo>
                    <a:pt x="130" y="78"/>
                  </a:lnTo>
                  <a:lnTo>
                    <a:pt x="130" y="73"/>
                  </a:lnTo>
                  <a:lnTo>
                    <a:pt x="147" y="78"/>
                  </a:lnTo>
                  <a:lnTo>
                    <a:pt x="147" y="61"/>
                  </a:lnTo>
                  <a:lnTo>
                    <a:pt x="147" y="61"/>
                  </a:lnTo>
                  <a:lnTo>
                    <a:pt x="147" y="61"/>
                  </a:lnTo>
                  <a:close/>
                  <a:moveTo>
                    <a:pt x="7" y="56"/>
                  </a:moveTo>
                  <a:lnTo>
                    <a:pt x="7" y="61"/>
                  </a:lnTo>
                  <a:lnTo>
                    <a:pt x="0" y="56"/>
                  </a:lnTo>
                  <a:lnTo>
                    <a:pt x="7" y="56"/>
                  </a:lnTo>
                  <a:lnTo>
                    <a:pt x="7" y="56"/>
                  </a:lnTo>
                  <a:lnTo>
                    <a:pt x="7" y="56"/>
                  </a:lnTo>
                  <a:close/>
                  <a:moveTo>
                    <a:pt x="130" y="73"/>
                  </a:moveTo>
                  <a:lnTo>
                    <a:pt x="130" y="82"/>
                  </a:lnTo>
                  <a:lnTo>
                    <a:pt x="125" y="82"/>
                  </a:lnTo>
                  <a:lnTo>
                    <a:pt x="125" y="73"/>
                  </a:lnTo>
                  <a:lnTo>
                    <a:pt x="130" y="73"/>
                  </a:lnTo>
                  <a:lnTo>
                    <a:pt x="130" y="73"/>
                  </a:lnTo>
                  <a:lnTo>
                    <a:pt x="130" y="73"/>
                  </a:lnTo>
                  <a:close/>
                  <a:moveTo>
                    <a:pt x="440" y="94"/>
                  </a:moveTo>
                  <a:lnTo>
                    <a:pt x="440" y="99"/>
                  </a:lnTo>
                  <a:lnTo>
                    <a:pt x="433" y="94"/>
                  </a:lnTo>
                  <a:lnTo>
                    <a:pt x="440" y="94"/>
                  </a:lnTo>
                  <a:lnTo>
                    <a:pt x="440" y="94"/>
                  </a:lnTo>
                  <a:lnTo>
                    <a:pt x="440" y="94"/>
                  </a:lnTo>
                  <a:close/>
                  <a:moveTo>
                    <a:pt x="125" y="181"/>
                  </a:moveTo>
                  <a:lnTo>
                    <a:pt x="125" y="181"/>
                  </a:lnTo>
                  <a:lnTo>
                    <a:pt x="125" y="165"/>
                  </a:lnTo>
                  <a:lnTo>
                    <a:pt x="125" y="181"/>
                  </a:lnTo>
                  <a:lnTo>
                    <a:pt x="125" y="181"/>
                  </a:lnTo>
                  <a:lnTo>
                    <a:pt x="125" y="181"/>
                  </a:lnTo>
                  <a:close/>
                  <a:moveTo>
                    <a:pt x="288" y="304"/>
                  </a:moveTo>
                  <a:lnTo>
                    <a:pt x="288" y="314"/>
                  </a:lnTo>
                  <a:lnTo>
                    <a:pt x="277" y="321"/>
                  </a:lnTo>
                  <a:lnTo>
                    <a:pt x="277" y="314"/>
                  </a:lnTo>
                  <a:lnTo>
                    <a:pt x="272" y="304"/>
                  </a:lnTo>
                  <a:lnTo>
                    <a:pt x="288" y="304"/>
                  </a:lnTo>
                  <a:lnTo>
                    <a:pt x="288" y="304"/>
                  </a:lnTo>
                  <a:lnTo>
                    <a:pt x="288" y="304"/>
                  </a:lnTo>
                  <a:close/>
                  <a:moveTo>
                    <a:pt x="234" y="304"/>
                  </a:moveTo>
                  <a:lnTo>
                    <a:pt x="234" y="314"/>
                  </a:lnTo>
                  <a:lnTo>
                    <a:pt x="239" y="314"/>
                  </a:lnTo>
                  <a:lnTo>
                    <a:pt x="239" y="321"/>
                  </a:lnTo>
                  <a:lnTo>
                    <a:pt x="222" y="321"/>
                  </a:lnTo>
                  <a:lnTo>
                    <a:pt x="222" y="304"/>
                  </a:lnTo>
                  <a:lnTo>
                    <a:pt x="234" y="304"/>
                  </a:lnTo>
                  <a:lnTo>
                    <a:pt x="234" y="304"/>
                  </a:lnTo>
                  <a:lnTo>
                    <a:pt x="234" y="304"/>
                  </a:lnTo>
                  <a:close/>
                  <a:moveTo>
                    <a:pt x="222" y="333"/>
                  </a:moveTo>
                  <a:lnTo>
                    <a:pt x="222" y="333"/>
                  </a:lnTo>
                  <a:lnTo>
                    <a:pt x="218" y="333"/>
                  </a:lnTo>
                  <a:lnTo>
                    <a:pt x="222" y="333"/>
                  </a:lnTo>
                  <a:lnTo>
                    <a:pt x="222" y="333"/>
                  </a:lnTo>
                  <a:lnTo>
                    <a:pt x="222" y="333"/>
                  </a:lnTo>
                  <a:close/>
                  <a:moveTo>
                    <a:pt x="125" y="337"/>
                  </a:moveTo>
                  <a:lnTo>
                    <a:pt x="114" y="349"/>
                  </a:lnTo>
                  <a:lnTo>
                    <a:pt x="99" y="349"/>
                  </a:lnTo>
                  <a:lnTo>
                    <a:pt x="114" y="333"/>
                  </a:lnTo>
                  <a:lnTo>
                    <a:pt x="125" y="337"/>
                  </a:lnTo>
                  <a:lnTo>
                    <a:pt x="125" y="337"/>
                  </a:lnTo>
                  <a:lnTo>
                    <a:pt x="125" y="337"/>
                  </a:lnTo>
                  <a:close/>
                  <a:moveTo>
                    <a:pt x="222" y="337"/>
                  </a:moveTo>
                  <a:lnTo>
                    <a:pt x="222" y="337"/>
                  </a:lnTo>
                  <a:lnTo>
                    <a:pt x="218" y="337"/>
                  </a:lnTo>
                  <a:lnTo>
                    <a:pt x="222" y="337"/>
                  </a:lnTo>
                  <a:lnTo>
                    <a:pt x="222" y="337"/>
                  </a:lnTo>
                  <a:lnTo>
                    <a:pt x="222" y="337"/>
                  </a:lnTo>
                  <a:close/>
                  <a:moveTo>
                    <a:pt x="184" y="337"/>
                  </a:moveTo>
                  <a:lnTo>
                    <a:pt x="184" y="349"/>
                  </a:lnTo>
                  <a:lnTo>
                    <a:pt x="180" y="349"/>
                  </a:lnTo>
                  <a:lnTo>
                    <a:pt x="184" y="337"/>
                  </a:lnTo>
                  <a:lnTo>
                    <a:pt x="184" y="337"/>
                  </a:lnTo>
                  <a:lnTo>
                    <a:pt x="184" y="337"/>
                  </a:lnTo>
                  <a:close/>
                  <a:moveTo>
                    <a:pt x="147" y="349"/>
                  </a:moveTo>
                  <a:lnTo>
                    <a:pt x="147" y="354"/>
                  </a:lnTo>
                  <a:lnTo>
                    <a:pt x="137" y="354"/>
                  </a:lnTo>
                  <a:lnTo>
                    <a:pt x="147" y="349"/>
                  </a:lnTo>
                  <a:lnTo>
                    <a:pt x="147" y="349"/>
                  </a:lnTo>
                  <a:lnTo>
                    <a:pt x="147" y="349"/>
                  </a:lnTo>
                  <a:close/>
                  <a:moveTo>
                    <a:pt x="151" y="415"/>
                  </a:moveTo>
                  <a:lnTo>
                    <a:pt x="163" y="425"/>
                  </a:lnTo>
                  <a:lnTo>
                    <a:pt x="151" y="432"/>
                  </a:lnTo>
                  <a:lnTo>
                    <a:pt x="114" y="441"/>
                  </a:lnTo>
                  <a:lnTo>
                    <a:pt x="109" y="441"/>
                  </a:lnTo>
                  <a:lnTo>
                    <a:pt x="114" y="425"/>
                  </a:lnTo>
                  <a:lnTo>
                    <a:pt x="151" y="415"/>
                  </a:lnTo>
                  <a:lnTo>
                    <a:pt x="151" y="415"/>
                  </a:lnTo>
                  <a:lnTo>
                    <a:pt x="151" y="415"/>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5" name="Freeform 486">
              <a:extLst>
                <a:ext uri="{FF2B5EF4-FFF2-40B4-BE49-F238E27FC236}">
                  <a16:creationId xmlns:a16="http://schemas.microsoft.com/office/drawing/2014/main" id="{7D54BB71-9227-4063-B1A0-E7E05C94D231}"/>
                </a:ext>
              </a:extLst>
            </p:cNvPr>
            <p:cNvSpPr>
              <a:spLocks/>
            </p:cNvSpPr>
            <p:nvPr/>
          </p:nvSpPr>
          <p:spPr bwMode="gray">
            <a:xfrm>
              <a:off x="16168124" y="4358896"/>
              <a:ext cx="2291" cy="5237"/>
            </a:xfrm>
            <a:custGeom>
              <a:avLst/>
              <a:gdLst>
                <a:gd name="T0" fmla="*/ 7 w 7"/>
                <a:gd name="T1" fmla="*/ 16 h 16"/>
                <a:gd name="T2" fmla="*/ 0 w 7"/>
                <a:gd name="T3" fmla="*/ 7 h 16"/>
                <a:gd name="T4" fmla="*/ 7 w 7"/>
                <a:gd name="T5" fmla="*/ 0 h 16"/>
                <a:gd name="T6" fmla="*/ 7 w 7"/>
                <a:gd name="T7" fmla="*/ 16 h 16"/>
                <a:gd name="T8" fmla="*/ 7 w 7"/>
                <a:gd name="T9" fmla="*/ 16 h 16"/>
                <a:gd name="T10" fmla="*/ 7 w 7"/>
                <a:gd name="T11" fmla="*/ 16 h 16"/>
              </a:gdLst>
              <a:ahLst/>
              <a:cxnLst>
                <a:cxn ang="0">
                  <a:pos x="T0" y="T1"/>
                </a:cxn>
                <a:cxn ang="0">
                  <a:pos x="T2" y="T3"/>
                </a:cxn>
                <a:cxn ang="0">
                  <a:pos x="T4" y="T5"/>
                </a:cxn>
                <a:cxn ang="0">
                  <a:pos x="T6" y="T7"/>
                </a:cxn>
                <a:cxn ang="0">
                  <a:pos x="T8" y="T9"/>
                </a:cxn>
                <a:cxn ang="0">
                  <a:pos x="T10" y="T11"/>
                </a:cxn>
              </a:cxnLst>
              <a:rect l="0" t="0" r="r" b="b"/>
              <a:pathLst>
                <a:path w="7" h="16">
                  <a:moveTo>
                    <a:pt x="7" y="16"/>
                  </a:moveTo>
                  <a:lnTo>
                    <a:pt x="0" y="7"/>
                  </a:lnTo>
                  <a:lnTo>
                    <a:pt x="7" y="0"/>
                  </a:lnTo>
                  <a:lnTo>
                    <a:pt x="7" y="16"/>
                  </a:lnTo>
                  <a:lnTo>
                    <a:pt x="7" y="16"/>
                  </a:lnTo>
                  <a:lnTo>
                    <a:pt x="7" y="16"/>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6" name="Freeform 487">
              <a:extLst>
                <a:ext uri="{FF2B5EF4-FFF2-40B4-BE49-F238E27FC236}">
                  <a16:creationId xmlns:a16="http://schemas.microsoft.com/office/drawing/2014/main" id="{A2A34F1B-C5DB-4FA9-99F4-3087DE3D959B}"/>
                </a:ext>
              </a:extLst>
            </p:cNvPr>
            <p:cNvSpPr>
              <a:spLocks noEditPoints="1"/>
            </p:cNvSpPr>
            <p:nvPr/>
          </p:nvSpPr>
          <p:spPr bwMode="gray">
            <a:xfrm>
              <a:off x="14812134" y="3383225"/>
              <a:ext cx="42549" cy="40258"/>
            </a:xfrm>
            <a:custGeom>
              <a:avLst/>
              <a:gdLst>
                <a:gd name="T0" fmla="*/ 0 w 130"/>
                <a:gd name="T1" fmla="*/ 73 h 123"/>
                <a:gd name="T2" fmla="*/ 33 w 130"/>
                <a:gd name="T3" fmla="*/ 45 h 123"/>
                <a:gd name="T4" fmla="*/ 50 w 130"/>
                <a:gd name="T5" fmla="*/ 0 h 123"/>
                <a:gd name="T6" fmla="*/ 87 w 130"/>
                <a:gd name="T7" fmla="*/ 0 h 123"/>
                <a:gd name="T8" fmla="*/ 104 w 130"/>
                <a:gd name="T9" fmla="*/ 0 h 123"/>
                <a:gd name="T10" fmla="*/ 118 w 130"/>
                <a:gd name="T11" fmla="*/ 45 h 123"/>
                <a:gd name="T12" fmla="*/ 104 w 130"/>
                <a:gd name="T13" fmla="*/ 33 h 123"/>
                <a:gd name="T14" fmla="*/ 87 w 130"/>
                <a:gd name="T15" fmla="*/ 56 h 123"/>
                <a:gd name="T16" fmla="*/ 109 w 130"/>
                <a:gd name="T17" fmla="*/ 56 h 123"/>
                <a:gd name="T18" fmla="*/ 130 w 130"/>
                <a:gd name="T19" fmla="*/ 123 h 123"/>
                <a:gd name="T20" fmla="*/ 87 w 130"/>
                <a:gd name="T21" fmla="*/ 123 h 123"/>
                <a:gd name="T22" fmla="*/ 66 w 130"/>
                <a:gd name="T23" fmla="*/ 85 h 123"/>
                <a:gd name="T24" fmla="*/ 0 w 130"/>
                <a:gd name="T25" fmla="*/ 73 h 123"/>
                <a:gd name="T26" fmla="*/ 0 w 130"/>
                <a:gd name="T27" fmla="*/ 73 h 123"/>
                <a:gd name="T28" fmla="*/ 0 w 130"/>
                <a:gd name="T29" fmla="*/ 73 h 123"/>
                <a:gd name="T30" fmla="*/ 0 w 130"/>
                <a:gd name="T31" fmla="*/ 73 h 123"/>
                <a:gd name="T32" fmla="*/ 118 w 130"/>
                <a:gd name="T33" fmla="*/ 9 h 123"/>
                <a:gd name="T34" fmla="*/ 130 w 130"/>
                <a:gd name="T35" fmla="*/ 28 h 123"/>
                <a:gd name="T36" fmla="*/ 118 w 130"/>
                <a:gd name="T37" fmla="*/ 45 h 123"/>
                <a:gd name="T38" fmla="*/ 109 w 130"/>
                <a:gd name="T39" fmla="*/ 28 h 123"/>
                <a:gd name="T40" fmla="*/ 109 w 130"/>
                <a:gd name="T41" fmla="*/ 9 h 123"/>
                <a:gd name="T42" fmla="*/ 118 w 130"/>
                <a:gd name="T43" fmla="*/ 9 h 123"/>
                <a:gd name="T44" fmla="*/ 118 w 130"/>
                <a:gd name="T45" fmla="*/ 9 h 123"/>
                <a:gd name="T46" fmla="*/ 118 w 130"/>
                <a:gd name="T47" fmla="*/ 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123">
                  <a:moveTo>
                    <a:pt x="0" y="73"/>
                  </a:moveTo>
                  <a:lnTo>
                    <a:pt x="33" y="45"/>
                  </a:lnTo>
                  <a:lnTo>
                    <a:pt x="50" y="0"/>
                  </a:lnTo>
                  <a:lnTo>
                    <a:pt x="87" y="0"/>
                  </a:lnTo>
                  <a:lnTo>
                    <a:pt x="104" y="0"/>
                  </a:lnTo>
                  <a:lnTo>
                    <a:pt x="118" y="45"/>
                  </a:lnTo>
                  <a:lnTo>
                    <a:pt x="104" y="33"/>
                  </a:lnTo>
                  <a:lnTo>
                    <a:pt x="87" y="56"/>
                  </a:lnTo>
                  <a:lnTo>
                    <a:pt x="109" y="56"/>
                  </a:lnTo>
                  <a:lnTo>
                    <a:pt x="130" y="123"/>
                  </a:lnTo>
                  <a:lnTo>
                    <a:pt x="87" y="123"/>
                  </a:lnTo>
                  <a:lnTo>
                    <a:pt x="66" y="85"/>
                  </a:lnTo>
                  <a:lnTo>
                    <a:pt x="0" y="73"/>
                  </a:lnTo>
                  <a:lnTo>
                    <a:pt x="0" y="73"/>
                  </a:lnTo>
                  <a:lnTo>
                    <a:pt x="0" y="73"/>
                  </a:lnTo>
                  <a:lnTo>
                    <a:pt x="0" y="73"/>
                  </a:lnTo>
                  <a:close/>
                  <a:moveTo>
                    <a:pt x="118" y="9"/>
                  </a:moveTo>
                  <a:lnTo>
                    <a:pt x="130" y="28"/>
                  </a:lnTo>
                  <a:lnTo>
                    <a:pt x="118" y="45"/>
                  </a:lnTo>
                  <a:lnTo>
                    <a:pt x="109" y="28"/>
                  </a:lnTo>
                  <a:lnTo>
                    <a:pt x="109" y="9"/>
                  </a:lnTo>
                  <a:lnTo>
                    <a:pt x="118" y="9"/>
                  </a:lnTo>
                  <a:lnTo>
                    <a:pt x="118" y="9"/>
                  </a:lnTo>
                  <a:lnTo>
                    <a:pt x="118" y="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7" name="Freeform 488">
              <a:extLst>
                <a:ext uri="{FF2B5EF4-FFF2-40B4-BE49-F238E27FC236}">
                  <a16:creationId xmlns:a16="http://schemas.microsoft.com/office/drawing/2014/main" id="{77430B18-6EBD-4734-8D08-3162DAE7ABD8}"/>
                </a:ext>
              </a:extLst>
            </p:cNvPr>
            <p:cNvSpPr>
              <a:spLocks noEditPoints="1"/>
            </p:cNvSpPr>
            <p:nvPr/>
          </p:nvSpPr>
          <p:spPr bwMode="gray">
            <a:xfrm>
              <a:off x="14812134" y="2651063"/>
              <a:ext cx="937050" cy="450688"/>
            </a:xfrm>
            <a:custGeom>
              <a:avLst/>
              <a:gdLst>
                <a:gd name="T0" fmla="*/ 456 w 2863"/>
                <a:gd name="T1" fmla="*/ 1240 h 1377"/>
                <a:gd name="T2" fmla="*/ 364 w 2863"/>
                <a:gd name="T3" fmla="*/ 1155 h 1377"/>
                <a:gd name="T4" fmla="*/ 267 w 2863"/>
                <a:gd name="T5" fmla="*/ 1015 h 1377"/>
                <a:gd name="T6" fmla="*/ 309 w 2863"/>
                <a:gd name="T7" fmla="*/ 994 h 1377"/>
                <a:gd name="T8" fmla="*/ 465 w 2863"/>
                <a:gd name="T9" fmla="*/ 878 h 1377"/>
                <a:gd name="T10" fmla="*/ 394 w 2863"/>
                <a:gd name="T11" fmla="*/ 829 h 1377"/>
                <a:gd name="T12" fmla="*/ 196 w 2863"/>
                <a:gd name="T13" fmla="*/ 850 h 1377"/>
                <a:gd name="T14" fmla="*/ 158 w 2863"/>
                <a:gd name="T15" fmla="*/ 834 h 1377"/>
                <a:gd name="T16" fmla="*/ 0 w 2863"/>
                <a:gd name="T17" fmla="*/ 678 h 1377"/>
                <a:gd name="T18" fmla="*/ 71 w 2863"/>
                <a:gd name="T19" fmla="*/ 493 h 1377"/>
                <a:gd name="T20" fmla="*/ 158 w 2863"/>
                <a:gd name="T21" fmla="*/ 510 h 1377"/>
                <a:gd name="T22" fmla="*/ 272 w 2863"/>
                <a:gd name="T23" fmla="*/ 399 h 1377"/>
                <a:gd name="T24" fmla="*/ 335 w 2863"/>
                <a:gd name="T25" fmla="*/ 382 h 1377"/>
                <a:gd name="T26" fmla="*/ 411 w 2863"/>
                <a:gd name="T27" fmla="*/ 366 h 1377"/>
                <a:gd name="T28" fmla="*/ 562 w 2863"/>
                <a:gd name="T29" fmla="*/ 456 h 1377"/>
                <a:gd name="T30" fmla="*/ 574 w 2863"/>
                <a:gd name="T31" fmla="*/ 434 h 1377"/>
                <a:gd name="T32" fmla="*/ 713 w 2863"/>
                <a:gd name="T33" fmla="*/ 434 h 1377"/>
                <a:gd name="T34" fmla="*/ 827 w 2863"/>
                <a:gd name="T35" fmla="*/ 423 h 1377"/>
                <a:gd name="T36" fmla="*/ 914 w 2863"/>
                <a:gd name="T37" fmla="*/ 489 h 1377"/>
                <a:gd name="T38" fmla="*/ 1061 w 2863"/>
                <a:gd name="T39" fmla="*/ 418 h 1377"/>
                <a:gd name="T40" fmla="*/ 952 w 2863"/>
                <a:gd name="T41" fmla="*/ 349 h 1377"/>
                <a:gd name="T42" fmla="*/ 1006 w 2863"/>
                <a:gd name="T43" fmla="*/ 278 h 1377"/>
                <a:gd name="T44" fmla="*/ 1028 w 2863"/>
                <a:gd name="T45" fmla="*/ 217 h 1377"/>
                <a:gd name="T46" fmla="*/ 1037 w 2863"/>
                <a:gd name="T47" fmla="*/ 167 h 1377"/>
                <a:gd name="T48" fmla="*/ 1129 w 2863"/>
                <a:gd name="T49" fmla="*/ 160 h 1377"/>
                <a:gd name="T50" fmla="*/ 1226 w 2863"/>
                <a:gd name="T51" fmla="*/ 111 h 1377"/>
                <a:gd name="T52" fmla="*/ 1368 w 2863"/>
                <a:gd name="T53" fmla="*/ 89 h 1377"/>
                <a:gd name="T54" fmla="*/ 1561 w 2863"/>
                <a:gd name="T55" fmla="*/ 12 h 1377"/>
                <a:gd name="T56" fmla="*/ 1687 w 2863"/>
                <a:gd name="T57" fmla="*/ 16 h 1377"/>
                <a:gd name="T58" fmla="*/ 1729 w 2863"/>
                <a:gd name="T59" fmla="*/ 111 h 1377"/>
                <a:gd name="T60" fmla="*/ 1795 w 2863"/>
                <a:gd name="T61" fmla="*/ 106 h 1377"/>
                <a:gd name="T62" fmla="*/ 1838 w 2863"/>
                <a:gd name="T63" fmla="*/ 156 h 1377"/>
                <a:gd name="T64" fmla="*/ 1918 w 2863"/>
                <a:gd name="T65" fmla="*/ 139 h 1377"/>
                <a:gd name="T66" fmla="*/ 1946 w 2863"/>
                <a:gd name="T67" fmla="*/ 184 h 1377"/>
                <a:gd name="T68" fmla="*/ 2027 w 2863"/>
                <a:gd name="T69" fmla="*/ 139 h 1377"/>
                <a:gd name="T70" fmla="*/ 2119 w 2863"/>
                <a:gd name="T71" fmla="*/ 127 h 1377"/>
                <a:gd name="T72" fmla="*/ 2376 w 2863"/>
                <a:gd name="T73" fmla="*/ 423 h 1377"/>
                <a:gd name="T74" fmla="*/ 2523 w 2863"/>
                <a:gd name="T75" fmla="*/ 460 h 1377"/>
                <a:gd name="T76" fmla="*/ 2702 w 2863"/>
                <a:gd name="T77" fmla="*/ 534 h 1377"/>
                <a:gd name="T78" fmla="*/ 2825 w 2863"/>
                <a:gd name="T79" fmla="*/ 550 h 1377"/>
                <a:gd name="T80" fmla="*/ 2837 w 2863"/>
                <a:gd name="T81" fmla="*/ 612 h 1377"/>
                <a:gd name="T82" fmla="*/ 2750 w 2863"/>
                <a:gd name="T83" fmla="*/ 777 h 1377"/>
                <a:gd name="T84" fmla="*/ 2627 w 2863"/>
                <a:gd name="T85" fmla="*/ 810 h 1377"/>
                <a:gd name="T86" fmla="*/ 2485 w 2863"/>
                <a:gd name="T87" fmla="*/ 978 h 1377"/>
                <a:gd name="T88" fmla="*/ 2376 w 2863"/>
                <a:gd name="T89" fmla="*/ 1027 h 1377"/>
                <a:gd name="T90" fmla="*/ 2362 w 2863"/>
                <a:gd name="T91" fmla="*/ 1200 h 1377"/>
                <a:gd name="T92" fmla="*/ 2157 w 2863"/>
                <a:gd name="T93" fmla="*/ 1178 h 1377"/>
                <a:gd name="T94" fmla="*/ 1902 w 2863"/>
                <a:gd name="T95" fmla="*/ 1162 h 1377"/>
                <a:gd name="T96" fmla="*/ 1713 w 2863"/>
                <a:gd name="T97" fmla="*/ 1233 h 1377"/>
                <a:gd name="T98" fmla="*/ 1583 w 2863"/>
                <a:gd name="T99" fmla="*/ 1323 h 1377"/>
                <a:gd name="T100" fmla="*/ 1422 w 2863"/>
                <a:gd name="T101" fmla="*/ 1327 h 1377"/>
                <a:gd name="T102" fmla="*/ 1292 w 2863"/>
                <a:gd name="T103" fmla="*/ 1105 h 1377"/>
                <a:gd name="T104" fmla="*/ 666 w 2863"/>
                <a:gd name="T105" fmla="*/ 1311 h 1377"/>
                <a:gd name="T106" fmla="*/ 456 w 2863"/>
                <a:gd name="T107" fmla="*/ 883 h 1377"/>
                <a:gd name="T108" fmla="*/ 267 w 2863"/>
                <a:gd name="T109" fmla="*/ 994 h 1377"/>
                <a:gd name="T110" fmla="*/ 255 w 2863"/>
                <a:gd name="T111" fmla="*/ 999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3" h="1377">
                  <a:moveTo>
                    <a:pt x="666" y="1311"/>
                  </a:moveTo>
                  <a:lnTo>
                    <a:pt x="628" y="1323"/>
                  </a:lnTo>
                  <a:lnTo>
                    <a:pt x="595" y="1273"/>
                  </a:lnTo>
                  <a:lnTo>
                    <a:pt x="595" y="1266"/>
                  </a:lnTo>
                  <a:lnTo>
                    <a:pt x="541" y="1221"/>
                  </a:lnTo>
                  <a:lnTo>
                    <a:pt x="487" y="1233"/>
                  </a:lnTo>
                  <a:lnTo>
                    <a:pt x="456" y="1240"/>
                  </a:lnTo>
                  <a:lnTo>
                    <a:pt x="418" y="1282"/>
                  </a:lnTo>
                  <a:lnTo>
                    <a:pt x="418" y="1266"/>
                  </a:lnTo>
                  <a:lnTo>
                    <a:pt x="411" y="1249"/>
                  </a:lnTo>
                  <a:lnTo>
                    <a:pt x="432" y="1195"/>
                  </a:lnTo>
                  <a:lnTo>
                    <a:pt x="394" y="1178"/>
                  </a:lnTo>
                  <a:lnTo>
                    <a:pt x="380" y="1183"/>
                  </a:lnTo>
                  <a:lnTo>
                    <a:pt x="364" y="1155"/>
                  </a:lnTo>
                  <a:lnTo>
                    <a:pt x="335" y="1155"/>
                  </a:lnTo>
                  <a:lnTo>
                    <a:pt x="335" y="1129"/>
                  </a:lnTo>
                  <a:lnTo>
                    <a:pt x="319" y="1100"/>
                  </a:lnTo>
                  <a:lnTo>
                    <a:pt x="305" y="1067"/>
                  </a:lnTo>
                  <a:lnTo>
                    <a:pt x="267" y="1051"/>
                  </a:lnTo>
                  <a:lnTo>
                    <a:pt x="267" y="1027"/>
                  </a:lnTo>
                  <a:lnTo>
                    <a:pt x="267" y="1015"/>
                  </a:lnTo>
                  <a:lnTo>
                    <a:pt x="305" y="1027"/>
                  </a:lnTo>
                  <a:lnTo>
                    <a:pt x="326" y="1034"/>
                  </a:lnTo>
                  <a:lnTo>
                    <a:pt x="357" y="1034"/>
                  </a:lnTo>
                  <a:lnTo>
                    <a:pt x="335" y="1027"/>
                  </a:lnTo>
                  <a:lnTo>
                    <a:pt x="335" y="1015"/>
                  </a:lnTo>
                  <a:lnTo>
                    <a:pt x="309" y="999"/>
                  </a:lnTo>
                  <a:lnTo>
                    <a:pt x="309" y="994"/>
                  </a:lnTo>
                  <a:lnTo>
                    <a:pt x="335" y="978"/>
                  </a:lnTo>
                  <a:lnTo>
                    <a:pt x="343" y="956"/>
                  </a:lnTo>
                  <a:lnTo>
                    <a:pt x="418" y="956"/>
                  </a:lnTo>
                  <a:lnTo>
                    <a:pt x="470" y="961"/>
                  </a:lnTo>
                  <a:lnTo>
                    <a:pt x="432" y="940"/>
                  </a:lnTo>
                  <a:lnTo>
                    <a:pt x="465" y="900"/>
                  </a:lnTo>
                  <a:lnTo>
                    <a:pt x="465" y="878"/>
                  </a:lnTo>
                  <a:lnTo>
                    <a:pt x="456" y="862"/>
                  </a:lnTo>
                  <a:lnTo>
                    <a:pt x="470" y="845"/>
                  </a:lnTo>
                  <a:lnTo>
                    <a:pt x="470" y="834"/>
                  </a:lnTo>
                  <a:lnTo>
                    <a:pt x="456" y="822"/>
                  </a:lnTo>
                  <a:lnTo>
                    <a:pt x="449" y="810"/>
                  </a:lnTo>
                  <a:lnTo>
                    <a:pt x="418" y="810"/>
                  </a:lnTo>
                  <a:lnTo>
                    <a:pt x="394" y="829"/>
                  </a:lnTo>
                  <a:lnTo>
                    <a:pt x="373" y="822"/>
                  </a:lnTo>
                  <a:lnTo>
                    <a:pt x="357" y="805"/>
                  </a:lnTo>
                  <a:lnTo>
                    <a:pt x="326" y="805"/>
                  </a:lnTo>
                  <a:lnTo>
                    <a:pt x="305" y="822"/>
                  </a:lnTo>
                  <a:lnTo>
                    <a:pt x="272" y="822"/>
                  </a:lnTo>
                  <a:lnTo>
                    <a:pt x="234" y="850"/>
                  </a:lnTo>
                  <a:lnTo>
                    <a:pt x="196" y="850"/>
                  </a:lnTo>
                  <a:lnTo>
                    <a:pt x="201" y="867"/>
                  </a:lnTo>
                  <a:lnTo>
                    <a:pt x="196" y="862"/>
                  </a:lnTo>
                  <a:lnTo>
                    <a:pt x="184" y="867"/>
                  </a:lnTo>
                  <a:lnTo>
                    <a:pt x="142" y="850"/>
                  </a:lnTo>
                  <a:lnTo>
                    <a:pt x="142" y="834"/>
                  </a:lnTo>
                  <a:lnTo>
                    <a:pt x="158" y="834"/>
                  </a:lnTo>
                  <a:lnTo>
                    <a:pt x="158" y="834"/>
                  </a:lnTo>
                  <a:lnTo>
                    <a:pt x="180" y="829"/>
                  </a:lnTo>
                  <a:lnTo>
                    <a:pt x="120" y="751"/>
                  </a:lnTo>
                  <a:lnTo>
                    <a:pt x="66" y="734"/>
                  </a:lnTo>
                  <a:lnTo>
                    <a:pt x="66" y="751"/>
                  </a:lnTo>
                  <a:lnTo>
                    <a:pt x="50" y="734"/>
                  </a:lnTo>
                  <a:lnTo>
                    <a:pt x="38" y="694"/>
                  </a:lnTo>
                  <a:lnTo>
                    <a:pt x="0" y="678"/>
                  </a:lnTo>
                  <a:lnTo>
                    <a:pt x="17" y="628"/>
                  </a:lnTo>
                  <a:lnTo>
                    <a:pt x="38" y="612"/>
                  </a:lnTo>
                  <a:lnTo>
                    <a:pt x="17" y="600"/>
                  </a:lnTo>
                  <a:lnTo>
                    <a:pt x="33" y="550"/>
                  </a:lnTo>
                  <a:lnTo>
                    <a:pt x="54" y="529"/>
                  </a:lnTo>
                  <a:lnTo>
                    <a:pt x="54" y="501"/>
                  </a:lnTo>
                  <a:lnTo>
                    <a:pt x="71" y="493"/>
                  </a:lnTo>
                  <a:lnTo>
                    <a:pt x="76" y="489"/>
                  </a:lnTo>
                  <a:lnTo>
                    <a:pt x="104" y="510"/>
                  </a:lnTo>
                  <a:lnTo>
                    <a:pt x="125" y="545"/>
                  </a:lnTo>
                  <a:lnTo>
                    <a:pt x="130" y="550"/>
                  </a:lnTo>
                  <a:lnTo>
                    <a:pt x="163" y="545"/>
                  </a:lnTo>
                  <a:lnTo>
                    <a:pt x="175" y="529"/>
                  </a:lnTo>
                  <a:lnTo>
                    <a:pt x="158" y="510"/>
                  </a:lnTo>
                  <a:lnTo>
                    <a:pt x="158" y="477"/>
                  </a:lnTo>
                  <a:lnTo>
                    <a:pt x="201" y="456"/>
                  </a:lnTo>
                  <a:lnTo>
                    <a:pt x="201" y="439"/>
                  </a:lnTo>
                  <a:lnTo>
                    <a:pt x="213" y="423"/>
                  </a:lnTo>
                  <a:lnTo>
                    <a:pt x="234" y="434"/>
                  </a:lnTo>
                  <a:lnTo>
                    <a:pt x="272" y="406"/>
                  </a:lnTo>
                  <a:lnTo>
                    <a:pt x="272" y="399"/>
                  </a:lnTo>
                  <a:lnTo>
                    <a:pt x="288" y="389"/>
                  </a:lnTo>
                  <a:lnTo>
                    <a:pt x="288" y="378"/>
                  </a:lnTo>
                  <a:lnTo>
                    <a:pt x="305" y="382"/>
                  </a:lnTo>
                  <a:lnTo>
                    <a:pt x="305" y="366"/>
                  </a:lnTo>
                  <a:lnTo>
                    <a:pt x="343" y="378"/>
                  </a:lnTo>
                  <a:lnTo>
                    <a:pt x="343" y="382"/>
                  </a:lnTo>
                  <a:lnTo>
                    <a:pt x="335" y="382"/>
                  </a:lnTo>
                  <a:lnTo>
                    <a:pt x="335" y="389"/>
                  </a:lnTo>
                  <a:lnTo>
                    <a:pt x="364" y="389"/>
                  </a:lnTo>
                  <a:lnTo>
                    <a:pt x="373" y="389"/>
                  </a:lnTo>
                  <a:lnTo>
                    <a:pt x="373" y="382"/>
                  </a:lnTo>
                  <a:lnTo>
                    <a:pt x="380" y="378"/>
                  </a:lnTo>
                  <a:lnTo>
                    <a:pt x="394" y="378"/>
                  </a:lnTo>
                  <a:lnTo>
                    <a:pt x="411" y="366"/>
                  </a:lnTo>
                  <a:lnTo>
                    <a:pt x="428" y="389"/>
                  </a:lnTo>
                  <a:lnTo>
                    <a:pt x="487" y="389"/>
                  </a:lnTo>
                  <a:lnTo>
                    <a:pt x="503" y="399"/>
                  </a:lnTo>
                  <a:lnTo>
                    <a:pt x="503" y="418"/>
                  </a:lnTo>
                  <a:lnTo>
                    <a:pt x="524" y="423"/>
                  </a:lnTo>
                  <a:lnTo>
                    <a:pt x="553" y="444"/>
                  </a:lnTo>
                  <a:lnTo>
                    <a:pt x="562" y="456"/>
                  </a:lnTo>
                  <a:lnTo>
                    <a:pt x="557" y="472"/>
                  </a:lnTo>
                  <a:lnTo>
                    <a:pt x="562" y="489"/>
                  </a:lnTo>
                  <a:lnTo>
                    <a:pt x="574" y="477"/>
                  </a:lnTo>
                  <a:lnTo>
                    <a:pt x="574" y="444"/>
                  </a:lnTo>
                  <a:lnTo>
                    <a:pt x="562" y="444"/>
                  </a:lnTo>
                  <a:lnTo>
                    <a:pt x="562" y="439"/>
                  </a:lnTo>
                  <a:lnTo>
                    <a:pt x="574" y="434"/>
                  </a:lnTo>
                  <a:lnTo>
                    <a:pt x="645" y="489"/>
                  </a:lnTo>
                  <a:lnTo>
                    <a:pt x="671" y="460"/>
                  </a:lnTo>
                  <a:lnTo>
                    <a:pt x="683" y="444"/>
                  </a:lnTo>
                  <a:lnTo>
                    <a:pt x="687" y="444"/>
                  </a:lnTo>
                  <a:lnTo>
                    <a:pt x="704" y="434"/>
                  </a:lnTo>
                  <a:lnTo>
                    <a:pt x="720" y="439"/>
                  </a:lnTo>
                  <a:lnTo>
                    <a:pt x="713" y="434"/>
                  </a:lnTo>
                  <a:lnTo>
                    <a:pt x="720" y="434"/>
                  </a:lnTo>
                  <a:lnTo>
                    <a:pt x="742" y="434"/>
                  </a:lnTo>
                  <a:lnTo>
                    <a:pt x="772" y="456"/>
                  </a:lnTo>
                  <a:lnTo>
                    <a:pt x="789" y="444"/>
                  </a:lnTo>
                  <a:lnTo>
                    <a:pt x="789" y="434"/>
                  </a:lnTo>
                  <a:lnTo>
                    <a:pt x="822" y="434"/>
                  </a:lnTo>
                  <a:lnTo>
                    <a:pt x="827" y="423"/>
                  </a:lnTo>
                  <a:lnTo>
                    <a:pt x="848" y="434"/>
                  </a:lnTo>
                  <a:lnTo>
                    <a:pt x="843" y="444"/>
                  </a:lnTo>
                  <a:lnTo>
                    <a:pt x="848" y="456"/>
                  </a:lnTo>
                  <a:lnTo>
                    <a:pt x="876" y="472"/>
                  </a:lnTo>
                  <a:lnTo>
                    <a:pt x="914" y="472"/>
                  </a:lnTo>
                  <a:lnTo>
                    <a:pt x="919" y="477"/>
                  </a:lnTo>
                  <a:lnTo>
                    <a:pt x="914" y="489"/>
                  </a:lnTo>
                  <a:lnTo>
                    <a:pt x="914" y="489"/>
                  </a:lnTo>
                  <a:lnTo>
                    <a:pt x="935" y="477"/>
                  </a:lnTo>
                  <a:lnTo>
                    <a:pt x="952" y="456"/>
                  </a:lnTo>
                  <a:lnTo>
                    <a:pt x="968" y="472"/>
                  </a:lnTo>
                  <a:lnTo>
                    <a:pt x="994" y="472"/>
                  </a:lnTo>
                  <a:lnTo>
                    <a:pt x="1044" y="460"/>
                  </a:lnTo>
                  <a:lnTo>
                    <a:pt x="1061" y="418"/>
                  </a:lnTo>
                  <a:lnTo>
                    <a:pt x="1065" y="418"/>
                  </a:lnTo>
                  <a:lnTo>
                    <a:pt x="1049" y="399"/>
                  </a:lnTo>
                  <a:lnTo>
                    <a:pt x="1011" y="389"/>
                  </a:lnTo>
                  <a:lnTo>
                    <a:pt x="1011" y="382"/>
                  </a:lnTo>
                  <a:lnTo>
                    <a:pt x="973" y="378"/>
                  </a:lnTo>
                  <a:lnTo>
                    <a:pt x="985" y="361"/>
                  </a:lnTo>
                  <a:lnTo>
                    <a:pt x="952" y="349"/>
                  </a:lnTo>
                  <a:lnTo>
                    <a:pt x="940" y="345"/>
                  </a:lnTo>
                  <a:lnTo>
                    <a:pt x="985" y="328"/>
                  </a:lnTo>
                  <a:lnTo>
                    <a:pt x="994" y="328"/>
                  </a:lnTo>
                  <a:lnTo>
                    <a:pt x="1023" y="312"/>
                  </a:lnTo>
                  <a:lnTo>
                    <a:pt x="1011" y="295"/>
                  </a:lnTo>
                  <a:lnTo>
                    <a:pt x="1006" y="288"/>
                  </a:lnTo>
                  <a:lnTo>
                    <a:pt x="1006" y="278"/>
                  </a:lnTo>
                  <a:lnTo>
                    <a:pt x="994" y="278"/>
                  </a:lnTo>
                  <a:lnTo>
                    <a:pt x="1023" y="250"/>
                  </a:lnTo>
                  <a:lnTo>
                    <a:pt x="1049" y="238"/>
                  </a:lnTo>
                  <a:lnTo>
                    <a:pt x="1082" y="250"/>
                  </a:lnTo>
                  <a:lnTo>
                    <a:pt x="1098" y="250"/>
                  </a:lnTo>
                  <a:lnTo>
                    <a:pt x="1098" y="234"/>
                  </a:lnTo>
                  <a:lnTo>
                    <a:pt x="1028" y="217"/>
                  </a:lnTo>
                  <a:lnTo>
                    <a:pt x="1037" y="193"/>
                  </a:lnTo>
                  <a:lnTo>
                    <a:pt x="1044" y="201"/>
                  </a:lnTo>
                  <a:lnTo>
                    <a:pt x="1061" y="193"/>
                  </a:lnTo>
                  <a:lnTo>
                    <a:pt x="1049" y="184"/>
                  </a:lnTo>
                  <a:lnTo>
                    <a:pt x="1011" y="184"/>
                  </a:lnTo>
                  <a:lnTo>
                    <a:pt x="1023" y="184"/>
                  </a:lnTo>
                  <a:lnTo>
                    <a:pt x="1037" y="167"/>
                  </a:lnTo>
                  <a:lnTo>
                    <a:pt x="1023" y="160"/>
                  </a:lnTo>
                  <a:lnTo>
                    <a:pt x="1023" y="156"/>
                  </a:lnTo>
                  <a:lnTo>
                    <a:pt x="1044" y="139"/>
                  </a:lnTo>
                  <a:lnTo>
                    <a:pt x="1091" y="156"/>
                  </a:lnTo>
                  <a:lnTo>
                    <a:pt x="1091" y="144"/>
                  </a:lnTo>
                  <a:lnTo>
                    <a:pt x="1113" y="144"/>
                  </a:lnTo>
                  <a:lnTo>
                    <a:pt x="1129" y="160"/>
                  </a:lnTo>
                  <a:lnTo>
                    <a:pt x="1129" y="144"/>
                  </a:lnTo>
                  <a:lnTo>
                    <a:pt x="1167" y="139"/>
                  </a:lnTo>
                  <a:lnTo>
                    <a:pt x="1167" y="127"/>
                  </a:lnTo>
                  <a:lnTo>
                    <a:pt x="1205" y="123"/>
                  </a:lnTo>
                  <a:lnTo>
                    <a:pt x="1221" y="127"/>
                  </a:lnTo>
                  <a:lnTo>
                    <a:pt x="1226" y="123"/>
                  </a:lnTo>
                  <a:lnTo>
                    <a:pt x="1226" y="111"/>
                  </a:lnTo>
                  <a:lnTo>
                    <a:pt x="1292" y="106"/>
                  </a:lnTo>
                  <a:lnTo>
                    <a:pt x="1313" y="111"/>
                  </a:lnTo>
                  <a:lnTo>
                    <a:pt x="1313" y="99"/>
                  </a:lnTo>
                  <a:lnTo>
                    <a:pt x="1330" y="82"/>
                  </a:lnTo>
                  <a:lnTo>
                    <a:pt x="1351" y="89"/>
                  </a:lnTo>
                  <a:lnTo>
                    <a:pt x="1368" y="73"/>
                  </a:lnTo>
                  <a:lnTo>
                    <a:pt x="1368" y="89"/>
                  </a:lnTo>
                  <a:lnTo>
                    <a:pt x="1476" y="66"/>
                  </a:lnTo>
                  <a:lnTo>
                    <a:pt x="1507" y="49"/>
                  </a:lnTo>
                  <a:lnTo>
                    <a:pt x="1524" y="49"/>
                  </a:lnTo>
                  <a:lnTo>
                    <a:pt x="1528" y="45"/>
                  </a:lnTo>
                  <a:lnTo>
                    <a:pt x="1524" y="28"/>
                  </a:lnTo>
                  <a:lnTo>
                    <a:pt x="1552" y="28"/>
                  </a:lnTo>
                  <a:lnTo>
                    <a:pt x="1561" y="12"/>
                  </a:lnTo>
                  <a:lnTo>
                    <a:pt x="1578" y="16"/>
                  </a:lnTo>
                  <a:lnTo>
                    <a:pt x="1578" y="0"/>
                  </a:lnTo>
                  <a:lnTo>
                    <a:pt x="1594" y="16"/>
                  </a:lnTo>
                  <a:lnTo>
                    <a:pt x="1599" y="12"/>
                  </a:lnTo>
                  <a:lnTo>
                    <a:pt x="1620" y="12"/>
                  </a:lnTo>
                  <a:lnTo>
                    <a:pt x="1670" y="33"/>
                  </a:lnTo>
                  <a:lnTo>
                    <a:pt x="1687" y="16"/>
                  </a:lnTo>
                  <a:lnTo>
                    <a:pt x="1708" y="16"/>
                  </a:lnTo>
                  <a:lnTo>
                    <a:pt x="1708" y="16"/>
                  </a:lnTo>
                  <a:lnTo>
                    <a:pt x="1713" y="45"/>
                  </a:lnTo>
                  <a:lnTo>
                    <a:pt x="1724" y="66"/>
                  </a:lnTo>
                  <a:lnTo>
                    <a:pt x="1741" y="82"/>
                  </a:lnTo>
                  <a:lnTo>
                    <a:pt x="1729" y="89"/>
                  </a:lnTo>
                  <a:lnTo>
                    <a:pt x="1729" y="111"/>
                  </a:lnTo>
                  <a:lnTo>
                    <a:pt x="1713" y="111"/>
                  </a:lnTo>
                  <a:lnTo>
                    <a:pt x="1729" y="139"/>
                  </a:lnTo>
                  <a:lnTo>
                    <a:pt x="1746" y="127"/>
                  </a:lnTo>
                  <a:lnTo>
                    <a:pt x="1762" y="139"/>
                  </a:lnTo>
                  <a:lnTo>
                    <a:pt x="1767" y="123"/>
                  </a:lnTo>
                  <a:lnTo>
                    <a:pt x="1800" y="139"/>
                  </a:lnTo>
                  <a:lnTo>
                    <a:pt x="1795" y="106"/>
                  </a:lnTo>
                  <a:lnTo>
                    <a:pt x="1800" y="111"/>
                  </a:lnTo>
                  <a:lnTo>
                    <a:pt x="1817" y="123"/>
                  </a:lnTo>
                  <a:lnTo>
                    <a:pt x="1809" y="127"/>
                  </a:lnTo>
                  <a:lnTo>
                    <a:pt x="1821" y="127"/>
                  </a:lnTo>
                  <a:lnTo>
                    <a:pt x="1817" y="156"/>
                  </a:lnTo>
                  <a:lnTo>
                    <a:pt x="1821" y="156"/>
                  </a:lnTo>
                  <a:lnTo>
                    <a:pt x="1838" y="156"/>
                  </a:lnTo>
                  <a:lnTo>
                    <a:pt x="1838" y="139"/>
                  </a:lnTo>
                  <a:lnTo>
                    <a:pt x="1821" y="144"/>
                  </a:lnTo>
                  <a:lnTo>
                    <a:pt x="1833" y="127"/>
                  </a:lnTo>
                  <a:lnTo>
                    <a:pt x="1854" y="139"/>
                  </a:lnTo>
                  <a:lnTo>
                    <a:pt x="1864" y="144"/>
                  </a:lnTo>
                  <a:lnTo>
                    <a:pt x="1876" y="156"/>
                  </a:lnTo>
                  <a:lnTo>
                    <a:pt x="1918" y="139"/>
                  </a:lnTo>
                  <a:lnTo>
                    <a:pt x="1909" y="160"/>
                  </a:lnTo>
                  <a:lnTo>
                    <a:pt x="1892" y="160"/>
                  </a:lnTo>
                  <a:lnTo>
                    <a:pt x="1876" y="184"/>
                  </a:lnTo>
                  <a:lnTo>
                    <a:pt x="1892" y="201"/>
                  </a:lnTo>
                  <a:lnTo>
                    <a:pt x="1909" y="184"/>
                  </a:lnTo>
                  <a:lnTo>
                    <a:pt x="1923" y="184"/>
                  </a:lnTo>
                  <a:lnTo>
                    <a:pt x="1946" y="184"/>
                  </a:lnTo>
                  <a:lnTo>
                    <a:pt x="1961" y="201"/>
                  </a:lnTo>
                  <a:lnTo>
                    <a:pt x="1961" y="177"/>
                  </a:lnTo>
                  <a:lnTo>
                    <a:pt x="1977" y="177"/>
                  </a:lnTo>
                  <a:lnTo>
                    <a:pt x="1984" y="160"/>
                  </a:lnTo>
                  <a:lnTo>
                    <a:pt x="1998" y="167"/>
                  </a:lnTo>
                  <a:lnTo>
                    <a:pt x="2031" y="144"/>
                  </a:lnTo>
                  <a:lnTo>
                    <a:pt x="2027" y="139"/>
                  </a:lnTo>
                  <a:lnTo>
                    <a:pt x="2031" y="139"/>
                  </a:lnTo>
                  <a:lnTo>
                    <a:pt x="2086" y="123"/>
                  </a:lnTo>
                  <a:lnTo>
                    <a:pt x="2086" y="111"/>
                  </a:lnTo>
                  <a:lnTo>
                    <a:pt x="2102" y="111"/>
                  </a:lnTo>
                  <a:lnTo>
                    <a:pt x="2124" y="106"/>
                  </a:lnTo>
                  <a:lnTo>
                    <a:pt x="2135" y="123"/>
                  </a:lnTo>
                  <a:lnTo>
                    <a:pt x="2119" y="127"/>
                  </a:lnTo>
                  <a:lnTo>
                    <a:pt x="2102" y="127"/>
                  </a:lnTo>
                  <a:lnTo>
                    <a:pt x="2107" y="144"/>
                  </a:lnTo>
                  <a:lnTo>
                    <a:pt x="2199" y="217"/>
                  </a:lnTo>
                  <a:lnTo>
                    <a:pt x="2355" y="460"/>
                  </a:lnTo>
                  <a:lnTo>
                    <a:pt x="2355" y="456"/>
                  </a:lnTo>
                  <a:lnTo>
                    <a:pt x="2388" y="439"/>
                  </a:lnTo>
                  <a:lnTo>
                    <a:pt x="2376" y="423"/>
                  </a:lnTo>
                  <a:lnTo>
                    <a:pt x="2393" y="418"/>
                  </a:lnTo>
                  <a:lnTo>
                    <a:pt x="2405" y="406"/>
                  </a:lnTo>
                  <a:lnTo>
                    <a:pt x="2431" y="423"/>
                  </a:lnTo>
                  <a:lnTo>
                    <a:pt x="2426" y="444"/>
                  </a:lnTo>
                  <a:lnTo>
                    <a:pt x="2447" y="439"/>
                  </a:lnTo>
                  <a:lnTo>
                    <a:pt x="2459" y="460"/>
                  </a:lnTo>
                  <a:lnTo>
                    <a:pt x="2523" y="460"/>
                  </a:lnTo>
                  <a:lnTo>
                    <a:pt x="2539" y="456"/>
                  </a:lnTo>
                  <a:lnTo>
                    <a:pt x="2539" y="444"/>
                  </a:lnTo>
                  <a:lnTo>
                    <a:pt x="2594" y="439"/>
                  </a:lnTo>
                  <a:lnTo>
                    <a:pt x="2627" y="456"/>
                  </a:lnTo>
                  <a:lnTo>
                    <a:pt x="2657" y="510"/>
                  </a:lnTo>
                  <a:lnTo>
                    <a:pt x="2702" y="529"/>
                  </a:lnTo>
                  <a:lnTo>
                    <a:pt x="2702" y="534"/>
                  </a:lnTo>
                  <a:lnTo>
                    <a:pt x="2702" y="545"/>
                  </a:lnTo>
                  <a:lnTo>
                    <a:pt x="2712" y="545"/>
                  </a:lnTo>
                  <a:lnTo>
                    <a:pt x="2717" y="571"/>
                  </a:lnTo>
                  <a:lnTo>
                    <a:pt x="2750" y="571"/>
                  </a:lnTo>
                  <a:lnTo>
                    <a:pt x="2787" y="583"/>
                  </a:lnTo>
                  <a:lnTo>
                    <a:pt x="2809" y="550"/>
                  </a:lnTo>
                  <a:lnTo>
                    <a:pt x="2825" y="550"/>
                  </a:lnTo>
                  <a:lnTo>
                    <a:pt x="2825" y="555"/>
                  </a:lnTo>
                  <a:lnTo>
                    <a:pt x="2809" y="571"/>
                  </a:lnTo>
                  <a:lnTo>
                    <a:pt x="2837" y="583"/>
                  </a:lnTo>
                  <a:lnTo>
                    <a:pt x="2837" y="600"/>
                  </a:lnTo>
                  <a:lnTo>
                    <a:pt x="2863" y="604"/>
                  </a:lnTo>
                  <a:lnTo>
                    <a:pt x="2863" y="623"/>
                  </a:lnTo>
                  <a:lnTo>
                    <a:pt x="2837" y="612"/>
                  </a:lnTo>
                  <a:lnTo>
                    <a:pt x="2820" y="628"/>
                  </a:lnTo>
                  <a:lnTo>
                    <a:pt x="2825" y="656"/>
                  </a:lnTo>
                  <a:lnTo>
                    <a:pt x="2809" y="666"/>
                  </a:lnTo>
                  <a:lnTo>
                    <a:pt x="2754" y="682"/>
                  </a:lnTo>
                  <a:lnTo>
                    <a:pt x="2740" y="723"/>
                  </a:lnTo>
                  <a:lnTo>
                    <a:pt x="2740" y="767"/>
                  </a:lnTo>
                  <a:lnTo>
                    <a:pt x="2750" y="777"/>
                  </a:lnTo>
                  <a:lnTo>
                    <a:pt x="2750" y="789"/>
                  </a:lnTo>
                  <a:lnTo>
                    <a:pt x="2740" y="805"/>
                  </a:lnTo>
                  <a:lnTo>
                    <a:pt x="2717" y="805"/>
                  </a:lnTo>
                  <a:lnTo>
                    <a:pt x="2686" y="829"/>
                  </a:lnTo>
                  <a:lnTo>
                    <a:pt x="2686" y="822"/>
                  </a:lnTo>
                  <a:lnTo>
                    <a:pt x="2679" y="810"/>
                  </a:lnTo>
                  <a:lnTo>
                    <a:pt x="2627" y="810"/>
                  </a:lnTo>
                  <a:lnTo>
                    <a:pt x="2565" y="789"/>
                  </a:lnTo>
                  <a:lnTo>
                    <a:pt x="2565" y="810"/>
                  </a:lnTo>
                  <a:lnTo>
                    <a:pt x="2513" y="940"/>
                  </a:lnTo>
                  <a:lnTo>
                    <a:pt x="2535" y="956"/>
                  </a:lnTo>
                  <a:lnTo>
                    <a:pt x="2535" y="978"/>
                  </a:lnTo>
                  <a:lnTo>
                    <a:pt x="2513" y="973"/>
                  </a:lnTo>
                  <a:lnTo>
                    <a:pt x="2485" y="978"/>
                  </a:lnTo>
                  <a:lnTo>
                    <a:pt x="2468" y="961"/>
                  </a:lnTo>
                  <a:lnTo>
                    <a:pt x="2355" y="989"/>
                  </a:lnTo>
                  <a:lnTo>
                    <a:pt x="2339" y="999"/>
                  </a:lnTo>
                  <a:lnTo>
                    <a:pt x="2350" y="1011"/>
                  </a:lnTo>
                  <a:lnTo>
                    <a:pt x="2372" y="1011"/>
                  </a:lnTo>
                  <a:lnTo>
                    <a:pt x="2388" y="1015"/>
                  </a:lnTo>
                  <a:lnTo>
                    <a:pt x="2376" y="1027"/>
                  </a:lnTo>
                  <a:lnTo>
                    <a:pt x="2376" y="1067"/>
                  </a:lnTo>
                  <a:lnTo>
                    <a:pt x="2405" y="1129"/>
                  </a:lnTo>
                  <a:lnTo>
                    <a:pt x="2409" y="1155"/>
                  </a:lnTo>
                  <a:lnTo>
                    <a:pt x="2376" y="1167"/>
                  </a:lnTo>
                  <a:lnTo>
                    <a:pt x="2393" y="1178"/>
                  </a:lnTo>
                  <a:lnTo>
                    <a:pt x="2372" y="1183"/>
                  </a:lnTo>
                  <a:lnTo>
                    <a:pt x="2362" y="1200"/>
                  </a:lnTo>
                  <a:lnTo>
                    <a:pt x="2372" y="1233"/>
                  </a:lnTo>
                  <a:lnTo>
                    <a:pt x="2362" y="1240"/>
                  </a:lnTo>
                  <a:lnTo>
                    <a:pt x="2350" y="1216"/>
                  </a:lnTo>
                  <a:lnTo>
                    <a:pt x="2308" y="1216"/>
                  </a:lnTo>
                  <a:lnTo>
                    <a:pt x="2296" y="1195"/>
                  </a:lnTo>
                  <a:lnTo>
                    <a:pt x="2296" y="1183"/>
                  </a:lnTo>
                  <a:lnTo>
                    <a:pt x="2157" y="1178"/>
                  </a:lnTo>
                  <a:lnTo>
                    <a:pt x="2140" y="1167"/>
                  </a:lnTo>
                  <a:lnTo>
                    <a:pt x="2119" y="1178"/>
                  </a:lnTo>
                  <a:lnTo>
                    <a:pt x="2053" y="1167"/>
                  </a:lnTo>
                  <a:lnTo>
                    <a:pt x="2048" y="1183"/>
                  </a:lnTo>
                  <a:lnTo>
                    <a:pt x="1984" y="1167"/>
                  </a:lnTo>
                  <a:lnTo>
                    <a:pt x="1946" y="1145"/>
                  </a:lnTo>
                  <a:lnTo>
                    <a:pt x="1902" y="1162"/>
                  </a:lnTo>
                  <a:lnTo>
                    <a:pt x="1892" y="1200"/>
                  </a:lnTo>
                  <a:lnTo>
                    <a:pt x="1892" y="1216"/>
                  </a:lnTo>
                  <a:lnTo>
                    <a:pt x="1809" y="1183"/>
                  </a:lnTo>
                  <a:lnTo>
                    <a:pt x="1767" y="1183"/>
                  </a:lnTo>
                  <a:lnTo>
                    <a:pt x="1729" y="1195"/>
                  </a:lnTo>
                  <a:lnTo>
                    <a:pt x="1708" y="1221"/>
                  </a:lnTo>
                  <a:lnTo>
                    <a:pt x="1713" y="1233"/>
                  </a:lnTo>
                  <a:lnTo>
                    <a:pt x="1703" y="1240"/>
                  </a:lnTo>
                  <a:lnTo>
                    <a:pt x="1691" y="1256"/>
                  </a:lnTo>
                  <a:lnTo>
                    <a:pt x="1675" y="1249"/>
                  </a:lnTo>
                  <a:lnTo>
                    <a:pt x="1649" y="1282"/>
                  </a:lnTo>
                  <a:lnTo>
                    <a:pt x="1620" y="1282"/>
                  </a:lnTo>
                  <a:lnTo>
                    <a:pt x="1583" y="1311"/>
                  </a:lnTo>
                  <a:lnTo>
                    <a:pt x="1583" y="1323"/>
                  </a:lnTo>
                  <a:lnTo>
                    <a:pt x="1552" y="1351"/>
                  </a:lnTo>
                  <a:lnTo>
                    <a:pt x="1552" y="1377"/>
                  </a:lnTo>
                  <a:lnTo>
                    <a:pt x="1540" y="1377"/>
                  </a:lnTo>
                  <a:lnTo>
                    <a:pt x="1514" y="1360"/>
                  </a:lnTo>
                  <a:lnTo>
                    <a:pt x="1524" y="1339"/>
                  </a:lnTo>
                  <a:lnTo>
                    <a:pt x="1507" y="1327"/>
                  </a:lnTo>
                  <a:lnTo>
                    <a:pt x="1422" y="1327"/>
                  </a:lnTo>
                  <a:lnTo>
                    <a:pt x="1405" y="1256"/>
                  </a:lnTo>
                  <a:lnTo>
                    <a:pt x="1368" y="1256"/>
                  </a:lnTo>
                  <a:lnTo>
                    <a:pt x="1377" y="1167"/>
                  </a:lnTo>
                  <a:lnTo>
                    <a:pt x="1351" y="1178"/>
                  </a:lnTo>
                  <a:lnTo>
                    <a:pt x="1335" y="1138"/>
                  </a:lnTo>
                  <a:lnTo>
                    <a:pt x="1313" y="1129"/>
                  </a:lnTo>
                  <a:lnTo>
                    <a:pt x="1292" y="1105"/>
                  </a:lnTo>
                  <a:lnTo>
                    <a:pt x="1259" y="1122"/>
                  </a:lnTo>
                  <a:lnTo>
                    <a:pt x="1174" y="1110"/>
                  </a:lnTo>
                  <a:lnTo>
                    <a:pt x="1091" y="1122"/>
                  </a:lnTo>
                  <a:lnTo>
                    <a:pt x="1028" y="1056"/>
                  </a:lnTo>
                  <a:lnTo>
                    <a:pt x="843" y="940"/>
                  </a:lnTo>
                  <a:lnTo>
                    <a:pt x="666" y="994"/>
                  </a:lnTo>
                  <a:lnTo>
                    <a:pt x="666" y="1311"/>
                  </a:lnTo>
                  <a:lnTo>
                    <a:pt x="666" y="1311"/>
                  </a:lnTo>
                  <a:lnTo>
                    <a:pt x="666" y="1311"/>
                  </a:lnTo>
                  <a:close/>
                  <a:moveTo>
                    <a:pt x="456" y="883"/>
                  </a:moveTo>
                  <a:lnTo>
                    <a:pt x="449" y="878"/>
                  </a:lnTo>
                  <a:lnTo>
                    <a:pt x="456" y="867"/>
                  </a:lnTo>
                  <a:lnTo>
                    <a:pt x="465" y="878"/>
                  </a:lnTo>
                  <a:lnTo>
                    <a:pt x="456" y="883"/>
                  </a:lnTo>
                  <a:lnTo>
                    <a:pt x="456" y="883"/>
                  </a:lnTo>
                  <a:lnTo>
                    <a:pt x="456" y="883"/>
                  </a:lnTo>
                  <a:close/>
                  <a:moveTo>
                    <a:pt x="267" y="994"/>
                  </a:moveTo>
                  <a:lnTo>
                    <a:pt x="267" y="989"/>
                  </a:lnTo>
                  <a:lnTo>
                    <a:pt x="272" y="989"/>
                  </a:lnTo>
                  <a:lnTo>
                    <a:pt x="267" y="994"/>
                  </a:lnTo>
                  <a:lnTo>
                    <a:pt x="267" y="994"/>
                  </a:lnTo>
                  <a:lnTo>
                    <a:pt x="267" y="994"/>
                  </a:lnTo>
                  <a:close/>
                  <a:moveTo>
                    <a:pt x="255" y="1011"/>
                  </a:moveTo>
                  <a:lnTo>
                    <a:pt x="239" y="994"/>
                  </a:lnTo>
                  <a:lnTo>
                    <a:pt x="250" y="989"/>
                  </a:lnTo>
                  <a:lnTo>
                    <a:pt x="255" y="989"/>
                  </a:lnTo>
                  <a:lnTo>
                    <a:pt x="250" y="994"/>
                  </a:lnTo>
                  <a:lnTo>
                    <a:pt x="255" y="999"/>
                  </a:lnTo>
                  <a:lnTo>
                    <a:pt x="255" y="1011"/>
                  </a:lnTo>
                  <a:lnTo>
                    <a:pt x="255" y="1011"/>
                  </a:lnTo>
                  <a:lnTo>
                    <a:pt x="255" y="1011"/>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8" name="Freeform 489">
              <a:extLst>
                <a:ext uri="{FF2B5EF4-FFF2-40B4-BE49-F238E27FC236}">
                  <a16:creationId xmlns:a16="http://schemas.microsoft.com/office/drawing/2014/main" id="{21DEFEEB-EFD5-4523-8CA4-7E050692E890}"/>
                </a:ext>
              </a:extLst>
            </p:cNvPr>
            <p:cNvSpPr>
              <a:spLocks/>
            </p:cNvSpPr>
            <p:nvPr/>
          </p:nvSpPr>
          <p:spPr bwMode="gray">
            <a:xfrm>
              <a:off x="16041461" y="3575676"/>
              <a:ext cx="175431" cy="208815"/>
            </a:xfrm>
            <a:custGeom>
              <a:avLst/>
              <a:gdLst>
                <a:gd name="T0" fmla="*/ 5 w 536"/>
                <a:gd name="T1" fmla="*/ 127 h 638"/>
                <a:gd name="T2" fmla="*/ 33 w 536"/>
                <a:gd name="T3" fmla="*/ 120 h 638"/>
                <a:gd name="T4" fmla="*/ 49 w 536"/>
                <a:gd name="T5" fmla="*/ 87 h 638"/>
                <a:gd name="T6" fmla="*/ 75 w 536"/>
                <a:gd name="T7" fmla="*/ 66 h 638"/>
                <a:gd name="T8" fmla="*/ 104 w 536"/>
                <a:gd name="T9" fmla="*/ 94 h 638"/>
                <a:gd name="T10" fmla="*/ 125 w 536"/>
                <a:gd name="T11" fmla="*/ 94 h 638"/>
                <a:gd name="T12" fmla="*/ 113 w 536"/>
                <a:gd name="T13" fmla="*/ 49 h 638"/>
                <a:gd name="T14" fmla="*/ 104 w 536"/>
                <a:gd name="T15" fmla="*/ 16 h 638"/>
                <a:gd name="T16" fmla="*/ 146 w 536"/>
                <a:gd name="T17" fmla="*/ 9 h 638"/>
                <a:gd name="T18" fmla="*/ 179 w 536"/>
                <a:gd name="T19" fmla="*/ 66 h 638"/>
                <a:gd name="T20" fmla="*/ 196 w 536"/>
                <a:gd name="T21" fmla="*/ 87 h 638"/>
                <a:gd name="T22" fmla="*/ 255 w 536"/>
                <a:gd name="T23" fmla="*/ 137 h 638"/>
                <a:gd name="T24" fmla="*/ 276 w 536"/>
                <a:gd name="T25" fmla="*/ 111 h 638"/>
                <a:gd name="T26" fmla="*/ 305 w 536"/>
                <a:gd name="T27" fmla="*/ 149 h 638"/>
                <a:gd name="T28" fmla="*/ 342 w 536"/>
                <a:gd name="T29" fmla="*/ 177 h 638"/>
                <a:gd name="T30" fmla="*/ 331 w 536"/>
                <a:gd name="T31" fmla="*/ 194 h 638"/>
                <a:gd name="T32" fmla="*/ 319 w 536"/>
                <a:gd name="T33" fmla="*/ 215 h 638"/>
                <a:gd name="T34" fmla="*/ 276 w 536"/>
                <a:gd name="T35" fmla="*/ 222 h 638"/>
                <a:gd name="T36" fmla="*/ 288 w 536"/>
                <a:gd name="T37" fmla="*/ 248 h 638"/>
                <a:gd name="T38" fmla="*/ 357 w 536"/>
                <a:gd name="T39" fmla="*/ 288 h 638"/>
                <a:gd name="T40" fmla="*/ 357 w 536"/>
                <a:gd name="T41" fmla="*/ 309 h 638"/>
                <a:gd name="T42" fmla="*/ 380 w 536"/>
                <a:gd name="T43" fmla="*/ 326 h 638"/>
                <a:gd name="T44" fmla="*/ 439 w 536"/>
                <a:gd name="T45" fmla="*/ 399 h 638"/>
                <a:gd name="T46" fmla="*/ 456 w 536"/>
                <a:gd name="T47" fmla="*/ 416 h 638"/>
                <a:gd name="T48" fmla="*/ 465 w 536"/>
                <a:gd name="T49" fmla="*/ 456 h 638"/>
                <a:gd name="T50" fmla="*/ 482 w 536"/>
                <a:gd name="T51" fmla="*/ 444 h 638"/>
                <a:gd name="T52" fmla="*/ 494 w 536"/>
                <a:gd name="T53" fmla="*/ 460 h 638"/>
                <a:gd name="T54" fmla="*/ 520 w 536"/>
                <a:gd name="T55" fmla="*/ 477 h 638"/>
                <a:gd name="T56" fmla="*/ 494 w 536"/>
                <a:gd name="T57" fmla="*/ 498 h 638"/>
                <a:gd name="T58" fmla="*/ 527 w 536"/>
                <a:gd name="T59" fmla="*/ 555 h 638"/>
                <a:gd name="T60" fmla="*/ 527 w 536"/>
                <a:gd name="T61" fmla="*/ 583 h 638"/>
                <a:gd name="T62" fmla="*/ 456 w 536"/>
                <a:gd name="T63" fmla="*/ 588 h 638"/>
                <a:gd name="T64" fmla="*/ 435 w 536"/>
                <a:gd name="T65" fmla="*/ 593 h 638"/>
                <a:gd name="T66" fmla="*/ 418 w 536"/>
                <a:gd name="T67" fmla="*/ 605 h 638"/>
                <a:gd name="T68" fmla="*/ 418 w 536"/>
                <a:gd name="T69" fmla="*/ 638 h 638"/>
                <a:gd name="T70" fmla="*/ 385 w 536"/>
                <a:gd name="T71" fmla="*/ 621 h 638"/>
                <a:gd name="T72" fmla="*/ 357 w 536"/>
                <a:gd name="T73" fmla="*/ 605 h 638"/>
                <a:gd name="T74" fmla="*/ 385 w 536"/>
                <a:gd name="T75" fmla="*/ 555 h 638"/>
                <a:gd name="T76" fmla="*/ 385 w 536"/>
                <a:gd name="T77" fmla="*/ 510 h 638"/>
                <a:gd name="T78" fmla="*/ 373 w 536"/>
                <a:gd name="T79" fmla="*/ 494 h 638"/>
                <a:gd name="T80" fmla="*/ 347 w 536"/>
                <a:gd name="T81" fmla="*/ 477 h 638"/>
                <a:gd name="T82" fmla="*/ 331 w 536"/>
                <a:gd name="T83" fmla="*/ 387 h 638"/>
                <a:gd name="T84" fmla="*/ 293 w 536"/>
                <a:gd name="T85" fmla="*/ 349 h 638"/>
                <a:gd name="T86" fmla="*/ 234 w 536"/>
                <a:gd name="T87" fmla="*/ 305 h 638"/>
                <a:gd name="T88" fmla="*/ 222 w 536"/>
                <a:gd name="T89" fmla="*/ 316 h 638"/>
                <a:gd name="T90" fmla="*/ 212 w 536"/>
                <a:gd name="T91" fmla="*/ 333 h 638"/>
                <a:gd name="T92" fmla="*/ 179 w 536"/>
                <a:gd name="T93" fmla="*/ 349 h 638"/>
                <a:gd name="T94" fmla="*/ 163 w 536"/>
                <a:gd name="T95" fmla="*/ 333 h 638"/>
                <a:gd name="T96" fmla="*/ 125 w 536"/>
                <a:gd name="T97" fmla="*/ 333 h 638"/>
                <a:gd name="T98" fmla="*/ 104 w 536"/>
                <a:gd name="T99" fmla="*/ 349 h 638"/>
                <a:gd name="T100" fmla="*/ 59 w 536"/>
                <a:gd name="T101" fmla="*/ 366 h 638"/>
                <a:gd name="T102" fmla="*/ 75 w 536"/>
                <a:gd name="T103" fmla="*/ 309 h 638"/>
                <a:gd name="T104" fmla="*/ 87 w 536"/>
                <a:gd name="T105" fmla="*/ 288 h 638"/>
                <a:gd name="T106" fmla="*/ 87 w 536"/>
                <a:gd name="T107" fmla="*/ 255 h 638"/>
                <a:gd name="T108" fmla="*/ 87 w 536"/>
                <a:gd name="T109" fmla="*/ 222 h 638"/>
                <a:gd name="T110" fmla="*/ 49 w 536"/>
                <a:gd name="T111" fmla="*/ 222 h 638"/>
                <a:gd name="T112" fmla="*/ 21 w 536"/>
                <a:gd name="T113" fmla="*/ 205 h 638"/>
                <a:gd name="T114" fmla="*/ 21 w 536"/>
                <a:gd name="T115" fmla="*/ 177 h 638"/>
                <a:gd name="T116" fmla="*/ 5 w 536"/>
                <a:gd name="T117" fmla="*/ 165 h 638"/>
                <a:gd name="T118" fmla="*/ 0 w 536"/>
                <a:gd name="T119" fmla="*/ 16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 h="638">
                  <a:moveTo>
                    <a:pt x="0" y="160"/>
                  </a:moveTo>
                  <a:lnTo>
                    <a:pt x="5" y="127"/>
                  </a:lnTo>
                  <a:lnTo>
                    <a:pt x="38" y="120"/>
                  </a:lnTo>
                  <a:lnTo>
                    <a:pt x="33" y="120"/>
                  </a:lnTo>
                  <a:lnTo>
                    <a:pt x="33" y="111"/>
                  </a:lnTo>
                  <a:lnTo>
                    <a:pt x="49" y="87"/>
                  </a:lnTo>
                  <a:lnTo>
                    <a:pt x="59" y="83"/>
                  </a:lnTo>
                  <a:lnTo>
                    <a:pt x="75" y="66"/>
                  </a:lnTo>
                  <a:lnTo>
                    <a:pt x="87" y="94"/>
                  </a:lnTo>
                  <a:lnTo>
                    <a:pt x="104" y="94"/>
                  </a:lnTo>
                  <a:lnTo>
                    <a:pt x="113" y="104"/>
                  </a:lnTo>
                  <a:lnTo>
                    <a:pt x="125" y="94"/>
                  </a:lnTo>
                  <a:lnTo>
                    <a:pt x="113" y="87"/>
                  </a:lnTo>
                  <a:lnTo>
                    <a:pt x="113" y="49"/>
                  </a:lnTo>
                  <a:lnTo>
                    <a:pt x="109" y="38"/>
                  </a:lnTo>
                  <a:lnTo>
                    <a:pt x="104" y="16"/>
                  </a:lnTo>
                  <a:lnTo>
                    <a:pt x="113" y="0"/>
                  </a:lnTo>
                  <a:lnTo>
                    <a:pt x="146" y="9"/>
                  </a:lnTo>
                  <a:lnTo>
                    <a:pt x="179" y="38"/>
                  </a:lnTo>
                  <a:lnTo>
                    <a:pt x="179" y="66"/>
                  </a:lnTo>
                  <a:lnTo>
                    <a:pt x="201" y="54"/>
                  </a:lnTo>
                  <a:lnTo>
                    <a:pt x="196" y="87"/>
                  </a:lnTo>
                  <a:lnTo>
                    <a:pt x="217" y="120"/>
                  </a:lnTo>
                  <a:lnTo>
                    <a:pt x="255" y="137"/>
                  </a:lnTo>
                  <a:lnTo>
                    <a:pt x="264" y="120"/>
                  </a:lnTo>
                  <a:lnTo>
                    <a:pt x="276" y="111"/>
                  </a:lnTo>
                  <a:lnTo>
                    <a:pt x="319" y="137"/>
                  </a:lnTo>
                  <a:lnTo>
                    <a:pt x="305" y="149"/>
                  </a:lnTo>
                  <a:lnTo>
                    <a:pt x="319" y="149"/>
                  </a:lnTo>
                  <a:lnTo>
                    <a:pt x="342" y="177"/>
                  </a:lnTo>
                  <a:lnTo>
                    <a:pt x="342" y="182"/>
                  </a:lnTo>
                  <a:lnTo>
                    <a:pt x="331" y="194"/>
                  </a:lnTo>
                  <a:lnTo>
                    <a:pt x="331" y="198"/>
                  </a:lnTo>
                  <a:lnTo>
                    <a:pt x="319" y="215"/>
                  </a:lnTo>
                  <a:lnTo>
                    <a:pt x="276" y="205"/>
                  </a:lnTo>
                  <a:lnTo>
                    <a:pt x="276" y="222"/>
                  </a:lnTo>
                  <a:lnTo>
                    <a:pt x="264" y="238"/>
                  </a:lnTo>
                  <a:lnTo>
                    <a:pt x="288" y="248"/>
                  </a:lnTo>
                  <a:lnTo>
                    <a:pt x="326" y="276"/>
                  </a:lnTo>
                  <a:lnTo>
                    <a:pt x="357" y="288"/>
                  </a:lnTo>
                  <a:lnTo>
                    <a:pt x="357" y="305"/>
                  </a:lnTo>
                  <a:lnTo>
                    <a:pt x="357" y="309"/>
                  </a:lnTo>
                  <a:lnTo>
                    <a:pt x="373" y="326"/>
                  </a:lnTo>
                  <a:lnTo>
                    <a:pt x="380" y="326"/>
                  </a:lnTo>
                  <a:lnTo>
                    <a:pt x="397" y="361"/>
                  </a:lnTo>
                  <a:lnTo>
                    <a:pt x="439" y="399"/>
                  </a:lnTo>
                  <a:lnTo>
                    <a:pt x="449" y="416"/>
                  </a:lnTo>
                  <a:lnTo>
                    <a:pt x="456" y="416"/>
                  </a:lnTo>
                  <a:lnTo>
                    <a:pt x="456" y="437"/>
                  </a:lnTo>
                  <a:lnTo>
                    <a:pt x="465" y="456"/>
                  </a:lnTo>
                  <a:lnTo>
                    <a:pt x="472" y="456"/>
                  </a:lnTo>
                  <a:lnTo>
                    <a:pt x="482" y="444"/>
                  </a:lnTo>
                  <a:lnTo>
                    <a:pt x="489" y="460"/>
                  </a:lnTo>
                  <a:lnTo>
                    <a:pt x="494" y="460"/>
                  </a:lnTo>
                  <a:lnTo>
                    <a:pt x="510" y="477"/>
                  </a:lnTo>
                  <a:lnTo>
                    <a:pt x="520" y="477"/>
                  </a:lnTo>
                  <a:lnTo>
                    <a:pt x="510" y="494"/>
                  </a:lnTo>
                  <a:lnTo>
                    <a:pt x="494" y="498"/>
                  </a:lnTo>
                  <a:lnTo>
                    <a:pt x="536" y="538"/>
                  </a:lnTo>
                  <a:lnTo>
                    <a:pt x="527" y="555"/>
                  </a:lnTo>
                  <a:lnTo>
                    <a:pt x="520" y="555"/>
                  </a:lnTo>
                  <a:lnTo>
                    <a:pt x="527" y="583"/>
                  </a:lnTo>
                  <a:lnTo>
                    <a:pt x="472" y="609"/>
                  </a:lnTo>
                  <a:lnTo>
                    <a:pt x="456" y="588"/>
                  </a:lnTo>
                  <a:lnTo>
                    <a:pt x="439" y="593"/>
                  </a:lnTo>
                  <a:lnTo>
                    <a:pt x="435" y="593"/>
                  </a:lnTo>
                  <a:lnTo>
                    <a:pt x="435" y="605"/>
                  </a:lnTo>
                  <a:lnTo>
                    <a:pt x="418" y="605"/>
                  </a:lnTo>
                  <a:lnTo>
                    <a:pt x="427" y="628"/>
                  </a:lnTo>
                  <a:lnTo>
                    <a:pt x="418" y="638"/>
                  </a:lnTo>
                  <a:lnTo>
                    <a:pt x="411" y="638"/>
                  </a:lnTo>
                  <a:lnTo>
                    <a:pt x="385" y="621"/>
                  </a:lnTo>
                  <a:lnTo>
                    <a:pt x="373" y="628"/>
                  </a:lnTo>
                  <a:lnTo>
                    <a:pt x="357" y="605"/>
                  </a:lnTo>
                  <a:lnTo>
                    <a:pt x="380" y="588"/>
                  </a:lnTo>
                  <a:lnTo>
                    <a:pt x="385" y="555"/>
                  </a:lnTo>
                  <a:lnTo>
                    <a:pt x="380" y="550"/>
                  </a:lnTo>
                  <a:lnTo>
                    <a:pt x="385" y="510"/>
                  </a:lnTo>
                  <a:lnTo>
                    <a:pt x="373" y="498"/>
                  </a:lnTo>
                  <a:lnTo>
                    <a:pt x="373" y="494"/>
                  </a:lnTo>
                  <a:lnTo>
                    <a:pt x="373" y="482"/>
                  </a:lnTo>
                  <a:lnTo>
                    <a:pt x="347" y="477"/>
                  </a:lnTo>
                  <a:lnTo>
                    <a:pt x="326" y="444"/>
                  </a:lnTo>
                  <a:lnTo>
                    <a:pt x="331" y="387"/>
                  </a:lnTo>
                  <a:lnTo>
                    <a:pt x="326" y="371"/>
                  </a:lnTo>
                  <a:lnTo>
                    <a:pt x="293" y="349"/>
                  </a:lnTo>
                  <a:lnTo>
                    <a:pt x="272" y="309"/>
                  </a:lnTo>
                  <a:lnTo>
                    <a:pt x="234" y="305"/>
                  </a:lnTo>
                  <a:lnTo>
                    <a:pt x="222" y="309"/>
                  </a:lnTo>
                  <a:lnTo>
                    <a:pt x="222" y="316"/>
                  </a:lnTo>
                  <a:lnTo>
                    <a:pt x="212" y="326"/>
                  </a:lnTo>
                  <a:lnTo>
                    <a:pt x="212" y="333"/>
                  </a:lnTo>
                  <a:lnTo>
                    <a:pt x="196" y="333"/>
                  </a:lnTo>
                  <a:lnTo>
                    <a:pt x="179" y="349"/>
                  </a:lnTo>
                  <a:lnTo>
                    <a:pt x="179" y="342"/>
                  </a:lnTo>
                  <a:lnTo>
                    <a:pt x="163" y="333"/>
                  </a:lnTo>
                  <a:lnTo>
                    <a:pt x="142" y="316"/>
                  </a:lnTo>
                  <a:lnTo>
                    <a:pt x="125" y="333"/>
                  </a:lnTo>
                  <a:lnTo>
                    <a:pt x="113" y="333"/>
                  </a:lnTo>
                  <a:lnTo>
                    <a:pt x="104" y="349"/>
                  </a:lnTo>
                  <a:lnTo>
                    <a:pt x="75" y="371"/>
                  </a:lnTo>
                  <a:lnTo>
                    <a:pt x="59" y="366"/>
                  </a:lnTo>
                  <a:lnTo>
                    <a:pt x="75" y="326"/>
                  </a:lnTo>
                  <a:lnTo>
                    <a:pt x="75" y="309"/>
                  </a:lnTo>
                  <a:lnTo>
                    <a:pt x="71" y="305"/>
                  </a:lnTo>
                  <a:lnTo>
                    <a:pt x="87" y="288"/>
                  </a:lnTo>
                  <a:lnTo>
                    <a:pt x="75" y="272"/>
                  </a:lnTo>
                  <a:lnTo>
                    <a:pt x="87" y="255"/>
                  </a:lnTo>
                  <a:lnTo>
                    <a:pt x="75" y="231"/>
                  </a:lnTo>
                  <a:lnTo>
                    <a:pt x="87" y="222"/>
                  </a:lnTo>
                  <a:lnTo>
                    <a:pt x="54" y="215"/>
                  </a:lnTo>
                  <a:lnTo>
                    <a:pt x="49" y="222"/>
                  </a:lnTo>
                  <a:lnTo>
                    <a:pt x="33" y="222"/>
                  </a:lnTo>
                  <a:lnTo>
                    <a:pt x="21" y="205"/>
                  </a:lnTo>
                  <a:lnTo>
                    <a:pt x="33" y="177"/>
                  </a:lnTo>
                  <a:lnTo>
                    <a:pt x="21" y="177"/>
                  </a:lnTo>
                  <a:lnTo>
                    <a:pt x="16" y="160"/>
                  </a:lnTo>
                  <a:lnTo>
                    <a:pt x="5" y="165"/>
                  </a:lnTo>
                  <a:lnTo>
                    <a:pt x="0" y="160"/>
                  </a:lnTo>
                  <a:lnTo>
                    <a:pt x="0" y="160"/>
                  </a:lnTo>
                  <a:lnTo>
                    <a:pt x="0" y="16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9" name="Freeform 490">
              <a:extLst>
                <a:ext uri="{FF2B5EF4-FFF2-40B4-BE49-F238E27FC236}">
                  <a16:creationId xmlns:a16="http://schemas.microsoft.com/office/drawing/2014/main" id="{C6CAF45C-2118-499F-A0D4-8F0F3B30AA0F}"/>
                </a:ext>
              </a:extLst>
            </p:cNvPr>
            <p:cNvSpPr>
              <a:spLocks/>
            </p:cNvSpPr>
            <p:nvPr/>
          </p:nvSpPr>
          <p:spPr bwMode="gray">
            <a:xfrm>
              <a:off x="14549970" y="3264744"/>
              <a:ext cx="36330" cy="42549"/>
            </a:xfrm>
            <a:custGeom>
              <a:avLst/>
              <a:gdLst>
                <a:gd name="T0" fmla="*/ 38 w 111"/>
                <a:gd name="T1" fmla="*/ 111 h 130"/>
                <a:gd name="T2" fmla="*/ 21 w 111"/>
                <a:gd name="T3" fmla="*/ 130 h 130"/>
                <a:gd name="T4" fmla="*/ 0 w 111"/>
                <a:gd name="T5" fmla="*/ 118 h 130"/>
                <a:gd name="T6" fmla="*/ 21 w 111"/>
                <a:gd name="T7" fmla="*/ 57 h 130"/>
                <a:gd name="T8" fmla="*/ 38 w 111"/>
                <a:gd name="T9" fmla="*/ 45 h 130"/>
                <a:gd name="T10" fmla="*/ 38 w 111"/>
                <a:gd name="T11" fmla="*/ 24 h 130"/>
                <a:gd name="T12" fmla="*/ 62 w 111"/>
                <a:gd name="T13" fmla="*/ 5 h 130"/>
                <a:gd name="T14" fmla="*/ 62 w 111"/>
                <a:gd name="T15" fmla="*/ 0 h 130"/>
                <a:gd name="T16" fmla="*/ 95 w 111"/>
                <a:gd name="T17" fmla="*/ 0 h 130"/>
                <a:gd name="T18" fmla="*/ 83 w 111"/>
                <a:gd name="T19" fmla="*/ 5 h 130"/>
                <a:gd name="T20" fmla="*/ 99 w 111"/>
                <a:gd name="T21" fmla="*/ 17 h 130"/>
                <a:gd name="T22" fmla="*/ 111 w 111"/>
                <a:gd name="T23" fmla="*/ 29 h 130"/>
                <a:gd name="T24" fmla="*/ 83 w 111"/>
                <a:gd name="T25" fmla="*/ 57 h 130"/>
                <a:gd name="T26" fmla="*/ 95 w 111"/>
                <a:gd name="T27" fmla="*/ 62 h 130"/>
                <a:gd name="T28" fmla="*/ 66 w 111"/>
                <a:gd name="T29" fmla="*/ 62 h 130"/>
                <a:gd name="T30" fmla="*/ 62 w 111"/>
                <a:gd name="T31" fmla="*/ 78 h 130"/>
                <a:gd name="T32" fmla="*/ 66 w 111"/>
                <a:gd name="T33" fmla="*/ 78 h 130"/>
                <a:gd name="T34" fmla="*/ 38 w 111"/>
                <a:gd name="T35" fmla="*/ 111 h 130"/>
                <a:gd name="T36" fmla="*/ 38 w 111"/>
                <a:gd name="T37" fmla="*/ 111 h 130"/>
                <a:gd name="T38" fmla="*/ 38 w 111"/>
                <a:gd name="T39" fmla="*/ 11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30">
                  <a:moveTo>
                    <a:pt x="38" y="111"/>
                  </a:moveTo>
                  <a:lnTo>
                    <a:pt x="21" y="130"/>
                  </a:lnTo>
                  <a:lnTo>
                    <a:pt x="0" y="118"/>
                  </a:lnTo>
                  <a:lnTo>
                    <a:pt x="21" y="57"/>
                  </a:lnTo>
                  <a:lnTo>
                    <a:pt x="38" y="45"/>
                  </a:lnTo>
                  <a:lnTo>
                    <a:pt x="38" y="24"/>
                  </a:lnTo>
                  <a:lnTo>
                    <a:pt x="62" y="5"/>
                  </a:lnTo>
                  <a:lnTo>
                    <a:pt x="62" y="0"/>
                  </a:lnTo>
                  <a:lnTo>
                    <a:pt x="95" y="0"/>
                  </a:lnTo>
                  <a:lnTo>
                    <a:pt x="83" y="5"/>
                  </a:lnTo>
                  <a:lnTo>
                    <a:pt x="99" y="17"/>
                  </a:lnTo>
                  <a:lnTo>
                    <a:pt x="111" y="29"/>
                  </a:lnTo>
                  <a:lnTo>
                    <a:pt x="83" y="57"/>
                  </a:lnTo>
                  <a:lnTo>
                    <a:pt x="95" y="62"/>
                  </a:lnTo>
                  <a:lnTo>
                    <a:pt x="66" y="62"/>
                  </a:lnTo>
                  <a:lnTo>
                    <a:pt x="62" y="78"/>
                  </a:lnTo>
                  <a:lnTo>
                    <a:pt x="66" y="78"/>
                  </a:lnTo>
                  <a:lnTo>
                    <a:pt x="38" y="111"/>
                  </a:lnTo>
                  <a:lnTo>
                    <a:pt x="38" y="111"/>
                  </a:lnTo>
                  <a:lnTo>
                    <a:pt x="38" y="111"/>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0" name="Freeform 491">
              <a:extLst>
                <a:ext uri="{FF2B5EF4-FFF2-40B4-BE49-F238E27FC236}">
                  <a16:creationId xmlns:a16="http://schemas.microsoft.com/office/drawing/2014/main" id="{5F6CAC7B-C096-4FB7-8D37-B31F0892BF2C}"/>
                </a:ext>
              </a:extLst>
            </p:cNvPr>
            <p:cNvSpPr>
              <a:spLocks/>
            </p:cNvSpPr>
            <p:nvPr/>
          </p:nvSpPr>
          <p:spPr bwMode="gray">
            <a:xfrm>
              <a:off x="14226928" y="2564329"/>
              <a:ext cx="166921" cy="79533"/>
            </a:xfrm>
            <a:custGeom>
              <a:avLst/>
              <a:gdLst>
                <a:gd name="T0" fmla="*/ 234 w 510"/>
                <a:gd name="T1" fmla="*/ 21 h 243"/>
                <a:gd name="T2" fmla="*/ 288 w 510"/>
                <a:gd name="T3" fmla="*/ 0 h 243"/>
                <a:gd name="T4" fmla="*/ 297 w 510"/>
                <a:gd name="T5" fmla="*/ 5 h 243"/>
                <a:gd name="T6" fmla="*/ 297 w 510"/>
                <a:gd name="T7" fmla="*/ 0 h 243"/>
                <a:gd name="T8" fmla="*/ 352 w 510"/>
                <a:gd name="T9" fmla="*/ 21 h 243"/>
                <a:gd name="T10" fmla="*/ 385 w 510"/>
                <a:gd name="T11" fmla="*/ 55 h 243"/>
                <a:gd name="T12" fmla="*/ 418 w 510"/>
                <a:gd name="T13" fmla="*/ 43 h 243"/>
                <a:gd name="T14" fmla="*/ 451 w 510"/>
                <a:gd name="T15" fmla="*/ 55 h 243"/>
                <a:gd name="T16" fmla="*/ 456 w 510"/>
                <a:gd name="T17" fmla="*/ 55 h 243"/>
                <a:gd name="T18" fmla="*/ 456 w 510"/>
                <a:gd name="T19" fmla="*/ 59 h 243"/>
                <a:gd name="T20" fmla="*/ 477 w 510"/>
                <a:gd name="T21" fmla="*/ 76 h 243"/>
                <a:gd name="T22" fmla="*/ 472 w 510"/>
                <a:gd name="T23" fmla="*/ 116 h 243"/>
                <a:gd name="T24" fmla="*/ 489 w 510"/>
                <a:gd name="T25" fmla="*/ 128 h 243"/>
                <a:gd name="T26" fmla="*/ 510 w 510"/>
                <a:gd name="T27" fmla="*/ 182 h 243"/>
                <a:gd name="T28" fmla="*/ 505 w 510"/>
                <a:gd name="T29" fmla="*/ 199 h 243"/>
                <a:gd name="T30" fmla="*/ 489 w 510"/>
                <a:gd name="T31" fmla="*/ 199 h 243"/>
                <a:gd name="T32" fmla="*/ 460 w 510"/>
                <a:gd name="T33" fmla="*/ 222 h 243"/>
                <a:gd name="T34" fmla="*/ 460 w 510"/>
                <a:gd name="T35" fmla="*/ 239 h 243"/>
                <a:gd name="T36" fmla="*/ 418 w 510"/>
                <a:gd name="T37" fmla="*/ 227 h 243"/>
                <a:gd name="T38" fmla="*/ 406 w 510"/>
                <a:gd name="T39" fmla="*/ 243 h 243"/>
                <a:gd name="T40" fmla="*/ 397 w 510"/>
                <a:gd name="T41" fmla="*/ 243 h 243"/>
                <a:gd name="T42" fmla="*/ 368 w 510"/>
                <a:gd name="T43" fmla="*/ 239 h 243"/>
                <a:gd name="T44" fmla="*/ 331 w 510"/>
                <a:gd name="T45" fmla="*/ 199 h 243"/>
                <a:gd name="T46" fmla="*/ 288 w 510"/>
                <a:gd name="T47" fmla="*/ 189 h 243"/>
                <a:gd name="T48" fmla="*/ 271 w 510"/>
                <a:gd name="T49" fmla="*/ 166 h 243"/>
                <a:gd name="T50" fmla="*/ 243 w 510"/>
                <a:gd name="T51" fmla="*/ 182 h 243"/>
                <a:gd name="T52" fmla="*/ 222 w 510"/>
                <a:gd name="T53" fmla="*/ 189 h 243"/>
                <a:gd name="T54" fmla="*/ 163 w 510"/>
                <a:gd name="T55" fmla="*/ 170 h 243"/>
                <a:gd name="T56" fmla="*/ 146 w 510"/>
                <a:gd name="T57" fmla="*/ 182 h 243"/>
                <a:gd name="T58" fmla="*/ 134 w 510"/>
                <a:gd name="T59" fmla="*/ 170 h 243"/>
                <a:gd name="T60" fmla="*/ 113 w 510"/>
                <a:gd name="T61" fmla="*/ 170 h 243"/>
                <a:gd name="T62" fmla="*/ 75 w 510"/>
                <a:gd name="T63" fmla="*/ 170 h 243"/>
                <a:gd name="T64" fmla="*/ 21 w 510"/>
                <a:gd name="T65" fmla="*/ 189 h 243"/>
                <a:gd name="T66" fmla="*/ 16 w 510"/>
                <a:gd name="T67" fmla="*/ 206 h 243"/>
                <a:gd name="T68" fmla="*/ 0 w 510"/>
                <a:gd name="T69" fmla="*/ 206 h 243"/>
                <a:gd name="T70" fmla="*/ 0 w 510"/>
                <a:gd name="T71" fmla="*/ 170 h 243"/>
                <a:gd name="T72" fmla="*/ 0 w 510"/>
                <a:gd name="T73" fmla="*/ 154 h 243"/>
                <a:gd name="T74" fmla="*/ 5 w 510"/>
                <a:gd name="T75" fmla="*/ 166 h 243"/>
                <a:gd name="T76" fmla="*/ 0 w 510"/>
                <a:gd name="T77" fmla="*/ 128 h 243"/>
                <a:gd name="T78" fmla="*/ 21 w 510"/>
                <a:gd name="T79" fmla="*/ 111 h 243"/>
                <a:gd name="T80" fmla="*/ 26 w 510"/>
                <a:gd name="T81" fmla="*/ 76 h 243"/>
                <a:gd name="T82" fmla="*/ 54 w 510"/>
                <a:gd name="T83" fmla="*/ 55 h 243"/>
                <a:gd name="T84" fmla="*/ 113 w 510"/>
                <a:gd name="T85" fmla="*/ 33 h 243"/>
                <a:gd name="T86" fmla="*/ 113 w 510"/>
                <a:gd name="T87" fmla="*/ 43 h 243"/>
                <a:gd name="T88" fmla="*/ 146 w 510"/>
                <a:gd name="T89" fmla="*/ 71 h 243"/>
                <a:gd name="T90" fmla="*/ 151 w 510"/>
                <a:gd name="T91" fmla="*/ 99 h 243"/>
                <a:gd name="T92" fmla="*/ 189 w 510"/>
                <a:gd name="T93" fmla="*/ 111 h 243"/>
                <a:gd name="T94" fmla="*/ 238 w 510"/>
                <a:gd name="T95" fmla="*/ 88 h 243"/>
                <a:gd name="T96" fmla="*/ 234 w 510"/>
                <a:gd name="T97" fmla="*/ 21 h 243"/>
                <a:gd name="T98" fmla="*/ 234 w 510"/>
                <a:gd name="T99" fmla="*/ 21 h 243"/>
                <a:gd name="T100" fmla="*/ 234 w 510"/>
                <a:gd name="T101" fmla="*/ 21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0" h="243">
                  <a:moveTo>
                    <a:pt x="234" y="21"/>
                  </a:moveTo>
                  <a:lnTo>
                    <a:pt x="288" y="0"/>
                  </a:lnTo>
                  <a:lnTo>
                    <a:pt x="297" y="5"/>
                  </a:lnTo>
                  <a:lnTo>
                    <a:pt x="297" y="0"/>
                  </a:lnTo>
                  <a:lnTo>
                    <a:pt x="352" y="21"/>
                  </a:lnTo>
                  <a:lnTo>
                    <a:pt x="385" y="55"/>
                  </a:lnTo>
                  <a:lnTo>
                    <a:pt x="418" y="43"/>
                  </a:lnTo>
                  <a:lnTo>
                    <a:pt x="451" y="55"/>
                  </a:lnTo>
                  <a:lnTo>
                    <a:pt x="456" y="55"/>
                  </a:lnTo>
                  <a:lnTo>
                    <a:pt x="456" y="59"/>
                  </a:lnTo>
                  <a:lnTo>
                    <a:pt x="477" y="76"/>
                  </a:lnTo>
                  <a:lnTo>
                    <a:pt x="472" y="116"/>
                  </a:lnTo>
                  <a:lnTo>
                    <a:pt x="489" y="128"/>
                  </a:lnTo>
                  <a:lnTo>
                    <a:pt x="510" y="182"/>
                  </a:lnTo>
                  <a:lnTo>
                    <a:pt x="505" y="199"/>
                  </a:lnTo>
                  <a:lnTo>
                    <a:pt x="489" y="199"/>
                  </a:lnTo>
                  <a:lnTo>
                    <a:pt x="460" y="222"/>
                  </a:lnTo>
                  <a:lnTo>
                    <a:pt x="460" y="239"/>
                  </a:lnTo>
                  <a:lnTo>
                    <a:pt x="418" y="227"/>
                  </a:lnTo>
                  <a:lnTo>
                    <a:pt x="406" y="243"/>
                  </a:lnTo>
                  <a:lnTo>
                    <a:pt x="397" y="243"/>
                  </a:lnTo>
                  <a:lnTo>
                    <a:pt x="368" y="239"/>
                  </a:lnTo>
                  <a:lnTo>
                    <a:pt x="331" y="199"/>
                  </a:lnTo>
                  <a:lnTo>
                    <a:pt x="288" y="189"/>
                  </a:lnTo>
                  <a:lnTo>
                    <a:pt x="271" y="166"/>
                  </a:lnTo>
                  <a:lnTo>
                    <a:pt x="243" y="182"/>
                  </a:lnTo>
                  <a:lnTo>
                    <a:pt x="222" y="189"/>
                  </a:lnTo>
                  <a:lnTo>
                    <a:pt x="163" y="170"/>
                  </a:lnTo>
                  <a:lnTo>
                    <a:pt x="146" y="182"/>
                  </a:lnTo>
                  <a:lnTo>
                    <a:pt x="134" y="170"/>
                  </a:lnTo>
                  <a:lnTo>
                    <a:pt x="113" y="170"/>
                  </a:lnTo>
                  <a:lnTo>
                    <a:pt x="75" y="170"/>
                  </a:lnTo>
                  <a:lnTo>
                    <a:pt x="21" y="189"/>
                  </a:lnTo>
                  <a:lnTo>
                    <a:pt x="16" y="206"/>
                  </a:lnTo>
                  <a:lnTo>
                    <a:pt x="0" y="206"/>
                  </a:lnTo>
                  <a:lnTo>
                    <a:pt x="0" y="170"/>
                  </a:lnTo>
                  <a:lnTo>
                    <a:pt x="0" y="154"/>
                  </a:lnTo>
                  <a:lnTo>
                    <a:pt x="5" y="166"/>
                  </a:lnTo>
                  <a:lnTo>
                    <a:pt x="0" y="128"/>
                  </a:lnTo>
                  <a:lnTo>
                    <a:pt x="21" y="111"/>
                  </a:lnTo>
                  <a:lnTo>
                    <a:pt x="26" y="76"/>
                  </a:lnTo>
                  <a:lnTo>
                    <a:pt x="54" y="55"/>
                  </a:lnTo>
                  <a:lnTo>
                    <a:pt x="113" y="33"/>
                  </a:lnTo>
                  <a:lnTo>
                    <a:pt x="113" y="43"/>
                  </a:lnTo>
                  <a:lnTo>
                    <a:pt x="146" y="71"/>
                  </a:lnTo>
                  <a:lnTo>
                    <a:pt x="151" y="99"/>
                  </a:lnTo>
                  <a:lnTo>
                    <a:pt x="189" y="111"/>
                  </a:lnTo>
                  <a:lnTo>
                    <a:pt x="238" y="88"/>
                  </a:lnTo>
                  <a:lnTo>
                    <a:pt x="234" y="21"/>
                  </a:lnTo>
                  <a:lnTo>
                    <a:pt x="234" y="21"/>
                  </a:lnTo>
                  <a:lnTo>
                    <a:pt x="234" y="21"/>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1" name="Freeform 492">
              <a:extLst>
                <a:ext uri="{FF2B5EF4-FFF2-40B4-BE49-F238E27FC236}">
                  <a16:creationId xmlns:a16="http://schemas.microsoft.com/office/drawing/2014/main" id="{0542F521-6014-42CC-B81D-419E1DF8735E}"/>
                </a:ext>
              </a:extLst>
            </p:cNvPr>
            <p:cNvSpPr>
              <a:spLocks noEditPoints="1"/>
            </p:cNvSpPr>
            <p:nvPr/>
          </p:nvSpPr>
          <p:spPr bwMode="gray">
            <a:xfrm>
              <a:off x="14223655" y="2618660"/>
              <a:ext cx="136810" cy="85752"/>
            </a:xfrm>
            <a:custGeom>
              <a:avLst/>
              <a:gdLst>
                <a:gd name="T0" fmla="*/ 137 w 418"/>
                <a:gd name="T1" fmla="*/ 212 h 262"/>
                <a:gd name="T2" fmla="*/ 126 w 418"/>
                <a:gd name="T3" fmla="*/ 200 h 262"/>
                <a:gd name="T4" fmla="*/ 137 w 418"/>
                <a:gd name="T5" fmla="*/ 184 h 262"/>
                <a:gd name="T6" fmla="*/ 142 w 418"/>
                <a:gd name="T7" fmla="*/ 167 h 262"/>
                <a:gd name="T8" fmla="*/ 121 w 418"/>
                <a:gd name="T9" fmla="*/ 146 h 262"/>
                <a:gd name="T10" fmla="*/ 88 w 418"/>
                <a:gd name="T11" fmla="*/ 146 h 262"/>
                <a:gd name="T12" fmla="*/ 33 w 418"/>
                <a:gd name="T13" fmla="*/ 118 h 262"/>
                <a:gd name="T14" fmla="*/ 29 w 418"/>
                <a:gd name="T15" fmla="*/ 129 h 262"/>
                <a:gd name="T16" fmla="*/ 29 w 418"/>
                <a:gd name="T17" fmla="*/ 113 h 262"/>
                <a:gd name="T18" fmla="*/ 29 w 418"/>
                <a:gd name="T19" fmla="*/ 113 h 262"/>
                <a:gd name="T20" fmla="*/ 29 w 418"/>
                <a:gd name="T21" fmla="*/ 101 h 262"/>
                <a:gd name="T22" fmla="*/ 12 w 418"/>
                <a:gd name="T23" fmla="*/ 73 h 262"/>
                <a:gd name="T24" fmla="*/ 12 w 418"/>
                <a:gd name="T25" fmla="*/ 40 h 262"/>
                <a:gd name="T26" fmla="*/ 29 w 418"/>
                <a:gd name="T27" fmla="*/ 40 h 262"/>
                <a:gd name="T28" fmla="*/ 33 w 418"/>
                <a:gd name="T29" fmla="*/ 23 h 262"/>
                <a:gd name="T30" fmla="*/ 88 w 418"/>
                <a:gd name="T31" fmla="*/ 7 h 262"/>
                <a:gd name="T32" fmla="*/ 126 w 418"/>
                <a:gd name="T33" fmla="*/ 7 h 262"/>
                <a:gd name="T34" fmla="*/ 147 w 418"/>
                <a:gd name="T35" fmla="*/ 7 h 262"/>
                <a:gd name="T36" fmla="*/ 159 w 418"/>
                <a:gd name="T37" fmla="*/ 16 h 262"/>
                <a:gd name="T38" fmla="*/ 175 w 418"/>
                <a:gd name="T39" fmla="*/ 7 h 262"/>
                <a:gd name="T40" fmla="*/ 234 w 418"/>
                <a:gd name="T41" fmla="*/ 23 h 262"/>
                <a:gd name="T42" fmla="*/ 256 w 418"/>
                <a:gd name="T43" fmla="*/ 16 h 262"/>
                <a:gd name="T44" fmla="*/ 281 w 418"/>
                <a:gd name="T45" fmla="*/ 0 h 262"/>
                <a:gd name="T46" fmla="*/ 298 w 418"/>
                <a:gd name="T47" fmla="*/ 23 h 262"/>
                <a:gd name="T48" fmla="*/ 341 w 418"/>
                <a:gd name="T49" fmla="*/ 35 h 262"/>
                <a:gd name="T50" fmla="*/ 378 w 418"/>
                <a:gd name="T51" fmla="*/ 73 h 262"/>
                <a:gd name="T52" fmla="*/ 407 w 418"/>
                <a:gd name="T53" fmla="*/ 77 h 262"/>
                <a:gd name="T54" fmla="*/ 395 w 418"/>
                <a:gd name="T55" fmla="*/ 113 h 262"/>
                <a:gd name="T56" fmla="*/ 418 w 418"/>
                <a:gd name="T57" fmla="*/ 118 h 262"/>
                <a:gd name="T58" fmla="*/ 395 w 418"/>
                <a:gd name="T59" fmla="*/ 134 h 262"/>
                <a:gd name="T60" fmla="*/ 378 w 418"/>
                <a:gd name="T61" fmla="*/ 134 h 262"/>
                <a:gd name="T62" fmla="*/ 374 w 418"/>
                <a:gd name="T63" fmla="*/ 151 h 262"/>
                <a:gd name="T64" fmla="*/ 341 w 418"/>
                <a:gd name="T65" fmla="*/ 155 h 262"/>
                <a:gd name="T66" fmla="*/ 341 w 418"/>
                <a:gd name="T67" fmla="*/ 191 h 262"/>
                <a:gd name="T68" fmla="*/ 326 w 418"/>
                <a:gd name="T69" fmla="*/ 212 h 262"/>
                <a:gd name="T70" fmla="*/ 341 w 418"/>
                <a:gd name="T71" fmla="*/ 212 h 262"/>
                <a:gd name="T72" fmla="*/ 341 w 418"/>
                <a:gd name="T73" fmla="*/ 229 h 262"/>
                <a:gd name="T74" fmla="*/ 326 w 418"/>
                <a:gd name="T75" fmla="*/ 229 h 262"/>
                <a:gd name="T76" fmla="*/ 336 w 418"/>
                <a:gd name="T77" fmla="*/ 224 h 262"/>
                <a:gd name="T78" fmla="*/ 326 w 418"/>
                <a:gd name="T79" fmla="*/ 212 h 262"/>
                <a:gd name="T80" fmla="*/ 298 w 418"/>
                <a:gd name="T81" fmla="*/ 240 h 262"/>
                <a:gd name="T82" fmla="*/ 281 w 418"/>
                <a:gd name="T83" fmla="*/ 229 h 262"/>
                <a:gd name="T84" fmla="*/ 281 w 418"/>
                <a:gd name="T85" fmla="*/ 257 h 262"/>
                <a:gd name="T86" fmla="*/ 265 w 418"/>
                <a:gd name="T87" fmla="*/ 245 h 262"/>
                <a:gd name="T88" fmla="*/ 251 w 418"/>
                <a:gd name="T89" fmla="*/ 262 h 262"/>
                <a:gd name="T90" fmla="*/ 234 w 418"/>
                <a:gd name="T91" fmla="*/ 257 h 262"/>
                <a:gd name="T92" fmla="*/ 189 w 418"/>
                <a:gd name="T93" fmla="*/ 257 h 262"/>
                <a:gd name="T94" fmla="*/ 180 w 418"/>
                <a:gd name="T95" fmla="*/ 240 h 262"/>
                <a:gd name="T96" fmla="*/ 175 w 418"/>
                <a:gd name="T97" fmla="*/ 224 h 262"/>
                <a:gd name="T98" fmla="*/ 147 w 418"/>
                <a:gd name="T99" fmla="*/ 207 h 262"/>
                <a:gd name="T100" fmla="*/ 137 w 418"/>
                <a:gd name="T101" fmla="*/ 212 h 262"/>
                <a:gd name="T102" fmla="*/ 137 w 418"/>
                <a:gd name="T103" fmla="*/ 212 h 262"/>
                <a:gd name="T104" fmla="*/ 137 w 418"/>
                <a:gd name="T105" fmla="*/ 212 h 262"/>
                <a:gd name="T106" fmla="*/ 12 w 418"/>
                <a:gd name="T107" fmla="*/ 118 h 262"/>
                <a:gd name="T108" fmla="*/ 0 w 418"/>
                <a:gd name="T109" fmla="*/ 118 h 262"/>
                <a:gd name="T110" fmla="*/ 17 w 418"/>
                <a:gd name="T111" fmla="*/ 94 h 262"/>
                <a:gd name="T112" fmla="*/ 17 w 418"/>
                <a:gd name="T113" fmla="*/ 77 h 262"/>
                <a:gd name="T114" fmla="*/ 17 w 418"/>
                <a:gd name="T115" fmla="*/ 101 h 262"/>
                <a:gd name="T116" fmla="*/ 12 w 418"/>
                <a:gd name="T117" fmla="*/ 118 h 262"/>
                <a:gd name="T118" fmla="*/ 12 w 418"/>
                <a:gd name="T119" fmla="*/ 118 h 262"/>
                <a:gd name="T120" fmla="*/ 12 w 418"/>
                <a:gd name="T121" fmla="*/ 11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8" h="262">
                  <a:moveTo>
                    <a:pt x="137" y="212"/>
                  </a:moveTo>
                  <a:lnTo>
                    <a:pt x="126" y="200"/>
                  </a:lnTo>
                  <a:lnTo>
                    <a:pt x="137" y="184"/>
                  </a:lnTo>
                  <a:lnTo>
                    <a:pt x="142" y="167"/>
                  </a:lnTo>
                  <a:lnTo>
                    <a:pt x="121" y="146"/>
                  </a:lnTo>
                  <a:lnTo>
                    <a:pt x="88" y="146"/>
                  </a:lnTo>
                  <a:lnTo>
                    <a:pt x="33" y="118"/>
                  </a:lnTo>
                  <a:lnTo>
                    <a:pt x="29" y="129"/>
                  </a:lnTo>
                  <a:lnTo>
                    <a:pt x="29" y="113"/>
                  </a:lnTo>
                  <a:lnTo>
                    <a:pt x="29" y="113"/>
                  </a:lnTo>
                  <a:lnTo>
                    <a:pt x="29" y="101"/>
                  </a:lnTo>
                  <a:lnTo>
                    <a:pt x="12" y="73"/>
                  </a:lnTo>
                  <a:lnTo>
                    <a:pt x="12" y="40"/>
                  </a:lnTo>
                  <a:lnTo>
                    <a:pt x="29" y="40"/>
                  </a:lnTo>
                  <a:lnTo>
                    <a:pt x="33" y="23"/>
                  </a:lnTo>
                  <a:lnTo>
                    <a:pt x="88" y="7"/>
                  </a:lnTo>
                  <a:lnTo>
                    <a:pt x="126" y="7"/>
                  </a:lnTo>
                  <a:lnTo>
                    <a:pt x="147" y="7"/>
                  </a:lnTo>
                  <a:lnTo>
                    <a:pt x="159" y="16"/>
                  </a:lnTo>
                  <a:lnTo>
                    <a:pt x="175" y="7"/>
                  </a:lnTo>
                  <a:lnTo>
                    <a:pt x="234" y="23"/>
                  </a:lnTo>
                  <a:lnTo>
                    <a:pt x="256" y="16"/>
                  </a:lnTo>
                  <a:lnTo>
                    <a:pt x="281" y="0"/>
                  </a:lnTo>
                  <a:lnTo>
                    <a:pt x="298" y="23"/>
                  </a:lnTo>
                  <a:lnTo>
                    <a:pt x="341" y="35"/>
                  </a:lnTo>
                  <a:lnTo>
                    <a:pt x="378" y="73"/>
                  </a:lnTo>
                  <a:lnTo>
                    <a:pt x="407" y="77"/>
                  </a:lnTo>
                  <a:lnTo>
                    <a:pt x="395" y="113"/>
                  </a:lnTo>
                  <a:lnTo>
                    <a:pt x="418" y="118"/>
                  </a:lnTo>
                  <a:lnTo>
                    <a:pt x="395" y="134"/>
                  </a:lnTo>
                  <a:lnTo>
                    <a:pt x="378" y="134"/>
                  </a:lnTo>
                  <a:lnTo>
                    <a:pt x="374" y="151"/>
                  </a:lnTo>
                  <a:lnTo>
                    <a:pt x="341" y="155"/>
                  </a:lnTo>
                  <a:lnTo>
                    <a:pt x="341" y="191"/>
                  </a:lnTo>
                  <a:lnTo>
                    <a:pt x="326" y="212"/>
                  </a:lnTo>
                  <a:lnTo>
                    <a:pt x="341" y="212"/>
                  </a:lnTo>
                  <a:lnTo>
                    <a:pt x="341" y="229"/>
                  </a:lnTo>
                  <a:lnTo>
                    <a:pt x="326" y="229"/>
                  </a:lnTo>
                  <a:lnTo>
                    <a:pt x="336" y="224"/>
                  </a:lnTo>
                  <a:lnTo>
                    <a:pt x="326" y="212"/>
                  </a:lnTo>
                  <a:lnTo>
                    <a:pt x="298" y="240"/>
                  </a:lnTo>
                  <a:lnTo>
                    <a:pt x="281" y="229"/>
                  </a:lnTo>
                  <a:lnTo>
                    <a:pt x="281" y="257"/>
                  </a:lnTo>
                  <a:lnTo>
                    <a:pt x="265" y="245"/>
                  </a:lnTo>
                  <a:lnTo>
                    <a:pt x="251" y="262"/>
                  </a:lnTo>
                  <a:lnTo>
                    <a:pt x="234" y="257"/>
                  </a:lnTo>
                  <a:lnTo>
                    <a:pt x="189" y="257"/>
                  </a:lnTo>
                  <a:lnTo>
                    <a:pt x="180" y="240"/>
                  </a:lnTo>
                  <a:lnTo>
                    <a:pt x="175" y="224"/>
                  </a:lnTo>
                  <a:lnTo>
                    <a:pt x="147" y="207"/>
                  </a:lnTo>
                  <a:lnTo>
                    <a:pt x="137" y="212"/>
                  </a:lnTo>
                  <a:lnTo>
                    <a:pt x="137" y="212"/>
                  </a:lnTo>
                  <a:lnTo>
                    <a:pt x="137" y="212"/>
                  </a:lnTo>
                  <a:close/>
                  <a:moveTo>
                    <a:pt x="12" y="118"/>
                  </a:moveTo>
                  <a:lnTo>
                    <a:pt x="0" y="118"/>
                  </a:lnTo>
                  <a:lnTo>
                    <a:pt x="17" y="94"/>
                  </a:lnTo>
                  <a:lnTo>
                    <a:pt x="17" y="77"/>
                  </a:lnTo>
                  <a:lnTo>
                    <a:pt x="17" y="101"/>
                  </a:lnTo>
                  <a:lnTo>
                    <a:pt x="12" y="118"/>
                  </a:lnTo>
                  <a:lnTo>
                    <a:pt x="12" y="118"/>
                  </a:lnTo>
                  <a:lnTo>
                    <a:pt x="12" y="118"/>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2" name="Freeform 493">
              <a:extLst>
                <a:ext uri="{FF2B5EF4-FFF2-40B4-BE49-F238E27FC236}">
                  <a16:creationId xmlns:a16="http://schemas.microsoft.com/office/drawing/2014/main" id="{8712A18C-DEEE-416D-8F6B-4052733808D0}"/>
                </a:ext>
              </a:extLst>
            </p:cNvPr>
            <p:cNvSpPr>
              <a:spLocks/>
            </p:cNvSpPr>
            <p:nvPr/>
          </p:nvSpPr>
          <p:spPr bwMode="gray">
            <a:xfrm>
              <a:off x="13480692" y="3912791"/>
              <a:ext cx="94589" cy="98189"/>
            </a:xfrm>
            <a:custGeom>
              <a:avLst/>
              <a:gdLst>
                <a:gd name="T0" fmla="*/ 0 w 289"/>
                <a:gd name="T1" fmla="*/ 115 h 300"/>
                <a:gd name="T2" fmla="*/ 12 w 289"/>
                <a:gd name="T3" fmla="*/ 94 h 300"/>
                <a:gd name="T4" fmla="*/ 38 w 289"/>
                <a:gd name="T5" fmla="*/ 71 h 300"/>
                <a:gd name="T6" fmla="*/ 66 w 289"/>
                <a:gd name="T7" fmla="*/ 54 h 300"/>
                <a:gd name="T8" fmla="*/ 66 w 289"/>
                <a:gd name="T9" fmla="*/ 33 h 300"/>
                <a:gd name="T10" fmla="*/ 76 w 289"/>
                <a:gd name="T11" fmla="*/ 21 h 300"/>
                <a:gd name="T12" fmla="*/ 88 w 289"/>
                <a:gd name="T13" fmla="*/ 0 h 300"/>
                <a:gd name="T14" fmla="*/ 121 w 289"/>
                <a:gd name="T15" fmla="*/ 0 h 300"/>
                <a:gd name="T16" fmla="*/ 142 w 289"/>
                <a:gd name="T17" fmla="*/ 16 h 300"/>
                <a:gd name="T18" fmla="*/ 147 w 289"/>
                <a:gd name="T19" fmla="*/ 54 h 300"/>
                <a:gd name="T20" fmla="*/ 142 w 289"/>
                <a:gd name="T21" fmla="*/ 87 h 300"/>
                <a:gd name="T22" fmla="*/ 147 w 289"/>
                <a:gd name="T23" fmla="*/ 75 h 300"/>
                <a:gd name="T24" fmla="*/ 163 w 289"/>
                <a:gd name="T25" fmla="*/ 94 h 300"/>
                <a:gd name="T26" fmla="*/ 185 w 289"/>
                <a:gd name="T27" fmla="*/ 87 h 300"/>
                <a:gd name="T28" fmla="*/ 196 w 289"/>
                <a:gd name="T29" fmla="*/ 59 h 300"/>
                <a:gd name="T30" fmla="*/ 201 w 289"/>
                <a:gd name="T31" fmla="*/ 59 h 300"/>
                <a:gd name="T32" fmla="*/ 213 w 289"/>
                <a:gd name="T33" fmla="*/ 71 h 300"/>
                <a:gd name="T34" fmla="*/ 229 w 289"/>
                <a:gd name="T35" fmla="*/ 94 h 300"/>
                <a:gd name="T36" fmla="*/ 218 w 289"/>
                <a:gd name="T37" fmla="*/ 115 h 300"/>
                <a:gd name="T38" fmla="*/ 201 w 289"/>
                <a:gd name="T39" fmla="*/ 144 h 300"/>
                <a:gd name="T40" fmla="*/ 234 w 289"/>
                <a:gd name="T41" fmla="*/ 165 h 300"/>
                <a:gd name="T42" fmla="*/ 251 w 289"/>
                <a:gd name="T43" fmla="*/ 165 h 300"/>
                <a:gd name="T44" fmla="*/ 255 w 289"/>
                <a:gd name="T45" fmla="*/ 189 h 300"/>
                <a:gd name="T46" fmla="*/ 289 w 289"/>
                <a:gd name="T47" fmla="*/ 189 h 300"/>
                <a:gd name="T48" fmla="*/ 289 w 289"/>
                <a:gd name="T49" fmla="*/ 215 h 300"/>
                <a:gd name="T50" fmla="*/ 284 w 289"/>
                <a:gd name="T51" fmla="*/ 222 h 300"/>
                <a:gd name="T52" fmla="*/ 289 w 289"/>
                <a:gd name="T53" fmla="*/ 227 h 300"/>
                <a:gd name="T54" fmla="*/ 272 w 289"/>
                <a:gd name="T55" fmla="*/ 260 h 300"/>
                <a:gd name="T56" fmla="*/ 284 w 289"/>
                <a:gd name="T57" fmla="*/ 300 h 300"/>
                <a:gd name="T58" fmla="*/ 229 w 289"/>
                <a:gd name="T59" fmla="*/ 283 h 300"/>
                <a:gd name="T60" fmla="*/ 163 w 289"/>
                <a:gd name="T61" fmla="*/ 255 h 300"/>
                <a:gd name="T62" fmla="*/ 76 w 289"/>
                <a:gd name="T63" fmla="*/ 165 h 300"/>
                <a:gd name="T64" fmla="*/ 50 w 289"/>
                <a:gd name="T65" fmla="*/ 165 h 300"/>
                <a:gd name="T66" fmla="*/ 38 w 289"/>
                <a:gd name="T67" fmla="*/ 149 h 300"/>
                <a:gd name="T68" fmla="*/ 12 w 289"/>
                <a:gd name="T69" fmla="*/ 132 h 300"/>
                <a:gd name="T70" fmla="*/ 0 w 289"/>
                <a:gd name="T71" fmla="*/ 115 h 300"/>
                <a:gd name="T72" fmla="*/ 0 w 289"/>
                <a:gd name="T73" fmla="*/ 115 h 300"/>
                <a:gd name="T74" fmla="*/ 0 w 289"/>
                <a:gd name="T75" fmla="*/ 11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9" h="300">
                  <a:moveTo>
                    <a:pt x="0" y="115"/>
                  </a:moveTo>
                  <a:lnTo>
                    <a:pt x="12" y="94"/>
                  </a:lnTo>
                  <a:lnTo>
                    <a:pt x="38" y="71"/>
                  </a:lnTo>
                  <a:lnTo>
                    <a:pt x="66" y="54"/>
                  </a:lnTo>
                  <a:lnTo>
                    <a:pt x="66" y="33"/>
                  </a:lnTo>
                  <a:lnTo>
                    <a:pt x="76" y="21"/>
                  </a:lnTo>
                  <a:lnTo>
                    <a:pt x="88" y="0"/>
                  </a:lnTo>
                  <a:lnTo>
                    <a:pt x="121" y="0"/>
                  </a:lnTo>
                  <a:lnTo>
                    <a:pt x="142" y="16"/>
                  </a:lnTo>
                  <a:lnTo>
                    <a:pt x="147" y="54"/>
                  </a:lnTo>
                  <a:lnTo>
                    <a:pt x="142" y="87"/>
                  </a:lnTo>
                  <a:lnTo>
                    <a:pt x="147" y="75"/>
                  </a:lnTo>
                  <a:lnTo>
                    <a:pt x="163" y="94"/>
                  </a:lnTo>
                  <a:lnTo>
                    <a:pt x="185" y="87"/>
                  </a:lnTo>
                  <a:lnTo>
                    <a:pt x="196" y="59"/>
                  </a:lnTo>
                  <a:lnTo>
                    <a:pt x="201" y="59"/>
                  </a:lnTo>
                  <a:lnTo>
                    <a:pt x="213" y="71"/>
                  </a:lnTo>
                  <a:lnTo>
                    <a:pt x="229" y="94"/>
                  </a:lnTo>
                  <a:lnTo>
                    <a:pt x="218" y="115"/>
                  </a:lnTo>
                  <a:lnTo>
                    <a:pt x="201" y="144"/>
                  </a:lnTo>
                  <a:lnTo>
                    <a:pt x="234" y="165"/>
                  </a:lnTo>
                  <a:lnTo>
                    <a:pt x="251" y="165"/>
                  </a:lnTo>
                  <a:lnTo>
                    <a:pt x="255" y="189"/>
                  </a:lnTo>
                  <a:lnTo>
                    <a:pt x="289" y="189"/>
                  </a:lnTo>
                  <a:lnTo>
                    <a:pt x="289" y="215"/>
                  </a:lnTo>
                  <a:lnTo>
                    <a:pt x="284" y="222"/>
                  </a:lnTo>
                  <a:lnTo>
                    <a:pt x="289" y="227"/>
                  </a:lnTo>
                  <a:lnTo>
                    <a:pt x="272" y="260"/>
                  </a:lnTo>
                  <a:lnTo>
                    <a:pt x="284" y="300"/>
                  </a:lnTo>
                  <a:lnTo>
                    <a:pt x="229" y="283"/>
                  </a:lnTo>
                  <a:lnTo>
                    <a:pt x="163" y="255"/>
                  </a:lnTo>
                  <a:lnTo>
                    <a:pt x="76" y="165"/>
                  </a:lnTo>
                  <a:lnTo>
                    <a:pt x="50" y="165"/>
                  </a:lnTo>
                  <a:lnTo>
                    <a:pt x="38" y="149"/>
                  </a:lnTo>
                  <a:lnTo>
                    <a:pt x="12" y="132"/>
                  </a:lnTo>
                  <a:lnTo>
                    <a:pt x="0" y="115"/>
                  </a:lnTo>
                  <a:lnTo>
                    <a:pt x="0" y="115"/>
                  </a:lnTo>
                  <a:lnTo>
                    <a:pt x="0" y="115"/>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3" name="Freeform 494">
              <a:extLst>
                <a:ext uri="{FF2B5EF4-FFF2-40B4-BE49-F238E27FC236}">
                  <a16:creationId xmlns:a16="http://schemas.microsoft.com/office/drawing/2014/main" id="{A430896B-8E8D-493C-887C-B7117495585A}"/>
                </a:ext>
              </a:extLst>
            </p:cNvPr>
            <p:cNvSpPr>
              <a:spLocks/>
            </p:cNvSpPr>
            <p:nvPr/>
          </p:nvSpPr>
          <p:spPr bwMode="gray">
            <a:xfrm>
              <a:off x="14130375" y="2837949"/>
              <a:ext cx="131246" cy="54986"/>
            </a:xfrm>
            <a:custGeom>
              <a:avLst/>
              <a:gdLst>
                <a:gd name="T0" fmla="*/ 155 w 401"/>
                <a:gd name="T1" fmla="*/ 144 h 168"/>
                <a:gd name="T2" fmla="*/ 139 w 401"/>
                <a:gd name="T3" fmla="*/ 152 h 168"/>
                <a:gd name="T4" fmla="*/ 139 w 401"/>
                <a:gd name="T5" fmla="*/ 161 h 168"/>
                <a:gd name="T6" fmla="*/ 101 w 401"/>
                <a:gd name="T7" fmla="*/ 168 h 168"/>
                <a:gd name="T8" fmla="*/ 68 w 401"/>
                <a:gd name="T9" fmla="*/ 168 h 168"/>
                <a:gd name="T10" fmla="*/ 37 w 401"/>
                <a:gd name="T11" fmla="*/ 144 h 168"/>
                <a:gd name="T12" fmla="*/ 26 w 401"/>
                <a:gd name="T13" fmla="*/ 144 h 168"/>
                <a:gd name="T14" fmla="*/ 0 w 401"/>
                <a:gd name="T15" fmla="*/ 111 h 168"/>
                <a:gd name="T16" fmla="*/ 9 w 401"/>
                <a:gd name="T17" fmla="*/ 90 h 168"/>
                <a:gd name="T18" fmla="*/ 26 w 401"/>
                <a:gd name="T19" fmla="*/ 67 h 168"/>
                <a:gd name="T20" fmla="*/ 63 w 401"/>
                <a:gd name="T21" fmla="*/ 67 h 168"/>
                <a:gd name="T22" fmla="*/ 85 w 401"/>
                <a:gd name="T23" fmla="*/ 50 h 168"/>
                <a:gd name="T24" fmla="*/ 101 w 401"/>
                <a:gd name="T25" fmla="*/ 29 h 168"/>
                <a:gd name="T26" fmla="*/ 122 w 401"/>
                <a:gd name="T27" fmla="*/ 12 h 168"/>
                <a:gd name="T28" fmla="*/ 139 w 401"/>
                <a:gd name="T29" fmla="*/ 12 h 168"/>
                <a:gd name="T30" fmla="*/ 144 w 401"/>
                <a:gd name="T31" fmla="*/ 12 h 168"/>
                <a:gd name="T32" fmla="*/ 155 w 401"/>
                <a:gd name="T33" fmla="*/ 17 h 168"/>
                <a:gd name="T34" fmla="*/ 160 w 401"/>
                <a:gd name="T35" fmla="*/ 17 h 168"/>
                <a:gd name="T36" fmla="*/ 186 w 401"/>
                <a:gd name="T37" fmla="*/ 0 h 168"/>
                <a:gd name="T38" fmla="*/ 203 w 401"/>
                <a:gd name="T39" fmla="*/ 17 h 168"/>
                <a:gd name="T40" fmla="*/ 207 w 401"/>
                <a:gd name="T41" fmla="*/ 17 h 168"/>
                <a:gd name="T42" fmla="*/ 207 w 401"/>
                <a:gd name="T43" fmla="*/ 33 h 168"/>
                <a:gd name="T44" fmla="*/ 224 w 401"/>
                <a:gd name="T45" fmla="*/ 38 h 168"/>
                <a:gd name="T46" fmla="*/ 229 w 401"/>
                <a:gd name="T47" fmla="*/ 29 h 168"/>
                <a:gd name="T48" fmla="*/ 245 w 401"/>
                <a:gd name="T49" fmla="*/ 17 h 168"/>
                <a:gd name="T50" fmla="*/ 278 w 401"/>
                <a:gd name="T51" fmla="*/ 17 h 168"/>
                <a:gd name="T52" fmla="*/ 283 w 401"/>
                <a:gd name="T53" fmla="*/ 29 h 168"/>
                <a:gd name="T54" fmla="*/ 300 w 401"/>
                <a:gd name="T55" fmla="*/ 17 h 168"/>
                <a:gd name="T56" fmla="*/ 337 w 401"/>
                <a:gd name="T57" fmla="*/ 17 h 168"/>
                <a:gd name="T58" fmla="*/ 363 w 401"/>
                <a:gd name="T59" fmla="*/ 29 h 168"/>
                <a:gd name="T60" fmla="*/ 363 w 401"/>
                <a:gd name="T61" fmla="*/ 33 h 168"/>
                <a:gd name="T62" fmla="*/ 401 w 401"/>
                <a:gd name="T63" fmla="*/ 50 h 168"/>
                <a:gd name="T64" fmla="*/ 387 w 401"/>
                <a:gd name="T65" fmla="*/ 83 h 168"/>
                <a:gd name="T66" fmla="*/ 370 w 401"/>
                <a:gd name="T67" fmla="*/ 95 h 168"/>
                <a:gd name="T68" fmla="*/ 370 w 401"/>
                <a:gd name="T69" fmla="*/ 111 h 168"/>
                <a:gd name="T70" fmla="*/ 349 w 401"/>
                <a:gd name="T71" fmla="*/ 111 h 168"/>
                <a:gd name="T72" fmla="*/ 321 w 401"/>
                <a:gd name="T73" fmla="*/ 95 h 168"/>
                <a:gd name="T74" fmla="*/ 300 w 401"/>
                <a:gd name="T75" fmla="*/ 95 h 168"/>
                <a:gd name="T76" fmla="*/ 266 w 401"/>
                <a:gd name="T77" fmla="*/ 95 h 168"/>
                <a:gd name="T78" fmla="*/ 262 w 401"/>
                <a:gd name="T79" fmla="*/ 95 h 168"/>
                <a:gd name="T80" fmla="*/ 245 w 401"/>
                <a:gd name="T81" fmla="*/ 123 h 168"/>
                <a:gd name="T82" fmla="*/ 215 w 401"/>
                <a:gd name="T83" fmla="*/ 140 h 168"/>
                <a:gd name="T84" fmla="*/ 193 w 401"/>
                <a:gd name="T85" fmla="*/ 128 h 168"/>
                <a:gd name="T86" fmla="*/ 186 w 401"/>
                <a:gd name="T87" fmla="*/ 140 h 168"/>
                <a:gd name="T88" fmla="*/ 155 w 401"/>
                <a:gd name="T89" fmla="*/ 144 h 168"/>
                <a:gd name="T90" fmla="*/ 155 w 401"/>
                <a:gd name="T91" fmla="*/ 144 h 168"/>
                <a:gd name="T92" fmla="*/ 155 w 401"/>
                <a:gd name="T93" fmla="*/ 14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1" h="168">
                  <a:moveTo>
                    <a:pt x="155" y="144"/>
                  </a:moveTo>
                  <a:lnTo>
                    <a:pt x="139" y="152"/>
                  </a:lnTo>
                  <a:lnTo>
                    <a:pt x="139" y="161"/>
                  </a:lnTo>
                  <a:lnTo>
                    <a:pt x="101" y="168"/>
                  </a:lnTo>
                  <a:lnTo>
                    <a:pt x="68" y="168"/>
                  </a:lnTo>
                  <a:lnTo>
                    <a:pt x="37" y="144"/>
                  </a:lnTo>
                  <a:lnTo>
                    <a:pt x="26" y="144"/>
                  </a:lnTo>
                  <a:lnTo>
                    <a:pt x="0" y="111"/>
                  </a:lnTo>
                  <a:lnTo>
                    <a:pt x="9" y="90"/>
                  </a:lnTo>
                  <a:lnTo>
                    <a:pt x="26" y="67"/>
                  </a:lnTo>
                  <a:lnTo>
                    <a:pt x="63" y="67"/>
                  </a:lnTo>
                  <a:lnTo>
                    <a:pt x="85" y="50"/>
                  </a:lnTo>
                  <a:lnTo>
                    <a:pt x="101" y="29"/>
                  </a:lnTo>
                  <a:lnTo>
                    <a:pt x="122" y="12"/>
                  </a:lnTo>
                  <a:lnTo>
                    <a:pt x="139" y="12"/>
                  </a:lnTo>
                  <a:lnTo>
                    <a:pt x="144" y="12"/>
                  </a:lnTo>
                  <a:lnTo>
                    <a:pt x="155" y="17"/>
                  </a:lnTo>
                  <a:lnTo>
                    <a:pt x="160" y="17"/>
                  </a:lnTo>
                  <a:lnTo>
                    <a:pt x="186" y="0"/>
                  </a:lnTo>
                  <a:lnTo>
                    <a:pt x="203" y="17"/>
                  </a:lnTo>
                  <a:lnTo>
                    <a:pt x="207" y="17"/>
                  </a:lnTo>
                  <a:lnTo>
                    <a:pt x="207" y="33"/>
                  </a:lnTo>
                  <a:lnTo>
                    <a:pt x="224" y="38"/>
                  </a:lnTo>
                  <a:lnTo>
                    <a:pt x="229" y="29"/>
                  </a:lnTo>
                  <a:lnTo>
                    <a:pt x="245" y="17"/>
                  </a:lnTo>
                  <a:lnTo>
                    <a:pt x="278" y="17"/>
                  </a:lnTo>
                  <a:lnTo>
                    <a:pt x="283" y="29"/>
                  </a:lnTo>
                  <a:lnTo>
                    <a:pt x="300" y="17"/>
                  </a:lnTo>
                  <a:lnTo>
                    <a:pt x="337" y="17"/>
                  </a:lnTo>
                  <a:lnTo>
                    <a:pt x="363" y="29"/>
                  </a:lnTo>
                  <a:lnTo>
                    <a:pt x="363" y="33"/>
                  </a:lnTo>
                  <a:lnTo>
                    <a:pt x="401" y="50"/>
                  </a:lnTo>
                  <a:lnTo>
                    <a:pt x="387" y="83"/>
                  </a:lnTo>
                  <a:lnTo>
                    <a:pt x="370" y="95"/>
                  </a:lnTo>
                  <a:lnTo>
                    <a:pt x="370" y="111"/>
                  </a:lnTo>
                  <a:lnTo>
                    <a:pt x="349" y="111"/>
                  </a:lnTo>
                  <a:lnTo>
                    <a:pt x="321" y="95"/>
                  </a:lnTo>
                  <a:lnTo>
                    <a:pt x="300" y="95"/>
                  </a:lnTo>
                  <a:lnTo>
                    <a:pt x="266" y="95"/>
                  </a:lnTo>
                  <a:lnTo>
                    <a:pt x="262" y="95"/>
                  </a:lnTo>
                  <a:lnTo>
                    <a:pt x="245" y="123"/>
                  </a:lnTo>
                  <a:lnTo>
                    <a:pt x="215" y="140"/>
                  </a:lnTo>
                  <a:lnTo>
                    <a:pt x="193" y="128"/>
                  </a:lnTo>
                  <a:lnTo>
                    <a:pt x="186" y="140"/>
                  </a:lnTo>
                  <a:lnTo>
                    <a:pt x="155" y="144"/>
                  </a:lnTo>
                  <a:lnTo>
                    <a:pt x="155" y="144"/>
                  </a:lnTo>
                  <a:lnTo>
                    <a:pt x="155" y="144"/>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4" name="Freeform 495">
              <a:extLst>
                <a:ext uri="{FF2B5EF4-FFF2-40B4-BE49-F238E27FC236}">
                  <a16:creationId xmlns:a16="http://schemas.microsoft.com/office/drawing/2014/main" id="{679EFAE3-E8A6-4B22-8A9D-BBA9B9185003}"/>
                </a:ext>
              </a:extLst>
            </p:cNvPr>
            <p:cNvSpPr>
              <a:spLocks/>
            </p:cNvSpPr>
            <p:nvPr/>
          </p:nvSpPr>
          <p:spPr bwMode="gray">
            <a:xfrm>
              <a:off x="13961818" y="2909300"/>
              <a:ext cx="2291" cy="6219"/>
            </a:xfrm>
            <a:custGeom>
              <a:avLst/>
              <a:gdLst>
                <a:gd name="T0" fmla="*/ 7 w 7"/>
                <a:gd name="T1" fmla="*/ 0 h 19"/>
                <a:gd name="T2" fmla="*/ 7 w 7"/>
                <a:gd name="T3" fmla="*/ 19 h 19"/>
                <a:gd name="T4" fmla="*/ 0 w 7"/>
                <a:gd name="T5" fmla="*/ 19 h 19"/>
                <a:gd name="T6" fmla="*/ 7 w 7"/>
                <a:gd name="T7" fmla="*/ 0 h 19"/>
                <a:gd name="T8" fmla="*/ 7 w 7"/>
                <a:gd name="T9" fmla="*/ 0 h 19"/>
                <a:gd name="T10" fmla="*/ 7 w 7"/>
                <a:gd name="T11" fmla="*/ 0 h 19"/>
              </a:gdLst>
              <a:ahLst/>
              <a:cxnLst>
                <a:cxn ang="0">
                  <a:pos x="T0" y="T1"/>
                </a:cxn>
                <a:cxn ang="0">
                  <a:pos x="T2" y="T3"/>
                </a:cxn>
                <a:cxn ang="0">
                  <a:pos x="T4" y="T5"/>
                </a:cxn>
                <a:cxn ang="0">
                  <a:pos x="T6" y="T7"/>
                </a:cxn>
                <a:cxn ang="0">
                  <a:pos x="T8" y="T9"/>
                </a:cxn>
                <a:cxn ang="0">
                  <a:pos x="T10" y="T11"/>
                </a:cxn>
              </a:cxnLst>
              <a:rect l="0" t="0" r="r" b="b"/>
              <a:pathLst>
                <a:path w="7" h="19">
                  <a:moveTo>
                    <a:pt x="7" y="0"/>
                  </a:moveTo>
                  <a:lnTo>
                    <a:pt x="7" y="19"/>
                  </a:lnTo>
                  <a:lnTo>
                    <a:pt x="0" y="19"/>
                  </a:lnTo>
                  <a:lnTo>
                    <a:pt x="7" y="0"/>
                  </a:lnTo>
                  <a:lnTo>
                    <a:pt x="7" y="0"/>
                  </a:lnTo>
                  <a:lnTo>
                    <a:pt x="7" y="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5" name="Freeform 496">
              <a:extLst>
                <a:ext uri="{FF2B5EF4-FFF2-40B4-BE49-F238E27FC236}">
                  <a16:creationId xmlns:a16="http://schemas.microsoft.com/office/drawing/2014/main" id="{EE97993F-40C6-4BF6-ABFF-12D9CD055082}"/>
                </a:ext>
              </a:extLst>
            </p:cNvPr>
            <p:cNvSpPr>
              <a:spLocks/>
            </p:cNvSpPr>
            <p:nvPr/>
          </p:nvSpPr>
          <p:spPr bwMode="gray">
            <a:xfrm>
              <a:off x="14364393" y="4807293"/>
              <a:ext cx="57277" cy="53349"/>
            </a:xfrm>
            <a:custGeom>
              <a:avLst/>
              <a:gdLst>
                <a:gd name="T0" fmla="*/ 128 w 175"/>
                <a:gd name="T1" fmla="*/ 12 h 163"/>
                <a:gd name="T2" fmla="*/ 166 w 175"/>
                <a:gd name="T3" fmla="*/ 38 h 163"/>
                <a:gd name="T4" fmla="*/ 175 w 175"/>
                <a:gd name="T5" fmla="*/ 56 h 163"/>
                <a:gd name="T6" fmla="*/ 159 w 175"/>
                <a:gd name="T7" fmla="*/ 73 h 163"/>
                <a:gd name="T8" fmla="*/ 159 w 175"/>
                <a:gd name="T9" fmla="*/ 78 h 163"/>
                <a:gd name="T10" fmla="*/ 149 w 175"/>
                <a:gd name="T11" fmla="*/ 78 h 163"/>
                <a:gd name="T12" fmla="*/ 149 w 175"/>
                <a:gd name="T13" fmla="*/ 106 h 163"/>
                <a:gd name="T14" fmla="*/ 128 w 175"/>
                <a:gd name="T15" fmla="*/ 123 h 163"/>
                <a:gd name="T16" fmla="*/ 95 w 175"/>
                <a:gd name="T17" fmla="*/ 123 h 163"/>
                <a:gd name="T18" fmla="*/ 71 w 175"/>
                <a:gd name="T19" fmla="*/ 163 h 163"/>
                <a:gd name="T20" fmla="*/ 50 w 175"/>
                <a:gd name="T21" fmla="*/ 163 h 163"/>
                <a:gd name="T22" fmla="*/ 29 w 175"/>
                <a:gd name="T23" fmla="*/ 134 h 163"/>
                <a:gd name="T24" fmla="*/ 17 w 175"/>
                <a:gd name="T25" fmla="*/ 111 h 163"/>
                <a:gd name="T26" fmla="*/ 0 w 175"/>
                <a:gd name="T27" fmla="*/ 78 h 163"/>
                <a:gd name="T28" fmla="*/ 17 w 175"/>
                <a:gd name="T29" fmla="*/ 73 h 163"/>
                <a:gd name="T30" fmla="*/ 38 w 175"/>
                <a:gd name="T31" fmla="*/ 33 h 163"/>
                <a:gd name="T32" fmla="*/ 83 w 175"/>
                <a:gd name="T33" fmla="*/ 12 h 163"/>
                <a:gd name="T34" fmla="*/ 111 w 175"/>
                <a:gd name="T35" fmla="*/ 0 h 163"/>
                <a:gd name="T36" fmla="*/ 128 w 175"/>
                <a:gd name="T37" fmla="*/ 12 h 163"/>
                <a:gd name="T38" fmla="*/ 128 w 175"/>
                <a:gd name="T39" fmla="*/ 12 h 163"/>
                <a:gd name="T40" fmla="*/ 128 w 175"/>
                <a:gd name="T41" fmla="*/ 1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63">
                  <a:moveTo>
                    <a:pt x="128" y="12"/>
                  </a:moveTo>
                  <a:lnTo>
                    <a:pt x="166" y="38"/>
                  </a:lnTo>
                  <a:lnTo>
                    <a:pt x="175" y="56"/>
                  </a:lnTo>
                  <a:lnTo>
                    <a:pt x="159" y="73"/>
                  </a:lnTo>
                  <a:lnTo>
                    <a:pt x="159" y="78"/>
                  </a:lnTo>
                  <a:lnTo>
                    <a:pt x="149" y="78"/>
                  </a:lnTo>
                  <a:lnTo>
                    <a:pt x="149" y="106"/>
                  </a:lnTo>
                  <a:lnTo>
                    <a:pt x="128" y="123"/>
                  </a:lnTo>
                  <a:lnTo>
                    <a:pt x="95" y="123"/>
                  </a:lnTo>
                  <a:lnTo>
                    <a:pt x="71" y="163"/>
                  </a:lnTo>
                  <a:lnTo>
                    <a:pt x="50" y="163"/>
                  </a:lnTo>
                  <a:lnTo>
                    <a:pt x="29" y="134"/>
                  </a:lnTo>
                  <a:lnTo>
                    <a:pt x="17" y="111"/>
                  </a:lnTo>
                  <a:lnTo>
                    <a:pt x="0" y="78"/>
                  </a:lnTo>
                  <a:lnTo>
                    <a:pt x="17" y="73"/>
                  </a:lnTo>
                  <a:lnTo>
                    <a:pt x="38" y="33"/>
                  </a:lnTo>
                  <a:lnTo>
                    <a:pt x="83" y="12"/>
                  </a:lnTo>
                  <a:lnTo>
                    <a:pt x="111" y="0"/>
                  </a:lnTo>
                  <a:lnTo>
                    <a:pt x="128" y="12"/>
                  </a:lnTo>
                  <a:lnTo>
                    <a:pt x="128" y="12"/>
                  </a:lnTo>
                  <a:lnTo>
                    <a:pt x="128" y="12"/>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6" name="Freeform 497">
              <a:extLst>
                <a:ext uri="{FF2B5EF4-FFF2-40B4-BE49-F238E27FC236}">
                  <a16:creationId xmlns:a16="http://schemas.microsoft.com/office/drawing/2014/main" id="{67EA89B3-D14F-4C29-9DD5-27EA84EB13CA}"/>
                </a:ext>
              </a:extLst>
            </p:cNvPr>
            <p:cNvSpPr>
              <a:spLocks/>
            </p:cNvSpPr>
            <p:nvPr/>
          </p:nvSpPr>
          <p:spPr bwMode="gray">
            <a:xfrm>
              <a:off x="13875739" y="2820930"/>
              <a:ext cx="17019" cy="20947"/>
            </a:xfrm>
            <a:custGeom>
              <a:avLst/>
              <a:gdLst>
                <a:gd name="T0" fmla="*/ 45 w 52"/>
                <a:gd name="T1" fmla="*/ 64 h 64"/>
                <a:gd name="T2" fmla="*/ 45 w 52"/>
                <a:gd name="T3" fmla="*/ 64 h 64"/>
                <a:gd name="T4" fmla="*/ 15 w 52"/>
                <a:gd name="T5" fmla="*/ 64 h 64"/>
                <a:gd name="T6" fmla="*/ 5 w 52"/>
                <a:gd name="T7" fmla="*/ 55 h 64"/>
                <a:gd name="T8" fmla="*/ 15 w 52"/>
                <a:gd name="T9" fmla="*/ 48 h 64"/>
                <a:gd name="T10" fmla="*/ 0 w 52"/>
                <a:gd name="T11" fmla="*/ 33 h 64"/>
                <a:gd name="T12" fmla="*/ 0 w 52"/>
                <a:gd name="T13" fmla="*/ 17 h 64"/>
                <a:gd name="T14" fmla="*/ 15 w 52"/>
                <a:gd name="T15" fmla="*/ 0 h 64"/>
                <a:gd name="T16" fmla="*/ 31 w 52"/>
                <a:gd name="T17" fmla="*/ 0 h 64"/>
                <a:gd name="T18" fmla="*/ 36 w 52"/>
                <a:gd name="T19" fmla="*/ 26 h 64"/>
                <a:gd name="T20" fmla="*/ 52 w 52"/>
                <a:gd name="T21" fmla="*/ 33 h 64"/>
                <a:gd name="T22" fmla="*/ 45 w 52"/>
                <a:gd name="T23" fmla="*/ 64 h 64"/>
                <a:gd name="T24" fmla="*/ 45 w 52"/>
                <a:gd name="T25" fmla="*/ 64 h 64"/>
                <a:gd name="T26" fmla="*/ 45 w 52"/>
                <a:gd name="T2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64">
                  <a:moveTo>
                    <a:pt x="45" y="64"/>
                  </a:moveTo>
                  <a:lnTo>
                    <a:pt x="45" y="64"/>
                  </a:lnTo>
                  <a:lnTo>
                    <a:pt x="15" y="64"/>
                  </a:lnTo>
                  <a:lnTo>
                    <a:pt x="5" y="55"/>
                  </a:lnTo>
                  <a:lnTo>
                    <a:pt x="15" y="48"/>
                  </a:lnTo>
                  <a:lnTo>
                    <a:pt x="0" y="33"/>
                  </a:lnTo>
                  <a:lnTo>
                    <a:pt x="0" y="17"/>
                  </a:lnTo>
                  <a:lnTo>
                    <a:pt x="15" y="0"/>
                  </a:lnTo>
                  <a:lnTo>
                    <a:pt x="31" y="0"/>
                  </a:lnTo>
                  <a:lnTo>
                    <a:pt x="36" y="26"/>
                  </a:lnTo>
                  <a:lnTo>
                    <a:pt x="52" y="33"/>
                  </a:lnTo>
                  <a:lnTo>
                    <a:pt x="45" y="64"/>
                  </a:lnTo>
                  <a:lnTo>
                    <a:pt x="45" y="64"/>
                  </a:lnTo>
                  <a:lnTo>
                    <a:pt x="45" y="64"/>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7" name="Freeform 498">
              <a:extLst>
                <a:ext uri="{FF2B5EF4-FFF2-40B4-BE49-F238E27FC236}">
                  <a16:creationId xmlns:a16="http://schemas.microsoft.com/office/drawing/2014/main" id="{4F0043A0-A9A9-4BF7-BD94-1DFCB2A4F0F5}"/>
                </a:ext>
              </a:extLst>
            </p:cNvPr>
            <p:cNvSpPr>
              <a:spLocks/>
            </p:cNvSpPr>
            <p:nvPr/>
          </p:nvSpPr>
          <p:spPr bwMode="gray">
            <a:xfrm>
              <a:off x="13958545" y="3302710"/>
              <a:ext cx="363299" cy="345625"/>
            </a:xfrm>
            <a:custGeom>
              <a:avLst/>
              <a:gdLst>
                <a:gd name="T0" fmla="*/ 1096 w 1110"/>
                <a:gd name="T1" fmla="*/ 867 h 1056"/>
                <a:gd name="T2" fmla="*/ 1025 w 1110"/>
                <a:gd name="T3" fmla="*/ 1018 h 1056"/>
                <a:gd name="T4" fmla="*/ 740 w 1110"/>
                <a:gd name="T5" fmla="*/ 900 h 1056"/>
                <a:gd name="T6" fmla="*/ 395 w 1110"/>
                <a:gd name="T7" fmla="*/ 794 h 1056"/>
                <a:gd name="T8" fmla="*/ 291 w 1110"/>
                <a:gd name="T9" fmla="*/ 777 h 1056"/>
                <a:gd name="T10" fmla="*/ 156 w 1110"/>
                <a:gd name="T11" fmla="*/ 690 h 1056"/>
                <a:gd name="T12" fmla="*/ 76 w 1110"/>
                <a:gd name="T13" fmla="*/ 683 h 1056"/>
                <a:gd name="T14" fmla="*/ 64 w 1110"/>
                <a:gd name="T15" fmla="*/ 661 h 1056"/>
                <a:gd name="T16" fmla="*/ 50 w 1110"/>
                <a:gd name="T17" fmla="*/ 612 h 1056"/>
                <a:gd name="T18" fmla="*/ 12 w 1110"/>
                <a:gd name="T19" fmla="*/ 534 h 1056"/>
                <a:gd name="T20" fmla="*/ 38 w 1110"/>
                <a:gd name="T21" fmla="*/ 501 h 1056"/>
                <a:gd name="T22" fmla="*/ 21 w 1110"/>
                <a:gd name="T23" fmla="*/ 461 h 1056"/>
                <a:gd name="T24" fmla="*/ 33 w 1110"/>
                <a:gd name="T25" fmla="*/ 390 h 1056"/>
                <a:gd name="T26" fmla="*/ 21 w 1110"/>
                <a:gd name="T27" fmla="*/ 279 h 1056"/>
                <a:gd name="T28" fmla="*/ 17 w 1110"/>
                <a:gd name="T29" fmla="*/ 234 h 1056"/>
                <a:gd name="T30" fmla="*/ 64 w 1110"/>
                <a:gd name="T31" fmla="*/ 189 h 1056"/>
                <a:gd name="T32" fmla="*/ 54 w 1110"/>
                <a:gd name="T33" fmla="*/ 135 h 1056"/>
                <a:gd name="T34" fmla="*/ 76 w 1110"/>
                <a:gd name="T35" fmla="*/ 111 h 1056"/>
                <a:gd name="T36" fmla="*/ 156 w 1110"/>
                <a:gd name="T37" fmla="*/ 57 h 1056"/>
                <a:gd name="T38" fmla="*/ 156 w 1110"/>
                <a:gd name="T39" fmla="*/ 0 h 1056"/>
                <a:gd name="T40" fmla="*/ 248 w 1110"/>
                <a:gd name="T41" fmla="*/ 24 h 1056"/>
                <a:gd name="T42" fmla="*/ 340 w 1110"/>
                <a:gd name="T43" fmla="*/ 33 h 1056"/>
                <a:gd name="T44" fmla="*/ 411 w 1110"/>
                <a:gd name="T45" fmla="*/ 57 h 1056"/>
                <a:gd name="T46" fmla="*/ 432 w 1110"/>
                <a:gd name="T47" fmla="*/ 123 h 1056"/>
                <a:gd name="T48" fmla="*/ 480 w 1110"/>
                <a:gd name="T49" fmla="*/ 151 h 1056"/>
                <a:gd name="T50" fmla="*/ 560 w 1110"/>
                <a:gd name="T51" fmla="*/ 168 h 1056"/>
                <a:gd name="T52" fmla="*/ 680 w 1110"/>
                <a:gd name="T53" fmla="*/ 234 h 1056"/>
                <a:gd name="T54" fmla="*/ 718 w 1110"/>
                <a:gd name="T55" fmla="*/ 217 h 1056"/>
                <a:gd name="T56" fmla="*/ 756 w 1110"/>
                <a:gd name="T57" fmla="*/ 161 h 1056"/>
                <a:gd name="T58" fmla="*/ 756 w 1110"/>
                <a:gd name="T59" fmla="*/ 78 h 1056"/>
                <a:gd name="T60" fmla="*/ 820 w 1110"/>
                <a:gd name="T61" fmla="*/ 33 h 1056"/>
                <a:gd name="T62" fmla="*/ 862 w 1110"/>
                <a:gd name="T63" fmla="*/ 17 h 1056"/>
                <a:gd name="T64" fmla="*/ 966 w 1110"/>
                <a:gd name="T65" fmla="*/ 40 h 1056"/>
                <a:gd name="T66" fmla="*/ 971 w 1110"/>
                <a:gd name="T67" fmla="*/ 73 h 1056"/>
                <a:gd name="T68" fmla="*/ 1035 w 1110"/>
                <a:gd name="T69" fmla="*/ 95 h 1056"/>
                <a:gd name="T70" fmla="*/ 1110 w 1110"/>
                <a:gd name="T71" fmla="*/ 123 h 1056"/>
                <a:gd name="T72" fmla="*/ 1096 w 1110"/>
                <a:gd name="T73" fmla="*/ 189 h 1056"/>
                <a:gd name="T74" fmla="*/ 1096 w 1110"/>
                <a:gd name="T75" fmla="*/ 312 h 1056"/>
                <a:gd name="T76" fmla="*/ 1096 w 1110"/>
                <a:gd name="T77" fmla="*/ 43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10" h="1056">
                  <a:moveTo>
                    <a:pt x="1096" y="439"/>
                  </a:moveTo>
                  <a:lnTo>
                    <a:pt x="1096" y="867"/>
                  </a:lnTo>
                  <a:lnTo>
                    <a:pt x="1096" y="1018"/>
                  </a:lnTo>
                  <a:lnTo>
                    <a:pt x="1025" y="1018"/>
                  </a:lnTo>
                  <a:lnTo>
                    <a:pt x="1025" y="1056"/>
                  </a:lnTo>
                  <a:lnTo>
                    <a:pt x="740" y="900"/>
                  </a:lnTo>
                  <a:lnTo>
                    <a:pt x="463" y="761"/>
                  </a:lnTo>
                  <a:lnTo>
                    <a:pt x="395" y="794"/>
                  </a:lnTo>
                  <a:lnTo>
                    <a:pt x="340" y="829"/>
                  </a:lnTo>
                  <a:lnTo>
                    <a:pt x="291" y="777"/>
                  </a:lnTo>
                  <a:lnTo>
                    <a:pt x="184" y="756"/>
                  </a:lnTo>
                  <a:lnTo>
                    <a:pt x="156" y="690"/>
                  </a:lnTo>
                  <a:lnTo>
                    <a:pt x="92" y="678"/>
                  </a:lnTo>
                  <a:lnTo>
                    <a:pt x="76" y="683"/>
                  </a:lnTo>
                  <a:lnTo>
                    <a:pt x="64" y="666"/>
                  </a:lnTo>
                  <a:lnTo>
                    <a:pt x="64" y="661"/>
                  </a:lnTo>
                  <a:lnTo>
                    <a:pt x="50" y="650"/>
                  </a:lnTo>
                  <a:lnTo>
                    <a:pt x="50" y="612"/>
                  </a:lnTo>
                  <a:lnTo>
                    <a:pt x="0" y="550"/>
                  </a:lnTo>
                  <a:lnTo>
                    <a:pt x="12" y="534"/>
                  </a:lnTo>
                  <a:lnTo>
                    <a:pt x="38" y="522"/>
                  </a:lnTo>
                  <a:lnTo>
                    <a:pt x="38" y="501"/>
                  </a:lnTo>
                  <a:lnTo>
                    <a:pt x="38" y="494"/>
                  </a:lnTo>
                  <a:lnTo>
                    <a:pt x="21" y="461"/>
                  </a:lnTo>
                  <a:lnTo>
                    <a:pt x="50" y="423"/>
                  </a:lnTo>
                  <a:lnTo>
                    <a:pt x="33" y="390"/>
                  </a:lnTo>
                  <a:lnTo>
                    <a:pt x="33" y="317"/>
                  </a:lnTo>
                  <a:lnTo>
                    <a:pt x="21" y="279"/>
                  </a:lnTo>
                  <a:lnTo>
                    <a:pt x="0" y="239"/>
                  </a:lnTo>
                  <a:lnTo>
                    <a:pt x="17" y="234"/>
                  </a:lnTo>
                  <a:lnTo>
                    <a:pt x="38" y="222"/>
                  </a:lnTo>
                  <a:lnTo>
                    <a:pt x="64" y="189"/>
                  </a:lnTo>
                  <a:lnTo>
                    <a:pt x="71" y="177"/>
                  </a:lnTo>
                  <a:lnTo>
                    <a:pt x="54" y="135"/>
                  </a:lnTo>
                  <a:lnTo>
                    <a:pt x="71" y="123"/>
                  </a:lnTo>
                  <a:lnTo>
                    <a:pt x="76" y="111"/>
                  </a:lnTo>
                  <a:lnTo>
                    <a:pt x="109" y="78"/>
                  </a:lnTo>
                  <a:lnTo>
                    <a:pt x="156" y="57"/>
                  </a:lnTo>
                  <a:lnTo>
                    <a:pt x="147" y="40"/>
                  </a:lnTo>
                  <a:lnTo>
                    <a:pt x="156" y="0"/>
                  </a:lnTo>
                  <a:lnTo>
                    <a:pt x="210" y="24"/>
                  </a:lnTo>
                  <a:lnTo>
                    <a:pt x="248" y="24"/>
                  </a:lnTo>
                  <a:lnTo>
                    <a:pt x="281" y="17"/>
                  </a:lnTo>
                  <a:lnTo>
                    <a:pt x="340" y="33"/>
                  </a:lnTo>
                  <a:lnTo>
                    <a:pt x="362" y="50"/>
                  </a:lnTo>
                  <a:lnTo>
                    <a:pt x="411" y="57"/>
                  </a:lnTo>
                  <a:lnTo>
                    <a:pt x="425" y="78"/>
                  </a:lnTo>
                  <a:lnTo>
                    <a:pt x="432" y="123"/>
                  </a:lnTo>
                  <a:lnTo>
                    <a:pt x="449" y="144"/>
                  </a:lnTo>
                  <a:lnTo>
                    <a:pt x="480" y="151"/>
                  </a:lnTo>
                  <a:lnTo>
                    <a:pt x="517" y="151"/>
                  </a:lnTo>
                  <a:lnTo>
                    <a:pt x="560" y="168"/>
                  </a:lnTo>
                  <a:lnTo>
                    <a:pt x="614" y="189"/>
                  </a:lnTo>
                  <a:lnTo>
                    <a:pt x="680" y="234"/>
                  </a:lnTo>
                  <a:lnTo>
                    <a:pt x="702" y="234"/>
                  </a:lnTo>
                  <a:lnTo>
                    <a:pt x="718" y="217"/>
                  </a:lnTo>
                  <a:lnTo>
                    <a:pt x="749" y="184"/>
                  </a:lnTo>
                  <a:lnTo>
                    <a:pt x="756" y="161"/>
                  </a:lnTo>
                  <a:lnTo>
                    <a:pt x="740" y="111"/>
                  </a:lnTo>
                  <a:lnTo>
                    <a:pt x="756" y="78"/>
                  </a:lnTo>
                  <a:lnTo>
                    <a:pt x="787" y="50"/>
                  </a:lnTo>
                  <a:lnTo>
                    <a:pt x="820" y="33"/>
                  </a:lnTo>
                  <a:lnTo>
                    <a:pt x="848" y="24"/>
                  </a:lnTo>
                  <a:lnTo>
                    <a:pt x="862" y="17"/>
                  </a:lnTo>
                  <a:lnTo>
                    <a:pt x="912" y="24"/>
                  </a:lnTo>
                  <a:lnTo>
                    <a:pt x="966" y="40"/>
                  </a:lnTo>
                  <a:lnTo>
                    <a:pt x="966" y="66"/>
                  </a:lnTo>
                  <a:lnTo>
                    <a:pt x="971" y="73"/>
                  </a:lnTo>
                  <a:lnTo>
                    <a:pt x="1009" y="78"/>
                  </a:lnTo>
                  <a:lnTo>
                    <a:pt x="1035" y="95"/>
                  </a:lnTo>
                  <a:lnTo>
                    <a:pt x="1096" y="95"/>
                  </a:lnTo>
                  <a:lnTo>
                    <a:pt x="1110" y="123"/>
                  </a:lnTo>
                  <a:lnTo>
                    <a:pt x="1089" y="144"/>
                  </a:lnTo>
                  <a:lnTo>
                    <a:pt x="1096" y="189"/>
                  </a:lnTo>
                  <a:lnTo>
                    <a:pt x="1080" y="239"/>
                  </a:lnTo>
                  <a:lnTo>
                    <a:pt x="1096" y="312"/>
                  </a:lnTo>
                  <a:lnTo>
                    <a:pt x="1096" y="439"/>
                  </a:lnTo>
                  <a:lnTo>
                    <a:pt x="1096" y="439"/>
                  </a:lnTo>
                  <a:lnTo>
                    <a:pt x="1096" y="43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8" name="Freeform 499">
              <a:extLst>
                <a:ext uri="{FF2B5EF4-FFF2-40B4-BE49-F238E27FC236}">
                  <a16:creationId xmlns:a16="http://schemas.microsoft.com/office/drawing/2014/main" id="{5C59B3B0-355A-40F6-86A2-8E13C3E5D496}"/>
                </a:ext>
              </a:extLst>
            </p:cNvPr>
            <p:cNvSpPr>
              <a:spLocks noEditPoints="1"/>
            </p:cNvSpPr>
            <p:nvPr/>
          </p:nvSpPr>
          <p:spPr bwMode="gray">
            <a:xfrm>
              <a:off x="14736529" y="4396536"/>
              <a:ext cx="167576" cy="333515"/>
            </a:xfrm>
            <a:custGeom>
              <a:avLst/>
              <a:gdLst>
                <a:gd name="T0" fmla="*/ 349 w 512"/>
                <a:gd name="T1" fmla="*/ 723 h 1019"/>
                <a:gd name="T2" fmla="*/ 307 w 512"/>
                <a:gd name="T3" fmla="*/ 884 h 1019"/>
                <a:gd name="T4" fmla="*/ 243 w 512"/>
                <a:gd name="T5" fmla="*/ 995 h 1019"/>
                <a:gd name="T6" fmla="*/ 163 w 512"/>
                <a:gd name="T7" fmla="*/ 1019 h 1019"/>
                <a:gd name="T8" fmla="*/ 108 w 512"/>
                <a:gd name="T9" fmla="*/ 1002 h 1019"/>
                <a:gd name="T10" fmla="*/ 82 w 512"/>
                <a:gd name="T11" fmla="*/ 990 h 1019"/>
                <a:gd name="T12" fmla="*/ 54 w 512"/>
                <a:gd name="T13" fmla="*/ 978 h 1019"/>
                <a:gd name="T14" fmla="*/ 33 w 512"/>
                <a:gd name="T15" fmla="*/ 924 h 1019"/>
                <a:gd name="T16" fmla="*/ 37 w 512"/>
                <a:gd name="T17" fmla="*/ 863 h 1019"/>
                <a:gd name="T18" fmla="*/ 28 w 512"/>
                <a:gd name="T19" fmla="*/ 830 h 1019"/>
                <a:gd name="T20" fmla="*/ 0 w 512"/>
                <a:gd name="T21" fmla="*/ 756 h 1019"/>
                <a:gd name="T22" fmla="*/ 16 w 512"/>
                <a:gd name="T23" fmla="*/ 723 h 1019"/>
                <a:gd name="T24" fmla="*/ 37 w 512"/>
                <a:gd name="T25" fmla="*/ 685 h 1019"/>
                <a:gd name="T26" fmla="*/ 87 w 512"/>
                <a:gd name="T27" fmla="*/ 596 h 1019"/>
                <a:gd name="T28" fmla="*/ 87 w 512"/>
                <a:gd name="T29" fmla="*/ 558 h 1019"/>
                <a:gd name="T30" fmla="*/ 70 w 512"/>
                <a:gd name="T31" fmla="*/ 513 h 1019"/>
                <a:gd name="T32" fmla="*/ 54 w 512"/>
                <a:gd name="T33" fmla="*/ 428 h 1019"/>
                <a:gd name="T34" fmla="*/ 87 w 512"/>
                <a:gd name="T35" fmla="*/ 350 h 1019"/>
                <a:gd name="T36" fmla="*/ 118 w 512"/>
                <a:gd name="T37" fmla="*/ 312 h 1019"/>
                <a:gd name="T38" fmla="*/ 146 w 512"/>
                <a:gd name="T39" fmla="*/ 308 h 1019"/>
                <a:gd name="T40" fmla="*/ 155 w 512"/>
                <a:gd name="T41" fmla="*/ 296 h 1019"/>
                <a:gd name="T42" fmla="*/ 172 w 512"/>
                <a:gd name="T43" fmla="*/ 308 h 1019"/>
                <a:gd name="T44" fmla="*/ 188 w 512"/>
                <a:gd name="T45" fmla="*/ 279 h 1019"/>
                <a:gd name="T46" fmla="*/ 200 w 512"/>
                <a:gd name="T47" fmla="*/ 279 h 1019"/>
                <a:gd name="T48" fmla="*/ 210 w 512"/>
                <a:gd name="T49" fmla="*/ 279 h 1019"/>
                <a:gd name="T50" fmla="*/ 214 w 512"/>
                <a:gd name="T51" fmla="*/ 296 h 1019"/>
                <a:gd name="T52" fmla="*/ 214 w 512"/>
                <a:gd name="T53" fmla="*/ 279 h 1019"/>
                <a:gd name="T54" fmla="*/ 264 w 512"/>
                <a:gd name="T55" fmla="*/ 239 h 1019"/>
                <a:gd name="T56" fmla="*/ 264 w 512"/>
                <a:gd name="T57" fmla="*/ 263 h 1019"/>
                <a:gd name="T58" fmla="*/ 269 w 512"/>
                <a:gd name="T59" fmla="*/ 239 h 1019"/>
                <a:gd name="T60" fmla="*/ 302 w 512"/>
                <a:gd name="T61" fmla="*/ 206 h 1019"/>
                <a:gd name="T62" fmla="*/ 323 w 512"/>
                <a:gd name="T63" fmla="*/ 197 h 1019"/>
                <a:gd name="T64" fmla="*/ 333 w 512"/>
                <a:gd name="T65" fmla="*/ 206 h 1019"/>
                <a:gd name="T66" fmla="*/ 318 w 512"/>
                <a:gd name="T67" fmla="*/ 197 h 1019"/>
                <a:gd name="T68" fmla="*/ 318 w 512"/>
                <a:gd name="T69" fmla="*/ 168 h 1019"/>
                <a:gd name="T70" fmla="*/ 323 w 512"/>
                <a:gd name="T71" fmla="*/ 163 h 1019"/>
                <a:gd name="T72" fmla="*/ 333 w 512"/>
                <a:gd name="T73" fmla="*/ 180 h 1019"/>
                <a:gd name="T74" fmla="*/ 333 w 512"/>
                <a:gd name="T75" fmla="*/ 152 h 1019"/>
                <a:gd name="T76" fmla="*/ 323 w 512"/>
                <a:gd name="T77" fmla="*/ 140 h 1019"/>
                <a:gd name="T78" fmla="*/ 340 w 512"/>
                <a:gd name="T79" fmla="*/ 111 h 1019"/>
                <a:gd name="T80" fmla="*/ 356 w 512"/>
                <a:gd name="T81" fmla="*/ 123 h 1019"/>
                <a:gd name="T82" fmla="*/ 403 w 512"/>
                <a:gd name="T83" fmla="*/ 69 h 1019"/>
                <a:gd name="T84" fmla="*/ 387 w 512"/>
                <a:gd name="T85" fmla="*/ 34 h 1019"/>
                <a:gd name="T86" fmla="*/ 403 w 512"/>
                <a:gd name="T87" fmla="*/ 29 h 1019"/>
                <a:gd name="T88" fmla="*/ 415 w 512"/>
                <a:gd name="T89" fmla="*/ 12 h 1019"/>
                <a:gd name="T90" fmla="*/ 429 w 512"/>
                <a:gd name="T91" fmla="*/ 17 h 1019"/>
                <a:gd name="T92" fmla="*/ 425 w 512"/>
                <a:gd name="T93" fmla="*/ 17 h 1019"/>
                <a:gd name="T94" fmla="*/ 446 w 512"/>
                <a:gd name="T95" fmla="*/ 50 h 1019"/>
                <a:gd name="T96" fmla="*/ 484 w 512"/>
                <a:gd name="T97" fmla="*/ 140 h 1019"/>
                <a:gd name="T98" fmla="*/ 512 w 512"/>
                <a:gd name="T99" fmla="*/ 251 h 1019"/>
                <a:gd name="T100" fmla="*/ 479 w 512"/>
                <a:gd name="T101" fmla="*/ 291 h 1019"/>
                <a:gd name="T102" fmla="*/ 458 w 512"/>
                <a:gd name="T103" fmla="*/ 258 h 1019"/>
                <a:gd name="T104" fmla="*/ 458 w 512"/>
                <a:gd name="T105" fmla="*/ 291 h 1019"/>
                <a:gd name="T106" fmla="*/ 462 w 512"/>
                <a:gd name="T107" fmla="*/ 312 h 1019"/>
                <a:gd name="T108" fmla="*/ 458 w 512"/>
                <a:gd name="T109" fmla="*/ 350 h 1019"/>
                <a:gd name="T110" fmla="*/ 446 w 512"/>
                <a:gd name="T111" fmla="*/ 369 h 1019"/>
                <a:gd name="T112" fmla="*/ 441 w 512"/>
                <a:gd name="T113" fmla="*/ 423 h 1019"/>
                <a:gd name="T114" fmla="*/ 377 w 512"/>
                <a:gd name="T115" fmla="*/ 629 h 1019"/>
                <a:gd name="T116" fmla="*/ 377 w 512"/>
                <a:gd name="T117" fmla="*/ 629 h 1019"/>
                <a:gd name="T118" fmla="*/ 349 w 512"/>
                <a:gd name="T119" fmla="*/ 107 h 1019"/>
                <a:gd name="T120" fmla="*/ 356 w 512"/>
                <a:gd name="T121" fmla="*/ 107 h 1019"/>
                <a:gd name="T122" fmla="*/ 356 w 512"/>
                <a:gd name="T123" fmla="*/ 107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1019">
                  <a:moveTo>
                    <a:pt x="377" y="629"/>
                  </a:moveTo>
                  <a:lnTo>
                    <a:pt x="349" y="723"/>
                  </a:lnTo>
                  <a:lnTo>
                    <a:pt x="323" y="780"/>
                  </a:lnTo>
                  <a:lnTo>
                    <a:pt x="307" y="884"/>
                  </a:lnTo>
                  <a:lnTo>
                    <a:pt x="269" y="974"/>
                  </a:lnTo>
                  <a:lnTo>
                    <a:pt x="243" y="995"/>
                  </a:lnTo>
                  <a:lnTo>
                    <a:pt x="210" y="995"/>
                  </a:lnTo>
                  <a:lnTo>
                    <a:pt x="163" y="1019"/>
                  </a:lnTo>
                  <a:lnTo>
                    <a:pt x="141" y="1019"/>
                  </a:lnTo>
                  <a:lnTo>
                    <a:pt x="108" y="1002"/>
                  </a:lnTo>
                  <a:lnTo>
                    <a:pt x="82" y="995"/>
                  </a:lnTo>
                  <a:lnTo>
                    <a:pt x="82" y="990"/>
                  </a:lnTo>
                  <a:lnTo>
                    <a:pt x="87" y="995"/>
                  </a:lnTo>
                  <a:lnTo>
                    <a:pt x="54" y="978"/>
                  </a:lnTo>
                  <a:lnTo>
                    <a:pt x="49" y="945"/>
                  </a:lnTo>
                  <a:lnTo>
                    <a:pt x="33" y="924"/>
                  </a:lnTo>
                  <a:lnTo>
                    <a:pt x="33" y="879"/>
                  </a:lnTo>
                  <a:lnTo>
                    <a:pt x="37" y="863"/>
                  </a:lnTo>
                  <a:lnTo>
                    <a:pt x="33" y="851"/>
                  </a:lnTo>
                  <a:lnTo>
                    <a:pt x="28" y="830"/>
                  </a:lnTo>
                  <a:lnTo>
                    <a:pt x="11" y="813"/>
                  </a:lnTo>
                  <a:lnTo>
                    <a:pt x="0" y="756"/>
                  </a:lnTo>
                  <a:lnTo>
                    <a:pt x="11" y="735"/>
                  </a:lnTo>
                  <a:lnTo>
                    <a:pt x="16" y="723"/>
                  </a:lnTo>
                  <a:lnTo>
                    <a:pt x="16" y="702"/>
                  </a:lnTo>
                  <a:lnTo>
                    <a:pt x="37" y="685"/>
                  </a:lnTo>
                  <a:lnTo>
                    <a:pt x="49" y="662"/>
                  </a:lnTo>
                  <a:lnTo>
                    <a:pt x="87" y="596"/>
                  </a:lnTo>
                  <a:lnTo>
                    <a:pt x="82" y="584"/>
                  </a:lnTo>
                  <a:lnTo>
                    <a:pt x="87" y="558"/>
                  </a:lnTo>
                  <a:lnTo>
                    <a:pt x="70" y="530"/>
                  </a:lnTo>
                  <a:lnTo>
                    <a:pt x="70" y="513"/>
                  </a:lnTo>
                  <a:lnTo>
                    <a:pt x="54" y="480"/>
                  </a:lnTo>
                  <a:lnTo>
                    <a:pt x="54" y="428"/>
                  </a:lnTo>
                  <a:lnTo>
                    <a:pt x="49" y="419"/>
                  </a:lnTo>
                  <a:lnTo>
                    <a:pt x="87" y="350"/>
                  </a:lnTo>
                  <a:lnTo>
                    <a:pt x="87" y="312"/>
                  </a:lnTo>
                  <a:lnTo>
                    <a:pt x="118" y="312"/>
                  </a:lnTo>
                  <a:lnTo>
                    <a:pt x="146" y="296"/>
                  </a:lnTo>
                  <a:lnTo>
                    <a:pt x="146" y="308"/>
                  </a:lnTo>
                  <a:lnTo>
                    <a:pt x="155" y="308"/>
                  </a:lnTo>
                  <a:lnTo>
                    <a:pt x="155" y="296"/>
                  </a:lnTo>
                  <a:lnTo>
                    <a:pt x="163" y="296"/>
                  </a:lnTo>
                  <a:lnTo>
                    <a:pt x="172" y="308"/>
                  </a:lnTo>
                  <a:lnTo>
                    <a:pt x="177" y="279"/>
                  </a:lnTo>
                  <a:lnTo>
                    <a:pt x="188" y="279"/>
                  </a:lnTo>
                  <a:lnTo>
                    <a:pt x="200" y="291"/>
                  </a:lnTo>
                  <a:lnTo>
                    <a:pt x="200" y="279"/>
                  </a:lnTo>
                  <a:lnTo>
                    <a:pt x="193" y="279"/>
                  </a:lnTo>
                  <a:lnTo>
                    <a:pt x="210" y="279"/>
                  </a:lnTo>
                  <a:lnTo>
                    <a:pt x="210" y="279"/>
                  </a:lnTo>
                  <a:lnTo>
                    <a:pt x="214" y="296"/>
                  </a:lnTo>
                  <a:lnTo>
                    <a:pt x="231" y="296"/>
                  </a:lnTo>
                  <a:lnTo>
                    <a:pt x="214" y="279"/>
                  </a:lnTo>
                  <a:lnTo>
                    <a:pt x="214" y="274"/>
                  </a:lnTo>
                  <a:lnTo>
                    <a:pt x="264" y="239"/>
                  </a:lnTo>
                  <a:lnTo>
                    <a:pt x="269" y="251"/>
                  </a:lnTo>
                  <a:lnTo>
                    <a:pt x="264" y="263"/>
                  </a:lnTo>
                  <a:lnTo>
                    <a:pt x="281" y="258"/>
                  </a:lnTo>
                  <a:lnTo>
                    <a:pt x="269" y="239"/>
                  </a:lnTo>
                  <a:lnTo>
                    <a:pt x="297" y="201"/>
                  </a:lnTo>
                  <a:lnTo>
                    <a:pt x="302" y="206"/>
                  </a:lnTo>
                  <a:lnTo>
                    <a:pt x="297" y="234"/>
                  </a:lnTo>
                  <a:lnTo>
                    <a:pt x="323" y="197"/>
                  </a:lnTo>
                  <a:lnTo>
                    <a:pt x="333" y="201"/>
                  </a:lnTo>
                  <a:lnTo>
                    <a:pt x="333" y="206"/>
                  </a:lnTo>
                  <a:lnTo>
                    <a:pt x="333" y="197"/>
                  </a:lnTo>
                  <a:lnTo>
                    <a:pt x="318" y="197"/>
                  </a:lnTo>
                  <a:lnTo>
                    <a:pt x="318" y="185"/>
                  </a:lnTo>
                  <a:lnTo>
                    <a:pt x="318" y="168"/>
                  </a:lnTo>
                  <a:lnTo>
                    <a:pt x="333" y="168"/>
                  </a:lnTo>
                  <a:lnTo>
                    <a:pt x="323" y="163"/>
                  </a:lnTo>
                  <a:lnTo>
                    <a:pt x="340" y="163"/>
                  </a:lnTo>
                  <a:lnTo>
                    <a:pt x="333" y="180"/>
                  </a:lnTo>
                  <a:lnTo>
                    <a:pt x="340" y="163"/>
                  </a:lnTo>
                  <a:lnTo>
                    <a:pt x="333" y="152"/>
                  </a:lnTo>
                  <a:lnTo>
                    <a:pt x="340" y="145"/>
                  </a:lnTo>
                  <a:lnTo>
                    <a:pt x="323" y="140"/>
                  </a:lnTo>
                  <a:lnTo>
                    <a:pt x="333" y="123"/>
                  </a:lnTo>
                  <a:lnTo>
                    <a:pt x="340" y="111"/>
                  </a:lnTo>
                  <a:lnTo>
                    <a:pt x="356" y="140"/>
                  </a:lnTo>
                  <a:lnTo>
                    <a:pt x="356" y="123"/>
                  </a:lnTo>
                  <a:lnTo>
                    <a:pt x="394" y="107"/>
                  </a:lnTo>
                  <a:lnTo>
                    <a:pt x="403" y="69"/>
                  </a:lnTo>
                  <a:lnTo>
                    <a:pt x="394" y="50"/>
                  </a:lnTo>
                  <a:lnTo>
                    <a:pt x="387" y="34"/>
                  </a:lnTo>
                  <a:lnTo>
                    <a:pt x="403" y="41"/>
                  </a:lnTo>
                  <a:lnTo>
                    <a:pt x="403" y="29"/>
                  </a:lnTo>
                  <a:lnTo>
                    <a:pt x="415" y="17"/>
                  </a:lnTo>
                  <a:lnTo>
                    <a:pt x="415" y="12"/>
                  </a:lnTo>
                  <a:lnTo>
                    <a:pt x="425" y="0"/>
                  </a:lnTo>
                  <a:lnTo>
                    <a:pt x="429" y="17"/>
                  </a:lnTo>
                  <a:lnTo>
                    <a:pt x="425" y="17"/>
                  </a:lnTo>
                  <a:lnTo>
                    <a:pt x="425" y="17"/>
                  </a:lnTo>
                  <a:lnTo>
                    <a:pt x="441" y="29"/>
                  </a:lnTo>
                  <a:lnTo>
                    <a:pt x="446" y="50"/>
                  </a:lnTo>
                  <a:lnTo>
                    <a:pt x="467" y="85"/>
                  </a:lnTo>
                  <a:lnTo>
                    <a:pt x="484" y="140"/>
                  </a:lnTo>
                  <a:lnTo>
                    <a:pt x="484" y="197"/>
                  </a:lnTo>
                  <a:lnTo>
                    <a:pt x="512" y="251"/>
                  </a:lnTo>
                  <a:lnTo>
                    <a:pt x="496" y="296"/>
                  </a:lnTo>
                  <a:lnTo>
                    <a:pt x="479" y="291"/>
                  </a:lnTo>
                  <a:lnTo>
                    <a:pt x="462" y="258"/>
                  </a:lnTo>
                  <a:lnTo>
                    <a:pt x="458" y="258"/>
                  </a:lnTo>
                  <a:lnTo>
                    <a:pt x="446" y="263"/>
                  </a:lnTo>
                  <a:lnTo>
                    <a:pt x="458" y="291"/>
                  </a:lnTo>
                  <a:lnTo>
                    <a:pt x="458" y="308"/>
                  </a:lnTo>
                  <a:lnTo>
                    <a:pt x="462" y="312"/>
                  </a:lnTo>
                  <a:lnTo>
                    <a:pt x="462" y="334"/>
                  </a:lnTo>
                  <a:lnTo>
                    <a:pt x="458" y="350"/>
                  </a:lnTo>
                  <a:lnTo>
                    <a:pt x="462" y="362"/>
                  </a:lnTo>
                  <a:lnTo>
                    <a:pt x="446" y="369"/>
                  </a:lnTo>
                  <a:lnTo>
                    <a:pt x="429" y="402"/>
                  </a:lnTo>
                  <a:lnTo>
                    <a:pt x="441" y="423"/>
                  </a:lnTo>
                  <a:lnTo>
                    <a:pt x="429" y="473"/>
                  </a:lnTo>
                  <a:lnTo>
                    <a:pt x="377" y="629"/>
                  </a:lnTo>
                  <a:lnTo>
                    <a:pt x="377" y="629"/>
                  </a:lnTo>
                  <a:lnTo>
                    <a:pt x="377" y="629"/>
                  </a:lnTo>
                  <a:close/>
                  <a:moveTo>
                    <a:pt x="356" y="107"/>
                  </a:moveTo>
                  <a:lnTo>
                    <a:pt x="349" y="107"/>
                  </a:lnTo>
                  <a:lnTo>
                    <a:pt x="356" y="90"/>
                  </a:lnTo>
                  <a:lnTo>
                    <a:pt x="356" y="107"/>
                  </a:lnTo>
                  <a:lnTo>
                    <a:pt x="356" y="107"/>
                  </a:lnTo>
                  <a:lnTo>
                    <a:pt x="356" y="10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9" name="Freeform 500">
              <a:extLst>
                <a:ext uri="{FF2B5EF4-FFF2-40B4-BE49-F238E27FC236}">
                  <a16:creationId xmlns:a16="http://schemas.microsoft.com/office/drawing/2014/main" id="{900EBD83-407C-4E65-B6B4-AEB9EC052C9C}"/>
                </a:ext>
              </a:extLst>
            </p:cNvPr>
            <p:cNvSpPr>
              <a:spLocks/>
            </p:cNvSpPr>
            <p:nvPr/>
          </p:nvSpPr>
          <p:spPr bwMode="gray">
            <a:xfrm>
              <a:off x="12338099" y="3760271"/>
              <a:ext cx="10801" cy="13419"/>
            </a:xfrm>
            <a:custGeom>
              <a:avLst/>
              <a:gdLst>
                <a:gd name="T0" fmla="*/ 33 w 33"/>
                <a:gd name="T1" fmla="*/ 41 h 41"/>
                <a:gd name="T2" fmla="*/ 17 w 33"/>
                <a:gd name="T3" fmla="*/ 29 h 41"/>
                <a:gd name="T4" fmla="*/ 0 w 33"/>
                <a:gd name="T5" fmla="*/ 7 h 41"/>
                <a:gd name="T6" fmla="*/ 5 w 33"/>
                <a:gd name="T7" fmla="*/ 0 h 41"/>
                <a:gd name="T8" fmla="*/ 21 w 33"/>
                <a:gd name="T9" fmla="*/ 17 h 41"/>
                <a:gd name="T10" fmla="*/ 33 w 33"/>
                <a:gd name="T11" fmla="*/ 24 h 41"/>
                <a:gd name="T12" fmla="*/ 33 w 33"/>
                <a:gd name="T13" fmla="*/ 41 h 41"/>
                <a:gd name="T14" fmla="*/ 33 w 33"/>
                <a:gd name="T15" fmla="*/ 41 h 41"/>
                <a:gd name="T16" fmla="*/ 33 w 33"/>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1">
                  <a:moveTo>
                    <a:pt x="33" y="41"/>
                  </a:moveTo>
                  <a:lnTo>
                    <a:pt x="17" y="29"/>
                  </a:lnTo>
                  <a:lnTo>
                    <a:pt x="0" y="7"/>
                  </a:lnTo>
                  <a:lnTo>
                    <a:pt x="5" y="0"/>
                  </a:lnTo>
                  <a:lnTo>
                    <a:pt x="21" y="17"/>
                  </a:lnTo>
                  <a:lnTo>
                    <a:pt x="33" y="24"/>
                  </a:lnTo>
                  <a:lnTo>
                    <a:pt x="33" y="41"/>
                  </a:lnTo>
                  <a:lnTo>
                    <a:pt x="33" y="41"/>
                  </a:lnTo>
                  <a:lnTo>
                    <a:pt x="33" y="41"/>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0" name="Freeform 501">
              <a:extLst>
                <a:ext uri="{FF2B5EF4-FFF2-40B4-BE49-F238E27FC236}">
                  <a16:creationId xmlns:a16="http://schemas.microsoft.com/office/drawing/2014/main" id="{22796230-A86C-4F7B-99DB-2BD281236A00}"/>
                </a:ext>
              </a:extLst>
            </p:cNvPr>
            <p:cNvSpPr>
              <a:spLocks/>
            </p:cNvSpPr>
            <p:nvPr/>
          </p:nvSpPr>
          <p:spPr bwMode="gray">
            <a:xfrm>
              <a:off x="14355883" y="2872970"/>
              <a:ext cx="80515" cy="90988"/>
            </a:xfrm>
            <a:custGeom>
              <a:avLst/>
              <a:gdLst>
                <a:gd name="T0" fmla="*/ 0 w 246"/>
                <a:gd name="T1" fmla="*/ 16 h 278"/>
                <a:gd name="T2" fmla="*/ 5 w 246"/>
                <a:gd name="T3" fmla="*/ 7 h 278"/>
                <a:gd name="T4" fmla="*/ 76 w 246"/>
                <a:gd name="T5" fmla="*/ 0 h 278"/>
                <a:gd name="T6" fmla="*/ 97 w 246"/>
                <a:gd name="T7" fmla="*/ 16 h 278"/>
                <a:gd name="T8" fmla="*/ 97 w 246"/>
                <a:gd name="T9" fmla="*/ 23 h 278"/>
                <a:gd name="T10" fmla="*/ 152 w 246"/>
                <a:gd name="T11" fmla="*/ 33 h 278"/>
                <a:gd name="T12" fmla="*/ 168 w 246"/>
                <a:gd name="T13" fmla="*/ 45 h 278"/>
                <a:gd name="T14" fmla="*/ 175 w 246"/>
                <a:gd name="T15" fmla="*/ 45 h 278"/>
                <a:gd name="T16" fmla="*/ 185 w 246"/>
                <a:gd name="T17" fmla="*/ 61 h 278"/>
                <a:gd name="T18" fmla="*/ 175 w 246"/>
                <a:gd name="T19" fmla="*/ 89 h 278"/>
                <a:gd name="T20" fmla="*/ 175 w 246"/>
                <a:gd name="T21" fmla="*/ 94 h 278"/>
                <a:gd name="T22" fmla="*/ 192 w 246"/>
                <a:gd name="T23" fmla="*/ 111 h 278"/>
                <a:gd name="T24" fmla="*/ 208 w 246"/>
                <a:gd name="T25" fmla="*/ 101 h 278"/>
                <a:gd name="T26" fmla="*/ 208 w 246"/>
                <a:gd name="T27" fmla="*/ 146 h 278"/>
                <a:gd name="T28" fmla="*/ 229 w 246"/>
                <a:gd name="T29" fmla="*/ 151 h 278"/>
                <a:gd name="T30" fmla="*/ 229 w 246"/>
                <a:gd name="T31" fmla="*/ 172 h 278"/>
                <a:gd name="T32" fmla="*/ 229 w 246"/>
                <a:gd name="T33" fmla="*/ 172 h 278"/>
                <a:gd name="T34" fmla="*/ 246 w 246"/>
                <a:gd name="T35" fmla="*/ 189 h 278"/>
                <a:gd name="T36" fmla="*/ 229 w 246"/>
                <a:gd name="T37" fmla="*/ 189 h 278"/>
                <a:gd name="T38" fmla="*/ 218 w 246"/>
                <a:gd name="T39" fmla="*/ 184 h 278"/>
                <a:gd name="T40" fmla="*/ 208 w 246"/>
                <a:gd name="T41" fmla="*/ 189 h 278"/>
                <a:gd name="T42" fmla="*/ 201 w 246"/>
                <a:gd name="T43" fmla="*/ 184 h 278"/>
                <a:gd name="T44" fmla="*/ 185 w 246"/>
                <a:gd name="T45" fmla="*/ 189 h 278"/>
                <a:gd name="T46" fmla="*/ 175 w 246"/>
                <a:gd name="T47" fmla="*/ 172 h 278"/>
                <a:gd name="T48" fmla="*/ 168 w 246"/>
                <a:gd name="T49" fmla="*/ 184 h 278"/>
                <a:gd name="T50" fmla="*/ 163 w 246"/>
                <a:gd name="T51" fmla="*/ 200 h 278"/>
                <a:gd name="T52" fmla="*/ 168 w 246"/>
                <a:gd name="T53" fmla="*/ 208 h 278"/>
                <a:gd name="T54" fmla="*/ 163 w 246"/>
                <a:gd name="T55" fmla="*/ 224 h 278"/>
                <a:gd name="T56" fmla="*/ 147 w 246"/>
                <a:gd name="T57" fmla="*/ 229 h 278"/>
                <a:gd name="T58" fmla="*/ 147 w 246"/>
                <a:gd name="T59" fmla="*/ 241 h 278"/>
                <a:gd name="T60" fmla="*/ 130 w 246"/>
                <a:gd name="T61" fmla="*/ 257 h 278"/>
                <a:gd name="T62" fmla="*/ 130 w 246"/>
                <a:gd name="T63" fmla="*/ 269 h 278"/>
                <a:gd name="T64" fmla="*/ 114 w 246"/>
                <a:gd name="T65" fmla="*/ 269 h 278"/>
                <a:gd name="T66" fmla="*/ 109 w 246"/>
                <a:gd name="T67" fmla="*/ 278 h 278"/>
                <a:gd name="T68" fmla="*/ 97 w 246"/>
                <a:gd name="T69" fmla="*/ 262 h 278"/>
                <a:gd name="T70" fmla="*/ 109 w 246"/>
                <a:gd name="T71" fmla="*/ 257 h 278"/>
                <a:gd name="T72" fmla="*/ 97 w 246"/>
                <a:gd name="T73" fmla="*/ 212 h 278"/>
                <a:gd name="T74" fmla="*/ 114 w 246"/>
                <a:gd name="T75" fmla="*/ 184 h 278"/>
                <a:gd name="T76" fmla="*/ 97 w 246"/>
                <a:gd name="T77" fmla="*/ 134 h 278"/>
                <a:gd name="T78" fmla="*/ 83 w 246"/>
                <a:gd name="T79" fmla="*/ 118 h 278"/>
                <a:gd name="T80" fmla="*/ 43 w 246"/>
                <a:gd name="T81" fmla="*/ 73 h 278"/>
                <a:gd name="T82" fmla="*/ 22 w 246"/>
                <a:gd name="T83" fmla="*/ 33 h 278"/>
                <a:gd name="T84" fmla="*/ 0 w 246"/>
                <a:gd name="T85" fmla="*/ 16 h 278"/>
                <a:gd name="T86" fmla="*/ 0 w 246"/>
                <a:gd name="T87" fmla="*/ 16 h 278"/>
                <a:gd name="T88" fmla="*/ 0 w 246"/>
                <a:gd name="T89" fmla="*/ 1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6" h="278">
                  <a:moveTo>
                    <a:pt x="0" y="16"/>
                  </a:moveTo>
                  <a:lnTo>
                    <a:pt x="5" y="7"/>
                  </a:lnTo>
                  <a:lnTo>
                    <a:pt x="76" y="0"/>
                  </a:lnTo>
                  <a:lnTo>
                    <a:pt x="97" y="16"/>
                  </a:lnTo>
                  <a:lnTo>
                    <a:pt x="97" y="23"/>
                  </a:lnTo>
                  <a:lnTo>
                    <a:pt x="152" y="33"/>
                  </a:lnTo>
                  <a:lnTo>
                    <a:pt x="168" y="45"/>
                  </a:lnTo>
                  <a:lnTo>
                    <a:pt x="175" y="45"/>
                  </a:lnTo>
                  <a:lnTo>
                    <a:pt x="185" y="61"/>
                  </a:lnTo>
                  <a:lnTo>
                    <a:pt x="175" y="89"/>
                  </a:lnTo>
                  <a:lnTo>
                    <a:pt x="175" y="94"/>
                  </a:lnTo>
                  <a:lnTo>
                    <a:pt x="192" y="111"/>
                  </a:lnTo>
                  <a:lnTo>
                    <a:pt x="208" y="101"/>
                  </a:lnTo>
                  <a:lnTo>
                    <a:pt x="208" y="146"/>
                  </a:lnTo>
                  <a:lnTo>
                    <a:pt x="229" y="151"/>
                  </a:lnTo>
                  <a:lnTo>
                    <a:pt x="229" y="172"/>
                  </a:lnTo>
                  <a:lnTo>
                    <a:pt x="229" y="172"/>
                  </a:lnTo>
                  <a:lnTo>
                    <a:pt x="246" y="189"/>
                  </a:lnTo>
                  <a:lnTo>
                    <a:pt x="229" y="189"/>
                  </a:lnTo>
                  <a:lnTo>
                    <a:pt x="218" y="184"/>
                  </a:lnTo>
                  <a:lnTo>
                    <a:pt x="208" y="189"/>
                  </a:lnTo>
                  <a:lnTo>
                    <a:pt x="201" y="184"/>
                  </a:lnTo>
                  <a:lnTo>
                    <a:pt x="185" y="189"/>
                  </a:lnTo>
                  <a:lnTo>
                    <a:pt x="175" y="172"/>
                  </a:lnTo>
                  <a:lnTo>
                    <a:pt x="168" y="184"/>
                  </a:lnTo>
                  <a:lnTo>
                    <a:pt x="163" y="200"/>
                  </a:lnTo>
                  <a:lnTo>
                    <a:pt x="168" y="208"/>
                  </a:lnTo>
                  <a:lnTo>
                    <a:pt x="163" y="224"/>
                  </a:lnTo>
                  <a:lnTo>
                    <a:pt x="147" y="229"/>
                  </a:lnTo>
                  <a:lnTo>
                    <a:pt x="147" y="241"/>
                  </a:lnTo>
                  <a:lnTo>
                    <a:pt x="130" y="257"/>
                  </a:lnTo>
                  <a:lnTo>
                    <a:pt x="130" y="269"/>
                  </a:lnTo>
                  <a:lnTo>
                    <a:pt x="114" y="269"/>
                  </a:lnTo>
                  <a:lnTo>
                    <a:pt x="109" y="278"/>
                  </a:lnTo>
                  <a:lnTo>
                    <a:pt x="97" y="262"/>
                  </a:lnTo>
                  <a:lnTo>
                    <a:pt x="109" y="257"/>
                  </a:lnTo>
                  <a:lnTo>
                    <a:pt x="97" y="212"/>
                  </a:lnTo>
                  <a:lnTo>
                    <a:pt x="114" y="184"/>
                  </a:lnTo>
                  <a:lnTo>
                    <a:pt x="97" y="134"/>
                  </a:lnTo>
                  <a:lnTo>
                    <a:pt x="83" y="118"/>
                  </a:lnTo>
                  <a:lnTo>
                    <a:pt x="43" y="73"/>
                  </a:lnTo>
                  <a:lnTo>
                    <a:pt x="22" y="33"/>
                  </a:lnTo>
                  <a:lnTo>
                    <a:pt x="0" y="16"/>
                  </a:lnTo>
                  <a:lnTo>
                    <a:pt x="0" y="16"/>
                  </a:lnTo>
                  <a:lnTo>
                    <a:pt x="0" y="16"/>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1" name="Freeform 502">
              <a:extLst>
                <a:ext uri="{FF2B5EF4-FFF2-40B4-BE49-F238E27FC236}">
                  <a16:creationId xmlns:a16="http://schemas.microsoft.com/office/drawing/2014/main" id="{575B2104-F2A9-400E-93C9-DAD9BAEC378A}"/>
                </a:ext>
              </a:extLst>
            </p:cNvPr>
            <p:cNvSpPr>
              <a:spLocks/>
            </p:cNvSpPr>
            <p:nvPr/>
          </p:nvSpPr>
          <p:spPr bwMode="gray">
            <a:xfrm>
              <a:off x="14780387" y="4413555"/>
              <a:ext cx="1636" cy="7201"/>
            </a:xfrm>
            <a:custGeom>
              <a:avLst/>
              <a:gdLst>
                <a:gd name="T0" fmla="*/ 0 w 5"/>
                <a:gd name="T1" fmla="*/ 22 h 22"/>
                <a:gd name="T2" fmla="*/ 0 w 5"/>
                <a:gd name="T3" fmla="*/ 22 h 22"/>
                <a:gd name="T4" fmla="*/ 0 w 5"/>
                <a:gd name="T5" fmla="*/ 0 h 22"/>
                <a:gd name="T6" fmla="*/ 5 w 5"/>
                <a:gd name="T7" fmla="*/ 5 h 22"/>
                <a:gd name="T8" fmla="*/ 0 w 5"/>
                <a:gd name="T9" fmla="*/ 22 h 22"/>
                <a:gd name="T10" fmla="*/ 0 w 5"/>
                <a:gd name="T11" fmla="*/ 22 h 22"/>
                <a:gd name="T12" fmla="*/ 0 w 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5" h="22">
                  <a:moveTo>
                    <a:pt x="0" y="22"/>
                  </a:moveTo>
                  <a:lnTo>
                    <a:pt x="0" y="22"/>
                  </a:lnTo>
                  <a:lnTo>
                    <a:pt x="0" y="0"/>
                  </a:lnTo>
                  <a:lnTo>
                    <a:pt x="5" y="5"/>
                  </a:lnTo>
                  <a:lnTo>
                    <a:pt x="0" y="22"/>
                  </a:lnTo>
                  <a:lnTo>
                    <a:pt x="0" y="22"/>
                  </a:lnTo>
                  <a:lnTo>
                    <a:pt x="0" y="22"/>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2" name="Freeform 503">
              <a:extLst>
                <a:ext uri="{FF2B5EF4-FFF2-40B4-BE49-F238E27FC236}">
                  <a16:creationId xmlns:a16="http://schemas.microsoft.com/office/drawing/2014/main" id="{8BFC589A-D16D-4D3E-AB38-EBB435106269}"/>
                </a:ext>
              </a:extLst>
            </p:cNvPr>
            <p:cNvSpPr>
              <a:spLocks/>
            </p:cNvSpPr>
            <p:nvPr/>
          </p:nvSpPr>
          <p:spPr bwMode="gray">
            <a:xfrm>
              <a:off x="15759331" y="2759071"/>
              <a:ext cx="737399" cy="313223"/>
            </a:xfrm>
            <a:custGeom>
              <a:avLst/>
              <a:gdLst>
                <a:gd name="T0" fmla="*/ 1993 w 2253"/>
                <a:gd name="T1" fmla="*/ 603 h 957"/>
                <a:gd name="T2" fmla="*/ 1875 w 2253"/>
                <a:gd name="T3" fmla="*/ 643 h 957"/>
                <a:gd name="T4" fmla="*/ 1729 w 2253"/>
                <a:gd name="T5" fmla="*/ 659 h 957"/>
                <a:gd name="T6" fmla="*/ 1658 w 2253"/>
                <a:gd name="T7" fmla="*/ 719 h 957"/>
                <a:gd name="T8" fmla="*/ 1632 w 2253"/>
                <a:gd name="T9" fmla="*/ 808 h 957"/>
                <a:gd name="T10" fmla="*/ 1382 w 2253"/>
                <a:gd name="T11" fmla="*/ 886 h 957"/>
                <a:gd name="T12" fmla="*/ 1209 w 2253"/>
                <a:gd name="T13" fmla="*/ 957 h 957"/>
                <a:gd name="T14" fmla="*/ 1171 w 2253"/>
                <a:gd name="T15" fmla="*/ 936 h 957"/>
                <a:gd name="T16" fmla="*/ 1048 w 2253"/>
                <a:gd name="T17" fmla="*/ 907 h 957"/>
                <a:gd name="T18" fmla="*/ 919 w 2253"/>
                <a:gd name="T19" fmla="*/ 863 h 957"/>
                <a:gd name="T20" fmla="*/ 654 w 2253"/>
                <a:gd name="T21" fmla="*/ 853 h 957"/>
                <a:gd name="T22" fmla="*/ 571 w 2253"/>
                <a:gd name="T23" fmla="*/ 813 h 957"/>
                <a:gd name="T24" fmla="*/ 534 w 2253"/>
                <a:gd name="T25" fmla="*/ 726 h 957"/>
                <a:gd name="T26" fmla="*/ 411 w 2253"/>
                <a:gd name="T27" fmla="*/ 664 h 957"/>
                <a:gd name="T28" fmla="*/ 200 w 2253"/>
                <a:gd name="T29" fmla="*/ 615 h 957"/>
                <a:gd name="T30" fmla="*/ 222 w 2253"/>
                <a:gd name="T31" fmla="*/ 548 h 957"/>
                <a:gd name="T32" fmla="*/ 210 w 2253"/>
                <a:gd name="T33" fmla="*/ 475 h 957"/>
                <a:gd name="T34" fmla="*/ 163 w 2253"/>
                <a:gd name="T35" fmla="*/ 409 h 957"/>
                <a:gd name="T36" fmla="*/ 125 w 2253"/>
                <a:gd name="T37" fmla="*/ 388 h 957"/>
                <a:gd name="T38" fmla="*/ 54 w 2253"/>
                <a:gd name="T39" fmla="*/ 355 h 957"/>
                <a:gd name="T40" fmla="*/ 0 w 2253"/>
                <a:gd name="T41" fmla="*/ 310 h 957"/>
                <a:gd name="T42" fmla="*/ 21 w 2253"/>
                <a:gd name="T43" fmla="*/ 277 h 957"/>
                <a:gd name="T44" fmla="*/ 75 w 2253"/>
                <a:gd name="T45" fmla="*/ 260 h 957"/>
                <a:gd name="T46" fmla="*/ 101 w 2253"/>
                <a:gd name="T47" fmla="*/ 256 h 957"/>
                <a:gd name="T48" fmla="*/ 139 w 2253"/>
                <a:gd name="T49" fmla="*/ 227 h 957"/>
                <a:gd name="T50" fmla="*/ 163 w 2253"/>
                <a:gd name="T51" fmla="*/ 199 h 957"/>
                <a:gd name="T52" fmla="*/ 252 w 2253"/>
                <a:gd name="T53" fmla="*/ 161 h 957"/>
                <a:gd name="T54" fmla="*/ 319 w 2253"/>
                <a:gd name="T55" fmla="*/ 128 h 957"/>
                <a:gd name="T56" fmla="*/ 361 w 2253"/>
                <a:gd name="T57" fmla="*/ 128 h 957"/>
                <a:gd name="T58" fmla="*/ 453 w 2253"/>
                <a:gd name="T59" fmla="*/ 149 h 957"/>
                <a:gd name="T60" fmla="*/ 503 w 2253"/>
                <a:gd name="T61" fmla="*/ 199 h 957"/>
                <a:gd name="T62" fmla="*/ 562 w 2253"/>
                <a:gd name="T63" fmla="*/ 206 h 957"/>
                <a:gd name="T64" fmla="*/ 616 w 2253"/>
                <a:gd name="T65" fmla="*/ 222 h 957"/>
                <a:gd name="T66" fmla="*/ 697 w 2253"/>
                <a:gd name="T67" fmla="*/ 206 h 957"/>
                <a:gd name="T68" fmla="*/ 739 w 2253"/>
                <a:gd name="T69" fmla="*/ 161 h 957"/>
                <a:gd name="T70" fmla="*/ 718 w 2253"/>
                <a:gd name="T71" fmla="*/ 128 h 957"/>
                <a:gd name="T72" fmla="*/ 734 w 2253"/>
                <a:gd name="T73" fmla="*/ 62 h 957"/>
                <a:gd name="T74" fmla="*/ 777 w 2253"/>
                <a:gd name="T75" fmla="*/ 0 h 957"/>
                <a:gd name="T76" fmla="*/ 956 w 2253"/>
                <a:gd name="T77" fmla="*/ 71 h 957"/>
                <a:gd name="T78" fmla="*/ 1011 w 2253"/>
                <a:gd name="T79" fmla="*/ 95 h 957"/>
                <a:gd name="T80" fmla="*/ 1025 w 2253"/>
                <a:gd name="T81" fmla="*/ 133 h 957"/>
                <a:gd name="T82" fmla="*/ 1079 w 2253"/>
                <a:gd name="T83" fmla="*/ 173 h 957"/>
                <a:gd name="T84" fmla="*/ 1129 w 2253"/>
                <a:gd name="T85" fmla="*/ 189 h 957"/>
                <a:gd name="T86" fmla="*/ 1237 w 2253"/>
                <a:gd name="T87" fmla="*/ 161 h 957"/>
                <a:gd name="T88" fmla="*/ 1330 w 2253"/>
                <a:gd name="T89" fmla="*/ 173 h 957"/>
                <a:gd name="T90" fmla="*/ 1419 w 2253"/>
                <a:gd name="T91" fmla="*/ 215 h 957"/>
                <a:gd name="T92" fmla="*/ 1507 w 2253"/>
                <a:gd name="T93" fmla="*/ 260 h 957"/>
                <a:gd name="T94" fmla="*/ 1653 w 2253"/>
                <a:gd name="T95" fmla="*/ 272 h 957"/>
                <a:gd name="T96" fmla="*/ 1859 w 2253"/>
                <a:gd name="T97" fmla="*/ 173 h 957"/>
                <a:gd name="T98" fmla="*/ 1960 w 2253"/>
                <a:gd name="T99" fmla="*/ 215 h 957"/>
                <a:gd name="T100" fmla="*/ 2031 w 2253"/>
                <a:gd name="T101" fmla="*/ 222 h 957"/>
                <a:gd name="T102" fmla="*/ 1965 w 2253"/>
                <a:gd name="T103" fmla="*/ 367 h 957"/>
                <a:gd name="T104" fmla="*/ 1977 w 2253"/>
                <a:gd name="T105" fmla="*/ 421 h 957"/>
                <a:gd name="T106" fmla="*/ 2074 w 2253"/>
                <a:gd name="T107" fmla="*/ 421 h 957"/>
                <a:gd name="T108" fmla="*/ 2178 w 2253"/>
                <a:gd name="T109" fmla="*/ 409 h 957"/>
                <a:gd name="T110" fmla="*/ 2237 w 2253"/>
                <a:gd name="T111" fmla="*/ 466 h 957"/>
                <a:gd name="T112" fmla="*/ 2237 w 2253"/>
                <a:gd name="T113" fmla="*/ 520 h 957"/>
                <a:gd name="T114" fmla="*/ 2178 w 2253"/>
                <a:gd name="T115" fmla="*/ 515 h 957"/>
                <a:gd name="T116" fmla="*/ 2074 w 2253"/>
                <a:gd name="T117" fmla="*/ 520 h 957"/>
                <a:gd name="T118" fmla="*/ 2031 w 2253"/>
                <a:gd name="T119" fmla="*/ 548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3" h="957">
                  <a:moveTo>
                    <a:pt x="2031" y="548"/>
                  </a:moveTo>
                  <a:lnTo>
                    <a:pt x="2010" y="560"/>
                  </a:lnTo>
                  <a:lnTo>
                    <a:pt x="1993" y="603"/>
                  </a:lnTo>
                  <a:lnTo>
                    <a:pt x="1944" y="626"/>
                  </a:lnTo>
                  <a:lnTo>
                    <a:pt x="1875" y="626"/>
                  </a:lnTo>
                  <a:lnTo>
                    <a:pt x="1875" y="643"/>
                  </a:lnTo>
                  <a:lnTo>
                    <a:pt x="1814" y="681"/>
                  </a:lnTo>
                  <a:lnTo>
                    <a:pt x="1762" y="669"/>
                  </a:lnTo>
                  <a:lnTo>
                    <a:pt x="1729" y="659"/>
                  </a:lnTo>
                  <a:lnTo>
                    <a:pt x="1708" y="648"/>
                  </a:lnTo>
                  <a:lnTo>
                    <a:pt x="1686" y="664"/>
                  </a:lnTo>
                  <a:lnTo>
                    <a:pt x="1658" y="719"/>
                  </a:lnTo>
                  <a:lnTo>
                    <a:pt x="1691" y="754"/>
                  </a:lnTo>
                  <a:lnTo>
                    <a:pt x="1696" y="775"/>
                  </a:lnTo>
                  <a:lnTo>
                    <a:pt x="1632" y="808"/>
                  </a:lnTo>
                  <a:lnTo>
                    <a:pt x="1587" y="853"/>
                  </a:lnTo>
                  <a:lnTo>
                    <a:pt x="1511" y="886"/>
                  </a:lnTo>
                  <a:lnTo>
                    <a:pt x="1382" y="886"/>
                  </a:lnTo>
                  <a:lnTo>
                    <a:pt x="1263" y="924"/>
                  </a:lnTo>
                  <a:lnTo>
                    <a:pt x="1226" y="952"/>
                  </a:lnTo>
                  <a:lnTo>
                    <a:pt x="1209" y="957"/>
                  </a:lnTo>
                  <a:lnTo>
                    <a:pt x="1204" y="957"/>
                  </a:lnTo>
                  <a:lnTo>
                    <a:pt x="1171" y="952"/>
                  </a:lnTo>
                  <a:lnTo>
                    <a:pt x="1171" y="936"/>
                  </a:lnTo>
                  <a:lnTo>
                    <a:pt x="1129" y="941"/>
                  </a:lnTo>
                  <a:lnTo>
                    <a:pt x="1096" y="936"/>
                  </a:lnTo>
                  <a:lnTo>
                    <a:pt x="1048" y="907"/>
                  </a:lnTo>
                  <a:lnTo>
                    <a:pt x="1004" y="903"/>
                  </a:lnTo>
                  <a:lnTo>
                    <a:pt x="987" y="879"/>
                  </a:lnTo>
                  <a:lnTo>
                    <a:pt x="919" y="863"/>
                  </a:lnTo>
                  <a:lnTo>
                    <a:pt x="881" y="863"/>
                  </a:lnTo>
                  <a:lnTo>
                    <a:pt x="826" y="879"/>
                  </a:lnTo>
                  <a:lnTo>
                    <a:pt x="654" y="853"/>
                  </a:lnTo>
                  <a:lnTo>
                    <a:pt x="600" y="863"/>
                  </a:lnTo>
                  <a:lnTo>
                    <a:pt x="600" y="846"/>
                  </a:lnTo>
                  <a:lnTo>
                    <a:pt x="571" y="813"/>
                  </a:lnTo>
                  <a:lnTo>
                    <a:pt x="545" y="754"/>
                  </a:lnTo>
                  <a:lnTo>
                    <a:pt x="534" y="754"/>
                  </a:lnTo>
                  <a:lnTo>
                    <a:pt x="534" y="726"/>
                  </a:lnTo>
                  <a:lnTo>
                    <a:pt x="508" y="726"/>
                  </a:lnTo>
                  <a:lnTo>
                    <a:pt x="486" y="719"/>
                  </a:lnTo>
                  <a:lnTo>
                    <a:pt x="411" y="664"/>
                  </a:lnTo>
                  <a:lnTo>
                    <a:pt x="264" y="659"/>
                  </a:lnTo>
                  <a:lnTo>
                    <a:pt x="215" y="643"/>
                  </a:lnTo>
                  <a:lnTo>
                    <a:pt x="200" y="615"/>
                  </a:lnTo>
                  <a:lnTo>
                    <a:pt x="210" y="593"/>
                  </a:lnTo>
                  <a:lnTo>
                    <a:pt x="231" y="570"/>
                  </a:lnTo>
                  <a:lnTo>
                    <a:pt x="222" y="548"/>
                  </a:lnTo>
                  <a:lnTo>
                    <a:pt x="231" y="520"/>
                  </a:lnTo>
                  <a:lnTo>
                    <a:pt x="222" y="492"/>
                  </a:lnTo>
                  <a:lnTo>
                    <a:pt x="210" y="475"/>
                  </a:lnTo>
                  <a:lnTo>
                    <a:pt x="193" y="449"/>
                  </a:lnTo>
                  <a:lnTo>
                    <a:pt x="184" y="437"/>
                  </a:lnTo>
                  <a:lnTo>
                    <a:pt x="163" y="409"/>
                  </a:lnTo>
                  <a:lnTo>
                    <a:pt x="163" y="404"/>
                  </a:lnTo>
                  <a:lnTo>
                    <a:pt x="139" y="404"/>
                  </a:lnTo>
                  <a:lnTo>
                    <a:pt x="125" y="388"/>
                  </a:lnTo>
                  <a:lnTo>
                    <a:pt x="92" y="388"/>
                  </a:lnTo>
                  <a:lnTo>
                    <a:pt x="59" y="371"/>
                  </a:lnTo>
                  <a:lnTo>
                    <a:pt x="54" y="355"/>
                  </a:lnTo>
                  <a:lnTo>
                    <a:pt x="16" y="338"/>
                  </a:lnTo>
                  <a:lnTo>
                    <a:pt x="21" y="326"/>
                  </a:lnTo>
                  <a:lnTo>
                    <a:pt x="0" y="310"/>
                  </a:lnTo>
                  <a:lnTo>
                    <a:pt x="4" y="300"/>
                  </a:lnTo>
                  <a:lnTo>
                    <a:pt x="4" y="282"/>
                  </a:lnTo>
                  <a:lnTo>
                    <a:pt x="21" y="277"/>
                  </a:lnTo>
                  <a:lnTo>
                    <a:pt x="21" y="260"/>
                  </a:lnTo>
                  <a:lnTo>
                    <a:pt x="33" y="256"/>
                  </a:lnTo>
                  <a:lnTo>
                    <a:pt x="75" y="260"/>
                  </a:lnTo>
                  <a:lnTo>
                    <a:pt x="75" y="244"/>
                  </a:lnTo>
                  <a:lnTo>
                    <a:pt x="87" y="256"/>
                  </a:lnTo>
                  <a:lnTo>
                    <a:pt x="101" y="256"/>
                  </a:lnTo>
                  <a:lnTo>
                    <a:pt x="101" y="239"/>
                  </a:lnTo>
                  <a:lnTo>
                    <a:pt x="108" y="244"/>
                  </a:lnTo>
                  <a:lnTo>
                    <a:pt x="139" y="227"/>
                  </a:lnTo>
                  <a:lnTo>
                    <a:pt x="130" y="215"/>
                  </a:lnTo>
                  <a:lnTo>
                    <a:pt x="156" y="206"/>
                  </a:lnTo>
                  <a:lnTo>
                    <a:pt x="163" y="199"/>
                  </a:lnTo>
                  <a:lnTo>
                    <a:pt x="210" y="182"/>
                  </a:lnTo>
                  <a:lnTo>
                    <a:pt x="222" y="166"/>
                  </a:lnTo>
                  <a:lnTo>
                    <a:pt x="252" y="161"/>
                  </a:lnTo>
                  <a:lnTo>
                    <a:pt x="276" y="145"/>
                  </a:lnTo>
                  <a:lnTo>
                    <a:pt x="307" y="133"/>
                  </a:lnTo>
                  <a:lnTo>
                    <a:pt x="319" y="128"/>
                  </a:lnTo>
                  <a:lnTo>
                    <a:pt x="340" y="145"/>
                  </a:lnTo>
                  <a:lnTo>
                    <a:pt x="356" y="128"/>
                  </a:lnTo>
                  <a:lnTo>
                    <a:pt x="361" y="128"/>
                  </a:lnTo>
                  <a:lnTo>
                    <a:pt x="361" y="145"/>
                  </a:lnTo>
                  <a:lnTo>
                    <a:pt x="373" y="149"/>
                  </a:lnTo>
                  <a:lnTo>
                    <a:pt x="453" y="149"/>
                  </a:lnTo>
                  <a:lnTo>
                    <a:pt x="465" y="182"/>
                  </a:lnTo>
                  <a:lnTo>
                    <a:pt x="479" y="206"/>
                  </a:lnTo>
                  <a:lnTo>
                    <a:pt x="503" y="199"/>
                  </a:lnTo>
                  <a:lnTo>
                    <a:pt x="508" y="206"/>
                  </a:lnTo>
                  <a:lnTo>
                    <a:pt x="541" y="215"/>
                  </a:lnTo>
                  <a:lnTo>
                    <a:pt x="562" y="206"/>
                  </a:lnTo>
                  <a:lnTo>
                    <a:pt x="571" y="215"/>
                  </a:lnTo>
                  <a:lnTo>
                    <a:pt x="578" y="206"/>
                  </a:lnTo>
                  <a:lnTo>
                    <a:pt x="616" y="222"/>
                  </a:lnTo>
                  <a:lnTo>
                    <a:pt x="647" y="215"/>
                  </a:lnTo>
                  <a:lnTo>
                    <a:pt x="671" y="227"/>
                  </a:lnTo>
                  <a:lnTo>
                    <a:pt x="697" y="206"/>
                  </a:lnTo>
                  <a:lnTo>
                    <a:pt x="722" y="199"/>
                  </a:lnTo>
                  <a:lnTo>
                    <a:pt x="739" y="173"/>
                  </a:lnTo>
                  <a:lnTo>
                    <a:pt x="739" y="161"/>
                  </a:lnTo>
                  <a:lnTo>
                    <a:pt x="718" y="145"/>
                  </a:lnTo>
                  <a:lnTo>
                    <a:pt x="718" y="133"/>
                  </a:lnTo>
                  <a:lnTo>
                    <a:pt x="718" y="128"/>
                  </a:lnTo>
                  <a:lnTo>
                    <a:pt x="701" y="111"/>
                  </a:lnTo>
                  <a:lnTo>
                    <a:pt x="718" y="62"/>
                  </a:lnTo>
                  <a:lnTo>
                    <a:pt x="734" y="62"/>
                  </a:lnTo>
                  <a:lnTo>
                    <a:pt x="739" y="38"/>
                  </a:lnTo>
                  <a:lnTo>
                    <a:pt x="760" y="34"/>
                  </a:lnTo>
                  <a:lnTo>
                    <a:pt x="777" y="0"/>
                  </a:lnTo>
                  <a:lnTo>
                    <a:pt x="859" y="38"/>
                  </a:lnTo>
                  <a:lnTo>
                    <a:pt x="897" y="38"/>
                  </a:lnTo>
                  <a:lnTo>
                    <a:pt x="956" y="71"/>
                  </a:lnTo>
                  <a:lnTo>
                    <a:pt x="973" y="62"/>
                  </a:lnTo>
                  <a:lnTo>
                    <a:pt x="1011" y="78"/>
                  </a:lnTo>
                  <a:lnTo>
                    <a:pt x="1011" y="95"/>
                  </a:lnTo>
                  <a:lnTo>
                    <a:pt x="1020" y="111"/>
                  </a:lnTo>
                  <a:lnTo>
                    <a:pt x="1011" y="128"/>
                  </a:lnTo>
                  <a:lnTo>
                    <a:pt x="1025" y="133"/>
                  </a:lnTo>
                  <a:lnTo>
                    <a:pt x="1020" y="149"/>
                  </a:lnTo>
                  <a:lnTo>
                    <a:pt x="1063" y="173"/>
                  </a:lnTo>
                  <a:lnTo>
                    <a:pt x="1079" y="173"/>
                  </a:lnTo>
                  <a:lnTo>
                    <a:pt x="1086" y="189"/>
                  </a:lnTo>
                  <a:lnTo>
                    <a:pt x="1117" y="189"/>
                  </a:lnTo>
                  <a:lnTo>
                    <a:pt x="1129" y="189"/>
                  </a:lnTo>
                  <a:lnTo>
                    <a:pt x="1141" y="189"/>
                  </a:lnTo>
                  <a:lnTo>
                    <a:pt x="1167" y="173"/>
                  </a:lnTo>
                  <a:lnTo>
                    <a:pt x="1237" y="161"/>
                  </a:lnTo>
                  <a:lnTo>
                    <a:pt x="1280" y="166"/>
                  </a:lnTo>
                  <a:lnTo>
                    <a:pt x="1297" y="173"/>
                  </a:lnTo>
                  <a:lnTo>
                    <a:pt x="1330" y="173"/>
                  </a:lnTo>
                  <a:lnTo>
                    <a:pt x="1351" y="189"/>
                  </a:lnTo>
                  <a:lnTo>
                    <a:pt x="1356" y="206"/>
                  </a:lnTo>
                  <a:lnTo>
                    <a:pt x="1419" y="215"/>
                  </a:lnTo>
                  <a:lnTo>
                    <a:pt x="1415" y="239"/>
                  </a:lnTo>
                  <a:lnTo>
                    <a:pt x="1457" y="272"/>
                  </a:lnTo>
                  <a:lnTo>
                    <a:pt x="1507" y="260"/>
                  </a:lnTo>
                  <a:lnTo>
                    <a:pt x="1528" y="277"/>
                  </a:lnTo>
                  <a:lnTo>
                    <a:pt x="1615" y="282"/>
                  </a:lnTo>
                  <a:lnTo>
                    <a:pt x="1653" y="272"/>
                  </a:lnTo>
                  <a:lnTo>
                    <a:pt x="1776" y="244"/>
                  </a:lnTo>
                  <a:lnTo>
                    <a:pt x="1783" y="222"/>
                  </a:lnTo>
                  <a:lnTo>
                    <a:pt x="1859" y="173"/>
                  </a:lnTo>
                  <a:lnTo>
                    <a:pt x="1901" y="182"/>
                  </a:lnTo>
                  <a:lnTo>
                    <a:pt x="1939" y="215"/>
                  </a:lnTo>
                  <a:lnTo>
                    <a:pt x="1960" y="215"/>
                  </a:lnTo>
                  <a:lnTo>
                    <a:pt x="1998" y="206"/>
                  </a:lnTo>
                  <a:lnTo>
                    <a:pt x="2019" y="215"/>
                  </a:lnTo>
                  <a:lnTo>
                    <a:pt x="2031" y="222"/>
                  </a:lnTo>
                  <a:lnTo>
                    <a:pt x="1982" y="317"/>
                  </a:lnTo>
                  <a:lnTo>
                    <a:pt x="1965" y="338"/>
                  </a:lnTo>
                  <a:lnTo>
                    <a:pt x="1965" y="367"/>
                  </a:lnTo>
                  <a:lnTo>
                    <a:pt x="1944" y="383"/>
                  </a:lnTo>
                  <a:lnTo>
                    <a:pt x="1956" y="393"/>
                  </a:lnTo>
                  <a:lnTo>
                    <a:pt x="1977" y="421"/>
                  </a:lnTo>
                  <a:lnTo>
                    <a:pt x="1998" y="404"/>
                  </a:lnTo>
                  <a:lnTo>
                    <a:pt x="2048" y="404"/>
                  </a:lnTo>
                  <a:lnTo>
                    <a:pt x="2074" y="421"/>
                  </a:lnTo>
                  <a:lnTo>
                    <a:pt x="2107" y="388"/>
                  </a:lnTo>
                  <a:lnTo>
                    <a:pt x="2161" y="388"/>
                  </a:lnTo>
                  <a:lnTo>
                    <a:pt x="2178" y="409"/>
                  </a:lnTo>
                  <a:lnTo>
                    <a:pt x="2199" y="421"/>
                  </a:lnTo>
                  <a:lnTo>
                    <a:pt x="2199" y="437"/>
                  </a:lnTo>
                  <a:lnTo>
                    <a:pt x="2237" y="466"/>
                  </a:lnTo>
                  <a:lnTo>
                    <a:pt x="2253" y="492"/>
                  </a:lnTo>
                  <a:lnTo>
                    <a:pt x="2253" y="504"/>
                  </a:lnTo>
                  <a:lnTo>
                    <a:pt x="2237" y="520"/>
                  </a:lnTo>
                  <a:lnTo>
                    <a:pt x="2215" y="515"/>
                  </a:lnTo>
                  <a:lnTo>
                    <a:pt x="2182" y="504"/>
                  </a:lnTo>
                  <a:lnTo>
                    <a:pt x="2178" y="515"/>
                  </a:lnTo>
                  <a:lnTo>
                    <a:pt x="2145" y="504"/>
                  </a:lnTo>
                  <a:lnTo>
                    <a:pt x="2107" y="520"/>
                  </a:lnTo>
                  <a:lnTo>
                    <a:pt x="2074" y="520"/>
                  </a:lnTo>
                  <a:lnTo>
                    <a:pt x="2074" y="537"/>
                  </a:lnTo>
                  <a:lnTo>
                    <a:pt x="2036" y="537"/>
                  </a:lnTo>
                  <a:lnTo>
                    <a:pt x="2031" y="548"/>
                  </a:lnTo>
                  <a:lnTo>
                    <a:pt x="2031" y="548"/>
                  </a:lnTo>
                  <a:lnTo>
                    <a:pt x="2031" y="548"/>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3" name="Freeform 504">
              <a:extLst>
                <a:ext uri="{FF2B5EF4-FFF2-40B4-BE49-F238E27FC236}">
                  <a16:creationId xmlns:a16="http://schemas.microsoft.com/office/drawing/2014/main" id="{74201F59-FCC5-42D3-A862-8CDB46127582}"/>
                </a:ext>
              </a:extLst>
            </p:cNvPr>
            <p:cNvSpPr>
              <a:spLocks/>
            </p:cNvSpPr>
            <p:nvPr/>
          </p:nvSpPr>
          <p:spPr bwMode="gray">
            <a:xfrm>
              <a:off x="12314861" y="3713140"/>
              <a:ext cx="1636" cy="5564"/>
            </a:xfrm>
            <a:custGeom>
              <a:avLst/>
              <a:gdLst>
                <a:gd name="T0" fmla="*/ 5 w 5"/>
                <a:gd name="T1" fmla="*/ 17 h 17"/>
                <a:gd name="T2" fmla="*/ 0 w 5"/>
                <a:gd name="T3" fmla="*/ 5 h 17"/>
                <a:gd name="T4" fmla="*/ 5 w 5"/>
                <a:gd name="T5" fmla="*/ 0 h 17"/>
                <a:gd name="T6" fmla="*/ 5 w 5"/>
                <a:gd name="T7" fmla="*/ 17 h 17"/>
                <a:gd name="T8" fmla="*/ 5 w 5"/>
                <a:gd name="T9" fmla="*/ 17 h 17"/>
                <a:gd name="T10" fmla="*/ 5 w 5"/>
                <a:gd name="T11" fmla="*/ 17 h 17"/>
              </a:gdLst>
              <a:ahLst/>
              <a:cxnLst>
                <a:cxn ang="0">
                  <a:pos x="T0" y="T1"/>
                </a:cxn>
                <a:cxn ang="0">
                  <a:pos x="T2" y="T3"/>
                </a:cxn>
                <a:cxn ang="0">
                  <a:pos x="T4" y="T5"/>
                </a:cxn>
                <a:cxn ang="0">
                  <a:pos x="T6" y="T7"/>
                </a:cxn>
                <a:cxn ang="0">
                  <a:pos x="T8" y="T9"/>
                </a:cxn>
                <a:cxn ang="0">
                  <a:pos x="T10" y="T11"/>
                </a:cxn>
              </a:cxnLst>
              <a:rect l="0" t="0" r="r" b="b"/>
              <a:pathLst>
                <a:path w="5" h="17">
                  <a:moveTo>
                    <a:pt x="5" y="17"/>
                  </a:moveTo>
                  <a:lnTo>
                    <a:pt x="0" y="5"/>
                  </a:lnTo>
                  <a:lnTo>
                    <a:pt x="5" y="0"/>
                  </a:lnTo>
                  <a:lnTo>
                    <a:pt x="5" y="17"/>
                  </a:lnTo>
                  <a:lnTo>
                    <a:pt x="5" y="17"/>
                  </a:lnTo>
                  <a:lnTo>
                    <a:pt x="5" y="1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4" name="Freeform 505">
              <a:extLst>
                <a:ext uri="{FF2B5EF4-FFF2-40B4-BE49-F238E27FC236}">
                  <a16:creationId xmlns:a16="http://schemas.microsoft.com/office/drawing/2014/main" id="{951C1804-D30A-4D43-8018-A55604EB2A06}"/>
                </a:ext>
              </a:extLst>
            </p:cNvPr>
            <p:cNvSpPr>
              <a:spLocks/>
            </p:cNvSpPr>
            <p:nvPr/>
          </p:nvSpPr>
          <p:spPr bwMode="gray">
            <a:xfrm>
              <a:off x="14493675" y="4334676"/>
              <a:ext cx="75605" cy="188850"/>
            </a:xfrm>
            <a:custGeom>
              <a:avLst/>
              <a:gdLst>
                <a:gd name="T0" fmla="*/ 33 w 231"/>
                <a:gd name="T1" fmla="*/ 336 h 577"/>
                <a:gd name="T2" fmla="*/ 21 w 231"/>
                <a:gd name="T3" fmla="*/ 336 h 577"/>
                <a:gd name="T4" fmla="*/ 16 w 231"/>
                <a:gd name="T5" fmla="*/ 298 h 577"/>
                <a:gd name="T6" fmla="*/ 21 w 231"/>
                <a:gd name="T7" fmla="*/ 246 h 577"/>
                <a:gd name="T8" fmla="*/ 49 w 231"/>
                <a:gd name="T9" fmla="*/ 230 h 577"/>
                <a:gd name="T10" fmla="*/ 49 w 231"/>
                <a:gd name="T11" fmla="*/ 220 h 577"/>
                <a:gd name="T12" fmla="*/ 49 w 231"/>
                <a:gd name="T13" fmla="*/ 175 h 577"/>
                <a:gd name="T14" fmla="*/ 54 w 231"/>
                <a:gd name="T15" fmla="*/ 130 h 577"/>
                <a:gd name="T16" fmla="*/ 64 w 231"/>
                <a:gd name="T17" fmla="*/ 107 h 577"/>
                <a:gd name="T18" fmla="*/ 64 w 231"/>
                <a:gd name="T19" fmla="*/ 74 h 577"/>
                <a:gd name="T20" fmla="*/ 49 w 231"/>
                <a:gd name="T21" fmla="*/ 52 h 577"/>
                <a:gd name="T22" fmla="*/ 38 w 231"/>
                <a:gd name="T23" fmla="*/ 17 h 577"/>
                <a:gd name="T24" fmla="*/ 16 w 231"/>
                <a:gd name="T25" fmla="*/ 0 h 577"/>
                <a:gd name="T26" fmla="*/ 54 w 231"/>
                <a:gd name="T27" fmla="*/ 17 h 577"/>
                <a:gd name="T28" fmla="*/ 87 w 231"/>
                <a:gd name="T29" fmla="*/ 24 h 577"/>
                <a:gd name="T30" fmla="*/ 118 w 231"/>
                <a:gd name="T31" fmla="*/ 24 h 577"/>
                <a:gd name="T32" fmla="*/ 139 w 231"/>
                <a:gd name="T33" fmla="*/ 107 h 577"/>
                <a:gd name="T34" fmla="*/ 163 w 231"/>
                <a:gd name="T35" fmla="*/ 163 h 577"/>
                <a:gd name="T36" fmla="*/ 139 w 231"/>
                <a:gd name="T37" fmla="*/ 175 h 577"/>
                <a:gd name="T38" fmla="*/ 130 w 231"/>
                <a:gd name="T39" fmla="*/ 246 h 577"/>
                <a:gd name="T40" fmla="*/ 139 w 231"/>
                <a:gd name="T41" fmla="*/ 303 h 577"/>
                <a:gd name="T42" fmla="*/ 172 w 231"/>
                <a:gd name="T43" fmla="*/ 319 h 577"/>
                <a:gd name="T44" fmla="*/ 231 w 231"/>
                <a:gd name="T45" fmla="*/ 409 h 577"/>
                <a:gd name="T46" fmla="*/ 227 w 231"/>
                <a:gd name="T47" fmla="*/ 447 h 577"/>
                <a:gd name="T48" fmla="*/ 201 w 231"/>
                <a:gd name="T49" fmla="*/ 504 h 577"/>
                <a:gd name="T50" fmla="*/ 172 w 231"/>
                <a:gd name="T51" fmla="*/ 527 h 577"/>
                <a:gd name="T52" fmla="*/ 184 w 231"/>
                <a:gd name="T53" fmla="*/ 577 h 577"/>
                <a:gd name="T54" fmla="*/ 177 w 231"/>
                <a:gd name="T55" fmla="*/ 553 h 577"/>
                <a:gd name="T56" fmla="*/ 130 w 231"/>
                <a:gd name="T57" fmla="*/ 508 h 577"/>
                <a:gd name="T58" fmla="*/ 125 w 231"/>
                <a:gd name="T59" fmla="*/ 499 h 577"/>
                <a:gd name="T60" fmla="*/ 130 w 231"/>
                <a:gd name="T61" fmla="*/ 442 h 577"/>
                <a:gd name="T62" fmla="*/ 118 w 231"/>
                <a:gd name="T63" fmla="*/ 369 h 577"/>
                <a:gd name="T64" fmla="*/ 38 w 231"/>
                <a:gd name="T65" fmla="*/ 343 h 577"/>
                <a:gd name="T66" fmla="*/ 38 w 231"/>
                <a:gd name="T67" fmla="*/ 343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 h="577">
                  <a:moveTo>
                    <a:pt x="38" y="343"/>
                  </a:moveTo>
                  <a:lnTo>
                    <a:pt x="33" y="336"/>
                  </a:lnTo>
                  <a:lnTo>
                    <a:pt x="33" y="343"/>
                  </a:lnTo>
                  <a:lnTo>
                    <a:pt x="21" y="336"/>
                  </a:lnTo>
                  <a:lnTo>
                    <a:pt x="0" y="315"/>
                  </a:lnTo>
                  <a:lnTo>
                    <a:pt x="16" y="298"/>
                  </a:lnTo>
                  <a:lnTo>
                    <a:pt x="21" y="263"/>
                  </a:lnTo>
                  <a:lnTo>
                    <a:pt x="21" y="246"/>
                  </a:lnTo>
                  <a:lnTo>
                    <a:pt x="21" y="241"/>
                  </a:lnTo>
                  <a:lnTo>
                    <a:pt x="49" y="230"/>
                  </a:lnTo>
                  <a:lnTo>
                    <a:pt x="64" y="225"/>
                  </a:lnTo>
                  <a:lnTo>
                    <a:pt x="49" y="220"/>
                  </a:lnTo>
                  <a:lnTo>
                    <a:pt x="38" y="208"/>
                  </a:lnTo>
                  <a:lnTo>
                    <a:pt x="49" y="175"/>
                  </a:lnTo>
                  <a:lnTo>
                    <a:pt x="38" y="152"/>
                  </a:lnTo>
                  <a:lnTo>
                    <a:pt x="54" y="130"/>
                  </a:lnTo>
                  <a:lnTo>
                    <a:pt x="38" y="114"/>
                  </a:lnTo>
                  <a:lnTo>
                    <a:pt x="64" y="107"/>
                  </a:lnTo>
                  <a:lnTo>
                    <a:pt x="71" y="90"/>
                  </a:lnTo>
                  <a:lnTo>
                    <a:pt x="64" y="74"/>
                  </a:lnTo>
                  <a:lnTo>
                    <a:pt x="64" y="62"/>
                  </a:lnTo>
                  <a:lnTo>
                    <a:pt x="49" y="52"/>
                  </a:lnTo>
                  <a:lnTo>
                    <a:pt x="49" y="41"/>
                  </a:lnTo>
                  <a:lnTo>
                    <a:pt x="38" y="17"/>
                  </a:lnTo>
                  <a:lnTo>
                    <a:pt x="21" y="17"/>
                  </a:lnTo>
                  <a:lnTo>
                    <a:pt x="16" y="0"/>
                  </a:lnTo>
                  <a:lnTo>
                    <a:pt x="49" y="8"/>
                  </a:lnTo>
                  <a:lnTo>
                    <a:pt x="54" y="17"/>
                  </a:lnTo>
                  <a:lnTo>
                    <a:pt x="75" y="17"/>
                  </a:lnTo>
                  <a:lnTo>
                    <a:pt x="87" y="24"/>
                  </a:lnTo>
                  <a:lnTo>
                    <a:pt x="92" y="8"/>
                  </a:lnTo>
                  <a:lnTo>
                    <a:pt x="118" y="24"/>
                  </a:lnTo>
                  <a:lnTo>
                    <a:pt x="130" y="52"/>
                  </a:lnTo>
                  <a:lnTo>
                    <a:pt x="139" y="107"/>
                  </a:lnTo>
                  <a:lnTo>
                    <a:pt x="139" y="130"/>
                  </a:lnTo>
                  <a:lnTo>
                    <a:pt x="163" y="163"/>
                  </a:lnTo>
                  <a:lnTo>
                    <a:pt x="139" y="163"/>
                  </a:lnTo>
                  <a:lnTo>
                    <a:pt x="139" y="175"/>
                  </a:lnTo>
                  <a:lnTo>
                    <a:pt x="125" y="208"/>
                  </a:lnTo>
                  <a:lnTo>
                    <a:pt x="130" y="246"/>
                  </a:lnTo>
                  <a:lnTo>
                    <a:pt x="130" y="298"/>
                  </a:lnTo>
                  <a:lnTo>
                    <a:pt x="139" y="303"/>
                  </a:lnTo>
                  <a:lnTo>
                    <a:pt x="156" y="303"/>
                  </a:lnTo>
                  <a:lnTo>
                    <a:pt x="172" y="319"/>
                  </a:lnTo>
                  <a:lnTo>
                    <a:pt x="227" y="393"/>
                  </a:lnTo>
                  <a:lnTo>
                    <a:pt x="231" y="409"/>
                  </a:lnTo>
                  <a:lnTo>
                    <a:pt x="215" y="430"/>
                  </a:lnTo>
                  <a:lnTo>
                    <a:pt x="227" y="447"/>
                  </a:lnTo>
                  <a:lnTo>
                    <a:pt x="227" y="487"/>
                  </a:lnTo>
                  <a:lnTo>
                    <a:pt x="201" y="504"/>
                  </a:lnTo>
                  <a:lnTo>
                    <a:pt x="193" y="499"/>
                  </a:lnTo>
                  <a:lnTo>
                    <a:pt x="172" y="527"/>
                  </a:lnTo>
                  <a:lnTo>
                    <a:pt x="184" y="544"/>
                  </a:lnTo>
                  <a:lnTo>
                    <a:pt x="184" y="577"/>
                  </a:lnTo>
                  <a:lnTo>
                    <a:pt x="172" y="577"/>
                  </a:lnTo>
                  <a:lnTo>
                    <a:pt x="177" y="553"/>
                  </a:lnTo>
                  <a:lnTo>
                    <a:pt x="163" y="553"/>
                  </a:lnTo>
                  <a:lnTo>
                    <a:pt x="130" y="508"/>
                  </a:lnTo>
                  <a:lnTo>
                    <a:pt x="125" y="508"/>
                  </a:lnTo>
                  <a:lnTo>
                    <a:pt x="125" y="499"/>
                  </a:lnTo>
                  <a:lnTo>
                    <a:pt x="108" y="482"/>
                  </a:lnTo>
                  <a:lnTo>
                    <a:pt x="130" y="442"/>
                  </a:lnTo>
                  <a:lnTo>
                    <a:pt x="130" y="386"/>
                  </a:lnTo>
                  <a:lnTo>
                    <a:pt x="118" y="369"/>
                  </a:lnTo>
                  <a:lnTo>
                    <a:pt x="71" y="386"/>
                  </a:lnTo>
                  <a:lnTo>
                    <a:pt x="38" y="343"/>
                  </a:lnTo>
                  <a:lnTo>
                    <a:pt x="38" y="343"/>
                  </a:lnTo>
                  <a:lnTo>
                    <a:pt x="38" y="343"/>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5" name="Freeform 506">
              <a:extLst>
                <a:ext uri="{FF2B5EF4-FFF2-40B4-BE49-F238E27FC236}">
                  <a16:creationId xmlns:a16="http://schemas.microsoft.com/office/drawing/2014/main" id="{69248C3A-ABB1-47C9-B1DB-367ACDA6DF0E}"/>
                </a:ext>
              </a:extLst>
            </p:cNvPr>
            <p:cNvSpPr>
              <a:spLocks/>
            </p:cNvSpPr>
            <p:nvPr/>
          </p:nvSpPr>
          <p:spPr bwMode="gray">
            <a:xfrm>
              <a:off x="14214491" y="3051347"/>
              <a:ext cx="57277" cy="41239"/>
            </a:xfrm>
            <a:custGeom>
              <a:avLst/>
              <a:gdLst>
                <a:gd name="T0" fmla="*/ 21 w 175"/>
                <a:gd name="T1" fmla="*/ 126 h 126"/>
                <a:gd name="T2" fmla="*/ 9 w 175"/>
                <a:gd name="T3" fmla="*/ 126 h 126"/>
                <a:gd name="T4" fmla="*/ 0 w 175"/>
                <a:gd name="T5" fmla="*/ 88 h 126"/>
                <a:gd name="T6" fmla="*/ 5 w 175"/>
                <a:gd name="T7" fmla="*/ 81 h 126"/>
                <a:gd name="T8" fmla="*/ 0 w 175"/>
                <a:gd name="T9" fmla="*/ 71 h 126"/>
                <a:gd name="T10" fmla="*/ 5 w 175"/>
                <a:gd name="T11" fmla="*/ 43 h 126"/>
                <a:gd name="T12" fmla="*/ 9 w 175"/>
                <a:gd name="T13" fmla="*/ 43 h 126"/>
                <a:gd name="T14" fmla="*/ 21 w 175"/>
                <a:gd name="T15" fmla="*/ 26 h 126"/>
                <a:gd name="T16" fmla="*/ 43 w 175"/>
                <a:gd name="T17" fmla="*/ 17 h 126"/>
                <a:gd name="T18" fmla="*/ 59 w 175"/>
                <a:gd name="T19" fmla="*/ 17 h 126"/>
                <a:gd name="T20" fmla="*/ 66 w 175"/>
                <a:gd name="T21" fmla="*/ 10 h 126"/>
                <a:gd name="T22" fmla="*/ 80 w 175"/>
                <a:gd name="T23" fmla="*/ 10 h 126"/>
                <a:gd name="T24" fmla="*/ 97 w 175"/>
                <a:gd name="T25" fmla="*/ 0 h 126"/>
                <a:gd name="T26" fmla="*/ 130 w 175"/>
                <a:gd name="T27" fmla="*/ 0 h 126"/>
                <a:gd name="T28" fmla="*/ 147 w 175"/>
                <a:gd name="T29" fmla="*/ 17 h 126"/>
                <a:gd name="T30" fmla="*/ 170 w 175"/>
                <a:gd name="T31" fmla="*/ 33 h 126"/>
                <a:gd name="T32" fmla="*/ 175 w 175"/>
                <a:gd name="T33" fmla="*/ 50 h 126"/>
                <a:gd name="T34" fmla="*/ 175 w 175"/>
                <a:gd name="T35" fmla="*/ 88 h 126"/>
                <a:gd name="T36" fmla="*/ 163 w 175"/>
                <a:gd name="T37" fmla="*/ 88 h 126"/>
                <a:gd name="T38" fmla="*/ 163 w 175"/>
                <a:gd name="T39" fmla="*/ 102 h 126"/>
                <a:gd name="T40" fmla="*/ 109 w 175"/>
                <a:gd name="T41" fmla="*/ 102 h 126"/>
                <a:gd name="T42" fmla="*/ 92 w 175"/>
                <a:gd name="T43" fmla="*/ 118 h 126"/>
                <a:gd name="T44" fmla="*/ 76 w 175"/>
                <a:gd name="T45" fmla="*/ 126 h 126"/>
                <a:gd name="T46" fmla="*/ 38 w 175"/>
                <a:gd name="T47" fmla="*/ 126 h 126"/>
                <a:gd name="T48" fmla="*/ 21 w 175"/>
                <a:gd name="T49" fmla="*/ 126 h 126"/>
                <a:gd name="T50" fmla="*/ 21 w 175"/>
                <a:gd name="T51" fmla="*/ 126 h 126"/>
                <a:gd name="T52" fmla="*/ 21 w 175"/>
                <a:gd name="T53"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26">
                  <a:moveTo>
                    <a:pt x="21" y="126"/>
                  </a:moveTo>
                  <a:lnTo>
                    <a:pt x="9" y="126"/>
                  </a:lnTo>
                  <a:lnTo>
                    <a:pt x="0" y="88"/>
                  </a:lnTo>
                  <a:lnTo>
                    <a:pt x="5" y="81"/>
                  </a:lnTo>
                  <a:lnTo>
                    <a:pt x="0" y="71"/>
                  </a:lnTo>
                  <a:lnTo>
                    <a:pt x="5" y="43"/>
                  </a:lnTo>
                  <a:lnTo>
                    <a:pt x="9" y="43"/>
                  </a:lnTo>
                  <a:lnTo>
                    <a:pt x="21" y="26"/>
                  </a:lnTo>
                  <a:lnTo>
                    <a:pt x="43" y="17"/>
                  </a:lnTo>
                  <a:lnTo>
                    <a:pt x="59" y="17"/>
                  </a:lnTo>
                  <a:lnTo>
                    <a:pt x="66" y="10"/>
                  </a:lnTo>
                  <a:lnTo>
                    <a:pt x="80" y="10"/>
                  </a:lnTo>
                  <a:lnTo>
                    <a:pt x="97" y="0"/>
                  </a:lnTo>
                  <a:lnTo>
                    <a:pt x="130" y="0"/>
                  </a:lnTo>
                  <a:lnTo>
                    <a:pt x="147" y="17"/>
                  </a:lnTo>
                  <a:lnTo>
                    <a:pt x="170" y="33"/>
                  </a:lnTo>
                  <a:lnTo>
                    <a:pt x="175" y="50"/>
                  </a:lnTo>
                  <a:lnTo>
                    <a:pt x="175" y="88"/>
                  </a:lnTo>
                  <a:lnTo>
                    <a:pt x="163" y="88"/>
                  </a:lnTo>
                  <a:lnTo>
                    <a:pt x="163" y="102"/>
                  </a:lnTo>
                  <a:lnTo>
                    <a:pt x="109" y="102"/>
                  </a:lnTo>
                  <a:lnTo>
                    <a:pt x="92" y="118"/>
                  </a:lnTo>
                  <a:lnTo>
                    <a:pt x="76" y="126"/>
                  </a:lnTo>
                  <a:lnTo>
                    <a:pt x="38" y="126"/>
                  </a:lnTo>
                  <a:lnTo>
                    <a:pt x="21" y="126"/>
                  </a:lnTo>
                  <a:lnTo>
                    <a:pt x="21" y="126"/>
                  </a:lnTo>
                  <a:lnTo>
                    <a:pt x="21" y="126"/>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6" name="Freeform 507">
              <a:extLst>
                <a:ext uri="{FF2B5EF4-FFF2-40B4-BE49-F238E27FC236}">
                  <a16:creationId xmlns:a16="http://schemas.microsoft.com/office/drawing/2014/main" id="{3D2E8F61-469A-4D7D-B116-6C5EA4CB9418}"/>
                </a:ext>
              </a:extLst>
            </p:cNvPr>
            <p:cNvSpPr>
              <a:spLocks/>
            </p:cNvSpPr>
            <p:nvPr/>
          </p:nvSpPr>
          <p:spPr bwMode="gray">
            <a:xfrm>
              <a:off x="13463672" y="3513817"/>
              <a:ext cx="378028" cy="360354"/>
            </a:xfrm>
            <a:custGeom>
              <a:avLst/>
              <a:gdLst>
                <a:gd name="T0" fmla="*/ 130 w 1155"/>
                <a:gd name="T1" fmla="*/ 947 h 1101"/>
                <a:gd name="T2" fmla="*/ 88 w 1155"/>
                <a:gd name="T3" fmla="*/ 947 h 1101"/>
                <a:gd name="T4" fmla="*/ 55 w 1155"/>
                <a:gd name="T5" fmla="*/ 947 h 1101"/>
                <a:gd name="T6" fmla="*/ 67 w 1155"/>
                <a:gd name="T7" fmla="*/ 890 h 1101"/>
                <a:gd name="T8" fmla="*/ 33 w 1155"/>
                <a:gd name="T9" fmla="*/ 864 h 1101"/>
                <a:gd name="T10" fmla="*/ 12 w 1155"/>
                <a:gd name="T11" fmla="*/ 848 h 1101"/>
                <a:gd name="T12" fmla="*/ 17 w 1155"/>
                <a:gd name="T13" fmla="*/ 808 h 1101"/>
                <a:gd name="T14" fmla="*/ 0 w 1155"/>
                <a:gd name="T15" fmla="*/ 758 h 1101"/>
                <a:gd name="T16" fmla="*/ 24 w 1155"/>
                <a:gd name="T17" fmla="*/ 758 h 1101"/>
                <a:gd name="T18" fmla="*/ 55 w 1155"/>
                <a:gd name="T19" fmla="*/ 697 h 1101"/>
                <a:gd name="T20" fmla="*/ 109 w 1155"/>
                <a:gd name="T21" fmla="*/ 713 h 1101"/>
                <a:gd name="T22" fmla="*/ 196 w 1155"/>
                <a:gd name="T23" fmla="*/ 713 h 1101"/>
                <a:gd name="T24" fmla="*/ 201 w 1155"/>
                <a:gd name="T25" fmla="*/ 697 h 1101"/>
                <a:gd name="T26" fmla="*/ 470 w 1155"/>
                <a:gd name="T27" fmla="*/ 713 h 1101"/>
                <a:gd name="T28" fmla="*/ 466 w 1155"/>
                <a:gd name="T29" fmla="*/ 631 h 1101"/>
                <a:gd name="T30" fmla="*/ 395 w 1155"/>
                <a:gd name="T31" fmla="*/ 0 h 1101"/>
                <a:gd name="T32" fmla="*/ 941 w 1155"/>
                <a:gd name="T33" fmla="*/ 293 h 1101"/>
                <a:gd name="T34" fmla="*/ 974 w 1155"/>
                <a:gd name="T35" fmla="*/ 331 h 1101"/>
                <a:gd name="T36" fmla="*/ 1004 w 1155"/>
                <a:gd name="T37" fmla="*/ 354 h 1101"/>
                <a:gd name="T38" fmla="*/ 1026 w 1155"/>
                <a:gd name="T39" fmla="*/ 371 h 1101"/>
                <a:gd name="T40" fmla="*/ 1092 w 1155"/>
                <a:gd name="T41" fmla="*/ 420 h 1101"/>
                <a:gd name="T42" fmla="*/ 1092 w 1155"/>
                <a:gd name="T43" fmla="*/ 449 h 1101"/>
                <a:gd name="T44" fmla="*/ 1151 w 1155"/>
                <a:gd name="T45" fmla="*/ 642 h 1101"/>
                <a:gd name="T46" fmla="*/ 1129 w 1155"/>
                <a:gd name="T47" fmla="*/ 697 h 1101"/>
                <a:gd name="T48" fmla="*/ 1101 w 1155"/>
                <a:gd name="T49" fmla="*/ 720 h 1101"/>
                <a:gd name="T50" fmla="*/ 1063 w 1155"/>
                <a:gd name="T51" fmla="*/ 720 h 1101"/>
                <a:gd name="T52" fmla="*/ 929 w 1155"/>
                <a:gd name="T53" fmla="*/ 742 h 1101"/>
                <a:gd name="T54" fmla="*/ 874 w 1155"/>
                <a:gd name="T55" fmla="*/ 753 h 1101"/>
                <a:gd name="T56" fmla="*/ 832 w 1155"/>
                <a:gd name="T57" fmla="*/ 742 h 1101"/>
                <a:gd name="T58" fmla="*/ 806 w 1155"/>
                <a:gd name="T59" fmla="*/ 742 h 1101"/>
                <a:gd name="T60" fmla="*/ 768 w 1155"/>
                <a:gd name="T61" fmla="*/ 770 h 1101"/>
                <a:gd name="T62" fmla="*/ 718 w 1155"/>
                <a:gd name="T63" fmla="*/ 779 h 1101"/>
                <a:gd name="T64" fmla="*/ 714 w 1155"/>
                <a:gd name="T65" fmla="*/ 808 h 1101"/>
                <a:gd name="T66" fmla="*/ 659 w 1155"/>
                <a:gd name="T67" fmla="*/ 812 h 1101"/>
                <a:gd name="T68" fmla="*/ 626 w 1155"/>
                <a:gd name="T69" fmla="*/ 836 h 1101"/>
                <a:gd name="T70" fmla="*/ 617 w 1155"/>
                <a:gd name="T71" fmla="*/ 869 h 1101"/>
                <a:gd name="T72" fmla="*/ 579 w 1155"/>
                <a:gd name="T73" fmla="*/ 853 h 1101"/>
                <a:gd name="T74" fmla="*/ 563 w 1155"/>
                <a:gd name="T75" fmla="*/ 902 h 1101"/>
                <a:gd name="T76" fmla="*/ 541 w 1155"/>
                <a:gd name="T77" fmla="*/ 907 h 1101"/>
                <a:gd name="T78" fmla="*/ 551 w 1155"/>
                <a:gd name="T79" fmla="*/ 940 h 1101"/>
                <a:gd name="T80" fmla="*/ 499 w 1155"/>
                <a:gd name="T81" fmla="*/ 964 h 1101"/>
                <a:gd name="T82" fmla="*/ 499 w 1155"/>
                <a:gd name="T83" fmla="*/ 1001 h 1101"/>
                <a:gd name="T84" fmla="*/ 470 w 1155"/>
                <a:gd name="T85" fmla="*/ 1035 h 1101"/>
                <a:gd name="T86" fmla="*/ 470 w 1155"/>
                <a:gd name="T87" fmla="*/ 1075 h 1101"/>
                <a:gd name="T88" fmla="*/ 433 w 1155"/>
                <a:gd name="T89" fmla="*/ 1101 h 1101"/>
                <a:gd name="T90" fmla="*/ 428 w 1155"/>
                <a:gd name="T91" fmla="*/ 1091 h 1101"/>
                <a:gd name="T92" fmla="*/ 411 w 1155"/>
                <a:gd name="T93" fmla="*/ 1058 h 1101"/>
                <a:gd name="T94" fmla="*/ 395 w 1155"/>
                <a:gd name="T95" fmla="*/ 1058 h 1101"/>
                <a:gd name="T96" fmla="*/ 374 w 1155"/>
                <a:gd name="T97" fmla="*/ 1084 h 1101"/>
                <a:gd name="T98" fmla="*/ 324 w 1155"/>
                <a:gd name="T99" fmla="*/ 1075 h 1101"/>
                <a:gd name="T100" fmla="*/ 293 w 1155"/>
                <a:gd name="T101" fmla="*/ 1101 h 1101"/>
                <a:gd name="T102" fmla="*/ 281 w 1155"/>
                <a:gd name="T103" fmla="*/ 1075 h 1101"/>
                <a:gd name="T104" fmla="*/ 265 w 1155"/>
                <a:gd name="T105" fmla="*/ 1035 h 1101"/>
                <a:gd name="T106" fmla="*/ 272 w 1155"/>
                <a:gd name="T107" fmla="*/ 1013 h 1101"/>
                <a:gd name="T108" fmla="*/ 251 w 1155"/>
                <a:gd name="T109" fmla="*/ 992 h 1101"/>
                <a:gd name="T110" fmla="*/ 239 w 1155"/>
                <a:gd name="T111" fmla="*/ 975 h 1101"/>
                <a:gd name="T112" fmla="*/ 227 w 1155"/>
                <a:gd name="T113" fmla="*/ 935 h 1101"/>
                <a:gd name="T114" fmla="*/ 201 w 1155"/>
                <a:gd name="T115" fmla="*/ 947 h 1101"/>
                <a:gd name="T116" fmla="*/ 180 w 1155"/>
                <a:gd name="T117" fmla="*/ 964 h 1101"/>
                <a:gd name="T118" fmla="*/ 163 w 1155"/>
                <a:gd name="T119" fmla="*/ 964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5" h="1101">
                  <a:moveTo>
                    <a:pt x="163" y="964"/>
                  </a:moveTo>
                  <a:lnTo>
                    <a:pt x="130" y="947"/>
                  </a:lnTo>
                  <a:lnTo>
                    <a:pt x="109" y="975"/>
                  </a:lnTo>
                  <a:lnTo>
                    <a:pt x="88" y="947"/>
                  </a:lnTo>
                  <a:lnTo>
                    <a:pt x="71" y="964"/>
                  </a:lnTo>
                  <a:lnTo>
                    <a:pt x="55" y="947"/>
                  </a:lnTo>
                  <a:lnTo>
                    <a:pt x="67" y="935"/>
                  </a:lnTo>
                  <a:lnTo>
                    <a:pt x="67" y="890"/>
                  </a:lnTo>
                  <a:lnTo>
                    <a:pt x="38" y="864"/>
                  </a:lnTo>
                  <a:lnTo>
                    <a:pt x="33" y="864"/>
                  </a:lnTo>
                  <a:lnTo>
                    <a:pt x="33" y="869"/>
                  </a:lnTo>
                  <a:lnTo>
                    <a:pt x="12" y="848"/>
                  </a:lnTo>
                  <a:lnTo>
                    <a:pt x="17" y="831"/>
                  </a:lnTo>
                  <a:lnTo>
                    <a:pt x="17" y="808"/>
                  </a:lnTo>
                  <a:lnTo>
                    <a:pt x="0" y="791"/>
                  </a:lnTo>
                  <a:lnTo>
                    <a:pt x="0" y="758"/>
                  </a:lnTo>
                  <a:lnTo>
                    <a:pt x="12" y="770"/>
                  </a:lnTo>
                  <a:lnTo>
                    <a:pt x="24" y="758"/>
                  </a:lnTo>
                  <a:lnTo>
                    <a:pt x="38" y="704"/>
                  </a:lnTo>
                  <a:lnTo>
                    <a:pt x="55" y="697"/>
                  </a:lnTo>
                  <a:lnTo>
                    <a:pt x="93" y="737"/>
                  </a:lnTo>
                  <a:lnTo>
                    <a:pt x="109" y="713"/>
                  </a:lnTo>
                  <a:lnTo>
                    <a:pt x="159" y="720"/>
                  </a:lnTo>
                  <a:lnTo>
                    <a:pt x="196" y="713"/>
                  </a:lnTo>
                  <a:lnTo>
                    <a:pt x="196" y="704"/>
                  </a:lnTo>
                  <a:lnTo>
                    <a:pt x="201" y="697"/>
                  </a:lnTo>
                  <a:lnTo>
                    <a:pt x="201" y="713"/>
                  </a:lnTo>
                  <a:lnTo>
                    <a:pt x="470" y="713"/>
                  </a:lnTo>
                  <a:lnTo>
                    <a:pt x="487" y="647"/>
                  </a:lnTo>
                  <a:lnTo>
                    <a:pt x="466" y="631"/>
                  </a:lnTo>
                  <a:lnTo>
                    <a:pt x="411" y="149"/>
                  </a:lnTo>
                  <a:lnTo>
                    <a:pt x="395" y="0"/>
                  </a:lnTo>
                  <a:lnTo>
                    <a:pt x="520" y="0"/>
                  </a:lnTo>
                  <a:lnTo>
                    <a:pt x="941" y="293"/>
                  </a:lnTo>
                  <a:lnTo>
                    <a:pt x="941" y="314"/>
                  </a:lnTo>
                  <a:lnTo>
                    <a:pt x="974" y="331"/>
                  </a:lnTo>
                  <a:lnTo>
                    <a:pt x="983" y="347"/>
                  </a:lnTo>
                  <a:lnTo>
                    <a:pt x="1004" y="354"/>
                  </a:lnTo>
                  <a:lnTo>
                    <a:pt x="1011" y="354"/>
                  </a:lnTo>
                  <a:lnTo>
                    <a:pt x="1026" y="371"/>
                  </a:lnTo>
                  <a:lnTo>
                    <a:pt x="1080" y="387"/>
                  </a:lnTo>
                  <a:lnTo>
                    <a:pt x="1092" y="420"/>
                  </a:lnTo>
                  <a:lnTo>
                    <a:pt x="1075" y="437"/>
                  </a:lnTo>
                  <a:lnTo>
                    <a:pt x="1092" y="449"/>
                  </a:lnTo>
                  <a:lnTo>
                    <a:pt x="1155" y="437"/>
                  </a:lnTo>
                  <a:lnTo>
                    <a:pt x="1151" y="642"/>
                  </a:lnTo>
                  <a:lnTo>
                    <a:pt x="1146" y="647"/>
                  </a:lnTo>
                  <a:lnTo>
                    <a:pt x="1129" y="697"/>
                  </a:lnTo>
                  <a:lnTo>
                    <a:pt x="1101" y="704"/>
                  </a:lnTo>
                  <a:lnTo>
                    <a:pt x="1101" y="720"/>
                  </a:lnTo>
                  <a:lnTo>
                    <a:pt x="1075" y="713"/>
                  </a:lnTo>
                  <a:lnTo>
                    <a:pt x="1063" y="720"/>
                  </a:lnTo>
                  <a:lnTo>
                    <a:pt x="950" y="725"/>
                  </a:lnTo>
                  <a:lnTo>
                    <a:pt x="929" y="742"/>
                  </a:lnTo>
                  <a:lnTo>
                    <a:pt x="874" y="742"/>
                  </a:lnTo>
                  <a:lnTo>
                    <a:pt x="874" y="753"/>
                  </a:lnTo>
                  <a:lnTo>
                    <a:pt x="844" y="742"/>
                  </a:lnTo>
                  <a:lnTo>
                    <a:pt x="832" y="742"/>
                  </a:lnTo>
                  <a:lnTo>
                    <a:pt x="827" y="742"/>
                  </a:lnTo>
                  <a:lnTo>
                    <a:pt x="806" y="742"/>
                  </a:lnTo>
                  <a:lnTo>
                    <a:pt x="778" y="758"/>
                  </a:lnTo>
                  <a:lnTo>
                    <a:pt x="768" y="770"/>
                  </a:lnTo>
                  <a:lnTo>
                    <a:pt x="740" y="779"/>
                  </a:lnTo>
                  <a:lnTo>
                    <a:pt x="718" y="779"/>
                  </a:lnTo>
                  <a:lnTo>
                    <a:pt x="718" y="808"/>
                  </a:lnTo>
                  <a:lnTo>
                    <a:pt x="714" y="808"/>
                  </a:lnTo>
                  <a:lnTo>
                    <a:pt x="685" y="796"/>
                  </a:lnTo>
                  <a:lnTo>
                    <a:pt x="659" y="812"/>
                  </a:lnTo>
                  <a:lnTo>
                    <a:pt x="659" y="848"/>
                  </a:lnTo>
                  <a:lnTo>
                    <a:pt x="626" y="836"/>
                  </a:lnTo>
                  <a:lnTo>
                    <a:pt x="633" y="869"/>
                  </a:lnTo>
                  <a:lnTo>
                    <a:pt x="617" y="869"/>
                  </a:lnTo>
                  <a:lnTo>
                    <a:pt x="617" y="881"/>
                  </a:lnTo>
                  <a:lnTo>
                    <a:pt x="579" y="853"/>
                  </a:lnTo>
                  <a:lnTo>
                    <a:pt x="558" y="886"/>
                  </a:lnTo>
                  <a:lnTo>
                    <a:pt x="563" y="902"/>
                  </a:lnTo>
                  <a:lnTo>
                    <a:pt x="558" y="907"/>
                  </a:lnTo>
                  <a:lnTo>
                    <a:pt x="541" y="907"/>
                  </a:lnTo>
                  <a:lnTo>
                    <a:pt x="551" y="923"/>
                  </a:lnTo>
                  <a:lnTo>
                    <a:pt x="551" y="940"/>
                  </a:lnTo>
                  <a:lnTo>
                    <a:pt x="537" y="957"/>
                  </a:lnTo>
                  <a:lnTo>
                    <a:pt x="499" y="964"/>
                  </a:lnTo>
                  <a:lnTo>
                    <a:pt x="487" y="975"/>
                  </a:lnTo>
                  <a:lnTo>
                    <a:pt x="499" y="1001"/>
                  </a:lnTo>
                  <a:lnTo>
                    <a:pt x="487" y="1030"/>
                  </a:lnTo>
                  <a:lnTo>
                    <a:pt x="470" y="1035"/>
                  </a:lnTo>
                  <a:lnTo>
                    <a:pt x="482" y="1051"/>
                  </a:lnTo>
                  <a:lnTo>
                    <a:pt x="470" y="1075"/>
                  </a:lnTo>
                  <a:lnTo>
                    <a:pt x="449" y="1084"/>
                  </a:lnTo>
                  <a:lnTo>
                    <a:pt x="433" y="1101"/>
                  </a:lnTo>
                  <a:lnTo>
                    <a:pt x="428" y="1101"/>
                  </a:lnTo>
                  <a:lnTo>
                    <a:pt x="428" y="1091"/>
                  </a:lnTo>
                  <a:lnTo>
                    <a:pt x="416" y="1058"/>
                  </a:lnTo>
                  <a:lnTo>
                    <a:pt x="411" y="1058"/>
                  </a:lnTo>
                  <a:lnTo>
                    <a:pt x="411" y="1068"/>
                  </a:lnTo>
                  <a:lnTo>
                    <a:pt x="395" y="1058"/>
                  </a:lnTo>
                  <a:lnTo>
                    <a:pt x="395" y="1084"/>
                  </a:lnTo>
                  <a:lnTo>
                    <a:pt x="374" y="1084"/>
                  </a:lnTo>
                  <a:lnTo>
                    <a:pt x="362" y="1101"/>
                  </a:lnTo>
                  <a:lnTo>
                    <a:pt x="324" y="1075"/>
                  </a:lnTo>
                  <a:lnTo>
                    <a:pt x="310" y="1101"/>
                  </a:lnTo>
                  <a:lnTo>
                    <a:pt x="293" y="1101"/>
                  </a:lnTo>
                  <a:lnTo>
                    <a:pt x="293" y="1084"/>
                  </a:lnTo>
                  <a:lnTo>
                    <a:pt x="281" y="1075"/>
                  </a:lnTo>
                  <a:lnTo>
                    <a:pt x="281" y="1035"/>
                  </a:lnTo>
                  <a:lnTo>
                    <a:pt x="265" y="1035"/>
                  </a:lnTo>
                  <a:lnTo>
                    <a:pt x="251" y="1046"/>
                  </a:lnTo>
                  <a:lnTo>
                    <a:pt x="272" y="1013"/>
                  </a:lnTo>
                  <a:lnTo>
                    <a:pt x="251" y="1001"/>
                  </a:lnTo>
                  <a:lnTo>
                    <a:pt x="251" y="992"/>
                  </a:lnTo>
                  <a:lnTo>
                    <a:pt x="239" y="992"/>
                  </a:lnTo>
                  <a:lnTo>
                    <a:pt x="239" y="975"/>
                  </a:lnTo>
                  <a:lnTo>
                    <a:pt x="227" y="947"/>
                  </a:lnTo>
                  <a:lnTo>
                    <a:pt x="227" y="935"/>
                  </a:lnTo>
                  <a:lnTo>
                    <a:pt x="201" y="935"/>
                  </a:lnTo>
                  <a:lnTo>
                    <a:pt x="201" y="947"/>
                  </a:lnTo>
                  <a:lnTo>
                    <a:pt x="180" y="957"/>
                  </a:lnTo>
                  <a:lnTo>
                    <a:pt x="180" y="964"/>
                  </a:lnTo>
                  <a:lnTo>
                    <a:pt x="163" y="964"/>
                  </a:lnTo>
                  <a:lnTo>
                    <a:pt x="163" y="964"/>
                  </a:lnTo>
                  <a:lnTo>
                    <a:pt x="163" y="964"/>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7" name="Freeform 508">
              <a:extLst>
                <a:ext uri="{FF2B5EF4-FFF2-40B4-BE49-F238E27FC236}">
                  <a16:creationId xmlns:a16="http://schemas.microsoft.com/office/drawing/2014/main" id="{F58A502F-1971-4A7E-862E-0959743ED970}"/>
                </a:ext>
              </a:extLst>
            </p:cNvPr>
            <p:cNvSpPr>
              <a:spLocks/>
            </p:cNvSpPr>
            <p:nvPr/>
          </p:nvSpPr>
          <p:spPr bwMode="gray">
            <a:xfrm>
              <a:off x="13440762" y="3228414"/>
              <a:ext cx="280493" cy="217325"/>
            </a:xfrm>
            <a:custGeom>
              <a:avLst/>
              <a:gdLst>
                <a:gd name="T0" fmla="*/ 656 w 857"/>
                <a:gd name="T1" fmla="*/ 350 h 664"/>
                <a:gd name="T2" fmla="*/ 673 w 857"/>
                <a:gd name="T3" fmla="*/ 392 h 664"/>
                <a:gd name="T4" fmla="*/ 642 w 857"/>
                <a:gd name="T5" fmla="*/ 404 h 664"/>
                <a:gd name="T6" fmla="*/ 576 w 857"/>
                <a:gd name="T7" fmla="*/ 444 h 664"/>
                <a:gd name="T8" fmla="*/ 538 w 857"/>
                <a:gd name="T9" fmla="*/ 487 h 664"/>
                <a:gd name="T10" fmla="*/ 462 w 857"/>
                <a:gd name="T11" fmla="*/ 515 h 664"/>
                <a:gd name="T12" fmla="*/ 316 w 857"/>
                <a:gd name="T13" fmla="*/ 577 h 664"/>
                <a:gd name="T14" fmla="*/ 0 w 857"/>
                <a:gd name="T15" fmla="*/ 664 h 664"/>
                <a:gd name="T16" fmla="*/ 80 w 857"/>
                <a:gd name="T17" fmla="*/ 631 h 664"/>
                <a:gd name="T18" fmla="*/ 144 w 857"/>
                <a:gd name="T19" fmla="*/ 577 h 664"/>
                <a:gd name="T20" fmla="*/ 210 w 857"/>
                <a:gd name="T21" fmla="*/ 527 h 664"/>
                <a:gd name="T22" fmla="*/ 252 w 857"/>
                <a:gd name="T23" fmla="*/ 444 h 664"/>
                <a:gd name="T24" fmla="*/ 240 w 857"/>
                <a:gd name="T25" fmla="*/ 371 h 664"/>
                <a:gd name="T26" fmla="*/ 278 w 857"/>
                <a:gd name="T27" fmla="*/ 305 h 664"/>
                <a:gd name="T28" fmla="*/ 323 w 857"/>
                <a:gd name="T29" fmla="*/ 222 h 664"/>
                <a:gd name="T30" fmla="*/ 446 w 857"/>
                <a:gd name="T31" fmla="*/ 156 h 664"/>
                <a:gd name="T32" fmla="*/ 512 w 857"/>
                <a:gd name="T33" fmla="*/ 17 h 664"/>
                <a:gd name="T34" fmla="*/ 550 w 857"/>
                <a:gd name="T35" fmla="*/ 5 h 664"/>
                <a:gd name="T36" fmla="*/ 592 w 857"/>
                <a:gd name="T37" fmla="*/ 62 h 664"/>
                <a:gd name="T38" fmla="*/ 673 w 857"/>
                <a:gd name="T39" fmla="*/ 55 h 664"/>
                <a:gd name="T40" fmla="*/ 711 w 857"/>
                <a:gd name="T41" fmla="*/ 55 h 664"/>
                <a:gd name="T42" fmla="*/ 718 w 857"/>
                <a:gd name="T43" fmla="*/ 55 h 664"/>
                <a:gd name="T44" fmla="*/ 727 w 857"/>
                <a:gd name="T45" fmla="*/ 71 h 664"/>
                <a:gd name="T46" fmla="*/ 727 w 857"/>
                <a:gd name="T47" fmla="*/ 55 h 664"/>
                <a:gd name="T48" fmla="*/ 770 w 857"/>
                <a:gd name="T49" fmla="*/ 71 h 664"/>
                <a:gd name="T50" fmla="*/ 793 w 857"/>
                <a:gd name="T51" fmla="*/ 111 h 664"/>
                <a:gd name="T52" fmla="*/ 803 w 857"/>
                <a:gd name="T53" fmla="*/ 128 h 664"/>
                <a:gd name="T54" fmla="*/ 803 w 857"/>
                <a:gd name="T55" fmla="*/ 182 h 664"/>
                <a:gd name="T56" fmla="*/ 807 w 857"/>
                <a:gd name="T57" fmla="*/ 222 h 664"/>
                <a:gd name="T58" fmla="*/ 819 w 857"/>
                <a:gd name="T59" fmla="*/ 244 h 664"/>
                <a:gd name="T60" fmla="*/ 857 w 857"/>
                <a:gd name="T61" fmla="*/ 277 h 664"/>
                <a:gd name="T62" fmla="*/ 836 w 857"/>
                <a:gd name="T63" fmla="*/ 305 h 664"/>
                <a:gd name="T64" fmla="*/ 840 w 857"/>
                <a:gd name="T65" fmla="*/ 317 h 664"/>
                <a:gd name="T66" fmla="*/ 727 w 857"/>
                <a:gd name="T67" fmla="*/ 317 h 664"/>
                <a:gd name="T68" fmla="*/ 685 w 857"/>
                <a:gd name="T69" fmla="*/ 338 h 664"/>
                <a:gd name="T70" fmla="*/ 685 w 857"/>
                <a:gd name="T71" fmla="*/ 338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7" h="664">
                  <a:moveTo>
                    <a:pt x="685" y="338"/>
                  </a:moveTo>
                  <a:lnTo>
                    <a:pt x="656" y="350"/>
                  </a:lnTo>
                  <a:lnTo>
                    <a:pt x="656" y="388"/>
                  </a:lnTo>
                  <a:lnTo>
                    <a:pt x="673" y="392"/>
                  </a:lnTo>
                  <a:lnTo>
                    <a:pt x="673" y="404"/>
                  </a:lnTo>
                  <a:lnTo>
                    <a:pt x="642" y="404"/>
                  </a:lnTo>
                  <a:lnTo>
                    <a:pt x="618" y="428"/>
                  </a:lnTo>
                  <a:lnTo>
                    <a:pt x="576" y="444"/>
                  </a:lnTo>
                  <a:lnTo>
                    <a:pt x="555" y="470"/>
                  </a:lnTo>
                  <a:lnTo>
                    <a:pt x="538" y="487"/>
                  </a:lnTo>
                  <a:lnTo>
                    <a:pt x="479" y="499"/>
                  </a:lnTo>
                  <a:lnTo>
                    <a:pt x="462" y="515"/>
                  </a:lnTo>
                  <a:lnTo>
                    <a:pt x="425" y="503"/>
                  </a:lnTo>
                  <a:lnTo>
                    <a:pt x="316" y="577"/>
                  </a:lnTo>
                  <a:lnTo>
                    <a:pt x="316" y="664"/>
                  </a:lnTo>
                  <a:lnTo>
                    <a:pt x="0" y="664"/>
                  </a:lnTo>
                  <a:lnTo>
                    <a:pt x="25" y="638"/>
                  </a:lnTo>
                  <a:lnTo>
                    <a:pt x="80" y="631"/>
                  </a:lnTo>
                  <a:lnTo>
                    <a:pt x="118" y="610"/>
                  </a:lnTo>
                  <a:lnTo>
                    <a:pt x="144" y="577"/>
                  </a:lnTo>
                  <a:lnTo>
                    <a:pt x="188" y="560"/>
                  </a:lnTo>
                  <a:lnTo>
                    <a:pt x="210" y="527"/>
                  </a:lnTo>
                  <a:lnTo>
                    <a:pt x="248" y="466"/>
                  </a:lnTo>
                  <a:lnTo>
                    <a:pt x="252" y="444"/>
                  </a:lnTo>
                  <a:lnTo>
                    <a:pt x="240" y="428"/>
                  </a:lnTo>
                  <a:lnTo>
                    <a:pt x="240" y="371"/>
                  </a:lnTo>
                  <a:lnTo>
                    <a:pt x="248" y="338"/>
                  </a:lnTo>
                  <a:lnTo>
                    <a:pt x="278" y="305"/>
                  </a:lnTo>
                  <a:lnTo>
                    <a:pt x="278" y="277"/>
                  </a:lnTo>
                  <a:lnTo>
                    <a:pt x="323" y="222"/>
                  </a:lnTo>
                  <a:lnTo>
                    <a:pt x="403" y="189"/>
                  </a:lnTo>
                  <a:lnTo>
                    <a:pt x="446" y="156"/>
                  </a:lnTo>
                  <a:lnTo>
                    <a:pt x="484" y="95"/>
                  </a:lnTo>
                  <a:lnTo>
                    <a:pt x="512" y="17"/>
                  </a:lnTo>
                  <a:lnTo>
                    <a:pt x="550" y="0"/>
                  </a:lnTo>
                  <a:lnTo>
                    <a:pt x="550" y="5"/>
                  </a:lnTo>
                  <a:lnTo>
                    <a:pt x="555" y="29"/>
                  </a:lnTo>
                  <a:lnTo>
                    <a:pt x="592" y="62"/>
                  </a:lnTo>
                  <a:lnTo>
                    <a:pt x="618" y="62"/>
                  </a:lnTo>
                  <a:lnTo>
                    <a:pt x="673" y="55"/>
                  </a:lnTo>
                  <a:lnTo>
                    <a:pt x="694" y="62"/>
                  </a:lnTo>
                  <a:lnTo>
                    <a:pt x="711" y="55"/>
                  </a:lnTo>
                  <a:lnTo>
                    <a:pt x="718" y="45"/>
                  </a:lnTo>
                  <a:lnTo>
                    <a:pt x="718" y="55"/>
                  </a:lnTo>
                  <a:lnTo>
                    <a:pt x="718" y="55"/>
                  </a:lnTo>
                  <a:lnTo>
                    <a:pt x="727" y="71"/>
                  </a:lnTo>
                  <a:lnTo>
                    <a:pt x="732" y="71"/>
                  </a:lnTo>
                  <a:lnTo>
                    <a:pt x="727" y="55"/>
                  </a:lnTo>
                  <a:lnTo>
                    <a:pt x="739" y="71"/>
                  </a:lnTo>
                  <a:lnTo>
                    <a:pt x="770" y="71"/>
                  </a:lnTo>
                  <a:lnTo>
                    <a:pt x="803" y="99"/>
                  </a:lnTo>
                  <a:lnTo>
                    <a:pt x="793" y="111"/>
                  </a:lnTo>
                  <a:lnTo>
                    <a:pt x="807" y="116"/>
                  </a:lnTo>
                  <a:lnTo>
                    <a:pt x="803" y="128"/>
                  </a:lnTo>
                  <a:lnTo>
                    <a:pt x="807" y="149"/>
                  </a:lnTo>
                  <a:lnTo>
                    <a:pt x="803" y="182"/>
                  </a:lnTo>
                  <a:lnTo>
                    <a:pt x="807" y="189"/>
                  </a:lnTo>
                  <a:lnTo>
                    <a:pt x="807" y="222"/>
                  </a:lnTo>
                  <a:lnTo>
                    <a:pt x="824" y="239"/>
                  </a:lnTo>
                  <a:lnTo>
                    <a:pt x="819" y="244"/>
                  </a:lnTo>
                  <a:lnTo>
                    <a:pt x="824" y="260"/>
                  </a:lnTo>
                  <a:lnTo>
                    <a:pt x="857" y="277"/>
                  </a:lnTo>
                  <a:lnTo>
                    <a:pt x="840" y="293"/>
                  </a:lnTo>
                  <a:lnTo>
                    <a:pt x="836" y="305"/>
                  </a:lnTo>
                  <a:lnTo>
                    <a:pt x="840" y="305"/>
                  </a:lnTo>
                  <a:lnTo>
                    <a:pt x="840" y="317"/>
                  </a:lnTo>
                  <a:lnTo>
                    <a:pt x="765" y="305"/>
                  </a:lnTo>
                  <a:lnTo>
                    <a:pt x="727" y="317"/>
                  </a:lnTo>
                  <a:lnTo>
                    <a:pt x="718" y="333"/>
                  </a:lnTo>
                  <a:lnTo>
                    <a:pt x="685" y="338"/>
                  </a:lnTo>
                  <a:lnTo>
                    <a:pt x="685" y="338"/>
                  </a:lnTo>
                  <a:lnTo>
                    <a:pt x="685" y="338"/>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8" name="Freeform 509">
              <a:extLst>
                <a:ext uri="{FF2B5EF4-FFF2-40B4-BE49-F238E27FC236}">
                  <a16:creationId xmlns:a16="http://schemas.microsoft.com/office/drawing/2014/main" id="{F62CC9C7-8E7C-4BA3-9CAD-4E00B6F46A2B}"/>
                </a:ext>
              </a:extLst>
            </p:cNvPr>
            <p:cNvSpPr>
              <a:spLocks/>
            </p:cNvSpPr>
            <p:nvPr/>
          </p:nvSpPr>
          <p:spPr bwMode="gray">
            <a:xfrm>
              <a:off x="15059571" y="4592259"/>
              <a:ext cx="10146" cy="14074"/>
            </a:xfrm>
            <a:custGeom>
              <a:avLst/>
              <a:gdLst>
                <a:gd name="T0" fmla="*/ 16 w 31"/>
                <a:gd name="T1" fmla="*/ 43 h 43"/>
                <a:gd name="T2" fmla="*/ 0 w 31"/>
                <a:gd name="T3" fmla="*/ 31 h 43"/>
                <a:gd name="T4" fmla="*/ 9 w 31"/>
                <a:gd name="T5" fmla="*/ 17 h 43"/>
                <a:gd name="T6" fmla="*/ 21 w 31"/>
                <a:gd name="T7" fmla="*/ 0 h 43"/>
                <a:gd name="T8" fmla="*/ 31 w 31"/>
                <a:gd name="T9" fmla="*/ 26 h 43"/>
                <a:gd name="T10" fmla="*/ 21 w 31"/>
                <a:gd name="T11" fmla="*/ 31 h 43"/>
                <a:gd name="T12" fmla="*/ 16 w 31"/>
                <a:gd name="T13" fmla="*/ 43 h 43"/>
                <a:gd name="T14" fmla="*/ 16 w 31"/>
                <a:gd name="T15" fmla="*/ 43 h 43"/>
                <a:gd name="T16" fmla="*/ 16 w 31"/>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43">
                  <a:moveTo>
                    <a:pt x="16" y="43"/>
                  </a:moveTo>
                  <a:lnTo>
                    <a:pt x="0" y="31"/>
                  </a:lnTo>
                  <a:lnTo>
                    <a:pt x="9" y="17"/>
                  </a:lnTo>
                  <a:lnTo>
                    <a:pt x="21" y="0"/>
                  </a:lnTo>
                  <a:lnTo>
                    <a:pt x="31" y="26"/>
                  </a:lnTo>
                  <a:lnTo>
                    <a:pt x="21" y="31"/>
                  </a:lnTo>
                  <a:lnTo>
                    <a:pt x="16" y="43"/>
                  </a:lnTo>
                  <a:lnTo>
                    <a:pt x="16" y="43"/>
                  </a:lnTo>
                  <a:lnTo>
                    <a:pt x="16" y="43"/>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9" name="Freeform 510">
              <a:extLst>
                <a:ext uri="{FF2B5EF4-FFF2-40B4-BE49-F238E27FC236}">
                  <a16:creationId xmlns:a16="http://schemas.microsoft.com/office/drawing/2014/main" id="{C6EF40F7-685B-4663-B05D-3E0AF59A5BCF}"/>
                </a:ext>
              </a:extLst>
            </p:cNvPr>
            <p:cNvSpPr>
              <a:spLocks noEditPoints="1"/>
            </p:cNvSpPr>
            <p:nvPr/>
          </p:nvSpPr>
          <p:spPr bwMode="gray">
            <a:xfrm>
              <a:off x="13351737" y="3454249"/>
              <a:ext cx="280493" cy="312241"/>
            </a:xfrm>
            <a:custGeom>
              <a:avLst/>
              <a:gdLst>
                <a:gd name="T0" fmla="*/ 805 w 857"/>
                <a:gd name="T1" fmla="*/ 815 h 954"/>
                <a:gd name="T2" fmla="*/ 810 w 857"/>
                <a:gd name="T3" fmla="*/ 898 h 954"/>
                <a:gd name="T4" fmla="*/ 541 w 857"/>
                <a:gd name="T5" fmla="*/ 881 h 954"/>
                <a:gd name="T6" fmla="*/ 534 w 857"/>
                <a:gd name="T7" fmla="*/ 898 h 954"/>
                <a:gd name="T8" fmla="*/ 449 w 857"/>
                <a:gd name="T9" fmla="*/ 898 h 954"/>
                <a:gd name="T10" fmla="*/ 394 w 857"/>
                <a:gd name="T11" fmla="*/ 881 h 954"/>
                <a:gd name="T12" fmla="*/ 361 w 857"/>
                <a:gd name="T13" fmla="*/ 942 h 954"/>
                <a:gd name="T14" fmla="*/ 340 w 857"/>
                <a:gd name="T15" fmla="*/ 942 h 954"/>
                <a:gd name="T16" fmla="*/ 297 w 857"/>
                <a:gd name="T17" fmla="*/ 909 h 954"/>
                <a:gd name="T18" fmla="*/ 286 w 857"/>
                <a:gd name="T19" fmla="*/ 898 h 954"/>
                <a:gd name="T20" fmla="*/ 269 w 857"/>
                <a:gd name="T21" fmla="*/ 881 h 954"/>
                <a:gd name="T22" fmla="*/ 248 w 857"/>
                <a:gd name="T23" fmla="*/ 848 h 954"/>
                <a:gd name="T24" fmla="*/ 231 w 857"/>
                <a:gd name="T25" fmla="*/ 843 h 954"/>
                <a:gd name="T26" fmla="*/ 194 w 857"/>
                <a:gd name="T27" fmla="*/ 810 h 954"/>
                <a:gd name="T28" fmla="*/ 104 w 857"/>
                <a:gd name="T29" fmla="*/ 815 h 954"/>
                <a:gd name="T30" fmla="*/ 38 w 857"/>
                <a:gd name="T31" fmla="*/ 848 h 954"/>
                <a:gd name="T32" fmla="*/ 71 w 857"/>
                <a:gd name="T33" fmla="*/ 732 h 954"/>
                <a:gd name="T34" fmla="*/ 66 w 857"/>
                <a:gd name="T35" fmla="*/ 643 h 954"/>
                <a:gd name="T36" fmla="*/ 54 w 857"/>
                <a:gd name="T37" fmla="*/ 593 h 954"/>
                <a:gd name="T38" fmla="*/ 54 w 857"/>
                <a:gd name="T39" fmla="*/ 572 h 954"/>
                <a:gd name="T40" fmla="*/ 38 w 857"/>
                <a:gd name="T41" fmla="*/ 510 h 954"/>
                <a:gd name="T42" fmla="*/ 33 w 857"/>
                <a:gd name="T43" fmla="*/ 510 h 954"/>
                <a:gd name="T44" fmla="*/ 0 w 857"/>
                <a:gd name="T45" fmla="*/ 498 h 954"/>
                <a:gd name="T46" fmla="*/ 194 w 857"/>
                <a:gd name="T47" fmla="*/ 461 h 954"/>
                <a:gd name="T48" fmla="*/ 281 w 857"/>
                <a:gd name="T49" fmla="*/ 338 h 954"/>
                <a:gd name="T50" fmla="*/ 357 w 857"/>
                <a:gd name="T51" fmla="*/ 300 h 954"/>
                <a:gd name="T52" fmla="*/ 588 w 857"/>
                <a:gd name="T53" fmla="*/ 106 h 954"/>
                <a:gd name="T54" fmla="*/ 857 w 857"/>
                <a:gd name="T55" fmla="*/ 184 h 954"/>
                <a:gd name="T56" fmla="*/ 751 w 857"/>
                <a:gd name="T57" fmla="*/ 333 h 954"/>
                <a:gd name="T58" fmla="*/ 751 w 857"/>
                <a:gd name="T59" fmla="*/ 333 h 954"/>
                <a:gd name="T60" fmla="*/ 38 w 857"/>
                <a:gd name="T61" fmla="*/ 576 h 954"/>
                <a:gd name="T62" fmla="*/ 49 w 857"/>
                <a:gd name="T63" fmla="*/ 588 h 954"/>
                <a:gd name="T64" fmla="*/ 49 w 857"/>
                <a:gd name="T65" fmla="*/ 58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7" h="954">
                  <a:moveTo>
                    <a:pt x="751" y="333"/>
                  </a:moveTo>
                  <a:lnTo>
                    <a:pt x="805" y="815"/>
                  </a:lnTo>
                  <a:lnTo>
                    <a:pt x="827" y="831"/>
                  </a:lnTo>
                  <a:lnTo>
                    <a:pt x="810" y="898"/>
                  </a:lnTo>
                  <a:lnTo>
                    <a:pt x="541" y="898"/>
                  </a:lnTo>
                  <a:lnTo>
                    <a:pt x="541" y="881"/>
                  </a:lnTo>
                  <a:lnTo>
                    <a:pt x="534" y="886"/>
                  </a:lnTo>
                  <a:lnTo>
                    <a:pt x="534" y="898"/>
                  </a:lnTo>
                  <a:lnTo>
                    <a:pt x="496" y="902"/>
                  </a:lnTo>
                  <a:lnTo>
                    <a:pt x="449" y="898"/>
                  </a:lnTo>
                  <a:lnTo>
                    <a:pt x="432" y="921"/>
                  </a:lnTo>
                  <a:lnTo>
                    <a:pt x="394" y="881"/>
                  </a:lnTo>
                  <a:lnTo>
                    <a:pt x="378" y="886"/>
                  </a:lnTo>
                  <a:lnTo>
                    <a:pt x="361" y="942"/>
                  </a:lnTo>
                  <a:lnTo>
                    <a:pt x="352" y="954"/>
                  </a:lnTo>
                  <a:lnTo>
                    <a:pt x="340" y="942"/>
                  </a:lnTo>
                  <a:lnTo>
                    <a:pt x="319" y="926"/>
                  </a:lnTo>
                  <a:lnTo>
                    <a:pt x="297" y="909"/>
                  </a:lnTo>
                  <a:lnTo>
                    <a:pt x="297" y="902"/>
                  </a:lnTo>
                  <a:lnTo>
                    <a:pt x="286" y="898"/>
                  </a:lnTo>
                  <a:lnTo>
                    <a:pt x="281" y="898"/>
                  </a:lnTo>
                  <a:lnTo>
                    <a:pt x="269" y="881"/>
                  </a:lnTo>
                  <a:lnTo>
                    <a:pt x="255" y="848"/>
                  </a:lnTo>
                  <a:lnTo>
                    <a:pt x="248" y="848"/>
                  </a:lnTo>
                  <a:lnTo>
                    <a:pt x="243" y="848"/>
                  </a:lnTo>
                  <a:lnTo>
                    <a:pt x="231" y="843"/>
                  </a:lnTo>
                  <a:lnTo>
                    <a:pt x="227" y="848"/>
                  </a:lnTo>
                  <a:lnTo>
                    <a:pt x="194" y="810"/>
                  </a:lnTo>
                  <a:lnTo>
                    <a:pt x="146" y="798"/>
                  </a:lnTo>
                  <a:lnTo>
                    <a:pt x="104" y="815"/>
                  </a:lnTo>
                  <a:lnTo>
                    <a:pt x="54" y="815"/>
                  </a:lnTo>
                  <a:lnTo>
                    <a:pt x="38" y="848"/>
                  </a:lnTo>
                  <a:lnTo>
                    <a:pt x="38" y="810"/>
                  </a:lnTo>
                  <a:lnTo>
                    <a:pt x="71" y="732"/>
                  </a:lnTo>
                  <a:lnTo>
                    <a:pt x="71" y="676"/>
                  </a:lnTo>
                  <a:lnTo>
                    <a:pt x="66" y="643"/>
                  </a:lnTo>
                  <a:lnTo>
                    <a:pt x="38" y="605"/>
                  </a:lnTo>
                  <a:lnTo>
                    <a:pt x="54" y="593"/>
                  </a:lnTo>
                  <a:lnTo>
                    <a:pt x="38" y="605"/>
                  </a:lnTo>
                  <a:lnTo>
                    <a:pt x="54" y="572"/>
                  </a:lnTo>
                  <a:lnTo>
                    <a:pt x="66" y="539"/>
                  </a:lnTo>
                  <a:lnTo>
                    <a:pt x="38" y="510"/>
                  </a:lnTo>
                  <a:lnTo>
                    <a:pt x="38" y="515"/>
                  </a:lnTo>
                  <a:lnTo>
                    <a:pt x="33" y="510"/>
                  </a:lnTo>
                  <a:lnTo>
                    <a:pt x="12" y="465"/>
                  </a:lnTo>
                  <a:lnTo>
                    <a:pt x="0" y="498"/>
                  </a:lnTo>
                  <a:lnTo>
                    <a:pt x="12" y="461"/>
                  </a:lnTo>
                  <a:lnTo>
                    <a:pt x="194" y="461"/>
                  </a:lnTo>
                  <a:lnTo>
                    <a:pt x="286" y="461"/>
                  </a:lnTo>
                  <a:lnTo>
                    <a:pt x="281" y="338"/>
                  </a:lnTo>
                  <a:lnTo>
                    <a:pt x="319" y="312"/>
                  </a:lnTo>
                  <a:lnTo>
                    <a:pt x="357" y="300"/>
                  </a:lnTo>
                  <a:lnTo>
                    <a:pt x="357" y="106"/>
                  </a:lnTo>
                  <a:lnTo>
                    <a:pt x="588" y="106"/>
                  </a:lnTo>
                  <a:lnTo>
                    <a:pt x="588" y="0"/>
                  </a:lnTo>
                  <a:lnTo>
                    <a:pt x="857" y="184"/>
                  </a:lnTo>
                  <a:lnTo>
                    <a:pt x="734" y="184"/>
                  </a:lnTo>
                  <a:lnTo>
                    <a:pt x="751" y="333"/>
                  </a:lnTo>
                  <a:lnTo>
                    <a:pt x="751" y="333"/>
                  </a:lnTo>
                  <a:lnTo>
                    <a:pt x="751" y="333"/>
                  </a:lnTo>
                  <a:close/>
                  <a:moveTo>
                    <a:pt x="49" y="588"/>
                  </a:moveTo>
                  <a:lnTo>
                    <a:pt x="38" y="576"/>
                  </a:lnTo>
                  <a:lnTo>
                    <a:pt x="49" y="572"/>
                  </a:lnTo>
                  <a:lnTo>
                    <a:pt x="49" y="588"/>
                  </a:lnTo>
                  <a:lnTo>
                    <a:pt x="49" y="588"/>
                  </a:lnTo>
                  <a:lnTo>
                    <a:pt x="49" y="588"/>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0" name="Freeform 511">
              <a:extLst>
                <a:ext uri="{FF2B5EF4-FFF2-40B4-BE49-F238E27FC236}">
                  <a16:creationId xmlns:a16="http://schemas.microsoft.com/office/drawing/2014/main" id="{FE7CC3D5-EBEF-4168-A95C-702C769621A6}"/>
                </a:ext>
              </a:extLst>
            </p:cNvPr>
            <p:cNvSpPr>
              <a:spLocks noEditPoints="1"/>
            </p:cNvSpPr>
            <p:nvPr/>
          </p:nvSpPr>
          <p:spPr bwMode="gray">
            <a:xfrm>
              <a:off x="14069171" y="3225468"/>
              <a:ext cx="7855" cy="8510"/>
            </a:xfrm>
            <a:custGeom>
              <a:avLst/>
              <a:gdLst>
                <a:gd name="T0" fmla="*/ 7 w 24"/>
                <a:gd name="T1" fmla="*/ 12 h 26"/>
                <a:gd name="T2" fmla="*/ 0 w 24"/>
                <a:gd name="T3" fmla="*/ 0 h 26"/>
                <a:gd name="T4" fmla="*/ 7 w 24"/>
                <a:gd name="T5" fmla="*/ 0 h 26"/>
                <a:gd name="T6" fmla="*/ 7 w 24"/>
                <a:gd name="T7" fmla="*/ 12 h 26"/>
                <a:gd name="T8" fmla="*/ 7 w 24"/>
                <a:gd name="T9" fmla="*/ 12 h 26"/>
                <a:gd name="T10" fmla="*/ 7 w 24"/>
                <a:gd name="T11" fmla="*/ 12 h 26"/>
                <a:gd name="T12" fmla="*/ 24 w 24"/>
                <a:gd name="T13" fmla="*/ 26 h 26"/>
                <a:gd name="T14" fmla="*/ 7 w 24"/>
                <a:gd name="T15" fmla="*/ 16 h 26"/>
                <a:gd name="T16" fmla="*/ 7 w 24"/>
                <a:gd name="T17" fmla="*/ 12 h 26"/>
                <a:gd name="T18" fmla="*/ 24 w 24"/>
                <a:gd name="T19" fmla="*/ 16 h 26"/>
                <a:gd name="T20" fmla="*/ 24 w 24"/>
                <a:gd name="T21" fmla="*/ 26 h 26"/>
                <a:gd name="T22" fmla="*/ 24 w 24"/>
                <a:gd name="T23" fmla="*/ 26 h 26"/>
                <a:gd name="T24" fmla="*/ 24 w 24"/>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6">
                  <a:moveTo>
                    <a:pt x="7" y="12"/>
                  </a:moveTo>
                  <a:lnTo>
                    <a:pt x="0" y="0"/>
                  </a:lnTo>
                  <a:lnTo>
                    <a:pt x="7" y="0"/>
                  </a:lnTo>
                  <a:lnTo>
                    <a:pt x="7" y="12"/>
                  </a:lnTo>
                  <a:lnTo>
                    <a:pt x="7" y="12"/>
                  </a:lnTo>
                  <a:lnTo>
                    <a:pt x="7" y="12"/>
                  </a:lnTo>
                  <a:close/>
                  <a:moveTo>
                    <a:pt x="24" y="26"/>
                  </a:moveTo>
                  <a:lnTo>
                    <a:pt x="7" y="16"/>
                  </a:lnTo>
                  <a:lnTo>
                    <a:pt x="7" y="12"/>
                  </a:lnTo>
                  <a:lnTo>
                    <a:pt x="24" y="16"/>
                  </a:lnTo>
                  <a:lnTo>
                    <a:pt x="24" y="26"/>
                  </a:lnTo>
                  <a:lnTo>
                    <a:pt x="24" y="26"/>
                  </a:lnTo>
                  <a:lnTo>
                    <a:pt x="24" y="26"/>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1" name="Freeform 512">
              <a:extLst>
                <a:ext uri="{FF2B5EF4-FFF2-40B4-BE49-F238E27FC236}">
                  <a16:creationId xmlns:a16="http://schemas.microsoft.com/office/drawing/2014/main" id="{5C408360-0E4F-4384-904A-091C3279518A}"/>
                </a:ext>
              </a:extLst>
            </p:cNvPr>
            <p:cNvSpPr>
              <a:spLocks noEditPoints="1"/>
            </p:cNvSpPr>
            <p:nvPr/>
          </p:nvSpPr>
          <p:spPr bwMode="gray">
            <a:xfrm>
              <a:off x="14938798" y="3476832"/>
              <a:ext cx="178704" cy="241872"/>
            </a:xfrm>
            <a:custGeom>
              <a:avLst/>
              <a:gdLst>
                <a:gd name="T0" fmla="*/ 282 w 546"/>
                <a:gd name="T1" fmla="*/ 56 h 739"/>
                <a:gd name="T2" fmla="*/ 282 w 546"/>
                <a:gd name="T3" fmla="*/ 23 h 739"/>
                <a:gd name="T4" fmla="*/ 307 w 546"/>
                <a:gd name="T5" fmla="*/ 16 h 739"/>
                <a:gd name="T6" fmla="*/ 298 w 546"/>
                <a:gd name="T7" fmla="*/ 0 h 739"/>
                <a:gd name="T8" fmla="*/ 307 w 546"/>
                <a:gd name="T9" fmla="*/ 7 h 739"/>
                <a:gd name="T10" fmla="*/ 298 w 546"/>
                <a:gd name="T11" fmla="*/ 16 h 739"/>
                <a:gd name="T12" fmla="*/ 298 w 546"/>
                <a:gd name="T13" fmla="*/ 56 h 739"/>
                <a:gd name="T14" fmla="*/ 298 w 546"/>
                <a:gd name="T15" fmla="*/ 56 h 739"/>
                <a:gd name="T16" fmla="*/ 0 w 546"/>
                <a:gd name="T17" fmla="*/ 562 h 739"/>
                <a:gd name="T18" fmla="*/ 253 w 546"/>
                <a:gd name="T19" fmla="*/ 333 h 739"/>
                <a:gd name="T20" fmla="*/ 222 w 546"/>
                <a:gd name="T21" fmla="*/ 255 h 739"/>
                <a:gd name="T22" fmla="*/ 244 w 546"/>
                <a:gd name="T23" fmla="*/ 184 h 739"/>
                <a:gd name="T24" fmla="*/ 274 w 546"/>
                <a:gd name="T25" fmla="*/ 167 h 739"/>
                <a:gd name="T26" fmla="*/ 260 w 546"/>
                <a:gd name="T27" fmla="*/ 118 h 739"/>
                <a:gd name="T28" fmla="*/ 282 w 546"/>
                <a:gd name="T29" fmla="*/ 118 h 739"/>
                <a:gd name="T30" fmla="*/ 282 w 546"/>
                <a:gd name="T31" fmla="*/ 127 h 739"/>
                <a:gd name="T32" fmla="*/ 298 w 546"/>
                <a:gd name="T33" fmla="*/ 111 h 739"/>
                <a:gd name="T34" fmla="*/ 362 w 546"/>
                <a:gd name="T35" fmla="*/ 188 h 739"/>
                <a:gd name="T36" fmla="*/ 459 w 546"/>
                <a:gd name="T37" fmla="*/ 212 h 739"/>
                <a:gd name="T38" fmla="*/ 546 w 546"/>
                <a:gd name="T39" fmla="*/ 295 h 739"/>
                <a:gd name="T40" fmla="*/ 513 w 546"/>
                <a:gd name="T41" fmla="*/ 382 h 739"/>
                <a:gd name="T42" fmla="*/ 454 w 546"/>
                <a:gd name="T43" fmla="*/ 451 h 739"/>
                <a:gd name="T44" fmla="*/ 437 w 546"/>
                <a:gd name="T45" fmla="*/ 444 h 739"/>
                <a:gd name="T46" fmla="*/ 404 w 546"/>
                <a:gd name="T47" fmla="*/ 467 h 739"/>
                <a:gd name="T48" fmla="*/ 404 w 546"/>
                <a:gd name="T49" fmla="*/ 562 h 739"/>
                <a:gd name="T50" fmla="*/ 329 w 546"/>
                <a:gd name="T51" fmla="*/ 578 h 739"/>
                <a:gd name="T52" fmla="*/ 312 w 546"/>
                <a:gd name="T53" fmla="*/ 628 h 739"/>
                <a:gd name="T54" fmla="*/ 237 w 546"/>
                <a:gd name="T55" fmla="*/ 649 h 739"/>
                <a:gd name="T56" fmla="*/ 227 w 546"/>
                <a:gd name="T57" fmla="*/ 682 h 739"/>
                <a:gd name="T58" fmla="*/ 189 w 546"/>
                <a:gd name="T59" fmla="*/ 715 h 739"/>
                <a:gd name="T60" fmla="*/ 147 w 546"/>
                <a:gd name="T61" fmla="*/ 706 h 739"/>
                <a:gd name="T62" fmla="*/ 76 w 546"/>
                <a:gd name="T63" fmla="*/ 739 h 739"/>
                <a:gd name="T64" fmla="*/ 76 w 546"/>
                <a:gd name="T65" fmla="*/ 739 h 739"/>
                <a:gd name="T66" fmla="*/ 459 w 546"/>
                <a:gd name="T67" fmla="*/ 460 h 739"/>
                <a:gd name="T68" fmla="*/ 487 w 546"/>
                <a:gd name="T69" fmla="*/ 451 h 739"/>
                <a:gd name="T70" fmla="*/ 459 w 546"/>
                <a:gd name="T71" fmla="*/ 477 h 739"/>
                <a:gd name="T72" fmla="*/ 274 w 546"/>
                <a:gd name="T73" fmla="*/ 673 h 739"/>
                <a:gd name="T74" fmla="*/ 282 w 546"/>
                <a:gd name="T75" fmla="*/ 673 h 739"/>
                <a:gd name="T76" fmla="*/ 274 w 546"/>
                <a:gd name="T77" fmla="*/ 673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6" h="739">
                  <a:moveTo>
                    <a:pt x="298" y="56"/>
                  </a:moveTo>
                  <a:lnTo>
                    <a:pt x="282" y="56"/>
                  </a:lnTo>
                  <a:lnTo>
                    <a:pt x="291" y="33"/>
                  </a:lnTo>
                  <a:lnTo>
                    <a:pt x="282" y="23"/>
                  </a:lnTo>
                  <a:lnTo>
                    <a:pt x="291" y="7"/>
                  </a:lnTo>
                  <a:lnTo>
                    <a:pt x="307" y="16"/>
                  </a:lnTo>
                  <a:lnTo>
                    <a:pt x="298" y="16"/>
                  </a:lnTo>
                  <a:lnTo>
                    <a:pt x="298" y="0"/>
                  </a:lnTo>
                  <a:lnTo>
                    <a:pt x="312" y="0"/>
                  </a:lnTo>
                  <a:lnTo>
                    <a:pt x="307" y="7"/>
                  </a:lnTo>
                  <a:lnTo>
                    <a:pt x="307" y="16"/>
                  </a:lnTo>
                  <a:lnTo>
                    <a:pt x="298" y="16"/>
                  </a:lnTo>
                  <a:lnTo>
                    <a:pt x="307" y="23"/>
                  </a:lnTo>
                  <a:lnTo>
                    <a:pt x="298" y="56"/>
                  </a:lnTo>
                  <a:lnTo>
                    <a:pt x="298" y="56"/>
                  </a:lnTo>
                  <a:lnTo>
                    <a:pt x="298" y="56"/>
                  </a:lnTo>
                  <a:close/>
                  <a:moveTo>
                    <a:pt x="76" y="739"/>
                  </a:moveTo>
                  <a:lnTo>
                    <a:pt x="0" y="562"/>
                  </a:lnTo>
                  <a:lnTo>
                    <a:pt x="206" y="484"/>
                  </a:lnTo>
                  <a:lnTo>
                    <a:pt x="253" y="333"/>
                  </a:lnTo>
                  <a:lnTo>
                    <a:pt x="222" y="283"/>
                  </a:lnTo>
                  <a:lnTo>
                    <a:pt x="222" y="255"/>
                  </a:lnTo>
                  <a:lnTo>
                    <a:pt x="244" y="200"/>
                  </a:lnTo>
                  <a:lnTo>
                    <a:pt x="244" y="184"/>
                  </a:lnTo>
                  <a:lnTo>
                    <a:pt x="274" y="172"/>
                  </a:lnTo>
                  <a:lnTo>
                    <a:pt x="274" y="167"/>
                  </a:lnTo>
                  <a:lnTo>
                    <a:pt x="260" y="167"/>
                  </a:lnTo>
                  <a:lnTo>
                    <a:pt x="260" y="118"/>
                  </a:lnTo>
                  <a:lnTo>
                    <a:pt x="274" y="111"/>
                  </a:lnTo>
                  <a:lnTo>
                    <a:pt x="282" y="118"/>
                  </a:lnTo>
                  <a:lnTo>
                    <a:pt x="274" y="118"/>
                  </a:lnTo>
                  <a:lnTo>
                    <a:pt x="282" y="127"/>
                  </a:lnTo>
                  <a:lnTo>
                    <a:pt x="298" y="118"/>
                  </a:lnTo>
                  <a:lnTo>
                    <a:pt x="298" y="111"/>
                  </a:lnTo>
                  <a:lnTo>
                    <a:pt x="324" y="151"/>
                  </a:lnTo>
                  <a:lnTo>
                    <a:pt x="362" y="188"/>
                  </a:lnTo>
                  <a:lnTo>
                    <a:pt x="437" y="212"/>
                  </a:lnTo>
                  <a:lnTo>
                    <a:pt x="459" y="212"/>
                  </a:lnTo>
                  <a:lnTo>
                    <a:pt x="513" y="283"/>
                  </a:lnTo>
                  <a:lnTo>
                    <a:pt x="546" y="295"/>
                  </a:lnTo>
                  <a:lnTo>
                    <a:pt x="546" y="316"/>
                  </a:lnTo>
                  <a:lnTo>
                    <a:pt x="513" y="382"/>
                  </a:lnTo>
                  <a:lnTo>
                    <a:pt x="475" y="411"/>
                  </a:lnTo>
                  <a:lnTo>
                    <a:pt x="454" y="451"/>
                  </a:lnTo>
                  <a:lnTo>
                    <a:pt x="433" y="460"/>
                  </a:lnTo>
                  <a:lnTo>
                    <a:pt x="437" y="444"/>
                  </a:lnTo>
                  <a:lnTo>
                    <a:pt x="433" y="444"/>
                  </a:lnTo>
                  <a:lnTo>
                    <a:pt x="404" y="467"/>
                  </a:lnTo>
                  <a:lnTo>
                    <a:pt x="388" y="505"/>
                  </a:lnTo>
                  <a:lnTo>
                    <a:pt x="404" y="562"/>
                  </a:lnTo>
                  <a:lnTo>
                    <a:pt x="362" y="571"/>
                  </a:lnTo>
                  <a:lnTo>
                    <a:pt x="329" y="578"/>
                  </a:lnTo>
                  <a:lnTo>
                    <a:pt x="324" y="595"/>
                  </a:lnTo>
                  <a:lnTo>
                    <a:pt x="312" y="628"/>
                  </a:lnTo>
                  <a:lnTo>
                    <a:pt x="298" y="644"/>
                  </a:lnTo>
                  <a:lnTo>
                    <a:pt x="237" y="649"/>
                  </a:lnTo>
                  <a:lnTo>
                    <a:pt x="222" y="673"/>
                  </a:lnTo>
                  <a:lnTo>
                    <a:pt x="227" y="682"/>
                  </a:lnTo>
                  <a:lnTo>
                    <a:pt x="206" y="706"/>
                  </a:lnTo>
                  <a:lnTo>
                    <a:pt x="189" y="715"/>
                  </a:lnTo>
                  <a:lnTo>
                    <a:pt x="173" y="706"/>
                  </a:lnTo>
                  <a:lnTo>
                    <a:pt x="147" y="706"/>
                  </a:lnTo>
                  <a:lnTo>
                    <a:pt x="109" y="727"/>
                  </a:lnTo>
                  <a:lnTo>
                    <a:pt x="76" y="739"/>
                  </a:lnTo>
                  <a:lnTo>
                    <a:pt x="76" y="739"/>
                  </a:lnTo>
                  <a:lnTo>
                    <a:pt x="76" y="739"/>
                  </a:lnTo>
                  <a:close/>
                  <a:moveTo>
                    <a:pt x="459" y="477"/>
                  </a:moveTo>
                  <a:lnTo>
                    <a:pt x="459" y="460"/>
                  </a:lnTo>
                  <a:lnTo>
                    <a:pt x="487" y="439"/>
                  </a:lnTo>
                  <a:lnTo>
                    <a:pt x="487" y="451"/>
                  </a:lnTo>
                  <a:lnTo>
                    <a:pt x="459" y="477"/>
                  </a:lnTo>
                  <a:lnTo>
                    <a:pt x="459" y="477"/>
                  </a:lnTo>
                  <a:lnTo>
                    <a:pt x="459" y="477"/>
                  </a:lnTo>
                  <a:close/>
                  <a:moveTo>
                    <a:pt x="274" y="673"/>
                  </a:moveTo>
                  <a:lnTo>
                    <a:pt x="274" y="673"/>
                  </a:lnTo>
                  <a:lnTo>
                    <a:pt x="282" y="673"/>
                  </a:lnTo>
                  <a:lnTo>
                    <a:pt x="274" y="673"/>
                  </a:lnTo>
                  <a:lnTo>
                    <a:pt x="274" y="673"/>
                  </a:lnTo>
                  <a:lnTo>
                    <a:pt x="274" y="673"/>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2" name="Freeform 513">
              <a:extLst>
                <a:ext uri="{FF2B5EF4-FFF2-40B4-BE49-F238E27FC236}">
                  <a16:creationId xmlns:a16="http://schemas.microsoft.com/office/drawing/2014/main" id="{3FEA7E3D-4199-4A3E-9D67-A82FB93519C8}"/>
                </a:ext>
              </a:extLst>
            </p:cNvPr>
            <p:cNvSpPr>
              <a:spLocks/>
            </p:cNvSpPr>
            <p:nvPr/>
          </p:nvSpPr>
          <p:spPr bwMode="gray">
            <a:xfrm>
              <a:off x="14168996" y="3017308"/>
              <a:ext cx="42549" cy="48113"/>
            </a:xfrm>
            <a:custGeom>
              <a:avLst/>
              <a:gdLst>
                <a:gd name="T0" fmla="*/ 0 w 130"/>
                <a:gd name="T1" fmla="*/ 90 h 147"/>
                <a:gd name="T2" fmla="*/ 7 w 130"/>
                <a:gd name="T3" fmla="*/ 81 h 147"/>
                <a:gd name="T4" fmla="*/ 0 w 130"/>
                <a:gd name="T5" fmla="*/ 62 h 147"/>
                <a:gd name="T6" fmla="*/ 0 w 130"/>
                <a:gd name="T7" fmla="*/ 45 h 147"/>
                <a:gd name="T8" fmla="*/ 16 w 130"/>
                <a:gd name="T9" fmla="*/ 41 h 147"/>
                <a:gd name="T10" fmla="*/ 16 w 130"/>
                <a:gd name="T11" fmla="*/ 24 h 147"/>
                <a:gd name="T12" fmla="*/ 28 w 130"/>
                <a:gd name="T13" fmla="*/ 17 h 147"/>
                <a:gd name="T14" fmla="*/ 37 w 130"/>
                <a:gd name="T15" fmla="*/ 24 h 147"/>
                <a:gd name="T16" fmla="*/ 45 w 130"/>
                <a:gd name="T17" fmla="*/ 17 h 147"/>
                <a:gd name="T18" fmla="*/ 28 w 130"/>
                <a:gd name="T19" fmla="*/ 0 h 147"/>
                <a:gd name="T20" fmla="*/ 54 w 130"/>
                <a:gd name="T21" fmla="*/ 0 h 147"/>
                <a:gd name="T22" fmla="*/ 87 w 130"/>
                <a:gd name="T23" fmla="*/ 36 h 147"/>
                <a:gd name="T24" fmla="*/ 130 w 130"/>
                <a:gd name="T25" fmla="*/ 57 h 147"/>
                <a:gd name="T26" fmla="*/ 130 w 130"/>
                <a:gd name="T27" fmla="*/ 62 h 147"/>
                <a:gd name="T28" fmla="*/ 125 w 130"/>
                <a:gd name="T29" fmla="*/ 62 h 147"/>
                <a:gd name="T30" fmla="*/ 108 w 130"/>
                <a:gd name="T31" fmla="*/ 74 h 147"/>
                <a:gd name="T32" fmla="*/ 113 w 130"/>
                <a:gd name="T33" fmla="*/ 81 h 147"/>
                <a:gd name="T34" fmla="*/ 108 w 130"/>
                <a:gd name="T35" fmla="*/ 90 h 147"/>
                <a:gd name="T36" fmla="*/ 92 w 130"/>
                <a:gd name="T37" fmla="*/ 97 h 147"/>
                <a:gd name="T38" fmla="*/ 92 w 130"/>
                <a:gd name="T39" fmla="*/ 81 h 147"/>
                <a:gd name="T40" fmla="*/ 87 w 130"/>
                <a:gd name="T41" fmla="*/ 81 h 147"/>
                <a:gd name="T42" fmla="*/ 54 w 130"/>
                <a:gd name="T43" fmla="*/ 118 h 147"/>
                <a:gd name="T44" fmla="*/ 59 w 130"/>
                <a:gd name="T45" fmla="*/ 130 h 147"/>
                <a:gd name="T46" fmla="*/ 59 w 130"/>
                <a:gd name="T47" fmla="*/ 147 h 147"/>
                <a:gd name="T48" fmla="*/ 45 w 130"/>
                <a:gd name="T49" fmla="*/ 135 h 147"/>
                <a:gd name="T50" fmla="*/ 28 w 130"/>
                <a:gd name="T51" fmla="*/ 114 h 147"/>
                <a:gd name="T52" fmla="*/ 7 w 130"/>
                <a:gd name="T53" fmla="*/ 97 h 147"/>
                <a:gd name="T54" fmla="*/ 16 w 130"/>
                <a:gd name="T55" fmla="*/ 102 h 147"/>
                <a:gd name="T56" fmla="*/ 16 w 130"/>
                <a:gd name="T57" fmla="*/ 97 h 147"/>
                <a:gd name="T58" fmla="*/ 0 w 130"/>
                <a:gd name="T59" fmla="*/ 97 h 147"/>
                <a:gd name="T60" fmla="*/ 0 w 130"/>
                <a:gd name="T61" fmla="*/ 90 h 147"/>
                <a:gd name="T62" fmla="*/ 0 w 130"/>
                <a:gd name="T63" fmla="*/ 90 h 147"/>
                <a:gd name="T64" fmla="*/ 0 w 130"/>
                <a:gd name="T65" fmla="*/ 9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 h="147">
                  <a:moveTo>
                    <a:pt x="0" y="90"/>
                  </a:moveTo>
                  <a:lnTo>
                    <a:pt x="7" y="81"/>
                  </a:lnTo>
                  <a:lnTo>
                    <a:pt x="0" y="62"/>
                  </a:lnTo>
                  <a:lnTo>
                    <a:pt x="0" y="45"/>
                  </a:lnTo>
                  <a:lnTo>
                    <a:pt x="16" y="41"/>
                  </a:lnTo>
                  <a:lnTo>
                    <a:pt x="16" y="24"/>
                  </a:lnTo>
                  <a:lnTo>
                    <a:pt x="28" y="17"/>
                  </a:lnTo>
                  <a:lnTo>
                    <a:pt x="37" y="24"/>
                  </a:lnTo>
                  <a:lnTo>
                    <a:pt x="45" y="17"/>
                  </a:lnTo>
                  <a:lnTo>
                    <a:pt x="28" y="0"/>
                  </a:lnTo>
                  <a:lnTo>
                    <a:pt x="54" y="0"/>
                  </a:lnTo>
                  <a:lnTo>
                    <a:pt x="87" y="36"/>
                  </a:lnTo>
                  <a:lnTo>
                    <a:pt x="130" y="57"/>
                  </a:lnTo>
                  <a:lnTo>
                    <a:pt x="130" y="62"/>
                  </a:lnTo>
                  <a:lnTo>
                    <a:pt x="125" y="62"/>
                  </a:lnTo>
                  <a:lnTo>
                    <a:pt x="108" y="74"/>
                  </a:lnTo>
                  <a:lnTo>
                    <a:pt x="113" y="81"/>
                  </a:lnTo>
                  <a:lnTo>
                    <a:pt x="108" y="90"/>
                  </a:lnTo>
                  <a:lnTo>
                    <a:pt x="92" y="97"/>
                  </a:lnTo>
                  <a:lnTo>
                    <a:pt x="92" y="81"/>
                  </a:lnTo>
                  <a:lnTo>
                    <a:pt x="87" y="81"/>
                  </a:lnTo>
                  <a:lnTo>
                    <a:pt x="54" y="118"/>
                  </a:lnTo>
                  <a:lnTo>
                    <a:pt x="59" y="130"/>
                  </a:lnTo>
                  <a:lnTo>
                    <a:pt x="59" y="147"/>
                  </a:lnTo>
                  <a:lnTo>
                    <a:pt x="45" y="135"/>
                  </a:lnTo>
                  <a:lnTo>
                    <a:pt x="28" y="114"/>
                  </a:lnTo>
                  <a:lnTo>
                    <a:pt x="7" y="97"/>
                  </a:lnTo>
                  <a:lnTo>
                    <a:pt x="16" y="102"/>
                  </a:lnTo>
                  <a:lnTo>
                    <a:pt x="16" y="97"/>
                  </a:lnTo>
                  <a:lnTo>
                    <a:pt x="0" y="97"/>
                  </a:lnTo>
                  <a:lnTo>
                    <a:pt x="0" y="90"/>
                  </a:lnTo>
                  <a:lnTo>
                    <a:pt x="0" y="90"/>
                  </a:lnTo>
                  <a:lnTo>
                    <a:pt x="0" y="9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3" name="Freeform 514">
              <a:extLst>
                <a:ext uri="{FF2B5EF4-FFF2-40B4-BE49-F238E27FC236}">
                  <a16:creationId xmlns:a16="http://schemas.microsoft.com/office/drawing/2014/main" id="{827559AD-1692-4437-8052-51E6A9DE0198}"/>
                </a:ext>
              </a:extLst>
            </p:cNvPr>
            <p:cNvSpPr>
              <a:spLocks noEditPoints="1"/>
            </p:cNvSpPr>
            <p:nvPr/>
          </p:nvSpPr>
          <p:spPr bwMode="gray">
            <a:xfrm>
              <a:off x="11027603" y="3314166"/>
              <a:ext cx="722998" cy="453306"/>
            </a:xfrm>
            <a:custGeom>
              <a:avLst/>
              <a:gdLst>
                <a:gd name="T0" fmla="*/ 1918 w 2209"/>
                <a:gd name="T1" fmla="*/ 1146 h 1385"/>
                <a:gd name="T2" fmla="*/ 1864 w 2209"/>
                <a:gd name="T3" fmla="*/ 1274 h 1385"/>
                <a:gd name="T4" fmla="*/ 1708 w 2209"/>
                <a:gd name="T5" fmla="*/ 1274 h 1385"/>
                <a:gd name="T6" fmla="*/ 1649 w 2209"/>
                <a:gd name="T7" fmla="*/ 1269 h 1385"/>
                <a:gd name="T8" fmla="*/ 1481 w 2209"/>
                <a:gd name="T9" fmla="*/ 1293 h 1385"/>
                <a:gd name="T10" fmla="*/ 1217 w 2209"/>
                <a:gd name="T11" fmla="*/ 1186 h 1385"/>
                <a:gd name="T12" fmla="*/ 900 w 2209"/>
                <a:gd name="T13" fmla="*/ 993 h 1385"/>
                <a:gd name="T14" fmla="*/ 900 w 2209"/>
                <a:gd name="T15" fmla="*/ 865 h 1385"/>
                <a:gd name="T16" fmla="*/ 754 w 2209"/>
                <a:gd name="T17" fmla="*/ 648 h 1385"/>
                <a:gd name="T18" fmla="*/ 728 w 2209"/>
                <a:gd name="T19" fmla="*/ 610 h 1385"/>
                <a:gd name="T20" fmla="*/ 695 w 2209"/>
                <a:gd name="T21" fmla="*/ 586 h 1385"/>
                <a:gd name="T22" fmla="*/ 673 w 2209"/>
                <a:gd name="T23" fmla="*/ 544 h 1385"/>
                <a:gd name="T24" fmla="*/ 624 w 2209"/>
                <a:gd name="T25" fmla="*/ 475 h 1385"/>
                <a:gd name="T26" fmla="*/ 548 w 2209"/>
                <a:gd name="T27" fmla="*/ 388 h 1385"/>
                <a:gd name="T28" fmla="*/ 430 w 2209"/>
                <a:gd name="T29" fmla="*/ 298 h 1385"/>
                <a:gd name="T30" fmla="*/ 371 w 2209"/>
                <a:gd name="T31" fmla="*/ 116 h 1385"/>
                <a:gd name="T32" fmla="*/ 253 w 2209"/>
                <a:gd name="T33" fmla="*/ 88 h 1385"/>
                <a:gd name="T34" fmla="*/ 345 w 2209"/>
                <a:gd name="T35" fmla="*/ 298 h 1385"/>
                <a:gd name="T36" fmla="*/ 392 w 2209"/>
                <a:gd name="T37" fmla="*/ 388 h 1385"/>
                <a:gd name="T38" fmla="*/ 458 w 2209"/>
                <a:gd name="T39" fmla="*/ 459 h 1385"/>
                <a:gd name="T40" fmla="*/ 522 w 2209"/>
                <a:gd name="T41" fmla="*/ 593 h 1385"/>
                <a:gd name="T42" fmla="*/ 569 w 2209"/>
                <a:gd name="T43" fmla="*/ 664 h 1385"/>
                <a:gd name="T44" fmla="*/ 593 w 2209"/>
                <a:gd name="T45" fmla="*/ 766 h 1385"/>
                <a:gd name="T46" fmla="*/ 442 w 2209"/>
                <a:gd name="T47" fmla="*/ 626 h 1385"/>
                <a:gd name="T48" fmla="*/ 397 w 2209"/>
                <a:gd name="T49" fmla="*/ 504 h 1385"/>
                <a:gd name="T50" fmla="*/ 307 w 2209"/>
                <a:gd name="T51" fmla="*/ 449 h 1385"/>
                <a:gd name="T52" fmla="*/ 300 w 2209"/>
                <a:gd name="T53" fmla="*/ 393 h 1385"/>
                <a:gd name="T54" fmla="*/ 182 w 2209"/>
                <a:gd name="T55" fmla="*/ 239 h 1385"/>
                <a:gd name="T56" fmla="*/ 140 w 2209"/>
                <a:gd name="T57" fmla="*/ 116 h 1385"/>
                <a:gd name="T58" fmla="*/ 510 w 2209"/>
                <a:gd name="T59" fmla="*/ 111 h 1385"/>
                <a:gd name="T60" fmla="*/ 952 w 2209"/>
                <a:gd name="T61" fmla="*/ 222 h 1385"/>
                <a:gd name="T62" fmla="*/ 1125 w 2209"/>
                <a:gd name="T63" fmla="*/ 227 h 1385"/>
                <a:gd name="T64" fmla="*/ 1292 w 2209"/>
                <a:gd name="T65" fmla="*/ 393 h 1385"/>
                <a:gd name="T66" fmla="*/ 1448 w 2209"/>
                <a:gd name="T67" fmla="*/ 532 h 1385"/>
                <a:gd name="T68" fmla="*/ 1472 w 2209"/>
                <a:gd name="T69" fmla="*/ 870 h 1385"/>
                <a:gd name="T70" fmla="*/ 1536 w 2209"/>
                <a:gd name="T71" fmla="*/ 997 h 1385"/>
                <a:gd name="T72" fmla="*/ 1649 w 2209"/>
                <a:gd name="T73" fmla="*/ 1092 h 1385"/>
                <a:gd name="T74" fmla="*/ 1762 w 2209"/>
                <a:gd name="T75" fmla="*/ 1108 h 1385"/>
                <a:gd name="T76" fmla="*/ 1864 w 2209"/>
                <a:gd name="T77" fmla="*/ 1104 h 1385"/>
                <a:gd name="T78" fmla="*/ 1935 w 2209"/>
                <a:gd name="T79" fmla="*/ 1037 h 1385"/>
                <a:gd name="T80" fmla="*/ 2095 w 2209"/>
                <a:gd name="T81" fmla="*/ 870 h 1385"/>
                <a:gd name="T82" fmla="*/ 2209 w 2209"/>
                <a:gd name="T83" fmla="*/ 893 h 1385"/>
                <a:gd name="T84" fmla="*/ 2150 w 2209"/>
                <a:gd name="T85" fmla="*/ 1021 h 1385"/>
                <a:gd name="T86" fmla="*/ 2133 w 2209"/>
                <a:gd name="T87" fmla="*/ 1104 h 1385"/>
                <a:gd name="T88" fmla="*/ 359 w 2209"/>
                <a:gd name="T89" fmla="*/ 293 h 1385"/>
                <a:gd name="T90" fmla="*/ 359 w 2209"/>
                <a:gd name="T91" fmla="*/ 293 h 1385"/>
                <a:gd name="T92" fmla="*/ 425 w 2209"/>
                <a:gd name="T93" fmla="*/ 315 h 1385"/>
                <a:gd name="T94" fmla="*/ 0 w 2209"/>
                <a:gd name="T95" fmla="*/ 298 h 1385"/>
                <a:gd name="T96" fmla="*/ 225 w 2209"/>
                <a:gd name="T97" fmla="*/ 371 h 1385"/>
                <a:gd name="T98" fmla="*/ 501 w 2209"/>
                <a:gd name="T99" fmla="*/ 544 h 1385"/>
                <a:gd name="T100" fmla="*/ 442 w 2209"/>
                <a:gd name="T101" fmla="*/ 586 h 1385"/>
                <a:gd name="T102" fmla="*/ 539 w 2209"/>
                <a:gd name="T103" fmla="*/ 598 h 1385"/>
                <a:gd name="T104" fmla="*/ 463 w 2209"/>
                <a:gd name="T105" fmla="*/ 655 h 1385"/>
                <a:gd name="T106" fmla="*/ 825 w 2209"/>
                <a:gd name="T107" fmla="*/ 870 h 1385"/>
                <a:gd name="T108" fmla="*/ 855 w 2209"/>
                <a:gd name="T109" fmla="*/ 886 h 1385"/>
                <a:gd name="T110" fmla="*/ 2204 w 2209"/>
                <a:gd name="T111" fmla="*/ 943 h 1385"/>
                <a:gd name="T112" fmla="*/ 517 w 2209"/>
                <a:gd name="T113" fmla="*/ 1071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9" h="1385">
                  <a:moveTo>
                    <a:pt x="2103" y="1104"/>
                  </a:moveTo>
                  <a:lnTo>
                    <a:pt x="2095" y="1104"/>
                  </a:lnTo>
                  <a:lnTo>
                    <a:pt x="2065" y="1141"/>
                  </a:lnTo>
                  <a:lnTo>
                    <a:pt x="2058" y="1130"/>
                  </a:lnTo>
                  <a:lnTo>
                    <a:pt x="2048" y="1141"/>
                  </a:lnTo>
                  <a:lnTo>
                    <a:pt x="2048" y="1146"/>
                  </a:lnTo>
                  <a:lnTo>
                    <a:pt x="1918" y="1146"/>
                  </a:lnTo>
                  <a:lnTo>
                    <a:pt x="1918" y="1186"/>
                  </a:lnTo>
                  <a:lnTo>
                    <a:pt x="1885" y="1186"/>
                  </a:lnTo>
                  <a:lnTo>
                    <a:pt x="1935" y="1224"/>
                  </a:lnTo>
                  <a:lnTo>
                    <a:pt x="1940" y="1252"/>
                  </a:lnTo>
                  <a:lnTo>
                    <a:pt x="1956" y="1252"/>
                  </a:lnTo>
                  <a:lnTo>
                    <a:pt x="1956" y="1274"/>
                  </a:lnTo>
                  <a:lnTo>
                    <a:pt x="1864" y="1274"/>
                  </a:lnTo>
                  <a:lnTo>
                    <a:pt x="1831" y="1335"/>
                  </a:lnTo>
                  <a:lnTo>
                    <a:pt x="1843" y="1352"/>
                  </a:lnTo>
                  <a:lnTo>
                    <a:pt x="1826" y="1385"/>
                  </a:lnTo>
                  <a:lnTo>
                    <a:pt x="1793" y="1352"/>
                  </a:lnTo>
                  <a:lnTo>
                    <a:pt x="1793" y="1347"/>
                  </a:lnTo>
                  <a:lnTo>
                    <a:pt x="1779" y="1335"/>
                  </a:lnTo>
                  <a:lnTo>
                    <a:pt x="1708" y="1274"/>
                  </a:lnTo>
                  <a:lnTo>
                    <a:pt x="1682" y="1257"/>
                  </a:lnTo>
                  <a:lnTo>
                    <a:pt x="1682" y="1269"/>
                  </a:lnTo>
                  <a:lnTo>
                    <a:pt x="1703" y="1281"/>
                  </a:lnTo>
                  <a:lnTo>
                    <a:pt x="1654" y="1269"/>
                  </a:lnTo>
                  <a:lnTo>
                    <a:pt x="1666" y="1257"/>
                  </a:lnTo>
                  <a:lnTo>
                    <a:pt x="1654" y="1257"/>
                  </a:lnTo>
                  <a:lnTo>
                    <a:pt x="1649" y="1269"/>
                  </a:lnTo>
                  <a:lnTo>
                    <a:pt x="1649" y="1252"/>
                  </a:lnTo>
                  <a:lnTo>
                    <a:pt x="1632" y="1257"/>
                  </a:lnTo>
                  <a:lnTo>
                    <a:pt x="1649" y="1269"/>
                  </a:lnTo>
                  <a:lnTo>
                    <a:pt x="1616" y="1269"/>
                  </a:lnTo>
                  <a:lnTo>
                    <a:pt x="1611" y="1281"/>
                  </a:lnTo>
                  <a:lnTo>
                    <a:pt x="1536" y="1309"/>
                  </a:lnTo>
                  <a:lnTo>
                    <a:pt x="1481" y="1293"/>
                  </a:lnTo>
                  <a:lnTo>
                    <a:pt x="1439" y="1281"/>
                  </a:lnTo>
                  <a:lnTo>
                    <a:pt x="1417" y="1269"/>
                  </a:lnTo>
                  <a:lnTo>
                    <a:pt x="1384" y="1257"/>
                  </a:lnTo>
                  <a:lnTo>
                    <a:pt x="1373" y="1241"/>
                  </a:lnTo>
                  <a:lnTo>
                    <a:pt x="1309" y="1224"/>
                  </a:lnTo>
                  <a:lnTo>
                    <a:pt x="1292" y="1219"/>
                  </a:lnTo>
                  <a:lnTo>
                    <a:pt x="1217" y="1186"/>
                  </a:lnTo>
                  <a:lnTo>
                    <a:pt x="1169" y="1158"/>
                  </a:lnTo>
                  <a:lnTo>
                    <a:pt x="1148" y="1130"/>
                  </a:lnTo>
                  <a:lnTo>
                    <a:pt x="1132" y="1141"/>
                  </a:lnTo>
                  <a:lnTo>
                    <a:pt x="1051" y="1108"/>
                  </a:lnTo>
                  <a:lnTo>
                    <a:pt x="1006" y="1071"/>
                  </a:lnTo>
                  <a:lnTo>
                    <a:pt x="943" y="1037"/>
                  </a:lnTo>
                  <a:lnTo>
                    <a:pt x="900" y="993"/>
                  </a:lnTo>
                  <a:lnTo>
                    <a:pt x="888" y="959"/>
                  </a:lnTo>
                  <a:lnTo>
                    <a:pt x="914" y="943"/>
                  </a:lnTo>
                  <a:lnTo>
                    <a:pt x="910" y="926"/>
                  </a:lnTo>
                  <a:lnTo>
                    <a:pt x="893" y="926"/>
                  </a:lnTo>
                  <a:lnTo>
                    <a:pt x="914" y="903"/>
                  </a:lnTo>
                  <a:lnTo>
                    <a:pt x="926" y="882"/>
                  </a:lnTo>
                  <a:lnTo>
                    <a:pt x="900" y="865"/>
                  </a:lnTo>
                  <a:lnTo>
                    <a:pt x="893" y="837"/>
                  </a:lnTo>
                  <a:lnTo>
                    <a:pt x="893" y="808"/>
                  </a:lnTo>
                  <a:lnTo>
                    <a:pt x="879" y="782"/>
                  </a:lnTo>
                  <a:lnTo>
                    <a:pt x="841" y="742"/>
                  </a:lnTo>
                  <a:lnTo>
                    <a:pt x="791" y="688"/>
                  </a:lnTo>
                  <a:lnTo>
                    <a:pt x="749" y="648"/>
                  </a:lnTo>
                  <a:lnTo>
                    <a:pt x="754" y="648"/>
                  </a:lnTo>
                  <a:lnTo>
                    <a:pt x="754" y="643"/>
                  </a:lnTo>
                  <a:lnTo>
                    <a:pt x="749" y="648"/>
                  </a:lnTo>
                  <a:lnTo>
                    <a:pt x="732" y="631"/>
                  </a:lnTo>
                  <a:lnTo>
                    <a:pt x="737" y="643"/>
                  </a:lnTo>
                  <a:lnTo>
                    <a:pt x="728" y="631"/>
                  </a:lnTo>
                  <a:lnTo>
                    <a:pt x="728" y="610"/>
                  </a:lnTo>
                  <a:lnTo>
                    <a:pt x="728" y="610"/>
                  </a:lnTo>
                  <a:lnTo>
                    <a:pt x="728" y="615"/>
                  </a:lnTo>
                  <a:lnTo>
                    <a:pt x="716" y="615"/>
                  </a:lnTo>
                  <a:lnTo>
                    <a:pt x="711" y="598"/>
                  </a:lnTo>
                  <a:lnTo>
                    <a:pt x="728" y="610"/>
                  </a:lnTo>
                  <a:lnTo>
                    <a:pt x="728" y="598"/>
                  </a:lnTo>
                  <a:lnTo>
                    <a:pt x="699" y="593"/>
                  </a:lnTo>
                  <a:lnTo>
                    <a:pt x="695" y="586"/>
                  </a:lnTo>
                  <a:lnTo>
                    <a:pt x="678" y="577"/>
                  </a:lnTo>
                  <a:lnTo>
                    <a:pt x="673" y="560"/>
                  </a:lnTo>
                  <a:lnTo>
                    <a:pt x="662" y="560"/>
                  </a:lnTo>
                  <a:lnTo>
                    <a:pt x="662" y="570"/>
                  </a:lnTo>
                  <a:lnTo>
                    <a:pt x="645" y="560"/>
                  </a:lnTo>
                  <a:lnTo>
                    <a:pt x="657" y="560"/>
                  </a:lnTo>
                  <a:lnTo>
                    <a:pt x="673" y="544"/>
                  </a:lnTo>
                  <a:lnTo>
                    <a:pt x="645" y="560"/>
                  </a:lnTo>
                  <a:lnTo>
                    <a:pt x="631" y="544"/>
                  </a:lnTo>
                  <a:lnTo>
                    <a:pt x="624" y="532"/>
                  </a:lnTo>
                  <a:lnTo>
                    <a:pt x="640" y="504"/>
                  </a:lnTo>
                  <a:lnTo>
                    <a:pt x="645" y="515"/>
                  </a:lnTo>
                  <a:lnTo>
                    <a:pt x="645" y="504"/>
                  </a:lnTo>
                  <a:lnTo>
                    <a:pt x="624" y="475"/>
                  </a:lnTo>
                  <a:lnTo>
                    <a:pt x="619" y="466"/>
                  </a:lnTo>
                  <a:lnTo>
                    <a:pt x="603" y="475"/>
                  </a:lnTo>
                  <a:lnTo>
                    <a:pt x="586" y="442"/>
                  </a:lnTo>
                  <a:lnTo>
                    <a:pt x="565" y="442"/>
                  </a:lnTo>
                  <a:lnTo>
                    <a:pt x="548" y="426"/>
                  </a:lnTo>
                  <a:lnTo>
                    <a:pt x="539" y="404"/>
                  </a:lnTo>
                  <a:lnTo>
                    <a:pt x="548" y="388"/>
                  </a:lnTo>
                  <a:lnTo>
                    <a:pt x="532" y="376"/>
                  </a:lnTo>
                  <a:lnTo>
                    <a:pt x="522" y="388"/>
                  </a:lnTo>
                  <a:lnTo>
                    <a:pt x="510" y="376"/>
                  </a:lnTo>
                  <a:lnTo>
                    <a:pt x="484" y="350"/>
                  </a:lnTo>
                  <a:lnTo>
                    <a:pt x="468" y="338"/>
                  </a:lnTo>
                  <a:lnTo>
                    <a:pt x="458" y="310"/>
                  </a:lnTo>
                  <a:lnTo>
                    <a:pt x="430" y="298"/>
                  </a:lnTo>
                  <a:lnTo>
                    <a:pt x="430" y="265"/>
                  </a:lnTo>
                  <a:lnTo>
                    <a:pt x="414" y="260"/>
                  </a:lnTo>
                  <a:lnTo>
                    <a:pt x="414" y="260"/>
                  </a:lnTo>
                  <a:lnTo>
                    <a:pt x="392" y="222"/>
                  </a:lnTo>
                  <a:lnTo>
                    <a:pt x="392" y="199"/>
                  </a:lnTo>
                  <a:lnTo>
                    <a:pt x="371" y="166"/>
                  </a:lnTo>
                  <a:lnTo>
                    <a:pt x="371" y="116"/>
                  </a:lnTo>
                  <a:lnTo>
                    <a:pt x="333" y="111"/>
                  </a:lnTo>
                  <a:lnTo>
                    <a:pt x="333" y="95"/>
                  </a:lnTo>
                  <a:lnTo>
                    <a:pt x="307" y="88"/>
                  </a:lnTo>
                  <a:lnTo>
                    <a:pt x="300" y="100"/>
                  </a:lnTo>
                  <a:lnTo>
                    <a:pt x="291" y="95"/>
                  </a:lnTo>
                  <a:lnTo>
                    <a:pt x="232" y="60"/>
                  </a:lnTo>
                  <a:lnTo>
                    <a:pt x="253" y="88"/>
                  </a:lnTo>
                  <a:lnTo>
                    <a:pt x="248" y="128"/>
                  </a:lnTo>
                  <a:lnTo>
                    <a:pt x="253" y="145"/>
                  </a:lnTo>
                  <a:lnTo>
                    <a:pt x="262" y="204"/>
                  </a:lnTo>
                  <a:lnTo>
                    <a:pt x="269" y="222"/>
                  </a:lnTo>
                  <a:lnTo>
                    <a:pt x="333" y="277"/>
                  </a:lnTo>
                  <a:lnTo>
                    <a:pt x="338" y="310"/>
                  </a:lnTo>
                  <a:lnTo>
                    <a:pt x="345" y="298"/>
                  </a:lnTo>
                  <a:lnTo>
                    <a:pt x="354" y="310"/>
                  </a:lnTo>
                  <a:lnTo>
                    <a:pt x="359" y="310"/>
                  </a:lnTo>
                  <a:lnTo>
                    <a:pt x="371" y="338"/>
                  </a:lnTo>
                  <a:lnTo>
                    <a:pt x="388" y="338"/>
                  </a:lnTo>
                  <a:lnTo>
                    <a:pt x="388" y="355"/>
                  </a:lnTo>
                  <a:lnTo>
                    <a:pt x="392" y="371"/>
                  </a:lnTo>
                  <a:lnTo>
                    <a:pt x="392" y="388"/>
                  </a:lnTo>
                  <a:lnTo>
                    <a:pt x="409" y="404"/>
                  </a:lnTo>
                  <a:lnTo>
                    <a:pt x="425" y="409"/>
                  </a:lnTo>
                  <a:lnTo>
                    <a:pt x="458" y="475"/>
                  </a:lnTo>
                  <a:lnTo>
                    <a:pt x="463" y="487"/>
                  </a:lnTo>
                  <a:lnTo>
                    <a:pt x="468" y="482"/>
                  </a:lnTo>
                  <a:lnTo>
                    <a:pt x="458" y="466"/>
                  </a:lnTo>
                  <a:lnTo>
                    <a:pt x="458" y="459"/>
                  </a:lnTo>
                  <a:lnTo>
                    <a:pt x="480" y="475"/>
                  </a:lnTo>
                  <a:lnTo>
                    <a:pt x="480" y="482"/>
                  </a:lnTo>
                  <a:lnTo>
                    <a:pt x="484" y="504"/>
                  </a:lnTo>
                  <a:lnTo>
                    <a:pt x="496" y="544"/>
                  </a:lnTo>
                  <a:lnTo>
                    <a:pt x="501" y="560"/>
                  </a:lnTo>
                  <a:lnTo>
                    <a:pt x="517" y="570"/>
                  </a:lnTo>
                  <a:lnTo>
                    <a:pt x="522" y="593"/>
                  </a:lnTo>
                  <a:lnTo>
                    <a:pt x="539" y="615"/>
                  </a:lnTo>
                  <a:lnTo>
                    <a:pt x="532" y="643"/>
                  </a:lnTo>
                  <a:lnTo>
                    <a:pt x="539" y="655"/>
                  </a:lnTo>
                  <a:lnTo>
                    <a:pt x="565" y="664"/>
                  </a:lnTo>
                  <a:lnTo>
                    <a:pt x="555" y="664"/>
                  </a:lnTo>
                  <a:lnTo>
                    <a:pt x="565" y="671"/>
                  </a:lnTo>
                  <a:lnTo>
                    <a:pt x="569" y="664"/>
                  </a:lnTo>
                  <a:lnTo>
                    <a:pt x="565" y="655"/>
                  </a:lnTo>
                  <a:lnTo>
                    <a:pt x="569" y="655"/>
                  </a:lnTo>
                  <a:lnTo>
                    <a:pt x="603" y="681"/>
                  </a:lnTo>
                  <a:lnTo>
                    <a:pt x="607" y="704"/>
                  </a:lnTo>
                  <a:lnTo>
                    <a:pt x="624" y="721"/>
                  </a:lnTo>
                  <a:lnTo>
                    <a:pt x="619" y="754"/>
                  </a:lnTo>
                  <a:lnTo>
                    <a:pt x="593" y="766"/>
                  </a:lnTo>
                  <a:lnTo>
                    <a:pt x="586" y="766"/>
                  </a:lnTo>
                  <a:lnTo>
                    <a:pt x="565" y="709"/>
                  </a:lnTo>
                  <a:lnTo>
                    <a:pt x="484" y="655"/>
                  </a:lnTo>
                  <a:lnTo>
                    <a:pt x="468" y="643"/>
                  </a:lnTo>
                  <a:lnTo>
                    <a:pt x="463" y="643"/>
                  </a:lnTo>
                  <a:lnTo>
                    <a:pt x="447" y="626"/>
                  </a:lnTo>
                  <a:lnTo>
                    <a:pt x="442" y="626"/>
                  </a:lnTo>
                  <a:lnTo>
                    <a:pt x="442" y="598"/>
                  </a:lnTo>
                  <a:lnTo>
                    <a:pt x="430" y="615"/>
                  </a:lnTo>
                  <a:lnTo>
                    <a:pt x="442" y="560"/>
                  </a:lnTo>
                  <a:lnTo>
                    <a:pt x="442" y="570"/>
                  </a:lnTo>
                  <a:lnTo>
                    <a:pt x="442" y="544"/>
                  </a:lnTo>
                  <a:lnTo>
                    <a:pt x="414" y="504"/>
                  </a:lnTo>
                  <a:lnTo>
                    <a:pt x="397" y="504"/>
                  </a:lnTo>
                  <a:lnTo>
                    <a:pt x="359" y="475"/>
                  </a:lnTo>
                  <a:lnTo>
                    <a:pt x="371" y="459"/>
                  </a:lnTo>
                  <a:lnTo>
                    <a:pt x="354" y="466"/>
                  </a:lnTo>
                  <a:lnTo>
                    <a:pt x="345" y="466"/>
                  </a:lnTo>
                  <a:lnTo>
                    <a:pt x="333" y="475"/>
                  </a:lnTo>
                  <a:lnTo>
                    <a:pt x="317" y="449"/>
                  </a:lnTo>
                  <a:lnTo>
                    <a:pt x="307" y="449"/>
                  </a:lnTo>
                  <a:lnTo>
                    <a:pt x="291" y="442"/>
                  </a:lnTo>
                  <a:lnTo>
                    <a:pt x="269" y="433"/>
                  </a:lnTo>
                  <a:lnTo>
                    <a:pt x="269" y="421"/>
                  </a:lnTo>
                  <a:lnTo>
                    <a:pt x="236" y="393"/>
                  </a:lnTo>
                  <a:lnTo>
                    <a:pt x="232" y="388"/>
                  </a:lnTo>
                  <a:lnTo>
                    <a:pt x="307" y="393"/>
                  </a:lnTo>
                  <a:lnTo>
                    <a:pt x="300" y="393"/>
                  </a:lnTo>
                  <a:lnTo>
                    <a:pt x="291" y="393"/>
                  </a:lnTo>
                  <a:lnTo>
                    <a:pt x="286" y="388"/>
                  </a:lnTo>
                  <a:lnTo>
                    <a:pt x="291" y="371"/>
                  </a:lnTo>
                  <a:lnTo>
                    <a:pt x="300" y="331"/>
                  </a:lnTo>
                  <a:lnTo>
                    <a:pt x="236" y="265"/>
                  </a:lnTo>
                  <a:lnTo>
                    <a:pt x="225" y="260"/>
                  </a:lnTo>
                  <a:lnTo>
                    <a:pt x="182" y="239"/>
                  </a:lnTo>
                  <a:lnTo>
                    <a:pt x="177" y="187"/>
                  </a:lnTo>
                  <a:lnTo>
                    <a:pt x="173" y="182"/>
                  </a:lnTo>
                  <a:lnTo>
                    <a:pt x="173" y="187"/>
                  </a:lnTo>
                  <a:lnTo>
                    <a:pt x="161" y="182"/>
                  </a:lnTo>
                  <a:lnTo>
                    <a:pt x="161" y="154"/>
                  </a:lnTo>
                  <a:lnTo>
                    <a:pt x="144" y="145"/>
                  </a:lnTo>
                  <a:lnTo>
                    <a:pt x="140" y="116"/>
                  </a:lnTo>
                  <a:lnTo>
                    <a:pt x="118" y="95"/>
                  </a:lnTo>
                  <a:lnTo>
                    <a:pt x="123" y="71"/>
                  </a:lnTo>
                  <a:lnTo>
                    <a:pt x="106" y="60"/>
                  </a:lnTo>
                  <a:lnTo>
                    <a:pt x="85" y="17"/>
                  </a:lnTo>
                  <a:lnTo>
                    <a:pt x="253" y="0"/>
                  </a:lnTo>
                  <a:lnTo>
                    <a:pt x="248" y="17"/>
                  </a:lnTo>
                  <a:lnTo>
                    <a:pt x="510" y="111"/>
                  </a:lnTo>
                  <a:lnTo>
                    <a:pt x="711" y="111"/>
                  </a:lnTo>
                  <a:lnTo>
                    <a:pt x="711" y="76"/>
                  </a:lnTo>
                  <a:lnTo>
                    <a:pt x="841" y="76"/>
                  </a:lnTo>
                  <a:lnTo>
                    <a:pt x="846" y="100"/>
                  </a:lnTo>
                  <a:lnTo>
                    <a:pt x="943" y="171"/>
                  </a:lnTo>
                  <a:lnTo>
                    <a:pt x="952" y="204"/>
                  </a:lnTo>
                  <a:lnTo>
                    <a:pt x="952" y="222"/>
                  </a:lnTo>
                  <a:lnTo>
                    <a:pt x="969" y="244"/>
                  </a:lnTo>
                  <a:lnTo>
                    <a:pt x="1002" y="265"/>
                  </a:lnTo>
                  <a:lnTo>
                    <a:pt x="1051" y="293"/>
                  </a:lnTo>
                  <a:lnTo>
                    <a:pt x="1061" y="298"/>
                  </a:lnTo>
                  <a:lnTo>
                    <a:pt x="1089" y="277"/>
                  </a:lnTo>
                  <a:lnTo>
                    <a:pt x="1103" y="239"/>
                  </a:lnTo>
                  <a:lnTo>
                    <a:pt x="1125" y="227"/>
                  </a:lnTo>
                  <a:lnTo>
                    <a:pt x="1141" y="239"/>
                  </a:lnTo>
                  <a:lnTo>
                    <a:pt x="1186" y="239"/>
                  </a:lnTo>
                  <a:lnTo>
                    <a:pt x="1195" y="244"/>
                  </a:lnTo>
                  <a:lnTo>
                    <a:pt x="1238" y="282"/>
                  </a:lnTo>
                  <a:lnTo>
                    <a:pt x="1266" y="355"/>
                  </a:lnTo>
                  <a:lnTo>
                    <a:pt x="1276" y="367"/>
                  </a:lnTo>
                  <a:lnTo>
                    <a:pt x="1292" y="393"/>
                  </a:lnTo>
                  <a:lnTo>
                    <a:pt x="1321" y="409"/>
                  </a:lnTo>
                  <a:lnTo>
                    <a:pt x="1325" y="449"/>
                  </a:lnTo>
                  <a:lnTo>
                    <a:pt x="1342" y="466"/>
                  </a:lnTo>
                  <a:lnTo>
                    <a:pt x="1347" y="499"/>
                  </a:lnTo>
                  <a:lnTo>
                    <a:pt x="1396" y="515"/>
                  </a:lnTo>
                  <a:lnTo>
                    <a:pt x="1410" y="520"/>
                  </a:lnTo>
                  <a:lnTo>
                    <a:pt x="1448" y="532"/>
                  </a:lnTo>
                  <a:lnTo>
                    <a:pt x="1465" y="537"/>
                  </a:lnTo>
                  <a:lnTo>
                    <a:pt x="1486" y="532"/>
                  </a:lnTo>
                  <a:lnTo>
                    <a:pt x="1448" y="643"/>
                  </a:lnTo>
                  <a:lnTo>
                    <a:pt x="1439" y="766"/>
                  </a:lnTo>
                  <a:lnTo>
                    <a:pt x="1434" y="792"/>
                  </a:lnTo>
                  <a:lnTo>
                    <a:pt x="1448" y="837"/>
                  </a:lnTo>
                  <a:lnTo>
                    <a:pt x="1472" y="870"/>
                  </a:lnTo>
                  <a:lnTo>
                    <a:pt x="1465" y="886"/>
                  </a:lnTo>
                  <a:lnTo>
                    <a:pt x="1465" y="882"/>
                  </a:lnTo>
                  <a:lnTo>
                    <a:pt x="1472" y="870"/>
                  </a:lnTo>
                  <a:lnTo>
                    <a:pt x="1439" y="832"/>
                  </a:lnTo>
                  <a:lnTo>
                    <a:pt x="1448" y="865"/>
                  </a:lnTo>
                  <a:lnTo>
                    <a:pt x="1486" y="936"/>
                  </a:lnTo>
                  <a:lnTo>
                    <a:pt x="1536" y="997"/>
                  </a:lnTo>
                  <a:lnTo>
                    <a:pt x="1545" y="1037"/>
                  </a:lnTo>
                  <a:lnTo>
                    <a:pt x="1573" y="1059"/>
                  </a:lnTo>
                  <a:lnTo>
                    <a:pt x="1573" y="1071"/>
                  </a:lnTo>
                  <a:lnTo>
                    <a:pt x="1578" y="1075"/>
                  </a:lnTo>
                  <a:lnTo>
                    <a:pt x="1628" y="1087"/>
                  </a:lnTo>
                  <a:lnTo>
                    <a:pt x="1632" y="1092"/>
                  </a:lnTo>
                  <a:lnTo>
                    <a:pt x="1649" y="1092"/>
                  </a:lnTo>
                  <a:lnTo>
                    <a:pt x="1670" y="1125"/>
                  </a:lnTo>
                  <a:lnTo>
                    <a:pt x="1720" y="1113"/>
                  </a:lnTo>
                  <a:lnTo>
                    <a:pt x="1734" y="1104"/>
                  </a:lnTo>
                  <a:lnTo>
                    <a:pt x="1720" y="1108"/>
                  </a:lnTo>
                  <a:lnTo>
                    <a:pt x="1734" y="1104"/>
                  </a:lnTo>
                  <a:lnTo>
                    <a:pt x="1762" y="1104"/>
                  </a:lnTo>
                  <a:lnTo>
                    <a:pt x="1762" y="1108"/>
                  </a:lnTo>
                  <a:lnTo>
                    <a:pt x="1805" y="1087"/>
                  </a:lnTo>
                  <a:lnTo>
                    <a:pt x="1847" y="1075"/>
                  </a:lnTo>
                  <a:lnTo>
                    <a:pt x="1859" y="1087"/>
                  </a:lnTo>
                  <a:lnTo>
                    <a:pt x="1843" y="1092"/>
                  </a:lnTo>
                  <a:lnTo>
                    <a:pt x="1859" y="1092"/>
                  </a:lnTo>
                  <a:lnTo>
                    <a:pt x="1859" y="1108"/>
                  </a:lnTo>
                  <a:lnTo>
                    <a:pt x="1864" y="1104"/>
                  </a:lnTo>
                  <a:lnTo>
                    <a:pt x="1880" y="1104"/>
                  </a:lnTo>
                  <a:lnTo>
                    <a:pt x="1885" y="1092"/>
                  </a:lnTo>
                  <a:lnTo>
                    <a:pt x="1902" y="1087"/>
                  </a:lnTo>
                  <a:lnTo>
                    <a:pt x="1885" y="1075"/>
                  </a:lnTo>
                  <a:lnTo>
                    <a:pt x="1897" y="1071"/>
                  </a:lnTo>
                  <a:lnTo>
                    <a:pt x="1885" y="1071"/>
                  </a:lnTo>
                  <a:lnTo>
                    <a:pt x="1935" y="1037"/>
                  </a:lnTo>
                  <a:lnTo>
                    <a:pt x="1940" y="1002"/>
                  </a:lnTo>
                  <a:lnTo>
                    <a:pt x="1956" y="993"/>
                  </a:lnTo>
                  <a:lnTo>
                    <a:pt x="1951" y="943"/>
                  </a:lnTo>
                  <a:lnTo>
                    <a:pt x="1965" y="910"/>
                  </a:lnTo>
                  <a:lnTo>
                    <a:pt x="1994" y="886"/>
                  </a:lnTo>
                  <a:lnTo>
                    <a:pt x="2065" y="882"/>
                  </a:lnTo>
                  <a:lnTo>
                    <a:pt x="2095" y="870"/>
                  </a:lnTo>
                  <a:lnTo>
                    <a:pt x="2128" y="865"/>
                  </a:lnTo>
                  <a:lnTo>
                    <a:pt x="2183" y="882"/>
                  </a:lnTo>
                  <a:lnTo>
                    <a:pt x="2188" y="870"/>
                  </a:lnTo>
                  <a:lnTo>
                    <a:pt x="2166" y="870"/>
                  </a:lnTo>
                  <a:lnTo>
                    <a:pt x="2192" y="865"/>
                  </a:lnTo>
                  <a:lnTo>
                    <a:pt x="2209" y="882"/>
                  </a:lnTo>
                  <a:lnTo>
                    <a:pt x="2209" y="893"/>
                  </a:lnTo>
                  <a:lnTo>
                    <a:pt x="2204" y="926"/>
                  </a:lnTo>
                  <a:lnTo>
                    <a:pt x="2166" y="964"/>
                  </a:lnTo>
                  <a:lnTo>
                    <a:pt x="2166" y="997"/>
                  </a:lnTo>
                  <a:lnTo>
                    <a:pt x="2166" y="993"/>
                  </a:lnTo>
                  <a:lnTo>
                    <a:pt x="2154" y="997"/>
                  </a:lnTo>
                  <a:lnTo>
                    <a:pt x="2138" y="1002"/>
                  </a:lnTo>
                  <a:lnTo>
                    <a:pt x="2150" y="1021"/>
                  </a:lnTo>
                  <a:lnTo>
                    <a:pt x="2166" y="1014"/>
                  </a:lnTo>
                  <a:lnTo>
                    <a:pt x="2166" y="1030"/>
                  </a:lnTo>
                  <a:lnTo>
                    <a:pt x="2150" y="1037"/>
                  </a:lnTo>
                  <a:lnTo>
                    <a:pt x="2150" y="1047"/>
                  </a:lnTo>
                  <a:lnTo>
                    <a:pt x="2166" y="1037"/>
                  </a:lnTo>
                  <a:lnTo>
                    <a:pt x="2133" y="1113"/>
                  </a:lnTo>
                  <a:lnTo>
                    <a:pt x="2133" y="1104"/>
                  </a:lnTo>
                  <a:lnTo>
                    <a:pt x="2117" y="1092"/>
                  </a:lnTo>
                  <a:lnTo>
                    <a:pt x="2128" y="1087"/>
                  </a:lnTo>
                  <a:lnTo>
                    <a:pt x="2128" y="1071"/>
                  </a:lnTo>
                  <a:lnTo>
                    <a:pt x="2103" y="1104"/>
                  </a:lnTo>
                  <a:lnTo>
                    <a:pt x="2103" y="1104"/>
                  </a:lnTo>
                  <a:lnTo>
                    <a:pt x="2103" y="1104"/>
                  </a:lnTo>
                  <a:close/>
                  <a:moveTo>
                    <a:pt x="359" y="293"/>
                  </a:moveTo>
                  <a:lnTo>
                    <a:pt x="333" y="260"/>
                  </a:lnTo>
                  <a:lnTo>
                    <a:pt x="333" y="256"/>
                  </a:lnTo>
                  <a:lnTo>
                    <a:pt x="345" y="260"/>
                  </a:lnTo>
                  <a:lnTo>
                    <a:pt x="345" y="265"/>
                  </a:lnTo>
                  <a:lnTo>
                    <a:pt x="359" y="277"/>
                  </a:lnTo>
                  <a:lnTo>
                    <a:pt x="359" y="293"/>
                  </a:lnTo>
                  <a:lnTo>
                    <a:pt x="359" y="293"/>
                  </a:lnTo>
                  <a:lnTo>
                    <a:pt x="359" y="293"/>
                  </a:lnTo>
                  <a:close/>
                  <a:moveTo>
                    <a:pt x="425" y="315"/>
                  </a:moveTo>
                  <a:lnTo>
                    <a:pt x="409" y="310"/>
                  </a:lnTo>
                  <a:lnTo>
                    <a:pt x="414" y="282"/>
                  </a:lnTo>
                  <a:lnTo>
                    <a:pt x="425" y="277"/>
                  </a:lnTo>
                  <a:lnTo>
                    <a:pt x="430" y="298"/>
                  </a:lnTo>
                  <a:lnTo>
                    <a:pt x="425" y="315"/>
                  </a:lnTo>
                  <a:lnTo>
                    <a:pt x="425" y="315"/>
                  </a:lnTo>
                  <a:lnTo>
                    <a:pt x="425" y="315"/>
                  </a:lnTo>
                  <a:close/>
                  <a:moveTo>
                    <a:pt x="0" y="298"/>
                  </a:moveTo>
                  <a:lnTo>
                    <a:pt x="0" y="282"/>
                  </a:lnTo>
                  <a:lnTo>
                    <a:pt x="0" y="282"/>
                  </a:lnTo>
                  <a:lnTo>
                    <a:pt x="10" y="293"/>
                  </a:lnTo>
                  <a:lnTo>
                    <a:pt x="0" y="298"/>
                  </a:lnTo>
                  <a:lnTo>
                    <a:pt x="0" y="298"/>
                  </a:lnTo>
                  <a:lnTo>
                    <a:pt x="0" y="298"/>
                  </a:lnTo>
                  <a:close/>
                  <a:moveTo>
                    <a:pt x="225" y="371"/>
                  </a:moveTo>
                  <a:lnTo>
                    <a:pt x="215" y="367"/>
                  </a:lnTo>
                  <a:lnTo>
                    <a:pt x="215" y="350"/>
                  </a:lnTo>
                  <a:lnTo>
                    <a:pt x="225" y="367"/>
                  </a:lnTo>
                  <a:lnTo>
                    <a:pt x="225" y="371"/>
                  </a:lnTo>
                  <a:lnTo>
                    <a:pt x="225" y="371"/>
                  </a:lnTo>
                  <a:lnTo>
                    <a:pt x="225" y="371"/>
                  </a:lnTo>
                  <a:close/>
                  <a:moveTo>
                    <a:pt x="501" y="544"/>
                  </a:moveTo>
                  <a:lnTo>
                    <a:pt x="501" y="532"/>
                  </a:lnTo>
                  <a:lnTo>
                    <a:pt x="510" y="520"/>
                  </a:lnTo>
                  <a:lnTo>
                    <a:pt x="501" y="544"/>
                  </a:lnTo>
                  <a:lnTo>
                    <a:pt x="501" y="544"/>
                  </a:lnTo>
                  <a:lnTo>
                    <a:pt x="501" y="544"/>
                  </a:lnTo>
                  <a:close/>
                  <a:moveTo>
                    <a:pt x="442" y="586"/>
                  </a:moveTo>
                  <a:lnTo>
                    <a:pt x="430" y="615"/>
                  </a:lnTo>
                  <a:lnTo>
                    <a:pt x="442" y="643"/>
                  </a:lnTo>
                  <a:lnTo>
                    <a:pt x="430" y="615"/>
                  </a:lnTo>
                  <a:lnTo>
                    <a:pt x="442" y="586"/>
                  </a:lnTo>
                  <a:lnTo>
                    <a:pt x="442" y="586"/>
                  </a:lnTo>
                  <a:lnTo>
                    <a:pt x="442" y="586"/>
                  </a:lnTo>
                  <a:close/>
                  <a:moveTo>
                    <a:pt x="539" y="598"/>
                  </a:moveTo>
                  <a:lnTo>
                    <a:pt x="548" y="598"/>
                  </a:lnTo>
                  <a:lnTo>
                    <a:pt x="548" y="615"/>
                  </a:lnTo>
                  <a:lnTo>
                    <a:pt x="539" y="610"/>
                  </a:lnTo>
                  <a:lnTo>
                    <a:pt x="539" y="598"/>
                  </a:lnTo>
                  <a:lnTo>
                    <a:pt x="539" y="598"/>
                  </a:lnTo>
                  <a:lnTo>
                    <a:pt x="539" y="598"/>
                  </a:lnTo>
                  <a:close/>
                  <a:moveTo>
                    <a:pt x="463" y="655"/>
                  </a:moveTo>
                  <a:lnTo>
                    <a:pt x="447" y="643"/>
                  </a:lnTo>
                  <a:lnTo>
                    <a:pt x="458" y="643"/>
                  </a:lnTo>
                  <a:lnTo>
                    <a:pt x="463" y="655"/>
                  </a:lnTo>
                  <a:lnTo>
                    <a:pt x="463" y="655"/>
                  </a:lnTo>
                  <a:lnTo>
                    <a:pt x="463" y="655"/>
                  </a:lnTo>
                  <a:close/>
                  <a:moveTo>
                    <a:pt x="825" y="870"/>
                  </a:moveTo>
                  <a:lnTo>
                    <a:pt x="817" y="853"/>
                  </a:lnTo>
                  <a:lnTo>
                    <a:pt x="834" y="853"/>
                  </a:lnTo>
                  <a:lnTo>
                    <a:pt x="834" y="870"/>
                  </a:lnTo>
                  <a:lnTo>
                    <a:pt x="825" y="870"/>
                  </a:lnTo>
                  <a:lnTo>
                    <a:pt x="825" y="870"/>
                  </a:lnTo>
                  <a:lnTo>
                    <a:pt x="825" y="870"/>
                  </a:lnTo>
                  <a:close/>
                  <a:moveTo>
                    <a:pt x="841" y="882"/>
                  </a:moveTo>
                  <a:lnTo>
                    <a:pt x="834" y="882"/>
                  </a:lnTo>
                  <a:lnTo>
                    <a:pt x="841" y="870"/>
                  </a:lnTo>
                  <a:lnTo>
                    <a:pt x="841" y="882"/>
                  </a:lnTo>
                  <a:lnTo>
                    <a:pt x="841" y="882"/>
                  </a:lnTo>
                  <a:lnTo>
                    <a:pt x="841" y="882"/>
                  </a:lnTo>
                  <a:close/>
                  <a:moveTo>
                    <a:pt x="855" y="886"/>
                  </a:moveTo>
                  <a:lnTo>
                    <a:pt x="846" y="886"/>
                  </a:lnTo>
                  <a:lnTo>
                    <a:pt x="855" y="886"/>
                  </a:lnTo>
                  <a:lnTo>
                    <a:pt x="855" y="886"/>
                  </a:lnTo>
                  <a:lnTo>
                    <a:pt x="855" y="886"/>
                  </a:lnTo>
                  <a:lnTo>
                    <a:pt x="855" y="886"/>
                  </a:lnTo>
                  <a:close/>
                  <a:moveTo>
                    <a:pt x="2192" y="964"/>
                  </a:moveTo>
                  <a:lnTo>
                    <a:pt x="2204" y="943"/>
                  </a:lnTo>
                  <a:lnTo>
                    <a:pt x="2209" y="943"/>
                  </a:lnTo>
                  <a:lnTo>
                    <a:pt x="2192" y="964"/>
                  </a:lnTo>
                  <a:lnTo>
                    <a:pt x="2192" y="964"/>
                  </a:lnTo>
                  <a:lnTo>
                    <a:pt x="2192" y="964"/>
                  </a:lnTo>
                  <a:close/>
                  <a:moveTo>
                    <a:pt x="517" y="1075"/>
                  </a:moveTo>
                  <a:lnTo>
                    <a:pt x="510" y="1075"/>
                  </a:lnTo>
                  <a:lnTo>
                    <a:pt x="517" y="1071"/>
                  </a:lnTo>
                  <a:lnTo>
                    <a:pt x="522" y="1075"/>
                  </a:lnTo>
                  <a:lnTo>
                    <a:pt x="517" y="1075"/>
                  </a:lnTo>
                  <a:lnTo>
                    <a:pt x="517" y="1075"/>
                  </a:lnTo>
                  <a:lnTo>
                    <a:pt x="517" y="1075"/>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4" name="Freeform 515">
              <a:extLst>
                <a:ext uri="{FF2B5EF4-FFF2-40B4-BE49-F238E27FC236}">
                  <a16:creationId xmlns:a16="http://schemas.microsoft.com/office/drawing/2014/main" id="{209D978F-837F-4FAD-9AC9-87DA933C6D07}"/>
                </a:ext>
              </a:extLst>
            </p:cNvPr>
            <p:cNvSpPr>
              <a:spLocks noEditPoints="1"/>
            </p:cNvSpPr>
            <p:nvPr/>
          </p:nvSpPr>
          <p:spPr bwMode="gray">
            <a:xfrm>
              <a:off x="16031314" y="3942248"/>
              <a:ext cx="450687" cy="152848"/>
            </a:xfrm>
            <a:custGeom>
              <a:avLst/>
              <a:gdLst>
                <a:gd name="T0" fmla="*/ 1205 w 1377"/>
                <a:gd name="T1" fmla="*/ 4 h 467"/>
                <a:gd name="T2" fmla="*/ 1238 w 1377"/>
                <a:gd name="T3" fmla="*/ 0 h 467"/>
                <a:gd name="T4" fmla="*/ 1233 w 1377"/>
                <a:gd name="T5" fmla="*/ 0 h 467"/>
                <a:gd name="T6" fmla="*/ 1184 w 1377"/>
                <a:gd name="T7" fmla="*/ 222 h 467"/>
                <a:gd name="T8" fmla="*/ 1125 w 1377"/>
                <a:gd name="T9" fmla="*/ 226 h 467"/>
                <a:gd name="T10" fmla="*/ 1099 w 1377"/>
                <a:gd name="T11" fmla="*/ 304 h 467"/>
                <a:gd name="T12" fmla="*/ 1070 w 1377"/>
                <a:gd name="T13" fmla="*/ 361 h 467"/>
                <a:gd name="T14" fmla="*/ 1037 w 1377"/>
                <a:gd name="T15" fmla="*/ 415 h 467"/>
                <a:gd name="T16" fmla="*/ 936 w 1377"/>
                <a:gd name="T17" fmla="*/ 411 h 467"/>
                <a:gd name="T18" fmla="*/ 865 w 1377"/>
                <a:gd name="T19" fmla="*/ 444 h 467"/>
                <a:gd name="T20" fmla="*/ 704 w 1377"/>
                <a:gd name="T21" fmla="*/ 411 h 467"/>
                <a:gd name="T22" fmla="*/ 718 w 1377"/>
                <a:gd name="T23" fmla="*/ 406 h 467"/>
                <a:gd name="T24" fmla="*/ 784 w 1377"/>
                <a:gd name="T25" fmla="*/ 415 h 467"/>
                <a:gd name="T26" fmla="*/ 827 w 1377"/>
                <a:gd name="T27" fmla="*/ 427 h 467"/>
                <a:gd name="T28" fmla="*/ 822 w 1377"/>
                <a:gd name="T29" fmla="*/ 373 h 467"/>
                <a:gd name="T30" fmla="*/ 827 w 1377"/>
                <a:gd name="T31" fmla="*/ 333 h 467"/>
                <a:gd name="T32" fmla="*/ 1006 w 1377"/>
                <a:gd name="T33" fmla="*/ 193 h 467"/>
                <a:gd name="T34" fmla="*/ 1070 w 1377"/>
                <a:gd name="T35" fmla="*/ 226 h 467"/>
                <a:gd name="T36" fmla="*/ 1082 w 1377"/>
                <a:gd name="T37" fmla="*/ 181 h 467"/>
                <a:gd name="T38" fmla="*/ 1091 w 1377"/>
                <a:gd name="T39" fmla="*/ 172 h 467"/>
                <a:gd name="T40" fmla="*/ 1108 w 1377"/>
                <a:gd name="T41" fmla="*/ 139 h 467"/>
                <a:gd name="T42" fmla="*/ 1151 w 1377"/>
                <a:gd name="T43" fmla="*/ 99 h 467"/>
                <a:gd name="T44" fmla="*/ 1205 w 1377"/>
                <a:gd name="T45" fmla="*/ 25 h 467"/>
                <a:gd name="T46" fmla="*/ 1238 w 1377"/>
                <a:gd name="T47" fmla="*/ 44 h 467"/>
                <a:gd name="T48" fmla="*/ 1259 w 1377"/>
                <a:gd name="T49" fmla="*/ 77 h 467"/>
                <a:gd name="T50" fmla="*/ 1292 w 1377"/>
                <a:gd name="T51" fmla="*/ 82 h 467"/>
                <a:gd name="T52" fmla="*/ 1314 w 1377"/>
                <a:gd name="T53" fmla="*/ 111 h 467"/>
                <a:gd name="T54" fmla="*/ 1377 w 1377"/>
                <a:gd name="T55" fmla="*/ 155 h 467"/>
                <a:gd name="T56" fmla="*/ 1297 w 1377"/>
                <a:gd name="T57" fmla="*/ 172 h 467"/>
                <a:gd name="T58" fmla="*/ 1330 w 1377"/>
                <a:gd name="T59" fmla="*/ 205 h 467"/>
                <a:gd name="T60" fmla="*/ 1271 w 1377"/>
                <a:gd name="T61" fmla="*/ 210 h 467"/>
                <a:gd name="T62" fmla="*/ 1243 w 1377"/>
                <a:gd name="T63" fmla="*/ 44 h 467"/>
                <a:gd name="T64" fmla="*/ 1243 w 1377"/>
                <a:gd name="T65" fmla="*/ 44 h 467"/>
                <a:gd name="T66" fmla="*/ 38 w 1377"/>
                <a:gd name="T67" fmla="*/ 44 h 467"/>
                <a:gd name="T68" fmla="*/ 83 w 1377"/>
                <a:gd name="T69" fmla="*/ 54 h 467"/>
                <a:gd name="T70" fmla="*/ 92 w 1377"/>
                <a:gd name="T71" fmla="*/ 111 h 467"/>
                <a:gd name="T72" fmla="*/ 158 w 1377"/>
                <a:gd name="T73" fmla="*/ 111 h 467"/>
                <a:gd name="T74" fmla="*/ 243 w 1377"/>
                <a:gd name="T75" fmla="*/ 132 h 467"/>
                <a:gd name="T76" fmla="*/ 272 w 1377"/>
                <a:gd name="T77" fmla="*/ 278 h 467"/>
                <a:gd name="T78" fmla="*/ 326 w 1377"/>
                <a:gd name="T79" fmla="*/ 406 h 467"/>
                <a:gd name="T80" fmla="*/ 303 w 1377"/>
                <a:gd name="T81" fmla="*/ 427 h 467"/>
                <a:gd name="T82" fmla="*/ 217 w 1377"/>
                <a:gd name="T83" fmla="*/ 394 h 467"/>
                <a:gd name="T84" fmla="*/ 121 w 1377"/>
                <a:gd name="T85" fmla="*/ 321 h 467"/>
                <a:gd name="T86" fmla="*/ 83 w 1377"/>
                <a:gd name="T87" fmla="*/ 250 h 467"/>
                <a:gd name="T88" fmla="*/ 88 w 1377"/>
                <a:gd name="T89" fmla="*/ 238 h 467"/>
                <a:gd name="T90" fmla="*/ 54 w 1377"/>
                <a:gd name="T91" fmla="*/ 148 h 467"/>
                <a:gd name="T92" fmla="*/ 33 w 1377"/>
                <a:gd name="T93" fmla="*/ 61 h 467"/>
                <a:gd name="T94" fmla="*/ 0 w 1377"/>
                <a:gd name="T95" fmla="*/ 61 h 467"/>
                <a:gd name="T96" fmla="*/ 50 w 1377"/>
                <a:gd name="T97" fmla="*/ 132 h 467"/>
                <a:gd name="T98" fmla="*/ 50 w 1377"/>
                <a:gd name="T99" fmla="*/ 132 h 467"/>
                <a:gd name="T100" fmla="*/ 1099 w 1377"/>
                <a:gd name="T101" fmla="*/ 139 h 467"/>
                <a:gd name="T102" fmla="*/ 1091 w 1377"/>
                <a:gd name="T103" fmla="*/ 148 h 467"/>
                <a:gd name="T104" fmla="*/ 1288 w 1377"/>
                <a:gd name="T105" fmla="*/ 226 h 467"/>
                <a:gd name="T106" fmla="*/ 822 w 1377"/>
                <a:gd name="T107" fmla="*/ 321 h 467"/>
                <a:gd name="T108" fmla="*/ 822 w 1377"/>
                <a:gd name="T109" fmla="*/ 349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77" h="467">
                  <a:moveTo>
                    <a:pt x="1205" y="4"/>
                  </a:moveTo>
                  <a:lnTo>
                    <a:pt x="1221" y="0"/>
                  </a:lnTo>
                  <a:lnTo>
                    <a:pt x="1221" y="0"/>
                  </a:lnTo>
                  <a:lnTo>
                    <a:pt x="1205" y="4"/>
                  </a:lnTo>
                  <a:lnTo>
                    <a:pt x="1205" y="4"/>
                  </a:lnTo>
                  <a:lnTo>
                    <a:pt x="1205" y="4"/>
                  </a:lnTo>
                  <a:close/>
                  <a:moveTo>
                    <a:pt x="1233" y="0"/>
                  </a:moveTo>
                  <a:lnTo>
                    <a:pt x="1238" y="0"/>
                  </a:lnTo>
                  <a:lnTo>
                    <a:pt x="1238" y="4"/>
                  </a:lnTo>
                  <a:lnTo>
                    <a:pt x="1221" y="16"/>
                  </a:lnTo>
                  <a:lnTo>
                    <a:pt x="1233" y="0"/>
                  </a:lnTo>
                  <a:lnTo>
                    <a:pt x="1233" y="0"/>
                  </a:lnTo>
                  <a:lnTo>
                    <a:pt x="1233" y="0"/>
                  </a:lnTo>
                  <a:close/>
                  <a:moveTo>
                    <a:pt x="1259" y="226"/>
                  </a:moveTo>
                  <a:lnTo>
                    <a:pt x="1238" y="210"/>
                  </a:lnTo>
                  <a:lnTo>
                    <a:pt x="1184" y="222"/>
                  </a:lnTo>
                  <a:lnTo>
                    <a:pt x="1162" y="210"/>
                  </a:lnTo>
                  <a:lnTo>
                    <a:pt x="1151" y="222"/>
                  </a:lnTo>
                  <a:lnTo>
                    <a:pt x="1136" y="210"/>
                  </a:lnTo>
                  <a:lnTo>
                    <a:pt x="1125" y="226"/>
                  </a:lnTo>
                  <a:lnTo>
                    <a:pt x="1125" y="259"/>
                  </a:lnTo>
                  <a:lnTo>
                    <a:pt x="1125" y="278"/>
                  </a:lnTo>
                  <a:lnTo>
                    <a:pt x="1113" y="304"/>
                  </a:lnTo>
                  <a:lnTo>
                    <a:pt x="1099" y="304"/>
                  </a:lnTo>
                  <a:lnTo>
                    <a:pt x="1091" y="316"/>
                  </a:lnTo>
                  <a:lnTo>
                    <a:pt x="1082" y="337"/>
                  </a:lnTo>
                  <a:lnTo>
                    <a:pt x="1099" y="349"/>
                  </a:lnTo>
                  <a:lnTo>
                    <a:pt x="1070" y="361"/>
                  </a:lnTo>
                  <a:lnTo>
                    <a:pt x="1070" y="389"/>
                  </a:lnTo>
                  <a:lnTo>
                    <a:pt x="1061" y="406"/>
                  </a:lnTo>
                  <a:lnTo>
                    <a:pt x="1054" y="427"/>
                  </a:lnTo>
                  <a:lnTo>
                    <a:pt x="1037" y="415"/>
                  </a:lnTo>
                  <a:lnTo>
                    <a:pt x="1006" y="415"/>
                  </a:lnTo>
                  <a:lnTo>
                    <a:pt x="985" y="434"/>
                  </a:lnTo>
                  <a:lnTo>
                    <a:pt x="947" y="427"/>
                  </a:lnTo>
                  <a:lnTo>
                    <a:pt x="936" y="411"/>
                  </a:lnTo>
                  <a:lnTo>
                    <a:pt x="898" y="411"/>
                  </a:lnTo>
                  <a:lnTo>
                    <a:pt x="881" y="415"/>
                  </a:lnTo>
                  <a:lnTo>
                    <a:pt x="877" y="444"/>
                  </a:lnTo>
                  <a:lnTo>
                    <a:pt x="865" y="444"/>
                  </a:lnTo>
                  <a:lnTo>
                    <a:pt x="860" y="460"/>
                  </a:lnTo>
                  <a:lnTo>
                    <a:pt x="810" y="451"/>
                  </a:lnTo>
                  <a:lnTo>
                    <a:pt x="768" y="467"/>
                  </a:lnTo>
                  <a:lnTo>
                    <a:pt x="704" y="411"/>
                  </a:lnTo>
                  <a:lnTo>
                    <a:pt x="697" y="389"/>
                  </a:lnTo>
                  <a:lnTo>
                    <a:pt x="704" y="377"/>
                  </a:lnTo>
                  <a:lnTo>
                    <a:pt x="704" y="389"/>
                  </a:lnTo>
                  <a:lnTo>
                    <a:pt x="718" y="406"/>
                  </a:lnTo>
                  <a:lnTo>
                    <a:pt x="747" y="406"/>
                  </a:lnTo>
                  <a:lnTo>
                    <a:pt x="751" y="394"/>
                  </a:lnTo>
                  <a:lnTo>
                    <a:pt x="758" y="411"/>
                  </a:lnTo>
                  <a:lnTo>
                    <a:pt x="784" y="415"/>
                  </a:lnTo>
                  <a:lnTo>
                    <a:pt x="773" y="415"/>
                  </a:lnTo>
                  <a:lnTo>
                    <a:pt x="784" y="411"/>
                  </a:lnTo>
                  <a:lnTo>
                    <a:pt x="810" y="427"/>
                  </a:lnTo>
                  <a:lnTo>
                    <a:pt x="827" y="427"/>
                  </a:lnTo>
                  <a:lnTo>
                    <a:pt x="806" y="415"/>
                  </a:lnTo>
                  <a:lnTo>
                    <a:pt x="801" y="411"/>
                  </a:lnTo>
                  <a:lnTo>
                    <a:pt x="810" y="377"/>
                  </a:lnTo>
                  <a:lnTo>
                    <a:pt x="822" y="373"/>
                  </a:lnTo>
                  <a:lnTo>
                    <a:pt x="810" y="373"/>
                  </a:lnTo>
                  <a:lnTo>
                    <a:pt x="810" y="356"/>
                  </a:lnTo>
                  <a:lnTo>
                    <a:pt x="827" y="356"/>
                  </a:lnTo>
                  <a:lnTo>
                    <a:pt x="827" y="333"/>
                  </a:lnTo>
                  <a:lnTo>
                    <a:pt x="843" y="321"/>
                  </a:lnTo>
                  <a:lnTo>
                    <a:pt x="936" y="300"/>
                  </a:lnTo>
                  <a:lnTo>
                    <a:pt x="1006" y="222"/>
                  </a:lnTo>
                  <a:lnTo>
                    <a:pt x="1006" y="193"/>
                  </a:lnTo>
                  <a:lnTo>
                    <a:pt x="1016" y="193"/>
                  </a:lnTo>
                  <a:lnTo>
                    <a:pt x="1028" y="193"/>
                  </a:lnTo>
                  <a:lnTo>
                    <a:pt x="1054" y="238"/>
                  </a:lnTo>
                  <a:lnTo>
                    <a:pt x="1070" y="226"/>
                  </a:lnTo>
                  <a:lnTo>
                    <a:pt x="1070" y="210"/>
                  </a:lnTo>
                  <a:lnTo>
                    <a:pt x="1070" y="188"/>
                  </a:lnTo>
                  <a:lnTo>
                    <a:pt x="1082" y="172"/>
                  </a:lnTo>
                  <a:lnTo>
                    <a:pt x="1082" y="181"/>
                  </a:lnTo>
                  <a:lnTo>
                    <a:pt x="1082" y="210"/>
                  </a:lnTo>
                  <a:lnTo>
                    <a:pt x="1108" y="210"/>
                  </a:lnTo>
                  <a:lnTo>
                    <a:pt x="1091" y="172"/>
                  </a:lnTo>
                  <a:lnTo>
                    <a:pt x="1091" y="172"/>
                  </a:lnTo>
                  <a:lnTo>
                    <a:pt x="1108" y="172"/>
                  </a:lnTo>
                  <a:lnTo>
                    <a:pt x="1113" y="165"/>
                  </a:lnTo>
                  <a:lnTo>
                    <a:pt x="1125" y="148"/>
                  </a:lnTo>
                  <a:lnTo>
                    <a:pt x="1108" y="139"/>
                  </a:lnTo>
                  <a:lnTo>
                    <a:pt x="1108" y="132"/>
                  </a:lnTo>
                  <a:lnTo>
                    <a:pt x="1113" y="127"/>
                  </a:lnTo>
                  <a:lnTo>
                    <a:pt x="1136" y="127"/>
                  </a:lnTo>
                  <a:lnTo>
                    <a:pt x="1151" y="99"/>
                  </a:lnTo>
                  <a:lnTo>
                    <a:pt x="1162" y="82"/>
                  </a:lnTo>
                  <a:lnTo>
                    <a:pt x="1184" y="61"/>
                  </a:lnTo>
                  <a:lnTo>
                    <a:pt x="1200" y="21"/>
                  </a:lnTo>
                  <a:lnTo>
                    <a:pt x="1205" y="25"/>
                  </a:lnTo>
                  <a:lnTo>
                    <a:pt x="1205" y="54"/>
                  </a:lnTo>
                  <a:lnTo>
                    <a:pt x="1233" y="21"/>
                  </a:lnTo>
                  <a:lnTo>
                    <a:pt x="1238" y="21"/>
                  </a:lnTo>
                  <a:lnTo>
                    <a:pt x="1238" y="44"/>
                  </a:lnTo>
                  <a:lnTo>
                    <a:pt x="1271" y="54"/>
                  </a:lnTo>
                  <a:lnTo>
                    <a:pt x="1271" y="61"/>
                  </a:lnTo>
                  <a:lnTo>
                    <a:pt x="1271" y="77"/>
                  </a:lnTo>
                  <a:lnTo>
                    <a:pt x="1259" y="77"/>
                  </a:lnTo>
                  <a:lnTo>
                    <a:pt x="1271" y="94"/>
                  </a:lnTo>
                  <a:lnTo>
                    <a:pt x="1254" y="99"/>
                  </a:lnTo>
                  <a:lnTo>
                    <a:pt x="1276" y="99"/>
                  </a:lnTo>
                  <a:lnTo>
                    <a:pt x="1292" y="82"/>
                  </a:lnTo>
                  <a:lnTo>
                    <a:pt x="1297" y="99"/>
                  </a:lnTo>
                  <a:lnTo>
                    <a:pt x="1288" y="111"/>
                  </a:lnTo>
                  <a:lnTo>
                    <a:pt x="1288" y="115"/>
                  </a:lnTo>
                  <a:lnTo>
                    <a:pt x="1314" y="111"/>
                  </a:lnTo>
                  <a:lnTo>
                    <a:pt x="1351" y="132"/>
                  </a:lnTo>
                  <a:lnTo>
                    <a:pt x="1377" y="132"/>
                  </a:lnTo>
                  <a:lnTo>
                    <a:pt x="1377" y="139"/>
                  </a:lnTo>
                  <a:lnTo>
                    <a:pt x="1377" y="155"/>
                  </a:lnTo>
                  <a:lnTo>
                    <a:pt x="1363" y="155"/>
                  </a:lnTo>
                  <a:lnTo>
                    <a:pt x="1340" y="172"/>
                  </a:lnTo>
                  <a:lnTo>
                    <a:pt x="1314" y="165"/>
                  </a:lnTo>
                  <a:lnTo>
                    <a:pt x="1297" y="172"/>
                  </a:lnTo>
                  <a:lnTo>
                    <a:pt x="1309" y="188"/>
                  </a:lnTo>
                  <a:lnTo>
                    <a:pt x="1325" y="193"/>
                  </a:lnTo>
                  <a:lnTo>
                    <a:pt x="1325" y="205"/>
                  </a:lnTo>
                  <a:lnTo>
                    <a:pt x="1330" y="205"/>
                  </a:lnTo>
                  <a:lnTo>
                    <a:pt x="1340" y="205"/>
                  </a:lnTo>
                  <a:lnTo>
                    <a:pt x="1330" y="210"/>
                  </a:lnTo>
                  <a:lnTo>
                    <a:pt x="1292" y="222"/>
                  </a:lnTo>
                  <a:lnTo>
                    <a:pt x="1271" y="210"/>
                  </a:lnTo>
                  <a:lnTo>
                    <a:pt x="1259" y="226"/>
                  </a:lnTo>
                  <a:lnTo>
                    <a:pt x="1259" y="226"/>
                  </a:lnTo>
                  <a:lnTo>
                    <a:pt x="1259" y="226"/>
                  </a:lnTo>
                  <a:close/>
                  <a:moveTo>
                    <a:pt x="1243" y="44"/>
                  </a:moveTo>
                  <a:lnTo>
                    <a:pt x="1254" y="37"/>
                  </a:lnTo>
                  <a:lnTo>
                    <a:pt x="1254" y="44"/>
                  </a:lnTo>
                  <a:lnTo>
                    <a:pt x="1254" y="44"/>
                  </a:lnTo>
                  <a:lnTo>
                    <a:pt x="1243" y="44"/>
                  </a:lnTo>
                  <a:lnTo>
                    <a:pt x="1243" y="44"/>
                  </a:lnTo>
                  <a:lnTo>
                    <a:pt x="1243" y="44"/>
                  </a:lnTo>
                  <a:close/>
                  <a:moveTo>
                    <a:pt x="33" y="61"/>
                  </a:moveTo>
                  <a:lnTo>
                    <a:pt x="38" y="44"/>
                  </a:lnTo>
                  <a:lnTo>
                    <a:pt x="50" y="44"/>
                  </a:lnTo>
                  <a:lnTo>
                    <a:pt x="54" y="54"/>
                  </a:lnTo>
                  <a:lnTo>
                    <a:pt x="71" y="61"/>
                  </a:lnTo>
                  <a:lnTo>
                    <a:pt x="83" y="54"/>
                  </a:lnTo>
                  <a:lnTo>
                    <a:pt x="88" y="77"/>
                  </a:lnTo>
                  <a:lnTo>
                    <a:pt x="104" y="77"/>
                  </a:lnTo>
                  <a:lnTo>
                    <a:pt x="104" y="94"/>
                  </a:lnTo>
                  <a:lnTo>
                    <a:pt x="92" y="111"/>
                  </a:lnTo>
                  <a:lnTo>
                    <a:pt x="104" y="115"/>
                  </a:lnTo>
                  <a:lnTo>
                    <a:pt x="137" y="99"/>
                  </a:lnTo>
                  <a:lnTo>
                    <a:pt x="142" y="111"/>
                  </a:lnTo>
                  <a:lnTo>
                    <a:pt x="158" y="111"/>
                  </a:lnTo>
                  <a:lnTo>
                    <a:pt x="175" y="77"/>
                  </a:lnTo>
                  <a:lnTo>
                    <a:pt x="189" y="77"/>
                  </a:lnTo>
                  <a:lnTo>
                    <a:pt x="201" y="99"/>
                  </a:lnTo>
                  <a:lnTo>
                    <a:pt x="243" y="132"/>
                  </a:lnTo>
                  <a:lnTo>
                    <a:pt x="265" y="172"/>
                  </a:lnTo>
                  <a:lnTo>
                    <a:pt x="272" y="210"/>
                  </a:lnTo>
                  <a:lnTo>
                    <a:pt x="255" y="259"/>
                  </a:lnTo>
                  <a:lnTo>
                    <a:pt x="272" y="278"/>
                  </a:lnTo>
                  <a:lnTo>
                    <a:pt x="265" y="316"/>
                  </a:lnTo>
                  <a:lnTo>
                    <a:pt x="281" y="333"/>
                  </a:lnTo>
                  <a:lnTo>
                    <a:pt x="298" y="337"/>
                  </a:lnTo>
                  <a:lnTo>
                    <a:pt x="326" y="406"/>
                  </a:lnTo>
                  <a:lnTo>
                    <a:pt x="326" y="427"/>
                  </a:lnTo>
                  <a:lnTo>
                    <a:pt x="310" y="427"/>
                  </a:lnTo>
                  <a:lnTo>
                    <a:pt x="303" y="411"/>
                  </a:lnTo>
                  <a:lnTo>
                    <a:pt x="303" y="427"/>
                  </a:lnTo>
                  <a:lnTo>
                    <a:pt x="288" y="415"/>
                  </a:lnTo>
                  <a:lnTo>
                    <a:pt x="272" y="434"/>
                  </a:lnTo>
                  <a:lnTo>
                    <a:pt x="265" y="415"/>
                  </a:lnTo>
                  <a:lnTo>
                    <a:pt x="217" y="394"/>
                  </a:lnTo>
                  <a:lnTo>
                    <a:pt x="201" y="377"/>
                  </a:lnTo>
                  <a:lnTo>
                    <a:pt x="180" y="361"/>
                  </a:lnTo>
                  <a:lnTo>
                    <a:pt x="147" y="337"/>
                  </a:lnTo>
                  <a:lnTo>
                    <a:pt x="121" y="321"/>
                  </a:lnTo>
                  <a:lnTo>
                    <a:pt x="125" y="304"/>
                  </a:lnTo>
                  <a:lnTo>
                    <a:pt x="121" y="295"/>
                  </a:lnTo>
                  <a:lnTo>
                    <a:pt x="92" y="266"/>
                  </a:lnTo>
                  <a:lnTo>
                    <a:pt x="83" y="250"/>
                  </a:lnTo>
                  <a:lnTo>
                    <a:pt x="88" y="250"/>
                  </a:lnTo>
                  <a:lnTo>
                    <a:pt x="71" y="243"/>
                  </a:lnTo>
                  <a:lnTo>
                    <a:pt x="83" y="238"/>
                  </a:lnTo>
                  <a:lnTo>
                    <a:pt x="88" y="238"/>
                  </a:lnTo>
                  <a:lnTo>
                    <a:pt x="71" y="226"/>
                  </a:lnTo>
                  <a:lnTo>
                    <a:pt x="71" y="181"/>
                  </a:lnTo>
                  <a:lnTo>
                    <a:pt x="50" y="155"/>
                  </a:lnTo>
                  <a:lnTo>
                    <a:pt x="54" y="148"/>
                  </a:lnTo>
                  <a:lnTo>
                    <a:pt x="50" y="94"/>
                  </a:lnTo>
                  <a:lnTo>
                    <a:pt x="33" y="61"/>
                  </a:lnTo>
                  <a:lnTo>
                    <a:pt x="33" y="61"/>
                  </a:lnTo>
                  <a:lnTo>
                    <a:pt x="33" y="61"/>
                  </a:lnTo>
                  <a:close/>
                  <a:moveTo>
                    <a:pt x="17" y="61"/>
                  </a:moveTo>
                  <a:lnTo>
                    <a:pt x="17" y="70"/>
                  </a:lnTo>
                  <a:lnTo>
                    <a:pt x="12" y="77"/>
                  </a:lnTo>
                  <a:lnTo>
                    <a:pt x="0" y="61"/>
                  </a:lnTo>
                  <a:lnTo>
                    <a:pt x="17" y="61"/>
                  </a:lnTo>
                  <a:lnTo>
                    <a:pt x="17" y="61"/>
                  </a:lnTo>
                  <a:lnTo>
                    <a:pt x="17" y="61"/>
                  </a:lnTo>
                  <a:close/>
                  <a:moveTo>
                    <a:pt x="50" y="132"/>
                  </a:moveTo>
                  <a:lnTo>
                    <a:pt x="50" y="148"/>
                  </a:lnTo>
                  <a:lnTo>
                    <a:pt x="38" y="148"/>
                  </a:lnTo>
                  <a:lnTo>
                    <a:pt x="38" y="132"/>
                  </a:lnTo>
                  <a:lnTo>
                    <a:pt x="50" y="132"/>
                  </a:lnTo>
                  <a:lnTo>
                    <a:pt x="50" y="132"/>
                  </a:lnTo>
                  <a:lnTo>
                    <a:pt x="50" y="132"/>
                  </a:lnTo>
                  <a:close/>
                  <a:moveTo>
                    <a:pt x="1091" y="148"/>
                  </a:moveTo>
                  <a:lnTo>
                    <a:pt x="1099" y="139"/>
                  </a:lnTo>
                  <a:lnTo>
                    <a:pt x="1099" y="139"/>
                  </a:lnTo>
                  <a:lnTo>
                    <a:pt x="1091" y="148"/>
                  </a:lnTo>
                  <a:lnTo>
                    <a:pt x="1091" y="148"/>
                  </a:lnTo>
                  <a:lnTo>
                    <a:pt x="1091" y="148"/>
                  </a:lnTo>
                  <a:close/>
                  <a:moveTo>
                    <a:pt x="1288" y="226"/>
                  </a:moveTo>
                  <a:lnTo>
                    <a:pt x="1271" y="226"/>
                  </a:lnTo>
                  <a:lnTo>
                    <a:pt x="1271" y="222"/>
                  </a:lnTo>
                  <a:lnTo>
                    <a:pt x="1288" y="226"/>
                  </a:lnTo>
                  <a:lnTo>
                    <a:pt x="1288" y="226"/>
                  </a:lnTo>
                  <a:lnTo>
                    <a:pt x="1288" y="226"/>
                  </a:lnTo>
                  <a:close/>
                  <a:moveTo>
                    <a:pt x="822" y="349"/>
                  </a:moveTo>
                  <a:lnTo>
                    <a:pt x="822" y="321"/>
                  </a:lnTo>
                  <a:lnTo>
                    <a:pt x="827" y="356"/>
                  </a:lnTo>
                  <a:lnTo>
                    <a:pt x="822" y="349"/>
                  </a:lnTo>
                  <a:lnTo>
                    <a:pt x="822" y="349"/>
                  </a:lnTo>
                  <a:lnTo>
                    <a:pt x="822" y="34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5" name="Freeform 516">
              <a:extLst>
                <a:ext uri="{FF2B5EF4-FFF2-40B4-BE49-F238E27FC236}">
                  <a16:creationId xmlns:a16="http://schemas.microsoft.com/office/drawing/2014/main" id="{E5FE30A0-4B6F-43BE-B4AA-0A1E77BB53C1}"/>
                </a:ext>
              </a:extLst>
            </p:cNvPr>
            <p:cNvSpPr>
              <a:spLocks noEditPoints="1"/>
            </p:cNvSpPr>
            <p:nvPr/>
          </p:nvSpPr>
          <p:spPr bwMode="gray">
            <a:xfrm>
              <a:off x="14438689" y="4361842"/>
              <a:ext cx="243509" cy="401266"/>
            </a:xfrm>
            <a:custGeom>
              <a:avLst/>
              <a:gdLst>
                <a:gd name="T0" fmla="*/ 206 w 744"/>
                <a:gd name="T1" fmla="*/ 260 h 1226"/>
                <a:gd name="T2" fmla="*/ 298 w 744"/>
                <a:gd name="T3" fmla="*/ 305 h 1226"/>
                <a:gd name="T4" fmla="*/ 293 w 744"/>
                <a:gd name="T5" fmla="*/ 414 h 1226"/>
                <a:gd name="T6" fmla="*/ 331 w 744"/>
                <a:gd name="T7" fmla="*/ 470 h 1226"/>
                <a:gd name="T8" fmla="*/ 352 w 744"/>
                <a:gd name="T9" fmla="*/ 491 h 1226"/>
                <a:gd name="T10" fmla="*/ 364 w 744"/>
                <a:gd name="T11" fmla="*/ 414 h 1226"/>
                <a:gd name="T12" fmla="*/ 397 w 744"/>
                <a:gd name="T13" fmla="*/ 364 h 1226"/>
                <a:gd name="T14" fmla="*/ 397 w 744"/>
                <a:gd name="T15" fmla="*/ 310 h 1226"/>
                <a:gd name="T16" fmla="*/ 310 w 744"/>
                <a:gd name="T17" fmla="*/ 220 h 1226"/>
                <a:gd name="T18" fmla="*/ 293 w 744"/>
                <a:gd name="T19" fmla="*/ 128 h 1226"/>
                <a:gd name="T20" fmla="*/ 331 w 744"/>
                <a:gd name="T21" fmla="*/ 83 h 1226"/>
                <a:gd name="T22" fmla="*/ 418 w 744"/>
                <a:gd name="T23" fmla="*/ 83 h 1226"/>
                <a:gd name="T24" fmla="*/ 461 w 744"/>
                <a:gd name="T25" fmla="*/ 83 h 1226"/>
                <a:gd name="T26" fmla="*/ 543 w 744"/>
                <a:gd name="T27" fmla="*/ 66 h 1226"/>
                <a:gd name="T28" fmla="*/ 612 w 744"/>
                <a:gd name="T29" fmla="*/ 54 h 1226"/>
                <a:gd name="T30" fmla="*/ 721 w 744"/>
                <a:gd name="T31" fmla="*/ 0 h 1226"/>
                <a:gd name="T32" fmla="*/ 728 w 744"/>
                <a:gd name="T33" fmla="*/ 33 h 1226"/>
                <a:gd name="T34" fmla="*/ 728 w 744"/>
                <a:gd name="T35" fmla="*/ 38 h 1226"/>
                <a:gd name="T36" fmla="*/ 721 w 744"/>
                <a:gd name="T37" fmla="*/ 88 h 1226"/>
                <a:gd name="T38" fmla="*/ 732 w 744"/>
                <a:gd name="T39" fmla="*/ 166 h 1226"/>
                <a:gd name="T40" fmla="*/ 728 w 744"/>
                <a:gd name="T41" fmla="*/ 182 h 1226"/>
                <a:gd name="T42" fmla="*/ 721 w 744"/>
                <a:gd name="T43" fmla="*/ 272 h 1226"/>
                <a:gd name="T44" fmla="*/ 728 w 744"/>
                <a:gd name="T45" fmla="*/ 293 h 1226"/>
                <a:gd name="T46" fmla="*/ 732 w 744"/>
                <a:gd name="T47" fmla="*/ 343 h 1226"/>
                <a:gd name="T48" fmla="*/ 728 w 744"/>
                <a:gd name="T49" fmla="*/ 364 h 1226"/>
                <a:gd name="T50" fmla="*/ 673 w 744"/>
                <a:gd name="T51" fmla="*/ 425 h 1226"/>
                <a:gd name="T52" fmla="*/ 624 w 744"/>
                <a:gd name="T53" fmla="*/ 470 h 1226"/>
                <a:gd name="T54" fmla="*/ 489 w 744"/>
                <a:gd name="T55" fmla="*/ 536 h 1226"/>
                <a:gd name="T56" fmla="*/ 473 w 744"/>
                <a:gd name="T57" fmla="*/ 565 h 1226"/>
                <a:gd name="T58" fmla="*/ 406 w 744"/>
                <a:gd name="T59" fmla="*/ 619 h 1226"/>
                <a:gd name="T60" fmla="*/ 314 w 744"/>
                <a:gd name="T61" fmla="*/ 690 h 1226"/>
                <a:gd name="T62" fmla="*/ 343 w 744"/>
                <a:gd name="T63" fmla="*/ 775 h 1226"/>
                <a:gd name="T64" fmla="*/ 352 w 744"/>
                <a:gd name="T65" fmla="*/ 884 h 1226"/>
                <a:gd name="T66" fmla="*/ 369 w 744"/>
                <a:gd name="T67" fmla="*/ 874 h 1226"/>
                <a:gd name="T68" fmla="*/ 380 w 744"/>
                <a:gd name="T69" fmla="*/ 928 h 1226"/>
                <a:gd name="T70" fmla="*/ 352 w 744"/>
                <a:gd name="T71" fmla="*/ 1006 h 1226"/>
                <a:gd name="T72" fmla="*/ 331 w 744"/>
                <a:gd name="T73" fmla="*/ 1051 h 1226"/>
                <a:gd name="T74" fmla="*/ 163 w 744"/>
                <a:gd name="T75" fmla="*/ 1155 h 1226"/>
                <a:gd name="T76" fmla="*/ 184 w 744"/>
                <a:gd name="T77" fmla="*/ 1226 h 1226"/>
                <a:gd name="T78" fmla="*/ 125 w 744"/>
                <a:gd name="T79" fmla="*/ 1155 h 1226"/>
                <a:gd name="T80" fmla="*/ 92 w 744"/>
                <a:gd name="T81" fmla="*/ 966 h 1226"/>
                <a:gd name="T82" fmla="*/ 151 w 744"/>
                <a:gd name="T83" fmla="*/ 801 h 1226"/>
                <a:gd name="T84" fmla="*/ 163 w 744"/>
                <a:gd name="T85" fmla="*/ 768 h 1226"/>
                <a:gd name="T86" fmla="*/ 184 w 744"/>
                <a:gd name="T87" fmla="*/ 730 h 1226"/>
                <a:gd name="T88" fmla="*/ 184 w 744"/>
                <a:gd name="T89" fmla="*/ 636 h 1226"/>
                <a:gd name="T90" fmla="*/ 184 w 744"/>
                <a:gd name="T91" fmla="*/ 607 h 1226"/>
                <a:gd name="T92" fmla="*/ 191 w 744"/>
                <a:gd name="T93" fmla="*/ 569 h 1226"/>
                <a:gd name="T94" fmla="*/ 191 w 744"/>
                <a:gd name="T95" fmla="*/ 515 h 1226"/>
                <a:gd name="T96" fmla="*/ 191 w 744"/>
                <a:gd name="T97" fmla="*/ 458 h 1226"/>
                <a:gd name="T98" fmla="*/ 147 w 744"/>
                <a:gd name="T99" fmla="*/ 442 h 1226"/>
                <a:gd name="T100" fmla="*/ 83 w 744"/>
                <a:gd name="T101" fmla="*/ 421 h 1226"/>
                <a:gd name="T102" fmla="*/ 17 w 744"/>
                <a:gd name="T103" fmla="*/ 380 h 1226"/>
                <a:gd name="T104" fmla="*/ 678 w 744"/>
                <a:gd name="T105" fmla="*/ 437 h 1226"/>
                <a:gd name="T106" fmla="*/ 678 w 744"/>
                <a:gd name="T107" fmla="*/ 437 h 1226"/>
                <a:gd name="T108" fmla="*/ 191 w 744"/>
                <a:gd name="T109" fmla="*/ 1160 h 1226"/>
                <a:gd name="T110" fmla="*/ 191 w 744"/>
                <a:gd name="T111" fmla="*/ 116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44" h="1226">
                  <a:moveTo>
                    <a:pt x="17" y="380"/>
                  </a:moveTo>
                  <a:lnTo>
                    <a:pt x="0" y="331"/>
                  </a:lnTo>
                  <a:lnTo>
                    <a:pt x="206" y="260"/>
                  </a:lnTo>
                  <a:lnTo>
                    <a:pt x="239" y="305"/>
                  </a:lnTo>
                  <a:lnTo>
                    <a:pt x="288" y="288"/>
                  </a:lnTo>
                  <a:lnTo>
                    <a:pt x="298" y="305"/>
                  </a:lnTo>
                  <a:lnTo>
                    <a:pt x="298" y="359"/>
                  </a:lnTo>
                  <a:lnTo>
                    <a:pt x="276" y="397"/>
                  </a:lnTo>
                  <a:lnTo>
                    <a:pt x="293" y="414"/>
                  </a:lnTo>
                  <a:lnTo>
                    <a:pt x="293" y="425"/>
                  </a:lnTo>
                  <a:lnTo>
                    <a:pt x="298" y="425"/>
                  </a:lnTo>
                  <a:lnTo>
                    <a:pt x="331" y="470"/>
                  </a:lnTo>
                  <a:lnTo>
                    <a:pt x="347" y="470"/>
                  </a:lnTo>
                  <a:lnTo>
                    <a:pt x="343" y="491"/>
                  </a:lnTo>
                  <a:lnTo>
                    <a:pt x="352" y="491"/>
                  </a:lnTo>
                  <a:lnTo>
                    <a:pt x="352" y="458"/>
                  </a:lnTo>
                  <a:lnTo>
                    <a:pt x="343" y="442"/>
                  </a:lnTo>
                  <a:lnTo>
                    <a:pt x="364" y="414"/>
                  </a:lnTo>
                  <a:lnTo>
                    <a:pt x="369" y="421"/>
                  </a:lnTo>
                  <a:lnTo>
                    <a:pt x="397" y="404"/>
                  </a:lnTo>
                  <a:lnTo>
                    <a:pt x="397" y="364"/>
                  </a:lnTo>
                  <a:lnTo>
                    <a:pt x="385" y="347"/>
                  </a:lnTo>
                  <a:lnTo>
                    <a:pt x="402" y="326"/>
                  </a:lnTo>
                  <a:lnTo>
                    <a:pt x="397" y="310"/>
                  </a:lnTo>
                  <a:lnTo>
                    <a:pt x="343" y="236"/>
                  </a:lnTo>
                  <a:lnTo>
                    <a:pt x="326" y="220"/>
                  </a:lnTo>
                  <a:lnTo>
                    <a:pt x="310" y="220"/>
                  </a:lnTo>
                  <a:lnTo>
                    <a:pt x="298" y="215"/>
                  </a:lnTo>
                  <a:lnTo>
                    <a:pt x="298" y="166"/>
                  </a:lnTo>
                  <a:lnTo>
                    <a:pt x="293" y="128"/>
                  </a:lnTo>
                  <a:lnTo>
                    <a:pt x="310" y="95"/>
                  </a:lnTo>
                  <a:lnTo>
                    <a:pt x="310" y="83"/>
                  </a:lnTo>
                  <a:lnTo>
                    <a:pt x="331" y="83"/>
                  </a:lnTo>
                  <a:lnTo>
                    <a:pt x="369" y="88"/>
                  </a:lnTo>
                  <a:lnTo>
                    <a:pt x="397" y="71"/>
                  </a:lnTo>
                  <a:lnTo>
                    <a:pt x="418" y="83"/>
                  </a:lnTo>
                  <a:lnTo>
                    <a:pt x="418" y="95"/>
                  </a:lnTo>
                  <a:lnTo>
                    <a:pt x="439" y="95"/>
                  </a:lnTo>
                  <a:lnTo>
                    <a:pt x="461" y="83"/>
                  </a:lnTo>
                  <a:lnTo>
                    <a:pt x="510" y="95"/>
                  </a:lnTo>
                  <a:lnTo>
                    <a:pt x="532" y="83"/>
                  </a:lnTo>
                  <a:lnTo>
                    <a:pt x="543" y="66"/>
                  </a:lnTo>
                  <a:lnTo>
                    <a:pt x="548" y="54"/>
                  </a:lnTo>
                  <a:lnTo>
                    <a:pt x="581" y="71"/>
                  </a:lnTo>
                  <a:lnTo>
                    <a:pt x="612" y="54"/>
                  </a:lnTo>
                  <a:lnTo>
                    <a:pt x="636" y="54"/>
                  </a:lnTo>
                  <a:lnTo>
                    <a:pt x="721" y="0"/>
                  </a:lnTo>
                  <a:lnTo>
                    <a:pt x="721" y="0"/>
                  </a:lnTo>
                  <a:lnTo>
                    <a:pt x="728" y="17"/>
                  </a:lnTo>
                  <a:lnTo>
                    <a:pt x="721" y="29"/>
                  </a:lnTo>
                  <a:lnTo>
                    <a:pt x="728" y="33"/>
                  </a:lnTo>
                  <a:lnTo>
                    <a:pt x="721" y="33"/>
                  </a:lnTo>
                  <a:lnTo>
                    <a:pt x="721" y="38"/>
                  </a:lnTo>
                  <a:lnTo>
                    <a:pt x="728" y="38"/>
                  </a:lnTo>
                  <a:lnTo>
                    <a:pt x="711" y="66"/>
                  </a:lnTo>
                  <a:lnTo>
                    <a:pt x="721" y="71"/>
                  </a:lnTo>
                  <a:lnTo>
                    <a:pt x="721" y="88"/>
                  </a:lnTo>
                  <a:lnTo>
                    <a:pt x="721" y="111"/>
                  </a:lnTo>
                  <a:lnTo>
                    <a:pt x="721" y="149"/>
                  </a:lnTo>
                  <a:lnTo>
                    <a:pt x="732" y="166"/>
                  </a:lnTo>
                  <a:lnTo>
                    <a:pt x="711" y="182"/>
                  </a:lnTo>
                  <a:lnTo>
                    <a:pt x="721" y="194"/>
                  </a:lnTo>
                  <a:lnTo>
                    <a:pt x="728" y="182"/>
                  </a:lnTo>
                  <a:lnTo>
                    <a:pt x="721" y="220"/>
                  </a:lnTo>
                  <a:lnTo>
                    <a:pt x="732" y="260"/>
                  </a:lnTo>
                  <a:lnTo>
                    <a:pt x="721" y="272"/>
                  </a:lnTo>
                  <a:lnTo>
                    <a:pt x="728" y="277"/>
                  </a:lnTo>
                  <a:lnTo>
                    <a:pt x="732" y="277"/>
                  </a:lnTo>
                  <a:lnTo>
                    <a:pt x="728" y="293"/>
                  </a:lnTo>
                  <a:lnTo>
                    <a:pt x="744" y="288"/>
                  </a:lnTo>
                  <a:lnTo>
                    <a:pt x="744" y="310"/>
                  </a:lnTo>
                  <a:lnTo>
                    <a:pt x="732" y="343"/>
                  </a:lnTo>
                  <a:lnTo>
                    <a:pt x="721" y="343"/>
                  </a:lnTo>
                  <a:lnTo>
                    <a:pt x="732" y="347"/>
                  </a:lnTo>
                  <a:lnTo>
                    <a:pt x="728" y="364"/>
                  </a:lnTo>
                  <a:lnTo>
                    <a:pt x="695" y="404"/>
                  </a:lnTo>
                  <a:lnTo>
                    <a:pt x="690" y="421"/>
                  </a:lnTo>
                  <a:lnTo>
                    <a:pt x="673" y="425"/>
                  </a:lnTo>
                  <a:lnTo>
                    <a:pt x="673" y="437"/>
                  </a:lnTo>
                  <a:lnTo>
                    <a:pt x="666" y="442"/>
                  </a:lnTo>
                  <a:lnTo>
                    <a:pt x="624" y="470"/>
                  </a:lnTo>
                  <a:lnTo>
                    <a:pt x="619" y="475"/>
                  </a:lnTo>
                  <a:lnTo>
                    <a:pt x="532" y="508"/>
                  </a:lnTo>
                  <a:lnTo>
                    <a:pt x="489" y="536"/>
                  </a:lnTo>
                  <a:lnTo>
                    <a:pt x="473" y="553"/>
                  </a:lnTo>
                  <a:lnTo>
                    <a:pt x="461" y="548"/>
                  </a:lnTo>
                  <a:lnTo>
                    <a:pt x="473" y="565"/>
                  </a:lnTo>
                  <a:lnTo>
                    <a:pt x="423" y="619"/>
                  </a:lnTo>
                  <a:lnTo>
                    <a:pt x="406" y="619"/>
                  </a:lnTo>
                  <a:lnTo>
                    <a:pt x="406" y="619"/>
                  </a:lnTo>
                  <a:lnTo>
                    <a:pt x="326" y="697"/>
                  </a:lnTo>
                  <a:lnTo>
                    <a:pt x="310" y="673"/>
                  </a:lnTo>
                  <a:lnTo>
                    <a:pt x="314" y="690"/>
                  </a:lnTo>
                  <a:lnTo>
                    <a:pt x="314" y="718"/>
                  </a:lnTo>
                  <a:lnTo>
                    <a:pt x="310" y="735"/>
                  </a:lnTo>
                  <a:lnTo>
                    <a:pt x="343" y="775"/>
                  </a:lnTo>
                  <a:lnTo>
                    <a:pt x="343" y="801"/>
                  </a:lnTo>
                  <a:lnTo>
                    <a:pt x="352" y="825"/>
                  </a:lnTo>
                  <a:lnTo>
                    <a:pt x="352" y="884"/>
                  </a:lnTo>
                  <a:lnTo>
                    <a:pt x="364" y="884"/>
                  </a:lnTo>
                  <a:lnTo>
                    <a:pt x="369" y="862"/>
                  </a:lnTo>
                  <a:lnTo>
                    <a:pt x="369" y="874"/>
                  </a:lnTo>
                  <a:lnTo>
                    <a:pt x="369" y="917"/>
                  </a:lnTo>
                  <a:lnTo>
                    <a:pt x="369" y="928"/>
                  </a:lnTo>
                  <a:lnTo>
                    <a:pt x="380" y="928"/>
                  </a:lnTo>
                  <a:lnTo>
                    <a:pt x="369" y="940"/>
                  </a:lnTo>
                  <a:lnTo>
                    <a:pt x="352" y="995"/>
                  </a:lnTo>
                  <a:lnTo>
                    <a:pt x="352" y="1006"/>
                  </a:lnTo>
                  <a:lnTo>
                    <a:pt x="369" y="990"/>
                  </a:lnTo>
                  <a:lnTo>
                    <a:pt x="369" y="1011"/>
                  </a:lnTo>
                  <a:lnTo>
                    <a:pt x="331" y="1051"/>
                  </a:lnTo>
                  <a:lnTo>
                    <a:pt x="239" y="1094"/>
                  </a:lnTo>
                  <a:lnTo>
                    <a:pt x="180" y="1134"/>
                  </a:lnTo>
                  <a:lnTo>
                    <a:pt x="163" y="1155"/>
                  </a:lnTo>
                  <a:lnTo>
                    <a:pt x="184" y="1177"/>
                  </a:lnTo>
                  <a:lnTo>
                    <a:pt x="191" y="1160"/>
                  </a:lnTo>
                  <a:lnTo>
                    <a:pt x="184" y="1226"/>
                  </a:lnTo>
                  <a:lnTo>
                    <a:pt x="130" y="1226"/>
                  </a:lnTo>
                  <a:lnTo>
                    <a:pt x="130" y="1172"/>
                  </a:lnTo>
                  <a:lnTo>
                    <a:pt x="125" y="1155"/>
                  </a:lnTo>
                  <a:lnTo>
                    <a:pt x="125" y="1040"/>
                  </a:lnTo>
                  <a:lnTo>
                    <a:pt x="113" y="1006"/>
                  </a:lnTo>
                  <a:lnTo>
                    <a:pt x="92" y="966"/>
                  </a:lnTo>
                  <a:lnTo>
                    <a:pt x="92" y="940"/>
                  </a:lnTo>
                  <a:lnTo>
                    <a:pt x="76" y="884"/>
                  </a:lnTo>
                  <a:lnTo>
                    <a:pt x="151" y="801"/>
                  </a:lnTo>
                  <a:lnTo>
                    <a:pt x="151" y="808"/>
                  </a:lnTo>
                  <a:lnTo>
                    <a:pt x="147" y="791"/>
                  </a:lnTo>
                  <a:lnTo>
                    <a:pt x="163" y="768"/>
                  </a:lnTo>
                  <a:lnTo>
                    <a:pt x="151" y="751"/>
                  </a:lnTo>
                  <a:lnTo>
                    <a:pt x="168" y="747"/>
                  </a:lnTo>
                  <a:lnTo>
                    <a:pt x="184" y="730"/>
                  </a:lnTo>
                  <a:lnTo>
                    <a:pt x="201" y="690"/>
                  </a:lnTo>
                  <a:lnTo>
                    <a:pt x="180" y="664"/>
                  </a:lnTo>
                  <a:lnTo>
                    <a:pt x="184" y="636"/>
                  </a:lnTo>
                  <a:lnTo>
                    <a:pt x="168" y="624"/>
                  </a:lnTo>
                  <a:lnTo>
                    <a:pt x="168" y="619"/>
                  </a:lnTo>
                  <a:lnTo>
                    <a:pt x="184" y="607"/>
                  </a:lnTo>
                  <a:lnTo>
                    <a:pt x="184" y="591"/>
                  </a:lnTo>
                  <a:lnTo>
                    <a:pt x="201" y="581"/>
                  </a:lnTo>
                  <a:lnTo>
                    <a:pt x="191" y="569"/>
                  </a:lnTo>
                  <a:lnTo>
                    <a:pt x="184" y="553"/>
                  </a:lnTo>
                  <a:lnTo>
                    <a:pt x="191" y="525"/>
                  </a:lnTo>
                  <a:lnTo>
                    <a:pt x="191" y="515"/>
                  </a:lnTo>
                  <a:lnTo>
                    <a:pt x="191" y="508"/>
                  </a:lnTo>
                  <a:lnTo>
                    <a:pt x="184" y="475"/>
                  </a:lnTo>
                  <a:lnTo>
                    <a:pt x="191" y="458"/>
                  </a:lnTo>
                  <a:lnTo>
                    <a:pt x="180" y="458"/>
                  </a:lnTo>
                  <a:lnTo>
                    <a:pt x="168" y="454"/>
                  </a:lnTo>
                  <a:lnTo>
                    <a:pt x="147" y="442"/>
                  </a:lnTo>
                  <a:lnTo>
                    <a:pt x="113" y="437"/>
                  </a:lnTo>
                  <a:lnTo>
                    <a:pt x="99" y="421"/>
                  </a:lnTo>
                  <a:lnTo>
                    <a:pt x="83" y="421"/>
                  </a:lnTo>
                  <a:lnTo>
                    <a:pt x="71" y="404"/>
                  </a:lnTo>
                  <a:lnTo>
                    <a:pt x="17" y="404"/>
                  </a:lnTo>
                  <a:lnTo>
                    <a:pt x="17" y="380"/>
                  </a:lnTo>
                  <a:lnTo>
                    <a:pt x="17" y="380"/>
                  </a:lnTo>
                  <a:lnTo>
                    <a:pt x="17" y="380"/>
                  </a:lnTo>
                  <a:close/>
                  <a:moveTo>
                    <a:pt x="678" y="437"/>
                  </a:moveTo>
                  <a:lnTo>
                    <a:pt x="673" y="425"/>
                  </a:lnTo>
                  <a:lnTo>
                    <a:pt x="678" y="425"/>
                  </a:lnTo>
                  <a:lnTo>
                    <a:pt x="678" y="437"/>
                  </a:lnTo>
                  <a:lnTo>
                    <a:pt x="678" y="437"/>
                  </a:lnTo>
                  <a:lnTo>
                    <a:pt x="678" y="437"/>
                  </a:lnTo>
                  <a:close/>
                  <a:moveTo>
                    <a:pt x="191" y="1160"/>
                  </a:moveTo>
                  <a:lnTo>
                    <a:pt x="184" y="1155"/>
                  </a:lnTo>
                  <a:lnTo>
                    <a:pt x="191" y="1155"/>
                  </a:lnTo>
                  <a:lnTo>
                    <a:pt x="191" y="1160"/>
                  </a:lnTo>
                  <a:lnTo>
                    <a:pt x="191" y="1160"/>
                  </a:lnTo>
                  <a:lnTo>
                    <a:pt x="191" y="116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6" name="Freeform 517">
              <a:extLst>
                <a:ext uri="{FF2B5EF4-FFF2-40B4-BE49-F238E27FC236}">
                  <a16:creationId xmlns:a16="http://schemas.microsoft.com/office/drawing/2014/main" id="{3D8433E8-A6CC-4F80-90E9-A96B1DDC7B20}"/>
                </a:ext>
              </a:extLst>
            </p:cNvPr>
            <p:cNvSpPr>
              <a:spLocks noEditPoints="1"/>
            </p:cNvSpPr>
            <p:nvPr/>
          </p:nvSpPr>
          <p:spPr bwMode="gray">
            <a:xfrm>
              <a:off x="17508731" y="4594550"/>
              <a:ext cx="92952" cy="61859"/>
            </a:xfrm>
            <a:custGeom>
              <a:avLst/>
              <a:gdLst>
                <a:gd name="T0" fmla="*/ 199 w 284"/>
                <a:gd name="T1" fmla="*/ 173 h 189"/>
                <a:gd name="T2" fmla="*/ 199 w 284"/>
                <a:gd name="T3" fmla="*/ 168 h 189"/>
                <a:gd name="T4" fmla="*/ 194 w 284"/>
                <a:gd name="T5" fmla="*/ 168 h 189"/>
                <a:gd name="T6" fmla="*/ 177 w 284"/>
                <a:gd name="T7" fmla="*/ 163 h 189"/>
                <a:gd name="T8" fmla="*/ 173 w 284"/>
                <a:gd name="T9" fmla="*/ 168 h 189"/>
                <a:gd name="T10" fmla="*/ 173 w 284"/>
                <a:gd name="T11" fmla="*/ 163 h 189"/>
                <a:gd name="T12" fmla="*/ 147 w 284"/>
                <a:gd name="T13" fmla="*/ 151 h 189"/>
                <a:gd name="T14" fmla="*/ 147 w 284"/>
                <a:gd name="T15" fmla="*/ 135 h 189"/>
                <a:gd name="T16" fmla="*/ 88 w 284"/>
                <a:gd name="T17" fmla="*/ 111 h 189"/>
                <a:gd name="T18" fmla="*/ 29 w 284"/>
                <a:gd name="T19" fmla="*/ 52 h 189"/>
                <a:gd name="T20" fmla="*/ 0 w 284"/>
                <a:gd name="T21" fmla="*/ 0 h 189"/>
                <a:gd name="T22" fmla="*/ 29 w 284"/>
                <a:gd name="T23" fmla="*/ 17 h 189"/>
                <a:gd name="T24" fmla="*/ 29 w 284"/>
                <a:gd name="T25" fmla="*/ 7 h 189"/>
                <a:gd name="T26" fmla="*/ 38 w 284"/>
                <a:gd name="T27" fmla="*/ 17 h 189"/>
                <a:gd name="T28" fmla="*/ 66 w 284"/>
                <a:gd name="T29" fmla="*/ 40 h 189"/>
                <a:gd name="T30" fmla="*/ 88 w 284"/>
                <a:gd name="T31" fmla="*/ 52 h 189"/>
                <a:gd name="T32" fmla="*/ 118 w 284"/>
                <a:gd name="T33" fmla="*/ 90 h 189"/>
                <a:gd name="T34" fmla="*/ 140 w 284"/>
                <a:gd name="T35" fmla="*/ 95 h 189"/>
                <a:gd name="T36" fmla="*/ 210 w 284"/>
                <a:gd name="T37" fmla="*/ 151 h 189"/>
                <a:gd name="T38" fmla="*/ 210 w 284"/>
                <a:gd name="T39" fmla="*/ 168 h 189"/>
                <a:gd name="T40" fmla="*/ 199 w 284"/>
                <a:gd name="T41" fmla="*/ 173 h 189"/>
                <a:gd name="T42" fmla="*/ 199 w 284"/>
                <a:gd name="T43" fmla="*/ 173 h 189"/>
                <a:gd name="T44" fmla="*/ 199 w 284"/>
                <a:gd name="T45" fmla="*/ 173 h 189"/>
                <a:gd name="T46" fmla="*/ 177 w 284"/>
                <a:gd name="T47" fmla="*/ 52 h 189"/>
                <a:gd name="T48" fmla="*/ 189 w 284"/>
                <a:gd name="T49" fmla="*/ 24 h 189"/>
                <a:gd name="T50" fmla="*/ 189 w 284"/>
                <a:gd name="T51" fmla="*/ 40 h 189"/>
                <a:gd name="T52" fmla="*/ 177 w 284"/>
                <a:gd name="T53" fmla="*/ 52 h 189"/>
                <a:gd name="T54" fmla="*/ 177 w 284"/>
                <a:gd name="T55" fmla="*/ 52 h 189"/>
                <a:gd name="T56" fmla="*/ 177 w 284"/>
                <a:gd name="T57" fmla="*/ 52 h 189"/>
                <a:gd name="T58" fmla="*/ 241 w 284"/>
                <a:gd name="T59" fmla="*/ 78 h 189"/>
                <a:gd name="T60" fmla="*/ 215 w 284"/>
                <a:gd name="T61" fmla="*/ 62 h 189"/>
                <a:gd name="T62" fmla="*/ 225 w 284"/>
                <a:gd name="T63" fmla="*/ 57 h 189"/>
                <a:gd name="T64" fmla="*/ 215 w 284"/>
                <a:gd name="T65" fmla="*/ 52 h 189"/>
                <a:gd name="T66" fmla="*/ 232 w 284"/>
                <a:gd name="T67" fmla="*/ 52 h 189"/>
                <a:gd name="T68" fmla="*/ 232 w 284"/>
                <a:gd name="T69" fmla="*/ 57 h 189"/>
                <a:gd name="T70" fmla="*/ 241 w 284"/>
                <a:gd name="T71" fmla="*/ 73 h 189"/>
                <a:gd name="T72" fmla="*/ 241 w 284"/>
                <a:gd name="T73" fmla="*/ 78 h 189"/>
                <a:gd name="T74" fmla="*/ 241 w 284"/>
                <a:gd name="T75" fmla="*/ 78 h 189"/>
                <a:gd name="T76" fmla="*/ 241 w 284"/>
                <a:gd name="T77" fmla="*/ 78 h 189"/>
                <a:gd name="T78" fmla="*/ 279 w 284"/>
                <a:gd name="T79" fmla="*/ 118 h 189"/>
                <a:gd name="T80" fmla="*/ 270 w 284"/>
                <a:gd name="T81" fmla="*/ 95 h 189"/>
                <a:gd name="T82" fmla="*/ 284 w 284"/>
                <a:gd name="T83" fmla="*/ 106 h 189"/>
                <a:gd name="T84" fmla="*/ 284 w 284"/>
                <a:gd name="T85" fmla="*/ 111 h 189"/>
                <a:gd name="T86" fmla="*/ 279 w 284"/>
                <a:gd name="T87" fmla="*/ 118 h 189"/>
                <a:gd name="T88" fmla="*/ 279 w 284"/>
                <a:gd name="T89" fmla="*/ 118 h 189"/>
                <a:gd name="T90" fmla="*/ 279 w 284"/>
                <a:gd name="T91" fmla="*/ 118 h 189"/>
                <a:gd name="T92" fmla="*/ 248 w 284"/>
                <a:gd name="T93" fmla="*/ 189 h 189"/>
                <a:gd name="T94" fmla="*/ 241 w 284"/>
                <a:gd name="T95" fmla="*/ 189 h 189"/>
                <a:gd name="T96" fmla="*/ 241 w 284"/>
                <a:gd name="T97" fmla="*/ 184 h 189"/>
                <a:gd name="T98" fmla="*/ 248 w 284"/>
                <a:gd name="T99" fmla="*/ 189 h 189"/>
                <a:gd name="T100" fmla="*/ 248 w 284"/>
                <a:gd name="T101" fmla="*/ 189 h 189"/>
                <a:gd name="T102" fmla="*/ 248 w 284"/>
                <a:gd name="T103" fmla="*/ 189 h 189"/>
                <a:gd name="T104" fmla="*/ 248 w 284"/>
                <a:gd name="T105"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4" h="189">
                  <a:moveTo>
                    <a:pt x="199" y="173"/>
                  </a:moveTo>
                  <a:lnTo>
                    <a:pt x="199" y="168"/>
                  </a:lnTo>
                  <a:lnTo>
                    <a:pt x="194" y="168"/>
                  </a:lnTo>
                  <a:lnTo>
                    <a:pt x="177" y="163"/>
                  </a:lnTo>
                  <a:lnTo>
                    <a:pt x="173" y="168"/>
                  </a:lnTo>
                  <a:lnTo>
                    <a:pt x="173" y="163"/>
                  </a:lnTo>
                  <a:lnTo>
                    <a:pt x="147" y="151"/>
                  </a:lnTo>
                  <a:lnTo>
                    <a:pt x="147" y="135"/>
                  </a:lnTo>
                  <a:lnTo>
                    <a:pt x="88" y="111"/>
                  </a:lnTo>
                  <a:lnTo>
                    <a:pt x="29" y="52"/>
                  </a:lnTo>
                  <a:lnTo>
                    <a:pt x="0" y="0"/>
                  </a:lnTo>
                  <a:lnTo>
                    <a:pt x="29" y="17"/>
                  </a:lnTo>
                  <a:lnTo>
                    <a:pt x="29" y="7"/>
                  </a:lnTo>
                  <a:lnTo>
                    <a:pt x="38" y="17"/>
                  </a:lnTo>
                  <a:lnTo>
                    <a:pt x="66" y="40"/>
                  </a:lnTo>
                  <a:lnTo>
                    <a:pt x="88" y="52"/>
                  </a:lnTo>
                  <a:lnTo>
                    <a:pt x="118" y="90"/>
                  </a:lnTo>
                  <a:lnTo>
                    <a:pt x="140" y="95"/>
                  </a:lnTo>
                  <a:lnTo>
                    <a:pt x="210" y="151"/>
                  </a:lnTo>
                  <a:lnTo>
                    <a:pt x="210" y="168"/>
                  </a:lnTo>
                  <a:lnTo>
                    <a:pt x="199" y="173"/>
                  </a:lnTo>
                  <a:lnTo>
                    <a:pt x="199" y="173"/>
                  </a:lnTo>
                  <a:lnTo>
                    <a:pt x="199" y="173"/>
                  </a:lnTo>
                  <a:close/>
                  <a:moveTo>
                    <a:pt x="177" y="52"/>
                  </a:moveTo>
                  <a:lnTo>
                    <a:pt x="189" y="24"/>
                  </a:lnTo>
                  <a:lnTo>
                    <a:pt x="189" y="40"/>
                  </a:lnTo>
                  <a:lnTo>
                    <a:pt x="177" y="52"/>
                  </a:lnTo>
                  <a:lnTo>
                    <a:pt x="177" y="52"/>
                  </a:lnTo>
                  <a:lnTo>
                    <a:pt x="177" y="52"/>
                  </a:lnTo>
                  <a:close/>
                  <a:moveTo>
                    <a:pt x="241" y="78"/>
                  </a:moveTo>
                  <a:lnTo>
                    <a:pt x="215" y="62"/>
                  </a:lnTo>
                  <a:lnTo>
                    <a:pt x="225" y="57"/>
                  </a:lnTo>
                  <a:lnTo>
                    <a:pt x="215" y="52"/>
                  </a:lnTo>
                  <a:lnTo>
                    <a:pt x="232" y="52"/>
                  </a:lnTo>
                  <a:lnTo>
                    <a:pt x="232" y="57"/>
                  </a:lnTo>
                  <a:lnTo>
                    <a:pt x="241" y="73"/>
                  </a:lnTo>
                  <a:lnTo>
                    <a:pt x="241" y="78"/>
                  </a:lnTo>
                  <a:lnTo>
                    <a:pt x="241" y="78"/>
                  </a:lnTo>
                  <a:lnTo>
                    <a:pt x="241" y="78"/>
                  </a:lnTo>
                  <a:close/>
                  <a:moveTo>
                    <a:pt x="279" y="118"/>
                  </a:moveTo>
                  <a:lnTo>
                    <a:pt x="270" y="95"/>
                  </a:lnTo>
                  <a:lnTo>
                    <a:pt x="284" y="106"/>
                  </a:lnTo>
                  <a:lnTo>
                    <a:pt x="284" y="111"/>
                  </a:lnTo>
                  <a:lnTo>
                    <a:pt x="279" y="118"/>
                  </a:lnTo>
                  <a:lnTo>
                    <a:pt x="279" y="118"/>
                  </a:lnTo>
                  <a:lnTo>
                    <a:pt x="279" y="118"/>
                  </a:lnTo>
                  <a:close/>
                  <a:moveTo>
                    <a:pt x="248" y="189"/>
                  </a:moveTo>
                  <a:lnTo>
                    <a:pt x="241" y="189"/>
                  </a:lnTo>
                  <a:lnTo>
                    <a:pt x="241" y="184"/>
                  </a:lnTo>
                  <a:lnTo>
                    <a:pt x="248" y="189"/>
                  </a:lnTo>
                  <a:lnTo>
                    <a:pt x="248" y="189"/>
                  </a:lnTo>
                  <a:lnTo>
                    <a:pt x="248" y="189"/>
                  </a:lnTo>
                  <a:lnTo>
                    <a:pt x="248" y="18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7" name="Freeform 518">
              <a:extLst>
                <a:ext uri="{FF2B5EF4-FFF2-40B4-BE49-F238E27FC236}">
                  <a16:creationId xmlns:a16="http://schemas.microsoft.com/office/drawing/2014/main" id="{6D2BE53A-260B-40B7-AD49-73D20E2F7498}"/>
                </a:ext>
              </a:extLst>
            </p:cNvPr>
            <p:cNvSpPr>
              <a:spLocks/>
            </p:cNvSpPr>
            <p:nvPr/>
          </p:nvSpPr>
          <p:spPr bwMode="gray">
            <a:xfrm>
              <a:off x="9843117" y="4566730"/>
              <a:ext cx="1636" cy="4582"/>
            </a:xfrm>
            <a:custGeom>
              <a:avLst/>
              <a:gdLst>
                <a:gd name="T0" fmla="*/ 0 w 5"/>
                <a:gd name="T1" fmla="*/ 14 h 14"/>
                <a:gd name="T2" fmla="*/ 0 w 5"/>
                <a:gd name="T3" fmla="*/ 10 h 14"/>
                <a:gd name="T4" fmla="*/ 5 w 5"/>
                <a:gd name="T5" fmla="*/ 0 h 14"/>
                <a:gd name="T6" fmla="*/ 5 w 5"/>
                <a:gd name="T7" fmla="*/ 10 h 14"/>
                <a:gd name="T8" fmla="*/ 0 w 5"/>
                <a:gd name="T9" fmla="*/ 14 h 14"/>
                <a:gd name="T10" fmla="*/ 0 w 5"/>
                <a:gd name="T11" fmla="*/ 14 h 14"/>
                <a:gd name="T12" fmla="*/ 0 w 5"/>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5" h="14">
                  <a:moveTo>
                    <a:pt x="0" y="14"/>
                  </a:moveTo>
                  <a:lnTo>
                    <a:pt x="0" y="10"/>
                  </a:lnTo>
                  <a:lnTo>
                    <a:pt x="5" y="0"/>
                  </a:lnTo>
                  <a:lnTo>
                    <a:pt x="5" y="10"/>
                  </a:lnTo>
                  <a:lnTo>
                    <a:pt x="0" y="14"/>
                  </a:lnTo>
                  <a:lnTo>
                    <a:pt x="0" y="14"/>
                  </a:lnTo>
                  <a:lnTo>
                    <a:pt x="0" y="14"/>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8" name="Freeform 519">
              <a:extLst>
                <a:ext uri="{FF2B5EF4-FFF2-40B4-BE49-F238E27FC236}">
                  <a16:creationId xmlns:a16="http://schemas.microsoft.com/office/drawing/2014/main" id="{06CF9F2D-7595-450E-888A-4A43D48CCF49}"/>
                </a:ext>
              </a:extLst>
            </p:cNvPr>
            <p:cNvSpPr>
              <a:spLocks/>
            </p:cNvSpPr>
            <p:nvPr/>
          </p:nvSpPr>
          <p:spPr bwMode="gray">
            <a:xfrm>
              <a:off x="13746784" y="3550147"/>
              <a:ext cx="363299" cy="287694"/>
            </a:xfrm>
            <a:custGeom>
              <a:avLst/>
              <a:gdLst>
                <a:gd name="T0" fmla="*/ 194 w 1110"/>
                <a:gd name="T1" fmla="*/ 824 h 879"/>
                <a:gd name="T2" fmla="*/ 161 w 1110"/>
                <a:gd name="T3" fmla="*/ 862 h 879"/>
                <a:gd name="T4" fmla="*/ 144 w 1110"/>
                <a:gd name="T5" fmla="*/ 824 h 879"/>
                <a:gd name="T6" fmla="*/ 102 w 1110"/>
                <a:gd name="T7" fmla="*/ 808 h 879"/>
                <a:gd name="T8" fmla="*/ 64 w 1110"/>
                <a:gd name="T9" fmla="*/ 751 h 879"/>
                <a:gd name="T10" fmla="*/ 64 w 1110"/>
                <a:gd name="T11" fmla="*/ 742 h 879"/>
                <a:gd name="T12" fmla="*/ 31 w 1110"/>
                <a:gd name="T13" fmla="*/ 725 h 879"/>
                <a:gd name="T14" fmla="*/ 21 w 1110"/>
                <a:gd name="T15" fmla="*/ 685 h 879"/>
                <a:gd name="T16" fmla="*/ 9 w 1110"/>
                <a:gd name="T17" fmla="*/ 642 h 879"/>
                <a:gd name="T18" fmla="*/ 64 w 1110"/>
                <a:gd name="T19" fmla="*/ 631 h 879"/>
                <a:gd name="T20" fmla="*/ 198 w 1110"/>
                <a:gd name="T21" fmla="*/ 607 h 879"/>
                <a:gd name="T22" fmla="*/ 236 w 1110"/>
                <a:gd name="T23" fmla="*/ 607 h 879"/>
                <a:gd name="T24" fmla="*/ 264 w 1110"/>
                <a:gd name="T25" fmla="*/ 586 h 879"/>
                <a:gd name="T26" fmla="*/ 286 w 1110"/>
                <a:gd name="T27" fmla="*/ 531 h 879"/>
                <a:gd name="T28" fmla="*/ 399 w 1110"/>
                <a:gd name="T29" fmla="*/ 309 h 879"/>
                <a:gd name="T30" fmla="*/ 829 w 1110"/>
                <a:gd name="T31" fmla="*/ 0 h 879"/>
                <a:gd name="T32" fmla="*/ 987 w 1110"/>
                <a:gd name="T33" fmla="*/ 71 h 879"/>
                <a:gd name="T34" fmla="*/ 1056 w 1110"/>
                <a:gd name="T35" fmla="*/ 111 h 879"/>
                <a:gd name="T36" fmla="*/ 1089 w 1110"/>
                <a:gd name="T37" fmla="*/ 187 h 879"/>
                <a:gd name="T38" fmla="*/ 1110 w 1110"/>
                <a:gd name="T39" fmla="*/ 238 h 879"/>
                <a:gd name="T40" fmla="*/ 1077 w 1110"/>
                <a:gd name="T41" fmla="*/ 491 h 879"/>
                <a:gd name="T42" fmla="*/ 964 w 1110"/>
                <a:gd name="T43" fmla="*/ 631 h 879"/>
                <a:gd name="T44" fmla="*/ 933 w 1110"/>
                <a:gd name="T45" fmla="*/ 668 h 879"/>
                <a:gd name="T46" fmla="*/ 926 w 1110"/>
                <a:gd name="T47" fmla="*/ 725 h 879"/>
                <a:gd name="T48" fmla="*/ 895 w 1110"/>
                <a:gd name="T49" fmla="*/ 742 h 879"/>
                <a:gd name="T50" fmla="*/ 791 w 1110"/>
                <a:gd name="T51" fmla="*/ 751 h 879"/>
                <a:gd name="T52" fmla="*/ 701 w 1110"/>
                <a:gd name="T53" fmla="*/ 758 h 879"/>
                <a:gd name="T54" fmla="*/ 602 w 1110"/>
                <a:gd name="T55" fmla="*/ 779 h 879"/>
                <a:gd name="T56" fmla="*/ 539 w 1110"/>
                <a:gd name="T57" fmla="*/ 751 h 879"/>
                <a:gd name="T58" fmla="*/ 501 w 1110"/>
                <a:gd name="T59" fmla="*/ 775 h 879"/>
                <a:gd name="T60" fmla="*/ 479 w 1110"/>
                <a:gd name="T61" fmla="*/ 779 h 879"/>
                <a:gd name="T62" fmla="*/ 425 w 1110"/>
                <a:gd name="T63" fmla="*/ 735 h 879"/>
                <a:gd name="T64" fmla="*/ 361 w 1110"/>
                <a:gd name="T65" fmla="*/ 725 h 879"/>
                <a:gd name="T66" fmla="*/ 307 w 1110"/>
                <a:gd name="T67" fmla="*/ 725 h 879"/>
                <a:gd name="T68" fmla="*/ 279 w 1110"/>
                <a:gd name="T69" fmla="*/ 779 h 879"/>
                <a:gd name="T70" fmla="*/ 248 w 1110"/>
                <a:gd name="T71" fmla="*/ 812 h 879"/>
                <a:gd name="T72" fmla="*/ 253 w 1110"/>
                <a:gd name="T73" fmla="*/ 869 h 879"/>
                <a:gd name="T74" fmla="*/ 248 w 1110"/>
                <a:gd name="T75"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0" h="879">
                  <a:moveTo>
                    <a:pt x="248" y="879"/>
                  </a:moveTo>
                  <a:lnTo>
                    <a:pt x="194" y="824"/>
                  </a:lnTo>
                  <a:lnTo>
                    <a:pt x="161" y="836"/>
                  </a:lnTo>
                  <a:lnTo>
                    <a:pt x="161" y="862"/>
                  </a:lnTo>
                  <a:lnTo>
                    <a:pt x="139" y="829"/>
                  </a:lnTo>
                  <a:lnTo>
                    <a:pt x="144" y="824"/>
                  </a:lnTo>
                  <a:lnTo>
                    <a:pt x="139" y="808"/>
                  </a:lnTo>
                  <a:lnTo>
                    <a:pt x="102" y="808"/>
                  </a:lnTo>
                  <a:lnTo>
                    <a:pt x="64" y="775"/>
                  </a:lnTo>
                  <a:lnTo>
                    <a:pt x="64" y="751"/>
                  </a:lnTo>
                  <a:lnTo>
                    <a:pt x="85" y="758"/>
                  </a:lnTo>
                  <a:lnTo>
                    <a:pt x="64" y="742"/>
                  </a:lnTo>
                  <a:lnTo>
                    <a:pt x="64" y="742"/>
                  </a:lnTo>
                  <a:lnTo>
                    <a:pt x="31" y="725"/>
                  </a:lnTo>
                  <a:lnTo>
                    <a:pt x="14" y="697"/>
                  </a:lnTo>
                  <a:lnTo>
                    <a:pt x="21" y="685"/>
                  </a:lnTo>
                  <a:lnTo>
                    <a:pt x="0" y="668"/>
                  </a:lnTo>
                  <a:lnTo>
                    <a:pt x="9" y="642"/>
                  </a:lnTo>
                  <a:lnTo>
                    <a:pt x="9" y="631"/>
                  </a:lnTo>
                  <a:lnTo>
                    <a:pt x="64" y="631"/>
                  </a:lnTo>
                  <a:lnTo>
                    <a:pt x="85" y="614"/>
                  </a:lnTo>
                  <a:lnTo>
                    <a:pt x="198" y="607"/>
                  </a:lnTo>
                  <a:lnTo>
                    <a:pt x="210" y="602"/>
                  </a:lnTo>
                  <a:lnTo>
                    <a:pt x="236" y="607"/>
                  </a:lnTo>
                  <a:lnTo>
                    <a:pt x="236" y="590"/>
                  </a:lnTo>
                  <a:lnTo>
                    <a:pt x="264" y="586"/>
                  </a:lnTo>
                  <a:lnTo>
                    <a:pt x="279" y="536"/>
                  </a:lnTo>
                  <a:lnTo>
                    <a:pt x="286" y="531"/>
                  </a:lnTo>
                  <a:lnTo>
                    <a:pt x="290" y="326"/>
                  </a:lnTo>
                  <a:lnTo>
                    <a:pt x="399" y="309"/>
                  </a:lnTo>
                  <a:lnTo>
                    <a:pt x="517" y="198"/>
                  </a:lnTo>
                  <a:lnTo>
                    <a:pt x="829" y="0"/>
                  </a:lnTo>
                  <a:lnTo>
                    <a:pt x="938" y="21"/>
                  </a:lnTo>
                  <a:lnTo>
                    <a:pt x="987" y="71"/>
                  </a:lnTo>
                  <a:lnTo>
                    <a:pt x="1039" y="38"/>
                  </a:lnTo>
                  <a:lnTo>
                    <a:pt x="1056" y="111"/>
                  </a:lnTo>
                  <a:lnTo>
                    <a:pt x="1056" y="149"/>
                  </a:lnTo>
                  <a:lnTo>
                    <a:pt x="1089" y="187"/>
                  </a:lnTo>
                  <a:lnTo>
                    <a:pt x="1089" y="203"/>
                  </a:lnTo>
                  <a:lnTo>
                    <a:pt x="1110" y="238"/>
                  </a:lnTo>
                  <a:lnTo>
                    <a:pt x="1094" y="272"/>
                  </a:lnTo>
                  <a:lnTo>
                    <a:pt x="1077" y="491"/>
                  </a:lnTo>
                  <a:lnTo>
                    <a:pt x="1001" y="574"/>
                  </a:lnTo>
                  <a:lnTo>
                    <a:pt x="964" y="631"/>
                  </a:lnTo>
                  <a:lnTo>
                    <a:pt x="950" y="664"/>
                  </a:lnTo>
                  <a:lnTo>
                    <a:pt x="933" y="668"/>
                  </a:lnTo>
                  <a:lnTo>
                    <a:pt x="950" y="725"/>
                  </a:lnTo>
                  <a:lnTo>
                    <a:pt x="926" y="725"/>
                  </a:lnTo>
                  <a:lnTo>
                    <a:pt x="916" y="742"/>
                  </a:lnTo>
                  <a:lnTo>
                    <a:pt x="895" y="742"/>
                  </a:lnTo>
                  <a:lnTo>
                    <a:pt x="862" y="775"/>
                  </a:lnTo>
                  <a:lnTo>
                    <a:pt x="791" y="751"/>
                  </a:lnTo>
                  <a:lnTo>
                    <a:pt x="739" y="751"/>
                  </a:lnTo>
                  <a:lnTo>
                    <a:pt x="701" y="758"/>
                  </a:lnTo>
                  <a:lnTo>
                    <a:pt x="668" y="796"/>
                  </a:lnTo>
                  <a:lnTo>
                    <a:pt x="602" y="779"/>
                  </a:lnTo>
                  <a:lnTo>
                    <a:pt x="560" y="758"/>
                  </a:lnTo>
                  <a:lnTo>
                    <a:pt x="539" y="751"/>
                  </a:lnTo>
                  <a:lnTo>
                    <a:pt x="505" y="775"/>
                  </a:lnTo>
                  <a:lnTo>
                    <a:pt x="501" y="775"/>
                  </a:lnTo>
                  <a:lnTo>
                    <a:pt x="484" y="779"/>
                  </a:lnTo>
                  <a:lnTo>
                    <a:pt x="479" y="779"/>
                  </a:lnTo>
                  <a:lnTo>
                    <a:pt x="430" y="725"/>
                  </a:lnTo>
                  <a:lnTo>
                    <a:pt x="425" y="735"/>
                  </a:lnTo>
                  <a:lnTo>
                    <a:pt x="378" y="718"/>
                  </a:lnTo>
                  <a:lnTo>
                    <a:pt x="361" y="725"/>
                  </a:lnTo>
                  <a:lnTo>
                    <a:pt x="333" y="725"/>
                  </a:lnTo>
                  <a:lnTo>
                    <a:pt x="307" y="725"/>
                  </a:lnTo>
                  <a:lnTo>
                    <a:pt x="286" y="742"/>
                  </a:lnTo>
                  <a:lnTo>
                    <a:pt x="279" y="779"/>
                  </a:lnTo>
                  <a:lnTo>
                    <a:pt x="269" y="796"/>
                  </a:lnTo>
                  <a:lnTo>
                    <a:pt x="248" y="812"/>
                  </a:lnTo>
                  <a:lnTo>
                    <a:pt x="248" y="862"/>
                  </a:lnTo>
                  <a:lnTo>
                    <a:pt x="253" y="869"/>
                  </a:lnTo>
                  <a:lnTo>
                    <a:pt x="248" y="879"/>
                  </a:lnTo>
                  <a:lnTo>
                    <a:pt x="248" y="879"/>
                  </a:lnTo>
                  <a:lnTo>
                    <a:pt x="248" y="87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9" name="Freeform 520">
              <a:extLst>
                <a:ext uri="{FF2B5EF4-FFF2-40B4-BE49-F238E27FC236}">
                  <a16:creationId xmlns:a16="http://schemas.microsoft.com/office/drawing/2014/main" id="{9071D2C4-7B81-4CDA-8781-504082B20C58}"/>
                </a:ext>
              </a:extLst>
            </p:cNvPr>
            <p:cNvSpPr>
              <a:spLocks noEditPoints="1"/>
            </p:cNvSpPr>
            <p:nvPr/>
          </p:nvSpPr>
          <p:spPr bwMode="gray">
            <a:xfrm>
              <a:off x="17566663" y="4439084"/>
              <a:ext cx="78878" cy="158739"/>
            </a:xfrm>
            <a:custGeom>
              <a:avLst/>
              <a:gdLst>
                <a:gd name="T0" fmla="*/ 67 w 241"/>
                <a:gd name="T1" fmla="*/ 10 h 485"/>
                <a:gd name="T2" fmla="*/ 71 w 241"/>
                <a:gd name="T3" fmla="*/ 10 h 485"/>
                <a:gd name="T4" fmla="*/ 67 w 241"/>
                <a:gd name="T5" fmla="*/ 17 h 485"/>
                <a:gd name="T6" fmla="*/ 71 w 241"/>
                <a:gd name="T7" fmla="*/ 50 h 485"/>
                <a:gd name="T8" fmla="*/ 67 w 241"/>
                <a:gd name="T9" fmla="*/ 33 h 485"/>
                <a:gd name="T10" fmla="*/ 71 w 241"/>
                <a:gd name="T11" fmla="*/ 50 h 485"/>
                <a:gd name="T12" fmla="*/ 71 w 241"/>
                <a:gd name="T13" fmla="*/ 50 h 485"/>
                <a:gd name="T14" fmla="*/ 50 w 241"/>
                <a:gd name="T15" fmla="*/ 133 h 485"/>
                <a:gd name="T16" fmla="*/ 12 w 241"/>
                <a:gd name="T17" fmla="*/ 128 h 485"/>
                <a:gd name="T18" fmla="*/ 17 w 241"/>
                <a:gd name="T19" fmla="*/ 78 h 485"/>
                <a:gd name="T20" fmla="*/ 33 w 241"/>
                <a:gd name="T21" fmla="*/ 107 h 485"/>
                <a:gd name="T22" fmla="*/ 38 w 241"/>
                <a:gd name="T23" fmla="*/ 107 h 485"/>
                <a:gd name="T24" fmla="*/ 38 w 241"/>
                <a:gd name="T25" fmla="*/ 107 h 485"/>
                <a:gd name="T26" fmla="*/ 109 w 241"/>
                <a:gd name="T27" fmla="*/ 90 h 485"/>
                <a:gd name="T28" fmla="*/ 121 w 241"/>
                <a:gd name="T29" fmla="*/ 128 h 485"/>
                <a:gd name="T30" fmla="*/ 121 w 241"/>
                <a:gd name="T31" fmla="*/ 128 h 485"/>
                <a:gd name="T32" fmla="*/ 76 w 241"/>
                <a:gd name="T33" fmla="*/ 128 h 485"/>
                <a:gd name="T34" fmla="*/ 104 w 241"/>
                <a:gd name="T35" fmla="*/ 123 h 485"/>
                <a:gd name="T36" fmla="*/ 93 w 241"/>
                <a:gd name="T37" fmla="*/ 133 h 485"/>
                <a:gd name="T38" fmla="*/ 121 w 241"/>
                <a:gd name="T39" fmla="*/ 168 h 485"/>
                <a:gd name="T40" fmla="*/ 121 w 241"/>
                <a:gd name="T41" fmla="*/ 133 h 485"/>
                <a:gd name="T42" fmla="*/ 121 w 241"/>
                <a:gd name="T43" fmla="*/ 168 h 485"/>
                <a:gd name="T44" fmla="*/ 121 w 241"/>
                <a:gd name="T45" fmla="*/ 168 h 485"/>
                <a:gd name="T46" fmla="*/ 38 w 241"/>
                <a:gd name="T47" fmla="*/ 133 h 485"/>
                <a:gd name="T48" fmla="*/ 50 w 241"/>
                <a:gd name="T49" fmla="*/ 144 h 485"/>
                <a:gd name="T50" fmla="*/ 50 w 241"/>
                <a:gd name="T51" fmla="*/ 144 h 485"/>
                <a:gd name="T52" fmla="*/ 38 w 241"/>
                <a:gd name="T53" fmla="*/ 144 h 485"/>
                <a:gd name="T54" fmla="*/ 50 w 241"/>
                <a:gd name="T55" fmla="*/ 149 h 485"/>
                <a:gd name="T56" fmla="*/ 50 w 241"/>
                <a:gd name="T57" fmla="*/ 149 h 485"/>
                <a:gd name="T58" fmla="*/ 67 w 241"/>
                <a:gd name="T59" fmla="*/ 206 h 485"/>
                <a:gd name="T60" fmla="*/ 50 w 241"/>
                <a:gd name="T61" fmla="*/ 178 h 485"/>
                <a:gd name="T62" fmla="*/ 93 w 241"/>
                <a:gd name="T63" fmla="*/ 206 h 485"/>
                <a:gd name="T64" fmla="*/ 71 w 241"/>
                <a:gd name="T65" fmla="*/ 218 h 485"/>
                <a:gd name="T66" fmla="*/ 121 w 241"/>
                <a:gd name="T67" fmla="*/ 201 h 485"/>
                <a:gd name="T68" fmla="*/ 121 w 241"/>
                <a:gd name="T69" fmla="*/ 178 h 485"/>
                <a:gd name="T70" fmla="*/ 121 w 241"/>
                <a:gd name="T71" fmla="*/ 201 h 485"/>
                <a:gd name="T72" fmla="*/ 121 w 241"/>
                <a:gd name="T73" fmla="*/ 201 h 485"/>
                <a:gd name="T74" fmla="*/ 121 w 241"/>
                <a:gd name="T75" fmla="*/ 234 h 485"/>
                <a:gd name="T76" fmla="*/ 142 w 241"/>
                <a:gd name="T77" fmla="*/ 234 h 485"/>
                <a:gd name="T78" fmla="*/ 142 w 241"/>
                <a:gd name="T79" fmla="*/ 234 h 485"/>
                <a:gd name="T80" fmla="*/ 126 w 241"/>
                <a:gd name="T81" fmla="*/ 296 h 485"/>
                <a:gd name="T82" fmla="*/ 126 w 241"/>
                <a:gd name="T83" fmla="*/ 289 h 485"/>
                <a:gd name="T84" fmla="*/ 147 w 241"/>
                <a:gd name="T85" fmla="*/ 296 h 485"/>
                <a:gd name="T86" fmla="*/ 130 w 241"/>
                <a:gd name="T87" fmla="*/ 300 h 485"/>
                <a:gd name="T88" fmla="*/ 130 w 241"/>
                <a:gd name="T89" fmla="*/ 300 h 485"/>
                <a:gd name="T90" fmla="*/ 175 w 241"/>
                <a:gd name="T91" fmla="*/ 385 h 485"/>
                <a:gd name="T92" fmla="*/ 187 w 241"/>
                <a:gd name="T93" fmla="*/ 369 h 485"/>
                <a:gd name="T94" fmla="*/ 196 w 241"/>
                <a:gd name="T95" fmla="*/ 390 h 485"/>
                <a:gd name="T96" fmla="*/ 196 w 241"/>
                <a:gd name="T97" fmla="*/ 390 h 485"/>
                <a:gd name="T98" fmla="*/ 196 w 241"/>
                <a:gd name="T99" fmla="*/ 428 h 485"/>
                <a:gd name="T100" fmla="*/ 204 w 241"/>
                <a:gd name="T101" fmla="*/ 423 h 485"/>
                <a:gd name="T102" fmla="*/ 204 w 241"/>
                <a:gd name="T103" fmla="*/ 447 h 485"/>
                <a:gd name="T104" fmla="*/ 204 w 241"/>
                <a:gd name="T105" fmla="*/ 447 h 485"/>
                <a:gd name="T106" fmla="*/ 230 w 241"/>
                <a:gd name="T107" fmla="*/ 480 h 485"/>
                <a:gd name="T108" fmla="*/ 234 w 241"/>
                <a:gd name="T109" fmla="*/ 485 h 485"/>
                <a:gd name="T110" fmla="*/ 234 w 241"/>
                <a:gd name="T111" fmla="*/ 485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1" h="485">
                  <a:moveTo>
                    <a:pt x="67" y="17"/>
                  </a:moveTo>
                  <a:lnTo>
                    <a:pt x="67" y="10"/>
                  </a:lnTo>
                  <a:lnTo>
                    <a:pt x="71" y="0"/>
                  </a:lnTo>
                  <a:lnTo>
                    <a:pt x="71" y="10"/>
                  </a:lnTo>
                  <a:lnTo>
                    <a:pt x="67" y="17"/>
                  </a:lnTo>
                  <a:lnTo>
                    <a:pt x="67" y="17"/>
                  </a:lnTo>
                  <a:lnTo>
                    <a:pt x="67" y="17"/>
                  </a:lnTo>
                  <a:close/>
                  <a:moveTo>
                    <a:pt x="71" y="50"/>
                  </a:moveTo>
                  <a:lnTo>
                    <a:pt x="67" y="50"/>
                  </a:lnTo>
                  <a:lnTo>
                    <a:pt x="67" y="33"/>
                  </a:lnTo>
                  <a:lnTo>
                    <a:pt x="76" y="38"/>
                  </a:lnTo>
                  <a:lnTo>
                    <a:pt x="71" y="50"/>
                  </a:lnTo>
                  <a:lnTo>
                    <a:pt x="71" y="50"/>
                  </a:lnTo>
                  <a:lnTo>
                    <a:pt x="71" y="50"/>
                  </a:lnTo>
                  <a:close/>
                  <a:moveTo>
                    <a:pt x="38" y="107"/>
                  </a:moveTo>
                  <a:lnTo>
                    <a:pt x="50" y="133"/>
                  </a:lnTo>
                  <a:lnTo>
                    <a:pt x="17" y="144"/>
                  </a:lnTo>
                  <a:lnTo>
                    <a:pt x="12" y="128"/>
                  </a:lnTo>
                  <a:lnTo>
                    <a:pt x="0" y="71"/>
                  </a:lnTo>
                  <a:lnTo>
                    <a:pt x="17" y="78"/>
                  </a:lnTo>
                  <a:lnTo>
                    <a:pt x="17" y="107"/>
                  </a:lnTo>
                  <a:lnTo>
                    <a:pt x="33" y="107"/>
                  </a:lnTo>
                  <a:lnTo>
                    <a:pt x="33" y="90"/>
                  </a:lnTo>
                  <a:lnTo>
                    <a:pt x="38" y="107"/>
                  </a:lnTo>
                  <a:lnTo>
                    <a:pt x="38" y="107"/>
                  </a:lnTo>
                  <a:lnTo>
                    <a:pt x="38" y="107"/>
                  </a:lnTo>
                  <a:close/>
                  <a:moveTo>
                    <a:pt x="121" y="128"/>
                  </a:moveTo>
                  <a:lnTo>
                    <a:pt x="109" y="90"/>
                  </a:lnTo>
                  <a:lnTo>
                    <a:pt x="121" y="111"/>
                  </a:lnTo>
                  <a:lnTo>
                    <a:pt x="121" y="128"/>
                  </a:lnTo>
                  <a:lnTo>
                    <a:pt x="121" y="128"/>
                  </a:lnTo>
                  <a:lnTo>
                    <a:pt x="121" y="128"/>
                  </a:lnTo>
                  <a:close/>
                  <a:moveTo>
                    <a:pt x="93" y="133"/>
                  </a:moveTo>
                  <a:lnTo>
                    <a:pt x="76" y="128"/>
                  </a:lnTo>
                  <a:lnTo>
                    <a:pt x="93" y="123"/>
                  </a:lnTo>
                  <a:lnTo>
                    <a:pt x="104" y="123"/>
                  </a:lnTo>
                  <a:lnTo>
                    <a:pt x="93" y="133"/>
                  </a:lnTo>
                  <a:lnTo>
                    <a:pt x="93" y="133"/>
                  </a:lnTo>
                  <a:lnTo>
                    <a:pt x="93" y="133"/>
                  </a:lnTo>
                  <a:close/>
                  <a:moveTo>
                    <a:pt x="121" y="168"/>
                  </a:moveTo>
                  <a:lnTo>
                    <a:pt x="109" y="144"/>
                  </a:lnTo>
                  <a:lnTo>
                    <a:pt x="121" y="133"/>
                  </a:lnTo>
                  <a:lnTo>
                    <a:pt x="126" y="161"/>
                  </a:lnTo>
                  <a:lnTo>
                    <a:pt x="121" y="168"/>
                  </a:lnTo>
                  <a:lnTo>
                    <a:pt x="121" y="168"/>
                  </a:lnTo>
                  <a:lnTo>
                    <a:pt x="121" y="168"/>
                  </a:lnTo>
                  <a:close/>
                  <a:moveTo>
                    <a:pt x="50" y="144"/>
                  </a:moveTo>
                  <a:lnTo>
                    <a:pt x="38" y="133"/>
                  </a:lnTo>
                  <a:lnTo>
                    <a:pt x="50" y="133"/>
                  </a:lnTo>
                  <a:lnTo>
                    <a:pt x="50" y="144"/>
                  </a:lnTo>
                  <a:lnTo>
                    <a:pt x="50" y="144"/>
                  </a:lnTo>
                  <a:lnTo>
                    <a:pt x="50" y="144"/>
                  </a:lnTo>
                  <a:close/>
                  <a:moveTo>
                    <a:pt x="50" y="149"/>
                  </a:moveTo>
                  <a:lnTo>
                    <a:pt x="38" y="144"/>
                  </a:lnTo>
                  <a:lnTo>
                    <a:pt x="50" y="144"/>
                  </a:lnTo>
                  <a:lnTo>
                    <a:pt x="50" y="149"/>
                  </a:lnTo>
                  <a:lnTo>
                    <a:pt x="50" y="149"/>
                  </a:lnTo>
                  <a:lnTo>
                    <a:pt x="50" y="149"/>
                  </a:lnTo>
                  <a:close/>
                  <a:moveTo>
                    <a:pt x="71" y="218"/>
                  </a:moveTo>
                  <a:lnTo>
                    <a:pt x="67" y="206"/>
                  </a:lnTo>
                  <a:lnTo>
                    <a:pt x="67" y="185"/>
                  </a:lnTo>
                  <a:lnTo>
                    <a:pt x="50" y="178"/>
                  </a:lnTo>
                  <a:lnTo>
                    <a:pt x="50" y="161"/>
                  </a:lnTo>
                  <a:lnTo>
                    <a:pt x="93" y="206"/>
                  </a:lnTo>
                  <a:lnTo>
                    <a:pt x="71" y="218"/>
                  </a:lnTo>
                  <a:lnTo>
                    <a:pt x="71" y="218"/>
                  </a:lnTo>
                  <a:lnTo>
                    <a:pt x="71" y="218"/>
                  </a:lnTo>
                  <a:close/>
                  <a:moveTo>
                    <a:pt x="121" y="201"/>
                  </a:moveTo>
                  <a:lnTo>
                    <a:pt x="104" y="185"/>
                  </a:lnTo>
                  <a:lnTo>
                    <a:pt x="121" y="178"/>
                  </a:lnTo>
                  <a:lnTo>
                    <a:pt x="126" y="189"/>
                  </a:lnTo>
                  <a:lnTo>
                    <a:pt x="121" y="201"/>
                  </a:lnTo>
                  <a:lnTo>
                    <a:pt x="121" y="201"/>
                  </a:lnTo>
                  <a:lnTo>
                    <a:pt x="121" y="201"/>
                  </a:lnTo>
                  <a:close/>
                  <a:moveTo>
                    <a:pt x="142" y="234"/>
                  </a:moveTo>
                  <a:lnTo>
                    <a:pt x="121" y="234"/>
                  </a:lnTo>
                  <a:lnTo>
                    <a:pt x="121" y="218"/>
                  </a:lnTo>
                  <a:lnTo>
                    <a:pt x="142" y="234"/>
                  </a:lnTo>
                  <a:lnTo>
                    <a:pt x="142" y="234"/>
                  </a:lnTo>
                  <a:lnTo>
                    <a:pt x="142" y="234"/>
                  </a:lnTo>
                  <a:close/>
                  <a:moveTo>
                    <a:pt x="130" y="300"/>
                  </a:moveTo>
                  <a:lnTo>
                    <a:pt x="126" y="296"/>
                  </a:lnTo>
                  <a:lnTo>
                    <a:pt x="121" y="296"/>
                  </a:lnTo>
                  <a:lnTo>
                    <a:pt x="126" y="289"/>
                  </a:lnTo>
                  <a:lnTo>
                    <a:pt x="130" y="289"/>
                  </a:lnTo>
                  <a:lnTo>
                    <a:pt x="147" y="296"/>
                  </a:lnTo>
                  <a:lnTo>
                    <a:pt x="142" y="300"/>
                  </a:lnTo>
                  <a:lnTo>
                    <a:pt x="130" y="300"/>
                  </a:lnTo>
                  <a:lnTo>
                    <a:pt x="130" y="300"/>
                  </a:lnTo>
                  <a:lnTo>
                    <a:pt x="130" y="300"/>
                  </a:lnTo>
                  <a:close/>
                  <a:moveTo>
                    <a:pt x="196" y="390"/>
                  </a:moveTo>
                  <a:lnTo>
                    <a:pt x="175" y="385"/>
                  </a:lnTo>
                  <a:lnTo>
                    <a:pt x="180" y="369"/>
                  </a:lnTo>
                  <a:lnTo>
                    <a:pt x="187" y="369"/>
                  </a:lnTo>
                  <a:lnTo>
                    <a:pt x="196" y="385"/>
                  </a:lnTo>
                  <a:lnTo>
                    <a:pt x="196" y="390"/>
                  </a:lnTo>
                  <a:lnTo>
                    <a:pt x="196" y="390"/>
                  </a:lnTo>
                  <a:lnTo>
                    <a:pt x="196" y="390"/>
                  </a:lnTo>
                  <a:close/>
                  <a:moveTo>
                    <a:pt x="204" y="447"/>
                  </a:moveTo>
                  <a:lnTo>
                    <a:pt x="196" y="428"/>
                  </a:lnTo>
                  <a:lnTo>
                    <a:pt x="196" y="423"/>
                  </a:lnTo>
                  <a:lnTo>
                    <a:pt x="204" y="423"/>
                  </a:lnTo>
                  <a:lnTo>
                    <a:pt x="213" y="428"/>
                  </a:lnTo>
                  <a:lnTo>
                    <a:pt x="204" y="447"/>
                  </a:lnTo>
                  <a:lnTo>
                    <a:pt x="204" y="447"/>
                  </a:lnTo>
                  <a:lnTo>
                    <a:pt x="204" y="447"/>
                  </a:lnTo>
                  <a:close/>
                  <a:moveTo>
                    <a:pt x="234" y="485"/>
                  </a:moveTo>
                  <a:lnTo>
                    <a:pt x="230" y="480"/>
                  </a:lnTo>
                  <a:lnTo>
                    <a:pt x="241" y="485"/>
                  </a:lnTo>
                  <a:lnTo>
                    <a:pt x="234" y="485"/>
                  </a:lnTo>
                  <a:lnTo>
                    <a:pt x="234" y="485"/>
                  </a:lnTo>
                  <a:lnTo>
                    <a:pt x="234" y="485"/>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0" name="Freeform 521">
              <a:extLst>
                <a:ext uri="{FF2B5EF4-FFF2-40B4-BE49-F238E27FC236}">
                  <a16:creationId xmlns:a16="http://schemas.microsoft.com/office/drawing/2014/main" id="{D813C355-12D6-4C85-BC78-22040E5C36EB}"/>
                </a:ext>
              </a:extLst>
            </p:cNvPr>
            <p:cNvSpPr>
              <a:spLocks noEditPoints="1"/>
            </p:cNvSpPr>
            <p:nvPr/>
          </p:nvSpPr>
          <p:spPr bwMode="gray">
            <a:xfrm>
              <a:off x="13805370" y="3785800"/>
              <a:ext cx="275256" cy="229108"/>
            </a:xfrm>
            <a:custGeom>
              <a:avLst/>
              <a:gdLst>
                <a:gd name="T0" fmla="*/ 648 w 841"/>
                <a:gd name="T1" fmla="*/ 494 h 700"/>
                <a:gd name="T2" fmla="*/ 610 w 841"/>
                <a:gd name="T3" fmla="*/ 539 h 700"/>
                <a:gd name="T4" fmla="*/ 556 w 841"/>
                <a:gd name="T5" fmla="*/ 494 h 700"/>
                <a:gd name="T6" fmla="*/ 522 w 841"/>
                <a:gd name="T7" fmla="*/ 501 h 700"/>
                <a:gd name="T8" fmla="*/ 492 w 841"/>
                <a:gd name="T9" fmla="*/ 534 h 700"/>
                <a:gd name="T10" fmla="*/ 437 w 841"/>
                <a:gd name="T11" fmla="*/ 605 h 700"/>
                <a:gd name="T12" fmla="*/ 409 w 841"/>
                <a:gd name="T13" fmla="*/ 666 h 700"/>
                <a:gd name="T14" fmla="*/ 395 w 841"/>
                <a:gd name="T15" fmla="*/ 671 h 700"/>
                <a:gd name="T16" fmla="*/ 345 w 841"/>
                <a:gd name="T17" fmla="*/ 666 h 700"/>
                <a:gd name="T18" fmla="*/ 308 w 841"/>
                <a:gd name="T19" fmla="*/ 662 h 700"/>
                <a:gd name="T20" fmla="*/ 303 w 841"/>
                <a:gd name="T21" fmla="*/ 666 h 700"/>
                <a:gd name="T22" fmla="*/ 291 w 841"/>
                <a:gd name="T23" fmla="*/ 688 h 700"/>
                <a:gd name="T24" fmla="*/ 286 w 841"/>
                <a:gd name="T25" fmla="*/ 688 h 700"/>
                <a:gd name="T26" fmla="*/ 286 w 841"/>
                <a:gd name="T27" fmla="*/ 688 h 700"/>
                <a:gd name="T28" fmla="*/ 253 w 841"/>
                <a:gd name="T29" fmla="*/ 683 h 700"/>
                <a:gd name="T30" fmla="*/ 215 w 841"/>
                <a:gd name="T31" fmla="*/ 683 h 700"/>
                <a:gd name="T32" fmla="*/ 199 w 841"/>
                <a:gd name="T33" fmla="*/ 633 h 700"/>
                <a:gd name="T34" fmla="*/ 211 w 841"/>
                <a:gd name="T35" fmla="*/ 605 h 700"/>
                <a:gd name="T36" fmla="*/ 178 w 841"/>
                <a:gd name="T37" fmla="*/ 605 h 700"/>
                <a:gd name="T38" fmla="*/ 156 w 841"/>
                <a:gd name="T39" fmla="*/ 572 h 700"/>
                <a:gd name="T40" fmla="*/ 85 w 841"/>
                <a:gd name="T41" fmla="*/ 522 h 700"/>
                <a:gd name="T42" fmla="*/ 48 w 841"/>
                <a:gd name="T43" fmla="*/ 551 h 700"/>
                <a:gd name="T44" fmla="*/ 0 w 841"/>
                <a:gd name="T45" fmla="*/ 440 h 700"/>
                <a:gd name="T46" fmla="*/ 38 w 841"/>
                <a:gd name="T47" fmla="*/ 329 h 700"/>
                <a:gd name="T48" fmla="*/ 71 w 841"/>
                <a:gd name="T49" fmla="*/ 284 h 700"/>
                <a:gd name="T50" fmla="*/ 76 w 841"/>
                <a:gd name="T51" fmla="*/ 244 h 700"/>
                <a:gd name="T52" fmla="*/ 76 w 841"/>
                <a:gd name="T53" fmla="*/ 222 h 700"/>
                <a:gd name="T54" fmla="*/ 71 w 841"/>
                <a:gd name="T55" fmla="*/ 161 h 700"/>
                <a:gd name="T56" fmla="*/ 71 w 841"/>
                <a:gd name="T57" fmla="*/ 95 h 700"/>
                <a:gd name="T58" fmla="*/ 109 w 841"/>
                <a:gd name="T59" fmla="*/ 22 h 700"/>
                <a:gd name="T60" fmla="*/ 185 w 841"/>
                <a:gd name="T61" fmla="*/ 5 h 700"/>
                <a:gd name="T62" fmla="*/ 253 w 841"/>
                <a:gd name="T63" fmla="*/ 5 h 700"/>
                <a:gd name="T64" fmla="*/ 324 w 841"/>
                <a:gd name="T65" fmla="*/ 57 h 700"/>
                <a:gd name="T66" fmla="*/ 383 w 841"/>
                <a:gd name="T67" fmla="*/ 38 h 700"/>
                <a:gd name="T68" fmla="*/ 522 w 841"/>
                <a:gd name="T69" fmla="*/ 38 h 700"/>
                <a:gd name="T70" fmla="*/ 685 w 841"/>
                <a:gd name="T71" fmla="*/ 57 h 700"/>
                <a:gd name="T72" fmla="*/ 749 w 841"/>
                <a:gd name="T73" fmla="*/ 5 h 700"/>
                <a:gd name="T74" fmla="*/ 808 w 841"/>
                <a:gd name="T75" fmla="*/ 107 h 700"/>
                <a:gd name="T76" fmla="*/ 841 w 841"/>
                <a:gd name="T77" fmla="*/ 149 h 700"/>
                <a:gd name="T78" fmla="*/ 792 w 841"/>
                <a:gd name="T79" fmla="*/ 189 h 700"/>
                <a:gd name="T80" fmla="*/ 754 w 841"/>
                <a:gd name="T81" fmla="*/ 272 h 700"/>
                <a:gd name="T82" fmla="*/ 719 w 841"/>
                <a:gd name="T83" fmla="*/ 329 h 700"/>
                <a:gd name="T84" fmla="*/ 685 w 841"/>
                <a:gd name="T85" fmla="*/ 383 h 700"/>
                <a:gd name="T86" fmla="*/ 669 w 841"/>
                <a:gd name="T87" fmla="*/ 428 h 700"/>
                <a:gd name="T88" fmla="*/ 643 w 841"/>
                <a:gd name="T89" fmla="*/ 478 h 700"/>
                <a:gd name="T90" fmla="*/ 319 w 841"/>
                <a:gd name="T91" fmla="*/ 688 h 700"/>
                <a:gd name="T92" fmla="*/ 319 w 841"/>
                <a:gd name="T93" fmla="*/ 688 h 700"/>
                <a:gd name="T94" fmla="*/ 341 w 841"/>
                <a:gd name="T95" fmla="*/ 683 h 700"/>
                <a:gd name="T96" fmla="*/ 341 w 841"/>
                <a:gd name="T97" fmla="*/ 683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1" h="700">
                  <a:moveTo>
                    <a:pt x="643" y="478"/>
                  </a:moveTo>
                  <a:lnTo>
                    <a:pt x="643" y="478"/>
                  </a:lnTo>
                  <a:lnTo>
                    <a:pt x="648" y="494"/>
                  </a:lnTo>
                  <a:lnTo>
                    <a:pt x="626" y="506"/>
                  </a:lnTo>
                  <a:lnTo>
                    <a:pt x="626" y="522"/>
                  </a:lnTo>
                  <a:lnTo>
                    <a:pt x="610" y="539"/>
                  </a:lnTo>
                  <a:lnTo>
                    <a:pt x="593" y="539"/>
                  </a:lnTo>
                  <a:lnTo>
                    <a:pt x="593" y="518"/>
                  </a:lnTo>
                  <a:lnTo>
                    <a:pt x="556" y="494"/>
                  </a:lnTo>
                  <a:lnTo>
                    <a:pt x="556" y="506"/>
                  </a:lnTo>
                  <a:lnTo>
                    <a:pt x="534" y="506"/>
                  </a:lnTo>
                  <a:lnTo>
                    <a:pt x="522" y="501"/>
                  </a:lnTo>
                  <a:lnTo>
                    <a:pt x="506" y="518"/>
                  </a:lnTo>
                  <a:lnTo>
                    <a:pt x="501" y="518"/>
                  </a:lnTo>
                  <a:lnTo>
                    <a:pt x="492" y="534"/>
                  </a:lnTo>
                  <a:lnTo>
                    <a:pt x="471" y="551"/>
                  </a:lnTo>
                  <a:lnTo>
                    <a:pt x="437" y="577"/>
                  </a:lnTo>
                  <a:lnTo>
                    <a:pt x="437" y="605"/>
                  </a:lnTo>
                  <a:lnTo>
                    <a:pt x="433" y="629"/>
                  </a:lnTo>
                  <a:lnTo>
                    <a:pt x="416" y="662"/>
                  </a:lnTo>
                  <a:lnTo>
                    <a:pt x="409" y="666"/>
                  </a:lnTo>
                  <a:lnTo>
                    <a:pt x="395" y="650"/>
                  </a:lnTo>
                  <a:lnTo>
                    <a:pt x="400" y="666"/>
                  </a:lnTo>
                  <a:lnTo>
                    <a:pt x="395" y="671"/>
                  </a:lnTo>
                  <a:lnTo>
                    <a:pt x="357" y="683"/>
                  </a:lnTo>
                  <a:lnTo>
                    <a:pt x="345" y="671"/>
                  </a:lnTo>
                  <a:lnTo>
                    <a:pt x="345" y="666"/>
                  </a:lnTo>
                  <a:lnTo>
                    <a:pt x="341" y="671"/>
                  </a:lnTo>
                  <a:lnTo>
                    <a:pt x="324" y="671"/>
                  </a:lnTo>
                  <a:lnTo>
                    <a:pt x="308" y="662"/>
                  </a:lnTo>
                  <a:lnTo>
                    <a:pt x="319" y="683"/>
                  </a:lnTo>
                  <a:lnTo>
                    <a:pt x="308" y="683"/>
                  </a:lnTo>
                  <a:lnTo>
                    <a:pt x="303" y="666"/>
                  </a:lnTo>
                  <a:lnTo>
                    <a:pt x="303" y="666"/>
                  </a:lnTo>
                  <a:lnTo>
                    <a:pt x="308" y="688"/>
                  </a:lnTo>
                  <a:lnTo>
                    <a:pt x="291" y="688"/>
                  </a:lnTo>
                  <a:lnTo>
                    <a:pt x="291" y="662"/>
                  </a:lnTo>
                  <a:lnTo>
                    <a:pt x="291" y="688"/>
                  </a:lnTo>
                  <a:lnTo>
                    <a:pt x="286" y="688"/>
                  </a:lnTo>
                  <a:lnTo>
                    <a:pt x="286" y="671"/>
                  </a:lnTo>
                  <a:lnTo>
                    <a:pt x="286" y="683"/>
                  </a:lnTo>
                  <a:lnTo>
                    <a:pt x="286" y="688"/>
                  </a:lnTo>
                  <a:lnTo>
                    <a:pt x="253" y="700"/>
                  </a:lnTo>
                  <a:lnTo>
                    <a:pt x="265" y="683"/>
                  </a:lnTo>
                  <a:lnTo>
                    <a:pt x="253" y="683"/>
                  </a:lnTo>
                  <a:lnTo>
                    <a:pt x="248" y="688"/>
                  </a:lnTo>
                  <a:lnTo>
                    <a:pt x="237" y="700"/>
                  </a:lnTo>
                  <a:lnTo>
                    <a:pt x="215" y="683"/>
                  </a:lnTo>
                  <a:lnTo>
                    <a:pt x="199" y="650"/>
                  </a:lnTo>
                  <a:lnTo>
                    <a:pt x="194" y="633"/>
                  </a:lnTo>
                  <a:lnTo>
                    <a:pt x="199" y="633"/>
                  </a:lnTo>
                  <a:lnTo>
                    <a:pt x="194" y="633"/>
                  </a:lnTo>
                  <a:lnTo>
                    <a:pt x="194" y="617"/>
                  </a:lnTo>
                  <a:lnTo>
                    <a:pt x="211" y="605"/>
                  </a:lnTo>
                  <a:lnTo>
                    <a:pt x="199" y="612"/>
                  </a:lnTo>
                  <a:lnTo>
                    <a:pt x="185" y="612"/>
                  </a:lnTo>
                  <a:lnTo>
                    <a:pt x="178" y="605"/>
                  </a:lnTo>
                  <a:lnTo>
                    <a:pt x="199" y="593"/>
                  </a:lnTo>
                  <a:lnTo>
                    <a:pt x="178" y="605"/>
                  </a:lnTo>
                  <a:lnTo>
                    <a:pt x="156" y="572"/>
                  </a:lnTo>
                  <a:lnTo>
                    <a:pt x="130" y="551"/>
                  </a:lnTo>
                  <a:lnTo>
                    <a:pt x="55" y="539"/>
                  </a:lnTo>
                  <a:lnTo>
                    <a:pt x="85" y="522"/>
                  </a:lnTo>
                  <a:lnTo>
                    <a:pt x="60" y="534"/>
                  </a:lnTo>
                  <a:lnTo>
                    <a:pt x="60" y="534"/>
                  </a:lnTo>
                  <a:lnTo>
                    <a:pt x="48" y="551"/>
                  </a:lnTo>
                  <a:lnTo>
                    <a:pt x="5" y="551"/>
                  </a:lnTo>
                  <a:lnTo>
                    <a:pt x="5" y="494"/>
                  </a:lnTo>
                  <a:lnTo>
                    <a:pt x="0" y="440"/>
                  </a:lnTo>
                  <a:lnTo>
                    <a:pt x="5" y="350"/>
                  </a:lnTo>
                  <a:lnTo>
                    <a:pt x="34" y="350"/>
                  </a:lnTo>
                  <a:lnTo>
                    <a:pt x="38" y="329"/>
                  </a:lnTo>
                  <a:lnTo>
                    <a:pt x="55" y="300"/>
                  </a:lnTo>
                  <a:lnTo>
                    <a:pt x="48" y="296"/>
                  </a:lnTo>
                  <a:lnTo>
                    <a:pt x="71" y="284"/>
                  </a:lnTo>
                  <a:lnTo>
                    <a:pt x="76" y="272"/>
                  </a:lnTo>
                  <a:lnTo>
                    <a:pt x="71" y="260"/>
                  </a:lnTo>
                  <a:lnTo>
                    <a:pt x="76" y="244"/>
                  </a:lnTo>
                  <a:lnTo>
                    <a:pt x="85" y="255"/>
                  </a:lnTo>
                  <a:lnTo>
                    <a:pt x="85" y="239"/>
                  </a:lnTo>
                  <a:lnTo>
                    <a:pt x="76" y="222"/>
                  </a:lnTo>
                  <a:lnTo>
                    <a:pt x="76" y="201"/>
                  </a:lnTo>
                  <a:lnTo>
                    <a:pt x="60" y="173"/>
                  </a:lnTo>
                  <a:lnTo>
                    <a:pt x="71" y="161"/>
                  </a:lnTo>
                  <a:lnTo>
                    <a:pt x="76" y="149"/>
                  </a:lnTo>
                  <a:lnTo>
                    <a:pt x="71" y="144"/>
                  </a:lnTo>
                  <a:lnTo>
                    <a:pt x="71" y="95"/>
                  </a:lnTo>
                  <a:lnTo>
                    <a:pt x="93" y="78"/>
                  </a:lnTo>
                  <a:lnTo>
                    <a:pt x="102" y="62"/>
                  </a:lnTo>
                  <a:lnTo>
                    <a:pt x="109" y="22"/>
                  </a:lnTo>
                  <a:lnTo>
                    <a:pt x="130" y="5"/>
                  </a:lnTo>
                  <a:lnTo>
                    <a:pt x="156" y="5"/>
                  </a:lnTo>
                  <a:lnTo>
                    <a:pt x="185" y="5"/>
                  </a:lnTo>
                  <a:lnTo>
                    <a:pt x="199" y="0"/>
                  </a:lnTo>
                  <a:lnTo>
                    <a:pt x="248" y="17"/>
                  </a:lnTo>
                  <a:lnTo>
                    <a:pt x="253" y="5"/>
                  </a:lnTo>
                  <a:lnTo>
                    <a:pt x="303" y="62"/>
                  </a:lnTo>
                  <a:lnTo>
                    <a:pt x="308" y="62"/>
                  </a:lnTo>
                  <a:lnTo>
                    <a:pt x="324" y="57"/>
                  </a:lnTo>
                  <a:lnTo>
                    <a:pt x="329" y="57"/>
                  </a:lnTo>
                  <a:lnTo>
                    <a:pt x="362" y="33"/>
                  </a:lnTo>
                  <a:lnTo>
                    <a:pt x="383" y="38"/>
                  </a:lnTo>
                  <a:lnTo>
                    <a:pt x="426" y="62"/>
                  </a:lnTo>
                  <a:lnTo>
                    <a:pt x="492" y="78"/>
                  </a:lnTo>
                  <a:lnTo>
                    <a:pt x="522" y="38"/>
                  </a:lnTo>
                  <a:lnTo>
                    <a:pt x="560" y="33"/>
                  </a:lnTo>
                  <a:lnTo>
                    <a:pt x="615" y="33"/>
                  </a:lnTo>
                  <a:lnTo>
                    <a:pt x="685" y="57"/>
                  </a:lnTo>
                  <a:lnTo>
                    <a:pt x="719" y="22"/>
                  </a:lnTo>
                  <a:lnTo>
                    <a:pt x="740" y="22"/>
                  </a:lnTo>
                  <a:lnTo>
                    <a:pt x="749" y="5"/>
                  </a:lnTo>
                  <a:lnTo>
                    <a:pt x="771" y="5"/>
                  </a:lnTo>
                  <a:lnTo>
                    <a:pt x="804" y="57"/>
                  </a:lnTo>
                  <a:lnTo>
                    <a:pt x="808" y="107"/>
                  </a:lnTo>
                  <a:lnTo>
                    <a:pt x="830" y="111"/>
                  </a:lnTo>
                  <a:lnTo>
                    <a:pt x="841" y="116"/>
                  </a:lnTo>
                  <a:lnTo>
                    <a:pt x="841" y="149"/>
                  </a:lnTo>
                  <a:lnTo>
                    <a:pt x="841" y="168"/>
                  </a:lnTo>
                  <a:lnTo>
                    <a:pt x="808" y="189"/>
                  </a:lnTo>
                  <a:lnTo>
                    <a:pt x="792" y="189"/>
                  </a:lnTo>
                  <a:lnTo>
                    <a:pt x="778" y="206"/>
                  </a:lnTo>
                  <a:lnTo>
                    <a:pt x="761" y="239"/>
                  </a:lnTo>
                  <a:lnTo>
                    <a:pt x="754" y="272"/>
                  </a:lnTo>
                  <a:lnTo>
                    <a:pt x="749" y="279"/>
                  </a:lnTo>
                  <a:lnTo>
                    <a:pt x="740" y="312"/>
                  </a:lnTo>
                  <a:lnTo>
                    <a:pt x="719" y="329"/>
                  </a:lnTo>
                  <a:lnTo>
                    <a:pt x="707" y="371"/>
                  </a:lnTo>
                  <a:lnTo>
                    <a:pt x="702" y="383"/>
                  </a:lnTo>
                  <a:lnTo>
                    <a:pt x="685" y="383"/>
                  </a:lnTo>
                  <a:lnTo>
                    <a:pt x="685" y="390"/>
                  </a:lnTo>
                  <a:lnTo>
                    <a:pt x="669" y="395"/>
                  </a:lnTo>
                  <a:lnTo>
                    <a:pt x="669" y="428"/>
                  </a:lnTo>
                  <a:lnTo>
                    <a:pt x="652" y="444"/>
                  </a:lnTo>
                  <a:lnTo>
                    <a:pt x="652" y="461"/>
                  </a:lnTo>
                  <a:lnTo>
                    <a:pt x="643" y="478"/>
                  </a:lnTo>
                  <a:lnTo>
                    <a:pt x="643" y="478"/>
                  </a:lnTo>
                  <a:lnTo>
                    <a:pt x="643" y="478"/>
                  </a:lnTo>
                  <a:close/>
                  <a:moveTo>
                    <a:pt x="319" y="688"/>
                  </a:moveTo>
                  <a:lnTo>
                    <a:pt x="324" y="671"/>
                  </a:lnTo>
                  <a:lnTo>
                    <a:pt x="329" y="683"/>
                  </a:lnTo>
                  <a:lnTo>
                    <a:pt x="319" y="688"/>
                  </a:lnTo>
                  <a:lnTo>
                    <a:pt x="319" y="688"/>
                  </a:lnTo>
                  <a:lnTo>
                    <a:pt x="319" y="688"/>
                  </a:lnTo>
                  <a:close/>
                  <a:moveTo>
                    <a:pt x="341" y="683"/>
                  </a:moveTo>
                  <a:lnTo>
                    <a:pt x="329" y="683"/>
                  </a:lnTo>
                  <a:lnTo>
                    <a:pt x="341" y="683"/>
                  </a:lnTo>
                  <a:lnTo>
                    <a:pt x="341" y="683"/>
                  </a:lnTo>
                  <a:lnTo>
                    <a:pt x="341" y="683"/>
                  </a:lnTo>
                  <a:lnTo>
                    <a:pt x="341" y="683"/>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1" name="Freeform 522">
              <a:extLst>
                <a:ext uri="{FF2B5EF4-FFF2-40B4-BE49-F238E27FC236}">
                  <a16:creationId xmlns:a16="http://schemas.microsoft.com/office/drawing/2014/main" id="{CB4580D9-728D-4074-B52A-A97F0B0CF408}"/>
                </a:ext>
              </a:extLst>
            </p:cNvPr>
            <p:cNvSpPr>
              <a:spLocks noEditPoints="1"/>
            </p:cNvSpPr>
            <p:nvPr/>
          </p:nvSpPr>
          <p:spPr bwMode="gray">
            <a:xfrm>
              <a:off x="13822389" y="2717504"/>
              <a:ext cx="88370" cy="85097"/>
            </a:xfrm>
            <a:custGeom>
              <a:avLst/>
              <a:gdLst>
                <a:gd name="T0" fmla="*/ 156 w 270"/>
                <a:gd name="T1" fmla="*/ 0 h 260"/>
                <a:gd name="T2" fmla="*/ 161 w 270"/>
                <a:gd name="T3" fmla="*/ 0 h 260"/>
                <a:gd name="T4" fmla="*/ 161 w 270"/>
                <a:gd name="T5" fmla="*/ 0 h 260"/>
                <a:gd name="T6" fmla="*/ 270 w 270"/>
                <a:gd name="T7" fmla="*/ 49 h 260"/>
                <a:gd name="T8" fmla="*/ 237 w 270"/>
                <a:gd name="T9" fmla="*/ 78 h 260"/>
                <a:gd name="T10" fmla="*/ 253 w 270"/>
                <a:gd name="T11" fmla="*/ 104 h 260"/>
                <a:gd name="T12" fmla="*/ 232 w 270"/>
                <a:gd name="T13" fmla="*/ 132 h 260"/>
                <a:gd name="T14" fmla="*/ 178 w 270"/>
                <a:gd name="T15" fmla="*/ 161 h 260"/>
                <a:gd name="T16" fmla="*/ 199 w 270"/>
                <a:gd name="T17" fmla="*/ 205 h 260"/>
                <a:gd name="T18" fmla="*/ 185 w 270"/>
                <a:gd name="T19" fmla="*/ 222 h 260"/>
                <a:gd name="T20" fmla="*/ 185 w 270"/>
                <a:gd name="T21" fmla="*/ 243 h 260"/>
                <a:gd name="T22" fmla="*/ 161 w 270"/>
                <a:gd name="T23" fmla="*/ 260 h 260"/>
                <a:gd name="T24" fmla="*/ 168 w 270"/>
                <a:gd name="T25" fmla="*/ 222 h 260"/>
                <a:gd name="T26" fmla="*/ 130 w 270"/>
                <a:gd name="T27" fmla="*/ 217 h 260"/>
                <a:gd name="T28" fmla="*/ 109 w 270"/>
                <a:gd name="T29" fmla="*/ 198 h 260"/>
                <a:gd name="T30" fmla="*/ 85 w 270"/>
                <a:gd name="T31" fmla="*/ 198 h 260"/>
                <a:gd name="T32" fmla="*/ 69 w 270"/>
                <a:gd name="T33" fmla="*/ 198 h 260"/>
                <a:gd name="T34" fmla="*/ 59 w 270"/>
                <a:gd name="T35" fmla="*/ 198 h 260"/>
                <a:gd name="T36" fmla="*/ 0 w 270"/>
                <a:gd name="T37" fmla="*/ 189 h 260"/>
                <a:gd name="T38" fmla="*/ 31 w 270"/>
                <a:gd name="T39" fmla="*/ 182 h 260"/>
                <a:gd name="T40" fmla="*/ 55 w 270"/>
                <a:gd name="T41" fmla="*/ 198 h 260"/>
                <a:gd name="T42" fmla="*/ 38 w 270"/>
                <a:gd name="T43" fmla="*/ 182 h 260"/>
                <a:gd name="T44" fmla="*/ 22 w 270"/>
                <a:gd name="T45" fmla="*/ 165 h 260"/>
                <a:gd name="T46" fmla="*/ 31 w 270"/>
                <a:gd name="T47" fmla="*/ 161 h 260"/>
                <a:gd name="T48" fmla="*/ 38 w 270"/>
                <a:gd name="T49" fmla="*/ 144 h 260"/>
                <a:gd name="T50" fmla="*/ 85 w 270"/>
                <a:gd name="T51" fmla="*/ 94 h 260"/>
                <a:gd name="T52" fmla="*/ 168 w 270"/>
                <a:gd name="T53" fmla="*/ 94 h 260"/>
                <a:gd name="T54" fmla="*/ 156 w 270"/>
                <a:gd name="T55" fmla="*/ 78 h 260"/>
                <a:gd name="T56" fmla="*/ 161 w 270"/>
                <a:gd name="T57" fmla="*/ 66 h 260"/>
                <a:gd name="T58" fmla="*/ 140 w 270"/>
                <a:gd name="T59" fmla="*/ 38 h 260"/>
                <a:gd name="T60" fmla="*/ 123 w 270"/>
                <a:gd name="T61" fmla="*/ 66 h 260"/>
                <a:gd name="T62" fmla="*/ 114 w 270"/>
                <a:gd name="T63" fmla="*/ 78 h 260"/>
                <a:gd name="T64" fmla="*/ 114 w 270"/>
                <a:gd name="T65" fmla="*/ 104 h 260"/>
                <a:gd name="T66" fmla="*/ 93 w 270"/>
                <a:gd name="T67" fmla="*/ 49 h 260"/>
                <a:gd name="T68" fmla="*/ 114 w 270"/>
                <a:gd name="T69" fmla="*/ 49 h 260"/>
                <a:gd name="T70" fmla="*/ 178 w 270"/>
                <a:gd name="T71" fmla="*/ 9 h 260"/>
                <a:gd name="T72" fmla="*/ 270 w 270"/>
                <a:gd name="T73" fmla="*/ 21 h 260"/>
                <a:gd name="T74" fmla="*/ 270 w 270"/>
                <a:gd name="T75" fmla="*/ 21 h 260"/>
                <a:gd name="T76" fmla="*/ 93 w 270"/>
                <a:gd name="T77" fmla="*/ 38 h 260"/>
                <a:gd name="T78" fmla="*/ 109 w 270"/>
                <a:gd name="T79" fmla="*/ 38 h 260"/>
                <a:gd name="T80" fmla="*/ 93 w 270"/>
                <a:gd name="T81" fmla="*/ 49 h 260"/>
                <a:gd name="T82" fmla="*/ 114 w 270"/>
                <a:gd name="T83" fmla="*/ 104 h 260"/>
                <a:gd name="T84" fmla="*/ 130 w 270"/>
                <a:gd name="T85" fmla="*/ 71 h 260"/>
                <a:gd name="T86" fmla="*/ 123 w 270"/>
                <a:gd name="T87" fmla="*/ 104 h 260"/>
                <a:gd name="T88" fmla="*/ 114 w 270"/>
                <a:gd name="T89" fmla="*/ 104 h 260"/>
                <a:gd name="T90" fmla="*/ 114 w 270"/>
                <a:gd name="T91" fmla="*/ 104 h 260"/>
                <a:gd name="T92" fmla="*/ 140 w 270"/>
                <a:gd name="T93" fmla="*/ 120 h 260"/>
                <a:gd name="T94" fmla="*/ 156 w 270"/>
                <a:gd name="T95" fmla="*/ 87 h 260"/>
                <a:gd name="T96" fmla="*/ 168 w 270"/>
                <a:gd name="T97" fmla="*/ 104 h 260"/>
                <a:gd name="T98" fmla="*/ 156 w 270"/>
                <a:gd name="T99" fmla="*/ 104 h 260"/>
                <a:gd name="T100" fmla="*/ 59 w 270"/>
                <a:gd name="T101" fmla="*/ 205 h 260"/>
                <a:gd name="T102" fmla="*/ 17 w 270"/>
                <a:gd name="T103" fmla="*/ 205 h 260"/>
                <a:gd name="T104" fmla="*/ 0 w 270"/>
                <a:gd name="T105" fmla="*/ 198 h 260"/>
                <a:gd name="T106" fmla="*/ 59 w 270"/>
                <a:gd name="T107" fmla="*/ 20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0" h="260">
                  <a:moveTo>
                    <a:pt x="161" y="0"/>
                  </a:moveTo>
                  <a:lnTo>
                    <a:pt x="156" y="0"/>
                  </a:lnTo>
                  <a:lnTo>
                    <a:pt x="178" y="0"/>
                  </a:lnTo>
                  <a:lnTo>
                    <a:pt x="161" y="0"/>
                  </a:lnTo>
                  <a:lnTo>
                    <a:pt x="161" y="0"/>
                  </a:lnTo>
                  <a:lnTo>
                    <a:pt x="161" y="0"/>
                  </a:lnTo>
                  <a:close/>
                  <a:moveTo>
                    <a:pt x="270" y="21"/>
                  </a:moveTo>
                  <a:lnTo>
                    <a:pt x="270" y="49"/>
                  </a:lnTo>
                  <a:lnTo>
                    <a:pt x="253" y="78"/>
                  </a:lnTo>
                  <a:lnTo>
                    <a:pt x="237" y="78"/>
                  </a:lnTo>
                  <a:lnTo>
                    <a:pt x="232" y="87"/>
                  </a:lnTo>
                  <a:lnTo>
                    <a:pt x="253" y="104"/>
                  </a:lnTo>
                  <a:lnTo>
                    <a:pt x="253" y="120"/>
                  </a:lnTo>
                  <a:lnTo>
                    <a:pt x="232" y="132"/>
                  </a:lnTo>
                  <a:lnTo>
                    <a:pt x="237" y="144"/>
                  </a:lnTo>
                  <a:lnTo>
                    <a:pt x="178" y="161"/>
                  </a:lnTo>
                  <a:lnTo>
                    <a:pt x="199" y="189"/>
                  </a:lnTo>
                  <a:lnTo>
                    <a:pt x="199" y="205"/>
                  </a:lnTo>
                  <a:lnTo>
                    <a:pt x="185" y="217"/>
                  </a:lnTo>
                  <a:lnTo>
                    <a:pt x="185" y="222"/>
                  </a:lnTo>
                  <a:lnTo>
                    <a:pt x="168" y="234"/>
                  </a:lnTo>
                  <a:lnTo>
                    <a:pt x="185" y="243"/>
                  </a:lnTo>
                  <a:lnTo>
                    <a:pt x="185" y="260"/>
                  </a:lnTo>
                  <a:lnTo>
                    <a:pt x="161" y="260"/>
                  </a:lnTo>
                  <a:lnTo>
                    <a:pt x="156" y="255"/>
                  </a:lnTo>
                  <a:lnTo>
                    <a:pt x="168" y="222"/>
                  </a:lnTo>
                  <a:lnTo>
                    <a:pt x="147" y="205"/>
                  </a:lnTo>
                  <a:lnTo>
                    <a:pt x="130" y="217"/>
                  </a:lnTo>
                  <a:lnTo>
                    <a:pt x="114" y="189"/>
                  </a:lnTo>
                  <a:lnTo>
                    <a:pt x="109" y="198"/>
                  </a:lnTo>
                  <a:lnTo>
                    <a:pt x="102" y="189"/>
                  </a:lnTo>
                  <a:lnTo>
                    <a:pt x="85" y="198"/>
                  </a:lnTo>
                  <a:lnTo>
                    <a:pt x="76" y="189"/>
                  </a:lnTo>
                  <a:lnTo>
                    <a:pt x="69" y="198"/>
                  </a:lnTo>
                  <a:lnTo>
                    <a:pt x="69" y="205"/>
                  </a:lnTo>
                  <a:lnTo>
                    <a:pt x="59" y="198"/>
                  </a:lnTo>
                  <a:lnTo>
                    <a:pt x="31" y="198"/>
                  </a:lnTo>
                  <a:lnTo>
                    <a:pt x="0" y="189"/>
                  </a:lnTo>
                  <a:lnTo>
                    <a:pt x="31" y="182"/>
                  </a:lnTo>
                  <a:lnTo>
                    <a:pt x="31" y="182"/>
                  </a:lnTo>
                  <a:lnTo>
                    <a:pt x="31" y="182"/>
                  </a:lnTo>
                  <a:lnTo>
                    <a:pt x="55" y="198"/>
                  </a:lnTo>
                  <a:lnTo>
                    <a:pt x="59" y="198"/>
                  </a:lnTo>
                  <a:lnTo>
                    <a:pt x="38" y="182"/>
                  </a:lnTo>
                  <a:lnTo>
                    <a:pt x="55" y="182"/>
                  </a:lnTo>
                  <a:lnTo>
                    <a:pt x="22" y="165"/>
                  </a:lnTo>
                  <a:lnTo>
                    <a:pt x="55" y="177"/>
                  </a:lnTo>
                  <a:lnTo>
                    <a:pt x="31" y="161"/>
                  </a:lnTo>
                  <a:lnTo>
                    <a:pt x="48" y="161"/>
                  </a:lnTo>
                  <a:lnTo>
                    <a:pt x="38" y="144"/>
                  </a:lnTo>
                  <a:lnTo>
                    <a:pt x="69" y="127"/>
                  </a:lnTo>
                  <a:lnTo>
                    <a:pt x="85" y="94"/>
                  </a:lnTo>
                  <a:lnTo>
                    <a:pt x="140" y="120"/>
                  </a:lnTo>
                  <a:lnTo>
                    <a:pt x="168" y="94"/>
                  </a:lnTo>
                  <a:lnTo>
                    <a:pt x="168" y="78"/>
                  </a:lnTo>
                  <a:lnTo>
                    <a:pt x="156" y="78"/>
                  </a:lnTo>
                  <a:lnTo>
                    <a:pt x="156" y="71"/>
                  </a:lnTo>
                  <a:lnTo>
                    <a:pt x="161" y="66"/>
                  </a:lnTo>
                  <a:lnTo>
                    <a:pt x="140" y="54"/>
                  </a:lnTo>
                  <a:lnTo>
                    <a:pt x="140" y="38"/>
                  </a:lnTo>
                  <a:lnTo>
                    <a:pt x="114" y="49"/>
                  </a:lnTo>
                  <a:lnTo>
                    <a:pt x="123" y="66"/>
                  </a:lnTo>
                  <a:lnTo>
                    <a:pt x="130" y="71"/>
                  </a:lnTo>
                  <a:lnTo>
                    <a:pt x="114" y="78"/>
                  </a:lnTo>
                  <a:lnTo>
                    <a:pt x="114" y="94"/>
                  </a:lnTo>
                  <a:lnTo>
                    <a:pt x="114" y="104"/>
                  </a:lnTo>
                  <a:lnTo>
                    <a:pt x="85" y="94"/>
                  </a:lnTo>
                  <a:lnTo>
                    <a:pt x="93" y="49"/>
                  </a:lnTo>
                  <a:lnTo>
                    <a:pt x="102" y="54"/>
                  </a:lnTo>
                  <a:lnTo>
                    <a:pt x="114" y="49"/>
                  </a:lnTo>
                  <a:lnTo>
                    <a:pt x="156" y="16"/>
                  </a:lnTo>
                  <a:lnTo>
                    <a:pt x="178" y="9"/>
                  </a:lnTo>
                  <a:lnTo>
                    <a:pt x="232" y="0"/>
                  </a:lnTo>
                  <a:lnTo>
                    <a:pt x="270" y="21"/>
                  </a:lnTo>
                  <a:lnTo>
                    <a:pt x="270" y="21"/>
                  </a:lnTo>
                  <a:lnTo>
                    <a:pt x="270" y="21"/>
                  </a:lnTo>
                  <a:close/>
                  <a:moveTo>
                    <a:pt x="93" y="49"/>
                  </a:moveTo>
                  <a:lnTo>
                    <a:pt x="93" y="38"/>
                  </a:lnTo>
                  <a:lnTo>
                    <a:pt x="102" y="21"/>
                  </a:lnTo>
                  <a:lnTo>
                    <a:pt x="109" y="38"/>
                  </a:lnTo>
                  <a:lnTo>
                    <a:pt x="93" y="49"/>
                  </a:lnTo>
                  <a:lnTo>
                    <a:pt x="93" y="49"/>
                  </a:lnTo>
                  <a:lnTo>
                    <a:pt x="93" y="49"/>
                  </a:lnTo>
                  <a:close/>
                  <a:moveTo>
                    <a:pt x="114" y="104"/>
                  </a:moveTo>
                  <a:lnTo>
                    <a:pt x="114" y="78"/>
                  </a:lnTo>
                  <a:lnTo>
                    <a:pt x="130" y="71"/>
                  </a:lnTo>
                  <a:lnTo>
                    <a:pt x="147" y="87"/>
                  </a:lnTo>
                  <a:lnTo>
                    <a:pt x="123" y="104"/>
                  </a:lnTo>
                  <a:lnTo>
                    <a:pt x="114" y="104"/>
                  </a:lnTo>
                  <a:lnTo>
                    <a:pt x="114" y="104"/>
                  </a:lnTo>
                  <a:lnTo>
                    <a:pt x="114" y="104"/>
                  </a:lnTo>
                  <a:lnTo>
                    <a:pt x="114" y="104"/>
                  </a:lnTo>
                  <a:close/>
                  <a:moveTo>
                    <a:pt x="156" y="104"/>
                  </a:moveTo>
                  <a:lnTo>
                    <a:pt x="140" y="120"/>
                  </a:lnTo>
                  <a:lnTo>
                    <a:pt x="123" y="104"/>
                  </a:lnTo>
                  <a:lnTo>
                    <a:pt x="156" y="87"/>
                  </a:lnTo>
                  <a:lnTo>
                    <a:pt x="168" y="87"/>
                  </a:lnTo>
                  <a:lnTo>
                    <a:pt x="168" y="104"/>
                  </a:lnTo>
                  <a:lnTo>
                    <a:pt x="156" y="104"/>
                  </a:lnTo>
                  <a:lnTo>
                    <a:pt x="156" y="104"/>
                  </a:lnTo>
                  <a:lnTo>
                    <a:pt x="156" y="104"/>
                  </a:lnTo>
                  <a:close/>
                  <a:moveTo>
                    <a:pt x="59" y="205"/>
                  </a:moveTo>
                  <a:lnTo>
                    <a:pt x="31" y="217"/>
                  </a:lnTo>
                  <a:lnTo>
                    <a:pt x="17" y="205"/>
                  </a:lnTo>
                  <a:lnTo>
                    <a:pt x="0" y="217"/>
                  </a:lnTo>
                  <a:lnTo>
                    <a:pt x="0" y="198"/>
                  </a:lnTo>
                  <a:lnTo>
                    <a:pt x="59" y="205"/>
                  </a:lnTo>
                  <a:lnTo>
                    <a:pt x="59" y="205"/>
                  </a:lnTo>
                  <a:lnTo>
                    <a:pt x="59" y="205"/>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2" name="Freeform 523">
              <a:extLst>
                <a:ext uri="{FF2B5EF4-FFF2-40B4-BE49-F238E27FC236}">
                  <a16:creationId xmlns:a16="http://schemas.microsoft.com/office/drawing/2014/main" id="{07A41961-1DE5-4114-86E3-441FAA3637F8}"/>
                </a:ext>
              </a:extLst>
            </p:cNvPr>
            <p:cNvSpPr>
              <a:spLocks noEditPoints="1"/>
            </p:cNvSpPr>
            <p:nvPr/>
          </p:nvSpPr>
          <p:spPr bwMode="gray">
            <a:xfrm>
              <a:off x="13855774" y="2064220"/>
              <a:ext cx="602880" cy="502400"/>
            </a:xfrm>
            <a:custGeom>
              <a:avLst/>
              <a:gdLst>
                <a:gd name="T0" fmla="*/ 1713 w 1842"/>
                <a:gd name="T1" fmla="*/ 238 h 1535"/>
                <a:gd name="T2" fmla="*/ 1285 w 1842"/>
                <a:gd name="T3" fmla="*/ 326 h 1535"/>
                <a:gd name="T4" fmla="*/ 919 w 1842"/>
                <a:gd name="T5" fmla="*/ 411 h 1535"/>
                <a:gd name="T6" fmla="*/ 546 w 1842"/>
                <a:gd name="T7" fmla="*/ 886 h 1535"/>
                <a:gd name="T8" fmla="*/ 470 w 1842"/>
                <a:gd name="T9" fmla="*/ 1441 h 1535"/>
                <a:gd name="T10" fmla="*/ 399 w 1842"/>
                <a:gd name="T11" fmla="*/ 1403 h 1535"/>
                <a:gd name="T12" fmla="*/ 92 w 1842"/>
                <a:gd name="T13" fmla="*/ 1453 h 1535"/>
                <a:gd name="T14" fmla="*/ 54 w 1842"/>
                <a:gd name="T15" fmla="*/ 1386 h 1535"/>
                <a:gd name="T16" fmla="*/ 163 w 1842"/>
                <a:gd name="T17" fmla="*/ 1268 h 1535"/>
                <a:gd name="T18" fmla="*/ 54 w 1842"/>
                <a:gd name="T19" fmla="*/ 1242 h 1535"/>
                <a:gd name="T20" fmla="*/ 189 w 1842"/>
                <a:gd name="T21" fmla="*/ 1164 h 1535"/>
                <a:gd name="T22" fmla="*/ 21 w 1842"/>
                <a:gd name="T23" fmla="*/ 1148 h 1535"/>
                <a:gd name="T24" fmla="*/ 97 w 1842"/>
                <a:gd name="T25" fmla="*/ 1058 h 1535"/>
                <a:gd name="T26" fmla="*/ 206 w 1842"/>
                <a:gd name="T27" fmla="*/ 1049 h 1535"/>
                <a:gd name="T28" fmla="*/ 227 w 1842"/>
                <a:gd name="T29" fmla="*/ 980 h 1535"/>
                <a:gd name="T30" fmla="*/ 361 w 1842"/>
                <a:gd name="T31" fmla="*/ 947 h 1535"/>
                <a:gd name="T32" fmla="*/ 352 w 1842"/>
                <a:gd name="T33" fmla="*/ 938 h 1535"/>
                <a:gd name="T34" fmla="*/ 470 w 1842"/>
                <a:gd name="T35" fmla="*/ 815 h 1535"/>
                <a:gd name="T36" fmla="*/ 541 w 1842"/>
                <a:gd name="T37" fmla="*/ 720 h 1535"/>
                <a:gd name="T38" fmla="*/ 567 w 1842"/>
                <a:gd name="T39" fmla="*/ 626 h 1535"/>
                <a:gd name="T40" fmla="*/ 659 w 1842"/>
                <a:gd name="T41" fmla="*/ 503 h 1535"/>
                <a:gd name="T42" fmla="*/ 692 w 1842"/>
                <a:gd name="T43" fmla="*/ 465 h 1535"/>
                <a:gd name="T44" fmla="*/ 702 w 1842"/>
                <a:gd name="T45" fmla="*/ 420 h 1535"/>
                <a:gd name="T46" fmla="*/ 801 w 1842"/>
                <a:gd name="T47" fmla="*/ 387 h 1535"/>
                <a:gd name="T48" fmla="*/ 848 w 1842"/>
                <a:gd name="T49" fmla="*/ 338 h 1535"/>
                <a:gd name="T50" fmla="*/ 994 w 1842"/>
                <a:gd name="T51" fmla="*/ 243 h 1535"/>
                <a:gd name="T52" fmla="*/ 1049 w 1842"/>
                <a:gd name="T53" fmla="*/ 189 h 1535"/>
                <a:gd name="T54" fmla="*/ 1172 w 1842"/>
                <a:gd name="T55" fmla="*/ 111 h 1535"/>
                <a:gd name="T56" fmla="*/ 1318 w 1842"/>
                <a:gd name="T57" fmla="*/ 94 h 1535"/>
                <a:gd name="T58" fmla="*/ 1431 w 1842"/>
                <a:gd name="T59" fmla="*/ 104 h 1535"/>
                <a:gd name="T60" fmla="*/ 1557 w 1842"/>
                <a:gd name="T61" fmla="*/ 71 h 1535"/>
                <a:gd name="T62" fmla="*/ 1625 w 1842"/>
                <a:gd name="T63" fmla="*/ 94 h 1535"/>
                <a:gd name="T64" fmla="*/ 1826 w 1842"/>
                <a:gd name="T65" fmla="*/ 94 h 1535"/>
                <a:gd name="T66" fmla="*/ 1798 w 1842"/>
                <a:gd name="T67" fmla="*/ 189 h 1535"/>
                <a:gd name="T68" fmla="*/ 1205 w 1842"/>
                <a:gd name="T69" fmla="*/ 61 h 1535"/>
                <a:gd name="T70" fmla="*/ 1351 w 1842"/>
                <a:gd name="T71" fmla="*/ 71 h 1535"/>
                <a:gd name="T72" fmla="*/ 1188 w 1842"/>
                <a:gd name="T73" fmla="*/ 116 h 1535"/>
                <a:gd name="T74" fmla="*/ 999 w 1842"/>
                <a:gd name="T75" fmla="*/ 132 h 1535"/>
                <a:gd name="T76" fmla="*/ 1124 w 1842"/>
                <a:gd name="T77" fmla="*/ 132 h 1535"/>
                <a:gd name="T78" fmla="*/ 1124 w 1842"/>
                <a:gd name="T79" fmla="*/ 160 h 1535"/>
                <a:gd name="T80" fmla="*/ 1750 w 1842"/>
                <a:gd name="T81" fmla="*/ 182 h 1535"/>
                <a:gd name="T82" fmla="*/ 940 w 1842"/>
                <a:gd name="T83" fmla="*/ 198 h 1535"/>
                <a:gd name="T84" fmla="*/ 919 w 1842"/>
                <a:gd name="T85" fmla="*/ 238 h 1535"/>
                <a:gd name="T86" fmla="*/ 876 w 1842"/>
                <a:gd name="T87" fmla="*/ 276 h 1535"/>
                <a:gd name="T88" fmla="*/ 676 w 1842"/>
                <a:gd name="T89" fmla="*/ 326 h 1535"/>
                <a:gd name="T90" fmla="*/ 768 w 1842"/>
                <a:gd name="T91" fmla="*/ 349 h 1535"/>
                <a:gd name="T92" fmla="*/ 709 w 1842"/>
                <a:gd name="T93" fmla="*/ 293 h 1535"/>
                <a:gd name="T94" fmla="*/ 794 w 1842"/>
                <a:gd name="T95" fmla="*/ 354 h 1535"/>
                <a:gd name="T96" fmla="*/ 654 w 1842"/>
                <a:gd name="T97" fmla="*/ 371 h 1535"/>
                <a:gd name="T98" fmla="*/ 583 w 1842"/>
                <a:gd name="T99" fmla="*/ 404 h 1535"/>
                <a:gd name="T100" fmla="*/ 725 w 1842"/>
                <a:gd name="T101" fmla="*/ 411 h 1535"/>
                <a:gd name="T102" fmla="*/ 529 w 1842"/>
                <a:gd name="T103" fmla="*/ 666 h 1535"/>
                <a:gd name="T104" fmla="*/ 498 w 1842"/>
                <a:gd name="T105" fmla="*/ 753 h 1535"/>
                <a:gd name="T106" fmla="*/ 454 w 1842"/>
                <a:gd name="T107" fmla="*/ 810 h 1535"/>
                <a:gd name="T108" fmla="*/ 255 w 1842"/>
                <a:gd name="T109" fmla="*/ 942 h 1535"/>
                <a:gd name="T110" fmla="*/ 260 w 1842"/>
                <a:gd name="T111" fmla="*/ 959 h 1535"/>
                <a:gd name="T112" fmla="*/ 239 w 1842"/>
                <a:gd name="T113" fmla="*/ 975 h 1535"/>
                <a:gd name="T114" fmla="*/ 135 w 1842"/>
                <a:gd name="T115" fmla="*/ 1020 h 1535"/>
                <a:gd name="T116" fmla="*/ 66 w 1842"/>
                <a:gd name="T117" fmla="*/ 1075 h 1535"/>
                <a:gd name="T118" fmla="*/ 7 w 1842"/>
                <a:gd name="T119" fmla="*/ 1131 h 1535"/>
                <a:gd name="T120" fmla="*/ 21 w 1842"/>
                <a:gd name="T121" fmla="*/ 1280 h 1535"/>
                <a:gd name="T122" fmla="*/ 28 w 1842"/>
                <a:gd name="T123" fmla="*/ 1325 h 1535"/>
                <a:gd name="T124" fmla="*/ 38 w 1842"/>
                <a:gd name="T125" fmla="*/ 1353 h 1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2" h="1535">
                  <a:moveTo>
                    <a:pt x="1457" y="33"/>
                  </a:moveTo>
                  <a:lnTo>
                    <a:pt x="1443" y="21"/>
                  </a:lnTo>
                  <a:lnTo>
                    <a:pt x="1448" y="16"/>
                  </a:lnTo>
                  <a:lnTo>
                    <a:pt x="1431" y="16"/>
                  </a:lnTo>
                  <a:lnTo>
                    <a:pt x="1465" y="0"/>
                  </a:lnTo>
                  <a:lnTo>
                    <a:pt x="1486" y="5"/>
                  </a:lnTo>
                  <a:lnTo>
                    <a:pt x="1481" y="21"/>
                  </a:lnTo>
                  <a:lnTo>
                    <a:pt x="1495" y="16"/>
                  </a:lnTo>
                  <a:lnTo>
                    <a:pt x="1457" y="33"/>
                  </a:lnTo>
                  <a:lnTo>
                    <a:pt x="1457" y="33"/>
                  </a:lnTo>
                  <a:lnTo>
                    <a:pt x="1457" y="33"/>
                  </a:lnTo>
                  <a:close/>
                  <a:moveTo>
                    <a:pt x="1826" y="172"/>
                  </a:moveTo>
                  <a:lnTo>
                    <a:pt x="1826" y="189"/>
                  </a:lnTo>
                  <a:lnTo>
                    <a:pt x="1826" y="205"/>
                  </a:lnTo>
                  <a:lnTo>
                    <a:pt x="1805" y="205"/>
                  </a:lnTo>
                  <a:lnTo>
                    <a:pt x="1772" y="198"/>
                  </a:lnTo>
                  <a:lnTo>
                    <a:pt x="1772" y="205"/>
                  </a:lnTo>
                  <a:lnTo>
                    <a:pt x="1772" y="215"/>
                  </a:lnTo>
                  <a:lnTo>
                    <a:pt x="1713" y="238"/>
                  </a:lnTo>
                  <a:lnTo>
                    <a:pt x="1713" y="260"/>
                  </a:lnTo>
                  <a:lnTo>
                    <a:pt x="1691" y="272"/>
                  </a:lnTo>
                  <a:lnTo>
                    <a:pt x="1680" y="260"/>
                  </a:lnTo>
                  <a:lnTo>
                    <a:pt x="1680" y="243"/>
                  </a:lnTo>
                  <a:lnTo>
                    <a:pt x="1713" y="215"/>
                  </a:lnTo>
                  <a:lnTo>
                    <a:pt x="1701" y="189"/>
                  </a:lnTo>
                  <a:lnTo>
                    <a:pt x="1646" y="172"/>
                  </a:lnTo>
                  <a:lnTo>
                    <a:pt x="1620" y="144"/>
                  </a:lnTo>
                  <a:lnTo>
                    <a:pt x="1557" y="165"/>
                  </a:lnTo>
                  <a:lnTo>
                    <a:pt x="1519" y="160"/>
                  </a:lnTo>
                  <a:lnTo>
                    <a:pt x="1481" y="189"/>
                  </a:lnTo>
                  <a:lnTo>
                    <a:pt x="1465" y="243"/>
                  </a:lnTo>
                  <a:lnTo>
                    <a:pt x="1465" y="276"/>
                  </a:lnTo>
                  <a:lnTo>
                    <a:pt x="1457" y="293"/>
                  </a:lnTo>
                  <a:lnTo>
                    <a:pt x="1427" y="300"/>
                  </a:lnTo>
                  <a:lnTo>
                    <a:pt x="1420" y="326"/>
                  </a:lnTo>
                  <a:lnTo>
                    <a:pt x="1410" y="333"/>
                  </a:lnTo>
                  <a:lnTo>
                    <a:pt x="1339" y="300"/>
                  </a:lnTo>
                  <a:lnTo>
                    <a:pt x="1285" y="326"/>
                  </a:lnTo>
                  <a:lnTo>
                    <a:pt x="1231" y="316"/>
                  </a:lnTo>
                  <a:lnTo>
                    <a:pt x="1226" y="300"/>
                  </a:lnTo>
                  <a:lnTo>
                    <a:pt x="1179" y="243"/>
                  </a:lnTo>
                  <a:lnTo>
                    <a:pt x="1155" y="238"/>
                  </a:lnTo>
                  <a:lnTo>
                    <a:pt x="1134" y="255"/>
                  </a:lnTo>
                  <a:lnTo>
                    <a:pt x="1141" y="260"/>
                  </a:lnTo>
                  <a:lnTo>
                    <a:pt x="1134" y="276"/>
                  </a:lnTo>
                  <a:lnTo>
                    <a:pt x="1103" y="272"/>
                  </a:lnTo>
                  <a:lnTo>
                    <a:pt x="1070" y="272"/>
                  </a:lnTo>
                  <a:lnTo>
                    <a:pt x="1087" y="283"/>
                  </a:lnTo>
                  <a:lnTo>
                    <a:pt x="1087" y="300"/>
                  </a:lnTo>
                  <a:lnTo>
                    <a:pt x="1054" y="333"/>
                  </a:lnTo>
                  <a:lnTo>
                    <a:pt x="1080" y="338"/>
                  </a:lnTo>
                  <a:lnTo>
                    <a:pt x="1054" y="366"/>
                  </a:lnTo>
                  <a:lnTo>
                    <a:pt x="983" y="338"/>
                  </a:lnTo>
                  <a:lnTo>
                    <a:pt x="924" y="338"/>
                  </a:lnTo>
                  <a:lnTo>
                    <a:pt x="924" y="349"/>
                  </a:lnTo>
                  <a:lnTo>
                    <a:pt x="928" y="383"/>
                  </a:lnTo>
                  <a:lnTo>
                    <a:pt x="919" y="411"/>
                  </a:lnTo>
                  <a:lnTo>
                    <a:pt x="869" y="387"/>
                  </a:lnTo>
                  <a:lnTo>
                    <a:pt x="831" y="411"/>
                  </a:lnTo>
                  <a:lnTo>
                    <a:pt x="815" y="449"/>
                  </a:lnTo>
                  <a:lnTo>
                    <a:pt x="784" y="477"/>
                  </a:lnTo>
                  <a:lnTo>
                    <a:pt x="810" y="498"/>
                  </a:lnTo>
                  <a:lnTo>
                    <a:pt x="810" y="522"/>
                  </a:lnTo>
                  <a:lnTo>
                    <a:pt x="739" y="588"/>
                  </a:lnTo>
                  <a:lnTo>
                    <a:pt x="746" y="609"/>
                  </a:lnTo>
                  <a:lnTo>
                    <a:pt x="713" y="626"/>
                  </a:lnTo>
                  <a:lnTo>
                    <a:pt x="676" y="631"/>
                  </a:lnTo>
                  <a:lnTo>
                    <a:pt x="687" y="666"/>
                  </a:lnTo>
                  <a:lnTo>
                    <a:pt x="676" y="699"/>
                  </a:lnTo>
                  <a:lnTo>
                    <a:pt x="676" y="725"/>
                  </a:lnTo>
                  <a:lnTo>
                    <a:pt x="617" y="815"/>
                  </a:lnTo>
                  <a:lnTo>
                    <a:pt x="650" y="827"/>
                  </a:lnTo>
                  <a:lnTo>
                    <a:pt x="654" y="853"/>
                  </a:lnTo>
                  <a:lnTo>
                    <a:pt x="638" y="881"/>
                  </a:lnTo>
                  <a:lnTo>
                    <a:pt x="567" y="869"/>
                  </a:lnTo>
                  <a:lnTo>
                    <a:pt x="546" y="886"/>
                  </a:lnTo>
                  <a:lnTo>
                    <a:pt x="508" y="926"/>
                  </a:lnTo>
                  <a:lnTo>
                    <a:pt x="513" y="938"/>
                  </a:lnTo>
                  <a:lnTo>
                    <a:pt x="498" y="964"/>
                  </a:lnTo>
                  <a:lnTo>
                    <a:pt x="513" y="992"/>
                  </a:lnTo>
                  <a:lnTo>
                    <a:pt x="498" y="1004"/>
                  </a:lnTo>
                  <a:lnTo>
                    <a:pt x="508" y="1037"/>
                  </a:lnTo>
                  <a:lnTo>
                    <a:pt x="524" y="1075"/>
                  </a:lnTo>
                  <a:lnTo>
                    <a:pt x="508" y="1131"/>
                  </a:lnTo>
                  <a:lnTo>
                    <a:pt x="562" y="1181"/>
                  </a:lnTo>
                  <a:lnTo>
                    <a:pt x="546" y="1214"/>
                  </a:lnTo>
                  <a:lnTo>
                    <a:pt x="513" y="1214"/>
                  </a:lnTo>
                  <a:lnTo>
                    <a:pt x="546" y="1275"/>
                  </a:lnTo>
                  <a:lnTo>
                    <a:pt x="529" y="1313"/>
                  </a:lnTo>
                  <a:lnTo>
                    <a:pt x="508" y="1337"/>
                  </a:lnTo>
                  <a:lnTo>
                    <a:pt x="487" y="1337"/>
                  </a:lnTo>
                  <a:lnTo>
                    <a:pt x="491" y="1353"/>
                  </a:lnTo>
                  <a:lnTo>
                    <a:pt x="475" y="1370"/>
                  </a:lnTo>
                  <a:lnTo>
                    <a:pt x="487" y="1403"/>
                  </a:lnTo>
                  <a:lnTo>
                    <a:pt x="470" y="1441"/>
                  </a:lnTo>
                  <a:lnTo>
                    <a:pt x="461" y="1441"/>
                  </a:lnTo>
                  <a:lnTo>
                    <a:pt x="461" y="1436"/>
                  </a:lnTo>
                  <a:lnTo>
                    <a:pt x="454" y="1420"/>
                  </a:lnTo>
                  <a:lnTo>
                    <a:pt x="416" y="1408"/>
                  </a:lnTo>
                  <a:lnTo>
                    <a:pt x="399" y="1353"/>
                  </a:lnTo>
                  <a:lnTo>
                    <a:pt x="406" y="1337"/>
                  </a:lnTo>
                  <a:lnTo>
                    <a:pt x="416" y="1346"/>
                  </a:lnTo>
                  <a:lnTo>
                    <a:pt x="406" y="1330"/>
                  </a:lnTo>
                  <a:lnTo>
                    <a:pt x="390" y="1337"/>
                  </a:lnTo>
                  <a:lnTo>
                    <a:pt x="399" y="1370"/>
                  </a:lnTo>
                  <a:lnTo>
                    <a:pt x="399" y="1379"/>
                  </a:lnTo>
                  <a:lnTo>
                    <a:pt x="390" y="1379"/>
                  </a:lnTo>
                  <a:lnTo>
                    <a:pt x="385" y="1353"/>
                  </a:lnTo>
                  <a:lnTo>
                    <a:pt x="378" y="1353"/>
                  </a:lnTo>
                  <a:lnTo>
                    <a:pt x="390" y="1370"/>
                  </a:lnTo>
                  <a:lnTo>
                    <a:pt x="385" y="1379"/>
                  </a:lnTo>
                  <a:lnTo>
                    <a:pt x="378" y="1370"/>
                  </a:lnTo>
                  <a:lnTo>
                    <a:pt x="390" y="1386"/>
                  </a:lnTo>
                  <a:lnTo>
                    <a:pt x="399" y="1403"/>
                  </a:lnTo>
                  <a:lnTo>
                    <a:pt x="385" y="1403"/>
                  </a:lnTo>
                  <a:lnTo>
                    <a:pt x="378" y="1424"/>
                  </a:lnTo>
                  <a:lnTo>
                    <a:pt x="352" y="1436"/>
                  </a:lnTo>
                  <a:lnTo>
                    <a:pt x="331" y="1420"/>
                  </a:lnTo>
                  <a:lnTo>
                    <a:pt x="335" y="1436"/>
                  </a:lnTo>
                  <a:lnTo>
                    <a:pt x="255" y="1507"/>
                  </a:lnTo>
                  <a:lnTo>
                    <a:pt x="239" y="1514"/>
                  </a:lnTo>
                  <a:lnTo>
                    <a:pt x="239" y="1519"/>
                  </a:lnTo>
                  <a:lnTo>
                    <a:pt x="151" y="1535"/>
                  </a:lnTo>
                  <a:lnTo>
                    <a:pt x="135" y="1531"/>
                  </a:lnTo>
                  <a:lnTo>
                    <a:pt x="120" y="1531"/>
                  </a:lnTo>
                  <a:lnTo>
                    <a:pt x="130" y="1514"/>
                  </a:lnTo>
                  <a:lnTo>
                    <a:pt x="109" y="1507"/>
                  </a:lnTo>
                  <a:lnTo>
                    <a:pt x="83" y="1497"/>
                  </a:lnTo>
                  <a:lnTo>
                    <a:pt x="76" y="1490"/>
                  </a:lnTo>
                  <a:lnTo>
                    <a:pt x="59" y="1490"/>
                  </a:lnTo>
                  <a:lnTo>
                    <a:pt x="45" y="1457"/>
                  </a:lnTo>
                  <a:lnTo>
                    <a:pt x="45" y="1424"/>
                  </a:lnTo>
                  <a:lnTo>
                    <a:pt x="92" y="1453"/>
                  </a:lnTo>
                  <a:lnTo>
                    <a:pt x="97" y="1453"/>
                  </a:lnTo>
                  <a:lnTo>
                    <a:pt x="83" y="1441"/>
                  </a:lnTo>
                  <a:lnTo>
                    <a:pt x="92" y="1436"/>
                  </a:lnTo>
                  <a:lnTo>
                    <a:pt x="120" y="1424"/>
                  </a:lnTo>
                  <a:lnTo>
                    <a:pt x="92" y="1436"/>
                  </a:lnTo>
                  <a:lnTo>
                    <a:pt x="83" y="1441"/>
                  </a:lnTo>
                  <a:lnTo>
                    <a:pt x="66" y="1424"/>
                  </a:lnTo>
                  <a:lnTo>
                    <a:pt x="92" y="1403"/>
                  </a:lnTo>
                  <a:lnTo>
                    <a:pt x="113" y="1391"/>
                  </a:lnTo>
                  <a:lnTo>
                    <a:pt x="92" y="1403"/>
                  </a:lnTo>
                  <a:lnTo>
                    <a:pt x="76" y="1391"/>
                  </a:lnTo>
                  <a:lnTo>
                    <a:pt x="97" y="1379"/>
                  </a:lnTo>
                  <a:lnTo>
                    <a:pt x="113" y="1370"/>
                  </a:lnTo>
                  <a:lnTo>
                    <a:pt x="97" y="1370"/>
                  </a:lnTo>
                  <a:lnTo>
                    <a:pt x="76" y="1391"/>
                  </a:lnTo>
                  <a:lnTo>
                    <a:pt x="76" y="1386"/>
                  </a:lnTo>
                  <a:lnTo>
                    <a:pt x="92" y="1379"/>
                  </a:lnTo>
                  <a:lnTo>
                    <a:pt x="66" y="1379"/>
                  </a:lnTo>
                  <a:lnTo>
                    <a:pt x="54" y="1386"/>
                  </a:lnTo>
                  <a:lnTo>
                    <a:pt x="66" y="1386"/>
                  </a:lnTo>
                  <a:lnTo>
                    <a:pt x="66" y="1391"/>
                  </a:lnTo>
                  <a:lnTo>
                    <a:pt x="59" y="1403"/>
                  </a:lnTo>
                  <a:lnTo>
                    <a:pt x="54" y="1391"/>
                  </a:lnTo>
                  <a:lnTo>
                    <a:pt x="45" y="1403"/>
                  </a:lnTo>
                  <a:lnTo>
                    <a:pt x="28" y="1391"/>
                  </a:lnTo>
                  <a:lnTo>
                    <a:pt x="21" y="1379"/>
                  </a:lnTo>
                  <a:lnTo>
                    <a:pt x="45" y="1353"/>
                  </a:lnTo>
                  <a:lnTo>
                    <a:pt x="45" y="1379"/>
                  </a:lnTo>
                  <a:lnTo>
                    <a:pt x="54" y="1363"/>
                  </a:lnTo>
                  <a:lnTo>
                    <a:pt x="97" y="1337"/>
                  </a:lnTo>
                  <a:lnTo>
                    <a:pt x="76" y="1353"/>
                  </a:lnTo>
                  <a:lnTo>
                    <a:pt x="59" y="1337"/>
                  </a:lnTo>
                  <a:lnTo>
                    <a:pt x="76" y="1330"/>
                  </a:lnTo>
                  <a:lnTo>
                    <a:pt x="92" y="1292"/>
                  </a:lnTo>
                  <a:lnTo>
                    <a:pt x="120" y="1280"/>
                  </a:lnTo>
                  <a:lnTo>
                    <a:pt x="113" y="1313"/>
                  </a:lnTo>
                  <a:lnTo>
                    <a:pt x="120" y="1280"/>
                  </a:lnTo>
                  <a:lnTo>
                    <a:pt x="163" y="1268"/>
                  </a:lnTo>
                  <a:lnTo>
                    <a:pt x="146" y="1268"/>
                  </a:lnTo>
                  <a:lnTo>
                    <a:pt x="151" y="1259"/>
                  </a:lnTo>
                  <a:lnTo>
                    <a:pt x="130" y="1275"/>
                  </a:lnTo>
                  <a:lnTo>
                    <a:pt x="97" y="1280"/>
                  </a:lnTo>
                  <a:lnTo>
                    <a:pt x="92" y="1297"/>
                  </a:lnTo>
                  <a:lnTo>
                    <a:pt x="76" y="1297"/>
                  </a:lnTo>
                  <a:lnTo>
                    <a:pt x="66" y="1325"/>
                  </a:lnTo>
                  <a:lnTo>
                    <a:pt x="59" y="1325"/>
                  </a:lnTo>
                  <a:lnTo>
                    <a:pt x="54" y="1308"/>
                  </a:lnTo>
                  <a:lnTo>
                    <a:pt x="45" y="1308"/>
                  </a:lnTo>
                  <a:lnTo>
                    <a:pt x="59" y="1280"/>
                  </a:lnTo>
                  <a:lnTo>
                    <a:pt x="38" y="1308"/>
                  </a:lnTo>
                  <a:lnTo>
                    <a:pt x="21" y="1297"/>
                  </a:lnTo>
                  <a:lnTo>
                    <a:pt x="28" y="1297"/>
                  </a:lnTo>
                  <a:lnTo>
                    <a:pt x="21" y="1292"/>
                  </a:lnTo>
                  <a:lnTo>
                    <a:pt x="28" y="1268"/>
                  </a:lnTo>
                  <a:lnTo>
                    <a:pt x="54" y="1280"/>
                  </a:lnTo>
                  <a:lnTo>
                    <a:pt x="59" y="1252"/>
                  </a:lnTo>
                  <a:lnTo>
                    <a:pt x="54" y="1242"/>
                  </a:lnTo>
                  <a:lnTo>
                    <a:pt x="28" y="1268"/>
                  </a:lnTo>
                  <a:lnTo>
                    <a:pt x="12" y="1252"/>
                  </a:lnTo>
                  <a:lnTo>
                    <a:pt x="28" y="1259"/>
                  </a:lnTo>
                  <a:lnTo>
                    <a:pt x="21" y="1242"/>
                  </a:lnTo>
                  <a:lnTo>
                    <a:pt x="7" y="1235"/>
                  </a:lnTo>
                  <a:lnTo>
                    <a:pt x="38" y="1259"/>
                  </a:lnTo>
                  <a:lnTo>
                    <a:pt x="28" y="1242"/>
                  </a:lnTo>
                  <a:lnTo>
                    <a:pt x="45" y="1226"/>
                  </a:lnTo>
                  <a:lnTo>
                    <a:pt x="12" y="1235"/>
                  </a:lnTo>
                  <a:lnTo>
                    <a:pt x="12" y="1214"/>
                  </a:lnTo>
                  <a:lnTo>
                    <a:pt x="76" y="1202"/>
                  </a:lnTo>
                  <a:lnTo>
                    <a:pt x="109" y="1214"/>
                  </a:lnTo>
                  <a:lnTo>
                    <a:pt x="135" y="1202"/>
                  </a:lnTo>
                  <a:lnTo>
                    <a:pt x="163" y="1226"/>
                  </a:lnTo>
                  <a:lnTo>
                    <a:pt x="163" y="1219"/>
                  </a:lnTo>
                  <a:lnTo>
                    <a:pt x="151" y="1202"/>
                  </a:lnTo>
                  <a:lnTo>
                    <a:pt x="184" y="1197"/>
                  </a:lnTo>
                  <a:lnTo>
                    <a:pt x="168" y="1181"/>
                  </a:lnTo>
                  <a:lnTo>
                    <a:pt x="189" y="1164"/>
                  </a:lnTo>
                  <a:lnTo>
                    <a:pt x="168" y="1181"/>
                  </a:lnTo>
                  <a:lnTo>
                    <a:pt x="172" y="1197"/>
                  </a:lnTo>
                  <a:lnTo>
                    <a:pt x="146" y="1202"/>
                  </a:lnTo>
                  <a:lnTo>
                    <a:pt x="120" y="1186"/>
                  </a:lnTo>
                  <a:lnTo>
                    <a:pt x="130" y="1169"/>
                  </a:lnTo>
                  <a:lnTo>
                    <a:pt x="109" y="1202"/>
                  </a:lnTo>
                  <a:lnTo>
                    <a:pt x="59" y="1197"/>
                  </a:lnTo>
                  <a:lnTo>
                    <a:pt x="38" y="1214"/>
                  </a:lnTo>
                  <a:lnTo>
                    <a:pt x="12" y="1197"/>
                  </a:lnTo>
                  <a:lnTo>
                    <a:pt x="28" y="1197"/>
                  </a:lnTo>
                  <a:lnTo>
                    <a:pt x="7" y="1186"/>
                  </a:lnTo>
                  <a:lnTo>
                    <a:pt x="54" y="1181"/>
                  </a:lnTo>
                  <a:lnTo>
                    <a:pt x="12" y="1181"/>
                  </a:lnTo>
                  <a:lnTo>
                    <a:pt x="7" y="1169"/>
                  </a:lnTo>
                  <a:lnTo>
                    <a:pt x="66" y="1164"/>
                  </a:lnTo>
                  <a:lnTo>
                    <a:pt x="21" y="1164"/>
                  </a:lnTo>
                  <a:lnTo>
                    <a:pt x="21" y="1160"/>
                  </a:lnTo>
                  <a:lnTo>
                    <a:pt x="28" y="1160"/>
                  </a:lnTo>
                  <a:lnTo>
                    <a:pt x="21" y="1148"/>
                  </a:lnTo>
                  <a:lnTo>
                    <a:pt x="38" y="1148"/>
                  </a:lnTo>
                  <a:lnTo>
                    <a:pt x="7" y="1141"/>
                  </a:lnTo>
                  <a:lnTo>
                    <a:pt x="38" y="1115"/>
                  </a:lnTo>
                  <a:lnTo>
                    <a:pt x="113" y="1124"/>
                  </a:lnTo>
                  <a:lnTo>
                    <a:pt x="130" y="1115"/>
                  </a:lnTo>
                  <a:lnTo>
                    <a:pt x="21" y="1115"/>
                  </a:lnTo>
                  <a:lnTo>
                    <a:pt x="21" y="1108"/>
                  </a:lnTo>
                  <a:lnTo>
                    <a:pt x="38" y="1103"/>
                  </a:lnTo>
                  <a:lnTo>
                    <a:pt x="12" y="1086"/>
                  </a:lnTo>
                  <a:lnTo>
                    <a:pt x="21" y="1086"/>
                  </a:lnTo>
                  <a:lnTo>
                    <a:pt x="45" y="1108"/>
                  </a:lnTo>
                  <a:lnTo>
                    <a:pt x="45" y="1091"/>
                  </a:lnTo>
                  <a:lnTo>
                    <a:pt x="38" y="1091"/>
                  </a:lnTo>
                  <a:lnTo>
                    <a:pt x="38" y="1086"/>
                  </a:lnTo>
                  <a:lnTo>
                    <a:pt x="66" y="1086"/>
                  </a:lnTo>
                  <a:lnTo>
                    <a:pt x="76" y="1091"/>
                  </a:lnTo>
                  <a:lnTo>
                    <a:pt x="109" y="1103"/>
                  </a:lnTo>
                  <a:lnTo>
                    <a:pt x="76" y="1086"/>
                  </a:lnTo>
                  <a:lnTo>
                    <a:pt x="97" y="1058"/>
                  </a:lnTo>
                  <a:lnTo>
                    <a:pt x="113" y="1091"/>
                  </a:lnTo>
                  <a:lnTo>
                    <a:pt x="120" y="1091"/>
                  </a:lnTo>
                  <a:lnTo>
                    <a:pt x="109" y="1058"/>
                  </a:lnTo>
                  <a:lnTo>
                    <a:pt x="130" y="1053"/>
                  </a:lnTo>
                  <a:lnTo>
                    <a:pt x="146" y="1058"/>
                  </a:lnTo>
                  <a:lnTo>
                    <a:pt x="151" y="1075"/>
                  </a:lnTo>
                  <a:lnTo>
                    <a:pt x="146" y="1091"/>
                  </a:lnTo>
                  <a:lnTo>
                    <a:pt x="151" y="1091"/>
                  </a:lnTo>
                  <a:lnTo>
                    <a:pt x="146" y="1091"/>
                  </a:lnTo>
                  <a:lnTo>
                    <a:pt x="151" y="1075"/>
                  </a:lnTo>
                  <a:lnTo>
                    <a:pt x="172" y="1075"/>
                  </a:lnTo>
                  <a:lnTo>
                    <a:pt x="146" y="1070"/>
                  </a:lnTo>
                  <a:lnTo>
                    <a:pt x="135" y="1053"/>
                  </a:lnTo>
                  <a:lnTo>
                    <a:pt x="97" y="1053"/>
                  </a:lnTo>
                  <a:lnTo>
                    <a:pt x="120" y="1053"/>
                  </a:lnTo>
                  <a:lnTo>
                    <a:pt x="97" y="1037"/>
                  </a:lnTo>
                  <a:lnTo>
                    <a:pt x="151" y="1032"/>
                  </a:lnTo>
                  <a:lnTo>
                    <a:pt x="189" y="1053"/>
                  </a:lnTo>
                  <a:lnTo>
                    <a:pt x="206" y="1049"/>
                  </a:lnTo>
                  <a:lnTo>
                    <a:pt x="172" y="1037"/>
                  </a:lnTo>
                  <a:lnTo>
                    <a:pt x="206" y="1020"/>
                  </a:lnTo>
                  <a:lnTo>
                    <a:pt x="227" y="1032"/>
                  </a:lnTo>
                  <a:lnTo>
                    <a:pt x="222" y="1020"/>
                  </a:lnTo>
                  <a:lnTo>
                    <a:pt x="172" y="1020"/>
                  </a:lnTo>
                  <a:lnTo>
                    <a:pt x="201" y="1013"/>
                  </a:lnTo>
                  <a:lnTo>
                    <a:pt x="189" y="1013"/>
                  </a:lnTo>
                  <a:lnTo>
                    <a:pt x="146" y="1020"/>
                  </a:lnTo>
                  <a:lnTo>
                    <a:pt x="146" y="997"/>
                  </a:lnTo>
                  <a:lnTo>
                    <a:pt x="168" y="992"/>
                  </a:lnTo>
                  <a:lnTo>
                    <a:pt x="184" y="1004"/>
                  </a:lnTo>
                  <a:lnTo>
                    <a:pt x="222" y="997"/>
                  </a:lnTo>
                  <a:lnTo>
                    <a:pt x="227" y="1013"/>
                  </a:lnTo>
                  <a:lnTo>
                    <a:pt x="260" y="1032"/>
                  </a:lnTo>
                  <a:lnTo>
                    <a:pt x="260" y="1020"/>
                  </a:lnTo>
                  <a:lnTo>
                    <a:pt x="227" y="1013"/>
                  </a:lnTo>
                  <a:lnTo>
                    <a:pt x="227" y="997"/>
                  </a:lnTo>
                  <a:lnTo>
                    <a:pt x="217" y="992"/>
                  </a:lnTo>
                  <a:lnTo>
                    <a:pt x="227" y="980"/>
                  </a:lnTo>
                  <a:lnTo>
                    <a:pt x="243" y="1004"/>
                  </a:lnTo>
                  <a:lnTo>
                    <a:pt x="260" y="1013"/>
                  </a:lnTo>
                  <a:lnTo>
                    <a:pt x="255" y="997"/>
                  </a:lnTo>
                  <a:lnTo>
                    <a:pt x="272" y="997"/>
                  </a:lnTo>
                  <a:lnTo>
                    <a:pt x="243" y="997"/>
                  </a:lnTo>
                  <a:lnTo>
                    <a:pt x="227" y="980"/>
                  </a:lnTo>
                  <a:lnTo>
                    <a:pt x="281" y="975"/>
                  </a:lnTo>
                  <a:lnTo>
                    <a:pt x="260" y="975"/>
                  </a:lnTo>
                  <a:lnTo>
                    <a:pt x="255" y="959"/>
                  </a:lnTo>
                  <a:lnTo>
                    <a:pt x="276" y="959"/>
                  </a:lnTo>
                  <a:lnTo>
                    <a:pt x="272" y="947"/>
                  </a:lnTo>
                  <a:lnTo>
                    <a:pt x="293" y="942"/>
                  </a:lnTo>
                  <a:lnTo>
                    <a:pt x="309" y="947"/>
                  </a:lnTo>
                  <a:lnTo>
                    <a:pt x="324" y="947"/>
                  </a:lnTo>
                  <a:lnTo>
                    <a:pt x="309" y="947"/>
                  </a:lnTo>
                  <a:lnTo>
                    <a:pt x="298" y="942"/>
                  </a:lnTo>
                  <a:lnTo>
                    <a:pt x="331" y="926"/>
                  </a:lnTo>
                  <a:lnTo>
                    <a:pt x="335" y="921"/>
                  </a:lnTo>
                  <a:lnTo>
                    <a:pt x="361" y="947"/>
                  </a:lnTo>
                  <a:lnTo>
                    <a:pt x="378" y="964"/>
                  </a:lnTo>
                  <a:lnTo>
                    <a:pt x="378" y="959"/>
                  </a:lnTo>
                  <a:lnTo>
                    <a:pt x="361" y="947"/>
                  </a:lnTo>
                  <a:lnTo>
                    <a:pt x="423" y="942"/>
                  </a:lnTo>
                  <a:lnTo>
                    <a:pt x="416" y="938"/>
                  </a:lnTo>
                  <a:lnTo>
                    <a:pt x="423" y="926"/>
                  </a:lnTo>
                  <a:lnTo>
                    <a:pt x="406" y="938"/>
                  </a:lnTo>
                  <a:lnTo>
                    <a:pt x="432" y="909"/>
                  </a:lnTo>
                  <a:lnTo>
                    <a:pt x="461" y="905"/>
                  </a:lnTo>
                  <a:lnTo>
                    <a:pt x="437" y="893"/>
                  </a:lnTo>
                  <a:lnTo>
                    <a:pt x="461" y="881"/>
                  </a:lnTo>
                  <a:lnTo>
                    <a:pt x="454" y="881"/>
                  </a:lnTo>
                  <a:lnTo>
                    <a:pt x="454" y="864"/>
                  </a:lnTo>
                  <a:lnTo>
                    <a:pt x="399" y="905"/>
                  </a:lnTo>
                  <a:lnTo>
                    <a:pt x="423" y="893"/>
                  </a:lnTo>
                  <a:lnTo>
                    <a:pt x="437" y="893"/>
                  </a:lnTo>
                  <a:lnTo>
                    <a:pt x="423" y="909"/>
                  </a:lnTo>
                  <a:lnTo>
                    <a:pt x="361" y="938"/>
                  </a:lnTo>
                  <a:lnTo>
                    <a:pt x="352" y="938"/>
                  </a:lnTo>
                  <a:lnTo>
                    <a:pt x="347" y="921"/>
                  </a:lnTo>
                  <a:lnTo>
                    <a:pt x="368" y="909"/>
                  </a:lnTo>
                  <a:lnTo>
                    <a:pt x="331" y="921"/>
                  </a:lnTo>
                  <a:lnTo>
                    <a:pt x="331" y="909"/>
                  </a:lnTo>
                  <a:lnTo>
                    <a:pt x="378" y="886"/>
                  </a:lnTo>
                  <a:lnTo>
                    <a:pt x="361" y="881"/>
                  </a:lnTo>
                  <a:lnTo>
                    <a:pt x="368" y="853"/>
                  </a:lnTo>
                  <a:lnTo>
                    <a:pt x="390" y="836"/>
                  </a:lnTo>
                  <a:lnTo>
                    <a:pt x="406" y="836"/>
                  </a:lnTo>
                  <a:lnTo>
                    <a:pt x="390" y="831"/>
                  </a:lnTo>
                  <a:lnTo>
                    <a:pt x="423" y="836"/>
                  </a:lnTo>
                  <a:lnTo>
                    <a:pt x="406" y="831"/>
                  </a:lnTo>
                  <a:lnTo>
                    <a:pt x="423" y="827"/>
                  </a:lnTo>
                  <a:lnTo>
                    <a:pt x="432" y="810"/>
                  </a:lnTo>
                  <a:lnTo>
                    <a:pt x="444" y="827"/>
                  </a:lnTo>
                  <a:lnTo>
                    <a:pt x="444" y="836"/>
                  </a:lnTo>
                  <a:lnTo>
                    <a:pt x="470" y="815"/>
                  </a:lnTo>
                  <a:lnTo>
                    <a:pt x="487" y="815"/>
                  </a:lnTo>
                  <a:lnTo>
                    <a:pt x="470" y="815"/>
                  </a:lnTo>
                  <a:lnTo>
                    <a:pt x="461" y="798"/>
                  </a:lnTo>
                  <a:lnTo>
                    <a:pt x="491" y="782"/>
                  </a:lnTo>
                  <a:lnTo>
                    <a:pt x="475" y="782"/>
                  </a:lnTo>
                  <a:lnTo>
                    <a:pt x="487" y="777"/>
                  </a:lnTo>
                  <a:lnTo>
                    <a:pt x="513" y="770"/>
                  </a:lnTo>
                  <a:lnTo>
                    <a:pt x="498" y="770"/>
                  </a:lnTo>
                  <a:lnTo>
                    <a:pt x="444" y="794"/>
                  </a:lnTo>
                  <a:lnTo>
                    <a:pt x="454" y="782"/>
                  </a:lnTo>
                  <a:lnTo>
                    <a:pt x="444" y="782"/>
                  </a:lnTo>
                  <a:lnTo>
                    <a:pt x="475" y="777"/>
                  </a:lnTo>
                  <a:lnTo>
                    <a:pt x="444" y="782"/>
                  </a:lnTo>
                  <a:lnTo>
                    <a:pt x="454" y="777"/>
                  </a:lnTo>
                  <a:lnTo>
                    <a:pt x="546" y="742"/>
                  </a:lnTo>
                  <a:lnTo>
                    <a:pt x="567" y="725"/>
                  </a:lnTo>
                  <a:lnTo>
                    <a:pt x="529" y="742"/>
                  </a:lnTo>
                  <a:lnTo>
                    <a:pt x="524" y="742"/>
                  </a:lnTo>
                  <a:lnTo>
                    <a:pt x="546" y="737"/>
                  </a:lnTo>
                  <a:lnTo>
                    <a:pt x="513" y="737"/>
                  </a:lnTo>
                  <a:lnTo>
                    <a:pt x="541" y="720"/>
                  </a:lnTo>
                  <a:lnTo>
                    <a:pt x="529" y="716"/>
                  </a:lnTo>
                  <a:lnTo>
                    <a:pt x="546" y="716"/>
                  </a:lnTo>
                  <a:lnTo>
                    <a:pt x="529" y="699"/>
                  </a:lnTo>
                  <a:lnTo>
                    <a:pt x="524" y="687"/>
                  </a:lnTo>
                  <a:lnTo>
                    <a:pt x="541" y="683"/>
                  </a:lnTo>
                  <a:lnTo>
                    <a:pt x="550" y="687"/>
                  </a:lnTo>
                  <a:lnTo>
                    <a:pt x="541" y="671"/>
                  </a:lnTo>
                  <a:lnTo>
                    <a:pt x="546" y="659"/>
                  </a:lnTo>
                  <a:lnTo>
                    <a:pt x="562" y="649"/>
                  </a:lnTo>
                  <a:lnTo>
                    <a:pt x="583" y="666"/>
                  </a:lnTo>
                  <a:lnTo>
                    <a:pt x="579" y="649"/>
                  </a:lnTo>
                  <a:lnTo>
                    <a:pt x="567" y="649"/>
                  </a:lnTo>
                  <a:lnTo>
                    <a:pt x="567" y="642"/>
                  </a:lnTo>
                  <a:lnTo>
                    <a:pt x="546" y="642"/>
                  </a:lnTo>
                  <a:lnTo>
                    <a:pt x="605" y="614"/>
                  </a:lnTo>
                  <a:lnTo>
                    <a:pt x="605" y="631"/>
                  </a:lnTo>
                  <a:lnTo>
                    <a:pt x="617" y="614"/>
                  </a:lnTo>
                  <a:lnTo>
                    <a:pt x="654" y="609"/>
                  </a:lnTo>
                  <a:lnTo>
                    <a:pt x="567" y="626"/>
                  </a:lnTo>
                  <a:lnTo>
                    <a:pt x="605" y="609"/>
                  </a:lnTo>
                  <a:lnTo>
                    <a:pt x="567" y="609"/>
                  </a:lnTo>
                  <a:lnTo>
                    <a:pt x="583" y="593"/>
                  </a:lnTo>
                  <a:lnTo>
                    <a:pt x="567" y="588"/>
                  </a:lnTo>
                  <a:lnTo>
                    <a:pt x="621" y="572"/>
                  </a:lnTo>
                  <a:lnTo>
                    <a:pt x="583" y="576"/>
                  </a:lnTo>
                  <a:lnTo>
                    <a:pt x="583" y="572"/>
                  </a:lnTo>
                  <a:lnTo>
                    <a:pt x="605" y="572"/>
                  </a:lnTo>
                  <a:lnTo>
                    <a:pt x="583" y="560"/>
                  </a:lnTo>
                  <a:lnTo>
                    <a:pt x="621" y="560"/>
                  </a:lnTo>
                  <a:lnTo>
                    <a:pt x="633" y="560"/>
                  </a:lnTo>
                  <a:lnTo>
                    <a:pt x="605" y="560"/>
                  </a:lnTo>
                  <a:lnTo>
                    <a:pt x="621" y="555"/>
                  </a:lnTo>
                  <a:lnTo>
                    <a:pt x="605" y="555"/>
                  </a:lnTo>
                  <a:lnTo>
                    <a:pt x="638" y="555"/>
                  </a:lnTo>
                  <a:lnTo>
                    <a:pt x="605" y="531"/>
                  </a:lnTo>
                  <a:lnTo>
                    <a:pt x="687" y="522"/>
                  </a:lnTo>
                  <a:lnTo>
                    <a:pt x="659" y="515"/>
                  </a:lnTo>
                  <a:lnTo>
                    <a:pt x="659" y="503"/>
                  </a:lnTo>
                  <a:lnTo>
                    <a:pt x="692" y="503"/>
                  </a:lnTo>
                  <a:lnTo>
                    <a:pt x="676" y="503"/>
                  </a:lnTo>
                  <a:lnTo>
                    <a:pt x="676" y="498"/>
                  </a:lnTo>
                  <a:lnTo>
                    <a:pt x="709" y="498"/>
                  </a:lnTo>
                  <a:lnTo>
                    <a:pt x="702" y="503"/>
                  </a:lnTo>
                  <a:lnTo>
                    <a:pt x="709" y="515"/>
                  </a:lnTo>
                  <a:lnTo>
                    <a:pt x="709" y="503"/>
                  </a:lnTo>
                  <a:lnTo>
                    <a:pt x="709" y="498"/>
                  </a:lnTo>
                  <a:lnTo>
                    <a:pt x="730" y="503"/>
                  </a:lnTo>
                  <a:lnTo>
                    <a:pt x="746" y="515"/>
                  </a:lnTo>
                  <a:lnTo>
                    <a:pt x="739" y="498"/>
                  </a:lnTo>
                  <a:lnTo>
                    <a:pt x="763" y="503"/>
                  </a:lnTo>
                  <a:lnTo>
                    <a:pt x="713" y="498"/>
                  </a:lnTo>
                  <a:lnTo>
                    <a:pt x="725" y="494"/>
                  </a:lnTo>
                  <a:lnTo>
                    <a:pt x="687" y="498"/>
                  </a:lnTo>
                  <a:lnTo>
                    <a:pt x="671" y="498"/>
                  </a:lnTo>
                  <a:lnTo>
                    <a:pt x="687" y="477"/>
                  </a:lnTo>
                  <a:lnTo>
                    <a:pt x="709" y="477"/>
                  </a:lnTo>
                  <a:lnTo>
                    <a:pt x="692" y="465"/>
                  </a:lnTo>
                  <a:lnTo>
                    <a:pt x="713" y="460"/>
                  </a:lnTo>
                  <a:lnTo>
                    <a:pt x="725" y="460"/>
                  </a:lnTo>
                  <a:lnTo>
                    <a:pt x="709" y="465"/>
                  </a:lnTo>
                  <a:lnTo>
                    <a:pt x="739" y="465"/>
                  </a:lnTo>
                  <a:lnTo>
                    <a:pt x="756" y="494"/>
                  </a:lnTo>
                  <a:lnTo>
                    <a:pt x="763" y="494"/>
                  </a:lnTo>
                  <a:lnTo>
                    <a:pt x="746" y="465"/>
                  </a:lnTo>
                  <a:lnTo>
                    <a:pt x="777" y="460"/>
                  </a:lnTo>
                  <a:lnTo>
                    <a:pt x="730" y="460"/>
                  </a:lnTo>
                  <a:lnTo>
                    <a:pt x="725" y="449"/>
                  </a:lnTo>
                  <a:lnTo>
                    <a:pt x="730" y="437"/>
                  </a:lnTo>
                  <a:lnTo>
                    <a:pt x="768" y="444"/>
                  </a:lnTo>
                  <a:lnTo>
                    <a:pt x="739" y="427"/>
                  </a:lnTo>
                  <a:lnTo>
                    <a:pt x="692" y="444"/>
                  </a:lnTo>
                  <a:lnTo>
                    <a:pt x="692" y="437"/>
                  </a:lnTo>
                  <a:lnTo>
                    <a:pt x="713" y="437"/>
                  </a:lnTo>
                  <a:lnTo>
                    <a:pt x="692" y="427"/>
                  </a:lnTo>
                  <a:lnTo>
                    <a:pt x="713" y="420"/>
                  </a:lnTo>
                  <a:lnTo>
                    <a:pt x="702" y="420"/>
                  </a:lnTo>
                  <a:lnTo>
                    <a:pt x="709" y="420"/>
                  </a:lnTo>
                  <a:lnTo>
                    <a:pt x="768" y="411"/>
                  </a:lnTo>
                  <a:lnTo>
                    <a:pt x="777" y="404"/>
                  </a:lnTo>
                  <a:lnTo>
                    <a:pt x="730" y="394"/>
                  </a:lnTo>
                  <a:lnTo>
                    <a:pt x="746" y="387"/>
                  </a:lnTo>
                  <a:lnTo>
                    <a:pt x="763" y="387"/>
                  </a:lnTo>
                  <a:lnTo>
                    <a:pt x="756" y="394"/>
                  </a:lnTo>
                  <a:lnTo>
                    <a:pt x="768" y="387"/>
                  </a:lnTo>
                  <a:lnTo>
                    <a:pt x="777" y="371"/>
                  </a:lnTo>
                  <a:lnTo>
                    <a:pt x="784" y="383"/>
                  </a:lnTo>
                  <a:lnTo>
                    <a:pt x="794" y="420"/>
                  </a:lnTo>
                  <a:lnTo>
                    <a:pt x="815" y="427"/>
                  </a:lnTo>
                  <a:lnTo>
                    <a:pt x="801" y="420"/>
                  </a:lnTo>
                  <a:lnTo>
                    <a:pt x="794" y="404"/>
                  </a:lnTo>
                  <a:lnTo>
                    <a:pt x="815" y="411"/>
                  </a:lnTo>
                  <a:lnTo>
                    <a:pt x="810" y="394"/>
                  </a:lnTo>
                  <a:lnTo>
                    <a:pt x="831" y="394"/>
                  </a:lnTo>
                  <a:lnTo>
                    <a:pt x="810" y="394"/>
                  </a:lnTo>
                  <a:lnTo>
                    <a:pt x="801" y="387"/>
                  </a:lnTo>
                  <a:lnTo>
                    <a:pt x="815" y="383"/>
                  </a:lnTo>
                  <a:lnTo>
                    <a:pt x="794" y="383"/>
                  </a:lnTo>
                  <a:lnTo>
                    <a:pt x="801" y="371"/>
                  </a:lnTo>
                  <a:lnTo>
                    <a:pt x="784" y="371"/>
                  </a:lnTo>
                  <a:lnTo>
                    <a:pt x="815" y="371"/>
                  </a:lnTo>
                  <a:lnTo>
                    <a:pt x="839" y="387"/>
                  </a:lnTo>
                  <a:lnTo>
                    <a:pt x="794" y="366"/>
                  </a:lnTo>
                  <a:lnTo>
                    <a:pt x="801" y="354"/>
                  </a:lnTo>
                  <a:lnTo>
                    <a:pt x="865" y="354"/>
                  </a:lnTo>
                  <a:lnTo>
                    <a:pt x="876" y="383"/>
                  </a:lnTo>
                  <a:lnTo>
                    <a:pt x="876" y="371"/>
                  </a:lnTo>
                  <a:lnTo>
                    <a:pt x="865" y="354"/>
                  </a:lnTo>
                  <a:lnTo>
                    <a:pt x="891" y="354"/>
                  </a:lnTo>
                  <a:lnTo>
                    <a:pt x="876" y="349"/>
                  </a:lnTo>
                  <a:lnTo>
                    <a:pt x="891" y="349"/>
                  </a:lnTo>
                  <a:lnTo>
                    <a:pt x="891" y="338"/>
                  </a:lnTo>
                  <a:lnTo>
                    <a:pt x="853" y="349"/>
                  </a:lnTo>
                  <a:lnTo>
                    <a:pt x="853" y="338"/>
                  </a:lnTo>
                  <a:lnTo>
                    <a:pt x="848" y="338"/>
                  </a:lnTo>
                  <a:lnTo>
                    <a:pt x="815" y="349"/>
                  </a:lnTo>
                  <a:lnTo>
                    <a:pt x="815" y="338"/>
                  </a:lnTo>
                  <a:lnTo>
                    <a:pt x="822" y="333"/>
                  </a:lnTo>
                  <a:lnTo>
                    <a:pt x="822" y="326"/>
                  </a:lnTo>
                  <a:lnTo>
                    <a:pt x="848" y="316"/>
                  </a:lnTo>
                  <a:lnTo>
                    <a:pt x="902" y="326"/>
                  </a:lnTo>
                  <a:lnTo>
                    <a:pt x="869" y="309"/>
                  </a:lnTo>
                  <a:lnTo>
                    <a:pt x="886" y="300"/>
                  </a:lnTo>
                  <a:lnTo>
                    <a:pt x="907" y="309"/>
                  </a:lnTo>
                  <a:lnTo>
                    <a:pt x="886" y="300"/>
                  </a:lnTo>
                  <a:lnTo>
                    <a:pt x="907" y="293"/>
                  </a:lnTo>
                  <a:lnTo>
                    <a:pt x="876" y="293"/>
                  </a:lnTo>
                  <a:lnTo>
                    <a:pt x="891" y="260"/>
                  </a:lnTo>
                  <a:lnTo>
                    <a:pt x="928" y="260"/>
                  </a:lnTo>
                  <a:lnTo>
                    <a:pt x="924" y="243"/>
                  </a:lnTo>
                  <a:lnTo>
                    <a:pt x="940" y="215"/>
                  </a:lnTo>
                  <a:lnTo>
                    <a:pt x="973" y="243"/>
                  </a:lnTo>
                  <a:lnTo>
                    <a:pt x="978" y="238"/>
                  </a:lnTo>
                  <a:lnTo>
                    <a:pt x="994" y="243"/>
                  </a:lnTo>
                  <a:lnTo>
                    <a:pt x="957" y="222"/>
                  </a:lnTo>
                  <a:lnTo>
                    <a:pt x="957" y="215"/>
                  </a:lnTo>
                  <a:lnTo>
                    <a:pt x="978" y="205"/>
                  </a:lnTo>
                  <a:lnTo>
                    <a:pt x="994" y="227"/>
                  </a:lnTo>
                  <a:lnTo>
                    <a:pt x="1016" y="238"/>
                  </a:lnTo>
                  <a:lnTo>
                    <a:pt x="999" y="243"/>
                  </a:lnTo>
                  <a:lnTo>
                    <a:pt x="1028" y="243"/>
                  </a:lnTo>
                  <a:lnTo>
                    <a:pt x="1028" y="238"/>
                  </a:lnTo>
                  <a:lnTo>
                    <a:pt x="994" y="222"/>
                  </a:lnTo>
                  <a:lnTo>
                    <a:pt x="1011" y="215"/>
                  </a:lnTo>
                  <a:lnTo>
                    <a:pt x="1011" y="205"/>
                  </a:lnTo>
                  <a:lnTo>
                    <a:pt x="994" y="215"/>
                  </a:lnTo>
                  <a:lnTo>
                    <a:pt x="983" y="198"/>
                  </a:lnTo>
                  <a:lnTo>
                    <a:pt x="1011" y="182"/>
                  </a:lnTo>
                  <a:lnTo>
                    <a:pt x="1049" y="172"/>
                  </a:lnTo>
                  <a:lnTo>
                    <a:pt x="1042" y="198"/>
                  </a:lnTo>
                  <a:lnTo>
                    <a:pt x="1032" y="227"/>
                  </a:lnTo>
                  <a:lnTo>
                    <a:pt x="1042" y="222"/>
                  </a:lnTo>
                  <a:lnTo>
                    <a:pt x="1049" y="189"/>
                  </a:lnTo>
                  <a:lnTo>
                    <a:pt x="1087" y="160"/>
                  </a:lnTo>
                  <a:lnTo>
                    <a:pt x="1096" y="165"/>
                  </a:lnTo>
                  <a:lnTo>
                    <a:pt x="1080" y="222"/>
                  </a:lnTo>
                  <a:lnTo>
                    <a:pt x="1054" y="243"/>
                  </a:lnTo>
                  <a:lnTo>
                    <a:pt x="1096" y="205"/>
                  </a:lnTo>
                  <a:lnTo>
                    <a:pt x="1124" y="215"/>
                  </a:lnTo>
                  <a:lnTo>
                    <a:pt x="1096" y="198"/>
                  </a:lnTo>
                  <a:lnTo>
                    <a:pt x="1103" y="182"/>
                  </a:lnTo>
                  <a:lnTo>
                    <a:pt x="1141" y="160"/>
                  </a:lnTo>
                  <a:lnTo>
                    <a:pt x="1124" y="165"/>
                  </a:lnTo>
                  <a:lnTo>
                    <a:pt x="1134" y="172"/>
                  </a:lnTo>
                  <a:lnTo>
                    <a:pt x="1155" y="149"/>
                  </a:lnTo>
                  <a:lnTo>
                    <a:pt x="1209" y="182"/>
                  </a:lnTo>
                  <a:lnTo>
                    <a:pt x="1188" y="144"/>
                  </a:lnTo>
                  <a:lnTo>
                    <a:pt x="1209" y="132"/>
                  </a:lnTo>
                  <a:lnTo>
                    <a:pt x="1162" y="132"/>
                  </a:lnTo>
                  <a:lnTo>
                    <a:pt x="1150" y="127"/>
                  </a:lnTo>
                  <a:lnTo>
                    <a:pt x="1155" y="116"/>
                  </a:lnTo>
                  <a:lnTo>
                    <a:pt x="1172" y="111"/>
                  </a:lnTo>
                  <a:lnTo>
                    <a:pt x="1188" y="116"/>
                  </a:lnTo>
                  <a:lnTo>
                    <a:pt x="1205" y="111"/>
                  </a:lnTo>
                  <a:lnTo>
                    <a:pt x="1226" y="111"/>
                  </a:lnTo>
                  <a:lnTo>
                    <a:pt x="1226" y="127"/>
                  </a:lnTo>
                  <a:lnTo>
                    <a:pt x="1243" y="132"/>
                  </a:lnTo>
                  <a:lnTo>
                    <a:pt x="1226" y="127"/>
                  </a:lnTo>
                  <a:lnTo>
                    <a:pt x="1231" y="116"/>
                  </a:lnTo>
                  <a:lnTo>
                    <a:pt x="1268" y="127"/>
                  </a:lnTo>
                  <a:lnTo>
                    <a:pt x="1259" y="132"/>
                  </a:lnTo>
                  <a:lnTo>
                    <a:pt x="1226" y="144"/>
                  </a:lnTo>
                  <a:lnTo>
                    <a:pt x="1264" y="132"/>
                  </a:lnTo>
                  <a:lnTo>
                    <a:pt x="1297" y="160"/>
                  </a:lnTo>
                  <a:lnTo>
                    <a:pt x="1313" y="149"/>
                  </a:lnTo>
                  <a:lnTo>
                    <a:pt x="1285" y="144"/>
                  </a:lnTo>
                  <a:lnTo>
                    <a:pt x="1297" y="132"/>
                  </a:lnTo>
                  <a:lnTo>
                    <a:pt x="1297" y="116"/>
                  </a:lnTo>
                  <a:lnTo>
                    <a:pt x="1313" y="116"/>
                  </a:lnTo>
                  <a:lnTo>
                    <a:pt x="1302" y="116"/>
                  </a:lnTo>
                  <a:lnTo>
                    <a:pt x="1318" y="94"/>
                  </a:lnTo>
                  <a:lnTo>
                    <a:pt x="1339" y="87"/>
                  </a:lnTo>
                  <a:lnTo>
                    <a:pt x="1368" y="94"/>
                  </a:lnTo>
                  <a:lnTo>
                    <a:pt x="1356" y="78"/>
                  </a:lnTo>
                  <a:lnTo>
                    <a:pt x="1368" y="61"/>
                  </a:lnTo>
                  <a:lnTo>
                    <a:pt x="1394" y="71"/>
                  </a:lnTo>
                  <a:lnTo>
                    <a:pt x="1377" y="54"/>
                  </a:lnTo>
                  <a:lnTo>
                    <a:pt x="1356" y="49"/>
                  </a:lnTo>
                  <a:lnTo>
                    <a:pt x="1372" y="38"/>
                  </a:lnTo>
                  <a:lnTo>
                    <a:pt x="1389" y="49"/>
                  </a:lnTo>
                  <a:lnTo>
                    <a:pt x="1389" y="21"/>
                  </a:lnTo>
                  <a:lnTo>
                    <a:pt x="1405" y="33"/>
                  </a:lnTo>
                  <a:lnTo>
                    <a:pt x="1410" y="21"/>
                  </a:lnTo>
                  <a:lnTo>
                    <a:pt x="1431" y="49"/>
                  </a:lnTo>
                  <a:lnTo>
                    <a:pt x="1443" y="38"/>
                  </a:lnTo>
                  <a:lnTo>
                    <a:pt x="1443" y="21"/>
                  </a:lnTo>
                  <a:lnTo>
                    <a:pt x="1481" y="33"/>
                  </a:lnTo>
                  <a:lnTo>
                    <a:pt x="1420" y="87"/>
                  </a:lnTo>
                  <a:lnTo>
                    <a:pt x="1431" y="87"/>
                  </a:lnTo>
                  <a:lnTo>
                    <a:pt x="1431" y="104"/>
                  </a:lnTo>
                  <a:lnTo>
                    <a:pt x="1420" y="104"/>
                  </a:lnTo>
                  <a:lnTo>
                    <a:pt x="1420" y="116"/>
                  </a:lnTo>
                  <a:lnTo>
                    <a:pt x="1410" y="116"/>
                  </a:lnTo>
                  <a:lnTo>
                    <a:pt x="1410" y="144"/>
                  </a:lnTo>
                  <a:lnTo>
                    <a:pt x="1420" y="144"/>
                  </a:lnTo>
                  <a:lnTo>
                    <a:pt x="1420" y="132"/>
                  </a:lnTo>
                  <a:lnTo>
                    <a:pt x="1420" y="144"/>
                  </a:lnTo>
                  <a:lnTo>
                    <a:pt x="1427" y="144"/>
                  </a:lnTo>
                  <a:lnTo>
                    <a:pt x="1448" y="116"/>
                  </a:lnTo>
                  <a:lnTo>
                    <a:pt x="1443" y="104"/>
                  </a:lnTo>
                  <a:lnTo>
                    <a:pt x="1528" y="33"/>
                  </a:lnTo>
                  <a:lnTo>
                    <a:pt x="1533" y="33"/>
                  </a:lnTo>
                  <a:lnTo>
                    <a:pt x="1533" y="54"/>
                  </a:lnTo>
                  <a:lnTo>
                    <a:pt x="1502" y="71"/>
                  </a:lnTo>
                  <a:lnTo>
                    <a:pt x="1528" y="71"/>
                  </a:lnTo>
                  <a:lnTo>
                    <a:pt x="1519" y="104"/>
                  </a:lnTo>
                  <a:lnTo>
                    <a:pt x="1557" y="87"/>
                  </a:lnTo>
                  <a:lnTo>
                    <a:pt x="1550" y="78"/>
                  </a:lnTo>
                  <a:lnTo>
                    <a:pt x="1557" y="71"/>
                  </a:lnTo>
                  <a:lnTo>
                    <a:pt x="1571" y="78"/>
                  </a:lnTo>
                  <a:lnTo>
                    <a:pt x="1566" y="71"/>
                  </a:lnTo>
                  <a:lnTo>
                    <a:pt x="1566" y="54"/>
                  </a:lnTo>
                  <a:lnTo>
                    <a:pt x="1571" y="38"/>
                  </a:lnTo>
                  <a:lnTo>
                    <a:pt x="1594" y="49"/>
                  </a:lnTo>
                  <a:lnTo>
                    <a:pt x="1566" y="21"/>
                  </a:lnTo>
                  <a:lnTo>
                    <a:pt x="1594" y="5"/>
                  </a:lnTo>
                  <a:lnTo>
                    <a:pt x="1609" y="16"/>
                  </a:lnTo>
                  <a:lnTo>
                    <a:pt x="1637" y="5"/>
                  </a:lnTo>
                  <a:lnTo>
                    <a:pt x="1663" y="21"/>
                  </a:lnTo>
                  <a:lnTo>
                    <a:pt x="1642" y="49"/>
                  </a:lnTo>
                  <a:lnTo>
                    <a:pt x="1604" y="49"/>
                  </a:lnTo>
                  <a:lnTo>
                    <a:pt x="1637" y="54"/>
                  </a:lnTo>
                  <a:lnTo>
                    <a:pt x="1594" y="71"/>
                  </a:lnTo>
                  <a:lnTo>
                    <a:pt x="1642" y="54"/>
                  </a:lnTo>
                  <a:lnTo>
                    <a:pt x="1642" y="71"/>
                  </a:lnTo>
                  <a:lnTo>
                    <a:pt x="1609" y="87"/>
                  </a:lnTo>
                  <a:lnTo>
                    <a:pt x="1637" y="87"/>
                  </a:lnTo>
                  <a:lnTo>
                    <a:pt x="1625" y="94"/>
                  </a:lnTo>
                  <a:lnTo>
                    <a:pt x="1637" y="94"/>
                  </a:lnTo>
                  <a:lnTo>
                    <a:pt x="1646" y="87"/>
                  </a:lnTo>
                  <a:lnTo>
                    <a:pt x="1637" y="104"/>
                  </a:lnTo>
                  <a:lnTo>
                    <a:pt x="1637" y="127"/>
                  </a:lnTo>
                  <a:lnTo>
                    <a:pt x="1625" y="144"/>
                  </a:lnTo>
                  <a:lnTo>
                    <a:pt x="1642" y="127"/>
                  </a:lnTo>
                  <a:lnTo>
                    <a:pt x="1642" y="104"/>
                  </a:lnTo>
                  <a:lnTo>
                    <a:pt x="1658" y="54"/>
                  </a:lnTo>
                  <a:lnTo>
                    <a:pt x="1675" y="38"/>
                  </a:lnTo>
                  <a:lnTo>
                    <a:pt x="1696" y="38"/>
                  </a:lnTo>
                  <a:lnTo>
                    <a:pt x="1713" y="38"/>
                  </a:lnTo>
                  <a:lnTo>
                    <a:pt x="1717" y="61"/>
                  </a:lnTo>
                  <a:lnTo>
                    <a:pt x="1750" y="54"/>
                  </a:lnTo>
                  <a:lnTo>
                    <a:pt x="1746" y="71"/>
                  </a:lnTo>
                  <a:lnTo>
                    <a:pt x="1772" y="54"/>
                  </a:lnTo>
                  <a:lnTo>
                    <a:pt x="1788" y="71"/>
                  </a:lnTo>
                  <a:lnTo>
                    <a:pt x="1767" y="78"/>
                  </a:lnTo>
                  <a:lnTo>
                    <a:pt x="1805" y="78"/>
                  </a:lnTo>
                  <a:lnTo>
                    <a:pt x="1826" y="94"/>
                  </a:lnTo>
                  <a:lnTo>
                    <a:pt x="1842" y="111"/>
                  </a:lnTo>
                  <a:lnTo>
                    <a:pt x="1798" y="116"/>
                  </a:lnTo>
                  <a:lnTo>
                    <a:pt x="1772" y="144"/>
                  </a:lnTo>
                  <a:lnTo>
                    <a:pt x="1675" y="127"/>
                  </a:lnTo>
                  <a:lnTo>
                    <a:pt x="1663" y="127"/>
                  </a:lnTo>
                  <a:lnTo>
                    <a:pt x="1675" y="127"/>
                  </a:lnTo>
                  <a:lnTo>
                    <a:pt x="1663" y="132"/>
                  </a:lnTo>
                  <a:lnTo>
                    <a:pt x="1746" y="160"/>
                  </a:lnTo>
                  <a:lnTo>
                    <a:pt x="1717" y="165"/>
                  </a:lnTo>
                  <a:lnTo>
                    <a:pt x="1746" y="165"/>
                  </a:lnTo>
                  <a:lnTo>
                    <a:pt x="1750" y="172"/>
                  </a:lnTo>
                  <a:lnTo>
                    <a:pt x="1729" y="198"/>
                  </a:lnTo>
                  <a:lnTo>
                    <a:pt x="1755" y="182"/>
                  </a:lnTo>
                  <a:lnTo>
                    <a:pt x="1772" y="189"/>
                  </a:lnTo>
                  <a:lnTo>
                    <a:pt x="1772" y="182"/>
                  </a:lnTo>
                  <a:lnTo>
                    <a:pt x="1772" y="165"/>
                  </a:lnTo>
                  <a:lnTo>
                    <a:pt x="1788" y="172"/>
                  </a:lnTo>
                  <a:lnTo>
                    <a:pt x="1788" y="189"/>
                  </a:lnTo>
                  <a:lnTo>
                    <a:pt x="1798" y="189"/>
                  </a:lnTo>
                  <a:lnTo>
                    <a:pt x="1798" y="172"/>
                  </a:lnTo>
                  <a:lnTo>
                    <a:pt x="1826" y="172"/>
                  </a:lnTo>
                  <a:lnTo>
                    <a:pt x="1826" y="172"/>
                  </a:lnTo>
                  <a:lnTo>
                    <a:pt x="1826" y="172"/>
                  </a:lnTo>
                  <a:close/>
                  <a:moveTo>
                    <a:pt x="1394" y="16"/>
                  </a:moveTo>
                  <a:lnTo>
                    <a:pt x="1389" y="5"/>
                  </a:lnTo>
                  <a:lnTo>
                    <a:pt x="1405" y="5"/>
                  </a:lnTo>
                  <a:lnTo>
                    <a:pt x="1394" y="16"/>
                  </a:lnTo>
                  <a:lnTo>
                    <a:pt x="1394" y="16"/>
                  </a:lnTo>
                  <a:lnTo>
                    <a:pt x="1394" y="16"/>
                  </a:lnTo>
                  <a:close/>
                  <a:moveTo>
                    <a:pt x="1351" y="33"/>
                  </a:moveTo>
                  <a:lnTo>
                    <a:pt x="1335" y="21"/>
                  </a:lnTo>
                  <a:lnTo>
                    <a:pt x="1356" y="21"/>
                  </a:lnTo>
                  <a:lnTo>
                    <a:pt x="1351" y="33"/>
                  </a:lnTo>
                  <a:lnTo>
                    <a:pt x="1351" y="33"/>
                  </a:lnTo>
                  <a:lnTo>
                    <a:pt x="1351" y="33"/>
                  </a:lnTo>
                  <a:close/>
                  <a:moveTo>
                    <a:pt x="1217" y="87"/>
                  </a:moveTo>
                  <a:lnTo>
                    <a:pt x="1217" y="71"/>
                  </a:lnTo>
                  <a:lnTo>
                    <a:pt x="1205" y="61"/>
                  </a:lnTo>
                  <a:lnTo>
                    <a:pt x="1243" y="54"/>
                  </a:lnTo>
                  <a:lnTo>
                    <a:pt x="1247" y="61"/>
                  </a:lnTo>
                  <a:lnTo>
                    <a:pt x="1247" y="71"/>
                  </a:lnTo>
                  <a:lnTo>
                    <a:pt x="1259" y="71"/>
                  </a:lnTo>
                  <a:lnTo>
                    <a:pt x="1259" y="54"/>
                  </a:lnTo>
                  <a:lnTo>
                    <a:pt x="1268" y="61"/>
                  </a:lnTo>
                  <a:lnTo>
                    <a:pt x="1285" y="49"/>
                  </a:lnTo>
                  <a:lnTo>
                    <a:pt x="1297" y="49"/>
                  </a:lnTo>
                  <a:lnTo>
                    <a:pt x="1297" y="38"/>
                  </a:lnTo>
                  <a:lnTo>
                    <a:pt x="1302" y="49"/>
                  </a:lnTo>
                  <a:lnTo>
                    <a:pt x="1280" y="78"/>
                  </a:lnTo>
                  <a:lnTo>
                    <a:pt x="1217" y="87"/>
                  </a:lnTo>
                  <a:lnTo>
                    <a:pt x="1217" y="87"/>
                  </a:lnTo>
                  <a:lnTo>
                    <a:pt x="1217" y="87"/>
                  </a:lnTo>
                  <a:close/>
                  <a:moveTo>
                    <a:pt x="1335" y="87"/>
                  </a:moveTo>
                  <a:lnTo>
                    <a:pt x="1323" y="78"/>
                  </a:lnTo>
                  <a:lnTo>
                    <a:pt x="1318" y="61"/>
                  </a:lnTo>
                  <a:lnTo>
                    <a:pt x="1335" y="54"/>
                  </a:lnTo>
                  <a:lnTo>
                    <a:pt x="1351" y="71"/>
                  </a:lnTo>
                  <a:lnTo>
                    <a:pt x="1335" y="87"/>
                  </a:lnTo>
                  <a:lnTo>
                    <a:pt x="1335" y="87"/>
                  </a:lnTo>
                  <a:lnTo>
                    <a:pt x="1335" y="87"/>
                  </a:lnTo>
                  <a:close/>
                  <a:moveTo>
                    <a:pt x="1280" y="116"/>
                  </a:moveTo>
                  <a:lnTo>
                    <a:pt x="1264" y="94"/>
                  </a:lnTo>
                  <a:lnTo>
                    <a:pt x="1302" y="78"/>
                  </a:lnTo>
                  <a:lnTo>
                    <a:pt x="1302" y="71"/>
                  </a:lnTo>
                  <a:lnTo>
                    <a:pt x="1318" y="87"/>
                  </a:lnTo>
                  <a:lnTo>
                    <a:pt x="1313" y="104"/>
                  </a:lnTo>
                  <a:lnTo>
                    <a:pt x="1280" y="116"/>
                  </a:lnTo>
                  <a:lnTo>
                    <a:pt x="1280" y="116"/>
                  </a:lnTo>
                  <a:lnTo>
                    <a:pt x="1280" y="116"/>
                  </a:lnTo>
                  <a:close/>
                  <a:moveTo>
                    <a:pt x="1268" y="116"/>
                  </a:moveTo>
                  <a:lnTo>
                    <a:pt x="1226" y="111"/>
                  </a:lnTo>
                  <a:lnTo>
                    <a:pt x="1247" y="104"/>
                  </a:lnTo>
                  <a:lnTo>
                    <a:pt x="1268" y="116"/>
                  </a:lnTo>
                  <a:lnTo>
                    <a:pt x="1268" y="116"/>
                  </a:lnTo>
                  <a:lnTo>
                    <a:pt x="1268" y="116"/>
                  </a:lnTo>
                  <a:close/>
                  <a:moveTo>
                    <a:pt x="1188" y="116"/>
                  </a:moveTo>
                  <a:lnTo>
                    <a:pt x="1179" y="104"/>
                  </a:lnTo>
                  <a:lnTo>
                    <a:pt x="1193" y="104"/>
                  </a:lnTo>
                  <a:lnTo>
                    <a:pt x="1188" y="116"/>
                  </a:lnTo>
                  <a:lnTo>
                    <a:pt x="1188" y="116"/>
                  </a:lnTo>
                  <a:lnTo>
                    <a:pt x="1188" y="116"/>
                  </a:lnTo>
                  <a:close/>
                  <a:moveTo>
                    <a:pt x="1054" y="144"/>
                  </a:moveTo>
                  <a:lnTo>
                    <a:pt x="1049" y="144"/>
                  </a:lnTo>
                  <a:lnTo>
                    <a:pt x="1032" y="116"/>
                  </a:lnTo>
                  <a:lnTo>
                    <a:pt x="1042" y="111"/>
                  </a:lnTo>
                  <a:lnTo>
                    <a:pt x="1070" y="132"/>
                  </a:lnTo>
                  <a:lnTo>
                    <a:pt x="1054" y="144"/>
                  </a:lnTo>
                  <a:lnTo>
                    <a:pt x="1054" y="144"/>
                  </a:lnTo>
                  <a:lnTo>
                    <a:pt x="1054" y="144"/>
                  </a:lnTo>
                  <a:close/>
                  <a:moveTo>
                    <a:pt x="999" y="132"/>
                  </a:moveTo>
                  <a:lnTo>
                    <a:pt x="994" y="127"/>
                  </a:lnTo>
                  <a:lnTo>
                    <a:pt x="1011" y="116"/>
                  </a:lnTo>
                  <a:lnTo>
                    <a:pt x="1011" y="132"/>
                  </a:lnTo>
                  <a:lnTo>
                    <a:pt x="999" y="132"/>
                  </a:lnTo>
                  <a:lnTo>
                    <a:pt x="999" y="132"/>
                  </a:lnTo>
                  <a:lnTo>
                    <a:pt x="999" y="132"/>
                  </a:lnTo>
                  <a:close/>
                  <a:moveTo>
                    <a:pt x="1103" y="144"/>
                  </a:moveTo>
                  <a:lnTo>
                    <a:pt x="1087" y="144"/>
                  </a:lnTo>
                  <a:lnTo>
                    <a:pt x="1096" y="127"/>
                  </a:lnTo>
                  <a:lnTo>
                    <a:pt x="1103" y="116"/>
                  </a:lnTo>
                  <a:lnTo>
                    <a:pt x="1117" y="127"/>
                  </a:lnTo>
                  <a:lnTo>
                    <a:pt x="1117" y="144"/>
                  </a:lnTo>
                  <a:lnTo>
                    <a:pt x="1103" y="144"/>
                  </a:lnTo>
                  <a:lnTo>
                    <a:pt x="1103" y="144"/>
                  </a:lnTo>
                  <a:lnTo>
                    <a:pt x="1103" y="144"/>
                  </a:lnTo>
                  <a:close/>
                  <a:moveTo>
                    <a:pt x="1032" y="132"/>
                  </a:moveTo>
                  <a:lnTo>
                    <a:pt x="1016" y="132"/>
                  </a:lnTo>
                  <a:lnTo>
                    <a:pt x="1028" y="127"/>
                  </a:lnTo>
                  <a:lnTo>
                    <a:pt x="1032" y="132"/>
                  </a:lnTo>
                  <a:lnTo>
                    <a:pt x="1032" y="132"/>
                  </a:lnTo>
                  <a:lnTo>
                    <a:pt x="1032" y="132"/>
                  </a:lnTo>
                  <a:close/>
                  <a:moveTo>
                    <a:pt x="1124" y="144"/>
                  </a:moveTo>
                  <a:lnTo>
                    <a:pt x="1117" y="132"/>
                  </a:lnTo>
                  <a:lnTo>
                    <a:pt x="1124" y="132"/>
                  </a:lnTo>
                  <a:lnTo>
                    <a:pt x="1124" y="144"/>
                  </a:lnTo>
                  <a:lnTo>
                    <a:pt x="1124" y="144"/>
                  </a:lnTo>
                  <a:lnTo>
                    <a:pt x="1124" y="144"/>
                  </a:lnTo>
                  <a:close/>
                  <a:moveTo>
                    <a:pt x="973" y="149"/>
                  </a:moveTo>
                  <a:lnTo>
                    <a:pt x="973" y="132"/>
                  </a:lnTo>
                  <a:lnTo>
                    <a:pt x="994" y="144"/>
                  </a:lnTo>
                  <a:lnTo>
                    <a:pt x="973" y="149"/>
                  </a:lnTo>
                  <a:lnTo>
                    <a:pt x="973" y="149"/>
                  </a:lnTo>
                  <a:lnTo>
                    <a:pt x="973" y="149"/>
                  </a:lnTo>
                  <a:close/>
                  <a:moveTo>
                    <a:pt x="999" y="172"/>
                  </a:moveTo>
                  <a:lnTo>
                    <a:pt x="973" y="160"/>
                  </a:lnTo>
                  <a:lnTo>
                    <a:pt x="1011" y="132"/>
                  </a:lnTo>
                  <a:lnTo>
                    <a:pt x="1016" y="149"/>
                  </a:lnTo>
                  <a:lnTo>
                    <a:pt x="1032" y="144"/>
                  </a:lnTo>
                  <a:lnTo>
                    <a:pt x="1042" y="149"/>
                  </a:lnTo>
                  <a:lnTo>
                    <a:pt x="999" y="172"/>
                  </a:lnTo>
                  <a:lnTo>
                    <a:pt x="999" y="172"/>
                  </a:lnTo>
                  <a:lnTo>
                    <a:pt x="999" y="172"/>
                  </a:lnTo>
                  <a:close/>
                  <a:moveTo>
                    <a:pt x="1124" y="160"/>
                  </a:moveTo>
                  <a:lnTo>
                    <a:pt x="1117" y="149"/>
                  </a:lnTo>
                  <a:lnTo>
                    <a:pt x="1141" y="149"/>
                  </a:lnTo>
                  <a:lnTo>
                    <a:pt x="1124" y="160"/>
                  </a:lnTo>
                  <a:lnTo>
                    <a:pt x="1124" y="160"/>
                  </a:lnTo>
                  <a:lnTo>
                    <a:pt x="1124" y="160"/>
                  </a:lnTo>
                  <a:close/>
                  <a:moveTo>
                    <a:pt x="1028" y="172"/>
                  </a:moveTo>
                  <a:lnTo>
                    <a:pt x="1049" y="149"/>
                  </a:lnTo>
                  <a:lnTo>
                    <a:pt x="1054" y="160"/>
                  </a:lnTo>
                  <a:lnTo>
                    <a:pt x="1049" y="165"/>
                  </a:lnTo>
                  <a:lnTo>
                    <a:pt x="1028" y="172"/>
                  </a:lnTo>
                  <a:lnTo>
                    <a:pt x="1028" y="172"/>
                  </a:lnTo>
                  <a:lnTo>
                    <a:pt x="1028" y="172"/>
                  </a:lnTo>
                  <a:close/>
                  <a:moveTo>
                    <a:pt x="1750" y="182"/>
                  </a:moveTo>
                  <a:lnTo>
                    <a:pt x="1746" y="182"/>
                  </a:lnTo>
                  <a:lnTo>
                    <a:pt x="1750" y="165"/>
                  </a:lnTo>
                  <a:lnTo>
                    <a:pt x="1767" y="172"/>
                  </a:lnTo>
                  <a:lnTo>
                    <a:pt x="1750" y="182"/>
                  </a:lnTo>
                  <a:lnTo>
                    <a:pt x="1750" y="182"/>
                  </a:lnTo>
                  <a:lnTo>
                    <a:pt x="1750" y="182"/>
                  </a:lnTo>
                  <a:close/>
                  <a:moveTo>
                    <a:pt x="1103" y="172"/>
                  </a:moveTo>
                  <a:lnTo>
                    <a:pt x="1103" y="165"/>
                  </a:lnTo>
                  <a:lnTo>
                    <a:pt x="1117" y="165"/>
                  </a:lnTo>
                  <a:lnTo>
                    <a:pt x="1117" y="172"/>
                  </a:lnTo>
                  <a:lnTo>
                    <a:pt x="1103" y="172"/>
                  </a:lnTo>
                  <a:lnTo>
                    <a:pt x="1103" y="172"/>
                  </a:lnTo>
                  <a:lnTo>
                    <a:pt x="1103" y="172"/>
                  </a:lnTo>
                  <a:close/>
                  <a:moveTo>
                    <a:pt x="945" y="189"/>
                  </a:moveTo>
                  <a:lnTo>
                    <a:pt x="961" y="189"/>
                  </a:lnTo>
                  <a:lnTo>
                    <a:pt x="945" y="189"/>
                  </a:lnTo>
                  <a:lnTo>
                    <a:pt x="945" y="172"/>
                  </a:lnTo>
                  <a:lnTo>
                    <a:pt x="978" y="189"/>
                  </a:lnTo>
                  <a:lnTo>
                    <a:pt x="973" y="165"/>
                  </a:lnTo>
                  <a:lnTo>
                    <a:pt x="994" y="182"/>
                  </a:lnTo>
                  <a:lnTo>
                    <a:pt x="978" y="189"/>
                  </a:lnTo>
                  <a:lnTo>
                    <a:pt x="978" y="205"/>
                  </a:lnTo>
                  <a:lnTo>
                    <a:pt x="973" y="205"/>
                  </a:lnTo>
                  <a:lnTo>
                    <a:pt x="924" y="205"/>
                  </a:lnTo>
                  <a:lnTo>
                    <a:pt x="940" y="198"/>
                  </a:lnTo>
                  <a:lnTo>
                    <a:pt x="928" y="189"/>
                  </a:lnTo>
                  <a:lnTo>
                    <a:pt x="945" y="189"/>
                  </a:lnTo>
                  <a:lnTo>
                    <a:pt x="945" y="189"/>
                  </a:lnTo>
                  <a:lnTo>
                    <a:pt x="945" y="189"/>
                  </a:lnTo>
                  <a:close/>
                  <a:moveTo>
                    <a:pt x="839" y="255"/>
                  </a:moveTo>
                  <a:lnTo>
                    <a:pt x="865" y="243"/>
                  </a:lnTo>
                  <a:lnTo>
                    <a:pt x="848" y="238"/>
                  </a:lnTo>
                  <a:lnTo>
                    <a:pt x="853" y="238"/>
                  </a:lnTo>
                  <a:lnTo>
                    <a:pt x="839" y="227"/>
                  </a:lnTo>
                  <a:lnTo>
                    <a:pt x="848" y="227"/>
                  </a:lnTo>
                  <a:lnTo>
                    <a:pt x="886" y="222"/>
                  </a:lnTo>
                  <a:lnTo>
                    <a:pt x="865" y="215"/>
                  </a:lnTo>
                  <a:lnTo>
                    <a:pt x="891" y="222"/>
                  </a:lnTo>
                  <a:lnTo>
                    <a:pt x="886" y="205"/>
                  </a:lnTo>
                  <a:lnTo>
                    <a:pt x="902" y="215"/>
                  </a:lnTo>
                  <a:lnTo>
                    <a:pt x="891" y="205"/>
                  </a:lnTo>
                  <a:lnTo>
                    <a:pt x="907" y="205"/>
                  </a:lnTo>
                  <a:lnTo>
                    <a:pt x="928" y="227"/>
                  </a:lnTo>
                  <a:lnTo>
                    <a:pt x="919" y="238"/>
                  </a:lnTo>
                  <a:lnTo>
                    <a:pt x="919" y="243"/>
                  </a:lnTo>
                  <a:lnTo>
                    <a:pt x="924" y="255"/>
                  </a:lnTo>
                  <a:lnTo>
                    <a:pt x="886" y="255"/>
                  </a:lnTo>
                  <a:lnTo>
                    <a:pt x="853" y="276"/>
                  </a:lnTo>
                  <a:lnTo>
                    <a:pt x="865" y="272"/>
                  </a:lnTo>
                  <a:lnTo>
                    <a:pt x="831" y="272"/>
                  </a:lnTo>
                  <a:lnTo>
                    <a:pt x="865" y="255"/>
                  </a:lnTo>
                  <a:lnTo>
                    <a:pt x="839" y="255"/>
                  </a:lnTo>
                  <a:lnTo>
                    <a:pt x="839" y="255"/>
                  </a:lnTo>
                  <a:lnTo>
                    <a:pt x="839" y="255"/>
                  </a:lnTo>
                  <a:close/>
                  <a:moveTo>
                    <a:pt x="746" y="293"/>
                  </a:moveTo>
                  <a:lnTo>
                    <a:pt x="739" y="276"/>
                  </a:lnTo>
                  <a:lnTo>
                    <a:pt x="746" y="272"/>
                  </a:lnTo>
                  <a:lnTo>
                    <a:pt x="794" y="243"/>
                  </a:lnTo>
                  <a:lnTo>
                    <a:pt x="784" y="260"/>
                  </a:lnTo>
                  <a:lnTo>
                    <a:pt x="746" y="293"/>
                  </a:lnTo>
                  <a:lnTo>
                    <a:pt x="746" y="293"/>
                  </a:lnTo>
                  <a:lnTo>
                    <a:pt x="746" y="293"/>
                  </a:lnTo>
                  <a:close/>
                  <a:moveTo>
                    <a:pt x="876" y="276"/>
                  </a:moveTo>
                  <a:lnTo>
                    <a:pt x="876" y="272"/>
                  </a:lnTo>
                  <a:lnTo>
                    <a:pt x="891" y="272"/>
                  </a:lnTo>
                  <a:lnTo>
                    <a:pt x="876" y="276"/>
                  </a:lnTo>
                  <a:lnTo>
                    <a:pt x="876" y="276"/>
                  </a:lnTo>
                  <a:lnTo>
                    <a:pt x="876" y="276"/>
                  </a:lnTo>
                  <a:close/>
                  <a:moveTo>
                    <a:pt x="676" y="326"/>
                  </a:moveTo>
                  <a:lnTo>
                    <a:pt x="671" y="316"/>
                  </a:lnTo>
                  <a:lnTo>
                    <a:pt x="676" y="300"/>
                  </a:lnTo>
                  <a:lnTo>
                    <a:pt x="702" y="309"/>
                  </a:lnTo>
                  <a:lnTo>
                    <a:pt x="709" y="293"/>
                  </a:lnTo>
                  <a:lnTo>
                    <a:pt x="725" y="300"/>
                  </a:lnTo>
                  <a:lnTo>
                    <a:pt x="709" y="283"/>
                  </a:lnTo>
                  <a:lnTo>
                    <a:pt x="713" y="276"/>
                  </a:lnTo>
                  <a:lnTo>
                    <a:pt x="739" y="300"/>
                  </a:lnTo>
                  <a:lnTo>
                    <a:pt x="739" y="316"/>
                  </a:lnTo>
                  <a:lnTo>
                    <a:pt x="713" y="333"/>
                  </a:lnTo>
                  <a:lnTo>
                    <a:pt x="702" y="326"/>
                  </a:lnTo>
                  <a:lnTo>
                    <a:pt x="725" y="309"/>
                  </a:lnTo>
                  <a:lnTo>
                    <a:pt x="676" y="326"/>
                  </a:lnTo>
                  <a:lnTo>
                    <a:pt x="676" y="326"/>
                  </a:lnTo>
                  <a:lnTo>
                    <a:pt x="676" y="326"/>
                  </a:lnTo>
                  <a:close/>
                  <a:moveTo>
                    <a:pt x="815" y="293"/>
                  </a:moveTo>
                  <a:lnTo>
                    <a:pt x="801" y="283"/>
                  </a:lnTo>
                  <a:lnTo>
                    <a:pt x="822" y="283"/>
                  </a:lnTo>
                  <a:lnTo>
                    <a:pt x="815" y="293"/>
                  </a:lnTo>
                  <a:lnTo>
                    <a:pt x="815" y="293"/>
                  </a:lnTo>
                  <a:lnTo>
                    <a:pt x="815" y="293"/>
                  </a:lnTo>
                  <a:close/>
                  <a:moveTo>
                    <a:pt x="777" y="283"/>
                  </a:moveTo>
                  <a:lnTo>
                    <a:pt x="768" y="300"/>
                  </a:lnTo>
                  <a:lnTo>
                    <a:pt x="777" y="309"/>
                  </a:lnTo>
                  <a:lnTo>
                    <a:pt x="763" y="338"/>
                  </a:lnTo>
                  <a:lnTo>
                    <a:pt x="794" y="293"/>
                  </a:lnTo>
                  <a:lnTo>
                    <a:pt x="815" y="300"/>
                  </a:lnTo>
                  <a:lnTo>
                    <a:pt x="822" y="326"/>
                  </a:lnTo>
                  <a:lnTo>
                    <a:pt x="815" y="333"/>
                  </a:lnTo>
                  <a:lnTo>
                    <a:pt x="794" y="333"/>
                  </a:lnTo>
                  <a:lnTo>
                    <a:pt x="777" y="354"/>
                  </a:lnTo>
                  <a:lnTo>
                    <a:pt x="768" y="349"/>
                  </a:lnTo>
                  <a:lnTo>
                    <a:pt x="756" y="366"/>
                  </a:lnTo>
                  <a:lnTo>
                    <a:pt x="730" y="366"/>
                  </a:lnTo>
                  <a:lnTo>
                    <a:pt x="756" y="338"/>
                  </a:lnTo>
                  <a:lnTo>
                    <a:pt x="746" y="338"/>
                  </a:lnTo>
                  <a:lnTo>
                    <a:pt x="709" y="371"/>
                  </a:lnTo>
                  <a:lnTo>
                    <a:pt x="730" y="338"/>
                  </a:lnTo>
                  <a:lnTo>
                    <a:pt x="725" y="338"/>
                  </a:lnTo>
                  <a:lnTo>
                    <a:pt x="746" y="326"/>
                  </a:lnTo>
                  <a:lnTo>
                    <a:pt x="739" y="309"/>
                  </a:lnTo>
                  <a:lnTo>
                    <a:pt x="763" y="316"/>
                  </a:lnTo>
                  <a:lnTo>
                    <a:pt x="739" y="309"/>
                  </a:lnTo>
                  <a:lnTo>
                    <a:pt x="756" y="283"/>
                  </a:lnTo>
                  <a:lnTo>
                    <a:pt x="777" y="283"/>
                  </a:lnTo>
                  <a:lnTo>
                    <a:pt x="777" y="283"/>
                  </a:lnTo>
                  <a:lnTo>
                    <a:pt x="777" y="283"/>
                  </a:lnTo>
                  <a:close/>
                  <a:moveTo>
                    <a:pt x="709" y="293"/>
                  </a:moveTo>
                  <a:lnTo>
                    <a:pt x="702" y="283"/>
                  </a:lnTo>
                  <a:lnTo>
                    <a:pt x="709" y="283"/>
                  </a:lnTo>
                  <a:lnTo>
                    <a:pt x="709" y="293"/>
                  </a:lnTo>
                  <a:lnTo>
                    <a:pt x="709" y="293"/>
                  </a:lnTo>
                  <a:lnTo>
                    <a:pt x="709" y="293"/>
                  </a:lnTo>
                  <a:close/>
                  <a:moveTo>
                    <a:pt x="869" y="300"/>
                  </a:moveTo>
                  <a:lnTo>
                    <a:pt x="853" y="293"/>
                  </a:lnTo>
                  <a:lnTo>
                    <a:pt x="886" y="293"/>
                  </a:lnTo>
                  <a:lnTo>
                    <a:pt x="869" y="300"/>
                  </a:lnTo>
                  <a:lnTo>
                    <a:pt x="869" y="300"/>
                  </a:lnTo>
                  <a:lnTo>
                    <a:pt x="869" y="300"/>
                  </a:lnTo>
                  <a:close/>
                  <a:moveTo>
                    <a:pt x="839" y="316"/>
                  </a:moveTo>
                  <a:lnTo>
                    <a:pt x="848" y="293"/>
                  </a:lnTo>
                  <a:lnTo>
                    <a:pt x="865" y="309"/>
                  </a:lnTo>
                  <a:lnTo>
                    <a:pt x="839" y="316"/>
                  </a:lnTo>
                  <a:lnTo>
                    <a:pt x="839" y="316"/>
                  </a:lnTo>
                  <a:lnTo>
                    <a:pt x="839" y="316"/>
                  </a:lnTo>
                  <a:close/>
                  <a:moveTo>
                    <a:pt x="794" y="354"/>
                  </a:moveTo>
                  <a:lnTo>
                    <a:pt x="801" y="338"/>
                  </a:lnTo>
                  <a:lnTo>
                    <a:pt x="815" y="349"/>
                  </a:lnTo>
                  <a:lnTo>
                    <a:pt x="794" y="354"/>
                  </a:lnTo>
                  <a:lnTo>
                    <a:pt x="794" y="354"/>
                  </a:lnTo>
                  <a:lnTo>
                    <a:pt x="794" y="354"/>
                  </a:lnTo>
                  <a:close/>
                  <a:moveTo>
                    <a:pt x="654" y="387"/>
                  </a:moveTo>
                  <a:lnTo>
                    <a:pt x="659" y="366"/>
                  </a:lnTo>
                  <a:lnTo>
                    <a:pt x="676" y="366"/>
                  </a:lnTo>
                  <a:lnTo>
                    <a:pt x="671" y="354"/>
                  </a:lnTo>
                  <a:lnTo>
                    <a:pt x="676" y="354"/>
                  </a:lnTo>
                  <a:lnTo>
                    <a:pt x="702" y="349"/>
                  </a:lnTo>
                  <a:lnTo>
                    <a:pt x="692" y="366"/>
                  </a:lnTo>
                  <a:lnTo>
                    <a:pt x="725" y="349"/>
                  </a:lnTo>
                  <a:lnTo>
                    <a:pt x="702" y="371"/>
                  </a:lnTo>
                  <a:lnTo>
                    <a:pt x="654" y="387"/>
                  </a:lnTo>
                  <a:lnTo>
                    <a:pt x="654" y="387"/>
                  </a:lnTo>
                  <a:lnTo>
                    <a:pt x="654" y="387"/>
                  </a:lnTo>
                  <a:close/>
                  <a:moveTo>
                    <a:pt x="654" y="371"/>
                  </a:moveTo>
                  <a:lnTo>
                    <a:pt x="650" y="366"/>
                  </a:lnTo>
                  <a:lnTo>
                    <a:pt x="654" y="366"/>
                  </a:lnTo>
                  <a:lnTo>
                    <a:pt x="654" y="371"/>
                  </a:lnTo>
                  <a:lnTo>
                    <a:pt x="654" y="371"/>
                  </a:lnTo>
                  <a:lnTo>
                    <a:pt x="654" y="371"/>
                  </a:lnTo>
                  <a:close/>
                  <a:moveTo>
                    <a:pt x="638" y="371"/>
                  </a:moveTo>
                  <a:lnTo>
                    <a:pt x="633" y="366"/>
                  </a:lnTo>
                  <a:lnTo>
                    <a:pt x="638" y="366"/>
                  </a:lnTo>
                  <a:lnTo>
                    <a:pt x="638" y="371"/>
                  </a:lnTo>
                  <a:lnTo>
                    <a:pt x="638" y="371"/>
                  </a:lnTo>
                  <a:lnTo>
                    <a:pt x="638" y="371"/>
                  </a:lnTo>
                  <a:close/>
                  <a:moveTo>
                    <a:pt x="605" y="394"/>
                  </a:moveTo>
                  <a:lnTo>
                    <a:pt x="600" y="394"/>
                  </a:lnTo>
                  <a:lnTo>
                    <a:pt x="605" y="371"/>
                  </a:lnTo>
                  <a:lnTo>
                    <a:pt x="650" y="371"/>
                  </a:lnTo>
                  <a:lnTo>
                    <a:pt x="605" y="394"/>
                  </a:lnTo>
                  <a:lnTo>
                    <a:pt x="605" y="394"/>
                  </a:lnTo>
                  <a:lnTo>
                    <a:pt x="605" y="394"/>
                  </a:lnTo>
                  <a:close/>
                  <a:moveTo>
                    <a:pt x="583" y="404"/>
                  </a:moveTo>
                  <a:lnTo>
                    <a:pt x="583" y="394"/>
                  </a:lnTo>
                  <a:lnTo>
                    <a:pt x="595" y="387"/>
                  </a:lnTo>
                  <a:lnTo>
                    <a:pt x="600" y="387"/>
                  </a:lnTo>
                  <a:lnTo>
                    <a:pt x="583" y="404"/>
                  </a:lnTo>
                  <a:lnTo>
                    <a:pt x="583" y="404"/>
                  </a:lnTo>
                  <a:lnTo>
                    <a:pt x="583" y="404"/>
                  </a:lnTo>
                  <a:close/>
                  <a:moveTo>
                    <a:pt x="550" y="427"/>
                  </a:moveTo>
                  <a:lnTo>
                    <a:pt x="579" y="387"/>
                  </a:lnTo>
                  <a:lnTo>
                    <a:pt x="583" y="394"/>
                  </a:lnTo>
                  <a:lnTo>
                    <a:pt x="579" y="411"/>
                  </a:lnTo>
                  <a:lnTo>
                    <a:pt x="550" y="427"/>
                  </a:lnTo>
                  <a:lnTo>
                    <a:pt x="550" y="427"/>
                  </a:lnTo>
                  <a:lnTo>
                    <a:pt x="550" y="427"/>
                  </a:lnTo>
                  <a:close/>
                  <a:moveTo>
                    <a:pt x="756" y="404"/>
                  </a:moveTo>
                  <a:lnTo>
                    <a:pt x="746" y="404"/>
                  </a:lnTo>
                  <a:lnTo>
                    <a:pt x="777" y="404"/>
                  </a:lnTo>
                  <a:lnTo>
                    <a:pt x="756" y="404"/>
                  </a:lnTo>
                  <a:lnTo>
                    <a:pt x="756" y="404"/>
                  </a:lnTo>
                  <a:lnTo>
                    <a:pt x="756" y="404"/>
                  </a:lnTo>
                  <a:close/>
                  <a:moveTo>
                    <a:pt x="725" y="411"/>
                  </a:moveTo>
                  <a:lnTo>
                    <a:pt x="709" y="411"/>
                  </a:lnTo>
                  <a:lnTo>
                    <a:pt x="730" y="411"/>
                  </a:lnTo>
                  <a:lnTo>
                    <a:pt x="725" y="411"/>
                  </a:lnTo>
                  <a:lnTo>
                    <a:pt x="725" y="411"/>
                  </a:lnTo>
                  <a:lnTo>
                    <a:pt x="725" y="411"/>
                  </a:lnTo>
                  <a:close/>
                  <a:moveTo>
                    <a:pt x="654" y="522"/>
                  </a:moveTo>
                  <a:lnTo>
                    <a:pt x="638" y="515"/>
                  </a:lnTo>
                  <a:lnTo>
                    <a:pt x="659" y="503"/>
                  </a:lnTo>
                  <a:lnTo>
                    <a:pt x="654" y="522"/>
                  </a:lnTo>
                  <a:lnTo>
                    <a:pt x="654" y="522"/>
                  </a:lnTo>
                  <a:lnTo>
                    <a:pt x="654" y="522"/>
                  </a:lnTo>
                  <a:close/>
                  <a:moveTo>
                    <a:pt x="550" y="614"/>
                  </a:moveTo>
                  <a:lnTo>
                    <a:pt x="562" y="609"/>
                  </a:lnTo>
                  <a:lnTo>
                    <a:pt x="550" y="614"/>
                  </a:lnTo>
                  <a:lnTo>
                    <a:pt x="550" y="614"/>
                  </a:lnTo>
                  <a:lnTo>
                    <a:pt x="550" y="614"/>
                  </a:lnTo>
                  <a:close/>
                  <a:moveTo>
                    <a:pt x="524" y="642"/>
                  </a:moveTo>
                  <a:lnTo>
                    <a:pt x="541" y="614"/>
                  </a:lnTo>
                  <a:lnTo>
                    <a:pt x="546" y="631"/>
                  </a:lnTo>
                  <a:lnTo>
                    <a:pt x="524" y="642"/>
                  </a:lnTo>
                  <a:lnTo>
                    <a:pt x="524" y="642"/>
                  </a:lnTo>
                  <a:lnTo>
                    <a:pt x="524" y="642"/>
                  </a:lnTo>
                  <a:close/>
                  <a:moveTo>
                    <a:pt x="529" y="666"/>
                  </a:moveTo>
                  <a:lnTo>
                    <a:pt x="541" y="649"/>
                  </a:lnTo>
                  <a:lnTo>
                    <a:pt x="562" y="642"/>
                  </a:lnTo>
                  <a:lnTo>
                    <a:pt x="529" y="666"/>
                  </a:lnTo>
                  <a:lnTo>
                    <a:pt x="529" y="666"/>
                  </a:lnTo>
                  <a:lnTo>
                    <a:pt x="529" y="666"/>
                  </a:lnTo>
                  <a:close/>
                  <a:moveTo>
                    <a:pt x="491" y="699"/>
                  </a:moveTo>
                  <a:lnTo>
                    <a:pt x="487" y="687"/>
                  </a:lnTo>
                  <a:lnTo>
                    <a:pt x="498" y="683"/>
                  </a:lnTo>
                  <a:lnTo>
                    <a:pt x="491" y="699"/>
                  </a:lnTo>
                  <a:lnTo>
                    <a:pt x="491" y="699"/>
                  </a:lnTo>
                  <a:lnTo>
                    <a:pt x="491" y="699"/>
                  </a:lnTo>
                  <a:close/>
                  <a:moveTo>
                    <a:pt x="508" y="737"/>
                  </a:moveTo>
                  <a:lnTo>
                    <a:pt x="513" y="699"/>
                  </a:lnTo>
                  <a:lnTo>
                    <a:pt x="541" y="720"/>
                  </a:lnTo>
                  <a:lnTo>
                    <a:pt x="508" y="737"/>
                  </a:lnTo>
                  <a:lnTo>
                    <a:pt x="508" y="737"/>
                  </a:lnTo>
                  <a:lnTo>
                    <a:pt x="508" y="737"/>
                  </a:lnTo>
                  <a:close/>
                  <a:moveTo>
                    <a:pt x="508" y="758"/>
                  </a:moveTo>
                  <a:lnTo>
                    <a:pt x="498" y="753"/>
                  </a:lnTo>
                  <a:lnTo>
                    <a:pt x="513" y="737"/>
                  </a:lnTo>
                  <a:lnTo>
                    <a:pt x="524" y="753"/>
                  </a:lnTo>
                  <a:lnTo>
                    <a:pt x="508" y="758"/>
                  </a:lnTo>
                  <a:lnTo>
                    <a:pt x="508" y="758"/>
                  </a:lnTo>
                  <a:lnTo>
                    <a:pt x="508" y="758"/>
                  </a:lnTo>
                  <a:close/>
                  <a:moveTo>
                    <a:pt x="470" y="758"/>
                  </a:moveTo>
                  <a:lnTo>
                    <a:pt x="470" y="753"/>
                  </a:lnTo>
                  <a:lnTo>
                    <a:pt x="487" y="753"/>
                  </a:lnTo>
                  <a:lnTo>
                    <a:pt x="470" y="758"/>
                  </a:lnTo>
                  <a:lnTo>
                    <a:pt x="470" y="758"/>
                  </a:lnTo>
                  <a:lnTo>
                    <a:pt x="470" y="758"/>
                  </a:lnTo>
                  <a:close/>
                  <a:moveTo>
                    <a:pt x="437" y="782"/>
                  </a:moveTo>
                  <a:lnTo>
                    <a:pt x="416" y="782"/>
                  </a:lnTo>
                  <a:lnTo>
                    <a:pt x="437" y="770"/>
                  </a:lnTo>
                  <a:lnTo>
                    <a:pt x="444" y="777"/>
                  </a:lnTo>
                  <a:lnTo>
                    <a:pt x="437" y="782"/>
                  </a:lnTo>
                  <a:lnTo>
                    <a:pt x="437" y="782"/>
                  </a:lnTo>
                  <a:lnTo>
                    <a:pt x="437" y="782"/>
                  </a:lnTo>
                  <a:close/>
                  <a:moveTo>
                    <a:pt x="454" y="810"/>
                  </a:moveTo>
                  <a:lnTo>
                    <a:pt x="444" y="810"/>
                  </a:lnTo>
                  <a:lnTo>
                    <a:pt x="454" y="798"/>
                  </a:lnTo>
                  <a:lnTo>
                    <a:pt x="454" y="810"/>
                  </a:lnTo>
                  <a:lnTo>
                    <a:pt x="454" y="810"/>
                  </a:lnTo>
                  <a:lnTo>
                    <a:pt x="454" y="810"/>
                  </a:lnTo>
                  <a:close/>
                  <a:moveTo>
                    <a:pt x="461" y="827"/>
                  </a:moveTo>
                  <a:lnTo>
                    <a:pt x="444" y="827"/>
                  </a:lnTo>
                  <a:lnTo>
                    <a:pt x="432" y="810"/>
                  </a:lnTo>
                  <a:lnTo>
                    <a:pt x="461" y="815"/>
                  </a:lnTo>
                  <a:lnTo>
                    <a:pt x="461" y="827"/>
                  </a:lnTo>
                  <a:lnTo>
                    <a:pt x="461" y="827"/>
                  </a:lnTo>
                  <a:lnTo>
                    <a:pt x="461" y="827"/>
                  </a:lnTo>
                  <a:close/>
                  <a:moveTo>
                    <a:pt x="243" y="921"/>
                  </a:moveTo>
                  <a:lnTo>
                    <a:pt x="276" y="905"/>
                  </a:lnTo>
                  <a:lnTo>
                    <a:pt x="276" y="909"/>
                  </a:lnTo>
                  <a:lnTo>
                    <a:pt x="243" y="921"/>
                  </a:lnTo>
                  <a:lnTo>
                    <a:pt x="243" y="921"/>
                  </a:lnTo>
                  <a:lnTo>
                    <a:pt x="243" y="921"/>
                  </a:lnTo>
                  <a:close/>
                  <a:moveTo>
                    <a:pt x="255" y="942"/>
                  </a:moveTo>
                  <a:lnTo>
                    <a:pt x="239" y="942"/>
                  </a:lnTo>
                  <a:lnTo>
                    <a:pt x="281" y="921"/>
                  </a:lnTo>
                  <a:lnTo>
                    <a:pt x="298" y="926"/>
                  </a:lnTo>
                  <a:lnTo>
                    <a:pt x="255" y="942"/>
                  </a:lnTo>
                  <a:lnTo>
                    <a:pt x="255" y="942"/>
                  </a:lnTo>
                  <a:lnTo>
                    <a:pt x="255" y="942"/>
                  </a:lnTo>
                  <a:close/>
                  <a:moveTo>
                    <a:pt x="222" y="959"/>
                  </a:moveTo>
                  <a:lnTo>
                    <a:pt x="206" y="947"/>
                  </a:lnTo>
                  <a:lnTo>
                    <a:pt x="222" y="942"/>
                  </a:lnTo>
                  <a:lnTo>
                    <a:pt x="227" y="947"/>
                  </a:lnTo>
                  <a:lnTo>
                    <a:pt x="222" y="959"/>
                  </a:lnTo>
                  <a:lnTo>
                    <a:pt x="222" y="959"/>
                  </a:lnTo>
                  <a:lnTo>
                    <a:pt x="222" y="959"/>
                  </a:lnTo>
                  <a:close/>
                  <a:moveTo>
                    <a:pt x="260" y="959"/>
                  </a:moveTo>
                  <a:lnTo>
                    <a:pt x="255" y="959"/>
                  </a:lnTo>
                  <a:lnTo>
                    <a:pt x="272" y="959"/>
                  </a:lnTo>
                  <a:lnTo>
                    <a:pt x="260" y="959"/>
                  </a:lnTo>
                  <a:lnTo>
                    <a:pt x="260" y="959"/>
                  </a:lnTo>
                  <a:lnTo>
                    <a:pt x="260" y="959"/>
                  </a:lnTo>
                  <a:close/>
                  <a:moveTo>
                    <a:pt x="243" y="975"/>
                  </a:moveTo>
                  <a:lnTo>
                    <a:pt x="239" y="964"/>
                  </a:lnTo>
                  <a:lnTo>
                    <a:pt x="255" y="959"/>
                  </a:lnTo>
                  <a:lnTo>
                    <a:pt x="260" y="975"/>
                  </a:lnTo>
                  <a:lnTo>
                    <a:pt x="243" y="975"/>
                  </a:lnTo>
                  <a:lnTo>
                    <a:pt x="243" y="975"/>
                  </a:lnTo>
                  <a:lnTo>
                    <a:pt x="243" y="975"/>
                  </a:lnTo>
                  <a:close/>
                  <a:moveTo>
                    <a:pt x="222" y="975"/>
                  </a:moveTo>
                  <a:lnTo>
                    <a:pt x="217" y="975"/>
                  </a:lnTo>
                  <a:lnTo>
                    <a:pt x="222" y="964"/>
                  </a:lnTo>
                  <a:lnTo>
                    <a:pt x="227" y="975"/>
                  </a:lnTo>
                  <a:lnTo>
                    <a:pt x="222" y="975"/>
                  </a:lnTo>
                  <a:lnTo>
                    <a:pt x="222" y="975"/>
                  </a:lnTo>
                  <a:lnTo>
                    <a:pt x="222" y="975"/>
                  </a:lnTo>
                  <a:close/>
                  <a:moveTo>
                    <a:pt x="239" y="975"/>
                  </a:moveTo>
                  <a:lnTo>
                    <a:pt x="227" y="964"/>
                  </a:lnTo>
                  <a:lnTo>
                    <a:pt x="243" y="975"/>
                  </a:lnTo>
                  <a:lnTo>
                    <a:pt x="239" y="975"/>
                  </a:lnTo>
                  <a:lnTo>
                    <a:pt x="239" y="975"/>
                  </a:lnTo>
                  <a:lnTo>
                    <a:pt x="239" y="975"/>
                  </a:lnTo>
                  <a:close/>
                  <a:moveTo>
                    <a:pt x="206" y="992"/>
                  </a:moveTo>
                  <a:lnTo>
                    <a:pt x="201" y="992"/>
                  </a:lnTo>
                  <a:lnTo>
                    <a:pt x="217" y="980"/>
                  </a:lnTo>
                  <a:lnTo>
                    <a:pt x="206" y="992"/>
                  </a:lnTo>
                  <a:lnTo>
                    <a:pt x="206" y="992"/>
                  </a:lnTo>
                  <a:lnTo>
                    <a:pt x="206" y="992"/>
                  </a:lnTo>
                  <a:close/>
                  <a:moveTo>
                    <a:pt x="184" y="997"/>
                  </a:moveTo>
                  <a:lnTo>
                    <a:pt x="172" y="997"/>
                  </a:lnTo>
                  <a:lnTo>
                    <a:pt x="172" y="992"/>
                  </a:lnTo>
                  <a:lnTo>
                    <a:pt x="189" y="980"/>
                  </a:lnTo>
                  <a:lnTo>
                    <a:pt x="201" y="992"/>
                  </a:lnTo>
                  <a:lnTo>
                    <a:pt x="184" y="997"/>
                  </a:lnTo>
                  <a:lnTo>
                    <a:pt x="184" y="997"/>
                  </a:lnTo>
                  <a:lnTo>
                    <a:pt x="184" y="997"/>
                  </a:lnTo>
                  <a:close/>
                  <a:moveTo>
                    <a:pt x="135" y="1020"/>
                  </a:moveTo>
                  <a:lnTo>
                    <a:pt x="135" y="1013"/>
                  </a:lnTo>
                  <a:lnTo>
                    <a:pt x="146" y="1013"/>
                  </a:lnTo>
                  <a:lnTo>
                    <a:pt x="135" y="1020"/>
                  </a:lnTo>
                  <a:lnTo>
                    <a:pt x="135" y="1020"/>
                  </a:lnTo>
                  <a:lnTo>
                    <a:pt x="135" y="1020"/>
                  </a:lnTo>
                  <a:close/>
                  <a:moveTo>
                    <a:pt x="130" y="1032"/>
                  </a:moveTo>
                  <a:lnTo>
                    <a:pt x="130" y="1020"/>
                  </a:lnTo>
                  <a:lnTo>
                    <a:pt x="146" y="1032"/>
                  </a:lnTo>
                  <a:lnTo>
                    <a:pt x="130" y="1032"/>
                  </a:lnTo>
                  <a:lnTo>
                    <a:pt x="130" y="1032"/>
                  </a:lnTo>
                  <a:lnTo>
                    <a:pt x="130" y="1032"/>
                  </a:lnTo>
                  <a:close/>
                  <a:moveTo>
                    <a:pt x="97" y="1058"/>
                  </a:moveTo>
                  <a:lnTo>
                    <a:pt x="83" y="1053"/>
                  </a:lnTo>
                  <a:lnTo>
                    <a:pt x="109" y="1058"/>
                  </a:lnTo>
                  <a:lnTo>
                    <a:pt x="97" y="1058"/>
                  </a:lnTo>
                  <a:lnTo>
                    <a:pt x="97" y="1058"/>
                  </a:lnTo>
                  <a:lnTo>
                    <a:pt x="97" y="1058"/>
                  </a:lnTo>
                  <a:close/>
                  <a:moveTo>
                    <a:pt x="66" y="1075"/>
                  </a:moveTo>
                  <a:lnTo>
                    <a:pt x="66" y="1058"/>
                  </a:lnTo>
                  <a:lnTo>
                    <a:pt x="83" y="1070"/>
                  </a:lnTo>
                  <a:lnTo>
                    <a:pt x="66" y="1075"/>
                  </a:lnTo>
                  <a:lnTo>
                    <a:pt x="66" y="1075"/>
                  </a:lnTo>
                  <a:lnTo>
                    <a:pt x="66" y="1075"/>
                  </a:lnTo>
                  <a:close/>
                  <a:moveTo>
                    <a:pt x="54" y="1086"/>
                  </a:moveTo>
                  <a:lnTo>
                    <a:pt x="45" y="1086"/>
                  </a:lnTo>
                  <a:lnTo>
                    <a:pt x="45" y="1075"/>
                  </a:lnTo>
                  <a:lnTo>
                    <a:pt x="66" y="1075"/>
                  </a:lnTo>
                  <a:lnTo>
                    <a:pt x="54" y="1086"/>
                  </a:lnTo>
                  <a:lnTo>
                    <a:pt x="54" y="1086"/>
                  </a:lnTo>
                  <a:lnTo>
                    <a:pt x="54" y="1086"/>
                  </a:lnTo>
                  <a:close/>
                  <a:moveTo>
                    <a:pt x="12" y="1115"/>
                  </a:moveTo>
                  <a:lnTo>
                    <a:pt x="12" y="1103"/>
                  </a:lnTo>
                  <a:lnTo>
                    <a:pt x="12" y="1115"/>
                  </a:lnTo>
                  <a:lnTo>
                    <a:pt x="12" y="1115"/>
                  </a:lnTo>
                  <a:lnTo>
                    <a:pt x="12" y="1115"/>
                  </a:lnTo>
                  <a:close/>
                  <a:moveTo>
                    <a:pt x="7" y="1131"/>
                  </a:moveTo>
                  <a:lnTo>
                    <a:pt x="0" y="1124"/>
                  </a:lnTo>
                  <a:lnTo>
                    <a:pt x="7" y="1115"/>
                  </a:lnTo>
                  <a:lnTo>
                    <a:pt x="21" y="1124"/>
                  </a:lnTo>
                  <a:lnTo>
                    <a:pt x="7" y="1131"/>
                  </a:lnTo>
                  <a:lnTo>
                    <a:pt x="7" y="1131"/>
                  </a:lnTo>
                  <a:lnTo>
                    <a:pt x="7" y="1131"/>
                  </a:lnTo>
                  <a:close/>
                  <a:moveTo>
                    <a:pt x="0" y="1214"/>
                  </a:moveTo>
                  <a:lnTo>
                    <a:pt x="0" y="1197"/>
                  </a:lnTo>
                  <a:lnTo>
                    <a:pt x="7" y="1197"/>
                  </a:lnTo>
                  <a:lnTo>
                    <a:pt x="7" y="1202"/>
                  </a:lnTo>
                  <a:lnTo>
                    <a:pt x="0" y="1214"/>
                  </a:lnTo>
                  <a:lnTo>
                    <a:pt x="0" y="1214"/>
                  </a:lnTo>
                  <a:lnTo>
                    <a:pt x="0" y="1214"/>
                  </a:lnTo>
                  <a:close/>
                  <a:moveTo>
                    <a:pt x="45" y="1275"/>
                  </a:moveTo>
                  <a:lnTo>
                    <a:pt x="38" y="1268"/>
                  </a:lnTo>
                  <a:lnTo>
                    <a:pt x="59" y="1252"/>
                  </a:lnTo>
                  <a:lnTo>
                    <a:pt x="59" y="1275"/>
                  </a:lnTo>
                  <a:lnTo>
                    <a:pt x="45" y="1275"/>
                  </a:lnTo>
                  <a:lnTo>
                    <a:pt x="45" y="1275"/>
                  </a:lnTo>
                  <a:lnTo>
                    <a:pt x="45" y="1275"/>
                  </a:lnTo>
                  <a:close/>
                  <a:moveTo>
                    <a:pt x="21" y="1280"/>
                  </a:moveTo>
                  <a:lnTo>
                    <a:pt x="7" y="1268"/>
                  </a:lnTo>
                  <a:lnTo>
                    <a:pt x="21" y="1275"/>
                  </a:lnTo>
                  <a:lnTo>
                    <a:pt x="21" y="1280"/>
                  </a:lnTo>
                  <a:lnTo>
                    <a:pt x="21" y="1280"/>
                  </a:lnTo>
                  <a:lnTo>
                    <a:pt x="21" y="1280"/>
                  </a:lnTo>
                  <a:close/>
                  <a:moveTo>
                    <a:pt x="12" y="1308"/>
                  </a:moveTo>
                  <a:lnTo>
                    <a:pt x="7" y="1297"/>
                  </a:lnTo>
                  <a:lnTo>
                    <a:pt x="7" y="1275"/>
                  </a:lnTo>
                  <a:lnTo>
                    <a:pt x="12" y="1292"/>
                  </a:lnTo>
                  <a:lnTo>
                    <a:pt x="12" y="1308"/>
                  </a:lnTo>
                  <a:lnTo>
                    <a:pt x="12" y="1308"/>
                  </a:lnTo>
                  <a:lnTo>
                    <a:pt x="12" y="1308"/>
                  </a:lnTo>
                  <a:close/>
                  <a:moveTo>
                    <a:pt x="76" y="1313"/>
                  </a:moveTo>
                  <a:lnTo>
                    <a:pt x="76" y="1308"/>
                  </a:lnTo>
                  <a:lnTo>
                    <a:pt x="83" y="1308"/>
                  </a:lnTo>
                  <a:lnTo>
                    <a:pt x="76" y="1313"/>
                  </a:lnTo>
                  <a:lnTo>
                    <a:pt x="76" y="1313"/>
                  </a:lnTo>
                  <a:lnTo>
                    <a:pt x="76" y="1313"/>
                  </a:lnTo>
                  <a:close/>
                  <a:moveTo>
                    <a:pt x="28" y="1325"/>
                  </a:moveTo>
                  <a:lnTo>
                    <a:pt x="21" y="1325"/>
                  </a:lnTo>
                  <a:lnTo>
                    <a:pt x="21" y="1313"/>
                  </a:lnTo>
                  <a:lnTo>
                    <a:pt x="28" y="1325"/>
                  </a:lnTo>
                  <a:lnTo>
                    <a:pt x="28" y="1325"/>
                  </a:lnTo>
                  <a:lnTo>
                    <a:pt x="28" y="1325"/>
                  </a:lnTo>
                  <a:close/>
                  <a:moveTo>
                    <a:pt x="45" y="1337"/>
                  </a:moveTo>
                  <a:lnTo>
                    <a:pt x="38" y="1325"/>
                  </a:lnTo>
                  <a:lnTo>
                    <a:pt x="54" y="1313"/>
                  </a:lnTo>
                  <a:lnTo>
                    <a:pt x="45" y="1337"/>
                  </a:lnTo>
                  <a:lnTo>
                    <a:pt x="45" y="1337"/>
                  </a:lnTo>
                  <a:lnTo>
                    <a:pt x="45" y="1337"/>
                  </a:lnTo>
                  <a:close/>
                  <a:moveTo>
                    <a:pt x="38" y="1353"/>
                  </a:moveTo>
                  <a:lnTo>
                    <a:pt x="28" y="1346"/>
                  </a:lnTo>
                  <a:lnTo>
                    <a:pt x="28" y="1330"/>
                  </a:lnTo>
                  <a:lnTo>
                    <a:pt x="45" y="1337"/>
                  </a:lnTo>
                  <a:lnTo>
                    <a:pt x="38" y="1353"/>
                  </a:lnTo>
                  <a:lnTo>
                    <a:pt x="38" y="1353"/>
                  </a:lnTo>
                  <a:lnTo>
                    <a:pt x="38" y="1353"/>
                  </a:lnTo>
                  <a:close/>
                  <a:moveTo>
                    <a:pt x="21" y="1370"/>
                  </a:moveTo>
                  <a:lnTo>
                    <a:pt x="12" y="1346"/>
                  </a:lnTo>
                  <a:lnTo>
                    <a:pt x="21" y="1337"/>
                  </a:lnTo>
                  <a:lnTo>
                    <a:pt x="38" y="1353"/>
                  </a:lnTo>
                  <a:lnTo>
                    <a:pt x="21" y="1353"/>
                  </a:lnTo>
                  <a:lnTo>
                    <a:pt x="21" y="1370"/>
                  </a:lnTo>
                  <a:lnTo>
                    <a:pt x="21" y="1370"/>
                  </a:lnTo>
                  <a:lnTo>
                    <a:pt x="21" y="1370"/>
                  </a:lnTo>
                  <a:close/>
                  <a:moveTo>
                    <a:pt x="21" y="1420"/>
                  </a:moveTo>
                  <a:lnTo>
                    <a:pt x="21" y="1386"/>
                  </a:lnTo>
                  <a:lnTo>
                    <a:pt x="28" y="1408"/>
                  </a:lnTo>
                  <a:lnTo>
                    <a:pt x="21" y="1420"/>
                  </a:lnTo>
                  <a:lnTo>
                    <a:pt x="21" y="1420"/>
                  </a:lnTo>
                  <a:lnTo>
                    <a:pt x="21" y="142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3" name="Freeform 524">
              <a:extLst>
                <a:ext uri="{FF2B5EF4-FFF2-40B4-BE49-F238E27FC236}">
                  <a16:creationId xmlns:a16="http://schemas.microsoft.com/office/drawing/2014/main" id="{3D605068-BB3A-4EC2-BB26-699B1BF10015}"/>
                </a:ext>
              </a:extLst>
            </p:cNvPr>
            <p:cNvSpPr>
              <a:spLocks/>
            </p:cNvSpPr>
            <p:nvPr/>
          </p:nvSpPr>
          <p:spPr bwMode="gray">
            <a:xfrm>
              <a:off x="15582263" y="3376025"/>
              <a:ext cx="187868" cy="100807"/>
            </a:xfrm>
            <a:custGeom>
              <a:avLst/>
              <a:gdLst>
                <a:gd name="T0" fmla="*/ 163 w 574"/>
                <a:gd name="T1" fmla="*/ 215 h 308"/>
                <a:gd name="T2" fmla="*/ 125 w 574"/>
                <a:gd name="T3" fmla="*/ 199 h 308"/>
                <a:gd name="T4" fmla="*/ 75 w 574"/>
                <a:gd name="T5" fmla="*/ 159 h 308"/>
                <a:gd name="T6" fmla="*/ 33 w 574"/>
                <a:gd name="T7" fmla="*/ 142 h 308"/>
                <a:gd name="T8" fmla="*/ 16 w 574"/>
                <a:gd name="T9" fmla="*/ 88 h 308"/>
                <a:gd name="T10" fmla="*/ 21 w 574"/>
                <a:gd name="T11" fmla="*/ 67 h 308"/>
                <a:gd name="T12" fmla="*/ 71 w 574"/>
                <a:gd name="T13" fmla="*/ 17 h 308"/>
                <a:gd name="T14" fmla="*/ 75 w 574"/>
                <a:gd name="T15" fmla="*/ 22 h 308"/>
                <a:gd name="T16" fmla="*/ 92 w 574"/>
                <a:gd name="T17" fmla="*/ 0 h 308"/>
                <a:gd name="T18" fmla="*/ 146 w 574"/>
                <a:gd name="T19" fmla="*/ 22 h 308"/>
                <a:gd name="T20" fmla="*/ 196 w 574"/>
                <a:gd name="T21" fmla="*/ 55 h 308"/>
                <a:gd name="T22" fmla="*/ 250 w 574"/>
                <a:gd name="T23" fmla="*/ 93 h 308"/>
                <a:gd name="T24" fmla="*/ 271 w 574"/>
                <a:gd name="T25" fmla="*/ 88 h 308"/>
                <a:gd name="T26" fmla="*/ 293 w 574"/>
                <a:gd name="T27" fmla="*/ 109 h 308"/>
                <a:gd name="T28" fmla="*/ 330 w 574"/>
                <a:gd name="T29" fmla="*/ 142 h 308"/>
                <a:gd name="T30" fmla="*/ 359 w 574"/>
                <a:gd name="T31" fmla="*/ 133 h 308"/>
                <a:gd name="T32" fmla="*/ 397 w 574"/>
                <a:gd name="T33" fmla="*/ 166 h 308"/>
                <a:gd name="T34" fmla="*/ 418 w 574"/>
                <a:gd name="T35" fmla="*/ 187 h 308"/>
                <a:gd name="T36" fmla="*/ 427 w 574"/>
                <a:gd name="T37" fmla="*/ 175 h 308"/>
                <a:gd name="T38" fmla="*/ 434 w 574"/>
                <a:gd name="T39" fmla="*/ 182 h 308"/>
                <a:gd name="T40" fmla="*/ 456 w 574"/>
                <a:gd name="T41" fmla="*/ 175 h 308"/>
                <a:gd name="T42" fmla="*/ 505 w 574"/>
                <a:gd name="T43" fmla="*/ 199 h 308"/>
                <a:gd name="T44" fmla="*/ 548 w 574"/>
                <a:gd name="T45" fmla="*/ 187 h 308"/>
                <a:gd name="T46" fmla="*/ 574 w 574"/>
                <a:gd name="T47" fmla="*/ 199 h 308"/>
                <a:gd name="T48" fmla="*/ 560 w 574"/>
                <a:gd name="T49" fmla="*/ 253 h 308"/>
                <a:gd name="T50" fmla="*/ 560 w 574"/>
                <a:gd name="T51" fmla="*/ 308 h 308"/>
                <a:gd name="T52" fmla="*/ 505 w 574"/>
                <a:gd name="T53" fmla="*/ 308 h 308"/>
                <a:gd name="T54" fmla="*/ 472 w 574"/>
                <a:gd name="T55" fmla="*/ 308 h 308"/>
                <a:gd name="T56" fmla="*/ 413 w 574"/>
                <a:gd name="T57" fmla="*/ 291 h 308"/>
                <a:gd name="T58" fmla="*/ 373 w 574"/>
                <a:gd name="T59" fmla="*/ 286 h 308"/>
                <a:gd name="T60" fmla="*/ 321 w 574"/>
                <a:gd name="T61" fmla="*/ 237 h 308"/>
                <a:gd name="T62" fmla="*/ 288 w 574"/>
                <a:gd name="T63" fmla="*/ 220 h 308"/>
                <a:gd name="T64" fmla="*/ 267 w 574"/>
                <a:gd name="T65" fmla="*/ 237 h 308"/>
                <a:gd name="T66" fmla="*/ 222 w 574"/>
                <a:gd name="T67" fmla="*/ 237 h 308"/>
                <a:gd name="T68" fmla="*/ 184 w 574"/>
                <a:gd name="T69" fmla="*/ 220 h 308"/>
                <a:gd name="T70" fmla="*/ 184 w 574"/>
                <a:gd name="T71" fmla="*/ 2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4" h="308">
                  <a:moveTo>
                    <a:pt x="184" y="204"/>
                  </a:moveTo>
                  <a:lnTo>
                    <a:pt x="163" y="215"/>
                  </a:lnTo>
                  <a:lnTo>
                    <a:pt x="141" y="187"/>
                  </a:lnTo>
                  <a:lnTo>
                    <a:pt x="125" y="199"/>
                  </a:lnTo>
                  <a:lnTo>
                    <a:pt x="87" y="175"/>
                  </a:lnTo>
                  <a:lnTo>
                    <a:pt x="75" y="159"/>
                  </a:lnTo>
                  <a:lnTo>
                    <a:pt x="33" y="133"/>
                  </a:lnTo>
                  <a:lnTo>
                    <a:pt x="33" y="142"/>
                  </a:lnTo>
                  <a:lnTo>
                    <a:pt x="0" y="121"/>
                  </a:lnTo>
                  <a:lnTo>
                    <a:pt x="16" y="88"/>
                  </a:lnTo>
                  <a:lnTo>
                    <a:pt x="4" y="71"/>
                  </a:lnTo>
                  <a:lnTo>
                    <a:pt x="21" y="67"/>
                  </a:lnTo>
                  <a:lnTo>
                    <a:pt x="21" y="50"/>
                  </a:lnTo>
                  <a:lnTo>
                    <a:pt x="71" y="17"/>
                  </a:lnTo>
                  <a:lnTo>
                    <a:pt x="71" y="22"/>
                  </a:lnTo>
                  <a:lnTo>
                    <a:pt x="75" y="22"/>
                  </a:lnTo>
                  <a:lnTo>
                    <a:pt x="92" y="17"/>
                  </a:lnTo>
                  <a:lnTo>
                    <a:pt x="92" y="0"/>
                  </a:lnTo>
                  <a:lnTo>
                    <a:pt x="141" y="0"/>
                  </a:lnTo>
                  <a:lnTo>
                    <a:pt x="146" y="22"/>
                  </a:lnTo>
                  <a:lnTo>
                    <a:pt x="163" y="22"/>
                  </a:lnTo>
                  <a:lnTo>
                    <a:pt x="196" y="55"/>
                  </a:lnTo>
                  <a:lnTo>
                    <a:pt x="217" y="55"/>
                  </a:lnTo>
                  <a:lnTo>
                    <a:pt x="250" y="93"/>
                  </a:lnTo>
                  <a:lnTo>
                    <a:pt x="255" y="93"/>
                  </a:lnTo>
                  <a:lnTo>
                    <a:pt x="271" y="88"/>
                  </a:lnTo>
                  <a:lnTo>
                    <a:pt x="288" y="88"/>
                  </a:lnTo>
                  <a:lnTo>
                    <a:pt x="293" y="109"/>
                  </a:lnTo>
                  <a:lnTo>
                    <a:pt x="309" y="126"/>
                  </a:lnTo>
                  <a:lnTo>
                    <a:pt x="330" y="142"/>
                  </a:lnTo>
                  <a:lnTo>
                    <a:pt x="347" y="133"/>
                  </a:lnTo>
                  <a:lnTo>
                    <a:pt x="359" y="133"/>
                  </a:lnTo>
                  <a:lnTo>
                    <a:pt x="359" y="159"/>
                  </a:lnTo>
                  <a:lnTo>
                    <a:pt x="397" y="166"/>
                  </a:lnTo>
                  <a:lnTo>
                    <a:pt x="413" y="175"/>
                  </a:lnTo>
                  <a:lnTo>
                    <a:pt x="418" y="187"/>
                  </a:lnTo>
                  <a:lnTo>
                    <a:pt x="427" y="187"/>
                  </a:lnTo>
                  <a:lnTo>
                    <a:pt x="427" y="175"/>
                  </a:lnTo>
                  <a:lnTo>
                    <a:pt x="434" y="175"/>
                  </a:lnTo>
                  <a:lnTo>
                    <a:pt x="434" y="182"/>
                  </a:lnTo>
                  <a:lnTo>
                    <a:pt x="451" y="187"/>
                  </a:lnTo>
                  <a:lnTo>
                    <a:pt x="456" y="175"/>
                  </a:lnTo>
                  <a:lnTo>
                    <a:pt x="467" y="175"/>
                  </a:lnTo>
                  <a:lnTo>
                    <a:pt x="505" y="199"/>
                  </a:lnTo>
                  <a:lnTo>
                    <a:pt x="536" y="199"/>
                  </a:lnTo>
                  <a:lnTo>
                    <a:pt x="548" y="187"/>
                  </a:lnTo>
                  <a:lnTo>
                    <a:pt x="564" y="199"/>
                  </a:lnTo>
                  <a:lnTo>
                    <a:pt x="574" y="199"/>
                  </a:lnTo>
                  <a:lnTo>
                    <a:pt x="564" y="220"/>
                  </a:lnTo>
                  <a:lnTo>
                    <a:pt x="560" y="253"/>
                  </a:lnTo>
                  <a:lnTo>
                    <a:pt x="574" y="286"/>
                  </a:lnTo>
                  <a:lnTo>
                    <a:pt x="560" y="308"/>
                  </a:lnTo>
                  <a:lnTo>
                    <a:pt x="548" y="298"/>
                  </a:lnTo>
                  <a:lnTo>
                    <a:pt x="505" y="308"/>
                  </a:lnTo>
                  <a:lnTo>
                    <a:pt x="489" y="298"/>
                  </a:lnTo>
                  <a:lnTo>
                    <a:pt x="472" y="308"/>
                  </a:lnTo>
                  <a:lnTo>
                    <a:pt x="418" y="286"/>
                  </a:lnTo>
                  <a:lnTo>
                    <a:pt x="413" y="291"/>
                  </a:lnTo>
                  <a:lnTo>
                    <a:pt x="385" y="270"/>
                  </a:lnTo>
                  <a:lnTo>
                    <a:pt x="373" y="286"/>
                  </a:lnTo>
                  <a:lnTo>
                    <a:pt x="326" y="258"/>
                  </a:lnTo>
                  <a:lnTo>
                    <a:pt x="321" y="237"/>
                  </a:lnTo>
                  <a:lnTo>
                    <a:pt x="293" y="232"/>
                  </a:lnTo>
                  <a:lnTo>
                    <a:pt x="288" y="220"/>
                  </a:lnTo>
                  <a:lnTo>
                    <a:pt x="267" y="232"/>
                  </a:lnTo>
                  <a:lnTo>
                    <a:pt x="267" y="237"/>
                  </a:lnTo>
                  <a:lnTo>
                    <a:pt x="234" y="232"/>
                  </a:lnTo>
                  <a:lnTo>
                    <a:pt x="222" y="237"/>
                  </a:lnTo>
                  <a:lnTo>
                    <a:pt x="217" y="232"/>
                  </a:lnTo>
                  <a:lnTo>
                    <a:pt x="184" y="220"/>
                  </a:lnTo>
                  <a:lnTo>
                    <a:pt x="184" y="204"/>
                  </a:lnTo>
                  <a:lnTo>
                    <a:pt x="184" y="204"/>
                  </a:lnTo>
                  <a:lnTo>
                    <a:pt x="184" y="204"/>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4" name="Freeform 525">
              <a:extLst>
                <a:ext uri="{FF2B5EF4-FFF2-40B4-BE49-F238E27FC236}">
                  <a16:creationId xmlns:a16="http://schemas.microsoft.com/office/drawing/2014/main" id="{8A765309-F0E4-4321-A5D7-C450467F3176}"/>
                </a:ext>
              </a:extLst>
            </p:cNvPr>
            <p:cNvSpPr>
              <a:spLocks/>
            </p:cNvSpPr>
            <p:nvPr/>
          </p:nvSpPr>
          <p:spPr bwMode="gray">
            <a:xfrm>
              <a:off x="12410759" y="3973014"/>
              <a:ext cx="92952" cy="98189"/>
            </a:xfrm>
            <a:custGeom>
              <a:avLst/>
              <a:gdLst>
                <a:gd name="T0" fmla="*/ 279 w 284"/>
                <a:gd name="T1" fmla="*/ 198 h 300"/>
                <a:gd name="T2" fmla="*/ 267 w 284"/>
                <a:gd name="T3" fmla="*/ 206 h 300"/>
                <a:gd name="T4" fmla="*/ 267 w 284"/>
                <a:gd name="T5" fmla="*/ 227 h 300"/>
                <a:gd name="T6" fmla="*/ 262 w 284"/>
                <a:gd name="T7" fmla="*/ 255 h 300"/>
                <a:gd name="T8" fmla="*/ 246 w 284"/>
                <a:gd name="T9" fmla="*/ 260 h 300"/>
                <a:gd name="T10" fmla="*/ 241 w 284"/>
                <a:gd name="T11" fmla="*/ 260 h 300"/>
                <a:gd name="T12" fmla="*/ 241 w 284"/>
                <a:gd name="T13" fmla="*/ 255 h 300"/>
                <a:gd name="T14" fmla="*/ 225 w 284"/>
                <a:gd name="T15" fmla="*/ 255 h 300"/>
                <a:gd name="T16" fmla="*/ 213 w 284"/>
                <a:gd name="T17" fmla="*/ 243 h 300"/>
                <a:gd name="T18" fmla="*/ 170 w 284"/>
                <a:gd name="T19" fmla="*/ 260 h 300"/>
                <a:gd name="T20" fmla="*/ 144 w 284"/>
                <a:gd name="T21" fmla="*/ 255 h 300"/>
                <a:gd name="T22" fmla="*/ 139 w 284"/>
                <a:gd name="T23" fmla="*/ 267 h 300"/>
                <a:gd name="T24" fmla="*/ 156 w 284"/>
                <a:gd name="T25" fmla="*/ 283 h 300"/>
                <a:gd name="T26" fmla="*/ 156 w 284"/>
                <a:gd name="T27" fmla="*/ 293 h 300"/>
                <a:gd name="T28" fmla="*/ 144 w 284"/>
                <a:gd name="T29" fmla="*/ 300 h 300"/>
                <a:gd name="T30" fmla="*/ 118 w 284"/>
                <a:gd name="T31" fmla="*/ 293 h 300"/>
                <a:gd name="T32" fmla="*/ 102 w 284"/>
                <a:gd name="T33" fmla="*/ 283 h 300"/>
                <a:gd name="T34" fmla="*/ 64 w 284"/>
                <a:gd name="T35" fmla="*/ 227 h 300"/>
                <a:gd name="T36" fmla="*/ 54 w 284"/>
                <a:gd name="T37" fmla="*/ 189 h 300"/>
                <a:gd name="T38" fmla="*/ 33 w 284"/>
                <a:gd name="T39" fmla="*/ 189 h 300"/>
                <a:gd name="T40" fmla="*/ 33 w 284"/>
                <a:gd name="T41" fmla="*/ 182 h 300"/>
                <a:gd name="T42" fmla="*/ 0 w 284"/>
                <a:gd name="T43" fmla="*/ 144 h 300"/>
                <a:gd name="T44" fmla="*/ 0 w 284"/>
                <a:gd name="T45" fmla="*/ 132 h 300"/>
                <a:gd name="T46" fmla="*/ 17 w 284"/>
                <a:gd name="T47" fmla="*/ 94 h 300"/>
                <a:gd name="T48" fmla="*/ 12 w 284"/>
                <a:gd name="T49" fmla="*/ 87 h 300"/>
                <a:gd name="T50" fmla="*/ 33 w 284"/>
                <a:gd name="T51" fmla="*/ 71 h 300"/>
                <a:gd name="T52" fmla="*/ 54 w 284"/>
                <a:gd name="T53" fmla="*/ 71 h 300"/>
                <a:gd name="T54" fmla="*/ 54 w 284"/>
                <a:gd name="T55" fmla="*/ 61 h 300"/>
                <a:gd name="T56" fmla="*/ 64 w 284"/>
                <a:gd name="T57" fmla="*/ 61 h 300"/>
                <a:gd name="T58" fmla="*/ 54 w 284"/>
                <a:gd name="T59" fmla="*/ 43 h 300"/>
                <a:gd name="T60" fmla="*/ 64 w 284"/>
                <a:gd name="T61" fmla="*/ 38 h 300"/>
                <a:gd name="T62" fmla="*/ 64 w 284"/>
                <a:gd name="T63" fmla="*/ 33 h 300"/>
                <a:gd name="T64" fmla="*/ 69 w 284"/>
                <a:gd name="T65" fmla="*/ 5 h 300"/>
                <a:gd name="T66" fmla="*/ 80 w 284"/>
                <a:gd name="T67" fmla="*/ 0 h 300"/>
                <a:gd name="T68" fmla="*/ 144 w 284"/>
                <a:gd name="T69" fmla="*/ 17 h 300"/>
                <a:gd name="T70" fmla="*/ 156 w 284"/>
                <a:gd name="T71" fmla="*/ 17 h 300"/>
                <a:gd name="T72" fmla="*/ 156 w 284"/>
                <a:gd name="T73" fmla="*/ 21 h 300"/>
                <a:gd name="T74" fmla="*/ 156 w 284"/>
                <a:gd name="T75" fmla="*/ 5 h 300"/>
                <a:gd name="T76" fmla="*/ 156 w 284"/>
                <a:gd name="T77" fmla="*/ 0 h 300"/>
                <a:gd name="T78" fmla="*/ 191 w 284"/>
                <a:gd name="T79" fmla="*/ 0 h 300"/>
                <a:gd name="T80" fmla="*/ 208 w 284"/>
                <a:gd name="T81" fmla="*/ 5 h 300"/>
                <a:gd name="T82" fmla="*/ 208 w 284"/>
                <a:gd name="T83" fmla="*/ 17 h 300"/>
                <a:gd name="T84" fmla="*/ 225 w 284"/>
                <a:gd name="T85" fmla="*/ 5 h 300"/>
                <a:gd name="T86" fmla="*/ 208 w 284"/>
                <a:gd name="T87" fmla="*/ 0 h 300"/>
                <a:gd name="T88" fmla="*/ 213 w 284"/>
                <a:gd name="T89" fmla="*/ 0 h 300"/>
                <a:gd name="T90" fmla="*/ 284 w 284"/>
                <a:gd name="T91" fmla="*/ 17 h 300"/>
                <a:gd name="T92" fmla="*/ 284 w 284"/>
                <a:gd name="T93" fmla="*/ 33 h 300"/>
                <a:gd name="T94" fmla="*/ 279 w 284"/>
                <a:gd name="T95" fmla="*/ 43 h 300"/>
                <a:gd name="T96" fmla="*/ 250 w 284"/>
                <a:gd name="T97" fmla="*/ 71 h 300"/>
                <a:gd name="T98" fmla="*/ 250 w 284"/>
                <a:gd name="T99" fmla="*/ 87 h 300"/>
                <a:gd name="T100" fmla="*/ 262 w 284"/>
                <a:gd name="T101" fmla="*/ 144 h 300"/>
                <a:gd name="T102" fmla="*/ 284 w 284"/>
                <a:gd name="T103" fmla="*/ 172 h 300"/>
                <a:gd name="T104" fmla="*/ 279 w 284"/>
                <a:gd name="T105" fmla="*/ 198 h 300"/>
                <a:gd name="T106" fmla="*/ 279 w 284"/>
                <a:gd name="T107" fmla="*/ 198 h 300"/>
                <a:gd name="T108" fmla="*/ 279 w 284"/>
                <a:gd name="T109" fmla="*/ 19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4" h="300">
                  <a:moveTo>
                    <a:pt x="279" y="198"/>
                  </a:moveTo>
                  <a:lnTo>
                    <a:pt x="267" y="206"/>
                  </a:lnTo>
                  <a:lnTo>
                    <a:pt x="267" y="227"/>
                  </a:lnTo>
                  <a:lnTo>
                    <a:pt x="262" y="255"/>
                  </a:lnTo>
                  <a:lnTo>
                    <a:pt x="246" y="260"/>
                  </a:lnTo>
                  <a:lnTo>
                    <a:pt x="241" y="260"/>
                  </a:lnTo>
                  <a:lnTo>
                    <a:pt x="241" y="255"/>
                  </a:lnTo>
                  <a:lnTo>
                    <a:pt x="225" y="255"/>
                  </a:lnTo>
                  <a:lnTo>
                    <a:pt x="213" y="243"/>
                  </a:lnTo>
                  <a:lnTo>
                    <a:pt x="170" y="260"/>
                  </a:lnTo>
                  <a:lnTo>
                    <a:pt x="144" y="255"/>
                  </a:lnTo>
                  <a:lnTo>
                    <a:pt x="139" y="267"/>
                  </a:lnTo>
                  <a:lnTo>
                    <a:pt x="156" y="283"/>
                  </a:lnTo>
                  <a:lnTo>
                    <a:pt x="156" y="293"/>
                  </a:lnTo>
                  <a:lnTo>
                    <a:pt x="144" y="300"/>
                  </a:lnTo>
                  <a:lnTo>
                    <a:pt x="118" y="293"/>
                  </a:lnTo>
                  <a:lnTo>
                    <a:pt x="102" y="283"/>
                  </a:lnTo>
                  <a:lnTo>
                    <a:pt x="64" y="227"/>
                  </a:lnTo>
                  <a:lnTo>
                    <a:pt x="54" y="189"/>
                  </a:lnTo>
                  <a:lnTo>
                    <a:pt x="33" y="189"/>
                  </a:lnTo>
                  <a:lnTo>
                    <a:pt x="33" y="182"/>
                  </a:lnTo>
                  <a:lnTo>
                    <a:pt x="0" y="144"/>
                  </a:lnTo>
                  <a:lnTo>
                    <a:pt x="0" y="132"/>
                  </a:lnTo>
                  <a:lnTo>
                    <a:pt x="17" y="94"/>
                  </a:lnTo>
                  <a:lnTo>
                    <a:pt x="12" y="87"/>
                  </a:lnTo>
                  <a:lnTo>
                    <a:pt x="33" y="71"/>
                  </a:lnTo>
                  <a:lnTo>
                    <a:pt x="54" y="71"/>
                  </a:lnTo>
                  <a:lnTo>
                    <a:pt x="54" y="61"/>
                  </a:lnTo>
                  <a:lnTo>
                    <a:pt x="64" y="61"/>
                  </a:lnTo>
                  <a:lnTo>
                    <a:pt x="54" y="43"/>
                  </a:lnTo>
                  <a:lnTo>
                    <a:pt x="64" y="38"/>
                  </a:lnTo>
                  <a:lnTo>
                    <a:pt x="64" y="33"/>
                  </a:lnTo>
                  <a:lnTo>
                    <a:pt x="69" y="5"/>
                  </a:lnTo>
                  <a:lnTo>
                    <a:pt x="80" y="0"/>
                  </a:lnTo>
                  <a:lnTo>
                    <a:pt x="144" y="17"/>
                  </a:lnTo>
                  <a:lnTo>
                    <a:pt x="156" y="17"/>
                  </a:lnTo>
                  <a:lnTo>
                    <a:pt x="156" y="21"/>
                  </a:lnTo>
                  <a:lnTo>
                    <a:pt x="156" y="5"/>
                  </a:lnTo>
                  <a:lnTo>
                    <a:pt x="156" y="0"/>
                  </a:lnTo>
                  <a:lnTo>
                    <a:pt x="191" y="0"/>
                  </a:lnTo>
                  <a:lnTo>
                    <a:pt x="208" y="5"/>
                  </a:lnTo>
                  <a:lnTo>
                    <a:pt x="208" y="17"/>
                  </a:lnTo>
                  <a:lnTo>
                    <a:pt x="225" y="5"/>
                  </a:lnTo>
                  <a:lnTo>
                    <a:pt x="208" y="0"/>
                  </a:lnTo>
                  <a:lnTo>
                    <a:pt x="213" y="0"/>
                  </a:lnTo>
                  <a:lnTo>
                    <a:pt x="284" y="17"/>
                  </a:lnTo>
                  <a:lnTo>
                    <a:pt x="284" y="33"/>
                  </a:lnTo>
                  <a:lnTo>
                    <a:pt x="279" y="43"/>
                  </a:lnTo>
                  <a:lnTo>
                    <a:pt x="250" y="71"/>
                  </a:lnTo>
                  <a:lnTo>
                    <a:pt x="250" y="87"/>
                  </a:lnTo>
                  <a:lnTo>
                    <a:pt x="262" y="144"/>
                  </a:lnTo>
                  <a:lnTo>
                    <a:pt x="284" y="172"/>
                  </a:lnTo>
                  <a:lnTo>
                    <a:pt x="279" y="198"/>
                  </a:lnTo>
                  <a:lnTo>
                    <a:pt x="279" y="198"/>
                  </a:lnTo>
                  <a:lnTo>
                    <a:pt x="279" y="198"/>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5" name="Freeform 526">
              <a:extLst>
                <a:ext uri="{FF2B5EF4-FFF2-40B4-BE49-F238E27FC236}">
                  <a16:creationId xmlns:a16="http://schemas.microsoft.com/office/drawing/2014/main" id="{45EEF3F4-E658-43A2-8C36-EE9EC44BB93C}"/>
                </a:ext>
              </a:extLst>
            </p:cNvPr>
            <p:cNvSpPr>
              <a:spLocks noEditPoints="1"/>
            </p:cNvSpPr>
            <p:nvPr/>
          </p:nvSpPr>
          <p:spPr bwMode="gray">
            <a:xfrm>
              <a:off x="12156449" y="3822130"/>
              <a:ext cx="22256" cy="7201"/>
            </a:xfrm>
            <a:custGeom>
              <a:avLst/>
              <a:gdLst>
                <a:gd name="T0" fmla="*/ 33 w 68"/>
                <a:gd name="T1" fmla="*/ 22 h 22"/>
                <a:gd name="T2" fmla="*/ 5 w 68"/>
                <a:gd name="T3" fmla="*/ 7 h 22"/>
                <a:gd name="T4" fmla="*/ 0 w 68"/>
                <a:gd name="T5" fmla="*/ 0 h 22"/>
                <a:gd name="T6" fmla="*/ 33 w 68"/>
                <a:gd name="T7" fmla="*/ 22 h 22"/>
                <a:gd name="T8" fmla="*/ 33 w 68"/>
                <a:gd name="T9" fmla="*/ 22 h 22"/>
                <a:gd name="T10" fmla="*/ 33 w 68"/>
                <a:gd name="T11" fmla="*/ 22 h 22"/>
                <a:gd name="T12" fmla="*/ 68 w 68"/>
                <a:gd name="T13" fmla="*/ 22 h 22"/>
                <a:gd name="T14" fmla="*/ 54 w 68"/>
                <a:gd name="T15" fmla="*/ 0 h 22"/>
                <a:gd name="T16" fmla="*/ 68 w 68"/>
                <a:gd name="T17" fmla="*/ 7 h 22"/>
                <a:gd name="T18" fmla="*/ 68 w 68"/>
                <a:gd name="T19" fmla="*/ 22 h 22"/>
                <a:gd name="T20" fmla="*/ 68 w 68"/>
                <a:gd name="T21" fmla="*/ 22 h 22"/>
                <a:gd name="T22" fmla="*/ 68 w 68"/>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22">
                  <a:moveTo>
                    <a:pt x="33" y="22"/>
                  </a:moveTo>
                  <a:lnTo>
                    <a:pt x="5" y="7"/>
                  </a:lnTo>
                  <a:lnTo>
                    <a:pt x="0" y="0"/>
                  </a:lnTo>
                  <a:lnTo>
                    <a:pt x="33" y="22"/>
                  </a:lnTo>
                  <a:lnTo>
                    <a:pt x="33" y="22"/>
                  </a:lnTo>
                  <a:lnTo>
                    <a:pt x="33" y="22"/>
                  </a:lnTo>
                  <a:close/>
                  <a:moveTo>
                    <a:pt x="68" y="22"/>
                  </a:moveTo>
                  <a:lnTo>
                    <a:pt x="54" y="0"/>
                  </a:lnTo>
                  <a:lnTo>
                    <a:pt x="68" y="7"/>
                  </a:lnTo>
                  <a:lnTo>
                    <a:pt x="68" y="22"/>
                  </a:lnTo>
                  <a:lnTo>
                    <a:pt x="68" y="22"/>
                  </a:lnTo>
                  <a:lnTo>
                    <a:pt x="68" y="22"/>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6" name="Freeform 527">
              <a:extLst>
                <a:ext uri="{FF2B5EF4-FFF2-40B4-BE49-F238E27FC236}">
                  <a16:creationId xmlns:a16="http://schemas.microsoft.com/office/drawing/2014/main" id="{5D4A7EB9-7EF4-47F0-B55A-CD285EC138A9}"/>
                </a:ext>
              </a:extLst>
            </p:cNvPr>
            <p:cNvSpPr>
              <a:spLocks/>
            </p:cNvSpPr>
            <p:nvPr/>
          </p:nvSpPr>
          <p:spPr bwMode="gray">
            <a:xfrm>
              <a:off x="11732600" y="3756671"/>
              <a:ext cx="102117" cy="103426"/>
            </a:xfrm>
            <a:custGeom>
              <a:avLst/>
              <a:gdLst>
                <a:gd name="T0" fmla="*/ 22 w 312"/>
                <a:gd name="T1" fmla="*/ 151 h 316"/>
                <a:gd name="T2" fmla="*/ 43 w 312"/>
                <a:gd name="T3" fmla="*/ 151 h 316"/>
                <a:gd name="T4" fmla="*/ 52 w 312"/>
                <a:gd name="T5" fmla="*/ 139 h 316"/>
                <a:gd name="T6" fmla="*/ 69 w 312"/>
                <a:gd name="T7" fmla="*/ 127 h 316"/>
                <a:gd name="T8" fmla="*/ 60 w 312"/>
                <a:gd name="T9" fmla="*/ 94 h 316"/>
                <a:gd name="T10" fmla="*/ 90 w 312"/>
                <a:gd name="T11" fmla="*/ 94 h 316"/>
                <a:gd name="T12" fmla="*/ 114 w 312"/>
                <a:gd name="T13" fmla="*/ 73 h 316"/>
                <a:gd name="T14" fmla="*/ 140 w 312"/>
                <a:gd name="T15" fmla="*/ 89 h 316"/>
                <a:gd name="T16" fmla="*/ 140 w 312"/>
                <a:gd name="T17" fmla="*/ 82 h 316"/>
                <a:gd name="T18" fmla="*/ 178 w 312"/>
                <a:gd name="T19" fmla="*/ 49 h 316"/>
                <a:gd name="T20" fmla="*/ 178 w 312"/>
                <a:gd name="T21" fmla="*/ 49 h 316"/>
                <a:gd name="T22" fmla="*/ 194 w 312"/>
                <a:gd name="T23" fmla="*/ 16 h 316"/>
                <a:gd name="T24" fmla="*/ 220 w 312"/>
                <a:gd name="T25" fmla="*/ 33 h 316"/>
                <a:gd name="T26" fmla="*/ 270 w 312"/>
                <a:gd name="T27" fmla="*/ 16 h 316"/>
                <a:gd name="T28" fmla="*/ 291 w 312"/>
                <a:gd name="T29" fmla="*/ 0 h 316"/>
                <a:gd name="T30" fmla="*/ 312 w 312"/>
                <a:gd name="T31" fmla="*/ 0 h 316"/>
                <a:gd name="T32" fmla="*/ 303 w 312"/>
                <a:gd name="T33" fmla="*/ 16 h 316"/>
                <a:gd name="T34" fmla="*/ 308 w 312"/>
                <a:gd name="T35" fmla="*/ 28 h 316"/>
                <a:gd name="T36" fmla="*/ 312 w 312"/>
                <a:gd name="T37" fmla="*/ 54 h 316"/>
                <a:gd name="T38" fmla="*/ 303 w 312"/>
                <a:gd name="T39" fmla="*/ 82 h 316"/>
                <a:gd name="T40" fmla="*/ 286 w 312"/>
                <a:gd name="T41" fmla="*/ 122 h 316"/>
                <a:gd name="T42" fmla="*/ 291 w 312"/>
                <a:gd name="T43" fmla="*/ 193 h 316"/>
                <a:gd name="T44" fmla="*/ 286 w 312"/>
                <a:gd name="T45" fmla="*/ 193 h 316"/>
                <a:gd name="T46" fmla="*/ 291 w 312"/>
                <a:gd name="T47" fmla="*/ 167 h 316"/>
                <a:gd name="T48" fmla="*/ 286 w 312"/>
                <a:gd name="T49" fmla="*/ 160 h 316"/>
                <a:gd name="T50" fmla="*/ 286 w 312"/>
                <a:gd name="T51" fmla="*/ 177 h 316"/>
                <a:gd name="T52" fmla="*/ 274 w 312"/>
                <a:gd name="T53" fmla="*/ 193 h 316"/>
                <a:gd name="T54" fmla="*/ 274 w 312"/>
                <a:gd name="T55" fmla="*/ 222 h 316"/>
                <a:gd name="T56" fmla="*/ 270 w 312"/>
                <a:gd name="T57" fmla="*/ 233 h 316"/>
                <a:gd name="T58" fmla="*/ 270 w 312"/>
                <a:gd name="T59" fmla="*/ 238 h 316"/>
                <a:gd name="T60" fmla="*/ 274 w 312"/>
                <a:gd name="T61" fmla="*/ 233 h 316"/>
                <a:gd name="T62" fmla="*/ 286 w 312"/>
                <a:gd name="T63" fmla="*/ 255 h 316"/>
                <a:gd name="T64" fmla="*/ 270 w 312"/>
                <a:gd name="T65" fmla="*/ 271 h 316"/>
                <a:gd name="T66" fmla="*/ 270 w 312"/>
                <a:gd name="T67" fmla="*/ 290 h 316"/>
                <a:gd name="T68" fmla="*/ 286 w 312"/>
                <a:gd name="T69" fmla="*/ 307 h 316"/>
                <a:gd name="T70" fmla="*/ 274 w 312"/>
                <a:gd name="T71" fmla="*/ 311 h 316"/>
                <a:gd name="T72" fmla="*/ 258 w 312"/>
                <a:gd name="T73" fmla="*/ 316 h 316"/>
                <a:gd name="T74" fmla="*/ 204 w 312"/>
                <a:gd name="T75" fmla="*/ 295 h 316"/>
                <a:gd name="T76" fmla="*/ 194 w 312"/>
                <a:gd name="T77" fmla="*/ 307 h 316"/>
                <a:gd name="T78" fmla="*/ 145 w 312"/>
                <a:gd name="T79" fmla="*/ 278 h 316"/>
                <a:gd name="T80" fmla="*/ 140 w 312"/>
                <a:gd name="T81" fmla="*/ 295 h 316"/>
                <a:gd name="T82" fmla="*/ 86 w 312"/>
                <a:gd name="T83" fmla="*/ 238 h 316"/>
                <a:gd name="T84" fmla="*/ 60 w 312"/>
                <a:gd name="T85" fmla="*/ 205 h 316"/>
                <a:gd name="T86" fmla="*/ 0 w 312"/>
                <a:gd name="T87" fmla="*/ 160 h 316"/>
                <a:gd name="T88" fmla="*/ 5 w 312"/>
                <a:gd name="T89" fmla="*/ 144 h 316"/>
                <a:gd name="T90" fmla="*/ 22 w 312"/>
                <a:gd name="T91" fmla="*/ 160 h 316"/>
                <a:gd name="T92" fmla="*/ 22 w 312"/>
                <a:gd name="T93" fmla="*/ 160 h 316"/>
                <a:gd name="T94" fmla="*/ 22 w 312"/>
                <a:gd name="T95" fmla="*/ 151 h 316"/>
                <a:gd name="T96" fmla="*/ 22 w 312"/>
                <a:gd name="T97" fmla="*/ 151 h 316"/>
                <a:gd name="T98" fmla="*/ 22 w 312"/>
                <a:gd name="T99" fmla="*/ 15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2" h="316">
                  <a:moveTo>
                    <a:pt x="22" y="151"/>
                  </a:moveTo>
                  <a:lnTo>
                    <a:pt x="43" y="151"/>
                  </a:lnTo>
                  <a:lnTo>
                    <a:pt x="52" y="139"/>
                  </a:lnTo>
                  <a:lnTo>
                    <a:pt x="69" y="127"/>
                  </a:lnTo>
                  <a:lnTo>
                    <a:pt x="60" y="94"/>
                  </a:lnTo>
                  <a:lnTo>
                    <a:pt x="90" y="94"/>
                  </a:lnTo>
                  <a:lnTo>
                    <a:pt x="114" y="73"/>
                  </a:lnTo>
                  <a:lnTo>
                    <a:pt x="140" y="89"/>
                  </a:lnTo>
                  <a:lnTo>
                    <a:pt x="140" y="82"/>
                  </a:lnTo>
                  <a:lnTo>
                    <a:pt x="178" y="49"/>
                  </a:lnTo>
                  <a:lnTo>
                    <a:pt x="178" y="49"/>
                  </a:lnTo>
                  <a:lnTo>
                    <a:pt x="194" y="16"/>
                  </a:lnTo>
                  <a:lnTo>
                    <a:pt x="220" y="33"/>
                  </a:lnTo>
                  <a:lnTo>
                    <a:pt x="270" y="16"/>
                  </a:lnTo>
                  <a:lnTo>
                    <a:pt x="291" y="0"/>
                  </a:lnTo>
                  <a:lnTo>
                    <a:pt x="312" y="0"/>
                  </a:lnTo>
                  <a:lnTo>
                    <a:pt x="303" y="16"/>
                  </a:lnTo>
                  <a:lnTo>
                    <a:pt x="308" y="28"/>
                  </a:lnTo>
                  <a:lnTo>
                    <a:pt x="312" y="54"/>
                  </a:lnTo>
                  <a:lnTo>
                    <a:pt x="303" y="82"/>
                  </a:lnTo>
                  <a:lnTo>
                    <a:pt x="286" y="122"/>
                  </a:lnTo>
                  <a:lnTo>
                    <a:pt x="291" y="193"/>
                  </a:lnTo>
                  <a:lnTo>
                    <a:pt x="286" y="193"/>
                  </a:lnTo>
                  <a:lnTo>
                    <a:pt x="291" y="167"/>
                  </a:lnTo>
                  <a:lnTo>
                    <a:pt x="286" y="160"/>
                  </a:lnTo>
                  <a:lnTo>
                    <a:pt x="286" y="177"/>
                  </a:lnTo>
                  <a:lnTo>
                    <a:pt x="274" y="193"/>
                  </a:lnTo>
                  <a:lnTo>
                    <a:pt x="274" y="222"/>
                  </a:lnTo>
                  <a:lnTo>
                    <a:pt x="270" y="233"/>
                  </a:lnTo>
                  <a:lnTo>
                    <a:pt x="270" y="238"/>
                  </a:lnTo>
                  <a:lnTo>
                    <a:pt x="274" y="233"/>
                  </a:lnTo>
                  <a:lnTo>
                    <a:pt x="286" y="255"/>
                  </a:lnTo>
                  <a:lnTo>
                    <a:pt x="270" y="271"/>
                  </a:lnTo>
                  <a:lnTo>
                    <a:pt x="270" y="290"/>
                  </a:lnTo>
                  <a:lnTo>
                    <a:pt x="286" y="307"/>
                  </a:lnTo>
                  <a:lnTo>
                    <a:pt x="274" y="311"/>
                  </a:lnTo>
                  <a:lnTo>
                    <a:pt x="258" y="316"/>
                  </a:lnTo>
                  <a:lnTo>
                    <a:pt x="204" y="295"/>
                  </a:lnTo>
                  <a:lnTo>
                    <a:pt x="194" y="307"/>
                  </a:lnTo>
                  <a:lnTo>
                    <a:pt x="145" y="278"/>
                  </a:lnTo>
                  <a:lnTo>
                    <a:pt x="140" y="295"/>
                  </a:lnTo>
                  <a:lnTo>
                    <a:pt x="86" y="238"/>
                  </a:lnTo>
                  <a:lnTo>
                    <a:pt x="60" y="205"/>
                  </a:lnTo>
                  <a:lnTo>
                    <a:pt x="0" y="160"/>
                  </a:lnTo>
                  <a:lnTo>
                    <a:pt x="5" y="144"/>
                  </a:lnTo>
                  <a:lnTo>
                    <a:pt x="22" y="160"/>
                  </a:lnTo>
                  <a:lnTo>
                    <a:pt x="22" y="160"/>
                  </a:lnTo>
                  <a:lnTo>
                    <a:pt x="22" y="151"/>
                  </a:lnTo>
                  <a:lnTo>
                    <a:pt x="22" y="151"/>
                  </a:lnTo>
                  <a:lnTo>
                    <a:pt x="22" y="151"/>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7" name="Freeform 528">
              <a:extLst>
                <a:ext uri="{FF2B5EF4-FFF2-40B4-BE49-F238E27FC236}">
                  <a16:creationId xmlns:a16="http://schemas.microsoft.com/office/drawing/2014/main" id="{DE606A56-DBE0-432C-A322-A26C897BA70A}"/>
                </a:ext>
              </a:extLst>
            </p:cNvPr>
            <p:cNvSpPr>
              <a:spLocks noEditPoints="1"/>
            </p:cNvSpPr>
            <p:nvPr/>
          </p:nvSpPr>
          <p:spPr bwMode="gray">
            <a:xfrm>
              <a:off x="9659176" y="4824312"/>
              <a:ext cx="8191253" cy="658521"/>
            </a:xfrm>
            <a:custGeom>
              <a:avLst/>
              <a:gdLst>
                <a:gd name="T0" fmla="*/ 5 w 25027"/>
                <a:gd name="T1" fmla="*/ 4 h 2012"/>
                <a:gd name="T2" fmla="*/ 24914 w 25027"/>
                <a:gd name="T3" fmla="*/ 708 h 2012"/>
                <a:gd name="T4" fmla="*/ 24990 w 25027"/>
                <a:gd name="T5" fmla="*/ 708 h 2012"/>
                <a:gd name="T6" fmla="*/ 24956 w 25027"/>
                <a:gd name="T7" fmla="*/ 815 h 2012"/>
                <a:gd name="T8" fmla="*/ 24897 w 25027"/>
                <a:gd name="T9" fmla="*/ 848 h 2012"/>
                <a:gd name="T10" fmla="*/ 24772 w 25027"/>
                <a:gd name="T11" fmla="*/ 997 h 2012"/>
                <a:gd name="T12" fmla="*/ 24772 w 25027"/>
                <a:gd name="T13" fmla="*/ 902 h 2012"/>
                <a:gd name="T14" fmla="*/ 24671 w 25027"/>
                <a:gd name="T15" fmla="*/ 815 h 2012"/>
                <a:gd name="T16" fmla="*/ 24751 w 25027"/>
                <a:gd name="T17" fmla="*/ 704 h 2012"/>
                <a:gd name="T18" fmla="*/ 24742 w 25027"/>
                <a:gd name="T19" fmla="*/ 647 h 2012"/>
                <a:gd name="T20" fmla="*/ 24742 w 25027"/>
                <a:gd name="T21" fmla="*/ 614 h 2012"/>
                <a:gd name="T22" fmla="*/ 24704 w 25027"/>
                <a:gd name="T23" fmla="*/ 569 h 2012"/>
                <a:gd name="T24" fmla="*/ 24704 w 25027"/>
                <a:gd name="T25" fmla="*/ 552 h 2012"/>
                <a:gd name="T26" fmla="*/ 24704 w 25027"/>
                <a:gd name="T27" fmla="*/ 569 h 2012"/>
                <a:gd name="T28" fmla="*/ 24659 w 25027"/>
                <a:gd name="T29" fmla="*/ 486 h 2012"/>
                <a:gd name="T30" fmla="*/ 24595 w 25027"/>
                <a:gd name="T31" fmla="*/ 408 h 2012"/>
                <a:gd name="T32" fmla="*/ 24633 w 25027"/>
                <a:gd name="T33" fmla="*/ 458 h 2012"/>
                <a:gd name="T34" fmla="*/ 24697 w 25027"/>
                <a:gd name="T35" fmla="*/ 470 h 2012"/>
                <a:gd name="T36" fmla="*/ 24725 w 25027"/>
                <a:gd name="T37" fmla="*/ 526 h 2012"/>
                <a:gd name="T38" fmla="*/ 24734 w 25027"/>
                <a:gd name="T39" fmla="*/ 581 h 2012"/>
                <a:gd name="T40" fmla="*/ 24789 w 25027"/>
                <a:gd name="T41" fmla="*/ 614 h 2012"/>
                <a:gd name="T42" fmla="*/ 24805 w 25027"/>
                <a:gd name="T43" fmla="*/ 609 h 2012"/>
                <a:gd name="T44" fmla="*/ 24779 w 25027"/>
                <a:gd name="T45" fmla="*/ 560 h 2012"/>
                <a:gd name="T46" fmla="*/ 24768 w 25027"/>
                <a:gd name="T47" fmla="*/ 609 h 2012"/>
                <a:gd name="T48" fmla="*/ 24486 w 25027"/>
                <a:gd name="T49" fmla="*/ 1306 h 2012"/>
                <a:gd name="T50" fmla="*/ 24432 w 25027"/>
                <a:gd name="T51" fmla="*/ 1400 h 2012"/>
                <a:gd name="T52" fmla="*/ 24326 w 25027"/>
                <a:gd name="T53" fmla="*/ 1462 h 2012"/>
                <a:gd name="T54" fmla="*/ 24293 w 25027"/>
                <a:gd name="T55" fmla="*/ 1457 h 2012"/>
                <a:gd name="T56" fmla="*/ 24250 w 25027"/>
                <a:gd name="T57" fmla="*/ 1417 h 2012"/>
                <a:gd name="T58" fmla="*/ 24175 w 25027"/>
                <a:gd name="T59" fmla="*/ 1408 h 2012"/>
                <a:gd name="T60" fmla="*/ 24201 w 25027"/>
                <a:gd name="T61" fmla="*/ 1351 h 2012"/>
                <a:gd name="T62" fmla="*/ 24217 w 25027"/>
                <a:gd name="T63" fmla="*/ 1334 h 2012"/>
                <a:gd name="T64" fmla="*/ 24281 w 25027"/>
                <a:gd name="T65" fmla="*/ 1252 h 2012"/>
                <a:gd name="T66" fmla="*/ 24465 w 25027"/>
                <a:gd name="T67" fmla="*/ 1124 h 2012"/>
                <a:gd name="T68" fmla="*/ 24590 w 25027"/>
                <a:gd name="T69" fmla="*/ 926 h 2012"/>
                <a:gd name="T70" fmla="*/ 24616 w 25027"/>
                <a:gd name="T71" fmla="*/ 942 h 2012"/>
                <a:gd name="T72" fmla="*/ 24682 w 25027"/>
                <a:gd name="T73" fmla="*/ 963 h 2012"/>
                <a:gd name="T74" fmla="*/ 24704 w 25027"/>
                <a:gd name="T75" fmla="*/ 980 h 2012"/>
                <a:gd name="T76" fmla="*/ 24659 w 25027"/>
                <a:gd name="T77" fmla="*/ 1091 h 2012"/>
                <a:gd name="T78" fmla="*/ 24616 w 25027"/>
                <a:gd name="T79" fmla="*/ 1207 h 2012"/>
                <a:gd name="T80" fmla="*/ 24508 w 25027"/>
                <a:gd name="T81" fmla="*/ 1235 h 2012"/>
                <a:gd name="T82" fmla="*/ 24671 w 25027"/>
                <a:gd name="T83" fmla="*/ 942 h 2012"/>
                <a:gd name="T84" fmla="*/ 24704 w 25027"/>
                <a:gd name="T85" fmla="*/ 980 h 2012"/>
                <a:gd name="T86" fmla="*/ 92 w 25027"/>
                <a:gd name="T87" fmla="*/ 1223 h 2012"/>
                <a:gd name="T88" fmla="*/ 97 w 25027"/>
                <a:gd name="T89" fmla="*/ 1202 h 2012"/>
                <a:gd name="T90" fmla="*/ 125 w 25027"/>
                <a:gd name="T91" fmla="*/ 1252 h 2012"/>
                <a:gd name="T92" fmla="*/ 24196 w 25027"/>
                <a:gd name="T93" fmla="*/ 1318 h 2012"/>
                <a:gd name="T94" fmla="*/ 24179 w 25027"/>
                <a:gd name="T95" fmla="*/ 1367 h 2012"/>
                <a:gd name="T96" fmla="*/ 24179 w 25027"/>
                <a:gd name="T97" fmla="*/ 1367 h 2012"/>
                <a:gd name="T98" fmla="*/ 24255 w 25027"/>
                <a:gd name="T99" fmla="*/ 1511 h 2012"/>
                <a:gd name="T100" fmla="*/ 24250 w 25027"/>
                <a:gd name="T101" fmla="*/ 1462 h 2012"/>
                <a:gd name="T102" fmla="*/ 25027 w 25027"/>
                <a:gd name="T103" fmla="*/ 1734 h 2012"/>
                <a:gd name="T104" fmla="*/ 24142 w 25027"/>
                <a:gd name="T105" fmla="*/ 1849 h 2012"/>
                <a:gd name="T106" fmla="*/ 24146 w 25027"/>
                <a:gd name="T107" fmla="*/ 1816 h 2012"/>
                <a:gd name="T108" fmla="*/ 24142 w 25027"/>
                <a:gd name="T109" fmla="*/ 1849 h 2012"/>
                <a:gd name="T110" fmla="*/ 24347 w 25027"/>
                <a:gd name="T111" fmla="*/ 2000 h 2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027" h="2012">
                  <a:moveTo>
                    <a:pt x="5" y="4"/>
                  </a:moveTo>
                  <a:lnTo>
                    <a:pt x="0" y="0"/>
                  </a:lnTo>
                  <a:lnTo>
                    <a:pt x="5" y="4"/>
                  </a:lnTo>
                  <a:lnTo>
                    <a:pt x="5" y="4"/>
                  </a:lnTo>
                  <a:lnTo>
                    <a:pt x="5" y="4"/>
                  </a:lnTo>
                  <a:lnTo>
                    <a:pt x="5" y="4"/>
                  </a:lnTo>
                  <a:close/>
                  <a:moveTo>
                    <a:pt x="24822" y="647"/>
                  </a:moveTo>
                  <a:lnTo>
                    <a:pt x="24827" y="663"/>
                  </a:lnTo>
                  <a:lnTo>
                    <a:pt x="24843" y="680"/>
                  </a:lnTo>
                  <a:lnTo>
                    <a:pt x="24827" y="671"/>
                  </a:lnTo>
                  <a:lnTo>
                    <a:pt x="24827" y="680"/>
                  </a:lnTo>
                  <a:lnTo>
                    <a:pt x="24914" y="708"/>
                  </a:lnTo>
                  <a:lnTo>
                    <a:pt x="24930" y="704"/>
                  </a:lnTo>
                  <a:lnTo>
                    <a:pt x="24952" y="680"/>
                  </a:lnTo>
                  <a:lnTo>
                    <a:pt x="24968" y="671"/>
                  </a:lnTo>
                  <a:lnTo>
                    <a:pt x="24990" y="671"/>
                  </a:lnTo>
                  <a:lnTo>
                    <a:pt x="25006" y="680"/>
                  </a:lnTo>
                  <a:lnTo>
                    <a:pt x="24990" y="708"/>
                  </a:lnTo>
                  <a:lnTo>
                    <a:pt x="24990" y="746"/>
                  </a:lnTo>
                  <a:lnTo>
                    <a:pt x="24973" y="763"/>
                  </a:lnTo>
                  <a:lnTo>
                    <a:pt x="24968" y="763"/>
                  </a:lnTo>
                  <a:lnTo>
                    <a:pt x="24956" y="798"/>
                  </a:lnTo>
                  <a:lnTo>
                    <a:pt x="24968" y="798"/>
                  </a:lnTo>
                  <a:lnTo>
                    <a:pt x="24956" y="815"/>
                  </a:lnTo>
                  <a:lnTo>
                    <a:pt x="24956" y="815"/>
                  </a:lnTo>
                  <a:lnTo>
                    <a:pt x="24956" y="798"/>
                  </a:lnTo>
                  <a:lnTo>
                    <a:pt x="24940" y="798"/>
                  </a:lnTo>
                  <a:lnTo>
                    <a:pt x="24902" y="803"/>
                  </a:lnTo>
                  <a:lnTo>
                    <a:pt x="24886" y="831"/>
                  </a:lnTo>
                  <a:lnTo>
                    <a:pt x="24897" y="848"/>
                  </a:lnTo>
                  <a:lnTo>
                    <a:pt x="24902" y="848"/>
                  </a:lnTo>
                  <a:lnTo>
                    <a:pt x="24881" y="890"/>
                  </a:lnTo>
                  <a:lnTo>
                    <a:pt x="24848" y="930"/>
                  </a:lnTo>
                  <a:lnTo>
                    <a:pt x="24827" y="980"/>
                  </a:lnTo>
                  <a:lnTo>
                    <a:pt x="24772" y="1013"/>
                  </a:lnTo>
                  <a:lnTo>
                    <a:pt x="24772" y="997"/>
                  </a:lnTo>
                  <a:lnTo>
                    <a:pt x="24751" y="997"/>
                  </a:lnTo>
                  <a:lnTo>
                    <a:pt x="24751" y="980"/>
                  </a:lnTo>
                  <a:lnTo>
                    <a:pt x="24742" y="985"/>
                  </a:lnTo>
                  <a:lnTo>
                    <a:pt x="24725" y="985"/>
                  </a:lnTo>
                  <a:lnTo>
                    <a:pt x="24768" y="930"/>
                  </a:lnTo>
                  <a:lnTo>
                    <a:pt x="24772" y="902"/>
                  </a:lnTo>
                  <a:lnTo>
                    <a:pt x="24768" y="886"/>
                  </a:lnTo>
                  <a:lnTo>
                    <a:pt x="24751" y="869"/>
                  </a:lnTo>
                  <a:lnTo>
                    <a:pt x="24725" y="857"/>
                  </a:lnTo>
                  <a:lnTo>
                    <a:pt x="24713" y="848"/>
                  </a:lnTo>
                  <a:lnTo>
                    <a:pt x="24687" y="836"/>
                  </a:lnTo>
                  <a:lnTo>
                    <a:pt x="24671" y="815"/>
                  </a:lnTo>
                  <a:lnTo>
                    <a:pt x="24671" y="803"/>
                  </a:lnTo>
                  <a:lnTo>
                    <a:pt x="24713" y="791"/>
                  </a:lnTo>
                  <a:lnTo>
                    <a:pt x="24725" y="775"/>
                  </a:lnTo>
                  <a:lnTo>
                    <a:pt x="24734" y="720"/>
                  </a:lnTo>
                  <a:lnTo>
                    <a:pt x="24751" y="720"/>
                  </a:lnTo>
                  <a:lnTo>
                    <a:pt x="24751" y="704"/>
                  </a:lnTo>
                  <a:lnTo>
                    <a:pt x="24742" y="704"/>
                  </a:lnTo>
                  <a:lnTo>
                    <a:pt x="24742" y="692"/>
                  </a:lnTo>
                  <a:lnTo>
                    <a:pt x="24758" y="687"/>
                  </a:lnTo>
                  <a:lnTo>
                    <a:pt x="24751" y="687"/>
                  </a:lnTo>
                  <a:lnTo>
                    <a:pt x="24734" y="654"/>
                  </a:lnTo>
                  <a:lnTo>
                    <a:pt x="24742" y="647"/>
                  </a:lnTo>
                  <a:lnTo>
                    <a:pt x="24734" y="654"/>
                  </a:lnTo>
                  <a:lnTo>
                    <a:pt x="24725" y="630"/>
                  </a:lnTo>
                  <a:lnTo>
                    <a:pt x="24734" y="630"/>
                  </a:lnTo>
                  <a:lnTo>
                    <a:pt x="24734" y="635"/>
                  </a:lnTo>
                  <a:lnTo>
                    <a:pt x="24751" y="630"/>
                  </a:lnTo>
                  <a:lnTo>
                    <a:pt x="24742" y="614"/>
                  </a:lnTo>
                  <a:lnTo>
                    <a:pt x="24720" y="626"/>
                  </a:lnTo>
                  <a:lnTo>
                    <a:pt x="24697" y="576"/>
                  </a:lnTo>
                  <a:lnTo>
                    <a:pt x="24704" y="576"/>
                  </a:lnTo>
                  <a:lnTo>
                    <a:pt x="24720" y="597"/>
                  </a:lnTo>
                  <a:lnTo>
                    <a:pt x="24720" y="569"/>
                  </a:lnTo>
                  <a:lnTo>
                    <a:pt x="24704" y="569"/>
                  </a:lnTo>
                  <a:lnTo>
                    <a:pt x="24725" y="560"/>
                  </a:lnTo>
                  <a:lnTo>
                    <a:pt x="24713" y="569"/>
                  </a:lnTo>
                  <a:lnTo>
                    <a:pt x="24720" y="552"/>
                  </a:lnTo>
                  <a:lnTo>
                    <a:pt x="24713" y="560"/>
                  </a:lnTo>
                  <a:lnTo>
                    <a:pt x="24704" y="552"/>
                  </a:lnTo>
                  <a:lnTo>
                    <a:pt x="24704" y="552"/>
                  </a:lnTo>
                  <a:lnTo>
                    <a:pt x="24713" y="560"/>
                  </a:lnTo>
                  <a:lnTo>
                    <a:pt x="24704" y="560"/>
                  </a:lnTo>
                  <a:lnTo>
                    <a:pt x="24687" y="552"/>
                  </a:lnTo>
                  <a:lnTo>
                    <a:pt x="24682" y="526"/>
                  </a:lnTo>
                  <a:lnTo>
                    <a:pt x="24687" y="552"/>
                  </a:lnTo>
                  <a:lnTo>
                    <a:pt x="24704" y="569"/>
                  </a:lnTo>
                  <a:lnTo>
                    <a:pt x="24687" y="576"/>
                  </a:lnTo>
                  <a:lnTo>
                    <a:pt x="24645" y="503"/>
                  </a:lnTo>
                  <a:lnTo>
                    <a:pt x="24649" y="498"/>
                  </a:lnTo>
                  <a:lnTo>
                    <a:pt x="24666" y="486"/>
                  </a:lnTo>
                  <a:lnTo>
                    <a:pt x="24659" y="482"/>
                  </a:lnTo>
                  <a:lnTo>
                    <a:pt x="24659" y="486"/>
                  </a:lnTo>
                  <a:lnTo>
                    <a:pt x="24649" y="486"/>
                  </a:lnTo>
                  <a:lnTo>
                    <a:pt x="24645" y="503"/>
                  </a:lnTo>
                  <a:lnTo>
                    <a:pt x="24628" y="470"/>
                  </a:lnTo>
                  <a:lnTo>
                    <a:pt x="24633" y="470"/>
                  </a:lnTo>
                  <a:lnTo>
                    <a:pt x="24628" y="458"/>
                  </a:lnTo>
                  <a:lnTo>
                    <a:pt x="24595" y="408"/>
                  </a:lnTo>
                  <a:lnTo>
                    <a:pt x="24616" y="408"/>
                  </a:lnTo>
                  <a:lnTo>
                    <a:pt x="24616" y="415"/>
                  </a:lnTo>
                  <a:lnTo>
                    <a:pt x="24612" y="415"/>
                  </a:lnTo>
                  <a:lnTo>
                    <a:pt x="24612" y="425"/>
                  </a:lnTo>
                  <a:lnTo>
                    <a:pt x="24633" y="449"/>
                  </a:lnTo>
                  <a:lnTo>
                    <a:pt x="24633" y="458"/>
                  </a:lnTo>
                  <a:lnTo>
                    <a:pt x="24649" y="441"/>
                  </a:lnTo>
                  <a:lnTo>
                    <a:pt x="24649" y="449"/>
                  </a:lnTo>
                  <a:lnTo>
                    <a:pt x="24645" y="449"/>
                  </a:lnTo>
                  <a:lnTo>
                    <a:pt x="24649" y="458"/>
                  </a:lnTo>
                  <a:lnTo>
                    <a:pt x="24659" y="458"/>
                  </a:lnTo>
                  <a:lnTo>
                    <a:pt x="24697" y="470"/>
                  </a:lnTo>
                  <a:lnTo>
                    <a:pt x="24687" y="482"/>
                  </a:lnTo>
                  <a:lnTo>
                    <a:pt x="24697" y="486"/>
                  </a:lnTo>
                  <a:lnTo>
                    <a:pt x="24713" y="482"/>
                  </a:lnTo>
                  <a:lnTo>
                    <a:pt x="24725" y="503"/>
                  </a:lnTo>
                  <a:lnTo>
                    <a:pt x="24720" y="515"/>
                  </a:lnTo>
                  <a:lnTo>
                    <a:pt x="24725" y="526"/>
                  </a:lnTo>
                  <a:lnTo>
                    <a:pt x="24713" y="519"/>
                  </a:lnTo>
                  <a:lnTo>
                    <a:pt x="24713" y="526"/>
                  </a:lnTo>
                  <a:lnTo>
                    <a:pt x="24725" y="526"/>
                  </a:lnTo>
                  <a:lnTo>
                    <a:pt x="24720" y="543"/>
                  </a:lnTo>
                  <a:lnTo>
                    <a:pt x="24742" y="560"/>
                  </a:lnTo>
                  <a:lnTo>
                    <a:pt x="24734" y="581"/>
                  </a:lnTo>
                  <a:lnTo>
                    <a:pt x="24742" y="609"/>
                  </a:lnTo>
                  <a:lnTo>
                    <a:pt x="24772" y="626"/>
                  </a:lnTo>
                  <a:lnTo>
                    <a:pt x="24779" y="635"/>
                  </a:lnTo>
                  <a:lnTo>
                    <a:pt x="24796" y="647"/>
                  </a:lnTo>
                  <a:lnTo>
                    <a:pt x="24796" y="626"/>
                  </a:lnTo>
                  <a:lnTo>
                    <a:pt x="24789" y="614"/>
                  </a:lnTo>
                  <a:lnTo>
                    <a:pt x="24789" y="597"/>
                  </a:lnTo>
                  <a:lnTo>
                    <a:pt x="24779" y="581"/>
                  </a:lnTo>
                  <a:lnTo>
                    <a:pt x="24796" y="581"/>
                  </a:lnTo>
                  <a:lnTo>
                    <a:pt x="24805" y="597"/>
                  </a:lnTo>
                  <a:lnTo>
                    <a:pt x="24822" y="597"/>
                  </a:lnTo>
                  <a:lnTo>
                    <a:pt x="24805" y="609"/>
                  </a:lnTo>
                  <a:lnTo>
                    <a:pt x="24822" y="609"/>
                  </a:lnTo>
                  <a:lnTo>
                    <a:pt x="24822" y="647"/>
                  </a:lnTo>
                  <a:lnTo>
                    <a:pt x="24822" y="647"/>
                  </a:lnTo>
                  <a:lnTo>
                    <a:pt x="24822" y="647"/>
                  </a:lnTo>
                  <a:close/>
                  <a:moveTo>
                    <a:pt x="24796" y="569"/>
                  </a:moveTo>
                  <a:lnTo>
                    <a:pt x="24779" y="560"/>
                  </a:lnTo>
                  <a:lnTo>
                    <a:pt x="24779" y="543"/>
                  </a:lnTo>
                  <a:lnTo>
                    <a:pt x="24796" y="552"/>
                  </a:lnTo>
                  <a:lnTo>
                    <a:pt x="24796" y="569"/>
                  </a:lnTo>
                  <a:lnTo>
                    <a:pt x="24796" y="569"/>
                  </a:lnTo>
                  <a:lnTo>
                    <a:pt x="24796" y="569"/>
                  </a:lnTo>
                  <a:close/>
                  <a:moveTo>
                    <a:pt x="24768" y="609"/>
                  </a:moveTo>
                  <a:lnTo>
                    <a:pt x="24758" y="609"/>
                  </a:lnTo>
                  <a:lnTo>
                    <a:pt x="24772" y="597"/>
                  </a:lnTo>
                  <a:lnTo>
                    <a:pt x="24768" y="609"/>
                  </a:lnTo>
                  <a:lnTo>
                    <a:pt x="24768" y="609"/>
                  </a:lnTo>
                  <a:lnTo>
                    <a:pt x="24768" y="609"/>
                  </a:lnTo>
                  <a:close/>
                  <a:moveTo>
                    <a:pt x="24486" y="1306"/>
                  </a:moveTo>
                  <a:lnTo>
                    <a:pt x="24470" y="1330"/>
                  </a:lnTo>
                  <a:lnTo>
                    <a:pt x="24465" y="1351"/>
                  </a:lnTo>
                  <a:lnTo>
                    <a:pt x="24449" y="1391"/>
                  </a:lnTo>
                  <a:lnTo>
                    <a:pt x="24456" y="1374"/>
                  </a:lnTo>
                  <a:lnTo>
                    <a:pt x="24465" y="1391"/>
                  </a:lnTo>
                  <a:lnTo>
                    <a:pt x="24432" y="1400"/>
                  </a:lnTo>
                  <a:lnTo>
                    <a:pt x="24427" y="1417"/>
                  </a:lnTo>
                  <a:lnTo>
                    <a:pt x="24394" y="1429"/>
                  </a:lnTo>
                  <a:lnTo>
                    <a:pt x="24394" y="1441"/>
                  </a:lnTo>
                  <a:lnTo>
                    <a:pt x="24373" y="1457"/>
                  </a:lnTo>
                  <a:lnTo>
                    <a:pt x="24335" y="1462"/>
                  </a:lnTo>
                  <a:lnTo>
                    <a:pt x="24326" y="1462"/>
                  </a:lnTo>
                  <a:lnTo>
                    <a:pt x="24326" y="1445"/>
                  </a:lnTo>
                  <a:lnTo>
                    <a:pt x="24305" y="1457"/>
                  </a:lnTo>
                  <a:lnTo>
                    <a:pt x="24293" y="1457"/>
                  </a:lnTo>
                  <a:lnTo>
                    <a:pt x="24305" y="1457"/>
                  </a:lnTo>
                  <a:lnTo>
                    <a:pt x="24293" y="1445"/>
                  </a:lnTo>
                  <a:lnTo>
                    <a:pt x="24293" y="1457"/>
                  </a:lnTo>
                  <a:lnTo>
                    <a:pt x="24288" y="1445"/>
                  </a:lnTo>
                  <a:lnTo>
                    <a:pt x="24293" y="1445"/>
                  </a:lnTo>
                  <a:lnTo>
                    <a:pt x="24293" y="1441"/>
                  </a:lnTo>
                  <a:lnTo>
                    <a:pt x="24281" y="1429"/>
                  </a:lnTo>
                  <a:lnTo>
                    <a:pt x="24255" y="1441"/>
                  </a:lnTo>
                  <a:lnTo>
                    <a:pt x="24250" y="1417"/>
                  </a:lnTo>
                  <a:lnTo>
                    <a:pt x="24234" y="1417"/>
                  </a:lnTo>
                  <a:lnTo>
                    <a:pt x="24217" y="1424"/>
                  </a:lnTo>
                  <a:lnTo>
                    <a:pt x="24179" y="1417"/>
                  </a:lnTo>
                  <a:lnTo>
                    <a:pt x="24175" y="1417"/>
                  </a:lnTo>
                  <a:lnTo>
                    <a:pt x="24196" y="1391"/>
                  </a:lnTo>
                  <a:lnTo>
                    <a:pt x="24175" y="1408"/>
                  </a:lnTo>
                  <a:lnTo>
                    <a:pt x="24175" y="1400"/>
                  </a:lnTo>
                  <a:lnTo>
                    <a:pt x="24158" y="1400"/>
                  </a:lnTo>
                  <a:lnTo>
                    <a:pt x="24158" y="1384"/>
                  </a:lnTo>
                  <a:lnTo>
                    <a:pt x="24196" y="1374"/>
                  </a:lnTo>
                  <a:lnTo>
                    <a:pt x="24179" y="1367"/>
                  </a:lnTo>
                  <a:lnTo>
                    <a:pt x="24201" y="1351"/>
                  </a:lnTo>
                  <a:lnTo>
                    <a:pt x="24179" y="1363"/>
                  </a:lnTo>
                  <a:lnTo>
                    <a:pt x="24184" y="1334"/>
                  </a:lnTo>
                  <a:lnTo>
                    <a:pt x="24184" y="1334"/>
                  </a:lnTo>
                  <a:lnTo>
                    <a:pt x="24212" y="1351"/>
                  </a:lnTo>
                  <a:lnTo>
                    <a:pt x="24201" y="1334"/>
                  </a:lnTo>
                  <a:lnTo>
                    <a:pt x="24217" y="1334"/>
                  </a:lnTo>
                  <a:lnTo>
                    <a:pt x="24201" y="1334"/>
                  </a:lnTo>
                  <a:lnTo>
                    <a:pt x="24196" y="1318"/>
                  </a:lnTo>
                  <a:lnTo>
                    <a:pt x="24217" y="1297"/>
                  </a:lnTo>
                  <a:lnTo>
                    <a:pt x="24234" y="1313"/>
                  </a:lnTo>
                  <a:lnTo>
                    <a:pt x="24229" y="1289"/>
                  </a:lnTo>
                  <a:lnTo>
                    <a:pt x="24281" y="1252"/>
                  </a:lnTo>
                  <a:lnTo>
                    <a:pt x="24293" y="1223"/>
                  </a:lnTo>
                  <a:lnTo>
                    <a:pt x="24326" y="1219"/>
                  </a:lnTo>
                  <a:lnTo>
                    <a:pt x="24347" y="1202"/>
                  </a:lnTo>
                  <a:lnTo>
                    <a:pt x="24390" y="1186"/>
                  </a:lnTo>
                  <a:lnTo>
                    <a:pt x="24427" y="1145"/>
                  </a:lnTo>
                  <a:lnTo>
                    <a:pt x="24465" y="1124"/>
                  </a:lnTo>
                  <a:lnTo>
                    <a:pt x="24486" y="1096"/>
                  </a:lnTo>
                  <a:lnTo>
                    <a:pt x="24508" y="1030"/>
                  </a:lnTo>
                  <a:lnTo>
                    <a:pt x="24536" y="1018"/>
                  </a:lnTo>
                  <a:lnTo>
                    <a:pt x="24553" y="997"/>
                  </a:lnTo>
                  <a:lnTo>
                    <a:pt x="24557" y="947"/>
                  </a:lnTo>
                  <a:lnTo>
                    <a:pt x="24590" y="926"/>
                  </a:lnTo>
                  <a:lnTo>
                    <a:pt x="24590" y="919"/>
                  </a:lnTo>
                  <a:lnTo>
                    <a:pt x="24616" y="919"/>
                  </a:lnTo>
                  <a:lnTo>
                    <a:pt x="24595" y="919"/>
                  </a:lnTo>
                  <a:lnTo>
                    <a:pt x="24595" y="930"/>
                  </a:lnTo>
                  <a:lnTo>
                    <a:pt x="24607" y="947"/>
                  </a:lnTo>
                  <a:lnTo>
                    <a:pt x="24616" y="942"/>
                  </a:lnTo>
                  <a:lnTo>
                    <a:pt x="24628" y="985"/>
                  </a:lnTo>
                  <a:lnTo>
                    <a:pt x="24687" y="947"/>
                  </a:lnTo>
                  <a:lnTo>
                    <a:pt x="24687" y="959"/>
                  </a:lnTo>
                  <a:lnTo>
                    <a:pt x="24671" y="963"/>
                  </a:lnTo>
                  <a:lnTo>
                    <a:pt x="24671" y="975"/>
                  </a:lnTo>
                  <a:lnTo>
                    <a:pt x="24682" y="963"/>
                  </a:lnTo>
                  <a:lnTo>
                    <a:pt x="24671" y="985"/>
                  </a:lnTo>
                  <a:lnTo>
                    <a:pt x="24697" y="980"/>
                  </a:lnTo>
                  <a:lnTo>
                    <a:pt x="24682" y="980"/>
                  </a:lnTo>
                  <a:lnTo>
                    <a:pt x="24687" y="963"/>
                  </a:lnTo>
                  <a:lnTo>
                    <a:pt x="24713" y="963"/>
                  </a:lnTo>
                  <a:lnTo>
                    <a:pt x="24704" y="980"/>
                  </a:lnTo>
                  <a:lnTo>
                    <a:pt x="24687" y="980"/>
                  </a:lnTo>
                  <a:lnTo>
                    <a:pt x="24713" y="980"/>
                  </a:lnTo>
                  <a:lnTo>
                    <a:pt x="24687" y="997"/>
                  </a:lnTo>
                  <a:lnTo>
                    <a:pt x="24713" y="1030"/>
                  </a:lnTo>
                  <a:lnTo>
                    <a:pt x="24704" y="1034"/>
                  </a:lnTo>
                  <a:lnTo>
                    <a:pt x="24659" y="1091"/>
                  </a:lnTo>
                  <a:lnTo>
                    <a:pt x="24633" y="1129"/>
                  </a:lnTo>
                  <a:lnTo>
                    <a:pt x="24607" y="1152"/>
                  </a:lnTo>
                  <a:lnTo>
                    <a:pt x="24607" y="1186"/>
                  </a:lnTo>
                  <a:lnTo>
                    <a:pt x="24616" y="1197"/>
                  </a:lnTo>
                  <a:lnTo>
                    <a:pt x="24628" y="1207"/>
                  </a:lnTo>
                  <a:lnTo>
                    <a:pt x="24616" y="1207"/>
                  </a:lnTo>
                  <a:lnTo>
                    <a:pt x="24612" y="1202"/>
                  </a:lnTo>
                  <a:lnTo>
                    <a:pt x="24612" y="1207"/>
                  </a:lnTo>
                  <a:lnTo>
                    <a:pt x="24612" y="1207"/>
                  </a:lnTo>
                  <a:lnTo>
                    <a:pt x="24579" y="1197"/>
                  </a:lnTo>
                  <a:lnTo>
                    <a:pt x="24574" y="1207"/>
                  </a:lnTo>
                  <a:lnTo>
                    <a:pt x="24508" y="1235"/>
                  </a:lnTo>
                  <a:lnTo>
                    <a:pt x="24498" y="1256"/>
                  </a:lnTo>
                  <a:lnTo>
                    <a:pt x="24486" y="1306"/>
                  </a:lnTo>
                  <a:lnTo>
                    <a:pt x="24486" y="1306"/>
                  </a:lnTo>
                  <a:lnTo>
                    <a:pt x="24486" y="1306"/>
                  </a:lnTo>
                  <a:close/>
                  <a:moveTo>
                    <a:pt x="24671" y="959"/>
                  </a:moveTo>
                  <a:lnTo>
                    <a:pt x="24671" y="942"/>
                  </a:lnTo>
                  <a:lnTo>
                    <a:pt x="24687" y="930"/>
                  </a:lnTo>
                  <a:lnTo>
                    <a:pt x="24682" y="947"/>
                  </a:lnTo>
                  <a:lnTo>
                    <a:pt x="24671" y="959"/>
                  </a:lnTo>
                  <a:lnTo>
                    <a:pt x="24671" y="959"/>
                  </a:lnTo>
                  <a:lnTo>
                    <a:pt x="24671" y="959"/>
                  </a:lnTo>
                  <a:close/>
                  <a:moveTo>
                    <a:pt x="24704" y="980"/>
                  </a:moveTo>
                  <a:lnTo>
                    <a:pt x="24713" y="975"/>
                  </a:lnTo>
                  <a:lnTo>
                    <a:pt x="24713" y="980"/>
                  </a:lnTo>
                  <a:lnTo>
                    <a:pt x="24704" y="980"/>
                  </a:lnTo>
                  <a:lnTo>
                    <a:pt x="24704" y="980"/>
                  </a:lnTo>
                  <a:lnTo>
                    <a:pt x="24704" y="980"/>
                  </a:lnTo>
                  <a:close/>
                  <a:moveTo>
                    <a:pt x="92" y="1223"/>
                  </a:moveTo>
                  <a:lnTo>
                    <a:pt x="97" y="1219"/>
                  </a:lnTo>
                  <a:lnTo>
                    <a:pt x="97" y="1207"/>
                  </a:lnTo>
                  <a:lnTo>
                    <a:pt x="76" y="1202"/>
                  </a:lnTo>
                  <a:lnTo>
                    <a:pt x="97" y="1197"/>
                  </a:lnTo>
                  <a:lnTo>
                    <a:pt x="125" y="1202"/>
                  </a:lnTo>
                  <a:lnTo>
                    <a:pt x="97" y="1202"/>
                  </a:lnTo>
                  <a:lnTo>
                    <a:pt x="114" y="1223"/>
                  </a:lnTo>
                  <a:lnTo>
                    <a:pt x="97" y="1235"/>
                  </a:lnTo>
                  <a:lnTo>
                    <a:pt x="92" y="1223"/>
                  </a:lnTo>
                  <a:lnTo>
                    <a:pt x="92" y="1223"/>
                  </a:lnTo>
                  <a:lnTo>
                    <a:pt x="92" y="1223"/>
                  </a:lnTo>
                  <a:close/>
                  <a:moveTo>
                    <a:pt x="125" y="1252"/>
                  </a:moveTo>
                  <a:lnTo>
                    <a:pt x="125" y="1240"/>
                  </a:lnTo>
                  <a:lnTo>
                    <a:pt x="130" y="1240"/>
                  </a:lnTo>
                  <a:lnTo>
                    <a:pt x="125" y="1252"/>
                  </a:lnTo>
                  <a:lnTo>
                    <a:pt x="125" y="1252"/>
                  </a:lnTo>
                  <a:lnTo>
                    <a:pt x="125" y="1252"/>
                  </a:lnTo>
                  <a:close/>
                  <a:moveTo>
                    <a:pt x="24196" y="1318"/>
                  </a:moveTo>
                  <a:lnTo>
                    <a:pt x="24196" y="1334"/>
                  </a:lnTo>
                  <a:lnTo>
                    <a:pt x="24184" y="1330"/>
                  </a:lnTo>
                  <a:lnTo>
                    <a:pt x="24196" y="1318"/>
                  </a:lnTo>
                  <a:lnTo>
                    <a:pt x="24196" y="1318"/>
                  </a:lnTo>
                  <a:lnTo>
                    <a:pt x="24196" y="1318"/>
                  </a:lnTo>
                  <a:close/>
                  <a:moveTo>
                    <a:pt x="24179" y="1367"/>
                  </a:moveTo>
                  <a:lnTo>
                    <a:pt x="24179" y="1374"/>
                  </a:lnTo>
                  <a:lnTo>
                    <a:pt x="24163" y="1374"/>
                  </a:lnTo>
                  <a:lnTo>
                    <a:pt x="24163" y="1367"/>
                  </a:lnTo>
                  <a:lnTo>
                    <a:pt x="24179" y="1367"/>
                  </a:lnTo>
                  <a:lnTo>
                    <a:pt x="24179" y="1367"/>
                  </a:lnTo>
                  <a:lnTo>
                    <a:pt x="24179" y="1367"/>
                  </a:lnTo>
                  <a:close/>
                  <a:moveTo>
                    <a:pt x="24267" y="1462"/>
                  </a:moveTo>
                  <a:lnTo>
                    <a:pt x="24281" y="1478"/>
                  </a:lnTo>
                  <a:lnTo>
                    <a:pt x="24271" y="1486"/>
                  </a:lnTo>
                  <a:lnTo>
                    <a:pt x="24281" y="1486"/>
                  </a:lnTo>
                  <a:lnTo>
                    <a:pt x="24281" y="1495"/>
                  </a:lnTo>
                  <a:lnTo>
                    <a:pt x="24255" y="1511"/>
                  </a:lnTo>
                  <a:lnTo>
                    <a:pt x="24250" y="1502"/>
                  </a:lnTo>
                  <a:lnTo>
                    <a:pt x="24238" y="1511"/>
                  </a:lnTo>
                  <a:lnTo>
                    <a:pt x="24250" y="1511"/>
                  </a:lnTo>
                  <a:lnTo>
                    <a:pt x="24234" y="1519"/>
                  </a:lnTo>
                  <a:lnTo>
                    <a:pt x="24255" y="1478"/>
                  </a:lnTo>
                  <a:lnTo>
                    <a:pt x="24250" y="1462"/>
                  </a:lnTo>
                  <a:lnTo>
                    <a:pt x="24267" y="1462"/>
                  </a:lnTo>
                  <a:lnTo>
                    <a:pt x="24267" y="1462"/>
                  </a:lnTo>
                  <a:lnTo>
                    <a:pt x="24267" y="1462"/>
                  </a:lnTo>
                  <a:close/>
                  <a:moveTo>
                    <a:pt x="25027" y="1734"/>
                  </a:moveTo>
                  <a:lnTo>
                    <a:pt x="25023" y="1741"/>
                  </a:lnTo>
                  <a:lnTo>
                    <a:pt x="25027" y="1734"/>
                  </a:lnTo>
                  <a:lnTo>
                    <a:pt x="25027" y="1734"/>
                  </a:lnTo>
                  <a:lnTo>
                    <a:pt x="25027" y="1734"/>
                  </a:lnTo>
                  <a:lnTo>
                    <a:pt x="25027" y="1734"/>
                  </a:lnTo>
                  <a:close/>
                  <a:moveTo>
                    <a:pt x="24146" y="1816"/>
                  </a:moveTo>
                  <a:lnTo>
                    <a:pt x="24130" y="1833"/>
                  </a:lnTo>
                  <a:lnTo>
                    <a:pt x="24142" y="1849"/>
                  </a:lnTo>
                  <a:lnTo>
                    <a:pt x="24120" y="1845"/>
                  </a:lnTo>
                  <a:lnTo>
                    <a:pt x="24130" y="1828"/>
                  </a:lnTo>
                  <a:lnTo>
                    <a:pt x="24130" y="1816"/>
                  </a:lnTo>
                  <a:lnTo>
                    <a:pt x="24146" y="1816"/>
                  </a:lnTo>
                  <a:lnTo>
                    <a:pt x="24146" y="1816"/>
                  </a:lnTo>
                  <a:lnTo>
                    <a:pt x="24146" y="1816"/>
                  </a:lnTo>
                  <a:close/>
                  <a:moveTo>
                    <a:pt x="24142" y="1849"/>
                  </a:moveTo>
                  <a:lnTo>
                    <a:pt x="24120" y="1849"/>
                  </a:lnTo>
                  <a:lnTo>
                    <a:pt x="24142" y="1849"/>
                  </a:lnTo>
                  <a:lnTo>
                    <a:pt x="24142" y="1849"/>
                  </a:lnTo>
                  <a:lnTo>
                    <a:pt x="24142" y="1849"/>
                  </a:lnTo>
                  <a:lnTo>
                    <a:pt x="24142" y="1849"/>
                  </a:lnTo>
                  <a:close/>
                  <a:moveTo>
                    <a:pt x="24347" y="2000"/>
                  </a:moveTo>
                  <a:lnTo>
                    <a:pt x="24347" y="2012"/>
                  </a:lnTo>
                  <a:lnTo>
                    <a:pt x="24335" y="2012"/>
                  </a:lnTo>
                  <a:lnTo>
                    <a:pt x="24347" y="2000"/>
                  </a:lnTo>
                  <a:lnTo>
                    <a:pt x="24347" y="2000"/>
                  </a:lnTo>
                  <a:lnTo>
                    <a:pt x="24347" y="200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8" name="Freeform 529">
              <a:extLst>
                <a:ext uri="{FF2B5EF4-FFF2-40B4-BE49-F238E27FC236}">
                  <a16:creationId xmlns:a16="http://schemas.microsoft.com/office/drawing/2014/main" id="{80A63C03-A127-41E2-97FA-B7BC6416132D}"/>
                </a:ext>
              </a:extLst>
            </p:cNvPr>
            <p:cNvSpPr>
              <a:spLocks/>
            </p:cNvSpPr>
            <p:nvPr/>
          </p:nvSpPr>
          <p:spPr bwMode="gray">
            <a:xfrm>
              <a:off x="12304060" y="4573603"/>
              <a:ext cx="194741" cy="208161"/>
            </a:xfrm>
            <a:custGeom>
              <a:avLst/>
              <a:gdLst>
                <a:gd name="T0" fmla="*/ 343 w 595"/>
                <a:gd name="T1" fmla="*/ 449 h 636"/>
                <a:gd name="T2" fmla="*/ 189 w 595"/>
                <a:gd name="T3" fmla="*/ 359 h 636"/>
                <a:gd name="T4" fmla="*/ 118 w 595"/>
                <a:gd name="T5" fmla="*/ 343 h 636"/>
                <a:gd name="T6" fmla="*/ 50 w 595"/>
                <a:gd name="T7" fmla="*/ 289 h 636"/>
                <a:gd name="T8" fmla="*/ 0 w 595"/>
                <a:gd name="T9" fmla="*/ 227 h 636"/>
                <a:gd name="T10" fmla="*/ 33 w 595"/>
                <a:gd name="T11" fmla="*/ 100 h 636"/>
                <a:gd name="T12" fmla="*/ 71 w 595"/>
                <a:gd name="T13" fmla="*/ 29 h 636"/>
                <a:gd name="T14" fmla="*/ 255 w 595"/>
                <a:gd name="T15" fmla="*/ 12 h 636"/>
                <a:gd name="T16" fmla="*/ 319 w 595"/>
                <a:gd name="T17" fmla="*/ 67 h 636"/>
                <a:gd name="T18" fmla="*/ 343 w 595"/>
                <a:gd name="T19" fmla="*/ 161 h 636"/>
                <a:gd name="T20" fmla="*/ 336 w 595"/>
                <a:gd name="T21" fmla="*/ 215 h 636"/>
                <a:gd name="T22" fmla="*/ 428 w 595"/>
                <a:gd name="T23" fmla="*/ 227 h 636"/>
                <a:gd name="T24" fmla="*/ 461 w 595"/>
                <a:gd name="T25" fmla="*/ 227 h 636"/>
                <a:gd name="T26" fmla="*/ 499 w 595"/>
                <a:gd name="T27" fmla="*/ 255 h 636"/>
                <a:gd name="T28" fmla="*/ 515 w 595"/>
                <a:gd name="T29" fmla="*/ 359 h 636"/>
                <a:gd name="T30" fmla="*/ 569 w 595"/>
                <a:gd name="T31" fmla="*/ 343 h 636"/>
                <a:gd name="T32" fmla="*/ 591 w 595"/>
                <a:gd name="T33" fmla="*/ 364 h 636"/>
                <a:gd name="T34" fmla="*/ 581 w 595"/>
                <a:gd name="T35" fmla="*/ 437 h 636"/>
                <a:gd name="T36" fmla="*/ 569 w 595"/>
                <a:gd name="T37" fmla="*/ 470 h 636"/>
                <a:gd name="T38" fmla="*/ 569 w 595"/>
                <a:gd name="T39" fmla="*/ 548 h 636"/>
                <a:gd name="T40" fmla="*/ 515 w 595"/>
                <a:gd name="T41" fmla="*/ 586 h 636"/>
                <a:gd name="T42" fmla="*/ 503 w 595"/>
                <a:gd name="T43" fmla="*/ 615 h 636"/>
                <a:gd name="T44" fmla="*/ 482 w 595"/>
                <a:gd name="T45" fmla="*/ 615 h 636"/>
                <a:gd name="T46" fmla="*/ 444 w 595"/>
                <a:gd name="T47" fmla="*/ 636 h 636"/>
                <a:gd name="T48" fmla="*/ 418 w 595"/>
                <a:gd name="T49" fmla="*/ 624 h 636"/>
                <a:gd name="T50" fmla="*/ 397 w 595"/>
                <a:gd name="T51" fmla="*/ 624 h 636"/>
                <a:gd name="T52" fmla="*/ 288 w 595"/>
                <a:gd name="T53" fmla="*/ 615 h 636"/>
                <a:gd name="T54" fmla="*/ 319 w 595"/>
                <a:gd name="T55" fmla="*/ 565 h 636"/>
                <a:gd name="T56" fmla="*/ 343 w 595"/>
                <a:gd name="T57" fmla="*/ 508 h 636"/>
                <a:gd name="T58" fmla="*/ 343 w 595"/>
                <a:gd name="T59" fmla="*/ 492 h 636"/>
                <a:gd name="T60" fmla="*/ 364 w 595"/>
                <a:gd name="T61" fmla="*/ 470 h 636"/>
                <a:gd name="T62" fmla="*/ 357 w 595"/>
                <a:gd name="T63" fmla="*/ 45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5" h="636">
                  <a:moveTo>
                    <a:pt x="357" y="459"/>
                  </a:moveTo>
                  <a:lnTo>
                    <a:pt x="343" y="449"/>
                  </a:lnTo>
                  <a:lnTo>
                    <a:pt x="272" y="421"/>
                  </a:lnTo>
                  <a:lnTo>
                    <a:pt x="189" y="359"/>
                  </a:lnTo>
                  <a:lnTo>
                    <a:pt x="173" y="359"/>
                  </a:lnTo>
                  <a:lnTo>
                    <a:pt x="118" y="343"/>
                  </a:lnTo>
                  <a:lnTo>
                    <a:pt x="109" y="326"/>
                  </a:lnTo>
                  <a:lnTo>
                    <a:pt x="50" y="289"/>
                  </a:lnTo>
                  <a:lnTo>
                    <a:pt x="33" y="248"/>
                  </a:lnTo>
                  <a:lnTo>
                    <a:pt x="0" y="227"/>
                  </a:lnTo>
                  <a:lnTo>
                    <a:pt x="33" y="140"/>
                  </a:lnTo>
                  <a:lnTo>
                    <a:pt x="33" y="100"/>
                  </a:lnTo>
                  <a:lnTo>
                    <a:pt x="54" y="67"/>
                  </a:lnTo>
                  <a:lnTo>
                    <a:pt x="71" y="29"/>
                  </a:lnTo>
                  <a:lnTo>
                    <a:pt x="189" y="0"/>
                  </a:lnTo>
                  <a:lnTo>
                    <a:pt x="255" y="12"/>
                  </a:lnTo>
                  <a:lnTo>
                    <a:pt x="319" y="45"/>
                  </a:lnTo>
                  <a:lnTo>
                    <a:pt x="319" y="67"/>
                  </a:lnTo>
                  <a:lnTo>
                    <a:pt x="343" y="128"/>
                  </a:lnTo>
                  <a:lnTo>
                    <a:pt x="343" y="161"/>
                  </a:lnTo>
                  <a:lnTo>
                    <a:pt x="336" y="173"/>
                  </a:lnTo>
                  <a:lnTo>
                    <a:pt x="336" y="215"/>
                  </a:lnTo>
                  <a:lnTo>
                    <a:pt x="411" y="227"/>
                  </a:lnTo>
                  <a:lnTo>
                    <a:pt x="428" y="227"/>
                  </a:lnTo>
                  <a:lnTo>
                    <a:pt x="444" y="211"/>
                  </a:lnTo>
                  <a:lnTo>
                    <a:pt x="461" y="227"/>
                  </a:lnTo>
                  <a:lnTo>
                    <a:pt x="482" y="232"/>
                  </a:lnTo>
                  <a:lnTo>
                    <a:pt x="499" y="255"/>
                  </a:lnTo>
                  <a:lnTo>
                    <a:pt x="499" y="272"/>
                  </a:lnTo>
                  <a:lnTo>
                    <a:pt x="515" y="359"/>
                  </a:lnTo>
                  <a:lnTo>
                    <a:pt x="541" y="359"/>
                  </a:lnTo>
                  <a:lnTo>
                    <a:pt x="569" y="343"/>
                  </a:lnTo>
                  <a:lnTo>
                    <a:pt x="595" y="364"/>
                  </a:lnTo>
                  <a:lnTo>
                    <a:pt x="591" y="364"/>
                  </a:lnTo>
                  <a:lnTo>
                    <a:pt x="595" y="381"/>
                  </a:lnTo>
                  <a:lnTo>
                    <a:pt x="581" y="437"/>
                  </a:lnTo>
                  <a:lnTo>
                    <a:pt x="581" y="449"/>
                  </a:lnTo>
                  <a:lnTo>
                    <a:pt x="569" y="470"/>
                  </a:lnTo>
                  <a:lnTo>
                    <a:pt x="574" y="475"/>
                  </a:lnTo>
                  <a:lnTo>
                    <a:pt x="569" y="548"/>
                  </a:lnTo>
                  <a:lnTo>
                    <a:pt x="541" y="570"/>
                  </a:lnTo>
                  <a:lnTo>
                    <a:pt x="515" y="586"/>
                  </a:lnTo>
                  <a:lnTo>
                    <a:pt x="503" y="598"/>
                  </a:lnTo>
                  <a:lnTo>
                    <a:pt x="503" y="615"/>
                  </a:lnTo>
                  <a:lnTo>
                    <a:pt x="489" y="619"/>
                  </a:lnTo>
                  <a:lnTo>
                    <a:pt x="482" y="615"/>
                  </a:lnTo>
                  <a:lnTo>
                    <a:pt x="465" y="615"/>
                  </a:lnTo>
                  <a:lnTo>
                    <a:pt x="444" y="636"/>
                  </a:lnTo>
                  <a:lnTo>
                    <a:pt x="435" y="624"/>
                  </a:lnTo>
                  <a:lnTo>
                    <a:pt x="418" y="624"/>
                  </a:lnTo>
                  <a:lnTo>
                    <a:pt x="411" y="619"/>
                  </a:lnTo>
                  <a:lnTo>
                    <a:pt x="397" y="624"/>
                  </a:lnTo>
                  <a:lnTo>
                    <a:pt x="352" y="615"/>
                  </a:lnTo>
                  <a:lnTo>
                    <a:pt x="288" y="615"/>
                  </a:lnTo>
                  <a:lnTo>
                    <a:pt x="288" y="603"/>
                  </a:lnTo>
                  <a:lnTo>
                    <a:pt x="319" y="565"/>
                  </a:lnTo>
                  <a:lnTo>
                    <a:pt x="319" y="525"/>
                  </a:lnTo>
                  <a:lnTo>
                    <a:pt x="343" y="508"/>
                  </a:lnTo>
                  <a:lnTo>
                    <a:pt x="343" y="508"/>
                  </a:lnTo>
                  <a:lnTo>
                    <a:pt x="343" y="492"/>
                  </a:lnTo>
                  <a:lnTo>
                    <a:pt x="364" y="475"/>
                  </a:lnTo>
                  <a:lnTo>
                    <a:pt x="364" y="470"/>
                  </a:lnTo>
                  <a:lnTo>
                    <a:pt x="357" y="459"/>
                  </a:lnTo>
                  <a:lnTo>
                    <a:pt x="357" y="459"/>
                  </a:lnTo>
                  <a:lnTo>
                    <a:pt x="357" y="45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9" name="Freeform 530">
              <a:extLst>
                <a:ext uri="{FF2B5EF4-FFF2-40B4-BE49-F238E27FC236}">
                  <a16:creationId xmlns:a16="http://schemas.microsoft.com/office/drawing/2014/main" id="{9CA5617E-E28A-46DC-9489-988309DD368E}"/>
                </a:ext>
              </a:extLst>
            </p:cNvPr>
            <p:cNvSpPr>
              <a:spLocks/>
            </p:cNvSpPr>
            <p:nvPr/>
          </p:nvSpPr>
          <p:spPr bwMode="gray">
            <a:xfrm>
              <a:off x="11875629" y="4116042"/>
              <a:ext cx="292276" cy="435305"/>
            </a:xfrm>
            <a:custGeom>
              <a:avLst/>
              <a:gdLst>
                <a:gd name="T0" fmla="*/ 872 w 893"/>
                <a:gd name="T1" fmla="*/ 926 h 1330"/>
                <a:gd name="T2" fmla="*/ 877 w 893"/>
                <a:gd name="T3" fmla="*/ 1025 h 1330"/>
                <a:gd name="T4" fmla="*/ 839 w 893"/>
                <a:gd name="T5" fmla="*/ 1063 h 1330"/>
                <a:gd name="T6" fmla="*/ 844 w 893"/>
                <a:gd name="T7" fmla="*/ 1108 h 1330"/>
                <a:gd name="T8" fmla="*/ 872 w 893"/>
                <a:gd name="T9" fmla="*/ 1169 h 1330"/>
                <a:gd name="T10" fmla="*/ 872 w 893"/>
                <a:gd name="T11" fmla="*/ 1202 h 1330"/>
                <a:gd name="T12" fmla="*/ 834 w 893"/>
                <a:gd name="T13" fmla="*/ 1259 h 1330"/>
                <a:gd name="T14" fmla="*/ 806 w 893"/>
                <a:gd name="T15" fmla="*/ 1280 h 1330"/>
                <a:gd name="T16" fmla="*/ 768 w 893"/>
                <a:gd name="T17" fmla="*/ 1330 h 1330"/>
                <a:gd name="T18" fmla="*/ 671 w 893"/>
                <a:gd name="T19" fmla="*/ 1242 h 1330"/>
                <a:gd name="T20" fmla="*/ 515 w 893"/>
                <a:gd name="T21" fmla="*/ 1153 h 1330"/>
                <a:gd name="T22" fmla="*/ 388 w 893"/>
                <a:gd name="T23" fmla="*/ 1058 h 1330"/>
                <a:gd name="T24" fmla="*/ 350 w 893"/>
                <a:gd name="T25" fmla="*/ 1004 h 1330"/>
                <a:gd name="T26" fmla="*/ 360 w 893"/>
                <a:gd name="T27" fmla="*/ 964 h 1330"/>
                <a:gd name="T28" fmla="*/ 300 w 893"/>
                <a:gd name="T29" fmla="*/ 869 h 1330"/>
                <a:gd name="T30" fmla="*/ 263 w 893"/>
                <a:gd name="T31" fmla="*/ 782 h 1330"/>
                <a:gd name="T32" fmla="*/ 194 w 893"/>
                <a:gd name="T33" fmla="*/ 647 h 1330"/>
                <a:gd name="T34" fmla="*/ 145 w 893"/>
                <a:gd name="T35" fmla="*/ 565 h 1330"/>
                <a:gd name="T36" fmla="*/ 17 w 893"/>
                <a:gd name="T37" fmla="*/ 432 h 1330"/>
                <a:gd name="T38" fmla="*/ 38 w 893"/>
                <a:gd name="T39" fmla="*/ 399 h 1330"/>
                <a:gd name="T40" fmla="*/ 26 w 893"/>
                <a:gd name="T41" fmla="*/ 354 h 1330"/>
                <a:gd name="T42" fmla="*/ 38 w 893"/>
                <a:gd name="T43" fmla="*/ 267 h 1330"/>
                <a:gd name="T44" fmla="*/ 86 w 893"/>
                <a:gd name="T45" fmla="*/ 276 h 1330"/>
                <a:gd name="T46" fmla="*/ 64 w 893"/>
                <a:gd name="T47" fmla="*/ 300 h 1330"/>
                <a:gd name="T48" fmla="*/ 69 w 893"/>
                <a:gd name="T49" fmla="*/ 317 h 1330"/>
                <a:gd name="T50" fmla="*/ 123 w 893"/>
                <a:gd name="T51" fmla="*/ 317 h 1330"/>
                <a:gd name="T52" fmla="*/ 178 w 893"/>
                <a:gd name="T53" fmla="*/ 333 h 1330"/>
                <a:gd name="T54" fmla="*/ 211 w 893"/>
                <a:gd name="T55" fmla="*/ 267 h 1330"/>
                <a:gd name="T56" fmla="*/ 225 w 893"/>
                <a:gd name="T57" fmla="*/ 234 h 1330"/>
                <a:gd name="T58" fmla="*/ 371 w 893"/>
                <a:gd name="T59" fmla="*/ 149 h 1330"/>
                <a:gd name="T60" fmla="*/ 430 w 893"/>
                <a:gd name="T61" fmla="*/ 61 h 1330"/>
                <a:gd name="T62" fmla="*/ 404 w 893"/>
                <a:gd name="T63" fmla="*/ 5 h 1330"/>
                <a:gd name="T64" fmla="*/ 456 w 893"/>
                <a:gd name="T65" fmla="*/ 12 h 1330"/>
                <a:gd name="T66" fmla="*/ 494 w 893"/>
                <a:gd name="T67" fmla="*/ 38 h 1330"/>
                <a:gd name="T68" fmla="*/ 553 w 893"/>
                <a:gd name="T69" fmla="*/ 111 h 1330"/>
                <a:gd name="T70" fmla="*/ 574 w 893"/>
                <a:gd name="T71" fmla="*/ 123 h 1330"/>
                <a:gd name="T72" fmla="*/ 574 w 893"/>
                <a:gd name="T73" fmla="*/ 165 h 1330"/>
                <a:gd name="T74" fmla="*/ 619 w 893"/>
                <a:gd name="T75" fmla="*/ 165 h 1330"/>
                <a:gd name="T76" fmla="*/ 678 w 893"/>
                <a:gd name="T77" fmla="*/ 149 h 1330"/>
                <a:gd name="T78" fmla="*/ 737 w 893"/>
                <a:gd name="T79" fmla="*/ 156 h 1330"/>
                <a:gd name="T80" fmla="*/ 789 w 893"/>
                <a:gd name="T81" fmla="*/ 194 h 1330"/>
                <a:gd name="T82" fmla="*/ 780 w 893"/>
                <a:gd name="T83" fmla="*/ 267 h 1330"/>
                <a:gd name="T84" fmla="*/ 785 w 893"/>
                <a:gd name="T85" fmla="*/ 305 h 1330"/>
                <a:gd name="T86" fmla="*/ 730 w 893"/>
                <a:gd name="T87" fmla="*/ 305 h 1330"/>
                <a:gd name="T88" fmla="*/ 603 w 893"/>
                <a:gd name="T89" fmla="*/ 359 h 1330"/>
                <a:gd name="T90" fmla="*/ 574 w 893"/>
                <a:gd name="T91" fmla="*/ 454 h 1330"/>
                <a:gd name="T92" fmla="*/ 537 w 893"/>
                <a:gd name="T93" fmla="*/ 522 h 1330"/>
                <a:gd name="T94" fmla="*/ 537 w 893"/>
                <a:gd name="T95" fmla="*/ 555 h 1330"/>
                <a:gd name="T96" fmla="*/ 553 w 893"/>
                <a:gd name="T97" fmla="*/ 598 h 1330"/>
                <a:gd name="T98" fmla="*/ 570 w 893"/>
                <a:gd name="T99" fmla="*/ 671 h 1330"/>
                <a:gd name="T100" fmla="*/ 709 w 893"/>
                <a:gd name="T101" fmla="*/ 720 h 1330"/>
                <a:gd name="T102" fmla="*/ 754 w 893"/>
                <a:gd name="T103" fmla="*/ 787 h 1330"/>
                <a:gd name="T104" fmla="*/ 801 w 893"/>
                <a:gd name="T105" fmla="*/ 782 h 1330"/>
                <a:gd name="T106" fmla="*/ 834 w 893"/>
                <a:gd name="T107" fmla="*/ 787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3" h="1330">
                  <a:moveTo>
                    <a:pt x="834" y="787"/>
                  </a:moveTo>
                  <a:lnTo>
                    <a:pt x="893" y="898"/>
                  </a:lnTo>
                  <a:lnTo>
                    <a:pt x="872" y="926"/>
                  </a:lnTo>
                  <a:lnTo>
                    <a:pt x="872" y="971"/>
                  </a:lnTo>
                  <a:lnTo>
                    <a:pt x="860" y="987"/>
                  </a:lnTo>
                  <a:lnTo>
                    <a:pt x="877" y="1025"/>
                  </a:lnTo>
                  <a:lnTo>
                    <a:pt x="872" y="1025"/>
                  </a:lnTo>
                  <a:lnTo>
                    <a:pt x="872" y="1037"/>
                  </a:lnTo>
                  <a:lnTo>
                    <a:pt x="839" y="1063"/>
                  </a:lnTo>
                  <a:lnTo>
                    <a:pt x="839" y="1082"/>
                  </a:lnTo>
                  <a:lnTo>
                    <a:pt x="856" y="1098"/>
                  </a:lnTo>
                  <a:lnTo>
                    <a:pt x="844" y="1108"/>
                  </a:lnTo>
                  <a:lnTo>
                    <a:pt x="839" y="1131"/>
                  </a:lnTo>
                  <a:lnTo>
                    <a:pt x="856" y="1169"/>
                  </a:lnTo>
                  <a:lnTo>
                    <a:pt x="872" y="1169"/>
                  </a:lnTo>
                  <a:lnTo>
                    <a:pt x="877" y="1174"/>
                  </a:lnTo>
                  <a:lnTo>
                    <a:pt x="860" y="1191"/>
                  </a:lnTo>
                  <a:lnTo>
                    <a:pt x="872" y="1202"/>
                  </a:lnTo>
                  <a:lnTo>
                    <a:pt x="823" y="1247"/>
                  </a:lnTo>
                  <a:lnTo>
                    <a:pt x="823" y="1247"/>
                  </a:lnTo>
                  <a:lnTo>
                    <a:pt x="834" y="1259"/>
                  </a:lnTo>
                  <a:lnTo>
                    <a:pt x="834" y="1264"/>
                  </a:lnTo>
                  <a:lnTo>
                    <a:pt x="823" y="1280"/>
                  </a:lnTo>
                  <a:lnTo>
                    <a:pt x="806" y="1280"/>
                  </a:lnTo>
                  <a:lnTo>
                    <a:pt x="818" y="1302"/>
                  </a:lnTo>
                  <a:lnTo>
                    <a:pt x="801" y="1318"/>
                  </a:lnTo>
                  <a:lnTo>
                    <a:pt x="768" y="1330"/>
                  </a:lnTo>
                  <a:lnTo>
                    <a:pt x="709" y="1280"/>
                  </a:lnTo>
                  <a:lnTo>
                    <a:pt x="693" y="1247"/>
                  </a:lnTo>
                  <a:lnTo>
                    <a:pt x="671" y="1242"/>
                  </a:lnTo>
                  <a:lnTo>
                    <a:pt x="624" y="1207"/>
                  </a:lnTo>
                  <a:lnTo>
                    <a:pt x="532" y="1169"/>
                  </a:lnTo>
                  <a:lnTo>
                    <a:pt x="515" y="1153"/>
                  </a:lnTo>
                  <a:lnTo>
                    <a:pt x="447" y="1115"/>
                  </a:lnTo>
                  <a:lnTo>
                    <a:pt x="409" y="1075"/>
                  </a:lnTo>
                  <a:lnTo>
                    <a:pt x="388" y="1058"/>
                  </a:lnTo>
                  <a:lnTo>
                    <a:pt x="360" y="1020"/>
                  </a:lnTo>
                  <a:lnTo>
                    <a:pt x="355" y="1004"/>
                  </a:lnTo>
                  <a:lnTo>
                    <a:pt x="350" y="1004"/>
                  </a:lnTo>
                  <a:lnTo>
                    <a:pt x="355" y="997"/>
                  </a:lnTo>
                  <a:lnTo>
                    <a:pt x="360" y="997"/>
                  </a:lnTo>
                  <a:lnTo>
                    <a:pt x="360" y="964"/>
                  </a:lnTo>
                  <a:lnTo>
                    <a:pt x="350" y="942"/>
                  </a:lnTo>
                  <a:lnTo>
                    <a:pt x="322" y="893"/>
                  </a:lnTo>
                  <a:lnTo>
                    <a:pt x="300" y="869"/>
                  </a:lnTo>
                  <a:lnTo>
                    <a:pt x="296" y="836"/>
                  </a:lnTo>
                  <a:lnTo>
                    <a:pt x="263" y="815"/>
                  </a:lnTo>
                  <a:lnTo>
                    <a:pt x="263" y="782"/>
                  </a:lnTo>
                  <a:lnTo>
                    <a:pt x="232" y="742"/>
                  </a:lnTo>
                  <a:lnTo>
                    <a:pt x="199" y="654"/>
                  </a:lnTo>
                  <a:lnTo>
                    <a:pt x="194" y="647"/>
                  </a:lnTo>
                  <a:lnTo>
                    <a:pt x="189" y="614"/>
                  </a:lnTo>
                  <a:lnTo>
                    <a:pt x="173" y="593"/>
                  </a:lnTo>
                  <a:lnTo>
                    <a:pt x="145" y="565"/>
                  </a:lnTo>
                  <a:lnTo>
                    <a:pt x="119" y="503"/>
                  </a:lnTo>
                  <a:lnTo>
                    <a:pt x="102" y="482"/>
                  </a:lnTo>
                  <a:lnTo>
                    <a:pt x="17" y="432"/>
                  </a:lnTo>
                  <a:lnTo>
                    <a:pt x="17" y="416"/>
                  </a:lnTo>
                  <a:lnTo>
                    <a:pt x="31" y="416"/>
                  </a:lnTo>
                  <a:lnTo>
                    <a:pt x="38" y="399"/>
                  </a:lnTo>
                  <a:lnTo>
                    <a:pt x="31" y="387"/>
                  </a:lnTo>
                  <a:lnTo>
                    <a:pt x="17" y="371"/>
                  </a:lnTo>
                  <a:lnTo>
                    <a:pt x="26" y="354"/>
                  </a:lnTo>
                  <a:lnTo>
                    <a:pt x="0" y="333"/>
                  </a:lnTo>
                  <a:lnTo>
                    <a:pt x="10" y="305"/>
                  </a:lnTo>
                  <a:lnTo>
                    <a:pt x="38" y="267"/>
                  </a:lnTo>
                  <a:lnTo>
                    <a:pt x="81" y="234"/>
                  </a:lnTo>
                  <a:lnTo>
                    <a:pt x="81" y="243"/>
                  </a:lnTo>
                  <a:lnTo>
                    <a:pt x="86" y="276"/>
                  </a:lnTo>
                  <a:lnTo>
                    <a:pt x="81" y="283"/>
                  </a:lnTo>
                  <a:lnTo>
                    <a:pt x="64" y="283"/>
                  </a:lnTo>
                  <a:lnTo>
                    <a:pt x="64" y="300"/>
                  </a:lnTo>
                  <a:lnTo>
                    <a:pt x="81" y="300"/>
                  </a:lnTo>
                  <a:lnTo>
                    <a:pt x="64" y="317"/>
                  </a:lnTo>
                  <a:lnTo>
                    <a:pt x="69" y="317"/>
                  </a:lnTo>
                  <a:lnTo>
                    <a:pt x="86" y="305"/>
                  </a:lnTo>
                  <a:lnTo>
                    <a:pt x="107" y="317"/>
                  </a:lnTo>
                  <a:lnTo>
                    <a:pt x="123" y="317"/>
                  </a:lnTo>
                  <a:lnTo>
                    <a:pt x="145" y="354"/>
                  </a:lnTo>
                  <a:lnTo>
                    <a:pt x="161" y="354"/>
                  </a:lnTo>
                  <a:lnTo>
                    <a:pt x="178" y="333"/>
                  </a:lnTo>
                  <a:lnTo>
                    <a:pt x="194" y="321"/>
                  </a:lnTo>
                  <a:lnTo>
                    <a:pt x="194" y="305"/>
                  </a:lnTo>
                  <a:lnTo>
                    <a:pt x="211" y="267"/>
                  </a:lnTo>
                  <a:lnTo>
                    <a:pt x="215" y="243"/>
                  </a:lnTo>
                  <a:lnTo>
                    <a:pt x="225" y="250"/>
                  </a:lnTo>
                  <a:lnTo>
                    <a:pt x="225" y="234"/>
                  </a:lnTo>
                  <a:lnTo>
                    <a:pt x="249" y="210"/>
                  </a:lnTo>
                  <a:lnTo>
                    <a:pt x="334" y="177"/>
                  </a:lnTo>
                  <a:lnTo>
                    <a:pt x="371" y="149"/>
                  </a:lnTo>
                  <a:lnTo>
                    <a:pt x="409" y="111"/>
                  </a:lnTo>
                  <a:lnTo>
                    <a:pt x="426" y="61"/>
                  </a:lnTo>
                  <a:lnTo>
                    <a:pt x="430" y="61"/>
                  </a:lnTo>
                  <a:lnTo>
                    <a:pt x="430" y="45"/>
                  </a:lnTo>
                  <a:lnTo>
                    <a:pt x="430" y="38"/>
                  </a:lnTo>
                  <a:lnTo>
                    <a:pt x="404" y="5"/>
                  </a:lnTo>
                  <a:lnTo>
                    <a:pt x="430" y="5"/>
                  </a:lnTo>
                  <a:lnTo>
                    <a:pt x="430" y="0"/>
                  </a:lnTo>
                  <a:lnTo>
                    <a:pt x="456" y="12"/>
                  </a:lnTo>
                  <a:lnTo>
                    <a:pt x="463" y="5"/>
                  </a:lnTo>
                  <a:lnTo>
                    <a:pt x="468" y="21"/>
                  </a:lnTo>
                  <a:lnTo>
                    <a:pt x="494" y="38"/>
                  </a:lnTo>
                  <a:lnTo>
                    <a:pt x="501" y="66"/>
                  </a:lnTo>
                  <a:lnTo>
                    <a:pt x="548" y="94"/>
                  </a:lnTo>
                  <a:lnTo>
                    <a:pt x="553" y="111"/>
                  </a:lnTo>
                  <a:lnTo>
                    <a:pt x="553" y="116"/>
                  </a:lnTo>
                  <a:lnTo>
                    <a:pt x="570" y="132"/>
                  </a:lnTo>
                  <a:lnTo>
                    <a:pt x="574" y="123"/>
                  </a:lnTo>
                  <a:lnTo>
                    <a:pt x="574" y="123"/>
                  </a:lnTo>
                  <a:lnTo>
                    <a:pt x="586" y="149"/>
                  </a:lnTo>
                  <a:lnTo>
                    <a:pt x="574" y="165"/>
                  </a:lnTo>
                  <a:lnTo>
                    <a:pt x="591" y="165"/>
                  </a:lnTo>
                  <a:lnTo>
                    <a:pt x="591" y="172"/>
                  </a:lnTo>
                  <a:lnTo>
                    <a:pt x="619" y="165"/>
                  </a:lnTo>
                  <a:lnTo>
                    <a:pt x="641" y="172"/>
                  </a:lnTo>
                  <a:lnTo>
                    <a:pt x="662" y="165"/>
                  </a:lnTo>
                  <a:lnTo>
                    <a:pt x="678" y="149"/>
                  </a:lnTo>
                  <a:lnTo>
                    <a:pt x="678" y="156"/>
                  </a:lnTo>
                  <a:lnTo>
                    <a:pt x="700" y="165"/>
                  </a:lnTo>
                  <a:lnTo>
                    <a:pt x="737" y="156"/>
                  </a:lnTo>
                  <a:lnTo>
                    <a:pt x="754" y="172"/>
                  </a:lnTo>
                  <a:lnTo>
                    <a:pt x="780" y="172"/>
                  </a:lnTo>
                  <a:lnTo>
                    <a:pt x="789" y="194"/>
                  </a:lnTo>
                  <a:lnTo>
                    <a:pt x="747" y="267"/>
                  </a:lnTo>
                  <a:lnTo>
                    <a:pt x="763" y="276"/>
                  </a:lnTo>
                  <a:lnTo>
                    <a:pt x="780" y="267"/>
                  </a:lnTo>
                  <a:lnTo>
                    <a:pt x="801" y="300"/>
                  </a:lnTo>
                  <a:lnTo>
                    <a:pt x="789" y="305"/>
                  </a:lnTo>
                  <a:lnTo>
                    <a:pt x="785" y="305"/>
                  </a:lnTo>
                  <a:lnTo>
                    <a:pt x="780" y="288"/>
                  </a:lnTo>
                  <a:lnTo>
                    <a:pt x="747" y="288"/>
                  </a:lnTo>
                  <a:lnTo>
                    <a:pt x="730" y="305"/>
                  </a:lnTo>
                  <a:lnTo>
                    <a:pt x="716" y="305"/>
                  </a:lnTo>
                  <a:lnTo>
                    <a:pt x="662" y="321"/>
                  </a:lnTo>
                  <a:lnTo>
                    <a:pt x="603" y="359"/>
                  </a:lnTo>
                  <a:lnTo>
                    <a:pt x="591" y="399"/>
                  </a:lnTo>
                  <a:lnTo>
                    <a:pt x="570" y="432"/>
                  </a:lnTo>
                  <a:lnTo>
                    <a:pt x="574" y="454"/>
                  </a:lnTo>
                  <a:lnTo>
                    <a:pt x="537" y="487"/>
                  </a:lnTo>
                  <a:lnTo>
                    <a:pt x="532" y="503"/>
                  </a:lnTo>
                  <a:lnTo>
                    <a:pt x="537" y="522"/>
                  </a:lnTo>
                  <a:lnTo>
                    <a:pt x="523" y="527"/>
                  </a:lnTo>
                  <a:lnTo>
                    <a:pt x="515" y="539"/>
                  </a:lnTo>
                  <a:lnTo>
                    <a:pt x="537" y="555"/>
                  </a:lnTo>
                  <a:lnTo>
                    <a:pt x="532" y="565"/>
                  </a:lnTo>
                  <a:lnTo>
                    <a:pt x="548" y="576"/>
                  </a:lnTo>
                  <a:lnTo>
                    <a:pt x="553" y="598"/>
                  </a:lnTo>
                  <a:lnTo>
                    <a:pt x="591" y="638"/>
                  </a:lnTo>
                  <a:lnTo>
                    <a:pt x="591" y="654"/>
                  </a:lnTo>
                  <a:lnTo>
                    <a:pt x="570" y="671"/>
                  </a:lnTo>
                  <a:lnTo>
                    <a:pt x="629" y="676"/>
                  </a:lnTo>
                  <a:lnTo>
                    <a:pt x="645" y="720"/>
                  </a:lnTo>
                  <a:lnTo>
                    <a:pt x="709" y="720"/>
                  </a:lnTo>
                  <a:lnTo>
                    <a:pt x="763" y="676"/>
                  </a:lnTo>
                  <a:lnTo>
                    <a:pt x="754" y="704"/>
                  </a:lnTo>
                  <a:lnTo>
                    <a:pt x="754" y="787"/>
                  </a:lnTo>
                  <a:lnTo>
                    <a:pt x="763" y="782"/>
                  </a:lnTo>
                  <a:lnTo>
                    <a:pt x="780" y="798"/>
                  </a:lnTo>
                  <a:lnTo>
                    <a:pt x="801" y="782"/>
                  </a:lnTo>
                  <a:lnTo>
                    <a:pt x="834" y="787"/>
                  </a:lnTo>
                  <a:lnTo>
                    <a:pt x="834" y="787"/>
                  </a:lnTo>
                  <a:lnTo>
                    <a:pt x="834" y="78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0" name="Freeform 531">
              <a:extLst>
                <a:ext uri="{FF2B5EF4-FFF2-40B4-BE49-F238E27FC236}">
                  <a16:creationId xmlns:a16="http://schemas.microsoft.com/office/drawing/2014/main" id="{A99E94AD-DCAA-483D-96B3-E9604E1A962D}"/>
                </a:ext>
              </a:extLst>
            </p:cNvPr>
            <p:cNvSpPr>
              <a:spLocks noEditPoints="1"/>
            </p:cNvSpPr>
            <p:nvPr/>
          </p:nvSpPr>
          <p:spPr bwMode="gray">
            <a:xfrm>
              <a:off x="15141395" y="3199939"/>
              <a:ext cx="390465" cy="344643"/>
            </a:xfrm>
            <a:custGeom>
              <a:avLst/>
              <a:gdLst>
                <a:gd name="T0" fmla="*/ 248 w 1193"/>
                <a:gd name="T1" fmla="*/ 605 h 1053"/>
                <a:gd name="T2" fmla="*/ 378 w 1193"/>
                <a:gd name="T3" fmla="*/ 560 h 1053"/>
                <a:gd name="T4" fmla="*/ 399 w 1193"/>
                <a:gd name="T5" fmla="*/ 494 h 1053"/>
                <a:gd name="T6" fmla="*/ 485 w 1193"/>
                <a:gd name="T7" fmla="*/ 460 h 1053"/>
                <a:gd name="T8" fmla="*/ 539 w 1193"/>
                <a:gd name="T9" fmla="*/ 427 h 1053"/>
                <a:gd name="T10" fmla="*/ 577 w 1193"/>
                <a:gd name="T11" fmla="*/ 439 h 1053"/>
                <a:gd name="T12" fmla="*/ 598 w 1193"/>
                <a:gd name="T13" fmla="*/ 349 h 1053"/>
                <a:gd name="T14" fmla="*/ 664 w 1193"/>
                <a:gd name="T15" fmla="*/ 300 h 1053"/>
                <a:gd name="T16" fmla="*/ 643 w 1193"/>
                <a:gd name="T17" fmla="*/ 262 h 1053"/>
                <a:gd name="T18" fmla="*/ 723 w 1193"/>
                <a:gd name="T19" fmla="*/ 222 h 1053"/>
                <a:gd name="T20" fmla="*/ 749 w 1193"/>
                <a:gd name="T21" fmla="*/ 168 h 1053"/>
                <a:gd name="T22" fmla="*/ 749 w 1193"/>
                <a:gd name="T23" fmla="*/ 94 h 1053"/>
                <a:gd name="T24" fmla="*/ 756 w 1193"/>
                <a:gd name="T25" fmla="*/ 52 h 1053"/>
                <a:gd name="T26" fmla="*/ 900 w 1193"/>
                <a:gd name="T27" fmla="*/ 7 h 1053"/>
                <a:gd name="T28" fmla="*/ 966 w 1193"/>
                <a:gd name="T29" fmla="*/ 0 h 1053"/>
                <a:gd name="T30" fmla="*/ 1042 w 1193"/>
                <a:gd name="T31" fmla="*/ 23 h 1053"/>
                <a:gd name="T32" fmla="*/ 1073 w 1193"/>
                <a:gd name="T33" fmla="*/ 90 h 1053"/>
                <a:gd name="T34" fmla="*/ 1127 w 1193"/>
                <a:gd name="T35" fmla="*/ 118 h 1053"/>
                <a:gd name="T36" fmla="*/ 1127 w 1193"/>
                <a:gd name="T37" fmla="*/ 189 h 1053"/>
                <a:gd name="T38" fmla="*/ 1042 w 1193"/>
                <a:gd name="T39" fmla="*/ 205 h 1053"/>
                <a:gd name="T40" fmla="*/ 922 w 1193"/>
                <a:gd name="T41" fmla="*/ 229 h 1053"/>
                <a:gd name="T42" fmla="*/ 933 w 1193"/>
                <a:gd name="T43" fmla="*/ 283 h 1053"/>
                <a:gd name="T44" fmla="*/ 971 w 1193"/>
                <a:gd name="T45" fmla="*/ 349 h 1053"/>
                <a:gd name="T46" fmla="*/ 1018 w 1193"/>
                <a:gd name="T47" fmla="*/ 387 h 1053"/>
                <a:gd name="T48" fmla="*/ 955 w 1193"/>
                <a:gd name="T49" fmla="*/ 427 h 1053"/>
                <a:gd name="T50" fmla="*/ 966 w 1193"/>
                <a:gd name="T51" fmla="*/ 477 h 1053"/>
                <a:gd name="T52" fmla="*/ 917 w 1193"/>
                <a:gd name="T53" fmla="*/ 555 h 1053"/>
                <a:gd name="T54" fmla="*/ 794 w 1193"/>
                <a:gd name="T55" fmla="*/ 687 h 1053"/>
                <a:gd name="T56" fmla="*/ 695 w 1193"/>
                <a:gd name="T57" fmla="*/ 742 h 1053"/>
                <a:gd name="T58" fmla="*/ 610 w 1193"/>
                <a:gd name="T59" fmla="*/ 827 h 1053"/>
                <a:gd name="T60" fmla="*/ 664 w 1193"/>
                <a:gd name="T61" fmla="*/ 902 h 1053"/>
                <a:gd name="T62" fmla="*/ 718 w 1193"/>
                <a:gd name="T63" fmla="*/ 980 h 1053"/>
                <a:gd name="T64" fmla="*/ 695 w 1193"/>
                <a:gd name="T65" fmla="*/ 1013 h 1053"/>
                <a:gd name="T66" fmla="*/ 643 w 1193"/>
                <a:gd name="T67" fmla="*/ 1020 h 1053"/>
                <a:gd name="T68" fmla="*/ 555 w 1193"/>
                <a:gd name="T69" fmla="*/ 1001 h 1053"/>
                <a:gd name="T70" fmla="*/ 518 w 1193"/>
                <a:gd name="T71" fmla="*/ 1037 h 1053"/>
                <a:gd name="T72" fmla="*/ 501 w 1193"/>
                <a:gd name="T73" fmla="*/ 1046 h 1053"/>
                <a:gd name="T74" fmla="*/ 468 w 1193"/>
                <a:gd name="T75" fmla="*/ 1037 h 1053"/>
                <a:gd name="T76" fmla="*/ 437 w 1193"/>
                <a:gd name="T77" fmla="*/ 980 h 1053"/>
                <a:gd name="T78" fmla="*/ 399 w 1193"/>
                <a:gd name="T79" fmla="*/ 926 h 1053"/>
                <a:gd name="T80" fmla="*/ 383 w 1193"/>
                <a:gd name="T81" fmla="*/ 909 h 1053"/>
                <a:gd name="T82" fmla="*/ 265 w 1193"/>
                <a:gd name="T83" fmla="*/ 935 h 1053"/>
                <a:gd name="T84" fmla="*/ 220 w 1193"/>
                <a:gd name="T85" fmla="*/ 926 h 1053"/>
                <a:gd name="T86" fmla="*/ 69 w 1193"/>
                <a:gd name="T87" fmla="*/ 947 h 1053"/>
                <a:gd name="T88" fmla="*/ 59 w 1193"/>
                <a:gd name="T89" fmla="*/ 893 h 1053"/>
                <a:gd name="T90" fmla="*/ 97 w 1193"/>
                <a:gd name="T91" fmla="*/ 848 h 1053"/>
                <a:gd name="T92" fmla="*/ 161 w 1193"/>
                <a:gd name="T93" fmla="*/ 831 h 1053"/>
                <a:gd name="T94" fmla="*/ 140 w 1193"/>
                <a:gd name="T95" fmla="*/ 782 h 1053"/>
                <a:gd name="T96" fmla="*/ 107 w 1193"/>
                <a:gd name="T97" fmla="*/ 687 h 1053"/>
                <a:gd name="T98" fmla="*/ 0 w 1193"/>
                <a:gd name="T99" fmla="*/ 576 h 1053"/>
                <a:gd name="T100" fmla="*/ 166 w 1193"/>
                <a:gd name="T101" fmla="*/ 609 h 1053"/>
                <a:gd name="T102" fmla="*/ 463 w 1193"/>
                <a:gd name="T103" fmla="*/ 1030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93" h="1053">
                  <a:moveTo>
                    <a:pt x="166" y="609"/>
                  </a:moveTo>
                  <a:lnTo>
                    <a:pt x="194" y="605"/>
                  </a:lnTo>
                  <a:lnTo>
                    <a:pt x="220" y="609"/>
                  </a:lnTo>
                  <a:lnTo>
                    <a:pt x="248" y="605"/>
                  </a:lnTo>
                  <a:lnTo>
                    <a:pt x="291" y="605"/>
                  </a:lnTo>
                  <a:lnTo>
                    <a:pt x="378" y="576"/>
                  </a:lnTo>
                  <a:lnTo>
                    <a:pt x="383" y="571"/>
                  </a:lnTo>
                  <a:lnTo>
                    <a:pt x="378" y="560"/>
                  </a:lnTo>
                  <a:lnTo>
                    <a:pt x="383" y="548"/>
                  </a:lnTo>
                  <a:lnTo>
                    <a:pt x="383" y="522"/>
                  </a:lnTo>
                  <a:lnTo>
                    <a:pt x="392" y="494"/>
                  </a:lnTo>
                  <a:lnTo>
                    <a:pt x="399" y="494"/>
                  </a:lnTo>
                  <a:lnTo>
                    <a:pt x="416" y="465"/>
                  </a:lnTo>
                  <a:lnTo>
                    <a:pt x="430" y="460"/>
                  </a:lnTo>
                  <a:lnTo>
                    <a:pt x="454" y="465"/>
                  </a:lnTo>
                  <a:lnTo>
                    <a:pt x="485" y="460"/>
                  </a:lnTo>
                  <a:lnTo>
                    <a:pt x="468" y="444"/>
                  </a:lnTo>
                  <a:lnTo>
                    <a:pt x="501" y="439"/>
                  </a:lnTo>
                  <a:lnTo>
                    <a:pt x="518" y="423"/>
                  </a:lnTo>
                  <a:lnTo>
                    <a:pt x="539" y="427"/>
                  </a:lnTo>
                  <a:lnTo>
                    <a:pt x="534" y="427"/>
                  </a:lnTo>
                  <a:lnTo>
                    <a:pt x="539" y="423"/>
                  </a:lnTo>
                  <a:lnTo>
                    <a:pt x="560" y="444"/>
                  </a:lnTo>
                  <a:lnTo>
                    <a:pt x="577" y="439"/>
                  </a:lnTo>
                  <a:lnTo>
                    <a:pt x="593" y="411"/>
                  </a:lnTo>
                  <a:lnTo>
                    <a:pt x="593" y="371"/>
                  </a:lnTo>
                  <a:lnTo>
                    <a:pt x="598" y="354"/>
                  </a:lnTo>
                  <a:lnTo>
                    <a:pt x="598" y="349"/>
                  </a:lnTo>
                  <a:lnTo>
                    <a:pt x="610" y="338"/>
                  </a:lnTo>
                  <a:lnTo>
                    <a:pt x="610" y="328"/>
                  </a:lnTo>
                  <a:lnTo>
                    <a:pt x="648" y="316"/>
                  </a:lnTo>
                  <a:lnTo>
                    <a:pt x="664" y="300"/>
                  </a:lnTo>
                  <a:lnTo>
                    <a:pt x="652" y="283"/>
                  </a:lnTo>
                  <a:lnTo>
                    <a:pt x="652" y="272"/>
                  </a:lnTo>
                  <a:lnTo>
                    <a:pt x="643" y="272"/>
                  </a:lnTo>
                  <a:lnTo>
                    <a:pt x="643" y="262"/>
                  </a:lnTo>
                  <a:lnTo>
                    <a:pt x="631" y="246"/>
                  </a:lnTo>
                  <a:lnTo>
                    <a:pt x="681" y="255"/>
                  </a:lnTo>
                  <a:lnTo>
                    <a:pt x="718" y="246"/>
                  </a:lnTo>
                  <a:lnTo>
                    <a:pt x="723" y="222"/>
                  </a:lnTo>
                  <a:lnTo>
                    <a:pt x="707" y="205"/>
                  </a:lnTo>
                  <a:lnTo>
                    <a:pt x="718" y="201"/>
                  </a:lnTo>
                  <a:lnTo>
                    <a:pt x="718" y="189"/>
                  </a:lnTo>
                  <a:lnTo>
                    <a:pt x="749" y="168"/>
                  </a:lnTo>
                  <a:lnTo>
                    <a:pt x="756" y="151"/>
                  </a:lnTo>
                  <a:lnTo>
                    <a:pt x="749" y="144"/>
                  </a:lnTo>
                  <a:lnTo>
                    <a:pt x="756" y="134"/>
                  </a:lnTo>
                  <a:lnTo>
                    <a:pt x="749" y="94"/>
                  </a:lnTo>
                  <a:lnTo>
                    <a:pt x="723" y="78"/>
                  </a:lnTo>
                  <a:lnTo>
                    <a:pt x="733" y="73"/>
                  </a:lnTo>
                  <a:lnTo>
                    <a:pt x="756" y="57"/>
                  </a:lnTo>
                  <a:lnTo>
                    <a:pt x="756" y="52"/>
                  </a:lnTo>
                  <a:lnTo>
                    <a:pt x="761" y="52"/>
                  </a:lnTo>
                  <a:lnTo>
                    <a:pt x="794" y="23"/>
                  </a:lnTo>
                  <a:lnTo>
                    <a:pt x="825" y="19"/>
                  </a:lnTo>
                  <a:lnTo>
                    <a:pt x="900" y="7"/>
                  </a:lnTo>
                  <a:lnTo>
                    <a:pt x="922" y="19"/>
                  </a:lnTo>
                  <a:lnTo>
                    <a:pt x="955" y="0"/>
                  </a:lnTo>
                  <a:lnTo>
                    <a:pt x="966" y="7"/>
                  </a:lnTo>
                  <a:lnTo>
                    <a:pt x="966" y="0"/>
                  </a:lnTo>
                  <a:lnTo>
                    <a:pt x="1004" y="0"/>
                  </a:lnTo>
                  <a:lnTo>
                    <a:pt x="1018" y="7"/>
                  </a:lnTo>
                  <a:lnTo>
                    <a:pt x="1025" y="23"/>
                  </a:lnTo>
                  <a:lnTo>
                    <a:pt x="1042" y="23"/>
                  </a:lnTo>
                  <a:lnTo>
                    <a:pt x="1056" y="35"/>
                  </a:lnTo>
                  <a:lnTo>
                    <a:pt x="1063" y="61"/>
                  </a:lnTo>
                  <a:lnTo>
                    <a:pt x="1056" y="78"/>
                  </a:lnTo>
                  <a:lnTo>
                    <a:pt x="1073" y="90"/>
                  </a:lnTo>
                  <a:lnTo>
                    <a:pt x="1080" y="106"/>
                  </a:lnTo>
                  <a:lnTo>
                    <a:pt x="1101" y="94"/>
                  </a:lnTo>
                  <a:lnTo>
                    <a:pt x="1101" y="106"/>
                  </a:lnTo>
                  <a:lnTo>
                    <a:pt x="1127" y="118"/>
                  </a:lnTo>
                  <a:lnTo>
                    <a:pt x="1165" y="127"/>
                  </a:lnTo>
                  <a:lnTo>
                    <a:pt x="1193" y="127"/>
                  </a:lnTo>
                  <a:lnTo>
                    <a:pt x="1132" y="160"/>
                  </a:lnTo>
                  <a:lnTo>
                    <a:pt x="1127" y="189"/>
                  </a:lnTo>
                  <a:lnTo>
                    <a:pt x="1094" y="184"/>
                  </a:lnTo>
                  <a:lnTo>
                    <a:pt x="1073" y="201"/>
                  </a:lnTo>
                  <a:lnTo>
                    <a:pt x="1063" y="201"/>
                  </a:lnTo>
                  <a:lnTo>
                    <a:pt x="1042" y="205"/>
                  </a:lnTo>
                  <a:lnTo>
                    <a:pt x="950" y="184"/>
                  </a:lnTo>
                  <a:lnTo>
                    <a:pt x="917" y="201"/>
                  </a:lnTo>
                  <a:lnTo>
                    <a:pt x="912" y="217"/>
                  </a:lnTo>
                  <a:lnTo>
                    <a:pt x="922" y="229"/>
                  </a:lnTo>
                  <a:lnTo>
                    <a:pt x="917" y="238"/>
                  </a:lnTo>
                  <a:lnTo>
                    <a:pt x="938" y="246"/>
                  </a:lnTo>
                  <a:lnTo>
                    <a:pt x="922" y="272"/>
                  </a:lnTo>
                  <a:lnTo>
                    <a:pt x="933" y="283"/>
                  </a:lnTo>
                  <a:lnTo>
                    <a:pt x="922" y="316"/>
                  </a:lnTo>
                  <a:lnTo>
                    <a:pt x="950" y="328"/>
                  </a:lnTo>
                  <a:lnTo>
                    <a:pt x="950" y="349"/>
                  </a:lnTo>
                  <a:lnTo>
                    <a:pt x="971" y="349"/>
                  </a:lnTo>
                  <a:lnTo>
                    <a:pt x="971" y="371"/>
                  </a:lnTo>
                  <a:lnTo>
                    <a:pt x="992" y="371"/>
                  </a:lnTo>
                  <a:lnTo>
                    <a:pt x="1018" y="383"/>
                  </a:lnTo>
                  <a:lnTo>
                    <a:pt x="1018" y="387"/>
                  </a:lnTo>
                  <a:lnTo>
                    <a:pt x="1009" y="404"/>
                  </a:lnTo>
                  <a:lnTo>
                    <a:pt x="988" y="404"/>
                  </a:lnTo>
                  <a:lnTo>
                    <a:pt x="966" y="423"/>
                  </a:lnTo>
                  <a:lnTo>
                    <a:pt x="955" y="427"/>
                  </a:lnTo>
                  <a:lnTo>
                    <a:pt x="966" y="449"/>
                  </a:lnTo>
                  <a:lnTo>
                    <a:pt x="955" y="477"/>
                  </a:lnTo>
                  <a:lnTo>
                    <a:pt x="966" y="482"/>
                  </a:lnTo>
                  <a:lnTo>
                    <a:pt x="966" y="477"/>
                  </a:lnTo>
                  <a:lnTo>
                    <a:pt x="971" y="482"/>
                  </a:lnTo>
                  <a:lnTo>
                    <a:pt x="950" y="498"/>
                  </a:lnTo>
                  <a:lnTo>
                    <a:pt x="917" y="538"/>
                  </a:lnTo>
                  <a:lnTo>
                    <a:pt x="917" y="555"/>
                  </a:lnTo>
                  <a:lnTo>
                    <a:pt x="879" y="571"/>
                  </a:lnTo>
                  <a:lnTo>
                    <a:pt x="846" y="642"/>
                  </a:lnTo>
                  <a:lnTo>
                    <a:pt x="808" y="666"/>
                  </a:lnTo>
                  <a:lnTo>
                    <a:pt x="794" y="687"/>
                  </a:lnTo>
                  <a:lnTo>
                    <a:pt x="777" y="716"/>
                  </a:lnTo>
                  <a:lnTo>
                    <a:pt x="777" y="725"/>
                  </a:lnTo>
                  <a:lnTo>
                    <a:pt x="702" y="742"/>
                  </a:lnTo>
                  <a:lnTo>
                    <a:pt x="695" y="742"/>
                  </a:lnTo>
                  <a:lnTo>
                    <a:pt x="685" y="720"/>
                  </a:lnTo>
                  <a:lnTo>
                    <a:pt x="669" y="720"/>
                  </a:lnTo>
                  <a:lnTo>
                    <a:pt x="614" y="782"/>
                  </a:lnTo>
                  <a:lnTo>
                    <a:pt x="610" y="827"/>
                  </a:lnTo>
                  <a:lnTo>
                    <a:pt x="631" y="831"/>
                  </a:lnTo>
                  <a:lnTo>
                    <a:pt x="652" y="836"/>
                  </a:lnTo>
                  <a:lnTo>
                    <a:pt x="648" y="881"/>
                  </a:lnTo>
                  <a:lnTo>
                    <a:pt x="664" y="902"/>
                  </a:lnTo>
                  <a:lnTo>
                    <a:pt x="685" y="902"/>
                  </a:lnTo>
                  <a:lnTo>
                    <a:pt x="695" y="926"/>
                  </a:lnTo>
                  <a:lnTo>
                    <a:pt x="702" y="942"/>
                  </a:lnTo>
                  <a:lnTo>
                    <a:pt x="718" y="980"/>
                  </a:lnTo>
                  <a:lnTo>
                    <a:pt x="707" y="980"/>
                  </a:lnTo>
                  <a:lnTo>
                    <a:pt x="707" y="997"/>
                  </a:lnTo>
                  <a:lnTo>
                    <a:pt x="718" y="997"/>
                  </a:lnTo>
                  <a:lnTo>
                    <a:pt x="695" y="1013"/>
                  </a:lnTo>
                  <a:lnTo>
                    <a:pt x="685" y="1013"/>
                  </a:lnTo>
                  <a:lnTo>
                    <a:pt x="681" y="997"/>
                  </a:lnTo>
                  <a:lnTo>
                    <a:pt x="648" y="1001"/>
                  </a:lnTo>
                  <a:lnTo>
                    <a:pt x="643" y="1020"/>
                  </a:lnTo>
                  <a:lnTo>
                    <a:pt x="626" y="1020"/>
                  </a:lnTo>
                  <a:lnTo>
                    <a:pt x="614" y="1013"/>
                  </a:lnTo>
                  <a:lnTo>
                    <a:pt x="572" y="1013"/>
                  </a:lnTo>
                  <a:lnTo>
                    <a:pt x="555" y="1001"/>
                  </a:lnTo>
                  <a:lnTo>
                    <a:pt x="555" y="1037"/>
                  </a:lnTo>
                  <a:lnTo>
                    <a:pt x="522" y="1037"/>
                  </a:lnTo>
                  <a:lnTo>
                    <a:pt x="518" y="1046"/>
                  </a:lnTo>
                  <a:lnTo>
                    <a:pt x="518" y="1037"/>
                  </a:lnTo>
                  <a:lnTo>
                    <a:pt x="518" y="1053"/>
                  </a:lnTo>
                  <a:lnTo>
                    <a:pt x="506" y="1053"/>
                  </a:lnTo>
                  <a:lnTo>
                    <a:pt x="501" y="1037"/>
                  </a:lnTo>
                  <a:lnTo>
                    <a:pt x="501" y="1046"/>
                  </a:lnTo>
                  <a:lnTo>
                    <a:pt x="492" y="1037"/>
                  </a:lnTo>
                  <a:lnTo>
                    <a:pt x="492" y="1046"/>
                  </a:lnTo>
                  <a:lnTo>
                    <a:pt x="485" y="1046"/>
                  </a:lnTo>
                  <a:lnTo>
                    <a:pt x="468" y="1037"/>
                  </a:lnTo>
                  <a:lnTo>
                    <a:pt x="468" y="1037"/>
                  </a:lnTo>
                  <a:lnTo>
                    <a:pt x="463" y="1030"/>
                  </a:lnTo>
                  <a:lnTo>
                    <a:pt x="454" y="1020"/>
                  </a:lnTo>
                  <a:lnTo>
                    <a:pt x="437" y="980"/>
                  </a:lnTo>
                  <a:lnTo>
                    <a:pt x="447" y="975"/>
                  </a:lnTo>
                  <a:lnTo>
                    <a:pt x="409" y="964"/>
                  </a:lnTo>
                  <a:lnTo>
                    <a:pt x="416" y="942"/>
                  </a:lnTo>
                  <a:lnTo>
                    <a:pt x="399" y="926"/>
                  </a:lnTo>
                  <a:lnTo>
                    <a:pt x="399" y="919"/>
                  </a:lnTo>
                  <a:lnTo>
                    <a:pt x="383" y="909"/>
                  </a:lnTo>
                  <a:lnTo>
                    <a:pt x="371" y="919"/>
                  </a:lnTo>
                  <a:lnTo>
                    <a:pt x="383" y="909"/>
                  </a:lnTo>
                  <a:lnTo>
                    <a:pt x="399" y="926"/>
                  </a:lnTo>
                  <a:lnTo>
                    <a:pt x="274" y="926"/>
                  </a:lnTo>
                  <a:lnTo>
                    <a:pt x="270" y="942"/>
                  </a:lnTo>
                  <a:lnTo>
                    <a:pt x="265" y="935"/>
                  </a:lnTo>
                  <a:lnTo>
                    <a:pt x="232" y="926"/>
                  </a:lnTo>
                  <a:lnTo>
                    <a:pt x="232" y="919"/>
                  </a:lnTo>
                  <a:lnTo>
                    <a:pt x="220" y="926"/>
                  </a:lnTo>
                  <a:lnTo>
                    <a:pt x="220" y="926"/>
                  </a:lnTo>
                  <a:lnTo>
                    <a:pt x="199" y="926"/>
                  </a:lnTo>
                  <a:lnTo>
                    <a:pt x="182" y="935"/>
                  </a:lnTo>
                  <a:lnTo>
                    <a:pt x="90" y="942"/>
                  </a:lnTo>
                  <a:lnTo>
                    <a:pt x="69" y="947"/>
                  </a:lnTo>
                  <a:lnTo>
                    <a:pt x="59" y="947"/>
                  </a:lnTo>
                  <a:lnTo>
                    <a:pt x="69" y="942"/>
                  </a:lnTo>
                  <a:lnTo>
                    <a:pt x="52" y="942"/>
                  </a:lnTo>
                  <a:lnTo>
                    <a:pt x="59" y="893"/>
                  </a:lnTo>
                  <a:lnTo>
                    <a:pt x="69" y="893"/>
                  </a:lnTo>
                  <a:lnTo>
                    <a:pt x="69" y="864"/>
                  </a:lnTo>
                  <a:lnTo>
                    <a:pt x="90" y="848"/>
                  </a:lnTo>
                  <a:lnTo>
                    <a:pt x="97" y="848"/>
                  </a:lnTo>
                  <a:lnTo>
                    <a:pt x="97" y="836"/>
                  </a:lnTo>
                  <a:lnTo>
                    <a:pt x="114" y="831"/>
                  </a:lnTo>
                  <a:lnTo>
                    <a:pt x="140" y="831"/>
                  </a:lnTo>
                  <a:lnTo>
                    <a:pt x="161" y="831"/>
                  </a:lnTo>
                  <a:lnTo>
                    <a:pt x="166" y="791"/>
                  </a:lnTo>
                  <a:lnTo>
                    <a:pt x="177" y="791"/>
                  </a:lnTo>
                  <a:lnTo>
                    <a:pt x="166" y="775"/>
                  </a:lnTo>
                  <a:lnTo>
                    <a:pt x="140" y="782"/>
                  </a:lnTo>
                  <a:lnTo>
                    <a:pt x="140" y="770"/>
                  </a:lnTo>
                  <a:lnTo>
                    <a:pt x="140" y="704"/>
                  </a:lnTo>
                  <a:lnTo>
                    <a:pt x="123" y="704"/>
                  </a:lnTo>
                  <a:lnTo>
                    <a:pt x="107" y="687"/>
                  </a:lnTo>
                  <a:lnTo>
                    <a:pt x="76" y="683"/>
                  </a:lnTo>
                  <a:lnTo>
                    <a:pt x="52" y="666"/>
                  </a:lnTo>
                  <a:lnTo>
                    <a:pt x="31" y="616"/>
                  </a:lnTo>
                  <a:lnTo>
                    <a:pt x="0" y="576"/>
                  </a:lnTo>
                  <a:lnTo>
                    <a:pt x="114" y="609"/>
                  </a:lnTo>
                  <a:lnTo>
                    <a:pt x="166" y="609"/>
                  </a:lnTo>
                  <a:lnTo>
                    <a:pt x="166" y="609"/>
                  </a:lnTo>
                  <a:lnTo>
                    <a:pt x="166" y="609"/>
                  </a:lnTo>
                  <a:close/>
                  <a:moveTo>
                    <a:pt x="463" y="1030"/>
                  </a:moveTo>
                  <a:lnTo>
                    <a:pt x="463" y="1030"/>
                  </a:lnTo>
                  <a:lnTo>
                    <a:pt x="463" y="1030"/>
                  </a:lnTo>
                  <a:lnTo>
                    <a:pt x="463" y="1030"/>
                  </a:lnTo>
                  <a:lnTo>
                    <a:pt x="463" y="1030"/>
                  </a:lnTo>
                  <a:lnTo>
                    <a:pt x="463" y="103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1" name="Freeform 532">
              <a:extLst>
                <a:ext uri="{FF2B5EF4-FFF2-40B4-BE49-F238E27FC236}">
                  <a16:creationId xmlns:a16="http://schemas.microsoft.com/office/drawing/2014/main" id="{DB3D112D-9AD9-4FEA-896C-E5BF4F32E30F}"/>
                </a:ext>
              </a:extLst>
            </p:cNvPr>
            <p:cNvSpPr>
              <a:spLocks/>
            </p:cNvSpPr>
            <p:nvPr/>
          </p:nvSpPr>
          <p:spPr bwMode="gray">
            <a:xfrm>
              <a:off x="14069171" y="2673319"/>
              <a:ext cx="229762" cy="182632"/>
            </a:xfrm>
            <a:custGeom>
              <a:avLst/>
              <a:gdLst>
                <a:gd name="T0" fmla="*/ 87 w 702"/>
                <a:gd name="T1" fmla="*/ 392 h 558"/>
                <a:gd name="T2" fmla="*/ 54 w 702"/>
                <a:gd name="T3" fmla="*/ 371 h 558"/>
                <a:gd name="T4" fmla="*/ 50 w 702"/>
                <a:gd name="T5" fmla="*/ 388 h 558"/>
                <a:gd name="T6" fmla="*/ 54 w 702"/>
                <a:gd name="T7" fmla="*/ 321 h 558"/>
                <a:gd name="T8" fmla="*/ 40 w 702"/>
                <a:gd name="T9" fmla="*/ 310 h 558"/>
                <a:gd name="T10" fmla="*/ 40 w 702"/>
                <a:gd name="T11" fmla="*/ 265 h 558"/>
                <a:gd name="T12" fmla="*/ 24 w 702"/>
                <a:gd name="T13" fmla="*/ 239 h 558"/>
                <a:gd name="T14" fmla="*/ 0 w 702"/>
                <a:gd name="T15" fmla="*/ 189 h 558"/>
                <a:gd name="T16" fmla="*/ 16 w 702"/>
                <a:gd name="T17" fmla="*/ 166 h 558"/>
                <a:gd name="T18" fmla="*/ 7 w 702"/>
                <a:gd name="T19" fmla="*/ 111 h 558"/>
                <a:gd name="T20" fmla="*/ 33 w 702"/>
                <a:gd name="T21" fmla="*/ 99 h 558"/>
                <a:gd name="T22" fmla="*/ 0 w 702"/>
                <a:gd name="T23" fmla="*/ 90 h 558"/>
                <a:gd name="T24" fmla="*/ 163 w 702"/>
                <a:gd name="T25" fmla="*/ 24 h 558"/>
                <a:gd name="T26" fmla="*/ 293 w 702"/>
                <a:gd name="T27" fmla="*/ 0 h 558"/>
                <a:gd name="T28" fmla="*/ 326 w 702"/>
                <a:gd name="T29" fmla="*/ 24 h 558"/>
                <a:gd name="T30" fmla="*/ 309 w 702"/>
                <a:gd name="T31" fmla="*/ 40 h 558"/>
                <a:gd name="T32" fmla="*/ 380 w 702"/>
                <a:gd name="T33" fmla="*/ 33 h 558"/>
                <a:gd name="T34" fmla="*/ 359 w 702"/>
                <a:gd name="T35" fmla="*/ 45 h 558"/>
                <a:gd name="T36" fmla="*/ 397 w 702"/>
                <a:gd name="T37" fmla="*/ 40 h 558"/>
                <a:gd name="T38" fmla="*/ 609 w 702"/>
                <a:gd name="T39" fmla="*/ 45 h 558"/>
                <a:gd name="T40" fmla="*/ 647 w 702"/>
                <a:gd name="T41" fmla="*/ 57 h 558"/>
                <a:gd name="T42" fmla="*/ 664 w 702"/>
                <a:gd name="T43" fmla="*/ 90 h 558"/>
                <a:gd name="T44" fmla="*/ 690 w 702"/>
                <a:gd name="T45" fmla="*/ 206 h 558"/>
                <a:gd name="T46" fmla="*/ 635 w 702"/>
                <a:gd name="T47" fmla="*/ 244 h 558"/>
                <a:gd name="T48" fmla="*/ 664 w 702"/>
                <a:gd name="T49" fmla="*/ 310 h 558"/>
                <a:gd name="T50" fmla="*/ 673 w 702"/>
                <a:gd name="T51" fmla="*/ 350 h 558"/>
                <a:gd name="T52" fmla="*/ 690 w 702"/>
                <a:gd name="T53" fmla="*/ 388 h 558"/>
                <a:gd name="T54" fmla="*/ 690 w 702"/>
                <a:gd name="T55" fmla="*/ 425 h 558"/>
                <a:gd name="T56" fmla="*/ 647 w 702"/>
                <a:gd name="T57" fmla="*/ 458 h 558"/>
                <a:gd name="T58" fmla="*/ 609 w 702"/>
                <a:gd name="T59" fmla="*/ 532 h 558"/>
                <a:gd name="T60" fmla="*/ 614 w 702"/>
                <a:gd name="T61" fmla="*/ 553 h 558"/>
                <a:gd name="T62" fmla="*/ 593 w 702"/>
                <a:gd name="T63" fmla="*/ 553 h 558"/>
                <a:gd name="T64" fmla="*/ 555 w 702"/>
                <a:gd name="T65" fmla="*/ 532 h 558"/>
                <a:gd name="T66" fmla="*/ 489 w 702"/>
                <a:gd name="T67" fmla="*/ 520 h 558"/>
                <a:gd name="T68" fmla="*/ 468 w 702"/>
                <a:gd name="T69" fmla="*/ 520 h 558"/>
                <a:gd name="T70" fmla="*/ 418 w 702"/>
                <a:gd name="T71" fmla="*/ 532 h 558"/>
                <a:gd name="T72" fmla="*/ 397 w 702"/>
                <a:gd name="T73" fmla="*/ 536 h 558"/>
                <a:gd name="T74" fmla="*/ 392 w 702"/>
                <a:gd name="T75" fmla="*/ 520 h 558"/>
                <a:gd name="T76" fmla="*/ 347 w 702"/>
                <a:gd name="T77" fmla="*/ 520 h 558"/>
                <a:gd name="T78" fmla="*/ 331 w 702"/>
                <a:gd name="T79" fmla="*/ 515 h 558"/>
                <a:gd name="T80" fmla="*/ 326 w 702"/>
                <a:gd name="T81" fmla="*/ 499 h 558"/>
                <a:gd name="T82" fmla="*/ 309 w 702"/>
                <a:gd name="T83" fmla="*/ 475 h 558"/>
                <a:gd name="T84" fmla="*/ 267 w 702"/>
                <a:gd name="T85" fmla="*/ 466 h 558"/>
                <a:gd name="T86" fmla="*/ 239 w 702"/>
                <a:gd name="T87" fmla="*/ 449 h 558"/>
                <a:gd name="T88" fmla="*/ 250 w 702"/>
                <a:gd name="T89" fmla="*/ 433 h 558"/>
                <a:gd name="T90" fmla="*/ 196 w 702"/>
                <a:gd name="T91" fmla="*/ 425 h 558"/>
                <a:gd name="T92" fmla="*/ 170 w 702"/>
                <a:gd name="T93" fmla="*/ 458 h 558"/>
                <a:gd name="T94" fmla="*/ 158 w 702"/>
                <a:gd name="T95" fmla="*/ 409 h 558"/>
                <a:gd name="T96" fmla="*/ 142 w 702"/>
                <a:gd name="T97" fmla="*/ 40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2" h="558">
                  <a:moveTo>
                    <a:pt x="142" y="404"/>
                  </a:moveTo>
                  <a:lnTo>
                    <a:pt x="87" y="392"/>
                  </a:lnTo>
                  <a:lnTo>
                    <a:pt x="71" y="371"/>
                  </a:lnTo>
                  <a:lnTo>
                    <a:pt x="54" y="371"/>
                  </a:lnTo>
                  <a:lnTo>
                    <a:pt x="54" y="388"/>
                  </a:lnTo>
                  <a:lnTo>
                    <a:pt x="50" y="388"/>
                  </a:lnTo>
                  <a:lnTo>
                    <a:pt x="61" y="350"/>
                  </a:lnTo>
                  <a:lnTo>
                    <a:pt x="54" y="321"/>
                  </a:lnTo>
                  <a:lnTo>
                    <a:pt x="40" y="321"/>
                  </a:lnTo>
                  <a:lnTo>
                    <a:pt x="40" y="310"/>
                  </a:lnTo>
                  <a:lnTo>
                    <a:pt x="33" y="293"/>
                  </a:lnTo>
                  <a:lnTo>
                    <a:pt x="40" y="265"/>
                  </a:lnTo>
                  <a:lnTo>
                    <a:pt x="40" y="255"/>
                  </a:lnTo>
                  <a:lnTo>
                    <a:pt x="24" y="239"/>
                  </a:lnTo>
                  <a:lnTo>
                    <a:pt x="33" y="222"/>
                  </a:lnTo>
                  <a:lnTo>
                    <a:pt x="0" y="189"/>
                  </a:lnTo>
                  <a:lnTo>
                    <a:pt x="0" y="182"/>
                  </a:lnTo>
                  <a:lnTo>
                    <a:pt x="16" y="166"/>
                  </a:lnTo>
                  <a:lnTo>
                    <a:pt x="16" y="144"/>
                  </a:lnTo>
                  <a:lnTo>
                    <a:pt x="7" y="111"/>
                  </a:lnTo>
                  <a:lnTo>
                    <a:pt x="24" y="111"/>
                  </a:lnTo>
                  <a:lnTo>
                    <a:pt x="33" y="99"/>
                  </a:lnTo>
                  <a:lnTo>
                    <a:pt x="0" y="95"/>
                  </a:lnTo>
                  <a:lnTo>
                    <a:pt x="0" y="90"/>
                  </a:lnTo>
                  <a:lnTo>
                    <a:pt x="142" y="57"/>
                  </a:lnTo>
                  <a:lnTo>
                    <a:pt x="163" y="24"/>
                  </a:lnTo>
                  <a:lnTo>
                    <a:pt x="267" y="0"/>
                  </a:lnTo>
                  <a:lnTo>
                    <a:pt x="293" y="0"/>
                  </a:lnTo>
                  <a:lnTo>
                    <a:pt x="321" y="17"/>
                  </a:lnTo>
                  <a:lnTo>
                    <a:pt x="326" y="24"/>
                  </a:lnTo>
                  <a:lnTo>
                    <a:pt x="293" y="7"/>
                  </a:lnTo>
                  <a:lnTo>
                    <a:pt x="309" y="40"/>
                  </a:lnTo>
                  <a:lnTo>
                    <a:pt x="326" y="45"/>
                  </a:lnTo>
                  <a:lnTo>
                    <a:pt x="380" y="33"/>
                  </a:lnTo>
                  <a:lnTo>
                    <a:pt x="392" y="40"/>
                  </a:lnTo>
                  <a:lnTo>
                    <a:pt x="359" y="45"/>
                  </a:lnTo>
                  <a:lnTo>
                    <a:pt x="364" y="57"/>
                  </a:lnTo>
                  <a:lnTo>
                    <a:pt x="397" y="40"/>
                  </a:lnTo>
                  <a:lnTo>
                    <a:pt x="510" y="45"/>
                  </a:lnTo>
                  <a:lnTo>
                    <a:pt x="609" y="45"/>
                  </a:lnTo>
                  <a:lnTo>
                    <a:pt x="619" y="40"/>
                  </a:lnTo>
                  <a:lnTo>
                    <a:pt x="647" y="57"/>
                  </a:lnTo>
                  <a:lnTo>
                    <a:pt x="652" y="73"/>
                  </a:lnTo>
                  <a:lnTo>
                    <a:pt x="664" y="90"/>
                  </a:lnTo>
                  <a:lnTo>
                    <a:pt x="690" y="173"/>
                  </a:lnTo>
                  <a:lnTo>
                    <a:pt x="690" y="206"/>
                  </a:lnTo>
                  <a:lnTo>
                    <a:pt x="652" y="227"/>
                  </a:lnTo>
                  <a:lnTo>
                    <a:pt x="635" y="244"/>
                  </a:lnTo>
                  <a:lnTo>
                    <a:pt x="668" y="265"/>
                  </a:lnTo>
                  <a:lnTo>
                    <a:pt x="664" y="310"/>
                  </a:lnTo>
                  <a:lnTo>
                    <a:pt x="668" y="321"/>
                  </a:lnTo>
                  <a:lnTo>
                    <a:pt x="673" y="350"/>
                  </a:lnTo>
                  <a:lnTo>
                    <a:pt x="702" y="388"/>
                  </a:lnTo>
                  <a:lnTo>
                    <a:pt x="690" y="388"/>
                  </a:lnTo>
                  <a:lnTo>
                    <a:pt x="702" y="409"/>
                  </a:lnTo>
                  <a:lnTo>
                    <a:pt x="690" y="425"/>
                  </a:lnTo>
                  <a:lnTo>
                    <a:pt x="673" y="425"/>
                  </a:lnTo>
                  <a:lnTo>
                    <a:pt x="647" y="458"/>
                  </a:lnTo>
                  <a:lnTo>
                    <a:pt x="598" y="503"/>
                  </a:lnTo>
                  <a:lnTo>
                    <a:pt x="609" y="532"/>
                  </a:lnTo>
                  <a:lnTo>
                    <a:pt x="598" y="541"/>
                  </a:lnTo>
                  <a:lnTo>
                    <a:pt x="614" y="553"/>
                  </a:lnTo>
                  <a:lnTo>
                    <a:pt x="614" y="558"/>
                  </a:lnTo>
                  <a:lnTo>
                    <a:pt x="593" y="553"/>
                  </a:lnTo>
                  <a:lnTo>
                    <a:pt x="555" y="536"/>
                  </a:lnTo>
                  <a:lnTo>
                    <a:pt x="555" y="532"/>
                  </a:lnTo>
                  <a:lnTo>
                    <a:pt x="527" y="520"/>
                  </a:lnTo>
                  <a:lnTo>
                    <a:pt x="489" y="520"/>
                  </a:lnTo>
                  <a:lnTo>
                    <a:pt x="472" y="532"/>
                  </a:lnTo>
                  <a:lnTo>
                    <a:pt x="468" y="520"/>
                  </a:lnTo>
                  <a:lnTo>
                    <a:pt x="435" y="520"/>
                  </a:lnTo>
                  <a:lnTo>
                    <a:pt x="418" y="532"/>
                  </a:lnTo>
                  <a:lnTo>
                    <a:pt x="413" y="541"/>
                  </a:lnTo>
                  <a:lnTo>
                    <a:pt x="397" y="536"/>
                  </a:lnTo>
                  <a:lnTo>
                    <a:pt x="397" y="520"/>
                  </a:lnTo>
                  <a:lnTo>
                    <a:pt x="392" y="520"/>
                  </a:lnTo>
                  <a:lnTo>
                    <a:pt x="376" y="503"/>
                  </a:lnTo>
                  <a:lnTo>
                    <a:pt x="347" y="520"/>
                  </a:lnTo>
                  <a:lnTo>
                    <a:pt x="342" y="520"/>
                  </a:lnTo>
                  <a:lnTo>
                    <a:pt x="331" y="515"/>
                  </a:lnTo>
                  <a:lnTo>
                    <a:pt x="326" y="515"/>
                  </a:lnTo>
                  <a:lnTo>
                    <a:pt x="326" y="499"/>
                  </a:lnTo>
                  <a:lnTo>
                    <a:pt x="309" y="487"/>
                  </a:lnTo>
                  <a:lnTo>
                    <a:pt x="309" y="475"/>
                  </a:lnTo>
                  <a:lnTo>
                    <a:pt x="272" y="458"/>
                  </a:lnTo>
                  <a:lnTo>
                    <a:pt x="267" y="466"/>
                  </a:lnTo>
                  <a:lnTo>
                    <a:pt x="250" y="458"/>
                  </a:lnTo>
                  <a:lnTo>
                    <a:pt x="239" y="449"/>
                  </a:lnTo>
                  <a:lnTo>
                    <a:pt x="250" y="442"/>
                  </a:lnTo>
                  <a:lnTo>
                    <a:pt x="250" y="433"/>
                  </a:lnTo>
                  <a:lnTo>
                    <a:pt x="224" y="442"/>
                  </a:lnTo>
                  <a:lnTo>
                    <a:pt x="196" y="425"/>
                  </a:lnTo>
                  <a:lnTo>
                    <a:pt x="201" y="442"/>
                  </a:lnTo>
                  <a:lnTo>
                    <a:pt x="170" y="458"/>
                  </a:lnTo>
                  <a:lnTo>
                    <a:pt x="142" y="425"/>
                  </a:lnTo>
                  <a:lnTo>
                    <a:pt x="158" y="409"/>
                  </a:lnTo>
                  <a:lnTo>
                    <a:pt x="142" y="404"/>
                  </a:lnTo>
                  <a:lnTo>
                    <a:pt x="142" y="404"/>
                  </a:lnTo>
                  <a:lnTo>
                    <a:pt x="142" y="404"/>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2" name="Freeform 533">
              <a:extLst>
                <a:ext uri="{FF2B5EF4-FFF2-40B4-BE49-F238E27FC236}">
                  <a16:creationId xmlns:a16="http://schemas.microsoft.com/office/drawing/2014/main" id="{E66736F1-4AA5-4F53-A157-BF489312DE55}"/>
                </a:ext>
              </a:extLst>
            </p:cNvPr>
            <p:cNvSpPr>
              <a:spLocks noEditPoints="1"/>
            </p:cNvSpPr>
            <p:nvPr/>
          </p:nvSpPr>
          <p:spPr bwMode="gray">
            <a:xfrm>
              <a:off x="11837990" y="3887262"/>
              <a:ext cx="134519" cy="55640"/>
            </a:xfrm>
            <a:custGeom>
              <a:avLst/>
              <a:gdLst>
                <a:gd name="T0" fmla="*/ 4 w 411"/>
                <a:gd name="T1" fmla="*/ 94 h 170"/>
                <a:gd name="T2" fmla="*/ 16 w 411"/>
                <a:gd name="T3" fmla="*/ 78 h 170"/>
                <a:gd name="T4" fmla="*/ 21 w 411"/>
                <a:gd name="T5" fmla="*/ 45 h 170"/>
                <a:gd name="T6" fmla="*/ 4 w 411"/>
                <a:gd name="T7" fmla="*/ 5 h 170"/>
                <a:gd name="T8" fmla="*/ 33 w 411"/>
                <a:gd name="T9" fmla="*/ 5 h 170"/>
                <a:gd name="T10" fmla="*/ 42 w 411"/>
                <a:gd name="T11" fmla="*/ 16 h 170"/>
                <a:gd name="T12" fmla="*/ 87 w 411"/>
                <a:gd name="T13" fmla="*/ 45 h 170"/>
                <a:gd name="T14" fmla="*/ 108 w 411"/>
                <a:gd name="T15" fmla="*/ 54 h 170"/>
                <a:gd name="T16" fmla="*/ 205 w 411"/>
                <a:gd name="T17" fmla="*/ 28 h 170"/>
                <a:gd name="T18" fmla="*/ 286 w 411"/>
                <a:gd name="T19" fmla="*/ 5 h 170"/>
                <a:gd name="T20" fmla="*/ 314 w 411"/>
                <a:gd name="T21" fmla="*/ 16 h 170"/>
                <a:gd name="T22" fmla="*/ 385 w 411"/>
                <a:gd name="T23" fmla="*/ 61 h 170"/>
                <a:gd name="T24" fmla="*/ 394 w 411"/>
                <a:gd name="T25" fmla="*/ 78 h 170"/>
                <a:gd name="T26" fmla="*/ 411 w 411"/>
                <a:gd name="T27" fmla="*/ 116 h 170"/>
                <a:gd name="T28" fmla="*/ 401 w 411"/>
                <a:gd name="T29" fmla="*/ 137 h 170"/>
                <a:gd name="T30" fmla="*/ 368 w 411"/>
                <a:gd name="T31" fmla="*/ 132 h 170"/>
                <a:gd name="T32" fmla="*/ 368 w 411"/>
                <a:gd name="T33" fmla="*/ 153 h 170"/>
                <a:gd name="T34" fmla="*/ 340 w 411"/>
                <a:gd name="T35" fmla="*/ 149 h 170"/>
                <a:gd name="T36" fmla="*/ 340 w 411"/>
                <a:gd name="T37" fmla="*/ 111 h 170"/>
                <a:gd name="T38" fmla="*/ 347 w 411"/>
                <a:gd name="T39" fmla="*/ 82 h 170"/>
                <a:gd name="T40" fmla="*/ 368 w 411"/>
                <a:gd name="T41" fmla="*/ 99 h 170"/>
                <a:gd name="T42" fmla="*/ 347 w 411"/>
                <a:gd name="T43" fmla="*/ 82 h 170"/>
                <a:gd name="T44" fmla="*/ 314 w 411"/>
                <a:gd name="T45" fmla="*/ 71 h 170"/>
                <a:gd name="T46" fmla="*/ 286 w 411"/>
                <a:gd name="T47" fmla="*/ 28 h 170"/>
                <a:gd name="T48" fmla="*/ 248 w 411"/>
                <a:gd name="T49" fmla="*/ 45 h 170"/>
                <a:gd name="T50" fmla="*/ 231 w 411"/>
                <a:gd name="T51" fmla="*/ 54 h 170"/>
                <a:gd name="T52" fmla="*/ 217 w 411"/>
                <a:gd name="T53" fmla="*/ 82 h 170"/>
                <a:gd name="T54" fmla="*/ 184 w 411"/>
                <a:gd name="T55" fmla="*/ 111 h 170"/>
                <a:gd name="T56" fmla="*/ 193 w 411"/>
                <a:gd name="T57" fmla="*/ 153 h 170"/>
                <a:gd name="T58" fmla="*/ 146 w 411"/>
                <a:gd name="T59" fmla="*/ 170 h 170"/>
                <a:gd name="T60" fmla="*/ 139 w 411"/>
                <a:gd name="T61" fmla="*/ 127 h 170"/>
                <a:gd name="T62" fmla="*/ 130 w 411"/>
                <a:gd name="T63" fmla="*/ 137 h 170"/>
                <a:gd name="T64" fmla="*/ 92 w 411"/>
                <a:gd name="T65" fmla="*/ 99 h 170"/>
                <a:gd name="T66" fmla="*/ 54 w 411"/>
                <a:gd name="T67" fmla="*/ 94 h 170"/>
                <a:gd name="T68" fmla="*/ 16 w 411"/>
                <a:gd name="T69" fmla="*/ 94 h 170"/>
                <a:gd name="T70" fmla="*/ 4 w 411"/>
                <a:gd name="T71" fmla="*/ 111 h 170"/>
                <a:gd name="T72" fmla="*/ 54 w 411"/>
                <a:gd name="T73" fmla="*/ 16 h 170"/>
                <a:gd name="T74" fmla="*/ 54 w 411"/>
                <a:gd name="T75" fmla="*/ 16 h 170"/>
                <a:gd name="T76" fmla="*/ 54 w 411"/>
                <a:gd name="T77" fmla="*/ 16 h 170"/>
                <a:gd name="T78" fmla="*/ 293 w 411"/>
                <a:gd name="T79" fmla="*/ 82 h 170"/>
                <a:gd name="T80" fmla="*/ 293 w 411"/>
                <a:gd name="T81" fmla="*/ 94 h 170"/>
                <a:gd name="T82" fmla="*/ 293 w 411"/>
                <a:gd name="T83" fmla="*/ 82 h 170"/>
                <a:gd name="T84" fmla="*/ 293 w 411"/>
                <a:gd name="T85" fmla="*/ 82 h 170"/>
                <a:gd name="T86" fmla="*/ 92 w 411"/>
                <a:gd name="T87" fmla="*/ 153 h 170"/>
                <a:gd name="T88" fmla="*/ 87 w 411"/>
                <a:gd name="T89" fmla="*/ 153 h 170"/>
                <a:gd name="T90" fmla="*/ 92 w 411"/>
                <a:gd name="T91" fmla="*/ 137 h 170"/>
                <a:gd name="T92" fmla="*/ 92 w 411"/>
                <a:gd name="T9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1" h="170">
                  <a:moveTo>
                    <a:pt x="4" y="111"/>
                  </a:moveTo>
                  <a:lnTo>
                    <a:pt x="4" y="94"/>
                  </a:lnTo>
                  <a:lnTo>
                    <a:pt x="0" y="94"/>
                  </a:lnTo>
                  <a:lnTo>
                    <a:pt x="16" y="78"/>
                  </a:lnTo>
                  <a:lnTo>
                    <a:pt x="4" y="61"/>
                  </a:lnTo>
                  <a:lnTo>
                    <a:pt x="21" y="45"/>
                  </a:lnTo>
                  <a:lnTo>
                    <a:pt x="4" y="38"/>
                  </a:lnTo>
                  <a:lnTo>
                    <a:pt x="4" y="5"/>
                  </a:lnTo>
                  <a:lnTo>
                    <a:pt x="16" y="0"/>
                  </a:lnTo>
                  <a:lnTo>
                    <a:pt x="33" y="5"/>
                  </a:lnTo>
                  <a:lnTo>
                    <a:pt x="33" y="0"/>
                  </a:lnTo>
                  <a:lnTo>
                    <a:pt x="42" y="16"/>
                  </a:lnTo>
                  <a:lnTo>
                    <a:pt x="54" y="45"/>
                  </a:lnTo>
                  <a:lnTo>
                    <a:pt x="87" y="45"/>
                  </a:lnTo>
                  <a:lnTo>
                    <a:pt x="87" y="28"/>
                  </a:lnTo>
                  <a:lnTo>
                    <a:pt x="108" y="54"/>
                  </a:lnTo>
                  <a:lnTo>
                    <a:pt x="130" y="61"/>
                  </a:lnTo>
                  <a:lnTo>
                    <a:pt x="205" y="28"/>
                  </a:lnTo>
                  <a:lnTo>
                    <a:pt x="238" y="0"/>
                  </a:lnTo>
                  <a:lnTo>
                    <a:pt x="286" y="5"/>
                  </a:lnTo>
                  <a:lnTo>
                    <a:pt x="276" y="16"/>
                  </a:lnTo>
                  <a:lnTo>
                    <a:pt x="314" y="16"/>
                  </a:lnTo>
                  <a:lnTo>
                    <a:pt x="356" y="21"/>
                  </a:lnTo>
                  <a:lnTo>
                    <a:pt x="385" y="61"/>
                  </a:lnTo>
                  <a:lnTo>
                    <a:pt x="401" y="71"/>
                  </a:lnTo>
                  <a:lnTo>
                    <a:pt x="394" y="78"/>
                  </a:lnTo>
                  <a:lnTo>
                    <a:pt x="411" y="111"/>
                  </a:lnTo>
                  <a:lnTo>
                    <a:pt x="411" y="116"/>
                  </a:lnTo>
                  <a:lnTo>
                    <a:pt x="401" y="132"/>
                  </a:lnTo>
                  <a:lnTo>
                    <a:pt x="401" y="137"/>
                  </a:lnTo>
                  <a:lnTo>
                    <a:pt x="385" y="149"/>
                  </a:lnTo>
                  <a:lnTo>
                    <a:pt x="368" y="132"/>
                  </a:lnTo>
                  <a:lnTo>
                    <a:pt x="368" y="149"/>
                  </a:lnTo>
                  <a:lnTo>
                    <a:pt x="368" y="153"/>
                  </a:lnTo>
                  <a:lnTo>
                    <a:pt x="364" y="170"/>
                  </a:lnTo>
                  <a:lnTo>
                    <a:pt x="340" y="149"/>
                  </a:lnTo>
                  <a:lnTo>
                    <a:pt x="323" y="111"/>
                  </a:lnTo>
                  <a:lnTo>
                    <a:pt x="340" y="111"/>
                  </a:lnTo>
                  <a:lnTo>
                    <a:pt x="330" y="94"/>
                  </a:lnTo>
                  <a:lnTo>
                    <a:pt x="347" y="82"/>
                  </a:lnTo>
                  <a:lnTo>
                    <a:pt x="356" y="94"/>
                  </a:lnTo>
                  <a:lnTo>
                    <a:pt x="368" y="99"/>
                  </a:lnTo>
                  <a:lnTo>
                    <a:pt x="356" y="94"/>
                  </a:lnTo>
                  <a:lnTo>
                    <a:pt x="347" y="82"/>
                  </a:lnTo>
                  <a:lnTo>
                    <a:pt x="323" y="94"/>
                  </a:lnTo>
                  <a:lnTo>
                    <a:pt x="314" y="71"/>
                  </a:lnTo>
                  <a:lnTo>
                    <a:pt x="276" y="45"/>
                  </a:lnTo>
                  <a:lnTo>
                    <a:pt x="286" y="28"/>
                  </a:lnTo>
                  <a:lnTo>
                    <a:pt x="276" y="38"/>
                  </a:lnTo>
                  <a:lnTo>
                    <a:pt x="248" y="45"/>
                  </a:lnTo>
                  <a:lnTo>
                    <a:pt x="248" y="45"/>
                  </a:lnTo>
                  <a:lnTo>
                    <a:pt x="231" y="54"/>
                  </a:lnTo>
                  <a:lnTo>
                    <a:pt x="231" y="71"/>
                  </a:lnTo>
                  <a:lnTo>
                    <a:pt x="217" y="82"/>
                  </a:lnTo>
                  <a:lnTo>
                    <a:pt x="179" y="99"/>
                  </a:lnTo>
                  <a:lnTo>
                    <a:pt x="184" y="111"/>
                  </a:lnTo>
                  <a:lnTo>
                    <a:pt x="217" y="149"/>
                  </a:lnTo>
                  <a:lnTo>
                    <a:pt x="193" y="153"/>
                  </a:lnTo>
                  <a:lnTo>
                    <a:pt x="184" y="170"/>
                  </a:lnTo>
                  <a:lnTo>
                    <a:pt x="146" y="170"/>
                  </a:lnTo>
                  <a:lnTo>
                    <a:pt x="151" y="165"/>
                  </a:lnTo>
                  <a:lnTo>
                    <a:pt x="139" y="127"/>
                  </a:lnTo>
                  <a:lnTo>
                    <a:pt x="130" y="127"/>
                  </a:lnTo>
                  <a:lnTo>
                    <a:pt x="130" y="137"/>
                  </a:lnTo>
                  <a:lnTo>
                    <a:pt x="108" y="137"/>
                  </a:lnTo>
                  <a:lnTo>
                    <a:pt x="92" y="99"/>
                  </a:lnTo>
                  <a:lnTo>
                    <a:pt x="59" y="99"/>
                  </a:lnTo>
                  <a:lnTo>
                    <a:pt x="54" y="94"/>
                  </a:lnTo>
                  <a:lnTo>
                    <a:pt x="21" y="94"/>
                  </a:lnTo>
                  <a:lnTo>
                    <a:pt x="16" y="94"/>
                  </a:lnTo>
                  <a:lnTo>
                    <a:pt x="4" y="111"/>
                  </a:lnTo>
                  <a:lnTo>
                    <a:pt x="4" y="111"/>
                  </a:lnTo>
                  <a:lnTo>
                    <a:pt x="4" y="111"/>
                  </a:lnTo>
                  <a:close/>
                  <a:moveTo>
                    <a:pt x="54" y="16"/>
                  </a:moveTo>
                  <a:lnTo>
                    <a:pt x="54" y="21"/>
                  </a:lnTo>
                  <a:lnTo>
                    <a:pt x="54" y="16"/>
                  </a:lnTo>
                  <a:lnTo>
                    <a:pt x="54" y="16"/>
                  </a:lnTo>
                  <a:lnTo>
                    <a:pt x="54" y="16"/>
                  </a:lnTo>
                  <a:lnTo>
                    <a:pt x="54" y="16"/>
                  </a:lnTo>
                  <a:close/>
                  <a:moveTo>
                    <a:pt x="293" y="82"/>
                  </a:moveTo>
                  <a:lnTo>
                    <a:pt x="293" y="94"/>
                  </a:lnTo>
                  <a:lnTo>
                    <a:pt x="293" y="94"/>
                  </a:lnTo>
                  <a:lnTo>
                    <a:pt x="286" y="82"/>
                  </a:lnTo>
                  <a:lnTo>
                    <a:pt x="293" y="82"/>
                  </a:lnTo>
                  <a:lnTo>
                    <a:pt x="293" y="82"/>
                  </a:lnTo>
                  <a:lnTo>
                    <a:pt x="293" y="82"/>
                  </a:lnTo>
                  <a:close/>
                  <a:moveTo>
                    <a:pt x="92" y="137"/>
                  </a:moveTo>
                  <a:lnTo>
                    <a:pt x="92" y="153"/>
                  </a:lnTo>
                  <a:lnTo>
                    <a:pt x="97" y="165"/>
                  </a:lnTo>
                  <a:lnTo>
                    <a:pt x="87" y="153"/>
                  </a:lnTo>
                  <a:lnTo>
                    <a:pt x="87" y="149"/>
                  </a:lnTo>
                  <a:lnTo>
                    <a:pt x="92" y="137"/>
                  </a:lnTo>
                  <a:lnTo>
                    <a:pt x="92" y="137"/>
                  </a:lnTo>
                  <a:lnTo>
                    <a:pt x="92" y="13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3" name="Freeform 534">
              <a:extLst>
                <a:ext uri="{FF2B5EF4-FFF2-40B4-BE49-F238E27FC236}">
                  <a16:creationId xmlns:a16="http://schemas.microsoft.com/office/drawing/2014/main" id="{00CF3EF1-1BE8-4319-9431-37E8128B1BAF}"/>
                </a:ext>
              </a:extLst>
            </p:cNvPr>
            <p:cNvSpPr>
              <a:spLocks noEditPoints="1"/>
            </p:cNvSpPr>
            <p:nvPr/>
          </p:nvSpPr>
          <p:spPr bwMode="gray">
            <a:xfrm>
              <a:off x="13027713" y="3056910"/>
              <a:ext cx="575387" cy="258237"/>
            </a:xfrm>
            <a:custGeom>
              <a:avLst/>
              <a:gdLst>
                <a:gd name="T0" fmla="*/ 1613 w 1758"/>
                <a:gd name="T1" fmla="*/ 0 h 789"/>
                <a:gd name="T2" fmla="*/ 1613 w 1758"/>
                <a:gd name="T3" fmla="*/ 28 h 789"/>
                <a:gd name="T4" fmla="*/ 1651 w 1758"/>
                <a:gd name="T5" fmla="*/ 28 h 789"/>
                <a:gd name="T6" fmla="*/ 1689 w 1758"/>
                <a:gd name="T7" fmla="*/ 28 h 789"/>
                <a:gd name="T8" fmla="*/ 1727 w 1758"/>
                <a:gd name="T9" fmla="*/ 16 h 789"/>
                <a:gd name="T10" fmla="*/ 1758 w 1758"/>
                <a:gd name="T11" fmla="*/ 49 h 789"/>
                <a:gd name="T12" fmla="*/ 1703 w 1758"/>
                <a:gd name="T13" fmla="*/ 99 h 789"/>
                <a:gd name="T14" fmla="*/ 1710 w 1758"/>
                <a:gd name="T15" fmla="*/ 144 h 789"/>
                <a:gd name="T16" fmla="*/ 1703 w 1758"/>
                <a:gd name="T17" fmla="*/ 165 h 789"/>
                <a:gd name="T18" fmla="*/ 1710 w 1758"/>
                <a:gd name="T19" fmla="*/ 182 h 789"/>
                <a:gd name="T20" fmla="*/ 1665 w 1758"/>
                <a:gd name="T21" fmla="*/ 215 h 789"/>
                <a:gd name="T22" fmla="*/ 1703 w 1758"/>
                <a:gd name="T23" fmla="*/ 272 h 789"/>
                <a:gd name="T24" fmla="*/ 1673 w 1758"/>
                <a:gd name="T25" fmla="*/ 321 h 789"/>
                <a:gd name="T26" fmla="*/ 1703 w 1758"/>
                <a:gd name="T27" fmla="*/ 342 h 789"/>
                <a:gd name="T28" fmla="*/ 1677 w 1758"/>
                <a:gd name="T29" fmla="*/ 359 h 789"/>
                <a:gd name="T30" fmla="*/ 1665 w 1758"/>
                <a:gd name="T31" fmla="*/ 387 h 789"/>
                <a:gd name="T32" fmla="*/ 1673 w 1758"/>
                <a:gd name="T33" fmla="*/ 420 h 789"/>
                <a:gd name="T34" fmla="*/ 1580 w 1758"/>
                <a:gd name="T35" fmla="*/ 432 h 789"/>
                <a:gd name="T36" fmla="*/ 1569 w 1758"/>
                <a:gd name="T37" fmla="*/ 404 h 789"/>
                <a:gd name="T38" fmla="*/ 1580 w 1758"/>
                <a:gd name="T39" fmla="*/ 321 h 789"/>
                <a:gd name="T40" fmla="*/ 1547 w 1758"/>
                <a:gd name="T41" fmla="*/ 321 h 789"/>
                <a:gd name="T42" fmla="*/ 1547 w 1758"/>
                <a:gd name="T43" fmla="*/ 305 h 789"/>
                <a:gd name="T44" fmla="*/ 1559 w 1758"/>
                <a:gd name="T45" fmla="*/ 276 h 789"/>
                <a:gd name="T46" fmla="*/ 1526 w 1758"/>
                <a:gd name="T47" fmla="*/ 293 h 789"/>
                <a:gd name="T48" fmla="*/ 1547 w 1758"/>
                <a:gd name="T49" fmla="*/ 222 h 789"/>
                <a:gd name="T50" fmla="*/ 1580 w 1758"/>
                <a:gd name="T51" fmla="*/ 127 h 789"/>
                <a:gd name="T52" fmla="*/ 1580 w 1758"/>
                <a:gd name="T53" fmla="*/ 127 h 789"/>
                <a:gd name="T54" fmla="*/ 1564 w 1758"/>
                <a:gd name="T55" fmla="*/ 33 h 789"/>
                <a:gd name="T56" fmla="*/ 1569 w 1758"/>
                <a:gd name="T57" fmla="*/ 16 h 789"/>
                <a:gd name="T58" fmla="*/ 0 w 1758"/>
                <a:gd name="T59" fmla="*/ 238 h 789"/>
                <a:gd name="T60" fmla="*/ 0 w 1758"/>
                <a:gd name="T61" fmla="*/ 231 h 789"/>
                <a:gd name="T62" fmla="*/ 0 w 1758"/>
                <a:gd name="T63" fmla="*/ 238 h 789"/>
                <a:gd name="T64" fmla="*/ 0 w 1758"/>
                <a:gd name="T65" fmla="*/ 238 h 789"/>
                <a:gd name="T66" fmla="*/ 269 w 1758"/>
                <a:gd name="T67" fmla="*/ 305 h 789"/>
                <a:gd name="T68" fmla="*/ 291 w 1758"/>
                <a:gd name="T69" fmla="*/ 293 h 789"/>
                <a:gd name="T70" fmla="*/ 286 w 1758"/>
                <a:gd name="T71" fmla="*/ 305 h 789"/>
                <a:gd name="T72" fmla="*/ 286 w 1758"/>
                <a:gd name="T73" fmla="*/ 305 h 789"/>
                <a:gd name="T74" fmla="*/ 194 w 1758"/>
                <a:gd name="T75" fmla="*/ 321 h 789"/>
                <a:gd name="T76" fmla="*/ 199 w 1758"/>
                <a:gd name="T77" fmla="*/ 309 h 789"/>
                <a:gd name="T78" fmla="*/ 203 w 1758"/>
                <a:gd name="T79" fmla="*/ 326 h 789"/>
                <a:gd name="T80" fmla="*/ 203 w 1758"/>
                <a:gd name="T81" fmla="*/ 326 h 789"/>
                <a:gd name="T82" fmla="*/ 383 w 1758"/>
                <a:gd name="T83" fmla="*/ 375 h 789"/>
                <a:gd name="T84" fmla="*/ 421 w 1758"/>
                <a:gd name="T85" fmla="*/ 364 h 789"/>
                <a:gd name="T86" fmla="*/ 409 w 1758"/>
                <a:gd name="T87" fmla="*/ 380 h 789"/>
                <a:gd name="T88" fmla="*/ 409 w 1758"/>
                <a:gd name="T89" fmla="*/ 380 h 789"/>
                <a:gd name="T90" fmla="*/ 421 w 1758"/>
                <a:gd name="T91" fmla="*/ 437 h 789"/>
                <a:gd name="T92" fmla="*/ 437 w 1758"/>
                <a:gd name="T93" fmla="*/ 442 h 789"/>
                <a:gd name="T94" fmla="*/ 437 w 1758"/>
                <a:gd name="T95" fmla="*/ 442 h 789"/>
                <a:gd name="T96" fmla="*/ 976 w 1758"/>
                <a:gd name="T97" fmla="*/ 772 h 789"/>
                <a:gd name="T98" fmla="*/ 1018 w 1758"/>
                <a:gd name="T99" fmla="*/ 784 h 789"/>
                <a:gd name="T100" fmla="*/ 1002 w 1758"/>
                <a:gd name="T101" fmla="*/ 789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58" h="789">
                  <a:moveTo>
                    <a:pt x="1569" y="16"/>
                  </a:moveTo>
                  <a:lnTo>
                    <a:pt x="1613" y="0"/>
                  </a:lnTo>
                  <a:lnTo>
                    <a:pt x="1623" y="12"/>
                  </a:lnTo>
                  <a:lnTo>
                    <a:pt x="1613" y="28"/>
                  </a:lnTo>
                  <a:lnTo>
                    <a:pt x="1618" y="33"/>
                  </a:lnTo>
                  <a:lnTo>
                    <a:pt x="1651" y="28"/>
                  </a:lnTo>
                  <a:lnTo>
                    <a:pt x="1673" y="33"/>
                  </a:lnTo>
                  <a:lnTo>
                    <a:pt x="1689" y="28"/>
                  </a:lnTo>
                  <a:lnTo>
                    <a:pt x="1689" y="16"/>
                  </a:lnTo>
                  <a:lnTo>
                    <a:pt x="1727" y="16"/>
                  </a:lnTo>
                  <a:lnTo>
                    <a:pt x="1732" y="45"/>
                  </a:lnTo>
                  <a:lnTo>
                    <a:pt x="1758" y="49"/>
                  </a:lnTo>
                  <a:lnTo>
                    <a:pt x="1741" y="73"/>
                  </a:lnTo>
                  <a:lnTo>
                    <a:pt x="1703" y="99"/>
                  </a:lnTo>
                  <a:lnTo>
                    <a:pt x="1710" y="111"/>
                  </a:lnTo>
                  <a:lnTo>
                    <a:pt x="1710" y="144"/>
                  </a:lnTo>
                  <a:lnTo>
                    <a:pt x="1710" y="160"/>
                  </a:lnTo>
                  <a:lnTo>
                    <a:pt x="1703" y="165"/>
                  </a:lnTo>
                  <a:lnTo>
                    <a:pt x="1694" y="177"/>
                  </a:lnTo>
                  <a:lnTo>
                    <a:pt x="1710" y="182"/>
                  </a:lnTo>
                  <a:lnTo>
                    <a:pt x="1694" y="215"/>
                  </a:lnTo>
                  <a:lnTo>
                    <a:pt x="1665" y="215"/>
                  </a:lnTo>
                  <a:lnTo>
                    <a:pt x="1677" y="255"/>
                  </a:lnTo>
                  <a:lnTo>
                    <a:pt x="1703" y="272"/>
                  </a:lnTo>
                  <a:lnTo>
                    <a:pt x="1677" y="293"/>
                  </a:lnTo>
                  <a:lnTo>
                    <a:pt x="1673" y="321"/>
                  </a:lnTo>
                  <a:lnTo>
                    <a:pt x="1694" y="342"/>
                  </a:lnTo>
                  <a:lnTo>
                    <a:pt x="1703" y="342"/>
                  </a:lnTo>
                  <a:lnTo>
                    <a:pt x="1694" y="347"/>
                  </a:lnTo>
                  <a:lnTo>
                    <a:pt x="1677" y="359"/>
                  </a:lnTo>
                  <a:lnTo>
                    <a:pt x="1665" y="380"/>
                  </a:lnTo>
                  <a:lnTo>
                    <a:pt x="1665" y="387"/>
                  </a:lnTo>
                  <a:lnTo>
                    <a:pt x="1665" y="420"/>
                  </a:lnTo>
                  <a:lnTo>
                    <a:pt x="1673" y="420"/>
                  </a:lnTo>
                  <a:lnTo>
                    <a:pt x="1635" y="437"/>
                  </a:lnTo>
                  <a:lnTo>
                    <a:pt x="1580" y="432"/>
                  </a:lnTo>
                  <a:lnTo>
                    <a:pt x="1559" y="437"/>
                  </a:lnTo>
                  <a:lnTo>
                    <a:pt x="1569" y="404"/>
                  </a:lnTo>
                  <a:lnTo>
                    <a:pt x="1569" y="326"/>
                  </a:lnTo>
                  <a:lnTo>
                    <a:pt x="1580" y="321"/>
                  </a:lnTo>
                  <a:lnTo>
                    <a:pt x="1569" y="309"/>
                  </a:lnTo>
                  <a:lnTo>
                    <a:pt x="1547" y="321"/>
                  </a:lnTo>
                  <a:lnTo>
                    <a:pt x="1543" y="305"/>
                  </a:lnTo>
                  <a:lnTo>
                    <a:pt x="1547" y="305"/>
                  </a:lnTo>
                  <a:lnTo>
                    <a:pt x="1564" y="293"/>
                  </a:lnTo>
                  <a:lnTo>
                    <a:pt x="1559" y="276"/>
                  </a:lnTo>
                  <a:lnTo>
                    <a:pt x="1547" y="293"/>
                  </a:lnTo>
                  <a:lnTo>
                    <a:pt x="1526" y="293"/>
                  </a:lnTo>
                  <a:lnTo>
                    <a:pt x="1531" y="238"/>
                  </a:lnTo>
                  <a:lnTo>
                    <a:pt x="1547" y="222"/>
                  </a:lnTo>
                  <a:lnTo>
                    <a:pt x="1569" y="139"/>
                  </a:lnTo>
                  <a:lnTo>
                    <a:pt x="1580" y="127"/>
                  </a:lnTo>
                  <a:lnTo>
                    <a:pt x="1580" y="123"/>
                  </a:lnTo>
                  <a:lnTo>
                    <a:pt x="1580" y="127"/>
                  </a:lnTo>
                  <a:lnTo>
                    <a:pt x="1580" y="99"/>
                  </a:lnTo>
                  <a:lnTo>
                    <a:pt x="1564" y="33"/>
                  </a:lnTo>
                  <a:lnTo>
                    <a:pt x="1569" y="16"/>
                  </a:lnTo>
                  <a:lnTo>
                    <a:pt x="1569" y="16"/>
                  </a:lnTo>
                  <a:lnTo>
                    <a:pt x="1569" y="16"/>
                  </a:lnTo>
                  <a:close/>
                  <a:moveTo>
                    <a:pt x="0" y="238"/>
                  </a:moveTo>
                  <a:lnTo>
                    <a:pt x="0" y="238"/>
                  </a:lnTo>
                  <a:lnTo>
                    <a:pt x="0" y="231"/>
                  </a:lnTo>
                  <a:lnTo>
                    <a:pt x="5" y="231"/>
                  </a:lnTo>
                  <a:lnTo>
                    <a:pt x="0" y="238"/>
                  </a:lnTo>
                  <a:lnTo>
                    <a:pt x="0" y="238"/>
                  </a:lnTo>
                  <a:lnTo>
                    <a:pt x="0" y="238"/>
                  </a:lnTo>
                  <a:close/>
                  <a:moveTo>
                    <a:pt x="286" y="305"/>
                  </a:moveTo>
                  <a:lnTo>
                    <a:pt x="269" y="305"/>
                  </a:lnTo>
                  <a:lnTo>
                    <a:pt x="269" y="293"/>
                  </a:lnTo>
                  <a:lnTo>
                    <a:pt x="291" y="293"/>
                  </a:lnTo>
                  <a:lnTo>
                    <a:pt x="291" y="293"/>
                  </a:lnTo>
                  <a:lnTo>
                    <a:pt x="286" y="305"/>
                  </a:lnTo>
                  <a:lnTo>
                    <a:pt x="286" y="305"/>
                  </a:lnTo>
                  <a:lnTo>
                    <a:pt x="286" y="305"/>
                  </a:lnTo>
                  <a:close/>
                  <a:moveTo>
                    <a:pt x="203" y="326"/>
                  </a:moveTo>
                  <a:lnTo>
                    <a:pt x="194" y="321"/>
                  </a:lnTo>
                  <a:lnTo>
                    <a:pt x="182" y="309"/>
                  </a:lnTo>
                  <a:lnTo>
                    <a:pt x="199" y="309"/>
                  </a:lnTo>
                  <a:lnTo>
                    <a:pt x="220" y="321"/>
                  </a:lnTo>
                  <a:lnTo>
                    <a:pt x="203" y="326"/>
                  </a:lnTo>
                  <a:lnTo>
                    <a:pt x="203" y="326"/>
                  </a:lnTo>
                  <a:lnTo>
                    <a:pt x="203" y="326"/>
                  </a:lnTo>
                  <a:close/>
                  <a:moveTo>
                    <a:pt x="409" y="380"/>
                  </a:moveTo>
                  <a:lnTo>
                    <a:pt x="383" y="375"/>
                  </a:lnTo>
                  <a:lnTo>
                    <a:pt x="376" y="364"/>
                  </a:lnTo>
                  <a:lnTo>
                    <a:pt x="421" y="364"/>
                  </a:lnTo>
                  <a:lnTo>
                    <a:pt x="421" y="375"/>
                  </a:lnTo>
                  <a:lnTo>
                    <a:pt x="409" y="380"/>
                  </a:lnTo>
                  <a:lnTo>
                    <a:pt x="409" y="380"/>
                  </a:lnTo>
                  <a:lnTo>
                    <a:pt x="409" y="380"/>
                  </a:lnTo>
                  <a:close/>
                  <a:moveTo>
                    <a:pt x="437" y="442"/>
                  </a:moveTo>
                  <a:lnTo>
                    <a:pt x="421" y="437"/>
                  </a:lnTo>
                  <a:lnTo>
                    <a:pt x="430" y="437"/>
                  </a:lnTo>
                  <a:lnTo>
                    <a:pt x="437" y="442"/>
                  </a:lnTo>
                  <a:lnTo>
                    <a:pt x="437" y="442"/>
                  </a:lnTo>
                  <a:lnTo>
                    <a:pt x="437" y="442"/>
                  </a:lnTo>
                  <a:close/>
                  <a:moveTo>
                    <a:pt x="1002" y="789"/>
                  </a:moveTo>
                  <a:lnTo>
                    <a:pt x="976" y="772"/>
                  </a:lnTo>
                  <a:lnTo>
                    <a:pt x="987" y="772"/>
                  </a:lnTo>
                  <a:lnTo>
                    <a:pt x="1018" y="784"/>
                  </a:lnTo>
                  <a:lnTo>
                    <a:pt x="1002" y="789"/>
                  </a:lnTo>
                  <a:lnTo>
                    <a:pt x="1002" y="789"/>
                  </a:lnTo>
                  <a:lnTo>
                    <a:pt x="1002" y="78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4" name="Freeform 535">
              <a:extLst>
                <a:ext uri="{FF2B5EF4-FFF2-40B4-BE49-F238E27FC236}">
                  <a16:creationId xmlns:a16="http://schemas.microsoft.com/office/drawing/2014/main" id="{5E712EEC-0743-4686-A1C9-BA0E66F9EF3B}"/>
                </a:ext>
              </a:extLst>
            </p:cNvPr>
            <p:cNvSpPr>
              <a:spLocks noEditPoints="1"/>
            </p:cNvSpPr>
            <p:nvPr/>
          </p:nvSpPr>
          <p:spPr bwMode="gray">
            <a:xfrm>
              <a:off x="16978511" y="4146808"/>
              <a:ext cx="345625" cy="242854"/>
            </a:xfrm>
            <a:custGeom>
              <a:avLst/>
              <a:gdLst>
                <a:gd name="T0" fmla="*/ 616 w 1056"/>
                <a:gd name="T1" fmla="*/ 17 h 742"/>
                <a:gd name="T2" fmla="*/ 394 w 1056"/>
                <a:gd name="T3" fmla="*/ 62 h 742"/>
                <a:gd name="T4" fmla="*/ 482 w 1056"/>
                <a:gd name="T5" fmla="*/ 71 h 742"/>
                <a:gd name="T6" fmla="*/ 666 w 1056"/>
                <a:gd name="T7" fmla="*/ 95 h 742"/>
                <a:gd name="T8" fmla="*/ 666 w 1056"/>
                <a:gd name="T9" fmla="*/ 95 h 742"/>
                <a:gd name="T10" fmla="*/ 860 w 1056"/>
                <a:gd name="T11" fmla="*/ 227 h 742"/>
                <a:gd name="T12" fmla="*/ 789 w 1056"/>
                <a:gd name="T13" fmla="*/ 149 h 742"/>
                <a:gd name="T14" fmla="*/ 768 w 1056"/>
                <a:gd name="T15" fmla="*/ 133 h 742"/>
                <a:gd name="T16" fmla="*/ 9 w 1056"/>
                <a:gd name="T17" fmla="*/ 393 h 742"/>
                <a:gd name="T18" fmla="*/ 118 w 1056"/>
                <a:gd name="T19" fmla="*/ 133 h 742"/>
                <a:gd name="T20" fmla="*/ 253 w 1056"/>
                <a:gd name="T21" fmla="*/ 189 h 742"/>
                <a:gd name="T22" fmla="*/ 340 w 1056"/>
                <a:gd name="T23" fmla="*/ 300 h 742"/>
                <a:gd name="T24" fmla="*/ 470 w 1056"/>
                <a:gd name="T25" fmla="*/ 388 h 742"/>
                <a:gd name="T26" fmla="*/ 482 w 1056"/>
                <a:gd name="T27" fmla="*/ 471 h 742"/>
                <a:gd name="T28" fmla="*/ 595 w 1056"/>
                <a:gd name="T29" fmla="*/ 560 h 742"/>
                <a:gd name="T30" fmla="*/ 616 w 1056"/>
                <a:gd name="T31" fmla="*/ 610 h 742"/>
                <a:gd name="T32" fmla="*/ 666 w 1056"/>
                <a:gd name="T33" fmla="*/ 648 h 742"/>
                <a:gd name="T34" fmla="*/ 616 w 1056"/>
                <a:gd name="T35" fmla="*/ 648 h 742"/>
                <a:gd name="T36" fmla="*/ 470 w 1056"/>
                <a:gd name="T37" fmla="*/ 626 h 742"/>
                <a:gd name="T38" fmla="*/ 399 w 1056"/>
                <a:gd name="T39" fmla="*/ 553 h 742"/>
                <a:gd name="T40" fmla="*/ 253 w 1056"/>
                <a:gd name="T41" fmla="*/ 449 h 742"/>
                <a:gd name="T42" fmla="*/ 238 w 1056"/>
                <a:gd name="T43" fmla="*/ 449 h 742"/>
                <a:gd name="T44" fmla="*/ 172 w 1056"/>
                <a:gd name="T45" fmla="*/ 471 h 742"/>
                <a:gd name="T46" fmla="*/ 101 w 1056"/>
                <a:gd name="T47" fmla="*/ 487 h 742"/>
                <a:gd name="T48" fmla="*/ 177 w 1056"/>
                <a:gd name="T49" fmla="*/ 537 h 742"/>
                <a:gd name="T50" fmla="*/ 47 w 1056"/>
                <a:gd name="T51" fmla="*/ 570 h 742"/>
                <a:gd name="T52" fmla="*/ 775 w 1056"/>
                <a:gd name="T53" fmla="*/ 100 h 742"/>
                <a:gd name="T54" fmla="*/ 697 w 1056"/>
                <a:gd name="T55" fmla="*/ 116 h 742"/>
                <a:gd name="T56" fmla="*/ 827 w 1056"/>
                <a:gd name="T57" fmla="*/ 133 h 742"/>
                <a:gd name="T58" fmla="*/ 897 w 1056"/>
                <a:gd name="T59" fmla="*/ 194 h 742"/>
                <a:gd name="T60" fmla="*/ 687 w 1056"/>
                <a:gd name="T61" fmla="*/ 338 h 742"/>
                <a:gd name="T62" fmla="*/ 553 w 1056"/>
                <a:gd name="T63" fmla="*/ 322 h 742"/>
                <a:gd name="T64" fmla="*/ 633 w 1056"/>
                <a:gd name="T65" fmla="*/ 300 h 742"/>
                <a:gd name="T66" fmla="*/ 642 w 1056"/>
                <a:gd name="T67" fmla="*/ 284 h 742"/>
                <a:gd name="T68" fmla="*/ 730 w 1056"/>
                <a:gd name="T69" fmla="*/ 260 h 742"/>
                <a:gd name="T70" fmla="*/ 789 w 1056"/>
                <a:gd name="T71" fmla="*/ 211 h 742"/>
                <a:gd name="T72" fmla="*/ 789 w 1056"/>
                <a:gd name="T73" fmla="*/ 284 h 742"/>
                <a:gd name="T74" fmla="*/ 687 w 1056"/>
                <a:gd name="T75" fmla="*/ 338 h 742"/>
                <a:gd name="T76" fmla="*/ 357 w 1056"/>
                <a:gd name="T77" fmla="*/ 244 h 742"/>
                <a:gd name="T78" fmla="*/ 612 w 1056"/>
                <a:gd name="T79" fmla="*/ 244 h 742"/>
                <a:gd name="T80" fmla="*/ 973 w 1056"/>
                <a:gd name="T81" fmla="*/ 277 h 742"/>
                <a:gd name="T82" fmla="*/ 432 w 1056"/>
                <a:gd name="T83" fmla="*/ 277 h 742"/>
                <a:gd name="T84" fmla="*/ 1023 w 1056"/>
                <a:gd name="T85" fmla="*/ 350 h 742"/>
                <a:gd name="T86" fmla="*/ 1006 w 1056"/>
                <a:gd name="T87" fmla="*/ 371 h 742"/>
                <a:gd name="T88" fmla="*/ 1006 w 1056"/>
                <a:gd name="T89" fmla="*/ 322 h 742"/>
                <a:gd name="T90" fmla="*/ 482 w 1056"/>
                <a:gd name="T91" fmla="*/ 300 h 742"/>
                <a:gd name="T92" fmla="*/ 194 w 1056"/>
                <a:gd name="T93" fmla="*/ 482 h 742"/>
                <a:gd name="T94" fmla="*/ 194 w 1056"/>
                <a:gd name="T95" fmla="*/ 487 h 742"/>
                <a:gd name="T96" fmla="*/ 172 w 1056"/>
                <a:gd name="T97" fmla="*/ 504 h 742"/>
                <a:gd name="T98" fmla="*/ 163 w 1056"/>
                <a:gd name="T99" fmla="*/ 504 h 742"/>
                <a:gd name="T100" fmla="*/ 713 w 1056"/>
                <a:gd name="T101" fmla="*/ 515 h 742"/>
                <a:gd name="T102" fmla="*/ 812 w 1056"/>
                <a:gd name="T103" fmla="*/ 553 h 742"/>
                <a:gd name="T104" fmla="*/ 666 w 1056"/>
                <a:gd name="T105" fmla="*/ 582 h 742"/>
                <a:gd name="T106" fmla="*/ 666 w 1056"/>
                <a:gd name="T107" fmla="*/ 582 h 742"/>
                <a:gd name="T108" fmla="*/ 697 w 1056"/>
                <a:gd name="T109" fmla="*/ 598 h 742"/>
                <a:gd name="T110" fmla="*/ 720 w 1056"/>
                <a:gd name="T111" fmla="*/ 626 h 742"/>
                <a:gd name="T112" fmla="*/ 697 w 1056"/>
                <a:gd name="T113" fmla="*/ 671 h 742"/>
                <a:gd name="T114" fmla="*/ 704 w 1056"/>
                <a:gd name="T115" fmla="*/ 671 h 742"/>
                <a:gd name="T116" fmla="*/ 704 w 1056"/>
                <a:gd name="T117" fmla="*/ 671 h 742"/>
                <a:gd name="T118" fmla="*/ 838 w 1056"/>
                <a:gd name="T119" fmla="*/ 671 h 742"/>
                <a:gd name="T120" fmla="*/ 864 w 1056"/>
                <a:gd name="T121" fmla="*/ 721 h 742"/>
                <a:gd name="T122" fmla="*/ 931 w 1056"/>
                <a:gd name="T123" fmla="*/ 726 h 742"/>
                <a:gd name="T124" fmla="*/ 893 w 1056"/>
                <a:gd name="T125" fmla="*/ 74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6" h="742">
                  <a:moveTo>
                    <a:pt x="616" y="17"/>
                  </a:moveTo>
                  <a:lnTo>
                    <a:pt x="605" y="5"/>
                  </a:lnTo>
                  <a:lnTo>
                    <a:pt x="612" y="0"/>
                  </a:lnTo>
                  <a:lnTo>
                    <a:pt x="616" y="5"/>
                  </a:lnTo>
                  <a:lnTo>
                    <a:pt x="628" y="17"/>
                  </a:lnTo>
                  <a:lnTo>
                    <a:pt x="616" y="17"/>
                  </a:lnTo>
                  <a:lnTo>
                    <a:pt x="616" y="17"/>
                  </a:lnTo>
                  <a:lnTo>
                    <a:pt x="616" y="17"/>
                  </a:lnTo>
                  <a:close/>
                  <a:moveTo>
                    <a:pt x="453" y="38"/>
                  </a:moveTo>
                  <a:lnTo>
                    <a:pt x="453" y="45"/>
                  </a:lnTo>
                  <a:lnTo>
                    <a:pt x="444" y="62"/>
                  </a:lnTo>
                  <a:lnTo>
                    <a:pt x="394" y="62"/>
                  </a:lnTo>
                  <a:lnTo>
                    <a:pt x="399" y="45"/>
                  </a:lnTo>
                  <a:lnTo>
                    <a:pt x="453" y="45"/>
                  </a:lnTo>
                  <a:lnTo>
                    <a:pt x="453" y="38"/>
                  </a:lnTo>
                  <a:lnTo>
                    <a:pt x="453" y="38"/>
                  </a:lnTo>
                  <a:lnTo>
                    <a:pt x="453" y="38"/>
                  </a:lnTo>
                  <a:close/>
                  <a:moveTo>
                    <a:pt x="482" y="71"/>
                  </a:moveTo>
                  <a:lnTo>
                    <a:pt x="486" y="62"/>
                  </a:lnTo>
                  <a:lnTo>
                    <a:pt x="486" y="62"/>
                  </a:lnTo>
                  <a:lnTo>
                    <a:pt x="482" y="71"/>
                  </a:lnTo>
                  <a:lnTo>
                    <a:pt x="482" y="71"/>
                  </a:lnTo>
                  <a:lnTo>
                    <a:pt x="482" y="71"/>
                  </a:lnTo>
                  <a:close/>
                  <a:moveTo>
                    <a:pt x="666" y="95"/>
                  </a:moveTo>
                  <a:lnTo>
                    <a:pt x="649" y="95"/>
                  </a:lnTo>
                  <a:lnTo>
                    <a:pt x="633" y="78"/>
                  </a:lnTo>
                  <a:lnTo>
                    <a:pt x="659" y="71"/>
                  </a:lnTo>
                  <a:lnTo>
                    <a:pt x="666" y="78"/>
                  </a:lnTo>
                  <a:lnTo>
                    <a:pt x="671" y="95"/>
                  </a:lnTo>
                  <a:lnTo>
                    <a:pt x="666" y="95"/>
                  </a:lnTo>
                  <a:lnTo>
                    <a:pt x="666" y="95"/>
                  </a:lnTo>
                  <a:lnTo>
                    <a:pt x="666" y="95"/>
                  </a:lnTo>
                  <a:close/>
                  <a:moveTo>
                    <a:pt x="827" y="182"/>
                  </a:moveTo>
                  <a:lnTo>
                    <a:pt x="860" y="206"/>
                  </a:lnTo>
                  <a:lnTo>
                    <a:pt x="850" y="223"/>
                  </a:lnTo>
                  <a:lnTo>
                    <a:pt x="860" y="227"/>
                  </a:lnTo>
                  <a:lnTo>
                    <a:pt x="843" y="244"/>
                  </a:lnTo>
                  <a:lnTo>
                    <a:pt x="838" y="239"/>
                  </a:lnTo>
                  <a:lnTo>
                    <a:pt x="827" y="223"/>
                  </a:lnTo>
                  <a:lnTo>
                    <a:pt x="827" y="206"/>
                  </a:lnTo>
                  <a:lnTo>
                    <a:pt x="805" y="166"/>
                  </a:lnTo>
                  <a:lnTo>
                    <a:pt x="789" y="149"/>
                  </a:lnTo>
                  <a:lnTo>
                    <a:pt x="775" y="149"/>
                  </a:lnTo>
                  <a:lnTo>
                    <a:pt x="720" y="100"/>
                  </a:lnTo>
                  <a:lnTo>
                    <a:pt x="687" y="100"/>
                  </a:lnTo>
                  <a:lnTo>
                    <a:pt x="704" y="95"/>
                  </a:lnTo>
                  <a:lnTo>
                    <a:pt x="697" y="83"/>
                  </a:lnTo>
                  <a:lnTo>
                    <a:pt x="768" y="133"/>
                  </a:lnTo>
                  <a:lnTo>
                    <a:pt x="784" y="133"/>
                  </a:lnTo>
                  <a:lnTo>
                    <a:pt x="827" y="182"/>
                  </a:lnTo>
                  <a:lnTo>
                    <a:pt x="827" y="182"/>
                  </a:lnTo>
                  <a:lnTo>
                    <a:pt x="827" y="182"/>
                  </a:lnTo>
                  <a:close/>
                  <a:moveTo>
                    <a:pt x="9" y="560"/>
                  </a:moveTo>
                  <a:lnTo>
                    <a:pt x="9" y="393"/>
                  </a:lnTo>
                  <a:lnTo>
                    <a:pt x="0" y="393"/>
                  </a:lnTo>
                  <a:lnTo>
                    <a:pt x="0" y="376"/>
                  </a:lnTo>
                  <a:lnTo>
                    <a:pt x="9" y="355"/>
                  </a:lnTo>
                  <a:lnTo>
                    <a:pt x="9" y="83"/>
                  </a:lnTo>
                  <a:lnTo>
                    <a:pt x="21" y="83"/>
                  </a:lnTo>
                  <a:lnTo>
                    <a:pt x="118" y="133"/>
                  </a:lnTo>
                  <a:lnTo>
                    <a:pt x="184" y="149"/>
                  </a:lnTo>
                  <a:lnTo>
                    <a:pt x="215" y="173"/>
                  </a:lnTo>
                  <a:lnTo>
                    <a:pt x="231" y="182"/>
                  </a:lnTo>
                  <a:lnTo>
                    <a:pt x="238" y="173"/>
                  </a:lnTo>
                  <a:lnTo>
                    <a:pt x="253" y="173"/>
                  </a:lnTo>
                  <a:lnTo>
                    <a:pt x="253" y="189"/>
                  </a:lnTo>
                  <a:lnTo>
                    <a:pt x="281" y="194"/>
                  </a:lnTo>
                  <a:lnTo>
                    <a:pt x="293" y="211"/>
                  </a:lnTo>
                  <a:lnTo>
                    <a:pt x="307" y="223"/>
                  </a:lnTo>
                  <a:lnTo>
                    <a:pt x="340" y="244"/>
                  </a:lnTo>
                  <a:lnTo>
                    <a:pt x="345" y="265"/>
                  </a:lnTo>
                  <a:lnTo>
                    <a:pt x="340" y="300"/>
                  </a:lnTo>
                  <a:lnTo>
                    <a:pt x="394" y="305"/>
                  </a:lnTo>
                  <a:lnTo>
                    <a:pt x="432" y="334"/>
                  </a:lnTo>
                  <a:lnTo>
                    <a:pt x="465" y="334"/>
                  </a:lnTo>
                  <a:lnTo>
                    <a:pt x="486" y="355"/>
                  </a:lnTo>
                  <a:lnTo>
                    <a:pt x="486" y="376"/>
                  </a:lnTo>
                  <a:lnTo>
                    <a:pt x="470" y="388"/>
                  </a:lnTo>
                  <a:lnTo>
                    <a:pt x="427" y="388"/>
                  </a:lnTo>
                  <a:lnTo>
                    <a:pt x="427" y="404"/>
                  </a:lnTo>
                  <a:lnTo>
                    <a:pt x="444" y="416"/>
                  </a:lnTo>
                  <a:lnTo>
                    <a:pt x="444" y="445"/>
                  </a:lnTo>
                  <a:lnTo>
                    <a:pt x="465" y="449"/>
                  </a:lnTo>
                  <a:lnTo>
                    <a:pt x="482" y="471"/>
                  </a:lnTo>
                  <a:lnTo>
                    <a:pt x="508" y="482"/>
                  </a:lnTo>
                  <a:lnTo>
                    <a:pt x="519" y="520"/>
                  </a:lnTo>
                  <a:lnTo>
                    <a:pt x="524" y="527"/>
                  </a:lnTo>
                  <a:lnTo>
                    <a:pt x="541" y="553"/>
                  </a:lnTo>
                  <a:lnTo>
                    <a:pt x="590" y="553"/>
                  </a:lnTo>
                  <a:lnTo>
                    <a:pt x="595" y="560"/>
                  </a:lnTo>
                  <a:lnTo>
                    <a:pt x="579" y="577"/>
                  </a:lnTo>
                  <a:lnTo>
                    <a:pt x="590" y="582"/>
                  </a:lnTo>
                  <a:lnTo>
                    <a:pt x="605" y="593"/>
                  </a:lnTo>
                  <a:lnTo>
                    <a:pt x="642" y="593"/>
                  </a:lnTo>
                  <a:lnTo>
                    <a:pt x="642" y="598"/>
                  </a:lnTo>
                  <a:lnTo>
                    <a:pt x="616" y="610"/>
                  </a:lnTo>
                  <a:lnTo>
                    <a:pt x="633" y="626"/>
                  </a:lnTo>
                  <a:lnTo>
                    <a:pt x="682" y="638"/>
                  </a:lnTo>
                  <a:lnTo>
                    <a:pt x="704" y="638"/>
                  </a:lnTo>
                  <a:lnTo>
                    <a:pt x="682" y="648"/>
                  </a:lnTo>
                  <a:lnTo>
                    <a:pt x="666" y="648"/>
                  </a:lnTo>
                  <a:lnTo>
                    <a:pt x="666" y="648"/>
                  </a:lnTo>
                  <a:lnTo>
                    <a:pt x="687" y="655"/>
                  </a:lnTo>
                  <a:lnTo>
                    <a:pt x="687" y="664"/>
                  </a:lnTo>
                  <a:lnTo>
                    <a:pt x="659" y="671"/>
                  </a:lnTo>
                  <a:lnTo>
                    <a:pt x="628" y="664"/>
                  </a:lnTo>
                  <a:lnTo>
                    <a:pt x="642" y="655"/>
                  </a:lnTo>
                  <a:lnTo>
                    <a:pt x="616" y="648"/>
                  </a:lnTo>
                  <a:lnTo>
                    <a:pt x="562" y="638"/>
                  </a:lnTo>
                  <a:lnTo>
                    <a:pt x="553" y="631"/>
                  </a:lnTo>
                  <a:lnTo>
                    <a:pt x="524" y="638"/>
                  </a:lnTo>
                  <a:lnTo>
                    <a:pt x="508" y="631"/>
                  </a:lnTo>
                  <a:lnTo>
                    <a:pt x="498" y="631"/>
                  </a:lnTo>
                  <a:lnTo>
                    <a:pt x="470" y="626"/>
                  </a:lnTo>
                  <a:lnTo>
                    <a:pt x="449" y="593"/>
                  </a:lnTo>
                  <a:lnTo>
                    <a:pt x="432" y="582"/>
                  </a:lnTo>
                  <a:lnTo>
                    <a:pt x="416" y="570"/>
                  </a:lnTo>
                  <a:lnTo>
                    <a:pt x="427" y="553"/>
                  </a:lnTo>
                  <a:lnTo>
                    <a:pt x="427" y="560"/>
                  </a:lnTo>
                  <a:lnTo>
                    <a:pt x="399" y="553"/>
                  </a:lnTo>
                  <a:lnTo>
                    <a:pt x="394" y="537"/>
                  </a:lnTo>
                  <a:lnTo>
                    <a:pt x="361" y="482"/>
                  </a:lnTo>
                  <a:lnTo>
                    <a:pt x="281" y="466"/>
                  </a:lnTo>
                  <a:lnTo>
                    <a:pt x="281" y="449"/>
                  </a:lnTo>
                  <a:lnTo>
                    <a:pt x="281" y="461"/>
                  </a:lnTo>
                  <a:lnTo>
                    <a:pt x="253" y="449"/>
                  </a:lnTo>
                  <a:lnTo>
                    <a:pt x="253" y="445"/>
                  </a:lnTo>
                  <a:lnTo>
                    <a:pt x="253" y="449"/>
                  </a:lnTo>
                  <a:lnTo>
                    <a:pt x="248" y="445"/>
                  </a:lnTo>
                  <a:lnTo>
                    <a:pt x="248" y="461"/>
                  </a:lnTo>
                  <a:lnTo>
                    <a:pt x="238" y="461"/>
                  </a:lnTo>
                  <a:lnTo>
                    <a:pt x="238" y="449"/>
                  </a:lnTo>
                  <a:lnTo>
                    <a:pt x="231" y="466"/>
                  </a:lnTo>
                  <a:lnTo>
                    <a:pt x="210" y="461"/>
                  </a:lnTo>
                  <a:lnTo>
                    <a:pt x="194" y="445"/>
                  </a:lnTo>
                  <a:lnTo>
                    <a:pt x="215" y="471"/>
                  </a:lnTo>
                  <a:lnTo>
                    <a:pt x="201" y="482"/>
                  </a:lnTo>
                  <a:lnTo>
                    <a:pt x="172" y="471"/>
                  </a:lnTo>
                  <a:lnTo>
                    <a:pt x="184" y="482"/>
                  </a:lnTo>
                  <a:lnTo>
                    <a:pt x="194" y="499"/>
                  </a:lnTo>
                  <a:lnTo>
                    <a:pt x="146" y="504"/>
                  </a:lnTo>
                  <a:lnTo>
                    <a:pt x="123" y="499"/>
                  </a:lnTo>
                  <a:lnTo>
                    <a:pt x="108" y="504"/>
                  </a:lnTo>
                  <a:lnTo>
                    <a:pt x="101" y="487"/>
                  </a:lnTo>
                  <a:lnTo>
                    <a:pt x="85" y="499"/>
                  </a:lnTo>
                  <a:lnTo>
                    <a:pt x="101" y="487"/>
                  </a:lnTo>
                  <a:lnTo>
                    <a:pt x="108" y="504"/>
                  </a:lnTo>
                  <a:lnTo>
                    <a:pt x="130" y="499"/>
                  </a:lnTo>
                  <a:lnTo>
                    <a:pt x="156" y="515"/>
                  </a:lnTo>
                  <a:lnTo>
                    <a:pt x="177" y="537"/>
                  </a:lnTo>
                  <a:lnTo>
                    <a:pt x="177" y="544"/>
                  </a:lnTo>
                  <a:lnTo>
                    <a:pt x="172" y="553"/>
                  </a:lnTo>
                  <a:lnTo>
                    <a:pt x="146" y="553"/>
                  </a:lnTo>
                  <a:lnTo>
                    <a:pt x="123" y="577"/>
                  </a:lnTo>
                  <a:lnTo>
                    <a:pt x="92" y="560"/>
                  </a:lnTo>
                  <a:lnTo>
                    <a:pt x="47" y="570"/>
                  </a:lnTo>
                  <a:lnTo>
                    <a:pt x="33" y="560"/>
                  </a:lnTo>
                  <a:lnTo>
                    <a:pt x="16" y="570"/>
                  </a:lnTo>
                  <a:lnTo>
                    <a:pt x="9" y="560"/>
                  </a:lnTo>
                  <a:lnTo>
                    <a:pt x="9" y="560"/>
                  </a:lnTo>
                  <a:lnTo>
                    <a:pt x="9" y="560"/>
                  </a:lnTo>
                  <a:close/>
                  <a:moveTo>
                    <a:pt x="775" y="100"/>
                  </a:moveTo>
                  <a:lnTo>
                    <a:pt x="775" y="95"/>
                  </a:lnTo>
                  <a:lnTo>
                    <a:pt x="784" y="100"/>
                  </a:lnTo>
                  <a:lnTo>
                    <a:pt x="775" y="100"/>
                  </a:lnTo>
                  <a:lnTo>
                    <a:pt x="775" y="100"/>
                  </a:lnTo>
                  <a:lnTo>
                    <a:pt x="775" y="100"/>
                  </a:lnTo>
                  <a:close/>
                  <a:moveTo>
                    <a:pt x="697" y="116"/>
                  </a:moveTo>
                  <a:lnTo>
                    <a:pt x="704" y="112"/>
                  </a:lnTo>
                  <a:lnTo>
                    <a:pt x="713" y="116"/>
                  </a:lnTo>
                  <a:lnTo>
                    <a:pt x="697" y="116"/>
                  </a:lnTo>
                  <a:lnTo>
                    <a:pt x="697" y="116"/>
                  </a:lnTo>
                  <a:lnTo>
                    <a:pt x="697" y="116"/>
                  </a:lnTo>
                  <a:close/>
                  <a:moveTo>
                    <a:pt x="827" y="133"/>
                  </a:moveTo>
                  <a:lnTo>
                    <a:pt x="822" y="128"/>
                  </a:lnTo>
                  <a:lnTo>
                    <a:pt x="827" y="116"/>
                  </a:lnTo>
                  <a:lnTo>
                    <a:pt x="827" y="133"/>
                  </a:lnTo>
                  <a:lnTo>
                    <a:pt x="827" y="133"/>
                  </a:lnTo>
                  <a:lnTo>
                    <a:pt x="827" y="133"/>
                  </a:lnTo>
                  <a:close/>
                  <a:moveTo>
                    <a:pt x="897" y="194"/>
                  </a:moveTo>
                  <a:lnTo>
                    <a:pt x="893" y="194"/>
                  </a:lnTo>
                  <a:lnTo>
                    <a:pt x="897" y="189"/>
                  </a:lnTo>
                  <a:lnTo>
                    <a:pt x="897" y="194"/>
                  </a:lnTo>
                  <a:lnTo>
                    <a:pt x="897" y="194"/>
                  </a:lnTo>
                  <a:lnTo>
                    <a:pt x="897" y="194"/>
                  </a:lnTo>
                  <a:close/>
                  <a:moveTo>
                    <a:pt x="687" y="338"/>
                  </a:moveTo>
                  <a:lnTo>
                    <a:pt x="666" y="355"/>
                  </a:lnTo>
                  <a:lnTo>
                    <a:pt x="612" y="355"/>
                  </a:lnTo>
                  <a:lnTo>
                    <a:pt x="595" y="338"/>
                  </a:lnTo>
                  <a:lnTo>
                    <a:pt x="574" y="350"/>
                  </a:lnTo>
                  <a:lnTo>
                    <a:pt x="574" y="338"/>
                  </a:lnTo>
                  <a:lnTo>
                    <a:pt x="553" y="322"/>
                  </a:lnTo>
                  <a:lnTo>
                    <a:pt x="524" y="317"/>
                  </a:lnTo>
                  <a:lnTo>
                    <a:pt x="519" y="305"/>
                  </a:lnTo>
                  <a:lnTo>
                    <a:pt x="524" y="293"/>
                  </a:lnTo>
                  <a:lnTo>
                    <a:pt x="562" y="293"/>
                  </a:lnTo>
                  <a:lnTo>
                    <a:pt x="590" y="305"/>
                  </a:lnTo>
                  <a:lnTo>
                    <a:pt x="633" y="300"/>
                  </a:lnTo>
                  <a:lnTo>
                    <a:pt x="633" y="293"/>
                  </a:lnTo>
                  <a:lnTo>
                    <a:pt x="633" y="284"/>
                  </a:lnTo>
                  <a:lnTo>
                    <a:pt x="642" y="260"/>
                  </a:lnTo>
                  <a:lnTo>
                    <a:pt x="659" y="265"/>
                  </a:lnTo>
                  <a:lnTo>
                    <a:pt x="642" y="265"/>
                  </a:lnTo>
                  <a:lnTo>
                    <a:pt x="642" y="284"/>
                  </a:lnTo>
                  <a:lnTo>
                    <a:pt x="649" y="300"/>
                  </a:lnTo>
                  <a:lnTo>
                    <a:pt x="659" y="300"/>
                  </a:lnTo>
                  <a:lnTo>
                    <a:pt x="671" y="293"/>
                  </a:lnTo>
                  <a:lnTo>
                    <a:pt x="682" y="300"/>
                  </a:lnTo>
                  <a:lnTo>
                    <a:pt x="704" y="300"/>
                  </a:lnTo>
                  <a:lnTo>
                    <a:pt x="730" y="260"/>
                  </a:lnTo>
                  <a:lnTo>
                    <a:pt x="758" y="249"/>
                  </a:lnTo>
                  <a:lnTo>
                    <a:pt x="742" y="206"/>
                  </a:lnTo>
                  <a:lnTo>
                    <a:pt x="768" y="206"/>
                  </a:lnTo>
                  <a:lnTo>
                    <a:pt x="784" y="211"/>
                  </a:lnTo>
                  <a:lnTo>
                    <a:pt x="796" y="206"/>
                  </a:lnTo>
                  <a:lnTo>
                    <a:pt x="789" y="211"/>
                  </a:lnTo>
                  <a:lnTo>
                    <a:pt x="805" y="211"/>
                  </a:lnTo>
                  <a:lnTo>
                    <a:pt x="812" y="239"/>
                  </a:lnTo>
                  <a:lnTo>
                    <a:pt x="796" y="260"/>
                  </a:lnTo>
                  <a:lnTo>
                    <a:pt x="784" y="260"/>
                  </a:lnTo>
                  <a:lnTo>
                    <a:pt x="784" y="277"/>
                  </a:lnTo>
                  <a:lnTo>
                    <a:pt x="789" y="284"/>
                  </a:lnTo>
                  <a:lnTo>
                    <a:pt x="789" y="293"/>
                  </a:lnTo>
                  <a:lnTo>
                    <a:pt x="768" y="305"/>
                  </a:lnTo>
                  <a:lnTo>
                    <a:pt x="742" y="300"/>
                  </a:lnTo>
                  <a:lnTo>
                    <a:pt x="734" y="317"/>
                  </a:lnTo>
                  <a:lnTo>
                    <a:pt x="687" y="338"/>
                  </a:lnTo>
                  <a:lnTo>
                    <a:pt x="687" y="338"/>
                  </a:lnTo>
                  <a:lnTo>
                    <a:pt x="687" y="338"/>
                  </a:lnTo>
                  <a:close/>
                  <a:moveTo>
                    <a:pt x="357" y="244"/>
                  </a:moveTo>
                  <a:lnTo>
                    <a:pt x="345" y="239"/>
                  </a:lnTo>
                  <a:lnTo>
                    <a:pt x="357" y="227"/>
                  </a:lnTo>
                  <a:lnTo>
                    <a:pt x="361" y="239"/>
                  </a:lnTo>
                  <a:lnTo>
                    <a:pt x="357" y="244"/>
                  </a:lnTo>
                  <a:lnTo>
                    <a:pt x="357" y="244"/>
                  </a:lnTo>
                  <a:lnTo>
                    <a:pt x="357" y="244"/>
                  </a:lnTo>
                  <a:close/>
                  <a:moveTo>
                    <a:pt x="612" y="244"/>
                  </a:moveTo>
                  <a:lnTo>
                    <a:pt x="605" y="239"/>
                  </a:lnTo>
                  <a:lnTo>
                    <a:pt x="605" y="239"/>
                  </a:lnTo>
                  <a:lnTo>
                    <a:pt x="612" y="244"/>
                  </a:lnTo>
                  <a:lnTo>
                    <a:pt x="612" y="244"/>
                  </a:lnTo>
                  <a:lnTo>
                    <a:pt x="612" y="244"/>
                  </a:lnTo>
                  <a:close/>
                  <a:moveTo>
                    <a:pt x="968" y="293"/>
                  </a:moveTo>
                  <a:lnTo>
                    <a:pt x="956" y="265"/>
                  </a:lnTo>
                  <a:lnTo>
                    <a:pt x="968" y="260"/>
                  </a:lnTo>
                  <a:lnTo>
                    <a:pt x="973" y="277"/>
                  </a:lnTo>
                  <a:lnTo>
                    <a:pt x="968" y="293"/>
                  </a:lnTo>
                  <a:lnTo>
                    <a:pt x="968" y="293"/>
                  </a:lnTo>
                  <a:lnTo>
                    <a:pt x="968" y="293"/>
                  </a:lnTo>
                  <a:close/>
                  <a:moveTo>
                    <a:pt x="444" y="293"/>
                  </a:moveTo>
                  <a:lnTo>
                    <a:pt x="427" y="284"/>
                  </a:lnTo>
                  <a:lnTo>
                    <a:pt x="432" y="277"/>
                  </a:lnTo>
                  <a:lnTo>
                    <a:pt x="444" y="284"/>
                  </a:lnTo>
                  <a:lnTo>
                    <a:pt x="444" y="293"/>
                  </a:lnTo>
                  <a:lnTo>
                    <a:pt x="444" y="293"/>
                  </a:lnTo>
                  <a:lnTo>
                    <a:pt x="444" y="293"/>
                  </a:lnTo>
                  <a:close/>
                  <a:moveTo>
                    <a:pt x="1023" y="334"/>
                  </a:moveTo>
                  <a:lnTo>
                    <a:pt x="1023" y="350"/>
                  </a:lnTo>
                  <a:lnTo>
                    <a:pt x="1056" y="371"/>
                  </a:lnTo>
                  <a:lnTo>
                    <a:pt x="1056" y="393"/>
                  </a:lnTo>
                  <a:lnTo>
                    <a:pt x="1056" y="388"/>
                  </a:lnTo>
                  <a:lnTo>
                    <a:pt x="1039" y="393"/>
                  </a:lnTo>
                  <a:lnTo>
                    <a:pt x="1011" y="388"/>
                  </a:lnTo>
                  <a:lnTo>
                    <a:pt x="1006" y="371"/>
                  </a:lnTo>
                  <a:lnTo>
                    <a:pt x="1006" y="355"/>
                  </a:lnTo>
                  <a:lnTo>
                    <a:pt x="990" y="350"/>
                  </a:lnTo>
                  <a:lnTo>
                    <a:pt x="973" y="334"/>
                  </a:lnTo>
                  <a:lnTo>
                    <a:pt x="973" y="300"/>
                  </a:lnTo>
                  <a:lnTo>
                    <a:pt x="1001" y="300"/>
                  </a:lnTo>
                  <a:lnTo>
                    <a:pt x="1006" y="322"/>
                  </a:lnTo>
                  <a:lnTo>
                    <a:pt x="1023" y="334"/>
                  </a:lnTo>
                  <a:lnTo>
                    <a:pt x="1023" y="334"/>
                  </a:lnTo>
                  <a:lnTo>
                    <a:pt x="1023" y="334"/>
                  </a:lnTo>
                  <a:close/>
                  <a:moveTo>
                    <a:pt x="498" y="322"/>
                  </a:moveTo>
                  <a:lnTo>
                    <a:pt x="482" y="305"/>
                  </a:lnTo>
                  <a:lnTo>
                    <a:pt x="482" y="300"/>
                  </a:lnTo>
                  <a:lnTo>
                    <a:pt x="503" y="305"/>
                  </a:lnTo>
                  <a:lnTo>
                    <a:pt x="498" y="322"/>
                  </a:lnTo>
                  <a:lnTo>
                    <a:pt x="498" y="322"/>
                  </a:lnTo>
                  <a:lnTo>
                    <a:pt x="498" y="322"/>
                  </a:lnTo>
                  <a:close/>
                  <a:moveTo>
                    <a:pt x="194" y="487"/>
                  </a:moveTo>
                  <a:lnTo>
                    <a:pt x="194" y="482"/>
                  </a:lnTo>
                  <a:lnTo>
                    <a:pt x="194" y="487"/>
                  </a:lnTo>
                  <a:lnTo>
                    <a:pt x="194" y="487"/>
                  </a:lnTo>
                  <a:lnTo>
                    <a:pt x="194" y="487"/>
                  </a:lnTo>
                  <a:lnTo>
                    <a:pt x="194" y="487"/>
                  </a:lnTo>
                  <a:close/>
                  <a:moveTo>
                    <a:pt x="194" y="499"/>
                  </a:moveTo>
                  <a:lnTo>
                    <a:pt x="194" y="487"/>
                  </a:lnTo>
                  <a:lnTo>
                    <a:pt x="201" y="487"/>
                  </a:lnTo>
                  <a:lnTo>
                    <a:pt x="194" y="499"/>
                  </a:lnTo>
                  <a:lnTo>
                    <a:pt x="194" y="499"/>
                  </a:lnTo>
                  <a:lnTo>
                    <a:pt x="194" y="499"/>
                  </a:lnTo>
                  <a:close/>
                  <a:moveTo>
                    <a:pt x="184" y="515"/>
                  </a:moveTo>
                  <a:lnTo>
                    <a:pt x="172" y="504"/>
                  </a:lnTo>
                  <a:lnTo>
                    <a:pt x="184" y="504"/>
                  </a:lnTo>
                  <a:lnTo>
                    <a:pt x="184" y="515"/>
                  </a:lnTo>
                  <a:lnTo>
                    <a:pt x="184" y="515"/>
                  </a:lnTo>
                  <a:lnTo>
                    <a:pt x="184" y="515"/>
                  </a:lnTo>
                  <a:close/>
                  <a:moveTo>
                    <a:pt x="194" y="527"/>
                  </a:moveTo>
                  <a:lnTo>
                    <a:pt x="163" y="504"/>
                  </a:lnTo>
                  <a:lnTo>
                    <a:pt x="177" y="515"/>
                  </a:lnTo>
                  <a:lnTo>
                    <a:pt x="194" y="527"/>
                  </a:lnTo>
                  <a:lnTo>
                    <a:pt x="194" y="527"/>
                  </a:lnTo>
                  <a:lnTo>
                    <a:pt x="194" y="527"/>
                  </a:lnTo>
                  <a:close/>
                  <a:moveTo>
                    <a:pt x="720" y="537"/>
                  </a:moveTo>
                  <a:lnTo>
                    <a:pt x="713" y="515"/>
                  </a:lnTo>
                  <a:lnTo>
                    <a:pt x="720" y="504"/>
                  </a:lnTo>
                  <a:lnTo>
                    <a:pt x="720" y="537"/>
                  </a:lnTo>
                  <a:lnTo>
                    <a:pt x="720" y="537"/>
                  </a:lnTo>
                  <a:lnTo>
                    <a:pt x="720" y="537"/>
                  </a:lnTo>
                  <a:close/>
                  <a:moveTo>
                    <a:pt x="838" y="570"/>
                  </a:moveTo>
                  <a:lnTo>
                    <a:pt x="812" y="553"/>
                  </a:lnTo>
                  <a:lnTo>
                    <a:pt x="838" y="544"/>
                  </a:lnTo>
                  <a:lnTo>
                    <a:pt x="850" y="560"/>
                  </a:lnTo>
                  <a:lnTo>
                    <a:pt x="838" y="570"/>
                  </a:lnTo>
                  <a:lnTo>
                    <a:pt x="838" y="570"/>
                  </a:lnTo>
                  <a:lnTo>
                    <a:pt x="838" y="570"/>
                  </a:lnTo>
                  <a:close/>
                  <a:moveTo>
                    <a:pt x="666" y="582"/>
                  </a:moveTo>
                  <a:lnTo>
                    <a:pt x="649" y="577"/>
                  </a:lnTo>
                  <a:lnTo>
                    <a:pt x="649" y="570"/>
                  </a:lnTo>
                  <a:lnTo>
                    <a:pt x="666" y="570"/>
                  </a:lnTo>
                  <a:lnTo>
                    <a:pt x="666" y="582"/>
                  </a:lnTo>
                  <a:lnTo>
                    <a:pt x="666" y="582"/>
                  </a:lnTo>
                  <a:lnTo>
                    <a:pt x="666" y="582"/>
                  </a:lnTo>
                  <a:close/>
                  <a:moveTo>
                    <a:pt x="697" y="598"/>
                  </a:moveTo>
                  <a:lnTo>
                    <a:pt x="671" y="593"/>
                  </a:lnTo>
                  <a:lnTo>
                    <a:pt x="671" y="577"/>
                  </a:lnTo>
                  <a:lnTo>
                    <a:pt x="697" y="582"/>
                  </a:lnTo>
                  <a:lnTo>
                    <a:pt x="704" y="598"/>
                  </a:lnTo>
                  <a:lnTo>
                    <a:pt x="697" y="598"/>
                  </a:lnTo>
                  <a:lnTo>
                    <a:pt x="697" y="598"/>
                  </a:lnTo>
                  <a:lnTo>
                    <a:pt x="697" y="598"/>
                  </a:lnTo>
                  <a:close/>
                  <a:moveTo>
                    <a:pt x="730" y="638"/>
                  </a:moveTo>
                  <a:lnTo>
                    <a:pt x="704" y="631"/>
                  </a:lnTo>
                  <a:lnTo>
                    <a:pt x="697" y="598"/>
                  </a:lnTo>
                  <a:lnTo>
                    <a:pt x="720" y="626"/>
                  </a:lnTo>
                  <a:lnTo>
                    <a:pt x="730" y="615"/>
                  </a:lnTo>
                  <a:lnTo>
                    <a:pt x="730" y="638"/>
                  </a:lnTo>
                  <a:lnTo>
                    <a:pt x="730" y="638"/>
                  </a:lnTo>
                  <a:lnTo>
                    <a:pt x="730" y="638"/>
                  </a:lnTo>
                  <a:close/>
                  <a:moveTo>
                    <a:pt x="704" y="671"/>
                  </a:moveTo>
                  <a:lnTo>
                    <a:pt x="697" y="671"/>
                  </a:lnTo>
                  <a:lnTo>
                    <a:pt x="697" y="664"/>
                  </a:lnTo>
                  <a:lnTo>
                    <a:pt x="704" y="664"/>
                  </a:lnTo>
                  <a:lnTo>
                    <a:pt x="704" y="671"/>
                  </a:lnTo>
                  <a:lnTo>
                    <a:pt x="704" y="671"/>
                  </a:lnTo>
                  <a:lnTo>
                    <a:pt x="704" y="671"/>
                  </a:lnTo>
                  <a:close/>
                  <a:moveTo>
                    <a:pt x="704" y="671"/>
                  </a:moveTo>
                  <a:lnTo>
                    <a:pt x="704" y="664"/>
                  </a:lnTo>
                  <a:lnTo>
                    <a:pt x="713" y="664"/>
                  </a:lnTo>
                  <a:lnTo>
                    <a:pt x="713" y="671"/>
                  </a:lnTo>
                  <a:lnTo>
                    <a:pt x="704" y="671"/>
                  </a:lnTo>
                  <a:lnTo>
                    <a:pt x="704" y="671"/>
                  </a:lnTo>
                  <a:lnTo>
                    <a:pt x="704" y="671"/>
                  </a:lnTo>
                  <a:close/>
                  <a:moveTo>
                    <a:pt x="838" y="671"/>
                  </a:moveTo>
                  <a:lnTo>
                    <a:pt x="822" y="671"/>
                  </a:lnTo>
                  <a:lnTo>
                    <a:pt x="843" y="671"/>
                  </a:lnTo>
                  <a:lnTo>
                    <a:pt x="838" y="671"/>
                  </a:lnTo>
                  <a:lnTo>
                    <a:pt x="838" y="671"/>
                  </a:lnTo>
                  <a:lnTo>
                    <a:pt x="838" y="671"/>
                  </a:lnTo>
                  <a:close/>
                  <a:moveTo>
                    <a:pt x="864" y="721"/>
                  </a:moveTo>
                  <a:lnTo>
                    <a:pt x="860" y="709"/>
                  </a:lnTo>
                  <a:lnTo>
                    <a:pt x="864" y="709"/>
                  </a:lnTo>
                  <a:lnTo>
                    <a:pt x="864" y="721"/>
                  </a:lnTo>
                  <a:lnTo>
                    <a:pt x="864" y="721"/>
                  </a:lnTo>
                  <a:lnTo>
                    <a:pt x="864" y="721"/>
                  </a:lnTo>
                  <a:close/>
                  <a:moveTo>
                    <a:pt x="931" y="726"/>
                  </a:moveTo>
                  <a:lnTo>
                    <a:pt x="919" y="721"/>
                  </a:lnTo>
                  <a:lnTo>
                    <a:pt x="935" y="721"/>
                  </a:lnTo>
                  <a:lnTo>
                    <a:pt x="947" y="726"/>
                  </a:lnTo>
                  <a:lnTo>
                    <a:pt x="931" y="726"/>
                  </a:lnTo>
                  <a:lnTo>
                    <a:pt x="931" y="726"/>
                  </a:lnTo>
                  <a:lnTo>
                    <a:pt x="931" y="726"/>
                  </a:lnTo>
                  <a:close/>
                  <a:moveTo>
                    <a:pt x="893" y="742"/>
                  </a:moveTo>
                  <a:lnTo>
                    <a:pt x="876" y="737"/>
                  </a:lnTo>
                  <a:lnTo>
                    <a:pt x="864" y="721"/>
                  </a:lnTo>
                  <a:lnTo>
                    <a:pt x="905" y="742"/>
                  </a:lnTo>
                  <a:lnTo>
                    <a:pt x="893" y="742"/>
                  </a:lnTo>
                  <a:lnTo>
                    <a:pt x="893" y="742"/>
                  </a:lnTo>
                  <a:lnTo>
                    <a:pt x="893" y="742"/>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5" name="Freeform 536">
              <a:extLst>
                <a:ext uri="{FF2B5EF4-FFF2-40B4-BE49-F238E27FC236}">
                  <a16:creationId xmlns:a16="http://schemas.microsoft.com/office/drawing/2014/main" id="{2F66823F-BA3E-4C8B-9E0D-6957DF0DB7B8}"/>
                </a:ext>
              </a:extLst>
            </p:cNvPr>
            <p:cNvSpPr>
              <a:spLocks noEditPoints="1"/>
            </p:cNvSpPr>
            <p:nvPr/>
          </p:nvSpPr>
          <p:spPr bwMode="gray">
            <a:xfrm>
              <a:off x="16826973" y="3930465"/>
              <a:ext cx="7528" cy="13092"/>
            </a:xfrm>
            <a:custGeom>
              <a:avLst/>
              <a:gdLst>
                <a:gd name="T0" fmla="*/ 14 w 23"/>
                <a:gd name="T1" fmla="*/ 33 h 40"/>
                <a:gd name="T2" fmla="*/ 14 w 23"/>
                <a:gd name="T3" fmla="*/ 21 h 40"/>
                <a:gd name="T4" fmla="*/ 23 w 23"/>
                <a:gd name="T5" fmla="*/ 0 h 40"/>
                <a:gd name="T6" fmla="*/ 23 w 23"/>
                <a:gd name="T7" fmla="*/ 17 h 40"/>
                <a:gd name="T8" fmla="*/ 14 w 23"/>
                <a:gd name="T9" fmla="*/ 33 h 40"/>
                <a:gd name="T10" fmla="*/ 14 w 23"/>
                <a:gd name="T11" fmla="*/ 33 h 40"/>
                <a:gd name="T12" fmla="*/ 14 w 23"/>
                <a:gd name="T13" fmla="*/ 33 h 40"/>
                <a:gd name="T14" fmla="*/ 9 w 23"/>
                <a:gd name="T15" fmla="*/ 40 h 40"/>
                <a:gd name="T16" fmla="*/ 0 w 23"/>
                <a:gd name="T17" fmla="*/ 33 h 40"/>
                <a:gd name="T18" fmla="*/ 9 w 23"/>
                <a:gd name="T19" fmla="*/ 33 h 40"/>
                <a:gd name="T20" fmla="*/ 9 w 23"/>
                <a:gd name="T21" fmla="*/ 40 h 40"/>
                <a:gd name="T22" fmla="*/ 9 w 23"/>
                <a:gd name="T23" fmla="*/ 40 h 40"/>
                <a:gd name="T24" fmla="*/ 9 w 23"/>
                <a:gd name="T2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40">
                  <a:moveTo>
                    <a:pt x="14" y="33"/>
                  </a:moveTo>
                  <a:lnTo>
                    <a:pt x="14" y="21"/>
                  </a:lnTo>
                  <a:lnTo>
                    <a:pt x="23" y="0"/>
                  </a:lnTo>
                  <a:lnTo>
                    <a:pt x="23" y="17"/>
                  </a:lnTo>
                  <a:lnTo>
                    <a:pt x="14" y="33"/>
                  </a:lnTo>
                  <a:lnTo>
                    <a:pt x="14" y="33"/>
                  </a:lnTo>
                  <a:lnTo>
                    <a:pt x="14" y="33"/>
                  </a:lnTo>
                  <a:close/>
                  <a:moveTo>
                    <a:pt x="9" y="40"/>
                  </a:moveTo>
                  <a:lnTo>
                    <a:pt x="0" y="33"/>
                  </a:lnTo>
                  <a:lnTo>
                    <a:pt x="9" y="33"/>
                  </a:lnTo>
                  <a:lnTo>
                    <a:pt x="9" y="40"/>
                  </a:lnTo>
                  <a:lnTo>
                    <a:pt x="9" y="40"/>
                  </a:lnTo>
                  <a:lnTo>
                    <a:pt x="9" y="4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6" name="Freeform 537">
              <a:extLst>
                <a:ext uri="{FF2B5EF4-FFF2-40B4-BE49-F238E27FC236}">
                  <a16:creationId xmlns:a16="http://schemas.microsoft.com/office/drawing/2014/main" id="{AD2B1D35-CFB3-4AF2-AFD0-C6A7652BC301}"/>
                </a:ext>
              </a:extLst>
            </p:cNvPr>
            <p:cNvSpPr>
              <a:spLocks noEditPoints="1"/>
            </p:cNvSpPr>
            <p:nvPr/>
          </p:nvSpPr>
          <p:spPr bwMode="gray">
            <a:xfrm>
              <a:off x="13361883" y="3815257"/>
              <a:ext cx="70369" cy="40912"/>
            </a:xfrm>
            <a:custGeom>
              <a:avLst/>
              <a:gdLst>
                <a:gd name="T0" fmla="*/ 37 w 215"/>
                <a:gd name="T1" fmla="*/ 17 h 125"/>
                <a:gd name="T2" fmla="*/ 106 w 215"/>
                <a:gd name="T3" fmla="*/ 0 h 125"/>
                <a:gd name="T4" fmla="*/ 203 w 215"/>
                <a:gd name="T5" fmla="*/ 0 h 125"/>
                <a:gd name="T6" fmla="*/ 186 w 215"/>
                <a:gd name="T7" fmla="*/ 38 h 125"/>
                <a:gd name="T8" fmla="*/ 203 w 215"/>
                <a:gd name="T9" fmla="*/ 71 h 125"/>
                <a:gd name="T10" fmla="*/ 165 w 215"/>
                <a:gd name="T11" fmla="*/ 71 h 125"/>
                <a:gd name="T12" fmla="*/ 134 w 215"/>
                <a:gd name="T13" fmla="*/ 83 h 125"/>
                <a:gd name="T14" fmla="*/ 113 w 215"/>
                <a:gd name="T15" fmla="*/ 114 h 125"/>
                <a:gd name="T16" fmla="*/ 106 w 215"/>
                <a:gd name="T17" fmla="*/ 114 h 125"/>
                <a:gd name="T18" fmla="*/ 96 w 215"/>
                <a:gd name="T19" fmla="*/ 109 h 125"/>
                <a:gd name="T20" fmla="*/ 89 w 215"/>
                <a:gd name="T21" fmla="*/ 92 h 125"/>
                <a:gd name="T22" fmla="*/ 80 w 215"/>
                <a:gd name="T23" fmla="*/ 92 h 125"/>
                <a:gd name="T24" fmla="*/ 113 w 215"/>
                <a:gd name="T25" fmla="*/ 76 h 125"/>
                <a:gd name="T26" fmla="*/ 89 w 215"/>
                <a:gd name="T27" fmla="*/ 76 h 125"/>
                <a:gd name="T28" fmla="*/ 80 w 215"/>
                <a:gd name="T29" fmla="*/ 71 h 125"/>
                <a:gd name="T30" fmla="*/ 106 w 215"/>
                <a:gd name="T31" fmla="*/ 54 h 125"/>
                <a:gd name="T32" fmla="*/ 113 w 215"/>
                <a:gd name="T33" fmla="*/ 54 h 125"/>
                <a:gd name="T34" fmla="*/ 106 w 215"/>
                <a:gd name="T35" fmla="*/ 54 h 125"/>
                <a:gd name="T36" fmla="*/ 75 w 215"/>
                <a:gd name="T37" fmla="*/ 59 h 125"/>
                <a:gd name="T38" fmla="*/ 59 w 215"/>
                <a:gd name="T39" fmla="*/ 45 h 125"/>
                <a:gd name="T40" fmla="*/ 37 w 215"/>
                <a:gd name="T41" fmla="*/ 54 h 125"/>
                <a:gd name="T42" fmla="*/ 21 w 215"/>
                <a:gd name="T43" fmla="*/ 38 h 125"/>
                <a:gd name="T44" fmla="*/ 9 w 215"/>
                <a:gd name="T45" fmla="*/ 28 h 125"/>
                <a:gd name="T46" fmla="*/ 0 w 215"/>
                <a:gd name="T47" fmla="*/ 21 h 125"/>
                <a:gd name="T48" fmla="*/ 26 w 215"/>
                <a:gd name="T49" fmla="*/ 59 h 125"/>
                <a:gd name="T50" fmla="*/ 37 w 215"/>
                <a:gd name="T51" fmla="*/ 54 h 125"/>
                <a:gd name="T52" fmla="*/ 26 w 215"/>
                <a:gd name="T53" fmla="*/ 59 h 125"/>
                <a:gd name="T54" fmla="*/ 42 w 215"/>
                <a:gd name="T55" fmla="*/ 59 h 125"/>
                <a:gd name="T56" fmla="*/ 54 w 215"/>
                <a:gd name="T57" fmla="*/ 54 h 125"/>
                <a:gd name="T58" fmla="*/ 42 w 215"/>
                <a:gd name="T59" fmla="*/ 59 h 125"/>
                <a:gd name="T60" fmla="*/ 42 w 215"/>
                <a:gd name="T61" fmla="*/ 83 h 125"/>
                <a:gd name="T62" fmla="*/ 54 w 215"/>
                <a:gd name="T63" fmla="*/ 76 h 125"/>
                <a:gd name="T64" fmla="*/ 42 w 215"/>
                <a:gd name="T65" fmla="*/ 83 h 125"/>
                <a:gd name="T66" fmla="*/ 42 w 215"/>
                <a:gd name="T67" fmla="*/ 83 h 125"/>
                <a:gd name="T68" fmla="*/ 21 w 215"/>
                <a:gd name="T69" fmla="*/ 76 h 125"/>
                <a:gd name="T70" fmla="*/ 26 w 215"/>
                <a:gd name="T71" fmla="*/ 83 h 125"/>
                <a:gd name="T72" fmla="*/ 26 w 215"/>
                <a:gd name="T73" fmla="*/ 83 h 125"/>
                <a:gd name="T74" fmla="*/ 26 w 215"/>
                <a:gd name="T75" fmla="*/ 83 h 125"/>
                <a:gd name="T76" fmla="*/ 26 w 215"/>
                <a:gd name="T77" fmla="*/ 83 h 125"/>
                <a:gd name="T78" fmla="*/ 26 w 215"/>
                <a:gd name="T79" fmla="*/ 83 h 125"/>
                <a:gd name="T80" fmla="*/ 26 w 215"/>
                <a:gd name="T81" fmla="*/ 97 h 125"/>
                <a:gd name="T82" fmla="*/ 26 w 215"/>
                <a:gd name="T83" fmla="*/ 97 h 125"/>
                <a:gd name="T84" fmla="*/ 26 w 215"/>
                <a:gd name="T85" fmla="*/ 97 h 125"/>
                <a:gd name="T86" fmla="*/ 26 w 215"/>
                <a:gd name="T87" fmla="*/ 109 h 125"/>
                <a:gd name="T88" fmla="*/ 42 w 215"/>
                <a:gd name="T89" fmla="*/ 114 h 125"/>
                <a:gd name="T90" fmla="*/ 37 w 215"/>
                <a:gd name="T91" fmla="*/ 114 h 125"/>
                <a:gd name="T92" fmla="*/ 42 w 215"/>
                <a:gd name="T93" fmla="*/ 114 h 125"/>
                <a:gd name="T94" fmla="*/ 54 w 215"/>
                <a:gd name="T95" fmla="*/ 97 h 125"/>
                <a:gd name="T96" fmla="*/ 42 w 215"/>
                <a:gd name="T97" fmla="*/ 11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 h="125">
                  <a:moveTo>
                    <a:pt x="0" y="21"/>
                  </a:moveTo>
                  <a:lnTo>
                    <a:pt x="37" y="17"/>
                  </a:lnTo>
                  <a:lnTo>
                    <a:pt x="63" y="17"/>
                  </a:lnTo>
                  <a:lnTo>
                    <a:pt x="106" y="0"/>
                  </a:lnTo>
                  <a:lnTo>
                    <a:pt x="165" y="0"/>
                  </a:lnTo>
                  <a:lnTo>
                    <a:pt x="203" y="0"/>
                  </a:lnTo>
                  <a:lnTo>
                    <a:pt x="215" y="21"/>
                  </a:lnTo>
                  <a:lnTo>
                    <a:pt x="186" y="38"/>
                  </a:lnTo>
                  <a:lnTo>
                    <a:pt x="203" y="45"/>
                  </a:lnTo>
                  <a:lnTo>
                    <a:pt x="203" y="71"/>
                  </a:lnTo>
                  <a:lnTo>
                    <a:pt x="186" y="71"/>
                  </a:lnTo>
                  <a:lnTo>
                    <a:pt x="165" y="71"/>
                  </a:lnTo>
                  <a:lnTo>
                    <a:pt x="148" y="76"/>
                  </a:lnTo>
                  <a:lnTo>
                    <a:pt x="134" y="83"/>
                  </a:lnTo>
                  <a:lnTo>
                    <a:pt x="113" y="125"/>
                  </a:lnTo>
                  <a:lnTo>
                    <a:pt x="113" y="114"/>
                  </a:lnTo>
                  <a:lnTo>
                    <a:pt x="113" y="97"/>
                  </a:lnTo>
                  <a:lnTo>
                    <a:pt x="106" y="114"/>
                  </a:lnTo>
                  <a:lnTo>
                    <a:pt x="106" y="97"/>
                  </a:lnTo>
                  <a:lnTo>
                    <a:pt x="96" y="109"/>
                  </a:lnTo>
                  <a:lnTo>
                    <a:pt x="89" y="109"/>
                  </a:lnTo>
                  <a:lnTo>
                    <a:pt x="89" y="92"/>
                  </a:lnTo>
                  <a:lnTo>
                    <a:pt x="96" y="83"/>
                  </a:lnTo>
                  <a:lnTo>
                    <a:pt x="80" y="92"/>
                  </a:lnTo>
                  <a:lnTo>
                    <a:pt x="96" y="76"/>
                  </a:lnTo>
                  <a:lnTo>
                    <a:pt x="113" y="76"/>
                  </a:lnTo>
                  <a:lnTo>
                    <a:pt x="96" y="71"/>
                  </a:lnTo>
                  <a:lnTo>
                    <a:pt x="89" y="76"/>
                  </a:lnTo>
                  <a:lnTo>
                    <a:pt x="89" y="71"/>
                  </a:lnTo>
                  <a:lnTo>
                    <a:pt x="80" y="71"/>
                  </a:lnTo>
                  <a:lnTo>
                    <a:pt x="89" y="54"/>
                  </a:lnTo>
                  <a:lnTo>
                    <a:pt x="106" y="54"/>
                  </a:lnTo>
                  <a:lnTo>
                    <a:pt x="118" y="59"/>
                  </a:lnTo>
                  <a:lnTo>
                    <a:pt x="113" y="54"/>
                  </a:lnTo>
                  <a:lnTo>
                    <a:pt x="118" y="45"/>
                  </a:lnTo>
                  <a:lnTo>
                    <a:pt x="106" y="54"/>
                  </a:lnTo>
                  <a:lnTo>
                    <a:pt x="89" y="45"/>
                  </a:lnTo>
                  <a:lnTo>
                    <a:pt x="75" y="59"/>
                  </a:lnTo>
                  <a:lnTo>
                    <a:pt x="54" y="59"/>
                  </a:lnTo>
                  <a:lnTo>
                    <a:pt x="59" y="45"/>
                  </a:lnTo>
                  <a:lnTo>
                    <a:pt x="63" y="45"/>
                  </a:lnTo>
                  <a:lnTo>
                    <a:pt x="37" y="54"/>
                  </a:lnTo>
                  <a:lnTo>
                    <a:pt x="26" y="54"/>
                  </a:lnTo>
                  <a:lnTo>
                    <a:pt x="21" y="38"/>
                  </a:lnTo>
                  <a:lnTo>
                    <a:pt x="42" y="21"/>
                  </a:lnTo>
                  <a:lnTo>
                    <a:pt x="9" y="28"/>
                  </a:lnTo>
                  <a:lnTo>
                    <a:pt x="0" y="21"/>
                  </a:lnTo>
                  <a:lnTo>
                    <a:pt x="0" y="21"/>
                  </a:lnTo>
                  <a:lnTo>
                    <a:pt x="0" y="21"/>
                  </a:lnTo>
                  <a:close/>
                  <a:moveTo>
                    <a:pt x="26" y="59"/>
                  </a:moveTo>
                  <a:lnTo>
                    <a:pt x="26" y="45"/>
                  </a:lnTo>
                  <a:lnTo>
                    <a:pt x="37" y="54"/>
                  </a:lnTo>
                  <a:lnTo>
                    <a:pt x="26" y="59"/>
                  </a:lnTo>
                  <a:lnTo>
                    <a:pt x="26" y="59"/>
                  </a:lnTo>
                  <a:lnTo>
                    <a:pt x="26" y="59"/>
                  </a:lnTo>
                  <a:close/>
                  <a:moveTo>
                    <a:pt x="42" y="59"/>
                  </a:moveTo>
                  <a:lnTo>
                    <a:pt x="37" y="54"/>
                  </a:lnTo>
                  <a:lnTo>
                    <a:pt x="54" y="54"/>
                  </a:lnTo>
                  <a:lnTo>
                    <a:pt x="42" y="59"/>
                  </a:lnTo>
                  <a:lnTo>
                    <a:pt x="42" y="59"/>
                  </a:lnTo>
                  <a:lnTo>
                    <a:pt x="42" y="59"/>
                  </a:lnTo>
                  <a:close/>
                  <a:moveTo>
                    <a:pt x="42" y="83"/>
                  </a:moveTo>
                  <a:lnTo>
                    <a:pt x="42" y="76"/>
                  </a:lnTo>
                  <a:lnTo>
                    <a:pt x="54" y="76"/>
                  </a:lnTo>
                  <a:lnTo>
                    <a:pt x="54" y="83"/>
                  </a:lnTo>
                  <a:lnTo>
                    <a:pt x="42" y="83"/>
                  </a:lnTo>
                  <a:lnTo>
                    <a:pt x="42" y="83"/>
                  </a:lnTo>
                  <a:lnTo>
                    <a:pt x="42" y="83"/>
                  </a:lnTo>
                  <a:close/>
                  <a:moveTo>
                    <a:pt x="26" y="83"/>
                  </a:moveTo>
                  <a:lnTo>
                    <a:pt x="21" y="76"/>
                  </a:lnTo>
                  <a:lnTo>
                    <a:pt x="26" y="76"/>
                  </a:lnTo>
                  <a:lnTo>
                    <a:pt x="26" y="83"/>
                  </a:lnTo>
                  <a:lnTo>
                    <a:pt x="26" y="83"/>
                  </a:lnTo>
                  <a:lnTo>
                    <a:pt x="26" y="83"/>
                  </a:lnTo>
                  <a:close/>
                  <a:moveTo>
                    <a:pt x="26" y="83"/>
                  </a:moveTo>
                  <a:lnTo>
                    <a:pt x="26" y="83"/>
                  </a:lnTo>
                  <a:lnTo>
                    <a:pt x="37" y="76"/>
                  </a:lnTo>
                  <a:lnTo>
                    <a:pt x="26" y="83"/>
                  </a:lnTo>
                  <a:lnTo>
                    <a:pt x="26" y="83"/>
                  </a:lnTo>
                  <a:lnTo>
                    <a:pt x="26" y="83"/>
                  </a:lnTo>
                  <a:close/>
                  <a:moveTo>
                    <a:pt x="26" y="97"/>
                  </a:moveTo>
                  <a:lnTo>
                    <a:pt x="26" y="97"/>
                  </a:lnTo>
                  <a:lnTo>
                    <a:pt x="37" y="97"/>
                  </a:lnTo>
                  <a:lnTo>
                    <a:pt x="26" y="97"/>
                  </a:lnTo>
                  <a:lnTo>
                    <a:pt x="26" y="97"/>
                  </a:lnTo>
                  <a:lnTo>
                    <a:pt x="26" y="97"/>
                  </a:lnTo>
                  <a:close/>
                  <a:moveTo>
                    <a:pt x="37" y="114"/>
                  </a:moveTo>
                  <a:lnTo>
                    <a:pt x="26" y="109"/>
                  </a:lnTo>
                  <a:lnTo>
                    <a:pt x="42" y="97"/>
                  </a:lnTo>
                  <a:lnTo>
                    <a:pt x="42" y="114"/>
                  </a:lnTo>
                  <a:lnTo>
                    <a:pt x="37" y="114"/>
                  </a:lnTo>
                  <a:lnTo>
                    <a:pt x="37" y="114"/>
                  </a:lnTo>
                  <a:lnTo>
                    <a:pt x="37" y="114"/>
                  </a:lnTo>
                  <a:close/>
                  <a:moveTo>
                    <a:pt x="42" y="114"/>
                  </a:moveTo>
                  <a:lnTo>
                    <a:pt x="42" y="109"/>
                  </a:lnTo>
                  <a:lnTo>
                    <a:pt x="54" y="97"/>
                  </a:lnTo>
                  <a:lnTo>
                    <a:pt x="42" y="114"/>
                  </a:lnTo>
                  <a:lnTo>
                    <a:pt x="42" y="114"/>
                  </a:lnTo>
                  <a:lnTo>
                    <a:pt x="42" y="114"/>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7" name="Freeform 538">
              <a:extLst>
                <a:ext uri="{FF2B5EF4-FFF2-40B4-BE49-F238E27FC236}">
                  <a16:creationId xmlns:a16="http://schemas.microsoft.com/office/drawing/2014/main" id="{8E35AB34-23D3-4260-8961-E42A7BDF368C}"/>
                </a:ext>
              </a:extLst>
            </p:cNvPr>
            <p:cNvSpPr>
              <a:spLocks/>
            </p:cNvSpPr>
            <p:nvPr/>
          </p:nvSpPr>
          <p:spPr bwMode="gray">
            <a:xfrm>
              <a:off x="14908032" y="3482723"/>
              <a:ext cx="20947" cy="41894"/>
            </a:xfrm>
            <a:custGeom>
              <a:avLst/>
              <a:gdLst>
                <a:gd name="T0" fmla="*/ 42 w 64"/>
                <a:gd name="T1" fmla="*/ 116 h 128"/>
                <a:gd name="T2" fmla="*/ 16 w 64"/>
                <a:gd name="T3" fmla="*/ 128 h 128"/>
                <a:gd name="T4" fmla="*/ 12 w 64"/>
                <a:gd name="T5" fmla="*/ 111 h 128"/>
                <a:gd name="T6" fmla="*/ 0 w 64"/>
                <a:gd name="T7" fmla="*/ 55 h 128"/>
                <a:gd name="T8" fmla="*/ 12 w 64"/>
                <a:gd name="T9" fmla="*/ 55 h 128"/>
                <a:gd name="T10" fmla="*/ 12 w 64"/>
                <a:gd name="T11" fmla="*/ 45 h 128"/>
                <a:gd name="T12" fmla="*/ 16 w 64"/>
                <a:gd name="T13" fmla="*/ 38 h 128"/>
                <a:gd name="T14" fmla="*/ 16 w 64"/>
                <a:gd name="T15" fmla="*/ 38 h 128"/>
                <a:gd name="T16" fmla="*/ 26 w 64"/>
                <a:gd name="T17" fmla="*/ 5 h 128"/>
                <a:gd name="T18" fmla="*/ 42 w 64"/>
                <a:gd name="T19" fmla="*/ 0 h 128"/>
                <a:gd name="T20" fmla="*/ 47 w 64"/>
                <a:gd name="T21" fmla="*/ 17 h 128"/>
                <a:gd name="T22" fmla="*/ 64 w 64"/>
                <a:gd name="T23" fmla="*/ 22 h 128"/>
                <a:gd name="T24" fmla="*/ 64 w 64"/>
                <a:gd name="T25" fmla="*/ 38 h 128"/>
                <a:gd name="T26" fmla="*/ 54 w 64"/>
                <a:gd name="T27" fmla="*/ 55 h 128"/>
                <a:gd name="T28" fmla="*/ 54 w 64"/>
                <a:gd name="T29" fmla="*/ 71 h 128"/>
                <a:gd name="T30" fmla="*/ 64 w 64"/>
                <a:gd name="T31" fmla="*/ 71 h 128"/>
                <a:gd name="T32" fmla="*/ 64 w 64"/>
                <a:gd name="T33" fmla="*/ 83 h 128"/>
                <a:gd name="T34" fmla="*/ 47 w 64"/>
                <a:gd name="T35" fmla="*/ 128 h 128"/>
                <a:gd name="T36" fmla="*/ 42 w 64"/>
                <a:gd name="T37" fmla="*/ 116 h 128"/>
                <a:gd name="T38" fmla="*/ 42 w 64"/>
                <a:gd name="T39" fmla="*/ 116 h 128"/>
                <a:gd name="T40" fmla="*/ 42 w 64"/>
                <a:gd name="T41" fmla="*/ 1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128">
                  <a:moveTo>
                    <a:pt x="42" y="116"/>
                  </a:moveTo>
                  <a:lnTo>
                    <a:pt x="16" y="128"/>
                  </a:lnTo>
                  <a:lnTo>
                    <a:pt x="12" y="111"/>
                  </a:lnTo>
                  <a:lnTo>
                    <a:pt x="0" y="55"/>
                  </a:lnTo>
                  <a:lnTo>
                    <a:pt x="12" y="55"/>
                  </a:lnTo>
                  <a:lnTo>
                    <a:pt x="12" y="45"/>
                  </a:lnTo>
                  <a:lnTo>
                    <a:pt x="16" y="38"/>
                  </a:lnTo>
                  <a:lnTo>
                    <a:pt x="16" y="38"/>
                  </a:lnTo>
                  <a:lnTo>
                    <a:pt x="26" y="5"/>
                  </a:lnTo>
                  <a:lnTo>
                    <a:pt x="42" y="0"/>
                  </a:lnTo>
                  <a:lnTo>
                    <a:pt x="47" y="17"/>
                  </a:lnTo>
                  <a:lnTo>
                    <a:pt x="64" y="22"/>
                  </a:lnTo>
                  <a:lnTo>
                    <a:pt x="64" y="38"/>
                  </a:lnTo>
                  <a:lnTo>
                    <a:pt x="54" y="55"/>
                  </a:lnTo>
                  <a:lnTo>
                    <a:pt x="54" y="71"/>
                  </a:lnTo>
                  <a:lnTo>
                    <a:pt x="64" y="71"/>
                  </a:lnTo>
                  <a:lnTo>
                    <a:pt x="64" y="83"/>
                  </a:lnTo>
                  <a:lnTo>
                    <a:pt x="47" y="128"/>
                  </a:lnTo>
                  <a:lnTo>
                    <a:pt x="42" y="116"/>
                  </a:lnTo>
                  <a:lnTo>
                    <a:pt x="42" y="116"/>
                  </a:lnTo>
                  <a:lnTo>
                    <a:pt x="42" y="116"/>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8" name="Freeform 539">
              <a:extLst>
                <a:ext uri="{FF2B5EF4-FFF2-40B4-BE49-F238E27FC236}">
                  <a16:creationId xmlns:a16="http://schemas.microsoft.com/office/drawing/2014/main" id="{CE5C07A1-752E-426E-8F50-F79818C619C9}"/>
                </a:ext>
              </a:extLst>
            </p:cNvPr>
            <p:cNvSpPr>
              <a:spLocks/>
            </p:cNvSpPr>
            <p:nvPr/>
          </p:nvSpPr>
          <p:spPr bwMode="gray">
            <a:xfrm>
              <a:off x="15011458" y="4613206"/>
              <a:ext cx="15710" cy="12437"/>
            </a:xfrm>
            <a:custGeom>
              <a:avLst/>
              <a:gdLst>
                <a:gd name="T0" fmla="*/ 34 w 48"/>
                <a:gd name="T1" fmla="*/ 5 h 38"/>
                <a:gd name="T2" fmla="*/ 48 w 48"/>
                <a:gd name="T3" fmla="*/ 21 h 38"/>
                <a:gd name="T4" fmla="*/ 38 w 48"/>
                <a:gd name="T5" fmla="*/ 33 h 38"/>
                <a:gd name="T6" fmla="*/ 34 w 48"/>
                <a:gd name="T7" fmla="*/ 38 h 38"/>
                <a:gd name="T8" fmla="*/ 8 w 48"/>
                <a:gd name="T9" fmla="*/ 33 h 38"/>
                <a:gd name="T10" fmla="*/ 0 w 48"/>
                <a:gd name="T11" fmla="*/ 16 h 38"/>
                <a:gd name="T12" fmla="*/ 17 w 48"/>
                <a:gd name="T13" fmla="*/ 0 h 38"/>
                <a:gd name="T14" fmla="*/ 34 w 48"/>
                <a:gd name="T15" fmla="*/ 0 h 38"/>
                <a:gd name="T16" fmla="*/ 34 w 48"/>
                <a:gd name="T17" fmla="*/ 5 h 38"/>
                <a:gd name="T18" fmla="*/ 34 w 48"/>
                <a:gd name="T19" fmla="*/ 5 h 38"/>
                <a:gd name="T20" fmla="*/ 34 w 48"/>
                <a:gd name="T21"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38">
                  <a:moveTo>
                    <a:pt x="34" y="5"/>
                  </a:moveTo>
                  <a:lnTo>
                    <a:pt x="48" y="21"/>
                  </a:lnTo>
                  <a:lnTo>
                    <a:pt x="38" y="33"/>
                  </a:lnTo>
                  <a:lnTo>
                    <a:pt x="34" y="38"/>
                  </a:lnTo>
                  <a:lnTo>
                    <a:pt x="8" y="33"/>
                  </a:lnTo>
                  <a:lnTo>
                    <a:pt x="0" y="16"/>
                  </a:lnTo>
                  <a:lnTo>
                    <a:pt x="17" y="0"/>
                  </a:lnTo>
                  <a:lnTo>
                    <a:pt x="34" y="0"/>
                  </a:lnTo>
                  <a:lnTo>
                    <a:pt x="34" y="5"/>
                  </a:lnTo>
                  <a:lnTo>
                    <a:pt x="34" y="5"/>
                  </a:lnTo>
                  <a:lnTo>
                    <a:pt x="34" y="5"/>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9" name="Freeform 540">
              <a:extLst>
                <a:ext uri="{FF2B5EF4-FFF2-40B4-BE49-F238E27FC236}">
                  <a16:creationId xmlns:a16="http://schemas.microsoft.com/office/drawing/2014/main" id="{97CCF1A6-01AC-4CBC-8B15-07CF47C7E092}"/>
                </a:ext>
              </a:extLst>
            </p:cNvPr>
            <p:cNvSpPr>
              <a:spLocks/>
            </p:cNvSpPr>
            <p:nvPr/>
          </p:nvSpPr>
          <p:spPr bwMode="gray">
            <a:xfrm>
              <a:off x="14209909" y="2878206"/>
              <a:ext cx="216343" cy="136810"/>
            </a:xfrm>
            <a:custGeom>
              <a:avLst/>
              <a:gdLst>
                <a:gd name="T0" fmla="*/ 151 w 661"/>
                <a:gd name="T1" fmla="*/ 340 h 418"/>
                <a:gd name="T2" fmla="*/ 151 w 661"/>
                <a:gd name="T3" fmla="*/ 324 h 418"/>
                <a:gd name="T4" fmla="*/ 130 w 661"/>
                <a:gd name="T5" fmla="*/ 340 h 418"/>
                <a:gd name="T6" fmla="*/ 97 w 661"/>
                <a:gd name="T7" fmla="*/ 324 h 418"/>
                <a:gd name="T8" fmla="*/ 80 w 661"/>
                <a:gd name="T9" fmla="*/ 317 h 418"/>
                <a:gd name="T10" fmla="*/ 92 w 661"/>
                <a:gd name="T11" fmla="*/ 307 h 418"/>
                <a:gd name="T12" fmla="*/ 92 w 661"/>
                <a:gd name="T13" fmla="*/ 284 h 418"/>
                <a:gd name="T14" fmla="*/ 38 w 661"/>
                <a:gd name="T15" fmla="*/ 229 h 418"/>
                <a:gd name="T16" fmla="*/ 0 w 661"/>
                <a:gd name="T17" fmla="*/ 196 h 418"/>
                <a:gd name="T18" fmla="*/ 28 w 661"/>
                <a:gd name="T19" fmla="*/ 196 h 418"/>
                <a:gd name="T20" fmla="*/ 71 w 661"/>
                <a:gd name="T21" fmla="*/ 184 h 418"/>
                <a:gd name="T22" fmla="*/ 92 w 661"/>
                <a:gd name="T23" fmla="*/ 140 h 418"/>
                <a:gd name="T24" fmla="*/ 123 w 661"/>
                <a:gd name="T25" fmla="*/ 85 h 418"/>
                <a:gd name="T26" fmla="*/ 146 w 661"/>
                <a:gd name="T27" fmla="*/ 57 h 418"/>
                <a:gd name="T28" fmla="*/ 182 w 661"/>
                <a:gd name="T29" fmla="*/ 29 h 418"/>
                <a:gd name="T30" fmla="*/ 220 w 661"/>
                <a:gd name="T31" fmla="*/ 29 h 418"/>
                <a:gd name="T32" fmla="*/ 295 w 661"/>
                <a:gd name="T33" fmla="*/ 29 h 418"/>
                <a:gd name="T34" fmla="*/ 349 w 661"/>
                <a:gd name="T35" fmla="*/ 29 h 418"/>
                <a:gd name="T36" fmla="*/ 420 w 661"/>
                <a:gd name="T37" fmla="*/ 7 h 418"/>
                <a:gd name="T38" fmla="*/ 468 w 661"/>
                <a:gd name="T39" fmla="*/ 19 h 418"/>
                <a:gd name="T40" fmla="*/ 527 w 661"/>
                <a:gd name="T41" fmla="*/ 102 h 418"/>
                <a:gd name="T42" fmla="*/ 560 w 661"/>
                <a:gd name="T43" fmla="*/ 168 h 418"/>
                <a:gd name="T44" fmla="*/ 553 w 661"/>
                <a:gd name="T45" fmla="*/ 239 h 418"/>
                <a:gd name="T46" fmla="*/ 553 w 661"/>
                <a:gd name="T47" fmla="*/ 262 h 418"/>
                <a:gd name="T48" fmla="*/ 590 w 661"/>
                <a:gd name="T49" fmla="*/ 279 h 418"/>
                <a:gd name="T50" fmla="*/ 649 w 661"/>
                <a:gd name="T51" fmla="*/ 267 h 418"/>
                <a:gd name="T52" fmla="*/ 649 w 661"/>
                <a:gd name="T53" fmla="*/ 317 h 418"/>
                <a:gd name="T54" fmla="*/ 612 w 661"/>
                <a:gd name="T55" fmla="*/ 307 h 418"/>
                <a:gd name="T56" fmla="*/ 612 w 661"/>
                <a:gd name="T57" fmla="*/ 300 h 418"/>
                <a:gd name="T58" fmla="*/ 607 w 661"/>
                <a:gd name="T59" fmla="*/ 317 h 418"/>
                <a:gd name="T60" fmla="*/ 612 w 661"/>
                <a:gd name="T61" fmla="*/ 324 h 418"/>
                <a:gd name="T62" fmla="*/ 590 w 661"/>
                <a:gd name="T63" fmla="*/ 340 h 418"/>
                <a:gd name="T64" fmla="*/ 581 w 661"/>
                <a:gd name="T65" fmla="*/ 357 h 418"/>
                <a:gd name="T66" fmla="*/ 581 w 661"/>
                <a:gd name="T67" fmla="*/ 411 h 418"/>
                <a:gd name="T68" fmla="*/ 538 w 661"/>
                <a:gd name="T69" fmla="*/ 390 h 418"/>
                <a:gd name="T70" fmla="*/ 510 w 661"/>
                <a:gd name="T71" fmla="*/ 378 h 418"/>
                <a:gd name="T72" fmla="*/ 489 w 661"/>
                <a:gd name="T73" fmla="*/ 373 h 418"/>
                <a:gd name="T74" fmla="*/ 413 w 661"/>
                <a:gd name="T75" fmla="*/ 390 h 418"/>
                <a:gd name="T76" fmla="*/ 361 w 661"/>
                <a:gd name="T77" fmla="*/ 418 h 418"/>
                <a:gd name="T78" fmla="*/ 274 w 661"/>
                <a:gd name="T79" fmla="*/ 411 h 418"/>
                <a:gd name="T80" fmla="*/ 182 w 661"/>
                <a:gd name="T81" fmla="*/ 406 h 418"/>
                <a:gd name="T82" fmla="*/ 189 w 661"/>
                <a:gd name="T83" fmla="*/ 378 h 418"/>
                <a:gd name="T84" fmla="*/ 168 w 661"/>
                <a:gd name="T85" fmla="*/ 36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1" h="418">
                  <a:moveTo>
                    <a:pt x="168" y="362"/>
                  </a:moveTo>
                  <a:lnTo>
                    <a:pt x="151" y="340"/>
                  </a:lnTo>
                  <a:lnTo>
                    <a:pt x="177" y="340"/>
                  </a:lnTo>
                  <a:lnTo>
                    <a:pt x="151" y="324"/>
                  </a:lnTo>
                  <a:lnTo>
                    <a:pt x="146" y="324"/>
                  </a:lnTo>
                  <a:lnTo>
                    <a:pt x="130" y="340"/>
                  </a:lnTo>
                  <a:lnTo>
                    <a:pt x="123" y="333"/>
                  </a:lnTo>
                  <a:lnTo>
                    <a:pt x="97" y="324"/>
                  </a:lnTo>
                  <a:lnTo>
                    <a:pt x="92" y="317"/>
                  </a:lnTo>
                  <a:lnTo>
                    <a:pt x="80" y="317"/>
                  </a:lnTo>
                  <a:lnTo>
                    <a:pt x="75" y="307"/>
                  </a:lnTo>
                  <a:lnTo>
                    <a:pt x="92" y="307"/>
                  </a:lnTo>
                  <a:lnTo>
                    <a:pt x="75" y="300"/>
                  </a:lnTo>
                  <a:lnTo>
                    <a:pt x="92" y="284"/>
                  </a:lnTo>
                  <a:lnTo>
                    <a:pt x="38" y="251"/>
                  </a:lnTo>
                  <a:lnTo>
                    <a:pt x="38" y="229"/>
                  </a:lnTo>
                  <a:lnTo>
                    <a:pt x="28" y="229"/>
                  </a:lnTo>
                  <a:lnTo>
                    <a:pt x="0" y="196"/>
                  </a:lnTo>
                  <a:lnTo>
                    <a:pt x="16" y="189"/>
                  </a:lnTo>
                  <a:lnTo>
                    <a:pt x="28" y="196"/>
                  </a:lnTo>
                  <a:lnTo>
                    <a:pt x="38" y="184"/>
                  </a:lnTo>
                  <a:lnTo>
                    <a:pt x="71" y="184"/>
                  </a:lnTo>
                  <a:lnTo>
                    <a:pt x="75" y="151"/>
                  </a:lnTo>
                  <a:lnTo>
                    <a:pt x="92" y="140"/>
                  </a:lnTo>
                  <a:lnTo>
                    <a:pt x="97" y="118"/>
                  </a:lnTo>
                  <a:lnTo>
                    <a:pt x="123" y="85"/>
                  </a:lnTo>
                  <a:lnTo>
                    <a:pt x="123" y="73"/>
                  </a:lnTo>
                  <a:lnTo>
                    <a:pt x="146" y="57"/>
                  </a:lnTo>
                  <a:lnTo>
                    <a:pt x="168" y="45"/>
                  </a:lnTo>
                  <a:lnTo>
                    <a:pt x="182" y="29"/>
                  </a:lnTo>
                  <a:lnTo>
                    <a:pt x="205" y="19"/>
                  </a:lnTo>
                  <a:lnTo>
                    <a:pt x="220" y="29"/>
                  </a:lnTo>
                  <a:lnTo>
                    <a:pt x="274" y="29"/>
                  </a:lnTo>
                  <a:lnTo>
                    <a:pt x="295" y="29"/>
                  </a:lnTo>
                  <a:lnTo>
                    <a:pt x="328" y="57"/>
                  </a:lnTo>
                  <a:lnTo>
                    <a:pt x="349" y="29"/>
                  </a:lnTo>
                  <a:lnTo>
                    <a:pt x="413" y="29"/>
                  </a:lnTo>
                  <a:lnTo>
                    <a:pt x="420" y="7"/>
                  </a:lnTo>
                  <a:lnTo>
                    <a:pt x="446" y="0"/>
                  </a:lnTo>
                  <a:lnTo>
                    <a:pt x="468" y="19"/>
                  </a:lnTo>
                  <a:lnTo>
                    <a:pt x="489" y="57"/>
                  </a:lnTo>
                  <a:lnTo>
                    <a:pt x="527" y="102"/>
                  </a:lnTo>
                  <a:lnTo>
                    <a:pt x="543" y="118"/>
                  </a:lnTo>
                  <a:lnTo>
                    <a:pt x="560" y="168"/>
                  </a:lnTo>
                  <a:lnTo>
                    <a:pt x="543" y="196"/>
                  </a:lnTo>
                  <a:lnTo>
                    <a:pt x="553" y="239"/>
                  </a:lnTo>
                  <a:lnTo>
                    <a:pt x="543" y="246"/>
                  </a:lnTo>
                  <a:lnTo>
                    <a:pt x="553" y="262"/>
                  </a:lnTo>
                  <a:lnTo>
                    <a:pt x="564" y="267"/>
                  </a:lnTo>
                  <a:lnTo>
                    <a:pt x="590" y="279"/>
                  </a:lnTo>
                  <a:lnTo>
                    <a:pt x="635" y="262"/>
                  </a:lnTo>
                  <a:lnTo>
                    <a:pt x="649" y="267"/>
                  </a:lnTo>
                  <a:lnTo>
                    <a:pt x="661" y="279"/>
                  </a:lnTo>
                  <a:lnTo>
                    <a:pt x="649" y="317"/>
                  </a:lnTo>
                  <a:lnTo>
                    <a:pt x="612" y="317"/>
                  </a:lnTo>
                  <a:lnTo>
                    <a:pt x="612" y="307"/>
                  </a:lnTo>
                  <a:lnTo>
                    <a:pt x="619" y="300"/>
                  </a:lnTo>
                  <a:lnTo>
                    <a:pt x="612" y="300"/>
                  </a:lnTo>
                  <a:lnTo>
                    <a:pt x="598" y="300"/>
                  </a:lnTo>
                  <a:lnTo>
                    <a:pt x="607" y="317"/>
                  </a:lnTo>
                  <a:lnTo>
                    <a:pt x="598" y="333"/>
                  </a:lnTo>
                  <a:lnTo>
                    <a:pt x="612" y="324"/>
                  </a:lnTo>
                  <a:lnTo>
                    <a:pt x="590" y="333"/>
                  </a:lnTo>
                  <a:lnTo>
                    <a:pt x="590" y="340"/>
                  </a:lnTo>
                  <a:lnTo>
                    <a:pt x="607" y="333"/>
                  </a:lnTo>
                  <a:lnTo>
                    <a:pt x="581" y="357"/>
                  </a:lnTo>
                  <a:lnTo>
                    <a:pt x="590" y="390"/>
                  </a:lnTo>
                  <a:lnTo>
                    <a:pt x="581" y="411"/>
                  </a:lnTo>
                  <a:lnTo>
                    <a:pt x="543" y="406"/>
                  </a:lnTo>
                  <a:lnTo>
                    <a:pt x="538" y="390"/>
                  </a:lnTo>
                  <a:lnTo>
                    <a:pt x="522" y="390"/>
                  </a:lnTo>
                  <a:lnTo>
                    <a:pt x="510" y="378"/>
                  </a:lnTo>
                  <a:lnTo>
                    <a:pt x="501" y="390"/>
                  </a:lnTo>
                  <a:lnTo>
                    <a:pt x="489" y="373"/>
                  </a:lnTo>
                  <a:lnTo>
                    <a:pt x="472" y="373"/>
                  </a:lnTo>
                  <a:lnTo>
                    <a:pt x="413" y="390"/>
                  </a:lnTo>
                  <a:lnTo>
                    <a:pt x="383" y="411"/>
                  </a:lnTo>
                  <a:lnTo>
                    <a:pt x="361" y="418"/>
                  </a:lnTo>
                  <a:lnTo>
                    <a:pt x="295" y="406"/>
                  </a:lnTo>
                  <a:lnTo>
                    <a:pt x="274" y="411"/>
                  </a:lnTo>
                  <a:lnTo>
                    <a:pt x="220" y="395"/>
                  </a:lnTo>
                  <a:lnTo>
                    <a:pt x="182" y="406"/>
                  </a:lnTo>
                  <a:lnTo>
                    <a:pt x="182" y="390"/>
                  </a:lnTo>
                  <a:lnTo>
                    <a:pt x="189" y="378"/>
                  </a:lnTo>
                  <a:lnTo>
                    <a:pt x="168" y="362"/>
                  </a:lnTo>
                  <a:lnTo>
                    <a:pt x="168" y="362"/>
                  </a:lnTo>
                  <a:lnTo>
                    <a:pt x="168" y="362"/>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0" name="Freeform 541">
              <a:extLst>
                <a:ext uri="{FF2B5EF4-FFF2-40B4-BE49-F238E27FC236}">
                  <a16:creationId xmlns:a16="http://schemas.microsoft.com/office/drawing/2014/main" id="{4B4AD4F8-12DC-4D09-B456-3C38EAC11668}"/>
                </a:ext>
              </a:extLst>
            </p:cNvPr>
            <p:cNvSpPr>
              <a:spLocks noEditPoints="1"/>
            </p:cNvSpPr>
            <p:nvPr/>
          </p:nvSpPr>
          <p:spPr bwMode="gray">
            <a:xfrm>
              <a:off x="16428652" y="3648336"/>
              <a:ext cx="221253" cy="348571"/>
            </a:xfrm>
            <a:custGeom>
              <a:avLst/>
              <a:gdLst>
                <a:gd name="T0" fmla="*/ 324 w 676"/>
                <a:gd name="T1" fmla="*/ 16 h 1065"/>
                <a:gd name="T2" fmla="*/ 310 w 676"/>
                <a:gd name="T3" fmla="*/ 50 h 1065"/>
                <a:gd name="T4" fmla="*/ 459 w 676"/>
                <a:gd name="T5" fmla="*/ 437 h 1065"/>
                <a:gd name="T6" fmla="*/ 487 w 676"/>
                <a:gd name="T7" fmla="*/ 494 h 1065"/>
                <a:gd name="T8" fmla="*/ 395 w 676"/>
                <a:gd name="T9" fmla="*/ 416 h 1065"/>
                <a:gd name="T10" fmla="*/ 260 w 676"/>
                <a:gd name="T11" fmla="*/ 416 h 1065"/>
                <a:gd name="T12" fmla="*/ 239 w 676"/>
                <a:gd name="T13" fmla="*/ 349 h 1065"/>
                <a:gd name="T14" fmla="*/ 244 w 676"/>
                <a:gd name="T15" fmla="*/ 250 h 1065"/>
                <a:gd name="T16" fmla="*/ 378 w 676"/>
                <a:gd name="T17" fmla="*/ 90 h 1065"/>
                <a:gd name="T18" fmla="*/ 369 w 676"/>
                <a:gd name="T19" fmla="*/ 250 h 1065"/>
                <a:gd name="T20" fmla="*/ 369 w 676"/>
                <a:gd name="T21" fmla="*/ 416 h 1065"/>
                <a:gd name="T22" fmla="*/ 433 w 676"/>
                <a:gd name="T23" fmla="*/ 437 h 1065"/>
                <a:gd name="T24" fmla="*/ 362 w 676"/>
                <a:gd name="T25" fmla="*/ 342 h 1065"/>
                <a:gd name="T26" fmla="*/ 369 w 676"/>
                <a:gd name="T27" fmla="*/ 361 h 1065"/>
                <a:gd name="T28" fmla="*/ 508 w 676"/>
                <a:gd name="T29" fmla="*/ 444 h 1065"/>
                <a:gd name="T30" fmla="*/ 345 w 676"/>
                <a:gd name="T31" fmla="*/ 461 h 1065"/>
                <a:gd name="T32" fmla="*/ 239 w 676"/>
                <a:gd name="T33" fmla="*/ 444 h 1065"/>
                <a:gd name="T34" fmla="*/ 487 w 676"/>
                <a:gd name="T35" fmla="*/ 453 h 1065"/>
                <a:gd name="T36" fmla="*/ 492 w 676"/>
                <a:gd name="T37" fmla="*/ 470 h 1065"/>
                <a:gd name="T38" fmla="*/ 362 w 676"/>
                <a:gd name="T39" fmla="*/ 510 h 1065"/>
                <a:gd name="T40" fmla="*/ 503 w 676"/>
                <a:gd name="T41" fmla="*/ 581 h 1065"/>
                <a:gd name="T42" fmla="*/ 617 w 676"/>
                <a:gd name="T43" fmla="*/ 626 h 1065"/>
                <a:gd name="T44" fmla="*/ 584 w 676"/>
                <a:gd name="T45" fmla="*/ 527 h 1065"/>
                <a:gd name="T46" fmla="*/ 617 w 676"/>
                <a:gd name="T47" fmla="*/ 626 h 1065"/>
                <a:gd name="T48" fmla="*/ 218 w 676"/>
                <a:gd name="T49" fmla="*/ 555 h 1065"/>
                <a:gd name="T50" fmla="*/ 293 w 676"/>
                <a:gd name="T51" fmla="*/ 538 h 1065"/>
                <a:gd name="T52" fmla="*/ 433 w 676"/>
                <a:gd name="T53" fmla="*/ 621 h 1065"/>
                <a:gd name="T54" fmla="*/ 369 w 676"/>
                <a:gd name="T55" fmla="*/ 572 h 1065"/>
                <a:gd name="T56" fmla="*/ 529 w 676"/>
                <a:gd name="T57" fmla="*/ 581 h 1065"/>
                <a:gd name="T58" fmla="*/ 525 w 676"/>
                <a:gd name="T59" fmla="*/ 638 h 1065"/>
                <a:gd name="T60" fmla="*/ 546 w 676"/>
                <a:gd name="T61" fmla="*/ 692 h 1065"/>
                <a:gd name="T62" fmla="*/ 189 w 676"/>
                <a:gd name="T63" fmla="*/ 666 h 1065"/>
                <a:gd name="T64" fmla="*/ 24 w 676"/>
                <a:gd name="T65" fmla="*/ 803 h 1065"/>
                <a:gd name="T66" fmla="*/ 168 w 676"/>
                <a:gd name="T67" fmla="*/ 659 h 1065"/>
                <a:gd name="T68" fmla="*/ 185 w 676"/>
                <a:gd name="T69" fmla="*/ 642 h 1065"/>
                <a:gd name="T70" fmla="*/ 475 w 676"/>
                <a:gd name="T71" fmla="*/ 666 h 1065"/>
                <a:gd name="T72" fmla="*/ 449 w 676"/>
                <a:gd name="T73" fmla="*/ 675 h 1065"/>
                <a:gd name="T74" fmla="*/ 416 w 676"/>
                <a:gd name="T75" fmla="*/ 699 h 1065"/>
                <a:gd name="T76" fmla="*/ 617 w 676"/>
                <a:gd name="T77" fmla="*/ 649 h 1065"/>
                <a:gd name="T78" fmla="*/ 407 w 676"/>
                <a:gd name="T79" fmla="*/ 659 h 1065"/>
                <a:gd name="T80" fmla="*/ 513 w 676"/>
                <a:gd name="T81" fmla="*/ 659 h 1065"/>
                <a:gd name="T82" fmla="*/ 201 w 676"/>
                <a:gd name="T83" fmla="*/ 666 h 1065"/>
                <a:gd name="T84" fmla="*/ 529 w 676"/>
                <a:gd name="T85" fmla="*/ 699 h 1065"/>
                <a:gd name="T86" fmla="*/ 529 w 676"/>
                <a:gd name="T87" fmla="*/ 699 h 1065"/>
                <a:gd name="T88" fmla="*/ 638 w 676"/>
                <a:gd name="T89" fmla="*/ 720 h 1065"/>
                <a:gd name="T90" fmla="*/ 407 w 676"/>
                <a:gd name="T91" fmla="*/ 886 h 1065"/>
                <a:gd name="T92" fmla="*/ 421 w 676"/>
                <a:gd name="T93" fmla="*/ 831 h 1065"/>
                <a:gd name="T94" fmla="*/ 513 w 676"/>
                <a:gd name="T95" fmla="*/ 815 h 1065"/>
                <a:gd name="T96" fmla="*/ 631 w 676"/>
                <a:gd name="T97" fmla="*/ 737 h 1065"/>
                <a:gd name="T98" fmla="*/ 664 w 676"/>
                <a:gd name="T99" fmla="*/ 860 h 1065"/>
                <a:gd name="T100" fmla="*/ 622 w 676"/>
                <a:gd name="T101" fmla="*/ 914 h 1065"/>
                <a:gd name="T102" fmla="*/ 584 w 676"/>
                <a:gd name="T103" fmla="*/ 1025 h 1065"/>
                <a:gd name="T104" fmla="*/ 492 w 676"/>
                <a:gd name="T105" fmla="*/ 869 h 1065"/>
                <a:gd name="T106" fmla="*/ 454 w 676"/>
                <a:gd name="T107" fmla="*/ 758 h 1065"/>
                <a:gd name="T108" fmla="*/ 546 w 676"/>
                <a:gd name="T109" fmla="*/ 770 h 1065"/>
                <a:gd name="T110" fmla="*/ 416 w 676"/>
                <a:gd name="T111" fmla="*/ 898 h 1065"/>
                <a:gd name="T112" fmla="*/ 622 w 676"/>
                <a:gd name="T113" fmla="*/ 914 h 1065"/>
                <a:gd name="T114" fmla="*/ 352 w 676"/>
                <a:gd name="T115" fmla="*/ 959 h 1065"/>
                <a:gd name="T116" fmla="*/ 255 w 676"/>
                <a:gd name="T117" fmla="*/ 959 h 1065"/>
                <a:gd name="T118" fmla="*/ 310 w 676"/>
                <a:gd name="T119" fmla="*/ 997 h 1065"/>
                <a:gd name="T120" fmla="*/ 277 w 676"/>
                <a:gd name="T121" fmla="*/ 1025 h 1065"/>
                <a:gd name="T122" fmla="*/ 206 w 676"/>
                <a:gd name="T123" fmla="*/ 1065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6" h="1065">
                  <a:moveTo>
                    <a:pt x="352" y="0"/>
                  </a:moveTo>
                  <a:lnTo>
                    <a:pt x="345" y="0"/>
                  </a:lnTo>
                  <a:lnTo>
                    <a:pt x="352" y="0"/>
                  </a:lnTo>
                  <a:lnTo>
                    <a:pt x="352" y="0"/>
                  </a:lnTo>
                  <a:lnTo>
                    <a:pt x="352" y="0"/>
                  </a:lnTo>
                  <a:close/>
                  <a:moveTo>
                    <a:pt x="324" y="16"/>
                  </a:moveTo>
                  <a:lnTo>
                    <a:pt x="314" y="12"/>
                  </a:lnTo>
                  <a:lnTo>
                    <a:pt x="324" y="12"/>
                  </a:lnTo>
                  <a:lnTo>
                    <a:pt x="324" y="16"/>
                  </a:lnTo>
                  <a:lnTo>
                    <a:pt x="324" y="16"/>
                  </a:lnTo>
                  <a:lnTo>
                    <a:pt x="324" y="16"/>
                  </a:lnTo>
                  <a:close/>
                  <a:moveTo>
                    <a:pt x="345" y="54"/>
                  </a:moveTo>
                  <a:lnTo>
                    <a:pt x="345" y="38"/>
                  </a:lnTo>
                  <a:lnTo>
                    <a:pt x="352" y="38"/>
                  </a:lnTo>
                  <a:lnTo>
                    <a:pt x="345" y="54"/>
                  </a:lnTo>
                  <a:lnTo>
                    <a:pt x="345" y="54"/>
                  </a:lnTo>
                  <a:lnTo>
                    <a:pt x="345" y="54"/>
                  </a:lnTo>
                  <a:close/>
                  <a:moveTo>
                    <a:pt x="310" y="50"/>
                  </a:moveTo>
                  <a:lnTo>
                    <a:pt x="314" y="50"/>
                  </a:lnTo>
                  <a:lnTo>
                    <a:pt x="310" y="50"/>
                  </a:lnTo>
                  <a:lnTo>
                    <a:pt x="310" y="50"/>
                  </a:lnTo>
                  <a:lnTo>
                    <a:pt x="310" y="50"/>
                  </a:lnTo>
                  <a:close/>
                  <a:moveTo>
                    <a:pt x="433" y="437"/>
                  </a:moveTo>
                  <a:lnTo>
                    <a:pt x="449" y="420"/>
                  </a:lnTo>
                  <a:lnTo>
                    <a:pt x="437" y="404"/>
                  </a:lnTo>
                  <a:lnTo>
                    <a:pt x="449" y="404"/>
                  </a:lnTo>
                  <a:lnTo>
                    <a:pt x="454" y="416"/>
                  </a:lnTo>
                  <a:lnTo>
                    <a:pt x="492" y="427"/>
                  </a:lnTo>
                  <a:lnTo>
                    <a:pt x="459" y="427"/>
                  </a:lnTo>
                  <a:lnTo>
                    <a:pt x="459" y="437"/>
                  </a:lnTo>
                  <a:lnTo>
                    <a:pt x="487" y="470"/>
                  </a:lnTo>
                  <a:lnTo>
                    <a:pt x="475" y="470"/>
                  </a:lnTo>
                  <a:lnTo>
                    <a:pt x="475" y="477"/>
                  </a:lnTo>
                  <a:lnTo>
                    <a:pt x="487" y="470"/>
                  </a:lnTo>
                  <a:lnTo>
                    <a:pt x="503" y="482"/>
                  </a:lnTo>
                  <a:lnTo>
                    <a:pt x="508" y="477"/>
                  </a:lnTo>
                  <a:lnTo>
                    <a:pt x="503" y="515"/>
                  </a:lnTo>
                  <a:lnTo>
                    <a:pt x="492" y="515"/>
                  </a:lnTo>
                  <a:lnTo>
                    <a:pt x="487" y="498"/>
                  </a:lnTo>
                  <a:lnTo>
                    <a:pt x="487" y="494"/>
                  </a:lnTo>
                  <a:lnTo>
                    <a:pt x="492" y="494"/>
                  </a:lnTo>
                  <a:lnTo>
                    <a:pt x="503" y="482"/>
                  </a:lnTo>
                  <a:lnTo>
                    <a:pt x="487" y="482"/>
                  </a:lnTo>
                  <a:lnTo>
                    <a:pt x="475" y="494"/>
                  </a:lnTo>
                  <a:lnTo>
                    <a:pt x="454" y="477"/>
                  </a:lnTo>
                  <a:lnTo>
                    <a:pt x="449" y="482"/>
                  </a:lnTo>
                  <a:lnTo>
                    <a:pt x="437" y="453"/>
                  </a:lnTo>
                  <a:lnTo>
                    <a:pt x="416" y="437"/>
                  </a:lnTo>
                  <a:lnTo>
                    <a:pt x="416" y="427"/>
                  </a:lnTo>
                  <a:lnTo>
                    <a:pt x="395" y="416"/>
                  </a:lnTo>
                  <a:lnTo>
                    <a:pt x="395" y="427"/>
                  </a:lnTo>
                  <a:lnTo>
                    <a:pt x="407" y="470"/>
                  </a:lnTo>
                  <a:lnTo>
                    <a:pt x="400" y="470"/>
                  </a:lnTo>
                  <a:lnTo>
                    <a:pt x="383" y="444"/>
                  </a:lnTo>
                  <a:lnTo>
                    <a:pt x="340" y="416"/>
                  </a:lnTo>
                  <a:lnTo>
                    <a:pt x="314" y="420"/>
                  </a:lnTo>
                  <a:lnTo>
                    <a:pt x="310" y="437"/>
                  </a:lnTo>
                  <a:lnTo>
                    <a:pt x="293" y="437"/>
                  </a:lnTo>
                  <a:lnTo>
                    <a:pt x="277" y="416"/>
                  </a:lnTo>
                  <a:lnTo>
                    <a:pt x="260" y="416"/>
                  </a:lnTo>
                  <a:lnTo>
                    <a:pt x="260" y="427"/>
                  </a:lnTo>
                  <a:lnTo>
                    <a:pt x="255" y="387"/>
                  </a:lnTo>
                  <a:lnTo>
                    <a:pt x="286" y="371"/>
                  </a:lnTo>
                  <a:lnTo>
                    <a:pt x="286" y="366"/>
                  </a:lnTo>
                  <a:lnTo>
                    <a:pt x="277" y="349"/>
                  </a:lnTo>
                  <a:lnTo>
                    <a:pt x="255" y="349"/>
                  </a:lnTo>
                  <a:lnTo>
                    <a:pt x="255" y="371"/>
                  </a:lnTo>
                  <a:lnTo>
                    <a:pt x="244" y="383"/>
                  </a:lnTo>
                  <a:lnTo>
                    <a:pt x="234" y="361"/>
                  </a:lnTo>
                  <a:lnTo>
                    <a:pt x="239" y="349"/>
                  </a:lnTo>
                  <a:lnTo>
                    <a:pt x="222" y="349"/>
                  </a:lnTo>
                  <a:lnTo>
                    <a:pt x="218" y="316"/>
                  </a:lnTo>
                  <a:lnTo>
                    <a:pt x="206" y="305"/>
                  </a:lnTo>
                  <a:lnTo>
                    <a:pt x="206" y="272"/>
                  </a:lnTo>
                  <a:lnTo>
                    <a:pt x="206" y="260"/>
                  </a:lnTo>
                  <a:lnTo>
                    <a:pt x="201" y="272"/>
                  </a:lnTo>
                  <a:lnTo>
                    <a:pt x="201" y="250"/>
                  </a:lnTo>
                  <a:lnTo>
                    <a:pt x="206" y="234"/>
                  </a:lnTo>
                  <a:lnTo>
                    <a:pt x="222" y="260"/>
                  </a:lnTo>
                  <a:lnTo>
                    <a:pt x="244" y="250"/>
                  </a:lnTo>
                  <a:lnTo>
                    <a:pt x="239" y="217"/>
                  </a:lnTo>
                  <a:lnTo>
                    <a:pt x="244" y="194"/>
                  </a:lnTo>
                  <a:lnTo>
                    <a:pt x="244" y="161"/>
                  </a:lnTo>
                  <a:lnTo>
                    <a:pt x="239" y="144"/>
                  </a:lnTo>
                  <a:lnTo>
                    <a:pt x="260" y="73"/>
                  </a:lnTo>
                  <a:lnTo>
                    <a:pt x="293" y="66"/>
                  </a:lnTo>
                  <a:lnTo>
                    <a:pt x="352" y="94"/>
                  </a:lnTo>
                  <a:lnTo>
                    <a:pt x="362" y="90"/>
                  </a:lnTo>
                  <a:lnTo>
                    <a:pt x="369" y="73"/>
                  </a:lnTo>
                  <a:lnTo>
                    <a:pt x="378" y="90"/>
                  </a:lnTo>
                  <a:lnTo>
                    <a:pt x="378" y="94"/>
                  </a:lnTo>
                  <a:lnTo>
                    <a:pt x="369" y="106"/>
                  </a:lnTo>
                  <a:lnTo>
                    <a:pt x="362" y="127"/>
                  </a:lnTo>
                  <a:lnTo>
                    <a:pt x="369" y="161"/>
                  </a:lnTo>
                  <a:lnTo>
                    <a:pt x="383" y="165"/>
                  </a:lnTo>
                  <a:lnTo>
                    <a:pt x="383" y="177"/>
                  </a:lnTo>
                  <a:lnTo>
                    <a:pt x="395" y="177"/>
                  </a:lnTo>
                  <a:lnTo>
                    <a:pt x="383" y="198"/>
                  </a:lnTo>
                  <a:lnTo>
                    <a:pt x="369" y="234"/>
                  </a:lnTo>
                  <a:lnTo>
                    <a:pt x="369" y="250"/>
                  </a:lnTo>
                  <a:lnTo>
                    <a:pt x="362" y="255"/>
                  </a:lnTo>
                  <a:lnTo>
                    <a:pt x="352" y="260"/>
                  </a:lnTo>
                  <a:lnTo>
                    <a:pt x="362" y="250"/>
                  </a:lnTo>
                  <a:lnTo>
                    <a:pt x="324" y="272"/>
                  </a:lnTo>
                  <a:lnTo>
                    <a:pt x="331" y="288"/>
                  </a:lnTo>
                  <a:lnTo>
                    <a:pt x="310" y="309"/>
                  </a:lnTo>
                  <a:lnTo>
                    <a:pt x="331" y="361"/>
                  </a:lnTo>
                  <a:lnTo>
                    <a:pt x="331" y="366"/>
                  </a:lnTo>
                  <a:lnTo>
                    <a:pt x="340" y="399"/>
                  </a:lnTo>
                  <a:lnTo>
                    <a:pt x="369" y="416"/>
                  </a:lnTo>
                  <a:lnTo>
                    <a:pt x="378" y="404"/>
                  </a:lnTo>
                  <a:lnTo>
                    <a:pt x="369" y="399"/>
                  </a:lnTo>
                  <a:lnTo>
                    <a:pt x="369" y="387"/>
                  </a:lnTo>
                  <a:lnTo>
                    <a:pt x="378" y="404"/>
                  </a:lnTo>
                  <a:lnTo>
                    <a:pt x="383" y="383"/>
                  </a:lnTo>
                  <a:lnTo>
                    <a:pt x="407" y="387"/>
                  </a:lnTo>
                  <a:lnTo>
                    <a:pt x="433" y="416"/>
                  </a:lnTo>
                  <a:lnTo>
                    <a:pt x="433" y="437"/>
                  </a:lnTo>
                  <a:lnTo>
                    <a:pt x="433" y="437"/>
                  </a:lnTo>
                  <a:lnTo>
                    <a:pt x="433" y="437"/>
                  </a:lnTo>
                  <a:close/>
                  <a:moveTo>
                    <a:pt x="218" y="250"/>
                  </a:moveTo>
                  <a:lnTo>
                    <a:pt x="206" y="238"/>
                  </a:lnTo>
                  <a:lnTo>
                    <a:pt x="218" y="238"/>
                  </a:lnTo>
                  <a:lnTo>
                    <a:pt x="218" y="250"/>
                  </a:lnTo>
                  <a:lnTo>
                    <a:pt x="218" y="250"/>
                  </a:lnTo>
                  <a:lnTo>
                    <a:pt x="218" y="250"/>
                  </a:lnTo>
                  <a:close/>
                  <a:moveTo>
                    <a:pt x="352" y="366"/>
                  </a:moveTo>
                  <a:lnTo>
                    <a:pt x="340" y="342"/>
                  </a:lnTo>
                  <a:lnTo>
                    <a:pt x="352" y="333"/>
                  </a:lnTo>
                  <a:lnTo>
                    <a:pt x="362" y="342"/>
                  </a:lnTo>
                  <a:lnTo>
                    <a:pt x="352" y="342"/>
                  </a:lnTo>
                  <a:lnTo>
                    <a:pt x="352" y="361"/>
                  </a:lnTo>
                  <a:lnTo>
                    <a:pt x="352" y="366"/>
                  </a:lnTo>
                  <a:lnTo>
                    <a:pt x="352" y="366"/>
                  </a:lnTo>
                  <a:lnTo>
                    <a:pt x="352" y="366"/>
                  </a:lnTo>
                  <a:close/>
                  <a:moveTo>
                    <a:pt x="369" y="361"/>
                  </a:moveTo>
                  <a:lnTo>
                    <a:pt x="362" y="349"/>
                  </a:lnTo>
                  <a:lnTo>
                    <a:pt x="369" y="349"/>
                  </a:lnTo>
                  <a:lnTo>
                    <a:pt x="369" y="361"/>
                  </a:lnTo>
                  <a:lnTo>
                    <a:pt x="369" y="361"/>
                  </a:lnTo>
                  <a:lnTo>
                    <a:pt x="369" y="361"/>
                  </a:lnTo>
                  <a:close/>
                  <a:moveTo>
                    <a:pt x="508" y="444"/>
                  </a:moveTo>
                  <a:lnTo>
                    <a:pt x="503" y="437"/>
                  </a:lnTo>
                  <a:lnTo>
                    <a:pt x="503" y="420"/>
                  </a:lnTo>
                  <a:lnTo>
                    <a:pt x="503" y="404"/>
                  </a:lnTo>
                  <a:lnTo>
                    <a:pt x="508" y="404"/>
                  </a:lnTo>
                  <a:lnTo>
                    <a:pt x="525" y="420"/>
                  </a:lnTo>
                  <a:lnTo>
                    <a:pt x="513" y="444"/>
                  </a:lnTo>
                  <a:lnTo>
                    <a:pt x="513" y="437"/>
                  </a:lnTo>
                  <a:lnTo>
                    <a:pt x="508" y="444"/>
                  </a:lnTo>
                  <a:lnTo>
                    <a:pt x="508" y="444"/>
                  </a:lnTo>
                  <a:lnTo>
                    <a:pt x="508" y="444"/>
                  </a:lnTo>
                  <a:close/>
                  <a:moveTo>
                    <a:pt x="234" y="437"/>
                  </a:moveTo>
                  <a:lnTo>
                    <a:pt x="222" y="420"/>
                  </a:lnTo>
                  <a:lnTo>
                    <a:pt x="234" y="420"/>
                  </a:lnTo>
                  <a:lnTo>
                    <a:pt x="234" y="437"/>
                  </a:lnTo>
                  <a:lnTo>
                    <a:pt x="234" y="437"/>
                  </a:lnTo>
                  <a:lnTo>
                    <a:pt x="234" y="437"/>
                  </a:lnTo>
                  <a:close/>
                  <a:moveTo>
                    <a:pt x="352" y="470"/>
                  </a:moveTo>
                  <a:lnTo>
                    <a:pt x="345" y="461"/>
                  </a:lnTo>
                  <a:lnTo>
                    <a:pt x="345" y="444"/>
                  </a:lnTo>
                  <a:lnTo>
                    <a:pt x="362" y="453"/>
                  </a:lnTo>
                  <a:lnTo>
                    <a:pt x="352" y="470"/>
                  </a:lnTo>
                  <a:lnTo>
                    <a:pt x="352" y="470"/>
                  </a:lnTo>
                  <a:lnTo>
                    <a:pt x="352" y="470"/>
                  </a:lnTo>
                  <a:close/>
                  <a:moveTo>
                    <a:pt x="314" y="531"/>
                  </a:moveTo>
                  <a:lnTo>
                    <a:pt x="293" y="538"/>
                  </a:lnTo>
                  <a:lnTo>
                    <a:pt x="272" y="498"/>
                  </a:lnTo>
                  <a:lnTo>
                    <a:pt x="260" y="477"/>
                  </a:lnTo>
                  <a:lnTo>
                    <a:pt x="239" y="444"/>
                  </a:lnTo>
                  <a:lnTo>
                    <a:pt x="286" y="444"/>
                  </a:lnTo>
                  <a:lnTo>
                    <a:pt x="324" y="470"/>
                  </a:lnTo>
                  <a:lnTo>
                    <a:pt x="314" y="498"/>
                  </a:lnTo>
                  <a:lnTo>
                    <a:pt x="324" y="510"/>
                  </a:lnTo>
                  <a:lnTo>
                    <a:pt x="314" y="527"/>
                  </a:lnTo>
                  <a:lnTo>
                    <a:pt x="314" y="531"/>
                  </a:lnTo>
                  <a:lnTo>
                    <a:pt x="314" y="531"/>
                  </a:lnTo>
                  <a:lnTo>
                    <a:pt x="314" y="531"/>
                  </a:lnTo>
                  <a:close/>
                  <a:moveTo>
                    <a:pt x="487" y="470"/>
                  </a:moveTo>
                  <a:lnTo>
                    <a:pt x="487" y="453"/>
                  </a:lnTo>
                  <a:lnTo>
                    <a:pt x="492" y="461"/>
                  </a:lnTo>
                  <a:lnTo>
                    <a:pt x="487" y="470"/>
                  </a:lnTo>
                  <a:lnTo>
                    <a:pt x="487" y="470"/>
                  </a:lnTo>
                  <a:lnTo>
                    <a:pt x="487" y="470"/>
                  </a:lnTo>
                  <a:close/>
                  <a:moveTo>
                    <a:pt x="492" y="470"/>
                  </a:moveTo>
                  <a:lnTo>
                    <a:pt x="492" y="461"/>
                  </a:lnTo>
                  <a:lnTo>
                    <a:pt x="503" y="461"/>
                  </a:lnTo>
                  <a:lnTo>
                    <a:pt x="492" y="470"/>
                  </a:lnTo>
                  <a:lnTo>
                    <a:pt x="492" y="470"/>
                  </a:lnTo>
                  <a:lnTo>
                    <a:pt x="492" y="470"/>
                  </a:lnTo>
                  <a:close/>
                  <a:moveTo>
                    <a:pt x="454" y="510"/>
                  </a:moveTo>
                  <a:lnTo>
                    <a:pt x="421" y="477"/>
                  </a:lnTo>
                  <a:lnTo>
                    <a:pt x="433" y="477"/>
                  </a:lnTo>
                  <a:lnTo>
                    <a:pt x="454" y="510"/>
                  </a:lnTo>
                  <a:lnTo>
                    <a:pt x="454" y="510"/>
                  </a:lnTo>
                  <a:lnTo>
                    <a:pt x="454" y="510"/>
                  </a:lnTo>
                  <a:close/>
                  <a:moveTo>
                    <a:pt x="352" y="548"/>
                  </a:moveTo>
                  <a:lnTo>
                    <a:pt x="345" y="531"/>
                  </a:lnTo>
                  <a:lnTo>
                    <a:pt x="352" y="515"/>
                  </a:lnTo>
                  <a:lnTo>
                    <a:pt x="362" y="510"/>
                  </a:lnTo>
                  <a:lnTo>
                    <a:pt x="352" y="548"/>
                  </a:lnTo>
                  <a:lnTo>
                    <a:pt x="352" y="548"/>
                  </a:lnTo>
                  <a:lnTo>
                    <a:pt x="352" y="548"/>
                  </a:lnTo>
                  <a:close/>
                  <a:moveTo>
                    <a:pt x="475" y="531"/>
                  </a:moveTo>
                  <a:lnTo>
                    <a:pt x="470" y="510"/>
                  </a:lnTo>
                  <a:lnTo>
                    <a:pt x="475" y="510"/>
                  </a:lnTo>
                  <a:lnTo>
                    <a:pt x="475" y="531"/>
                  </a:lnTo>
                  <a:lnTo>
                    <a:pt x="475" y="531"/>
                  </a:lnTo>
                  <a:lnTo>
                    <a:pt x="475" y="531"/>
                  </a:lnTo>
                  <a:close/>
                  <a:moveTo>
                    <a:pt x="503" y="581"/>
                  </a:moveTo>
                  <a:lnTo>
                    <a:pt x="459" y="538"/>
                  </a:lnTo>
                  <a:lnTo>
                    <a:pt x="437" y="564"/>
                  </a:lnTo>
                  <a:lnTo>
                    <a:pt x="449" y="538"/>
                  </a:lnTo>
                  <a:lnTo>
                    <a:pt x="437" y="510"/>
                  </a:lnTo>
                  <a:lnTo>
                    <a:pt x="492" y="538"/>
                  </a:lnTo>
                  <a:lnTo>
                    <a:pt x="503" y="555"/>
                  </a:lnTo>
                  <a:lnTo>
                    <a:pt x="503" y="581"/>
                  </a:lnTo>
                  <a:lnTo>
                    <a:pt x="503" y="581"/>
                  </a:lnTo>
                  <a:lnTo>
                    <a:pt x="503" y="581"/>
                  </a:lnTo>
                  <a:close/>
                  <a:moveTo>
                    <a:pt x="617" y="626"/>
                  </a:moveTo>
                  <a:lnTo>
                    <a:pt x="610" y="621"/>
                  </a:lnTo>
                  <a:lnTo>
                    <a:pt x="584" y="621"/>
                  </a:lnTo>
                  <a:lnTo>
                    <a:pt x="563" y="593"/>
                  </a:lnTo>
                  <a:lnTo>
                    <a:pt x="555" y="593"/>
                  </a:lnTo>
                  <a:lnTo>
                    <a:pt x="567" y="572"/>
                  </a:lnTo>
                  <a:lnTo>
                    <a:pt x="525" y="538"/>
                  </a:lnTo>
                  <a:lnTo>
                    <a:pt x="513" y="515"/>
                  </a:lnTo>
                  <a:lnTo>
                    <a:pt x="541" y="515"/>
                  </a:lnTo>
                  <a:lnTo>
                    <a:pt x="579" y="515"/>
                  </a:lnTo>
                  <a:lnTo>
                    <a:pt x="584" y="527"/>
                  </a:lnTo>
                  <a:lnTo>
                    <a:pt x="584" y="531"/>
                  </a:lnTo>
                  <a:lnTo>
                    <a:pt x="600" y="538"/>
                  </a:lnTo>
                  <a:lnTo>
                    <a:pt x="593" y="548"/>
                  </a:lnTo>
                  <a:lnTo>
                    <a:pt x="600" y="548"/>
                  </a:lnTo>
                  <a:lnTo>
                    <a:pt x="593" y="555"/>
                  </a:lnTo>
                  <a:lnTo>
                    <a:pt x="593" y="588"/>
                  </a:lnTo>
                  <a:lnTo>
                    <a:pt x="610" y="605"/>
                  </a:lnTo>
                  <a:lnTo>
                    <a:pt x="600" y="609"/>
                  </a:lnTo>
                  <a:lnTo>
                    <a:pt x="610" y="609"/>
                  </a:lnTo>
                  <a:lnTo>
                    <a:pt x="617" y="626"/>
                  </a:lnTo>
                  <a:lnTo>
                    <a:pt x="617" y="626"/>
                  </a:lnTo>
                  <a:lnTo>
                    <a:pt x="617" y="626"/>
                  </a:lnTo>
                  <a:close/>
                  <a:moveTo>
                    <a:pt x="400" y="538"/>
                  </a:moveTo>
                  <a:lnTo>
                    <a:pt x="383" y="527"/>
                  </a:lnTo>
                  <a:lnTo>
                    <a:pt x="400" y="527"/>
                  </a:lnTo>
                  <a:lnTo>
                    <a:pt x="400" y="538"/>
                  </a:lnTo>
                  <a:lnTo>
                    <a:pt x="400" y="538"/>
                  </a:lnTo>
                  <a:lnTo>
                    <a:pt x="400" y="538"/>
                  </a:lnTo>
                  <a:close/>
                  <a:moveTo>
                    <a:pt x="234" y="555"/>
                  </a:moveTo>
                  <a:lnTo>
                    <a:pt x="218" y="555"/>
                  </a:lnTo>
                  <a:lnTo>
                    <a:pt x="206" y="531"/>
                  </a:lnTo>
                  <a:lnTo>
                    <a:pt x="239" y="548"/>
                  </a:lnTo>
                  <a:lnTo>
                    <a:pt x="239" y="555"/>
                  </a:lnTo>
                  <a:lnTo>
                    <a:pt x="234" y="555"/>
                  </a:lnTo>
                  <a:lnTo>
                    <a:pt x="234" y="555"/>
                  </a:lnTo>
                  <a:lnTo>
                    <a:pt x="234" y="555"/>
                  </a:lnTo>
                  <a:close/>
                  <a:moveTo>
                    <a:pt x="293" y="538"/>
                  </a:moveTo>
                  <a:lnTo>
                    <a:pt x="293" y="548"/>
                  </a:lnTo>
                  <a:lnTo>
                    <a:pt x="286" y="538"/>
                  </a:lnTo>
                  <a:lnTo>
                    <a:pt x="293" y="538"/>
                  </a:lnTo>
                  <a:lnTo>
                    <a:pt x="293" y="538"/>
                  </a:lnTo>
                  <a:lnTo>
                    <a:pt x="293" y="538"/>
                  </a:lnTo>
                  <a:close/>
                  <a:moveTo>
                    <a:pt x="206" y="581"/>
                  </a:moveTo>
                  <a:lnTo>
                    <a:pt x="206" y="555"/>
                  </a:lnTo>
                  <a:lnTo>
                    <a:pt x="222" y="564"/>
                  </a:lnTo>
                  <a:lnTo>
                    <a:pt x="206" y="581"/>
                  </a:lnTo>
                  <a:lnTo>
                    <a:pt x="206" y="581"/>
                  </a:lnTo>
                  <a:lnTo>
                    <a:pt x="206" y="581"/>
                  </a:lnTo>
                  <a:close/>
                  <a:moveTo>
                    <a:pt x="433" y="609"/>
                  </a:moveTo>
                  <a:lnTo>
                    <a:pt x="433" y="621"/>
                  </a:lnTo>
                  <a:lnTo>
                    <a:pt x="407" y="638"/>
                  </a:lnTo>
                  <a:lnTo>
                    <a:pt x="407" y="642"/>
                  </a:lnTo>
                  <a:lnTo>
                    <a:pt x="369" y="659"/>
                  </a:lnTo>
                  <a:lnTo>
                    <a:pt x="352" y="675"/>
                  </a:lnTo>
                  <a:lnTo>
                    <a:pt x="345" y="666"/>
                  </a:lnTo>
                  <a:lnTo>
                    <a:pt x="362" y="581"/>
                  </a:lnTo>
                  <a:lnTo>
                    <a:pt x="362" y="572"/>
                  </a:lnTo>
                  <a:lnTo>
                    <a:pt x="345" y="572"/>
                  </a:lnTo>
                  <a:lnTo>
                    <a:pt x="345" y="564"/>
                  </a:lnTo>
                  <a:lnTo>
                    <a:pt x="369" y="572"/>
                  </a:lnTo>
                  <a:lnTo>
                    <a:pt x="395" y="588"/>
                  </a:lnTo>
                  <a:lnTo>
                    <a:pt x="416" y="588"/>
                  </a:lnTo>
                  <a:lnTo>
                    <a:pt x="416" y="593"/>
                  </a:lnTo>
                  <a:lnTo>
                    <a:pt x="437" y="588"/>
                  </a:lnTo>
                  <a:lnTo>
                    <a:pt x="433" y="609"/>
                  </a:lnTo>
                  <a:lnTo>
                    <a:pt x="433" y="609"/>
                  </a:lnTo>
                  <a:lnTo>
                    <a:pt x="433" y="609"/>
                  </a:lnTo>
                  <a:close/>
                  <a:moveTo>
                    <a:pt x="529" y="593"/>
                  </a:moveTo>
                  <a:lnTo>
                    <a:pt x="513" y="581"/>
                  </a:lnTo>
                  <a:lnTo>
                    <a:pt x="529" y="581"/>
                  </a:lnTo>
                  <a:lnTo>
                    <a:pt x="541" y="588"/>
                  </a:lnTo>
                  <a:lnTo>
                    <a:pt x="529" y="593"/>
                  </a:lnTo>
                  <a:lnTo>
                    <a:pt x="529" y="593"/>
                  </a:lnTo>
                  <a:lnTo>
                    <a:pt x="529" y="593"/>
                  </a:lnTo>
                  <a:close/>
                  <a:moveTo>
                    <a:pt x="546" y="659"/>
                  </a:moveTo>
                  <a:lnTo>
                    <a:pt x="555" y="649"/>
                  </a:lnTo>
                  <a:lnTo>
                    <a:pt x="541" y="638"/>
                  </a:lnTo>
                  <a:lnTo>
                    <a:pt x="529" y="626"/>
                  </a:lnTo>
                  <a:lnTo>
                    <a:pt x="529" y="638"/>
                  </a:lnTo>
                  <a:lnTo>
                    <a:pt x="525" y="638"/>
                  </a:lnTo>
                  <a:lnTo>
                    <a:pt x="513" y="588"/>
                  </a:lnTo>
                  <a:lnTo>
                    <a:pt x="541" y="605"/>
                  </a:lnTo>
                  <a:lnTo>
                    <a:pt x="555" y="593"/>
                  </a:lnTo>
                  <a:lnTo>
                    <a:pt x="563" y="605"/>
                  </a:lnTo>
                  <a:lnTo>
                    <a:pt x="563" y="649"/>
                  </a:lnTo>
                  <a:lnTo>
                    <a:pt x="584" y="683"/>
                  </a:lnTo>
                  <a:lnTo>
                    <a:pt x="567" y="692"/>
                  </a:lnTo>
                  <a:lnTo>
                    <a:pt x="563" y="675"/>
                  </a:lnTo>
                  <a:lnTo>
                    <a:pt x="567" y="699"/>
                  </a:lnTo>
                  <a:lnTo>
                    <a:pt x="546" y="692"/>
                  </a:lnTo>
                  <a:lnTo>
                    <a:pt x="546" y="659"/>
                  </a:lnTo>
                  <a:lnTo>
                    <a:pt x="546" y="659"/>
                  </a:lnTo>
                  <a:lnTo>
                    <a:pt x="546" y="659"/>
                  </a:lnTo>
                  <a:close/>
                  <a:moveTo>
                    <a:pt x="201" y="605"/>
                  </a:moveTo>
                  <a:lnTo>
                    <a:pt x="189" y="593"/>
                  </a:lnTo>
                  <a:lnTo>
                    <a:pt x="206" y="593"/>
                  </a:lnTo>
                  <a:lnTo>
                    <a:pt x="201" y="605"/>
                  </a:lnTo>
                  <a:lnTo>
                    <a:pt x="201" y="605"/>
                  </a:lnTo>
                  <a:lnTo>
                    <a:pt x="201" y="605"/>
                  </a:lnTo>
                  <a:close/>
                  <a:moveTo>
                    <a:pt x="189" y="666"/>
                  </a:moveTo>
                  <a:lnTo>
                    <a:pt x="168" y="683"/>
                  </a:lnTo>
                  <a:lnTo>
                    <a:pt x="163" y="699"/>
                  </a:lnTo>
                  <a:lnTo>
                    <a:pt x="130" y="704"/>
                  </a:lnTo>
                  <a:lnTo>
                    <a:pt x="126" y="720"/>
                  </a:lnTo>
                  <a:lnTo>
                    <a:pt x="130" y="732"/>
                  </a:lnTo>
                  <a:lnTo>
                    <a:pt x="100" y="758"/>
                  </a:lnTo>
                  <a:lnTo>
                    <a:pt x="83" y="758"/>
                  </a:lnTo>
                  <a:lnTo>
                    <a:pt x="76" y="786"/>
                  </a:lnTo>
                  <a:lnTo>
                    <a:pt x="17" y="827"/>
                  </a:lnTo>
                  <a:lnTo>
                    <a:pt x="24" y="803"/>
                  </a:lnTo>
                  <a:lnTo>
                    <a:pt x="55" y="770"/>
                  </a:lnTo>
                  <a:lnTo>
                    <a:pt x="71" y="753"/>
                  </a:lnTo>
                  <a:lnTo>
                    <a:pt x="76" y="753"/>
                  </a:lnTo>
                  <a:lnTo>
                    <a:pt x="130" y="692"/>
                  </a:lnTo>
                  <a:lnTo>
                    <a:pt x="130" y="699"/>
                  </a:lnTo>
                  <a:lnTo>
                    <a:pt x="130" y="692"/>
                  </a:lnTo>
                  <a:lnTo>
                    <a:pt x="137" y="692"/>
                  </a:lnTo>
                  <a:lnTo>
                    <a:pt x="147" y="666"/>
                  </a:lnTo>
                  <a:lnTo>
                    <a:pt x="151" y="675"/>
                  </a:lnTo>
                  <a:lnTo>
                    <a:pt x="168" y="659"/>
                  </a:lnTo>
                  <a:lnTo>
                    <a:pt x="168" y="649"/>
                  </a:lnTo>
                  <a:lnTo>
                    <a:pt x="163" y="638"/>
                  </a:lnTo>
                  <a:lnTo>
                    <a:pt x="180" y="649"/>
                  </a:lnTo>
                  <a:lnTo>
                    <a:pt x="168" y="626"/>
                  </a:lnTo>
                  <a:lnTo>
                    <a:pt x="168" y="621"/>
                  </a:lnTo>
                  <a:lnTo>
                    <a:pt x="180" y="626"/>
                  </a:lnTo>
                  <a:lnTo>
                    <a:pt x="180" y="593"/>
                  </a:lnTo>
                  <a:lnTo>
                    <a:pt x="185" y="609"/>
                  </a:lnTo>
                  <a:lnTo>
                    <a:pt x="180" y="638"/>
                  </a:lnTo>
                  <a:lnTo>
                    <a:pt x="185" y="642"/>
                  </a:lnTo>
                  <a:lnTo>
                    <a:pt x="189" y="666"/>
                  </a:lnTo>
                  <a:lnTo>
                    <a:pt x="189" y="666"/>
                  </a:lnTo>
                  <a:lnTo>
                    <a:pt x="189" y="666"/>
                  </a:lnTo>
                  <a:close/>
                  <a:moveTo>
                    <a:pt x="475" y="621"/>
                  </a:moveTo>
                  <a:lnTo>
                    <a:pt x="475" y="605"/>
                  </a:lnTo>
                  <a:lnTo>
                    <a:pt x="475" y="621"/>
                  </a:lnTo>
                  <a:lnTo>
                    <a:pt x="475" y="621"/>
                  </a:lnTo>
                  <a:lnTo>
                    <a:pt x="475" y="621"/>
                  </a:lnTo>
                  <a:close/>
                  <a:moveTo>
                    <a:pt x="454" y="699"/>
                  </a:moveTo>
                  <a:lnTo>
                    <a:pt x="475" y="666"/>
                  </a:lnTo>
                  <a:lnTo>
                    <a:pt x="492" y="621"/>
                  </a:lnTo>
                  <a:lnTo>
                    <a:pt x="503" y="609"/>
                  </a:lnTo>
                  <a:lnTo>
                    <a:pt x="503" y="675"/>
                  </a:lnTo>
                  <a:lnTo>
                    <a:pt x="470" y="699"/>
                  </a:lnTo>
                  <a:lnTo>
                    <a:pt x="459" y="732"/>
                  </a:lnTo>
                  <a:lnTo>
                    <a:pt x="449" y="749"/>
                  </a:lnTo>
                  <a:lnTo>
                    <a:pt x="454" y="699"/>
                  </a:lnTo>
                  <a:lnTo>
                    <a:pt x="454" y="699"/>
                  </a:lnTo>
                  <a:lnTo>
                    <a:pt x="454" y="699"/>
                  </a:lnTo>
                  <a:close/>
                  <a:moveTo>
                    <a:pt x="449" y="675"/>
                  </a:moveTo>
                  <a:lnTo>
                    <a:pt x="433" y="732"/>
                  </a:lnTo>
                  <a:lnTo>
                    <a:pt x="449" y="753"/>
                  </a:lnTo>
                  <a:lnTo>
                    <a:pt x="437" y="770"/>
                  </a:lnTo>
                  <a:lnTo>
                    <a:pt x="421" y="770"/>
                  </a:lnTo>
                  <a:lnTo>
                    <a:pt x="416" y="753"/>
                  </a:lnTo>
                  <a:lnTo>
                    <a:pt x="395" y="737"/>
                  </a:lnTo>
                  <a:lnTo>
                    <a:pt x="383" y="716"/>
                  </a:lnTo>
                  <a:lnTo>
                    <a:pt x="383" y="704"/>
                  </a:lnTo>
                  <a:lnTo>
                    <a:pt x="400" y="704"/>
                  </a:lnTo>
                  <a:lnTo>
                    <a:pt x="416" y="699"/>
                  </a:lnTo>
                  <a:lnTo>
                    <a:pt x="416" y="659"/>
                  </a:lnTo>
                  <a:lnTo>
                    <a:pt x="421" y="649"/>
                  </a:lnTo>
                  <a:lnTo>
                    <a:pt x="421" y="638"/>
                  </a:lnTo>
                  <a:lnTo>
                    <a:pt x="437" y="626"/>
                  </a:lnTo>
                  <a:lnTo>
                    <a:pt x="459" y="638"/>
                  </a:lnTo>
                  <a:lnTo>
                    <a:pt x="459" y="642"/>
                  </a:lnTo>
                  <a:lnTo>
                    <a:pt x="449" y="675"/>
                  </a:lnTo>
                  <a:lnTo>
                    <a:pt x="449" y="675"/>
                  </a:lnTo>
                  <a:lnTo>
                    <a:pt x="449" y="675"/>
                  </a:lnTo>
                  <a:close/>
                  <a:moveTo>
                    <a:pt x="617" y="649"/>
                  </a:moveTo>
                  <a:lnTo>
                    <a:pt x="610" y="642"/>
                  </a:lnTo>
                  <a:lnTo>
                    <a:pt x="617" y="642"/>
                  </a:lnTo>
                  <a:lnTo>
                    <a:pt x="622" y="649"/>
                  </a:lnTo>
                  <a:lnTo>
                    <a:pt x="617" y="649"/>
                  </a:lnTo>
                  <a:lnTo>
                    <a:pt x="617" y="649"/>
                  </a:lnTo>
                  <a:lnTo>
                    <a:pt x="617" y="649"/>
                  </a:lnTo>
                  <a:close/>
                  <a:moveTo>
                    <a:pt x="395" y="675"/>
                  </a:moveTo>
                  <a:lnTo>
                    <a:pt x="383" y="666"/>
                  </a:lnTo>
                  <a:lnTo>
                    <a:pt x="400" y="649"/>
                  </a:lnTo>
                  <a:lnTo>
                    <a:pt x="407" y="659"/>
                  </a:lnTo>
                  <a:lnTo>
                    <a:pt x="395" y="675"/>
                  </a:lnTo>
                  <a:lnTo>
                    <a:pt x="395" y="675"/>
                  </a:lnTo>
                  <a:lnTo>
                    <a:pt x="395" y="675"/>
                  </a:lnTo>
                  <a:close/>
                  <a:moveTo>
                    <a:pt x="525" y="659"/>
                  </a:moveTo>
                  <a:lnTo>
                    <a:pt x="525" y="649"/>
                  </a:lnTo>
                  <a:lnTo>
                    <a:pt x="529" y="649"/>
                  </a:lnTo>
                  <a:lnTo>
                    <a:pt x="525" y="659"/>
                  </a:lnTo>
                  <a:lnTo>
                    <a:pt x="525" y="659"/>
                  </a:lnTo>
                  <a:lnTo>
                    <a:pt x="525" y="659"/>
                  </a:lnTo>
                  <a:close/>
                  <a:moveTo>
                    <a:pt x="513" y="659"/>
                  </a:moveTo>
                  <a:lnTo>
                    <a:pt x="513" y="649"/>
                  </a:lnTo>
                  <a:lnTo>
                    <a:pt x="525" y="659"/>
                  </a:lnTo>
                  <a:lnTo>
                    <a:pt x="513" y="659"/>
                  </a:lnTo>
                  <a:lnTo>
                    <a:pt x="513" y="659"/>
                  </a:lnTo>
                  <a:lnTo>
                    <a:pt x="513" y="659"/>
                  </a:lnTo>
                  <a:close/>
                  <a:moveTo>
                    <a:pt x="201" y="666"/>
                  </a:moveTo>
                  <a:lnTo>
                    <a:pt x="201" y="659"/>
                  </a:lnTo>
                  <a:lnTo>
                    <a:pt x="218" y="659"/>
                  </a:lnTo>
                  <a:lnTo>
                    <a:pt x="201" y="666"/>
                  </a:lnTo>
                  <a:lnTo>
                    <a:pt x="201" y="666"/>
                  </a:lnTo>
                  <a:lnTo>
                    <a:pt x="201" y="666"/>
                  </a:lnTo>
                  <a:close/>
                  <a:moveTo>
                    <a:pt x="610" y="716"/>
                  </a:moveTo>
                  <a:lnTo>
                    <a:pt x="610" y="704"/>
                  </a:lnTo>
                  <a:lnTo>
                    <a:pt x="600" y="692"/>
                  </a:lnTo>
                  <a:lnTo>
                    <a:pt x="610" y="666"/>
                  </a:lnTo>
                  <a:lnTo>
                    <a:pt x="617" y="704"/>
                  </a:lnTo>
                  <a:lnTo>
                    <a:pt x="610" y="716"/>
                  </a:lnTo>
                  <a:lnTo>
                    <a:pt x="610" y="716"/>
                  </a:lnTo>
                  <a:lnTo>
                    <a:pt x="610" y="716"/>
                  </a:lnTo>
                  <a:close/>
                  <a:moveTo>
                    <a:pt x="529" y="699"/>
                  </a:moveTo>
                  <a:lnTo>
                    <a:pt x="529" y="716"/>
                  </a:lnTo>
                  <a:lnTo>
                    <a:pt x="541" y="720"/>
                  </a:lnTo>
                  <a:lnTo>
                    <a:pt x="525" y="732"/>
                  </a:lnTo>
                  <a:lnTo>
                    <a:pt x="492" y="732"/>
                  </a:lnTo>
                  <a:lnTo>
                    <a:pt x="475" y="720"/>
                  </a:lnTo>
                  <a:lnTo>
                    <a:pt x="475" y="716"/>
                  </a:lnTo>
                  <a:lnTo>
                    <a:pt x="508" y="692"/>
                  </a:lnTo>
                  <a:lnTo>
                    <a:pt x="529" y="699"/>
                  </a:lnTo>
                  <a:lnTo>
                    <a:pt x="529" y="699"/>
                  </a:lnTo>
                  <a:lnTo>
                    <a:pt x="529" y="699"/>
                  </a:lnTo>
                  <a:close/>
                  <a:moveTo>
                    <a:pt x="584" y="704"/>
                  </a:moveTo>
                  <a:lnTo>
                    <a:pt x="579" y="692"/>
                  </a:lnTo>
                  <a:lnTo>
                    <a:pt x="584" y="704"/>
                  </a:lnTo>
                  <a:lnTo>
                    <a:pt x="584" y="704"/>
                  </a:lnTo>
                  <a:lnTo>
                    <a:pt x="584" y="704"/>
                  </a:lnTo>
                  <a:close/>
                  <a:moveTo>
                    <a:pt x="638" y="720"/>
                  </a:moveTo>
                  <a:lnTo>
                    <a:pt x="631" y="716"/>
                  </a:lnTo>
                  <a:lnTo>
                    <a:pt x="638" y="699"/>
                  </a:lnTo>
                  <a:lnTo>
                    <a:pt x="648" y="716"/>
                  </a:lnTo>
                  <a:lnTo>
                    <a:pt x="638" y="720"/>
                  </a:lnTo>
                  <a:lnTo>
                    <a:pt x="638" y="720"/>
                  </a:lnTo>
                  <a:lnTo>
                    <a:pt x="638" y="720"/>
                  </a:lnTo>
                  <a:close/>
                  <a:moveTo>
                    <a:pt x="454" y="898"/>
                  </a:moveTo>
                  <a:lnTo>
                    <a:pt x="449" y="881"/>
                  </a:lnTo>
                  <a:lnTo>
                    <a:pt x="437" y="886"/>
                  </a:lnTo>
                  <a:lnTo>
                    <a:pt x="433" y="881"/>
                  </a:lnTo>
                  <a:lnTo>
                    <a:pt x="437" y="881"/>
                  </a:lnTo>
                  <a:lnTo>
                    <a:pt x="433" y="864"/>
                  </a:lnTo>
                  <a:lnTo>
                    <a:pt x="421" y="886"/>
                  </a:lnTo>
                  <a:lnTo>
                    <a:pt x="407" y="886"/>
                  </a:lnTo>
                  <a:lnTo>
                    <a:pt x="416" y="864"/>
                  </a:lnTo>
                  <a:lnTo>
                    <a:pt x="400" y="864"/>
                  </a:lnTo>
                  <a:lnTo>
                    <a:pt x="378" y="886"/>
                  </a:lnTo>
                  <a:lnTo>
                    <a:pt x="383" y="886"/>
                  </a:lnTo>
                  <a:lnTo>
                    <a:pt x="378" y="898"/>
                  </a:lnTo>
                  <a:lnTo>
                    <a:pt x="362" y="926"/>
                  </a:lnTo>
                  <a:lnTo>
                    <a:pt x="352" y="921"/>
                  </a:lnTo>
                  <a:lnTo>
                    <a:pt x="345" y="914"/>
                  </a:lnTo>
                  <a:lnTo>
                    <a:pt x="369" y="848"/>
                  </a:lnTo>
                  <a:lnTo>
                    <a:pt x="421" y="831"/>
                  </a:lnTo>
                  <a:lnTo>
                    <a:pt x="421" y="810"/>
                  </a:lnTo>
                  <a:lnTo>
                    <a:pt x="449" y="810"/>
                  </a:lnTo>
                  <a:lnTo>
                    <a:pt x="454" y="794"/>
                  </a:lnTo>
                  <a:lnTo>
                    <a:pt x="475" y="803"/>
                  </a:lnTo>
                  <a:lnTo>
                    <a:pt x="487" y="810"/>
                  </a:lnTo>
                  <a:lnTo>
                    <a:pt x="487" y="831"/>
                  </a:lnTo>
                  <a:lnTo>
                    <a:pt x="470" y="848"/>
                  </a:lnTo>
                  <a:lnTo>
                    <a:pt x="492" y="831"/>
                  </a:lnTo>
                  <a:lnTo>
                    <a:pt x="508" y="831"/>
                  </a:lnTo>
                  <a:lnTo>
                    <a:pt x="513" y="815"/>
                  </a:lnTo>
                  <a:lnTo>
                    <a:pt x="525" y="803"/>
                  </a:lnTo>
                  <a:lnTo>
                    <a:pt x="546" y="810"/>
                  </a:lnTo>
                  <a:lnTo>
                    <a:pt x="555" y="777"/>
                  </a:lnTo>
                  <a:lnTo>
                    <a:pt x="567" y="786"/>
                  </a:lnTo>
                  <a:lnTo>
                    <a:pt x="584" y="777"/>
                  </a:lnTo>
                  <a:lnTo>
                    <a:pt x="600" y="777"/>
                  </a:lnTo>
                  <a:lnTo>
                    <a:pt x="593" y="732"/>
                  </a:lnTo>
                  <a:lnTo>
                    <a:pt x="593" y="716"/>
                  </a:lnTo>
                  <a:lnTo>
                    <a:pt x="610" y="732"/>
                  </a:lnTo>
                  <a:lnTo>
                    <a:pt x="631" y="737"/>
                  </a:lnTo>
                  <a:lnTo>
                    <a:pt x="638" y="753"/>
                  </a:lnTo>
                  <a:lnTo>
                    <a:pt x="648" y="753"/>
                  </a:lnTo>
                  <a:lnTo>
                    <a:pt x="648" y="770"/>
                  </a:lnTo>
                  <a:lnTo>
                    <a:pt x="664" y="786"/>
                  </a:lnTo>
                  <a:lnTo>
                    <a:pt x="638" y="803"/>
                  </a:lnTo>
                  <a:lnTo>
                    <a:pt x="648" y="810"/>
                  </a:lnTo>
                  <a:lnTo>
                    <a:pt x="664" y="810"/>
                  </a:lnTo>
                  <a:lnTo>
                    <a:pt x="655" y="831"/>
                  </a:lnTo>
                  <a:lnTo>
                    <a:pt x="669" y="831"/>
                  </a:lnTo>
                  <a:lnTo>
                    <a:pt x="664" y="860"/>
                  </a:lnTo>
                  <a:lnTo>
                    <a:pt x="669" y="869"/>
                  </a:lnTo>
                  <a:lnTo>
                    <a:pt x="676" y="898"/>
                  </a:lnTo>
                  <a:lnTo>
                    <a:pt x="655" y="926"/>
                  </a:lnTo>
                  <a:lnTo>
                    <a:pt x="664" y="938"/>
                  </a:lnTo>
                  <a:lnTo>
                    <a:pt x="655" y="926"/>
                  </a:lnTo>
                  <a:lnTo>
                    <a:pt x="648" y="926"/>
                  </a:lnTo>
                  <a:lnTo>
                    <a:pt x="655" y="938"/>
                  </a:lnTo>
                  <a:lnTo>
                    <a:pt x="648" y="975"/>
                  </a:lnTo>
                  <a:lnTo>
                    <a:pt x="638" y="926"/>
                  </a:lnTo>
                  <a:lnTo>
                    <a:pt x="622" y="914"/>
                  </a:lnTo>
                  <a:lnTo>
                    <a:pt x="622" y="898"/>
                  </a:lnTo>
                  <a:lnTo>
                    <a:pt x="610" y="902"/>
                  </a:lnTo>
                  <a:lnTo>
                    <a:pt x="610" y="914"/>
                  </a:lnTo>
                  <a:lnTo>
                    <a:pt x="600" y="921"/>
                  </a:lnTo>
                  <a:lnTo>
                    <a:pt x="593" y="938"/>
                  </a:lnTo>
                  <a:lnTo>
                    <a:pt x="593" y="954"/>
                  </a:lnTo>
                  <a:lnTo>
                    <a:pt x="610" y="959"/>
                  </a:lnTo>
                  <a:lnTo>
                    <a:pt x="617" y="992"/>
                  </a:lnTo>
                  <a:lnTo>
                    <a:pt x="593" y="1025"/>
                  </a:lnTo>
                  <a:lnTo>
                    <a:pt x="584" y="1025"/>
                  </a:lnTo>
                  <a:lnTo>
                    <a:pt x="579" y="1009"/>
                  </a:lnTo>
                  <a:lnTo>
                    <a:pt x="584" y="980"/>
                  </a:lnTo>
                  <a:lnTo>
                    <a:pt x="579" y="980"/>
                  </a:lnTo>
                  <a:lnTo>
                    <a:pt x="567" y="997"/>
                  </a:lnTo>
                  <a:lnTo>
                    <a:pt x="563" y="997"/>
                  </a:lnTo>
                  <a:lnTo>
                    <a:pt x="513" y="980"/>
                  </a:lnTo>
                  <a:lnTo>
                    <a:pt x="503" y="971"/>
                  </a:lnTo>
                  <a:lnTo>
                    <a:pt x="492" y="926"/>
                  </a:lnTo>
                  <a:lnTo>
                    <a:pt x="513" y="886"/>
                  </a:lnTo>
                  <a:lnTo>
                    <a:pt x="492" y="869"/>
                  </a:lnTo>
                  <a:lnTo>
                    <a:pt x="459" y="860"/>
                  </a:lnTo>
                  <a:lnTo>
                    <a:pt x="454" y="860"/>
                  </a:lnTo>
                  <a:lnTo>
                    <a:pt x="454" y="869"/>
                  </a:lnTo>
                  <a:lnTo>
                    <a:pt x="449" y="881"/>
                  </a:lnTo>
                  <a:lnTo>
                    <a:pt x="454" y="886"/>
                  </a:lnTo>
                  <a:lnTo>
                    <a:pt x="454" y="898"/>
                  </a:lnTo>
                  <a:lnTo>
                    <a:pt x="454" y="898"/>
                  </a:lnTo>
                  <a:lnTo>
                    <a:pt x="454" y="898"/>
                  </a:lnTo>
                  <a:close/>
                  <a:moveTo>
                    <a:pt x="470" y="770"/>
                  </a:moveTo>
                  <a:lnTo>
                    <a:pt x="454" y="758"/>
                  </a:lnTo>
                  <a:lnTo>
                    <a:pt x="470" y="753"/>
                  </a:lnTo>
                  <a:lnTo>
                    <a:pt x="475" y="758"/>
                  </a:lnTo>
                  <a:lnTo>
                    <a:pt x="470" y="770"/>
                  </a:lnTo>
                  <a:lnTo>
                    <a:pt x="470" y="770"/>
                  </a:lnTo>
                  <a:lnTo>
                    <a:pt x="470" y="770"/>
                  </a:lnTo>
                  <a:close/>
                  <a:moveTo>
                    <a:pt x="546" y="770"/>
                  </a:moveTo>
                  <a:lnTo>
                    <a:pt x="541" y="758"/>
                  </a:lnTo>
                  <a:lnTo>
                    <a:pt x="541" y="753"/>
                  </a:lnTo>
                  <a:lnTo>
                    <a:pt x="546" y="758"/>
                  </a:lnTo>
                  <a:lnTo>
                    <a:pt x="546" y="770"/>
                  </a:lnTo>
                  <a:lnTo>
                    <a:pt x="546" y="770"/>
                  </a:lnTo>
                  <a:lnTo>
                    <a:pt x="546" y="770"/>
                  </a:lnTo>
                  <a:close/>
                  <a:moveTo>
                    <a:pt x="7" y="864"/>
                  </a:moveTo>
                  <a:lnTo>
                    <a:pt x="0" y="843"/>
                  </a:lnTo>
                  <a:lnTo>
                    <a:pt x="7" y="843"/>
                  </a:lnTo>
                  <a:lnTo>
                    <a:pt x="17" y="860"/>
                  </a:lnTo>
                  <a:lnTo>
                    <a:pt x="7" y="864"/>
                  </a:lnTo>
                  <a:lnTo>
                    <a:pt x="7" y="864"/>
                  </a:lnTo>
                  <a:lnTo>
                    <a:pt x="7" y="864"/>
                  </a:lnTo>
                  <a:close/>
                  <a:moveTo>
                    <a:pt x="416" y="898"/>
                  </a:moveTo>
                  <a:lnTo>
                    <a:pt x="407" y="886"/>
                  </a:lnTo>
                  <a:lnTo>
                    <a:pt x="421" y="886"/>
                  </a:lnTo>
                  <a:lnTo>
                    <a:pt x="421" y="898"/>
                  </a:lnTo>
                  <a:lnTo>
                    <a:pt x="416" y="898"/>
                  </a:lnTo>
                  <a:lnTo>
                    <a:pt x="416" y="898"/>
                  </a:lnTo>
                  <a:lnTo>
                    <a:pt x="416" y="898"/>
                  </a:lnTo>
                  <a:close/>
                  <a:moveTo>
                    <a:pt x="617" y="926"/>
                  </a:moveTo>
                  <a:lnTo>
                    <a:pt x="610" y="914"/>
                  </a:lnTo>
                  <a:lnTo>
                    <a:pt x="617" y="902"/>
                  </a:lnTo>
                  <a:lnTo>
                    <a:pt x="622" y="914"/>
                  </a:lnTo>
                  <a:lnTo>
                    <a:pt x="617" y="926"/>
                  </a:lnTo>
                  <a:lnTo>
                    <a:pt x="617" y="926"/>
                  </a:lnTo>
                  <a:lnTo>
                    <a:pt x="617" y="926"/>
                  </a:lnTo>
                  <a:close/>
                  <a:moveTo>
                    <a:pt x="114" y="921"/>
                  </a:moveTo>
                  <a:lnTo>
                    <a:pt x="109" y="921"/>
                  </a:lnTo>
                  <a:lnTo>
                    <a:pt x="114" y="914"/>
                  </a:lnTo>
                  <a:lnTo>
                    <a:pt x="114" y="921"/>
                  </a:lnTo>
                  <a:lnTo>
                    <a:pt x="114" y="921"/>
                  </a:lnTo>
                  <a:lnTo>
                    <a:pt x="114" y="921"/>
                  </a:lnTo>
                  <a:close/>
                  <a:moveTo>
                    <a:pt x="352" y="959"/>
                  </a:moveTo>
                  <a:lnTo>
                    <a:pt x="340" y="942"/>
                  </a:lnTo>
                  <a:lnTo>
                    <a:pt x="362" y="938"/>
                  </a:lnTo>
                  <a:lnTo>
                    <a:pt x="369" y="954"/>
                  </a:lnTo>
                  <a:lnTo>
                    <a:pt x="369" y="959"/>
                  </a:lnTo>
                  <a:lnTo>
                    <a:pt x="352" y="959"/>
                  </a:lnTo>
                  <a:lnTo>
                    <a:pt x="352" y="959"/>
                  </a:lnTo>
                  <a:lnTo>
                    <a:pt x="352" y="959"/>
                  </a:lnTo>
                  <a:close/>
                  <a:moveTo>
                    <a:pt x="255" y="975"/>
                  </a:moveTo>
                  <a:lnTo>
                    <a:pt x="244" y="975"/>
                  </a:lnTo>
                  <a:lnTo>
                    <a:pt x="255" y="959"/>
                  </a:lnTo>
                  <a:lnTo>
                    <a:pt x="255" y="975"/>
                  </a:lnTo>
                  <a:lnTo>
                    <a:pt x="255" y="975"/>
                  </a:lnTo>
                  <a:lnTo>
                    <a:pt x="255" y="975"/>
                  </a:lnTo>
                  <a:close/>
                  <a:moveTo>
                    <a:pt x="345" y="992"/>
                  </a:moveTo>
                  <a:lnTo>
                    <a:pt x="340" y="980"/>
                  </a:lnTo>
                  <a:lnTo>
                    <a:pt x="352" y="992"/>
                  </a:lnTo>
                  <a:lnTo>
                    <a:pt x="345" y="992"/>
                  </a:lnTo>
                  <a:lnTo>
                    <a:pt x="345" y="992"/>
                  </a:lnTo>
                  <a:lnTo>
                    <a:pt x="345" y="992"/>
                  </a:lnTo>
                  <a:close/>
                  <a:moveTo>
                    <a:pt x="310" y="997"/>
                  </a:moveTo>
                  <a:lnTo>
                    <a:pt x="298" y="997"/>
                  </a:lnTo>
                  <a:lnTo>
                    <a:pt x="277" y="997"/>
                  </a:lnTo>
                  <a:lnTo>
                    <a:pt x="277" y="992"/>
                  </a:lnTo>
                  <a:lnTo>
                    <a:pt x="293" y="980"/>
                  </a:lnTo>
                  <a:lnTo>
                    <a:pt x="314" y="992"/>
                  </a:lnTo>
                  <a:lnTo>
                    <a:pt x="310" y="997"/>
                  </a:lnTo>
                  <a:lnTo>
                    <a:pt x="310" y="997"/>
                  </a:lnTo>
                  <a:lnTo>
                    <a:pt x="310" y="997"/>
                  </a:lnTo>
                  <a:close/>
                  <a:moveTo>
                    <a:pt x="277" y="1030"/>
                  </a:moveTo>
                  <a:lnTo>
                    <a:pt x="277" y="1025"/>
                  </a:lnTo>
                  <a:lnTo>
                    <a:pt x="277" y="1030"/>
                  </a:lnTo>
                  <a:lnTo>
                    <a:pt x="277" y="1030"/>
                  </a:lnTo>
                  <a:lnTo>
                    <a:pt x="277" y="1030"/>
                  </a:lnTo>
                  <a:close/>
                  <a:moveTo>
                    <a:pt x="206" y="1065"/>
                  </a:moveTo>
                  <a:lnTo>
                    <a:pt x="201" y="1053"/>
                  </a:lnTo>
                  <a:lnTo>
                    <a:pt x="234" y="1037"/>
                  </a:lnTo>
                  <a:lnTo>
                    <a:pt x="234" y="1053"/>
                  </a:lnTo>
                  <a:lnTo>
                    <a:pt x="218" y="1046"/>
                  </a:lnTo>
                  <a:lnTo>
                    <a:pt x="206" y="1065"/>
                  </a:lnTo>
                  <a:lnTo>
                    <a:pt x="206" y="1065"/>
                  </a:lnTo>
                  <a:lnTo>
                    <a:pt x="206" y="1065"/>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1" name="Freeform 542">
              <a:extLst>
                <a:ext uri="{FF2B5EF4-FFF2-40B4-BE49-F238E27FC236}">
                  <a16:creationId xmlns:a16="http://schemas.microsoft.com/office/drawing/2014/main" id="{ABDC9142-CF2E-4307-A2B7-3992A86A9DF0}"/>
                </a:ext>
              </a:extLst>
            </p:cNvPr>
            <p:cNvSpPr>
              <a:spLocks noEditPoints="1"/>
            </p:cNvSpPr>
            <p:nvPr/>
          </p:nvSpPr>
          <p:spPr bwMode="gray">
            <a:xfrm>
              <a:off x="12184924" y="3672228"/>
              <a:ext cx="58913" cy="15383"/>
            </a:xfrm>
            <a:custGeom>
              <a:avLst/>
              <a:gdLst>
                <a:gd name="T0" fmla="*/ 142 w 180"/>
                <a:gd name="T1" fmla="*/ 36 h 47"/>
                <a:gd name="T2" fmla="*/ 121 w 180"/>
                <a:gd name="T3" fmla="*/ 47 h 47"/>
                <a:gd name="T4" fmla="*/ 104 w 180"/>
                <a:gd name="T5" fmla="*/ 36 h 47"/>
                <a:gd name="T6" fmla="*/ 52 w 180"/>
                <a:gd name="T7" fmla="*/ 47 h 47"/>
                <a:gd name="T8" fmla="*/ 52 w 180"/>
                <a:gd name="T9" fmla="*/ 21 h 47"/>
                <a:gd name="T10" fmla="*/ 41 w 180"/>
                <a:gd name="T11" fmla="*/ 17 h 47"/>
                <a:gd name="T12" fmla="*/ 57 w 180"/>
                <a:gd name="T13" fmla="*/ 0 h 47"/>
                <a:gd name="T14" fmla="*/ 142 w 180"/>
                <a:gd name="T15" fmla="*/ 10 h 47"/>
                <a:gd name="T16" fmla="*/ 159 w 180"/>
                <a:gd name="T17" fmla="*/ 17 h 47"/>
                <a:gd name="T18" fmla="*/ 163 w 180"/>
                <a:gd name="T19" fmla="*/ 21 h 47"/>
                <a:gd name="T20" fmla="*/ 142 w 180"/>
                <a:gd name="T21" fmla="*/ 36 h 47"/>
                <a:gd name="T22" fmla="*/ 142 w 180"/>
                <a:gd name="T23" fmla="*/ 36 h 47"/>
                <a:gd name="T24" fmla="*/ 142 w 180"/>
                <a:gd name="T25" fmla="*/ 36 h 47"/>
                <a:gd name="T26" fmla="*/ 163 w 180"/>
                <a:gd name="T27" fmla="*/ 31 h 47"/>
                <a:gd name="T28" fmla="*/ 163 w 180"/>
                <a:gd name="T29" fmla="*/ 31 h 47"/>
                <a:gd name="T30" fmla="*/ 180 w 180"/>
                <a:gd name="T31" fmla="*/ 31 h 47"/>
                <a:gd name="T32" fmla="*/ 163 w 180"/>
                <a:gd name="T33" fmla="*/ 31 h 47"/>
                <a:gd name="T34" fmla="*/ 163 w 180"/>
                <a:gd name="T35" fmla="*/ 31 h 47"/>
                <a:gd name="T36" fmla="*/ 163 w 180"/>
                <a:gd name="T37" fmla="*/ 31 h 47"/>
                <a:gd name="T38" fmla="*/ 5 w 180"/>
                <a:gd name="T39" fmla="*/ 36 h 47"/>
                <a:gd name="T40" fmla="*/ 0 w 180"/>
                <a:gd name="T41" fmla="*/ 31 h 47"/>
                <a:gd name="T42" fmla="*/ 5 w 180"/>
                <a:gd name="T43" fmla="*/ 31 h 47"/>
                <a:gd name="T44" fmla="*/ 5 w 180"/>
                <a:gd name="T45" fmla="*/ 36 h 47"/>
                <a:gd name="T46" fmla="*/ 5 w 180"/>
                <a:gd name="T47" fmla="*/ 36 h 47"/>
                <a:gd name="T48" fmla="*/ 5 w 180"/>
                <a:gd name="T49"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0" h="47">
                  <a:moveTo>
                    <a:pt x="142" y="36"/>
                  </a:moveTo>
                  <a:lnTo>
                    <a:pt x="121" y="47"/>
                  </a:lnTo>
                  <a:lnTo>
                    <a:pt x="104" y="36"/>
                  </a:lnTo>
                  <a:lnTo>
                    <a:pt x="52" y="47"/>
                  </a:lnTo>
                  <a:lnTo>
                    <a:pt x="52" y="21"/>
                  </a:lnTo>
                  <a:lnTo>
                    <a:pt x="41" y="17"/>
                  </a:lnTo>
                  <a:lnTo>
                    <a:pt x="57" y="0"/>
                  </a:lnTo>
                  <a:lnTo>
                    <a:pt x="142" y="10"/>
                  </a:lnTo>
                  <a:lnTo>
                    <a:pt x="159" y="17"/>
                  </a:lnTo>
                  <a:lnTo>
                    <a:pt x="163" y="21"/>
                  </a:lnTo>
                  <a:lnTo>
                    <a:pt x="142" y="36"/>
                  </a:lnTo>
                  <a:lnTo>
                    <a:pt x="142" y="36"/>
                  </a:lnTo>
                  <a:lnTo>
                    <a:pt x="142" y="36"/>
                  </a:lnTo>
                  <a:close/>
                  <a:moveTo>
                    <a:pt x="163" y="31"/>
                  </a:moveTo>
                  <a:lnTo>
                    <a:pt x="163" y="31"/>
                  </a:lnTo>
                  <a:lnTo>
                    <a:pt x="180" y="31"/>
                  </a:lnTo>
                  <a:lnTo>
                    <a:pt x="163" y="31"/>
                  </a:lnTo>
                  <a:lnTo>
                    <a:pt x="163" y="31"/>
                  </a:lnTo>
                  <a:lnTo>
                    <a:pt x="163" y="31"/>
                  </a:lnTo>
                  <a:close/>
                  <a:moveTo>
                    <a:pt x="5" y="36"/>
                  </a:moveTo>
                  <a:lnTo>
                    <a:pt x="0" y="31"/>
                  </a:lnTo>
                  <a:lnTo>
                    <a:pt x="5" y="31"/>
                  </a:lnTo>
                  <a:lnTo>
                    <a:pt x="5" y="36"/>
                  </a:lnTo>
                  <a:lnTo>
                    <a:pt x="5" y="36"/>
                  </a:lnTo>
                  <a:lnTo>
                    <a:pt x="5" y="36"/>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2" name="Freeform 543">
              <a:extLst>
                <a:ext uri="{FF2B5EF4-FFF2-40B4-BE49-F238E27FC236}">
                  <a16:creationId xmlns:a16="http://schemas.microsoft.com/office/drawing/2014/main" id="{54E373E5-24FB-4A85-A58C-8285C2ED0136}"/>
                </a:ext>
              </a:extLst>
            </p:cNvPr>
            <p:cNvSpPr>
              <a:spLocks noEditPoints="1"/>
            </p:cNvSpPr>
            <p:nvPr/>
          </p:nvSpPr>
          <p:spPr bwMode="gray">
            <a:xfrm>
              <a:off x="9778967" y="1537600"/>
              <a:ext cx="8330681" cy="1547786"/>
            </a:xfrm>
            <a:custGeom>
              <a:avLst/>
              <a:gdLst>
                <a:gd name="T0" fmla="*/ 24366 w 25453"/>
                <a:gd name="T1" fmla="*/ 2721 h 4729"/>
                <a:gd name="T2" fmla="*/ 23563 w 25453"/>
                <a:gd name="T3" fmla="*/ 3031 h 4729"/>
                <a:gd name="T4" fmla="*/ 23076 w 25453"/>
                <a:gd name="T5" fmla="*/ 3692 h 4729"/>
                <a:gd name="T6" fmla="*/ 23331 w 25453"/>
                <a:gd name="T7" fmla="*/ 2809 h 4729"/>
                <a:gd name="T8" fmla="*/ 22391 w 25453"/>
                <a:gd name="T9" fmla="*/ 2993 h 4729"/>
                <a:gd name="T10" fmla="*/ 22018 w 25453"/>
                <a:gd name="T11" fmla="*/ 3643 h 4729"/>
                <a:gd name="T12" fmla="*/ 21312 w 25453"/>
                <a:gd name="T13" fmla="*/ 4578 h 4729"/>
                <a:gd name="T14" fmla="*/ 20955 w 25453"/>
                <a:gd name="T15" fmla="*/ 3676 h 4729"/>
                <a:gd name="T16" fmla="*/ 19167 w 25453"/>
                <a:gd name="T17" fmla="*/ 3768 h 4729"/>
                <a:gd name="T18" fmla="*/ 18078 w 25453"/>
                <a:gd name="T19" fmla="*/ 3936 h 4729"/>
                <a:gd name="T20" fmla="*/ 17117 w 25453"/>
                <a:gd name="T21" fmla="*/ 3487 h 4729"/>
                <a:gd name="T22" fmla="*/ 16424 w 25453"/>
                <a:gd name="T23" fmla="*/ 3803 h 4729"/>
                <a:gd name="T24" fmla="*/ 15550 w 25453"/>
                <a:gd name="T25" fmla="*/ 3931 h 4729"/>
                <a:gd name="T26" fmla="*/ 15425 w 25453"/>
                <a:gd name="T27" fmla="*/ 4694 h 4729"/>
                <a:gd name="T28" fmla="*/ 14821 w 25453"/>
                <a:gd name="T29" fmla="*/ 4191 h 4729"/>
                <a:gd name="T30" fmla="*/ 14388 w 25453"/>
                <a:gd name="T31" fmla="*/ 3581 h 4729"/>
                <a:gd name="T32" fmla="*/ 14169 w 25453"/>
                <a:gd name="T33" fmla="*/ 2792 h 4729"/>
                <a:gd name="T34" fmla="*/ 14471 w 25453"/>
                <a:gd name="T35" fmla="*/ 1862 h 4729"/>
                <a:gd name="T36" fmla="*/ 14660 w 25453"/>
                <a:gd name="T37" fmla="*/ 2488 h 4729"/>
                <a:gd name="T38" fmla="*/ 15395 w 25453"/>
                <a:gd name="T39" fmla="*/ 2018 h 4729"/>
                <a:gd name="T40" fmla="*/ 16278 w 25453"/>
                <a:gd name="T41" fmla="*/ 1918 h 4729"/>
                <a:gd name="T42" fmla="*/ 16991 w 25453"/>
                <a:gd name="T43" fmla="*/ 1368 h 4729"/>
                <a:gd name="T44" fmla="*/ 17298 w 25453"/>
                <a:gd name="T45" fmla="*/ 2105 h 4729"/>
                <a:gd name="T46" fmla="*/ 17407 w 25453"/>
                <a:gd name="T47" fmla="*/ 1545 h 4729"/>
                <a:gd name="T48" fmla="*/ 17969 w 25453"/>
                <a:gd name="T49" fmla="*/ 1718 h 4729"/>
                <a:gd name="T50" fmla="*/ 18272 w 25453"/>
                <a:gd name="T51" fmla="*/ 1075 h 4729"/>
                <a:gd name="T52" fmla="*/ 19103 w 25453"/>
                <a:gd name="T53" fmla="*/ 891 h 4729"/>
                <a:gd name="T54" fmla="*/ 20065 w 25453"/>
                <a:gd name="T55" fmla="*/ 981 h 4729"/>
                <a:gd name="T56" fmla="*/ 20074 w 25453"/>
                <a:gd name="T57" fmla="*/ 1290 h 4729"/>
                <a:gd name="T58" fmla="*/ 21782 w 25453"/>
                <a:gd name="T59" fmla="*/ 1573 h 4729"/>
                <a:gd name="T60" fmla="*/ 22644 w 25453"/>
                <a:gd name="T61" fmla="*/ 1552 h 4729"/>
                <a:gd name="T62" fmla="*/ 24227 w 25453"/>
                <a:gd name="T63" fmla="*/ 1767 h 4729"/>
                <a:gd name="T64" fmla="*/ 25053 w 25453"/>
                <a:gd name="T65" fmla="*/ 2046 h 4729"/>
                <a:gd name="T66" fmla="*/ 25205 w 25453"/>
                <a:gd name="T67" fmla="*/ 2400 h 4729"/>
                <a:gd name="T68" fmla="*/ 16188 w 25453"/>
                <a:gd name="T69" fmla="*/ 5 h 4729"/>
                <a:gd name="T70" fmla="*/ 18557 w 25453"/>
                <a:gd name="T71" fmla="*/ 236 h 4729"/>
                <a:gd name="T72" fmla="*/ 16198 w 25453"/>
                <a:gd name="T73" fmla="*/ 116 h 4729"/>
                <a:gd name="T74" fmla="*/ 15593 w 25453"/>
                <a:gd name="T75" fmla="*/ 203 h 4729"/>
                <a:gd name="T76" fmla="*/ 15345 w 25453"/>
                <a:gd name="T77" fmla="*/ 236 h 4729"/>
                <a:gd name="T78" fmla="*/ 15933 w 25453"/>
                <a:gd name="T79" fmla="*/ 236 h 4729"/>
                <a:gd name="T80" fmla="*/ 18650 w 25453"/>
                <a:gd name="T81" fmla="*/ 404 h 4729"/>
                <a:gd name="T82" fmla="*/ 16252 w 25453"/>
                <a:gd name="T83" fmla="*/ 322 h 4729"/>
                <a:gd name="T84" fmla="*/ 19221 w 25453"/>
                <a:gd name="T85" fmla="*/ 598 h 4729"/>
                <a:gd name="T86" fmla="*/ 23093 w 25453"/>
                <a:gd name="T87" fmla="*/ 758 h 4729"/>
                <a:gd name="T88" fmla="*/ 16727 w 25453"/>
                <a:gd name="T89" fmla="*/ 832 h 4729"/>
                <a:gd name="T90" fmla="*/ 18978 w 25453"/>
                <a:gd name="T91" fmla="*/ 815 h 4729"/>
                <a:gd name="T92" fmla="*/ 18898 w 25453"/>
                <a:gd name="T93" fmla="*/ 886 h 4729"/>
                <a:gd name="T94" fmla="*/ 22046 w 25453"/>
                <a:gd name="T95" fmla="*/ 931 h 4729"/>
                <a:gd name="T96" fmla="*/ 16257 w 25453"/>
                <a:gd name="T97" fmla="*/ 947 h 4729"/>
                <a:gd name="T98" fmla="*/ 17700 w 25453"/>
                <a:gd name="T99" fmla="*/ 1129 h 4729"/>
                <a:gd name="T100" fmla="*/ 18125 w 25453"/>
                <a:gd name="T101" fmla="*/ 1195 h 4729"/>
                <a:gd name="T102" fmla="*/ 20700 w 25453"/>
                <a:gd name="T103" fmla="*/ 1363 h 4729"/>
                <a:gd name="T104" fmla="*/ 17133 w 25453"/>
                <a:gd name="T105" fmla="*/ 1314 h 4729"/>
                <a:gd name="T106" fmla="*/ 15858 w 25453"/>
                <a:gd name="T107" fmla="*/ 1363 h 4729"/>
                <a:gd name="T108" fmla="*/ 17693 w 25453"/>
                <a:gd name="T109" fmla="*/ 1392 h 4729"/>
                <a:gd name="T110" fmla="*/ 21775 w 25453"/>
                <a:gd name="T111" fmla="*/ 1552 h 4729"/>
                <a:gd name="T112" fmla="*/ 16257 w 25453"/>
                <a:gd name="T113" fmla="*/ 1696 h 4729"/>
                <a:gd name="T114" fmla="*/ 15534 w 25453"/>
                <a:gd name="T115" fmla="*/ 1923 h 4729"/>
                <a:gd name="T116" fmla="*/ 0 w 25453"/>
                <a:gd name="T117" fmla="*/ 2400 h 4729"/>
                <a:gd name="T118" fmla="*/ 13590 w 25453"/>
                <a:gd name="T119" fmla="*/ 3421 h 4729"/>
                <a:gd name="T120" fmla="*/ 22169 w 25453"/>
                <a:gd name="T121" fmla="*/ 3659 h 4729"/>
                <a:gd name="T122" fmla="*/ 23001 w 25453"/>
                <a:gd name="T123" fmla="*/ 3903 h 4729"/>
                <a:gd name="T124" fmla="*/ 22483 w 25453"/>
                <a:gd name="T125" fmla="*/ 4373 h 4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53" h="4729">
                  <a:moveTo>
                    <a:pt x="24735" y="2360"/>
                  </a:moveTo>
                  <a:lnTo>
                    <a:pt x="24706" y="2388"/>
                  </a:lnTo>
                  <a:lnTo>
                    <a:pt x="24638" y="2421"/>
                  </a:lnTo>
                  <a:lnTo>
                    <a:pt x="24654" y="2405"/>
                  </a:lnTo>
                  <a:lnTo>
                    <a:pt x="24572" y="2405"/>
                  </a:lnTo>
                  <a:lnTo>
                    <a:pt x="24562" y="2384"/>
                  </a:lnTo>
                  <a:lnTo>
                    <a:pt x="24517" y="2360"/>
                  </a:lnTo>
                  <a:lnTo>
                    <a:pt x="24479" y="2367"/>
                  </a:lnTo>
                  <a:lnTo>
                    <a:pt x="24529" y="2367"/>
                  </a:lnTo>
                  <a:lnTo>
                    <a:pt x="24550" y="2388"/>
                  </a:lnTo>
                  <a:lnTo>
                    <a:pt x="24529" y="2400"/>
                  </a:lnTo>
                  <a:lnTo>
                    <a:pt x="24508" y="2384"/>
                  </a:lnTo>
                  <a:lnTo>
                    <a:pt x="24491" y="2388"/>
                  </a:lnTo>
                  <a:lnTo>
                    <a:pt x="24465" y="2377"/>
                  </a:lnTo>
                  <a:lnTo>
                    <a:pt x="24442" y="2400"/>
                  </a:lnTo>
                  <a:lnTo>
                    <a:pt x="24352" y="2405"/>
                  </a:lnTo>
                  <a:lnTo>
                    <a:pt x="24437" y="2400"/>
                  </a:lnTo>
                  <a:lnTo>
                    <a:pt x="24465" y="2384"/>
                  </a:lnTo>
                  <a:lnTo>
                    <a:pt x="24491" y="2405"/>
                  </a:lnTo>
                  <a:lnTo>
                    <a:pt x="24465" y="2417"/>
                  </a:lnTo>
                  <a:lnTo>
                    <a:pt x="24465" y="2421"/>
                  </a:lnTo>
                  <a:lnTo>
                    <a:pt x="24491" y="2405"/>
                  </a:lnTo>
                  <a:lnTo>
                    <a:pt x="24513" y="2421"/>
                  </a:lnTo>
                  <a:lnTo>
                    <a:pt x="24529" y="2405"/>
                  </a:lnTo>
                  <a:lnTo>
                    <a:pt x="24567" y="2400"/>
                  </a:lnTo>
                  <a:lnTo>
                    <a:pt x="24550" y="2421"/>
                  </a:lnTo>
                  <a:lnTo>
                    <a:pt x="24572" y="2445"/>
                  </a:lnTo>
                  <a:lnTo>
                    <a:pt x="24605" y="2462"/>
                  </a:lnTo>
                  <a:lnTo>
                    <a:pt x="24621" y="2445"/>
                  </a:lnTo>
                  <a:lnTo>
                    <a:pt x="24626" y="2455"/>
                  </a:lnTo>
                  <a:lnTo>
                    <a:pt x="24638" y="2478"/>
                  </a:lnTo>
                  <a:lnTo>
                    <a:pt x="24626" y="2495"/>
                  </a:lnTo>
                  <a:lnTo>
                    <a:pt x="24642" y="2495"/>
                  </a:lnTo>
                  <a:lnTo>
                    <a:pt x="24654" y="2528"/>
                  </a:lnTo>
                  <a:lnTo>
                    <a:pt x="24642" y="2528"/>
                  </a:lnTo>
                  <a:lnTo>
                    <a:pt x="24621" y="2532"/>
                  </a:lnTo>
                  <a:lnTo>
                    <a:pt x="24654" y="2532"/>
                  </a:lnTo>
                  <a:lnTo>
                    <a:pt x="24654" y="2549"/>
                  </a:lnTo>
                  <a:lnTo>
                    <a:pt x="24642" y="2556"/>
                  </a:lnTo>
                  <a:lnTo>
                    <a:pt x="24659" y="2549"/>
                  </a:lnTo>
                  <a:lnTo>
                    <a:pt x="24654" y="2532"/>
                  </a:lnTo>
                  <a:lnTo>
                    <a:pt x="24668" y="2566"/>
                  </a:lnTo>
                  <a:lnTo>
                    <a:pt x="24659" y="2556"/>
                  </a:lnTo>
                  <a:lnTo>
                    <a:pt x="24659" y="2566"/>
                  </a:lnTo>
                  <a:lnTo>
                    <a:pt x="24697" y="2582"/>
                  </a:lnTo>
                  <a:lnTo>
                    <a:pt x="24697" y="2599"/>
                  </a:lnTo>
                  <a:lnTo>
                    <a:pt x="24680" y="2606"/>
                  </a:lnTo>
                  <a:lnTo>
                    <a:pt x="24706" y="2622"/>
                  </a:lnTo>
                  <a:lnTo>
                    <a:pt x="24706" y="2643"/>
                  </a:lnTo>
                  <a:lnTo>
                    <a:pt x="24676" y="2660"/>
                  </a:lnTo>
                  <a:lnTo>
                    <a:pt x="24680" y="2677"/>
                  </a:lnTo>
                  <a:lnTo>
                    <a:pt x="24676" y="2681"/>
                  </a:lnTo>
                  <a:lnTo>
                    <a:pt x="24600" y="2655"/>
                  </a:lnTo>
                  <a:lnTo>
                    <a:pt x="24550" y="2643"/>
                  </a:lnTo>
                  <a:lnTo>
                    <a:pt x="24550" y="2627"/>
                  </a:lnTo>
                  <a:lnTo>
                    <a:pt x="24562" y="2622"/>
                  </a:lnTo>
                  <a:lnTo>
                    <a:pt x="24546" y="2639"/>
                  </a:lnTo>
                  <a:lnTo>
                    <a:pt x="24529" y="2610"/>
                  </a:lnTo>
                  <a:lnTo>
                    <a:pt x="24529" y="2639"/>
                  </a:lnTo>
                  <a:lnTo>
                    <a:pt x="24550" y="2643"/>
                  </a:lnTo>
                  <a:lnTo>
                    <a:pt x="24508" y="2655"/>
                  </a:lnTo>
                  <a:lnTo>
                    <a:pt x="24479" y="2677"/>
                  </a:lnTo>
                  <a:lnTo>
                    <a:pt x="24373" y="2721"/>
                  </a:lnTo>
                  <a:lnTo>
                    <a:pt x="24357" y="2717"/>
                  </a:lnTo>
                  <a:lnTo>
                    <a:pt x="24366" y="2721"/>
                  </a:lnTo>
                  <a:lnTo>
                    <a:pt x="24357" y="2733"/>
                  </a:lnTo>
                  <a:lnTo>
                    <a:pt x="24328" y="2733"/>
                  </a:lnTo>
                  <a:lnTo>
                    <a:pt x="24319" y="2738"/>
                  </a:lnTo>
                  <a:lnTo>
                    <a:pt x="24302" y="2750"/>
                  </a:lnTo>
                  <a:lnTo>
                    <a:pt x="24290" y="2738"/>
                  </a:lnTo>
                  <a:lnTo>
                    <a:pt x="24281" y="2766"/>
                  </a:lnTo>
                  <a:lnTo>
                    <a:pt x="24276" y="2766"/>
                  </a:lnTo>
                  <a:lnTo>
                    <a:pt x="24260" y="2776"/>
                  </a:lnTo>
                  <a:lnTo>
                    <a:pt x="24243" y="2771"/>
                  </a:lnTo>
                  <a:lnTo>
                    <a:pt x="24227" y="2776"/>
                  </a:lnTo>
                  <a:lnTo>
                    <a:pt x="24243" y="2788"/>
                  </a:lnTo>
                  <a:lnTo>
                    <a:pt x="24227" y="2788"/>
                  </a:lnTo>
                  <a:lnTo>
                    <a:pt x="24239" y="2792"/>
                  </a:lnTo>
                  <a:lnTo>
                    <a:pt x="24222" y="2804"/>
                  </a:lnTo>
                  <a:lnTo>
                    <a:pt x="24205" y="2792"/>
                  </a:lnTo>
                  <a:lnTo>
                    <a:pt x="24205" y="2809"/>
                  </a:lnTo>
                  <a:lnTo>
                    <a:pt x="24210" y="2821"/>
                  </a:lnTo>
                  <a:lnTo>
                    <a:pt x="24194" y="2821"/>
                  </a:lnTo>
                  <a:lnTo>
                    <a:pt x="24184" y="2809"/>
                  </a:lnTo>
                  <a:lnTo>
                    <a:pt x="24189" y="2828"/>
                  </a:lnTo>
                  <a:lnTo>
                    <a:pt x="24184" y="2844"/>
                  </a:lnTo>
                  <a:lnTo>
                    <a:pt x="24172" y="2828"/>
                  </a:lnTo>
                  <a:lnTo>
                    <a:pt x="24172" y="2844"/>
                  </a:lnTo>
                  <a:lnTo>
                    <a:pt x="24151" y="2844"/>
                  </a:lnTo>
                  <a:lnTo>
                    <a:pt x="24151" y="2849"/>
                  </a:lnTo>
                  <a:lnTo>
                    <a:pt x="24135" y="2849"/>
                  </a:lnTo>
                  <a:lnTo>
                    <a:pt x="24135" y="2866"/>
                  </a:lnTo>
                  <a:lnTo>
                    <a:pt x="24080" y="2887"/>
                  </a:lnTo>
                  <a:lnTo>
                    <a:pt x="24080" y="2899"/>
                  </a:lnTo>
                  <a:lnTo>
                    <a:pt x="24076" y="2903"/>
                  </a:lnTo>
                  <a:lnTo>
                    <a:pt x="24064" y="2936"/>
                  </a:lnTo>
                  <a:lnTo>
                    <a:pt x="24059" y="2936"/>
                  </a:lnTo>
                  <a:lnTo>
                    <a:pt x="24033" y="2920"/>
                  </a:lnTo>
                  <a:lnTo>
                    <a:pt x="24021" y="2887"/>
                  </a:lnTo>
                  <a:lnTo>
                    <a:pt x="23979" y="2866"/>
                  </a:lnTo>
                  <a:lnTo>
                    <a:pt x="23979" y="2877"/>
                  </a:lnTo>
                  <a:lnTo>
                    <a:pt x="23913" y="2866"/>
                  </a:lnTo>
                  <a:lnTo>
                    <a:pt x="23832" y="2899"/>
                  </a:lnTo>
                  <a:lnTo>
                    <a:pt x="23761" y="2953"/>
                  </a:lnTo>
                  <a:lnTo>
                    <a:pt x="23773" y="2887"/>
                  </a:lnTo>
                  <a:lnTo>
                    <a:pt x="23778" y="2882"/>
                  </a:lnTo>
                  <a:lnTo>
                    <a:pt x="23757" y="2882"/>
                  </a:lnTo>
                  <a:lnTo>
                    <a:pt x="23702" y="2920"/>
                  </a:lnTo>
                  <a:lnTo>
                    <a:pt x="23686" y="2915"/>
                  </a:lnTo>
                  <a:lnTo>
                    <a:pt x="23702" y="2932"/>
                  </a:lnTo>
                  <a:lnTo>
                    <a:pt x="23681" y="2953"/>
                  </a:lnTo>
                  <a:lnTo>
                    <a:pt x="23665" y="2936"/>
                  </a:lnTo>
                  <a:lnTo>
                    <a:pt x="23648" y="2920"/>
                  </a:lnTo>
                  <a:lnTo>
                    <a:pt x="23643" y="2920"/>
                  </a:lnTo>
                  <a:lnTo>
                    <a:pt x="23643" y="2932"/>
                  </a:lnTo>
                  <a:lnTo>
                    <a:pt x="23627" y="2936"/>
                  </a:lnTo>
                  <a:lnTo>
                    <a:pt x="23627" y="2943"/>
                  </a:lnTo>
                  <a:lnTo>
                    <a:pt x="23617" y="2943"/>
                  </a:lnTo>
                  <a:lnTo>
                    <a:pt x="23627" y="2936"/>
                  </a:lnTo>
                  <a:lnTo>
                    <a:pt x="23617" y="2932"/>
                  </a:lnTo>
                  <a:lnTo>
                    <a:pt x="23596" y="2932"/>
                  </a:lnTo>
                  <a:lnTo>
                    <a:pt x="23601" y="2936"/>
                  </a:lnTo>
                  <a:lnTo>
                    <a:pt x="23596" y="2943"/>
                  </a:lnTo>
                  <a:lnTo>
                    <a:pt x="23572" y="2953"/>
                  </a:lnTo>
                  <a:lnTo>
                    <a:pt x="23572" y="2972"/>
                  </a:lnTo>
                  <a:lnTo>
                    <a:pt x="23558" y="2977"/>
                  </a:lnTo>
                  <a:lnTo>
                    <a:pt x="23572" y="2998"/>
                  </a:lnTo>
                  <a:lnTo>
                    <a:pt x="23563" y="3010"/>
                  </a:lnTo>
                  <a:lnTo>
                    <a:pt x="23546" y="3010"/>
                  </a:lnTo>
                  <a:lnTo>
                    <a:pt x="23563" y="3031"/>
                  </a:lnTo>
                  <a:lnTo>
                    <a:pt x="23546" y="3026"/>
                  </a:lnTo>
                  <a:lnTo>
                    <a:pt x="23542" y="3026"/>
                  </a:lnTo>
                  <a:lnTo>
                    <a:pt x="23546" y="3043"/>
                  </a:lnTo>
                  <a:lnTo>
                    <a:pt x="23504" y="3071"/>
                  </a:lnTo>
                  <a:lnTo>
                    <a:pt x="23487" y="3099"/>
                  </a:lnTo>
                  <a:lnTo>
                    <a:pt x="23471" y="3137"/>
                  </a:lnTo>
                  <a:lnTo>
                    <a:pt x="23487" y="3158"/>
                  </a:lnTo>
                  <a:lnTo>
                    <a:pt x="23504" y="3170"/>
                  </a:lnTo>
                  <a:lnTo>
                    <a:pt x="23504" y="3175"/>
                  </a:lnTo>
                  <a:lnTo>
                    <a:pt x="23520" y="3154"/>
                  </a:lnTo>
                  <a:lnTo>
                    <a:pt x="23563" y="3158"/>
                  </a:lnTo>
                  <a:lnTo>
                    <a:pt x="23563" y="3170"/>
                  </a:lnTo>
                  <a:lnTo>
                    <a:pt x="23558" y="3192"/>
                  </a:lnTo>
                  <a:lnTo>
                    <a:pt x="23525" y="3208"/>
                  </a:lnTo>
                  <a:lnTo>
                    <a:pt x="23535" y="3236"/>
                  </a:lnTo>
                  <a:lnTo>
                    <a:pt x="23535" y="3269"/>
                  </a:lnTo>
                  <a:lnTo>
                    <a:pt x="23542" y="3281"/>
                  </a:lnTo>
                  <a:lnTo>
                    <a:pt x="23563" y="3269"/>
                  </a:lnTo>
                  <a:lnTo>
                    <a:pt x="23572" y="3326"/>
                  </a:lnTo>
                  <a:lnTo>
                    <a:pt x="23546" y="3347"/>
                  </a:lnTo>
                  <a:lnTo>
                    <a:pt x="23525" y="3336"/>
                  </a:lnTo>
                  <a:lnTo>
                    <a:pt x="23525" y="3319"/>
                  </a:lnTo>
                  <a:lnTo>
                    <a:pt x="23558" y="3293"/>
                  </a:lnTo>
                  <a:lnTo>
                    <a:pt x="23546" y="3293"/>
                  </a:lnTo>
                  <a:lnTo>
                    <a:pt x="23542" y="3303"/>
                  </a:lnTo>
                  <a:lnTo>
                    <a:pt x="23525" y="3303"/>
                  </a:lnTo>
                  <a:lnTo>
                    <a:pt x="23504" y="3310"/>
                  </a:lnTo>
                  <a:lnTo>
                    <a:pt x="23520" y="3326"/>
                  </a:lnTo>
                  <a:lnTo>
                    <a:pt x="23483" y="3343"/>
                  </a:lnTo>
                  <a:lnTo>
                    <a:pt x="23454" y="3397"/>
                  </a:lnTo>
                  <a:lnTo>
                    <a:pt x="23466" y="3437"/>
                  </a:lnTo>
                  <a:lnTo>
                    <a:pt x="23487" y="3458"/>
                  </a:lnTo>
                  <a:lnTo>
                    <a:pt x="23487" y="3475"/>
                  </a:lnTo>
                  <a:lnTo>
                    <a:pt x="23454" y="3503"/>
                  </a:lnTo>
                  <a:lnTo>
                    <a:pt x="23428" y="3503"/>
                  </a:lnTo>
                  <a:lnTo>
                    <a:pt x="23416" y="3491"/>
                  </a:lnTo>
                  <a:lnTo>
                    <a:pt x="23383" y="3503"/>
                  </a:lnTo>
                  <a:lnTo>
                    <a:pt x="23341" y="3541"/>
                  </a:lnTo>
                  <a:lnTo>
                    <a:pt x="23324" y="3581"/>
                  </a:lnTo>
                  <a:lnTo>
                    <a:pt x="23331" y="3586"/>
                  </a:lnTo>
                  <a:lnTo>
                    <a:pt x="23331" y="3603"/>
                  </a:lnTo>
                  <a:lnTo>
                    <a:pt x="23324" y="3598"/>
                  </a:lnTo>
                  <a:lnTo>
                    <a:pt x="23341" y="3619"/>
                  </a:lnTo>
                  <a:lnTo>
                    <a:pt x="23341" y="3636"/>
                  </a:lnTo>
                  <a:lnTo>
                    <a:pt x="23308" y="3619"/>
                  </a:lnTo>
                  <a:lnTo>
                    <a:pt x="23270" y="3643"/>
                  </a:lnTo>
                  <a:lnTo>
                    <a:pt x="23249" y="3659"/>
                  </a:lnTo>
                  <a:lnTo>
                    <a:pt x="23239" y="3643"/>
                  </a:lnTo>
                  <a:lnTo>
                    <a:pt x="23223" y="3643"/>
                  </a:lnTo>
                  <a:lnTo>
                    <a:pt x="23223" y="3659"/>
                  </a:lnTo>
                  <a:lnTo>
                    <a:pt x="23239" y="3659"/>
                  </a:lnTo>
                  <a:lnTo>
                    <a:pt x="23232" y="3680"/>
                  </a:lnTo>
                  <a:lnTo>
                    <a:pt x="23223" y="3680"/>
                  </a:lnTo>
                  <a:lnTo>
                    <a:pt x="23232" y="3692"/>
                  </a:lnTo>
                  <a:lnTo>
                    <a:pt x="23232" y="3714"/>
                  </a:lnTo>
                  <a:lnTo>
                    <a:pt x="23218" y="3730"/>
                  </a:lnTo>
                  <a:lnTo>
                    <a:pt x="23218" y="3751"/>
                  </a:lnTo>
                  <a:lnTo>
                    <a:pt x="23105" y="3846"/>
                  </a:lnTo>
                  <a:lnTo>
                    <a:pt x="23109" y="3836"/>
                  </a:lnTo>
                  <a:lnTo>
                    <a:pt x="23093" y="3808"/>
                  </a:lnTo>
                  <a:lnTo>
                    <a:pt x="23093" y="3751"/>
                  </a:lnTo>
                  <a:lnTo>
                    <a:pt x="23076" y="3692"/>
                  </a:lnTo>
                  <a:lnTo>
                    <a:pt x="23088" y="3697"/>
                  </a:lnTo>
                  <a:lnTo>
                    <a:pt x="23088" y="3692"/>
                  </a:lnTo>
                  <a:lnTo>
                    <a:pt x="23076" y="3692"/>
                  </a:lnTo>
                  <a:lnTo>
                    <a:pt x="23060" y="3669"/>
                  </a:lnTo>
                  <a:lnTo>
                    <a:pt x="23022" y="3421"/>
                  </a:lnTo>
                  <a:lnTo>
                    <a:pt x="23034" y="3359"/>
                  </a:lnTo>
                  <a:lnTo>
                    <a:pt x="23055" y="3281"/>
                  </a:lnTo>
                  <a:lnTo>
                    <a:pt x="23088" y="3253"/>
                  </a:lnTo>
                  <a:lnTo>
                    <a:pt x="23093" y="3236"/>
                  </a:lnTo>
                  <a:lnTo>
                    <a:pt x="23105" y="3236"/>
                  </a:lnTo>
                  <a:lnTo>
                    <a:pt x="23126" y="3208"/>
                  </a:lnTo>
                  <a:lnTo>
                    <a:pt x="23126" y="3182"/>
                  </a:lnTo>
                  <a:lnTo>
                    <a:pt x="23109" y="3175"/>
                  </a:lnTo>
                  <a:lnTo>
                    <a:pt x="23126" y="3158"/>
                  </a:lnTo>
                  <a:lnTo>
                    <a:pt x="23142" y="3170"/>
                  </a:lnTo>
                  <a:lnTo>
                    <a:pt x="23157" y="3170"/>
                  </a:lnTo>
                  <a:lnTo>
                    <a:pt x="23168" y="3142"/>
                  </a:lnTo>
                  <a:lnTo>
                    <a:pt x="23218" y="3142"/>
                  </a:lnTo>
                  <a:lnTo>
                    <a:pt x="23320" y="3059"/>
                  </a:lnTo>
                  <a:lnTo>
                    <a:pt x="23324" y="3031"/>
                  </a:lnTo>
                  <a:lnTo>
                    <a:pt x="23362" y="2998"/>
                  </a:lnTo>
                  <a:lnTo>
                    <a:pt x="23374" y="2977"/>
                  </a:lnTo>
                  <a:lnTo>
                    <a:pt x="23395" y="2972"/>
                  </a:lnTo>
                  <a:lnTo>
                    <a:pt x="23438" y="2920"/>
                  </a:lnTo>
                  <a:lnTo>
                    <a:pt x="23466" y="2915"/>
                  </a:lnTo>
                  <a:lnTo>
                    <a:pt x="23471" y="2903"/>
                  </a:lnTo>
                  <a:lnTo>
                    <a:pt x="23471" y="2882"/>
                  </a:lnTo>
                  <a:lnTo>
                    <a:pt x="23535" y="2861"/>
                  </a:lnTo>
                  <a:lnTo>
                    <a:pt x="23542" y="2849"/>
                  </a:lnTo>
                  <a:lnTo>
                    <a:pt x="23596" y="2832"/>
                  </a:lnTo>
                  <a:lnTo>
                    <a:pt x="23596" y="2828"/>
                  </a:lnTo>
                  <a:lnTo>
                    <a:pt x="23579" y="2821"/>
                  </a:lnTo>
                  <a:lnTo>
                    <a:pt x="23617" y="2788"/>
                  </a:lnTo>
                  <a:lnTo>
                    <a:pt x="23617" y="2776"/>
                  </a:lnTo>
                  <a:lnTo>
                    <a:pt x="23601" y="2771"/>
                  </a:lnTo>
                  <a:lnTo>
                    <a:pt x="23610" y="2755"/>
                  </a:lnTo>
                  <a:lnTo>
                    <a:pt x="23617" y="2750"/>
                  </a:lnTo>
                  <a:lnTo>
                    <a:pt x="23627" y="2681"/>
                  </a:lnTo>
                  <a:lnTo>
                    <a:pt x="23655" y="2660"/>
                  </a:lnTo>
                  <a:lnTo>
                    <a:pt x="23698" y="2665"/>
                  </a:lnTo>
                  <a:lnTo>
                    <a:pt x="23709" y="2677"/>
                  </a:lnTo>
                  <a:lnTo>
                    <a:pt x="23698" y="2660"/>
                  </a:lnTo>
                  <a:lnTo>
                    <a:pt x="23735" y="2660"/>
                  </a:lnTo>
                  <a:lnTo>
                    <a:pt x="23686" y="2655"/>
                  </a:lnTo>
                  <a:lnTo>
                    <a:pt x="23643" y="2639"/>
                  </a:lnTo>
                  <a:lnTo>
                    <a:pt x="23563" y="2655"/>
                  </a:lnTo>
                  <a:lnTo>
                    <a:pt x="23558" y="2660"/>
                  </a:lnTo>
                  <a:lnTo>
                    <a:pt x="23572" y="2677"/>
                  </a:lnTo>
                  <a:lnTo>
                    <a:pt x="23558" y="2681"/>
                  </a:lnTo>
                  <a:lnTo>
                    <a:pt x="23558" y="2710"/>
                  </a:lnTo>
                  <a:lnTo>
                    <a:pt x="23542" y="2733"/>
                  </a:lnTo>
                  <a:lnTo>
                    <a:pt x="23572" y="2738"/>
                  </a:lnTo>
                  <a:lnTo>
                    <a:pt x="23563" y="2750"/>
                  </a:lnTo>
                  <a:lnTo>
                    <a:pt x="23546" y="2766"/>
                  </a:lnTo>
                  <a:lnTo>
                    <a:pt x="23535" y="2750"/>
                  </a:lnTo>
                  <a:lnTo>
                    <a:pt x="23525" y="2750"/>
                  </a:lnTo>
                  <a:lnTo>
                    <a:pt x="23535" y="2755"/>
                  </a:lnTo>
                  <a:lnTo>
                    <a:pt x="23504" y="2750"/>
                  </a:lnTo>
                  <a:lnTo>
                    <a:pt x="23400" y="2832"/>
                  </a:lnTo>
                  <a:lnTo>
                    <a:pt x="23395" y="2849"/>
                  </a:lnTo>
                  <a:lnTo>
                    <a:pt x="23362" y="2849"/>
                  </a:lnTo>
                  <a:lnTo>
                    <a:pt x="23346" y="2866"/>
                  </a:lnTo>
                  <a:lnTo>
                    <a:pt x="23357" y="2849"/>
                  </a:lnTo>
                  <a:lnTo>
                    <a:pt x="23346" y="2844"/>
                  </a:lnTo>
                  <a:lnTo>
                    <a:pt x="23362" y="2821"/>
                  </a:lnTo>
                  <a:lnTo>
                    <a:pt x="23346" y="2821"/>
                  </a:lnTo>
                  <a:lnTo>
                    <a:pt x="23324" y="2828"/>
                  </a:lnTo>
                  <a:lnTo>
                    <a:pt x="23331" y="2809"/>
                  </a:lnTo>
                  <a:lnTo>
                    <a:pt x="23331" y="2792"/>
                  </a:lnTo>
                  <a:lnTo>
                    <a:pt x="23324" y="2792"/>
                  </a:lnTo>
                  <a:lnTo>
                    <a:pt x="23362" y="2738"/>
                  </a:lnTo>
                  <a:lnTo>
                    <a:pt x="23362" y="2717"/>
                  </a:lnTo>
                  <a:lnTo>
                    <a:pt x="23303" y="2750"/>
                  </a:lnTo>
                  <a:lnTo>
                    <a:pt x="23294" y="2721"/>
                  </a:lnTo>
                  <a:lnTo>
                    <a:pt x="23287" y="2721"/>
                  </a:lnTo>
                  <a:lnTo>
                    <a:pt x="23202" y="2738"/>
                  </a:lnTo>
                  <a:lnTo>
                    <a:pt x="23164" y="2733"/>
                  </a:lnTo>
                  <a:lnTo>
                    <a:pt x="23109" y="2766"/>
                  </a:lnTo>
                  <a:lnTo>
                    <a:pt x="23105" y="2804"/>
                  </a:lnTo>
                  <a:lnTo>
                    <a:pt x="23060" y="2821"/>
                  </a:lnTo>
                  <a:lnTo>
                    <a:pt x="23055" y="2832"/>
                  </a:lnTo>
                  <a:lnTo>
                    <a:pt x="23050" y="2849"/>
                  </a:lnTo>
                  <a:lnTo>
                    <a:pt x="22984" y="2887"/>
                  </a:lnTo>
                  <a:lnTo>
                    <a:pt x="22963" y="2915"/>
                  </a:lnTo>
                  <a:lnTo>
                    <a:pt x="22946" y="2936"/>
                  </a:lnTo>
                  <a:lnTo>
                    <a:pt x="22930" y="2943"/>
                  </a:lnTo>
                  <a:lnTo>
                    <a:pt x="22942" y="2972"/>
                  </a:lnTo>
                  <a:lnTo>
                    <a:pt x="22925" y="2988"/>
                  </a:lnTo>
                  <a:lnTo>
                    <a:pt x="22925" y="2993"/>
                  </a:lnTo>
                  <a:lnTo>
                    <a:pt x="22953" y="2993"/>
                  </a:lnTo>
                  <a:lnTo>
                    <a:pt x="22946" y="2977"/>
                  </a:lnTo>
                  <a:lnTo>
                    <a:pt x="22984" y="2988"/>
                  </a:lnTo>
                  <a:lnTo>
                    <a:pt x="23001" y="2998"/>
                  </a:lnTo>
                  <a:lnTo>
                    <a:pt x="22996" y="3014"/>
                  </a:lnTo>
                  <a:lnTo>
                    <a:pt x="22968" y="3026"/>
                  </a:lnTo>
                  <a:lnTo>
                    <a:pt x="22946" y="3014"/>
                  </a:lnTo>
                  <a:lnTo>
                    <a:pt x="22942" y="3014"/>
                  </a:lnTo>
                  <a:lnTo>
                    <a:pt x="22930" y="3031"/>
                  </a:lnTo>
                  <a:lnTo>
                    <a:pt x="22916" y="3031"/>
                  </a:lnTo>
                  <a:lnTo>
                    <a:pt x="22899" y="3014"/>
                  </a:lnTo>
                  <a:lnTo>
                    <a:pt x="22871" y="3010"/>
                  </a:lnTo>
                  <a:lnTo>
                    <a:pt x="22861" y="3026"/>
                  </a:lnTo>
                  <a:lnTo>
                    <a:pt x="22845" y="3031"/>
                  </a:lnTo>
                  <a:lnTo>
                    <a:pt x="22840" y="3047"/>
                  </a:lnTo>
                  <a:lnTo>
                    <a:pt x="22802" y="3031"/>
                  </a:lnTo>
                  <a:lnTo>
                    <a:pt x="22786" y="3043"/>
                  </a:lnTo>
                  <a:lnTo>
                    <a:pt x="22779" y="3047"/>
                  </a:lnTo>
                  <a:lnTo>
                    <a:pt x="22731" y="3059"/>
                  </a:lnTo>
                  <a:lnTo>
                    <a:pt x="22710" y="3026"/>
                  </a:lnTo>
                  <a:lnTo>
                    <a:pt x="22791" y="3014"/>
                  </a:lnTo>
                  <a:lnTo>
                    <a:pt x="22765" y="3010"/>
                  </a:lnTo>
                  <a:lnTo>
                    <a:pt x="22748" y="2988"/>
                  </a:lnTo>
                  <a:lnTo>
                    <a:pt x="22731" y="2977"/>
                  </a:lnTo>
                  <a:lnTo>
                    <a:pt x="22698" y="2977"/>
                  </a:lnTo>
                  <a:lnTo>
                    <a:pt x="22698" y="2988"/>
                  </a:lnTo>
                  <a:lnTo>
                    <a:pt x="22682" y="2993"/>
                  </a:lnTo>
                  <a:lnTo>
                    <a:pt x="22682" y="2988"/>
                  </a:lnTo>
                  <a:lnTo>
                    <a:pt x="22665" y="2988"/>
                  </a:lnTo>
                  <a:lnTo>
                    <a:pt x="22682" y="2977"/>
                  </a:lnTo>
                  <a:lnTo>
                    <a:pt x="22606" y="2953"/>
                  </a:lnTo>
                  <a:lnTo>
                    <a:pt x="22568" y="2972"/>
                  </a:lnTo>
                  <a:lnTo>
                    <a:pt x="22576" y="2993"/>
                  </a:lnTo>
                  <a:lnTo>
                    <a:pt x="22559" y="2993"/>
                  </a:lnTo>
                  <a:lnTo>
                    <a:pt x="22552" y="2977"/>
                  </a:lnTo>
                  <a:lnTo>
                    <a:pt x="22547" y="2988"/>
                  </a:lnTo>
                  <a:lnTo>
                    <a:pt x="22547" y="2998"/>
                  </a:lnTo>
                  <a:lnTo>
                    <a:pt x="22559" y="2998"/>
                  </a:lnTo>
                  <a:lnTo>
                    <a:pt x="22559" y="3010"/>
                  </a:lnTo>
                  <a:lnTo>
                    <a:pt x="22521" y="3010"/>
                  </a:lnTo>
                  <a:lnTo>
                    <a:pt x="22521" y="2993"/>
                  </a:lnTo>
                  <a:lnTo>
                    <a:pt x="22505" y="2993"/>
                  </a:lnTo>
                  <a:lnTo>
                    <a:pt x="22462" y="3010"/>
                  </a:lnTo>
                  <a:lnTo>
                    <a:pt x="22391" y="2993"/>
                  </a:lnTo>
                  <a:lnTo>
                    <a:pt x="22375" y="2993"/>
                  </a:lnTo>
                  <a:lnTo>
                    <a:pt x="22375" y="3014"/>
                  </a:lnTo>
                  <a:lnTo>
                    <a:pt x="22354" y="3026"/>
                  </a:lnTo>
                  <a:lnTo>
                    <a:pt x="22337" y="3010"/>
                  </a:lnTo>
                  <a:lnTo>
                    <a:pt x="22342" y="2993"/>
                  </a:lnTo>
                  <a:lnTo>
                    <a:pt x="22207" y="2993"/>
                  </a:lnTo>
                  <a:lnTo>
                    <a:pt x="22160" y="2998"/>
                  </a:lnTo>
                  <a:lnTo>
                    <a:pt x="22084" y="3031"/>
                  </a:lnTo>
                  <a:lnTo>
                    <a:pt x="22051" y="3071"/>
                  </a:lnTo>
                  <a:lnTo>
                    <a:pt x="21980" y="3121"/>
                  </a:lnTo>
                  <a:lnTo>
                    <a:pt x="21964" y="3158"/>
                  </a:lnTo>
                  <a:lnTo>
                    <a:pt x="21938" y="3175"/>
                  </a:lnTo>
                  <a:lnTo>
                    <a:pt x="21900" y="3215"/>
                  </a:lnTo>
                  <a:lnTo>
                    <a:pt x="21872" y="3225"/>
                  </a:lnTo>
                  <a:lnTo>
                    <a:pt x="21857" y="3248"/>
                  </a:lnTo>
                  <a:lnTo>
                    <a:pt x="21834" y="3248"/>
                  </a:lnTo>
                  <a:lnTo>
                    <a:pt x="21803" y="3293"/>
                  </a:lnTo>
                  <a:lnTo>
                    <a:pt x="21803" y="3303"/>
                  </a:lnTo>
                  <a:lnTo>
                    <a:pt x="21775" y="3336"/>
                  </a:lnTo>
                  <a:lnTo>
                    <a:pt x="21683" y="3397"/>
                  </a:lnTo>
                  <a:lnTo>
                    <a:pt x="21668" y="3421"/>
                  </a:lnTo>
                  <a:lnTo>
                    <a:pt x="21619" y="3437"/>
                  </a:lnTo>
                  <a:lnTo>
                    <a:pt x="21598" y="3458"/>
                  </a:lnTo>
                  <a:lnTo>
                    <a:pt x="21602" y="3475"/>
                  </a:lnTo>
                  <a:lnTo>
                    <a:pt x="21635" y="3491"/>
                  </a:lnTo>
                  <a:lnTo>
                    <a:pt x="21711" y="3487"/>
                  </a:lnTo>
                  <a:lnTo>
                    <a:pt x="21711" y="3491"/>
                  </a:lnTo>
                  <a:lnTo>
                    <a:pt x="21706" y="3508"/>
                  </a:lnTo>
                  <a:lnTo>
                    <a:pt x="21711" y="3532"/>
                  </a:lnTo>
                  <a:lnTo>
                    <a:pt x="21694" y="3558"/>
                  </a:lnTo>
                  <a:lnTo>
                    <a:pt x="21706" y="3569"/>
                  </a:lnTo>
                  <a:lnTo>
                    <a:pt x="21737" y="3565"/>
                  </a:lnTo>
                  <a:lnTo>
                    <a:pt x="21744" y="3548"/>
                  </a:lnTo>
                  <a:lnTo>
                    <a:pt x="21728" y="3532"/>
                  </a:lnTo>
                  <a:lnTo>
                    <a:pt x="21737" y="3532"/>
                  </a:lnTo>
                  <a:lnTo>
                    <a:pt x="21775" y="3515"/>
                  </a:lnTo>
                  <a:lnTo>
                    <a:pt x="21744" y="3541"/>
                  </a:lnTo>
                  <a:lnTo>
                    <a:pt x="21744" y="3548"/>
                  </a:lnTo>
                  <a:lnTo>
                    <a:pt x="21765" y="3558"/>
                  </a:lnTo>
                  <a:lnTo>
                    <a:pt x="21782" y="3558"/>
                  </a:lnTo>
                  <a:lnTo>
                    <a:pt x="21765" y="3565"/>
                  </a:lnTo>
                  <a:lnTo>
                    <a:pt x="21758" y="3581"/>
                  </a:lnTo>
                  <a:lnTo>
                    <a:pt x="21737" y="3586"/>
                  </a:lnTo>
                  <a:lnTo>
                    <a:pt x="21744" y="3598"/>
                  </a:lnTo>
                  <a:lnTo>
                    <a:pt x="21791" y="3598"/>
                  </a:lnTo>
                  <a:lnTo>
                    <a:pt x="21813" y="3581"/>
                  </a:lnTo>
                  <a:lnTo>
                    <a:pt x="21820" y="3565"/>
                  </a:lnTo>
                  <a:lnTo>
                    <a:pt x="21834" y="3548"/>
                  </a:lnTo>
                  <a:lnTo>
                    <a:pt x="21834" y="3569"/>
                  </a:lnTo>
                  <a:lnTo>
                    <a:pt x="21813" y="3598"/>
                  </a:lnTo>
                  <a:lnTo>
                    <a:pt x="21829" y="3598"/>
                  </a:lnTo>
                  <a:lnTo>
                    <a:pt x="21834" y="3581"/>
                  </a:lnTo>
                  <a:lnTo>
                    <a:pt x="21850" y="3548"/>
                  </a:lnTo>
                  <a:lnTo>
                    <a:pt x="21846" y="3525"/>
                  </a:lnTo>
                  <a:lnTo>
                    <a:pt x="21834" y="3525"/>
                  </a:lnTo>
                  <a:lnTo>
                    <a:pt x="21888" y="3532"/>
                  </a:lnTo>
                  <a:lnTo>
                    <a:pt x="21909" y="3515"/>
                  </a:lnTo>
                  <a:lnTo>
                    <a:pt x="21954" y="3548"/>
                  </a:lnTo>
                  <a:lnTo>
                    <a:pt x="21954" y="3565"/>
                  </a:lnTo>
                  <a:lnTo>
                    <a:pt x="21976" y="3586"/>
                  </a:lnTo>
                  <a:lnTo>
                    <a:pt x="22009" y="3598"/>
                  </a:lnTo>
                  <a:lnTo>
                    <a:pt x="21997" y="3603"/>
                  </a:lnTo>
                  <a:lnTo>
                    <a:pt x="22035" y="3619"/>
                  </a:lnTo>
                  <a:lnTo>
                    <a:pt x="22035" y="3636"/>
                  </a:lnTo>
                  <a:lnTo>
                    <a:pt x="22018" y="3643"/>
                  </a:lnTo>
                  <a:lnTo>
                    <a:pt x="22018" y="3652"/>
                  </a:lnTo>
                  <a:lnTo>
                    <a:pt x="21980" y="3636"/>
                  </a:lnTo>
                  <a:lnTo>
                    <a:pt x="22018" y="3669"/>
                  </a:lnTo>
                  <a:lnTo>
                    <a:pt x="22030" y="3680"/>
                  </a:lnTo>
                  <a:lnTo>
                    <a:pt x="22013" y="3709"/>
                  </a:lnTo>
                  <a:lnTo>
                    <a:pt x="22046" y="3725"/>
                  </a:lnTo>
                  <a:lnTo>
                    <a:pt x="22030" y="3747"/>
                  </a:lnTo>
                  <a:lnTo>
                    <a:pt x="22035" y="3751"/>
                  </a:lnTo>
                  <a:lnTo>
                    <a:pt x="21997" y="3780"/>
                  </a:lnTo>
                  <a:lnTo>
                    <a:pt x="21997" y="3791"/>
                  </a:lnTo>
                  <a:lnTo>
                    <a:pt x="21992" y="3803"/>
                  </a:lnTo>
                  <a:lnTo>
                    <a:pt x="21997" y="3803"/>
                  </a:lnTo>
                  <a:lnTo>
                    <a:pt x="21997" y="3808"/>
                  </a:lnTo>
                  <a:lnTo>
                    <a:pt x="21980" y="3808"/>
                  </a:lnTo>
                  <a:lnTo>
                    <a:pt x="21980" y="3846"/>
                  </a:lnTo>
                  <a:lnTo>
                    <a:pt x="21976" y="3858"/>
                  </a:lnTo>
                  <a:lnTo>
                    <a:pt x="21964" y="3862"/>
                  </a:lnTo>
                  <a:lnTo>
                    <a:pt x="21964" y="3919"/>
                  </a:lnTo>
                  <a:lnTo>
                    <a:pt x="21976" y="3931"/>
                  </a:lnTo>
                  <a:lnTo>
                    <a:pt x="21980" y="3931"/>
                  </a:lnTo>
                  <a:lnTo>
                    <a:pt x="21959" y="3947"/>
                  </a:lnTo>
                  <a:lnTo>
                    <a:pt x="21976" y="3973"/>
                  </a:lnTo>
                  <a:lnTo>
                    <a:pt x="21959" y="4006"/>
                  </a:lnTo>
                  <a:lnTo>
                    <a:pt x="21959" y="4030"/>
                  </a:lnTo>
                  <a:lnTo>
                    <a:pt x="21954" y="4047"/>
                  </a:lnTo>
                  <a:lnTo>
                    <a:pt x="21942" y="4080"/>
                  </a:lnTo>
                  <a:lnTo>
                    <a:pt x="21883" y="4141"/>
                  </a:lnTo>
                  <a:lnTo>
                    <a:pt x="21867" y="4174"/>
                  </a:lnTo>
                  <a:lnTo>
                    <a:pt x="21834" y="4207"/>
                  </a:lnTo>
                  <a:lnTo>
                    <a:pt x="21820" y="4252"/>
                  </a:lnTo>
                  <a:lnTo>
                    <a:pt x="21796" y="4285"/>
                  </a:lnTo>
                  <a:lnTo>
                    <a:pt x="21683" y="4413"/>
                  </a:lnTo>
                  <a:lnTo>
                    <a:pt x="21668" y="4434"/>
                  </a:lnTo>
                  <a:lnTo>
                    <a:pt x="21640" y="4451"/>
                  </a:lnTo>
                  <a:lnTo>
                    <a:pt x="21631" y="4474"/>
                  </a:lnTo>
                  <a:lnTo>
                    <a:pt x="21614" y="4484"/>
                  </a:lnTo>
                  <a:lnTo>
                    <a:pt x="21619" y="4491"/>
                  </a:lnTo>
                  <a:lnTo>
                    <a:pt x="21619" y="4500"/>
                  </a:lnTo>
                  <a:lnTo>
                    <a:pt x="21586" y="4524"/>
                  </a:lnTo>
                  <a:lnTo>
                    <a:pt x="21527" y="4562"/>
                  </a:lnTo>
                  <a:lnTo>
                    <a:pt x="21505" y="4578"/>
                  </a:lnTo>
                  <a:lnTo>
                    <a:pt x="21456" y="4595"/>
                  </a:lnTo>
                  <a:lnTo>
                    <a:pt x="21442" y="4595"/>
                  </a:lnTo>
                  <a:lnTo>
                    <a:pt x="21442" y="4583"/>
                  </a:lnTo>
                  <a:lnTo>
                    <a:pt x="21435" y="4595"/>
                  </a:lnTo>
                  <a:lnTo>
                    <a:pt x="21425" y="4578"/>
                  </a:lnTo>
                  <a:lnTo>
                    <a:pt x="21413" y="4583"/>
                  </a:lnTo>
                  <a:lnTo>
                    <a:pt x="21404" y="4578"/>
                  </a:lnTo>
                  <a:lnTo>
                    <a:pt x="21397" y="4583"/>
                  </a:lnTo>
                  <a:lnTo>
                    <a:pt x="21397" y="4545"/>
                  </a:lnTo>
                  <a:lnTo>
                    <a:pt x="21371" y="4562"/>
                  </a:lnTo>
                  <a:lnTo>
                    <a:pt x="21366" y="4562"/>
                  </a:lnTo>
                  <a:lnTo>
                    <a:pt x="21380" y="4540"/>
                  </a:lnTo>
                  <a:lnTo>
                    <a:pt x="21359" y="4540"/>
                  </a:lnTo>
                  <a:lnTo>
                    <a:pt x="21333" y="4578"/>
                  </a:lnTo>
                  <a:lnTo>
                    <a:pt x="21317" y="4583"/>
                  </a:lnTo>
                  <a:lnTo>
                    <a:pt x="21317" y="4611"/>
                  </a:lnTo>
                  <a:lnTo>
                    <a:pt x="21312" y="4602"/>
                  </a:lnTo>
                  <a:lnTo>
                    <a:pt x="21279" y="4595"/>
                  </a:lnTo>
                  <a:lnTo>
                    <a:pt x="21295" y="4611"/>
                  </a:lnTo>
                  <a:lnTo>
                    <a:pt x="21279" y="4635"/>
                  </a:lnTo>
                  <a:lnTo>
                    <a:pt x="21274" y="4618"/>
                  </a:lnTo>
                  <a:lnTo>
                    <a:pt x="21274" y="4602"/>
                  </a:lnTo>
                  <a:lnTo>
                    <a:pt x="21262" y="4595"/>
                  </a:lnTo>
                  <a:lnTo>
                    <a:pt x="21312" y="4578"/>
                  </a:lnTo>
                  <a:lnTo>
                    <a:pt x="21312" y="4562"/>
                  </a:lnTo>
                  <a:lnTo>
                    <a:pt x="21328" y="4540"/>
                  </a:lnTo>
                  <a:lnTo>
                    <a:pt x="21317" y="4524"/>
                  </a:lnTo>
                  <a:lnTo>
                    <a:pt x="21328" y="4474"/>
                  </a:lnTo>
                  <a:lnTo>
                    <a:pt x="21312" y="4417"/>
                  </a:lnTo>
                  <a:lnTo>
                    <a:pt x="21295" y="4401"/>
                  </a:lnTo>
                  <a:lnTo>
                    <a:pt x="21333" y="4396"/>
                  </a:lnTo>
                  <a:lnTo>
                    <a:pt x="21366" y="4363"/>
                  </a:lnTo>
                  <a:lnTo>
                    <a:pt x="21371" y="4373"/>
                  </a:lnTo>
                  <a:lnTo>
                    <a:pt x="21435" y="4389"/>
                  </a:lnTo>
                  <a:lnTo>
                    <a:pt x="21451" y="4380"/>
                  </a:lnTo>
                  <a:lnTo>
                    <a:pt x="21451" y="4356"/>
                  </a:lnTo>
                  <a:lnTo>
                    <a:pt x="21472" y="4340"/>
                  </a:lnTo>
                  <a:lnTo>
                    <a:pt x="21472" y="4318"/>
                  </a:lnTo>
                  <a:lnTo>
                    <a:pt x="21505" y="4278"/>
                  </a:lnTo>
                  <a:lnTo>
                    <a:pt x="21510" y="4269"/>
                  </a:lnTo>
                  <a:lnTo>
                    <a:pt x="21505" y="4262"/>
                  </a:lnTo>
                  <a:lnTo>
                    <a:pt x="21510" y="4245"/>
                  </a:lnTo>
                  <a:lnTo>
                    <a:pt x="21522" y="4207"/>
                  </a:lnTo>
                  <a:lnTo>
                    <a:pt x="21527" y="4207"/>
                  </a:lnTo>
                  <a:lnTo>
                    <a:pt x="21527" y="4179"/>
                  </a:lnTo>
                  <a:lnTo>
                    <a:pt x="21548" y="4167"/>
                  </a:lnTo>
                  <a:lnTo>
                    <a:pt x="21565" y="4151"/>
                  </a:lnTo>
                  <a:lnTo>
                    <a:pt x="21548" y="4117"/>
                  </a:lnTo>
                  <a:lnTo>
                    <a:pt x="21565" y="4096"/>
                  </a:lnTo>
                  <a:lnTo>
                    <a:pt x="21543" y="4084"/>
                  </a:lnTo>
                  <a:lnTo>
                    <a:pt x="21494" y="4096"/>
                  </a:lnTo>
                  <a:lnTo>
                    <a:pt x="21479" y="4117"/>
                  </a:lnTo>
                  <a:lnTo>
                    <a:pt x="21451" y="4113"/>
                  </a:lnTo>
                  <a:lnTo>
                    <a:pt x="21418" y="4134"/>
                  </a:lnTo>
                  <a:lnTo>
                    <a:pt x="21413" y="4151"/>
                  </a:lnTo>
                  <a:lnTo>
                    <a:pt x="21305" y="4151"/>
                  </a:lnTo>
                  <a:lnTo>
                    <a:pt x="21295" y="4125"/>
                  </a:lnTo>
                  <a:lnTo>
                    <a:pt x="21279" y="4113"/>
                  </a:lnTo>
                  <a:lnTo>
                    <a:pt x="21291" y="4096"/>
                  </a:lnTo>
                  <a:lnTo>
                    <a:pt x="21274" y="4063"/>
                  </a:lnTo>
                  <a:lnTo>
                    <a:pt x="21279" y="4040"/>
                  </a:lnTo>
                  <a:lnTo>
                    <a:pt x="21253" y="4040"/>
                  </a:lnTo>
                  <a:lnTo>
                    <a:pt x="21224" y="4023"/>
                  </a:lnTo>
                  <a:lnTo>
                    <a:pt x="21208" y="4006"/>
                  </a:lnTo>
                  <a:lnTo>
                    <a:pt x="21203" y="4002"/>
                  </a:lnTo>
                  <a:lnTo>
                    <a:pt x="21198" y="3990"/>
                  </a:lnTo>
                  <a:lnTo>
                    <a:pt x="21170" y="4002"/>
                  </a:lnTo>
                  <a:lnTo>
                    <a:pt x="21149" y="3973"/>
                  </a:lnTo>
                  <a:lnTo>
                    <a:pt x="21078" y="3973"/>
                  </a:lnTo>
                  <a:lnTo>
                    <a:pt x="21057" y="3952"/>
                  </a:lnTo>
                  <a:lnTo>
                    <a:pt x="21057" y="3931"/>
                  </a:lnTo>
                  <a:lnTo>
                    <a:pt x="21064" y="3914"/>
                  </a:lnTo>
                  <a:lnTo>
                    <a:pt x="21047" y="3903"/>
                  </a:lnTo>
                  <a:lnTo>
                    <a:pt x="21040" y="3891"/>
                  </a:lnTo>
                  <a:lnTo>
                    <a:pt x="21047" y="3879"/>
                  </a:lnTo>
                  <a:lnTo>
                    <a:pt x="21040" y="3862"/>
                  </a:lnTo>
                  <a:lnTo>
                    <a:pt x="21019" y="3836"/>
                  </a:lnTo>
                  <a:lnTo>
                    <a:pt x="21019" y="3808"/>
                  </a:lnTo>
                  <a:lnTo>
                    <a:pt x="21009" y="3820"/>
                  </a:lnTo>
                  <a:lnTo>
                    <a:pt x="21019" y="3803"/>
                  </a:lnTo>
                  <a:lnTo>
                    <a:pt x="21009" y="3803"/>
                  </a:lnTo>
                  <a:lnTo>
                    <a:pt x="21002" y="3768"/>
                  </a:lnTo>
                  <a:lnTo>
                    <a:pt x="20981" y="3747"/>
                  </a:lnTo>
                  <a:lnTo>
                    <a:pt x="20993" y="3730"/>
                  </a:lnTo>
                  <a:lnTo>
                    <a:pt x="20972" y="3730"/>
                  </a:lnTo>
                  <a:lnTo>
                    <a:pt x="20981" y="3709"/>
                  </a:lnTo>
                  <a:lnTo>
                    <a:pt x="20965" y="3692"/>
                  </a:lnTo>
                  <a:lnTo>
                    <a:pt x="20950" y="3692"/>
                  </a:lnTo>
                  <a:lnTo>
                    <a:pt x="20955" y="3676"/>
                  </a:lnTo>
                  <a:lnTo>
                    <a:pt x="20927" y="3659"/>
                  </a:lnTo>
                  <a:lnTo>
                    <a:pt x="20934" y="3652"/>
                  </a:lnTo>
                  <a:lnTo>
                    <a:pt x="20927" y="3643"/>
                  </a:lnTo>
                  <a:lnTo>
                    <a:pt x="20896" y="3624"/>
                  </a:lnTo>
                  <a:lnTo>
                    <a:pt x="20875" y="3636"/>
                  </a:lnTo>
                  <a:lnTo>
                    <a:pt x="20846" y="3624"/>
                  </a:lnTo>
                  <a:lnTo>
                    <a:pt x="20830" y="3614"/>
                  </a:lnTo>
                  <a:lnTo>
                    <a:pt x="20820" y="3614"/>
                  </a:lnTo>
                  <a:lnTo>
                    <a:pt x="20787" y="3598"/>
                  </a:lnTo>
                  <a:lnTo>
                    <a:pt x="20587" y="3619"/>
                  </a:lnTo>
                  <a:lnTo>
                    <a:pt x="20535" y="3669"/>
                  </a:lnTo>
                  <a:lnTo>
                    <a:pt x="20539" y="3692"/>
                  </a:lnTo>
                  <a:lnTo>
                    <a:pt x="20561" y="3680"/>
                  </a:lnTo>
                  <a:lnTo>
                    <a:pt x="20577" y="3692"/>
                  </a:lnTo>
                  <a:lnTo>
                    <a:pt x="20577" y="3714"/>
                  </a:lnTo>
                  <a:lnTo>
                    <a:pt x="20587" y="3730"/>
                  </a:lnTo>
                  <a:lnTo>
                    <a:pt x="20577" y="3751"/>
                  </a:lnTo>
                  <a:lnTo>
                    <a:pt x="20539" y="3780"/>
                  </a:lnTo>
                  <a:lnTo>
                    <a:pt x="20518" y="3836"/>
                  </a:lnTo>
                  <a:lnTo>
                    <a:pt x="20502" y="3846"/>
                  </a:lnTo>
                  <a:lnTo>
                    <a:pt x="20497" y="3862"/>
                  </a:lnTo>
                  <a:lnTo>
                    <a:pt x="20468" y="3895"/>
                  </a:lnTo>
                  <a:lnTo>
                    <a:pt x="20485" y="3903"/>
                  </a:lnTo>
                  <a:lnTo>
                    <a:pt x="20485" y="3931"/>
                  </a:lnTo>
                  <a:lnTo>
                    <a:pt x="20468" y="3936"/>
                  </a:lnTo>
                  <a:lnTo>
                    <a:pt x="20431" y="3947"/>
                  </a:lnTo>
                  <a:lnTo>
                    <a:pt x="20388" y="3985"/>
                  </a:lnTo>
                  <a:lnTo>
                    <a:pt x="20301" y="3952"/>
                  </a:lnTo>
                  <a:lnTo>
                    <a:pt x="20291" y="3947"/>
                  </a:lnTo>
                  <a:lnTo>
                    <a:pt x="20270" y="3936"/>
                  </a:lnTo>
                  <a:lnTo>
                    <a:pt x="20232" y="3947"/>
                  </a:lnTo>
                  <a:lnTo>
                    <a:pt x="20209" y="3947"/>
                  </a:lnTo>
                  <a:lnTo>
                    <a:pt x="20171" y="3914"/>
                  </a:lnTo>
                  <a:lnTo>
                    <a:pt x="20128" y="3903"/>
                  </a:lnTo>
                  <a:lnTo>
                    <a:pt x="20053" y="3952"/>
                  </a:lnTo>
                  <a:lnTo>
                    <a:pt x="20048" y="3973"/>
                  </a:lnTo>
                  <a:lnTo>
                    <a:pt x="19923" y="4002"/>
                  </a:lnTo>
                  <a:lnTo>
                    <a:pt x="19885" y="4014"/>
                  </a:lnTo>
                  <a:lnTo>
                    <a:pt x="19800" y="4006"/>
                  </a:lnTo>
                  <a:lnTo>
                    <a:pt x="19779" y="3990"/>
                  </a:lnTo>
                  <a:lnTo>
                    <a:pt x="19729" y="4002"/>
                  </a:lnTo>
                  <a:lnTo>
                    <a:pt x="19687" y="3969"/>
                  </a:lnTo>
                  <a:lnTo>
                    <a:pt x="19691" y="3947"/>
                  </a:lnTo>
                  <a:lnTo>
                    <a:pt x="19628" y="3936"/>
                  </a:lnTo>
                  <a:lnTo>
                    <a:pt x="19620" y="3919"/>
                  </a:lnTo>
                  <a:lnTo>
                    <a:pt x="19599" y="3903"/>
                  </a:lnTo>
                  <a:lnTo>
                    <a:pt x="19566" y="3903"/>
                  </a:lnTo>
                  <a:lnTo>
                    <a:pt x="19552" y="3895"/>
                  </a:lnTo>
                  <a:lnTo>
                    <a:pt x="19507" y="3891"/>
                  </a:lnTo>
                  <a:lnTo>
                    <a:pt x="19439" y="3903"/>
                  </a:lnTo>
                  <a:lnTo>
                    <a:pt x="19410" y="3919"/>
                  </a:lnTo>
                  <a:lnTo>
                    <a:pt x="19401" y="3919"/>
                  </a:lnTo>
                  <a:lnTo>
                    <a:pt x="19389" y="3919"/>
                  </a:lnTo>
                  <a:lnTo>
                    <a:pt x="19356" y="3919"/>
                  </a:lnTo>
                  <a:lnTo>
                    <a:pt x="19351" y="3903"/>
                  </a:lnTo>
                  <a:lnTo>
                    <a:pt x="19335" y="3903"/>
                  </a:lnTo>
                  <a:lnTo>
                    <a:pt x="19292" y="3879"/>
                  </a:lnTo>
                  <a:lnTo>
                    <a:pt x="19297" y="3862"/>
                  </a:lnTo>
                  <a:lnTo>
                    <a:pt x="19280" y="3858"/>
                  </a:lnTo>
                  <a:lnTo>
                    <a:pt x="19292" y="3841"/>
                  </a:lnTo>
                  <a:lnTo>
                    <a:pt x="19280" y="3825"/>
                  </a:lnTo>
                  <a:lnTo>
                    <a:pt x="19280" y="3808"/>
                  </a:lnTo>
                  <a:lnTo>
                    <a:pt x="19243" y="3791"/>
                  </a:lnTo>
                  <a:lnTo>
                    <a:pt x="19226" y="3803"/>
                  </a:lnTo>
                  <a:lnTo>
                    <a:pt x="19167" y="3768"/>
                  </a:lnTo>
                  <a:lnTo>
                    <a:pt x="19129" y="3768"/>
                  </a:lnTo>
                  <a:lnTo>
                    <a:pt x="19049" y="3730"/>
                  </a:lnTo>
                  <a:lnTo>
                    <a:pt x="19032" y="3763"/>
                  </a:lnTo>
                  <a:lnTo>
                    <a:pt x="19011" y="3768"/>
                  </a:lnTo>
                  <a:lnTo>
                    <a:pt x="19006" y="3791"/>
                  </a:lnTo>
                  <a:lnTo>
                    <a:pt x="18990" y="3791"/>
                  </a:lnTo>
                  <a:lnTo>
                    <a:pt x="18973" y="3841"/>
                  </a:lnTo>
                  <a:lnTo>
                    <a:pt x="18990" y="3858"/>
                  </a:lnTo>
                  <a:lnTo>
                    <a:pt x="18990" y="3862"/>
                  </a:lnTo>
                  <a:lnTo>
                    <a:pt x="18990" y="3874"/>
                  </a:lnTo>
                  <a:lnTo>
                    <a:pt x="19011" y="3891"/>
                  </a:lnTo>
                  <a:lnTo>
                    <a:pt x="19011" y="3903"/>
                  </a:lnTo>
                  <a:lnTo>
                    <a:pt x="18994" y="3931"/>
                  </a:lnTo>
                  <a:lnTo>
                    <a:pt x="18969" y="3936"/>
                  </a:lnTo>
                  <a:lnTo>
                    <a:pt x="18940" y="3957"/>
                  </a:lnTo>
                  <a:lnTo>
                    <a:pt x="18919" y="3947"/>
                  </a:lnTo>
                  <a:lnTo>
                    <a:pt x="18886" y="3952"/>
                  </a:lnTo>
                  <a:lnTo>
                    <a:pt x="18848" y="3936"/>
                  </a:lnTo>
                  <a:lnTo>
                    <a:pt x="18843" y="3947"/>
                  </a:lnTo>
                  <a:lnTo>
                    <a:pt x="18834" y="3936"/>
                  </a:lnTo>
                  <a:lnTo>
                    <a:pt x="18810" y="3947"/>
                  </a:lnTo>
                  <a:lnTo>
                    <a:pt x="18780" y="3936"/>
                  </a:lnTo>
                  <a:lnTo>
                    <a:pt x="18772" y="3931"/>
                  </a:lnTo>
                  <a:lnTo>
                    <a:pt x="18751" y="3936"/>
                  </a:lnTo>
                  <a:lnTo>
                    <a:pt x="18735" y="3914"/>
                  </a:lnTo>
                  <a:lnTo>
                    <a:pt x="18725" y="3879"/>
                  </a:lnTo>
                  <a:lnTo>
                    <a:pt x="18645" y="3879"/>
                  </a:lnTo>
                  <a:lnTo>
                    <a:pt x="18633" y="3874"/>
                  </a:lnTo>
                  <a:lnTo>
                    <a:pt x="18633" y="3858"/>
                  </a:lnTo>
                  <a:lnTo>
                    <a:pt x="18628" y="3858"/>
                  </a:lnTo>
                  <a:lnTo>
                    <a:pt x="18612" y="3874"/>
                  </a:lnTo>
                  <a:lnTo>
                    <a:pt x="18591" y="3858"/>
                  </a:lnTo>
                  <a:lnTo>
                    <a:pt x="18579" y="3862"/>
                  </a:lnTo>
                  <a:lnTo>
                    <a:pt x="18546" y="3874"/>
                  </a:lnTo>
                  <a:lnTo>
                    <a:pt x="18524" y="3891"/>
                  </a:lnTo>
                  <a:lnTo>
                    <a:pt x="18494" y="3895"/>
                  </a:lnTo>
                  <a:lnTo>
                    <a:pt x="18482" y="3914"/>
                  </a:lnTo>
                  <a:lnTo>
                    <a:pt x="18432" y="3931"/>
                  </a:lnTo>
                  <a:lnTo>
                    <a:pt x="18428" y="3936"/>
                  </a:lnTo>
                  <a:lnTo>
                    <a:pt x="18402" y="3947"/>
                  </a:lnTo>
                  <a:lnTo>
                    <a:pt x="18411" y="3957"/>
                  </a:lnTo>
                  <a:lnTo>
                    <a:pt x="18380" y="3973"/>
                  </a:lnTo>
                  <a:lnTo>
                    <a:pt x="18373" y="3969"/>
                  </a:lnTo>
                  <a:lnTo>
                    <a:pt x="18373" y="3985"/>
                  </a:lnTo>
                  <a:lnTo>
                    <a:pt x="18357" y="3985"/>
                  </a:lnTo>
                  <a:lnTo>
                    <a:pt x="18347" y="3973"/>
                  </a:lnTo>
                  <a:lnTo>
                    <a:pt x="18347" y="3990"/>
                  </a:lnTo>
                  <a:lnTo>
                    <a:pt x="18305" y="3985"/>
                  </a:lnTo>
                  <a:lnTo>
                    <a:pt x="18293" y="3990"/>
                  </a:lnTo>
                  <a:lnTo>
                    <a:pt x="18293" y="4006"/>
                  </a:lnTo>
                  <a:lnTo>
                    <a:pt x="18276" y="4014"/>
                  </a:lnTo>
                  <a:lnTo>
                    <a:pt x="18239" y="4023"/>
                  </a:lnTo>
                  <a:lnTo>
                    <a:pt x="18239" y="4006"/>
                  </a:lnTo>
                  <a:lnTo>
                    <a:pt x="18213" y="4002"/>
                  </a:lnTo>
                  <a:lnTo>
                    <a:pt x="18213" y="3985"/>
                  </a:lnTo>
                  <a:lnTo>
                    <a:pt x="18184" y="3973"/>
                  </a:lnTo>
                  <a:lnTo>
                    <a:pt x="18201" y="3957"/>
                  </a:lnTo>
                  <a:lnTo>
                    <a:pt x="18201" y="3952"/>
                  </a:lnTo>
                  <a:lnTo>
                    <a:pt x="18184" y="3952"/>
                  </a:lnTo>
                  <a:lnTo>
                    <a:pt x="18163" y="3985"/>
                  </a:lnTo>
                  <a:lnTo>
                    <a:pt x="18125" y="3973"/>
                  </a:lnTo>
                  <a:lnTo>
                    <a:pt x="18092" y="3973"/>
                  </a:lnTo>
                  <a:lnTo>
                    <a:pt x="18087" y="3947"/>
                  </a:lnTo>
                  <a:lnTo>
                    <a:pt x="18078" y="3947"/>
                  </a:lnTo>
                  <a:lnTo>
                    <a:pt x="18078" y="3936"/>
                  </a:lnTo>
                  <a:lnTo>
                    <a:pt x="18078" y="3931"/>
                  </a:lnTo>
                  <a:lnTo>
                    <a:pt x="18033" y="3914"/>
                  </a:lnTo>
                  <a:lnTo>
                    <a:pt x="18002" y="3858"/>
                  </a:lnTo>
                  <a:lnTo>
                    <a:pt x="17969" y="3841"/>
                  </a:lnTo>
                  <a:lnTo>
                    <a:pt x="17915" y="3846"/>
                  </a:lnTo>
                  <a:lnTo>
                    <a:pt x="17915" y="3858"/>
                  </a:lnTo>
                  <a:lnTo>
                    <a:pt x="17898" y="3862"/>
                  </a:lnTo>
                  <a:lnTo>
                    <a:pt x="17835" y="3862"/>
                  </a:lnTo>
                  <a:lnTo>
                    <a:pt x="17823" y="3841"/>
                  </a:lnTo>
                  <a:lnTo>
                    <a:pt x="17802" y="3846"/>
                  </a:lnTo>
                  <a:lnTo>
                    <a:pt x="17806" y="3825"/>
                  </a:lnTo>
                  <a:lnTo>
                    <a:pt x="17780" y="3808"/>
                  </a:lnTo>
                  <a:lnTo>
                    <a:pt x="17769" y="3820"/>
                  </a:lnTo>
                  <a:lnTo>
                    <a:pt x="17752" y="3825"/>
                  </a:lnTo>
                  <a:lnTo>
                    <a:pt x="17764" y="3841"/>
                  </a:lnTo>
                  <a:lnTo>
                    <a:pt x="17731" y="3858"/>
                  </a:lnTo>
                  <a:lnTo>
                    <a:pt x="17731" y="3862"/>
                  </a:lnTo>
                  <a:lnTo>
                    <a:pt x="17575" y="3619"/>
                  </a:lnTo>
                  <a:lnTo>
                    <a:pt x="17483" y="3548"/>
                  </a:lnTo>
                  <a:lnTo>
                    <a:pt x="17478" y="3532"/>
                  </a:lnTo>
                  <a:lnTo>
                    <a:pt x="17495" y="3532"/>
                  </a:lnTo>
                  <a:lnTo>
                    <a:pt x="17511" y="3525"/>
                  </a:lnTo>
                  <a:lnTo>
                    <a:pt x="17499" y="3508"/>
                  </a:lnTo>
                  <a:lnTo>
                    <a:pt x="17478" y="3515"/>
                  </a:lnTo>
                  <a:lnTo>
                    <a:pt x="17461" y="3515"/>
                  </a:lnTo>
                  <a:lnTo>
                    <a:pt x="17461" y="3525"/>
                  </a:lnTo>
                  <a:lnTo>
                    <a:pt x="17407" y="3541"/>
                  </a:lnTo>
                  <a:lnTo>
                    <a:pt x="17402" y="3541"/>
                  </a:lnTo>
                  <a:lnTo>
                    <a:pt x="17407" y="3548"/>
                  </a:lnTo>
                  <a:lnTo>
                    <a:pt x="17374" y="3569"/>
                  </a:lnTo>
                  <a:lnTo>
                    <a:pt x="17360" y="3565"/>
                  </a:lnTo>
                  <a:lnTo>
                    <a:pt x="17353" y="3581"/>
                  </a:lnTo>
                  <a:lnTo>
                    <a:pt x="17336" y="3581"/>
                  </a:lnTo>
                  <a:lnTo>
                    <a:pt x="17336" y="3603"/>
                  </a:lnTo>
                  <a:lnTo>
                    <a:pt x="17322" y="3586"/>
                  </a:lnTo>
                  <a:lnTo>
                    <a:pt x="17298" y="3586"/>
                  </a:lnTo>
                  <a:lnTo>
                    <a:pt x="17284" y="3586"/>
                  </a:lnTo>
                  <a:lnTo>
                    <a:pt x="17268" y="3603"/>
                  </a:lnTo>
                  <a:lnTo>
                    <a:pt x="17251" y="3586"/>
                  </a:lnTo>
                  <a:lnTo>
                    <a:pt x="17268" y="3565"/>
                  </a:lnTo>
                  <a:lnTo>
                    <a:pt x="17284" y="3565"/>
                  </a:lnTo>
                  <a:lnTo>
                    <a:pt x="17294" y="3541"/>
                  </a:lnTo>
                  <a:lnTo>
                    <a:pt x="17251" y="3558"/>
                  </a:lnTo>
                  <a:lnTo>
                    <a:pt x="17239" y="3548"/>
                  </a:lnTo>
                  <a:lnTo>
                    <a:pt x="17230" y="3541"/>
                  </a:lnTo>
                  <a:lnTo>
                    <a:pt x="17209" y="3532"/>
                  </a:lnTo>
                  <a:lnTo>
                    <a:pt x="17197" y="3548"/>
                  </a:lnTo>
                  <a:lnTo>
                    <a:pt x="17213" y="3541"/>
                  </a:lnTo>
                  <a:lnTo>
                    <a:pt x="17213" y="3558"/>
                  </a:lnTo>
                  <a:lnTo>
                    <a:pt x="17197" y="3558"/>
                  </a:lnTo>
                  <a:lnTo>
                    <a:pt x="17192" y="3558"/>
                  </a:lnTo>
                  <a:lnTo>
                    <a:pt x="17197" y="3532"/>
                  </a:lnTo>
                  <a:lnTo>
                    <a:pt x="17185" y="3532"/>
                  </a:lnTo>
                  <a:lnTo>
                    <a:pt x="17192" y="3525"/>
                  </a:lnTo>
                  <a:lnTo>
                    <a:pt x="17176" y="3515"/>
                  </a:lnTo>
                  <a:lnTo>
                    <a:pt x="17171" y="3508"/>
                  </a:lnTo>
                  <a:lnTo>
                    <a:pt x="17176" y="3541"/>
                  </a:lnTo>
                  <a:lnTo>
                    <a:pt x="17143" y="3525"/>
                  </a:lnTo>
                  <a:lnTo>
                    <a:pt x="17138" y="3541"/>
                  </a:lnTo>
                  <a:lnTo>
                    <a:pt x="17121" y="3532"/>
                  </a:lnTo>
                  <a:lnTo>
                    <a:pt x="17105" y="3541"/>
                  </a:lnTo>
                  <a:lnTo>
                    <a:pt x="17088" y="3515"/>
                  </a:lnTo>
                  <a:lnTo>
                    <a:pt x="17105" y="3515"/>
                  </a:lnTo>
                  <a:lnTo>
                    <a:pt x="17105" y="3491"/>
                  </a:lnTo>
                  <a:lnTo>
                    <a:pt x="17117" y="3487"/>
                  </a:lnTo>
                  <a:lnTo>
                    <a:pt x="17100" y="3470"/>
                  </a:lnTo>
                  <a:lnTo>
                    <a:pt x="17088" y="3447"/>
                  </a:lnTo>
                  <a:lnTo>
                    <a:pt x="17083" y="3421"/>
                  </a:lnTo>
                  <a:lnTo>
                    <a:pt x="17062" y="3421"/>
                  </a:lnTo>
                  <a:lnTo>
                    <a:pt x="17046" y="3437"/>
                  </a:lnTo>
                  <a:lnTo>
                    <a:pt x="16996" y="3414"/>
                  </a:lnTo>
                  <a:lnTo>
                    <a:pt x="16975" y="3414"/>
                  </a:lnTo>
                  <a:lnTo>
                    <a:pt x="16970" y="3421"/>
                  </a:lnTo>
                  <a:lnTo>
                    <a:pt x="16954" y="3404"/>
                  </a:lnTo>
                  <a:lnTo>
                    <a:pt x="16954" y="3421"/>
                  </a:lnTo>
                  <a:lnTo>
                    <a:pt x="16937" y="3414"/>
                  </a:lnTo>
                  <a:lnTo>
                    <a:pt x="16928" y="3430"/>
                  </a:lnTo>
                  <a:lnTo>
                    <a:pt x="16899" y="3430"/>
                  </a:lnTo>
                  <a:lnTo>
                    <a:pt x="16906" y="3447"/>
                  </a:lnTo>
                  <a:lnTo>
                    <a:pt x="16899" y="3454"/>
                  </a:lnTo>
                  <a:lnTo>
                    <a:pt x="16883" y="3454"/>
                  </a:lnTo>
                  <a:lnTo>
                    <a:pt x="16852" y="3470"/>
                  </a:lnTo>
                  <a:lnTo>
                    <a:pt x="16743" y="3491"/>
                  </a:lnTo>
                  <a:lnTo>
                    <a:pt x="16743" y="3475"/>
                  </a:lnTo>
                  <a:lnTo>
                    <a:pt x="16727" y="3491"/>
                  </a:lnTo>
                  <a:lnTo>
                    <a:pt x="16706" y="3487"/>
                  </a:lnTo>
                  <a:lnTo>
                    <a:pt x="16689" y="3503"/>
                  </a:lnTo>
                  <a:lnTo>
                    <a:pt x="16689" y="3515"/>
                  </a:lnTo>
                  <a:lnTo>
                    <a:pt x="16668" y="3508"/>
                  </a:lnTo>
                  <a:lnTo>
                    <a:pt x="16604" y="3515"/>
                  </a:lnTo>
                  <a:lnTo>
                    <a:pt x="16604" y="3525"/>
                  </a:lnTo>
                  <a:lnTo>
                    <a:pt x="16597" y="3532"/>
                  </a:lnTo>
                  <a:lnTo>
                    <a:pt x="16580" y="3525"/>
                  </a:lnTo>
                  <a:lnTo>
                    <a:pt x="16543" y="3532"/>
                  </a:lnTo>
                  <a:lnTo>
                    <a:pt x="16543" y="3541"/>
                  </a:lnTo>
                  <a:lnTo>
                    <a:pt x="16505" y="3548"/>
                  </a:lnTo>
                  <a:lnTo>
                    <a:pt x="16505" y="3565"/>
                  </a:lnTo>
                  <a:lnTo>
                    <a:pt x="16491" y="3548"/>
                  </a:lnTo>
                  <a:lnTo>
                    <a:pt x="16467" y="3548"/>
                  </a:lnTo>
                  <a:lnTo>
                    <a:pt x="16467" y="3558"/>
                  </a:lnTo>
                  <a:lnTo>
                    <a:pt x="16420" y="3541"/>
                  </a:lnTo>
                  <a:lnTo>
                    <a:pt x="16398" y="3558"/>
                  </a:lnTo>
                  <a:lnTo>
                    <a:pt x="16398" y="3565"/>
                  </a:lnTo>
                  <a:lnTo>
                    <a:pt x="16415" y="3569"/>
                  </a:lnTo>
                  <a:lnTo>
                    <a:pt x="16398" y="3586"/>
                  </a:lnTo>
                  <a:lnTo>
                    <a:pt x="16387" y="3586"/>
                  </a:lnTo>
                  <a:lnTo>
                    <a:pt x="16424" y="3586"/>
                  </a:lnTo>
                  <a:lnTo>
                    <a:pt x="16436" y="3598"/>
                  </a:lnTo>
                  <a:lnTo>
                    <a:pt x="16420" y="3603"/>
                  </a:lnTo>
                  <a:lnTo>
                    <a:pt x="16415" y="3598"/>
                  </a:lnTo>
                  <a:lnTo>
                    <a:pt x="16403" y="3619"/>
                  </a:lnTo>
                  <a:lnTo>
                    <a:pt x="16474" y="3636"/>
                  </a:lnTo>
                  <a:lnTo>
                    <a:pt x="16474" y="3652"/>
                  </a:lnTo>
                  <a:lnTo>
                    <a:pt x="16458" y="3652"/>
                  </a:lnTo>
                  <a:lnTo>
                    <a:pt x="16424" y="3643"/>
                  </a:lnTo>
                  <a:lnTo>
                    <a:pt x="16398" y="3652"/>
                  </a:lnTo>
                  <a:lnTo>
                    <a:pt x="16370" y="3680"/>
                  </a:lnTo>
                  <a:lnTo>
                    <a:pt x="16382" y="3680"/>
                  </a:lnTo>
                  <a:lnTo>
                    <a:pt x="16382" y="3692"/>
                  </a:lnTo>
                  <a:lnTo>
                    <a:pt x="16387" y="3697"/>
                  </a:lnTo>
                  <a:lnTo>
                    <a:pt x="16398" y="3714"/>
                  </a:lnTo>
                  <a:lnTo>
                    <a:pt x="16370" y="3730"/>
                  </a:lnTo>
                  <a:lnTo>
                    <a:pt x="16361" y="3730"/>
                  </a:lnTo>
                  <a:lnTo>
                    <a:pt x="16316" y="3747"/>
                  </a:lnTo>
                  <a:lnTo>
                    <a:pt x="16328" y="3751"/>
                  </a:lnTo>
                  <a:lnTo>
                    <a:pt x="16361" y="3763"/>
                  </a:lnTo>
                  <a:lnTo>
                    <a:pt x="16349" y="3780"/>
                  </a:lnTo>
                  <a:lnTo>
                    <a:pt x="16387" y="3787"/>
                  </a:lnTo>
                  <a:lnTo>
                    <a:pt x="16387" y="3791"/>
                  </a:lnTo>
                  <a:lnTo>
                    <a:pt x="16424" y="3803"/>
                  </a:lnTo>
                  <a:lnTo>
                    <a:pt x="16441" y="3820"/>
                  </a:lnTo>
                  <a:lnTo>
                    <a:pt x="16436" y="3820"/>
                  </a:lnTo>
                  <a:lnTo>
                    <a:pt x="16420" y="3862"/>
                  </a:lnTo>
                  <a:lnTo>
                    <a:pt x="16370" y="3874"/>
                  </a:lnTo>
                  <a:lnTo>
                    <a:pt x="16344" y="3874"/>
                  </a:lnTo>
                  <a:lnTo>
                    <a:pt x="16328" y="3858"/>
                  </a:lnTo>
                  <a:lnTo>
                    <a:pt x="16311" y="3879"/>
                  </a:lnTo>
                  <a:lnTo>
                    <a:pt x="16290" y="3891"/>
                  </a:lnTo>
                  <a:lnTo>
                    <a:pt x="16295" y="3879"/>
                  </a:lnTo>
                  <a:lnTo>
                    <a:pt x="16290" y="3874"/>
                  </a:lnTo>
                  <a:lnTo>
                    <a:pt x="16252" y="3874"/>
                  </a:lnTo>
                  <a:lnTo>
                    <a:pt x="16226" y="3858"/>
                  </a:lnTo>
                  <a:lnTo>
                    <a:pt x="16219" y="3846"/>
                  </a:lnTo>
                  <a:lnTo>
                    <a:pt x="16226" y="3836"/>
                  </a:lnTo>
                  <a:lnTo>
                    <a:pt x="16202" y="3825"/>
                  </a:lnTo>
                  <a:lnTo>
                    <a:pt x="16198" y="3836"/>
                  </a:lnTo>
                  <a:lnTo>
                    <a:pt x="16165" y="3836"/>
                  </a:lnTo>
                  <a:lnTo>
                    <a:pt x="16165" y="3846"/>
                  </a:lnTo>
                  <a:lnTo>
                    <a:pt x="16150" y="3858"/>
                  </a:lnTo>
                  <a:lnTo>
                    <a:pt x="16117" y="3836"/>
                  </a:lnTo>
                  <a:lnTo>
                    <a:pt x="16096" y="3836"/>
                  </a:lnTo>
                  <a:lnTo>
                    <a:pt x="16089" y="3836"/>
                  </a:lnTo>
                  <a:lnTo>
                    <a:pt x="16096" y="3841"/>
                  </a:lnTo>
                  <a:lnTo>
                    <a:pt x="16080" y="3836"/>
                  </a:lnTo>
                  <a:lnTo>
                    <a:pt x="16063" y="3846"/>
                  </a:lnTo>
                  <a:lnTo>
                    <a:pt x="16058" y="3846"/>
                  </a:lnTo>
                  <a:lnTo>
                    <a:pt x="16047" y="3862"/>
                  </a:lnTo>
                  <a:lnTo>
                    <a:pt x="16021" y="3891"/>
                  </a:lnTo>
                  <a:lnTo>
                    <a:pt x="15950" y="3836"/>
                  </a:lnTo>
                  <a:lnTo>
                    <a:pt x="15938" y="3841"/>
                  </a:lnTo>
                  <a:lnTo>
                    <a:pt x="15938" y="3846"/>
                  </a:lnTo>
                  <a:lnTo>
                    <a:pt x="15950" y="3846"/>
                  </a:lnTo>
                  <a:lnTo>
                    <a:pt x="15950" y="3879"/>
                  </a:lnTo>
                  <a:lnTo>
                    <a:pt x="15938" y="3891"/>
                  </a:lnTo>
                  <a:lnTo>
                    <a:pt x="15933" y="3874"/>
                  </a:lnTo>
                  <a:lnTo>
                    <a:pt x="15938" y="3858"/>
                  </a:lnTo>
                  <a:lnTo>
                    <a:pt x="15928" y="3846"/>
                  </a:lnTo>
                  <a:lnTo>
                    <a:pt x="15900" y="3825"/>
                  </a:lnTo>
                  <a:lnTo>
                    <a:pt x="15879" y="3820"/>
                  </a:lnTo>
                  <a:lnTo>
                    <a:pt x="15879" y="3803"/>
                  </a:lnTo>
                  <a:lnTo>
                    <a:pt x="15862" y="3791"/>
                  </a:lnTo>
                  <a:lnTo>
                    <a:pt x="15803" y="3791"/>
                  </a:lnTo>
                  <a:lnTo>
                    <a:pt x="15787" y="3768"/>
                  </a:lnTo>
                  <a:lnTo>
                    <a:pt x="15772" y="3780"/>
                  </a:lnTo>
                  <a:lnTo>
                    <a:pt x="15756" y="3780"/>
                  </a:lnTo>
                  <a:lnTo>
                    <a:pt x="15749" y="3787"/>
                  </a:lnTo>
                  <a:lnTo>
                    <a:pt x="15749" y="3791"/>
                  </a:lnTo>
                  <a:lnTo>
                    <a:pt x="15739" y="3791"/>
                  </a:lnTo>
                  <a:lnTo>
                    <a:pt x="15711" y="3791"/>
                  </a:lnTo>
                  <a:lnTo>
                    <a:pt x="15711" y="3787"/>
                  </a:lnTo>
                  <a:lnTo>
                    <a:pt x="15718" y="3787"/>
                  </a:lnTo>
                  <a:lnTo>
                    <a:pt x="15718" y="3780"/>
                  </a:lnTo>
                  <a:lnTo>
                    <a:pt x="15680" y="3768"/>
                  </a:lnTo>
                  <a:lnTo>
                    <a:pt x="15680" y="3787"/>
                  </a:lnTo>
                  <a:lnTo>
                    <a:pt x="15664" y="3780"/>
                  </a:lnTo>
                  <a:lnTo>
                    <a:pt x="15664" y="3791"/>
                  </a:lnTo>
                  <a:lnTo>
                    <a:pt x="15647" y="3803"/>
                  </a:lnTo>
                  <a:lnTo>
                    <a:pt x="15647" y="3808"/>
                  </a:lnTo>
                  <a:lnTo>
                    <a:pt x="15609" y="3836"/>
                  </a:lnTo>
                  <a:lnTo>
                    <a:pt x="15588" y="3825"/>
                  </a:lnTo>
                  <a:lnTo>
                    <a:pt x="15576" y="3841"/>
                  </a:lnTo>
                  <a:lnTo>
                    <a:pt x="15576" y="3858"/>
                  </a:lnTo>
                  <a:lnTo>
                    <a:pt x="15534" y="3879"/>
                  </a:lnTo>
                  <a:lnTo>
                    <a:pt x="15534" y="3914"/>
                  </a:lnTo>
                  <a:lnTo>
                    <a:pt x="15550" y="3931"/>
                  </a:lnTo>
                  <a:lnTo>
                    <a:pt x="15539" y="3947"/>
                  </a:lnTo>
                  <a:lnTo>
                    <a:pt x="15508" y="3952"/>
                  </a:lnTo>
                  <a:lnTo>
                    <a:pt x="15501" y="3947"/>
                  </a:lnTo>
                  <a:lnTo>
                    <a:pt x="15480" y="3914"/>
                  </a:lnTo>
                  <a:lnTo>
                    <a:pt x="15454" y="3891"/>
                  </a:lnTo>
                  <a:lnTo>
                    <a:pt x="15447" y="3895"/>
                  </a:lnTo>
                  <a:lnTo>
                    <a:pt x="15432" y="3903"/>
                  </a:lnTo>
                  <a:lnTo>
                    <a:pt x="15432" y="3931"/>
                  </a:lnTo>
                  <a:lnTo>
                    <a:pt x="15409" y="3952"/>
                  </a:lnTo>
                  <a:lnTo>
                    <a:pt x="15395" y="4002"/>
                  </a:lnTo>
                  <a:lnTo>
                    <a:pt x="15416" y="4014"/>
                  </a:lnTo>
                  <a:lnTo>
                    <a:pt x="15395" y="4030"/>
                  </a:lnTo>
                  <a:lnTo>
                    <a:pt x="15378" y="4080"/>
                  </a:lnTo>
                  <a:lnTo>
                    <a:pt x="15416" y="4096"/>
                  </a:lnTo>
                  <a:lnTo>
                    <a:pt x="15425" y="4134"/>
                  </a:lnTo>
                  <a:lnTo>
                    <a:pt x="15442" y="4151"/>
                  </a:lnTo>
                  <a:lnTo>
                    <a:pt x="15442" y="4134"/>
                  </a:lnTo>
                  <a:lnTo>
                    <a:pt x="15496" y="4151"/>
                  </a:lnTo>
                  <a:lnTo>
                    <a:pt x="15555" y="4228"/>
                  </a:lnTo>
                  <a:lnTo>
                    <a:pt x="15534" y="4236"/>
                  </a:lnTo>
                  <a:lnTo>
                    <a:pt x="15517" y="4236"/>
                  </a:lnTo>
                  <a:lnTo>
                    <a:pt x="15517" y="4252"/>
                  </a:lnTo>
                  <a:lnTo>
                    <a:pt x="15560" y="4269"/>
                  </a:lnTo>
                  <a:lnTo>
                    <a:pt x="15572" y="4278"/>
                  </a:lnTo>
                  <a:lnTo>
                    <a:pt x="15560" y="4278"/>
                  </a:lnTo>
                  <a:lnTo>
                    <a:pt x="15550" y="4290"/>
                  </a:lnTo>
                  <a:lnTo>
                    <a:pt x="15522" y="4290"/>
                  </a:lnTo>
                  <a:lnTo>
                    <a:pt x="15534" y="4302"/>
                  </a:lnTo>
                  <a:lnTo>
                    <a:pt x="15534" y="4318"/>
                  </a:lnTo>
                  <a:lnTo>
                    <a:pt x="15522" y="4306"/>
                  </a:lnTo>
                  <a:lnTo>
                    <a:pt x="15496" y="4323"/>
                  </a:lnTo>
                  <a:lnTo>
                    <a:pt x="15470" y="4335"/>
                  </a:lnTo>
                  <a:lnTo>
                    <a:pt x="15447" y="4323"/>
                  </a:lnTo>
                  <a:lnTo>
                    <a:pt x="15454" y="4340"/>
                  </a:lnTo>
                  <a:lnTo>
                    <a:pt x="15442" y="4323"/>
                  </a:lnTo>
                  <a:lnTo>
                    <a:pt x="15447" y="4340"/>
                  </a:lnTo>
                  <a:lnTo>
                    <a:pt x="15447" y="4356"/>
                  </a:lnTo>
                  <a:lnTo>
                    <a:pt x="15416" y="4413"/>
                  </a:lnTo>
                  <a:lnTo>
                    <a:pt x="15416" y="4401"/>
                  </a:lnTo>
                  <a:lnTo>
                    <a:pt x="15395" y="4417"/>
                  </a:lnTo>
                  <a:lnTo>
                    <a:pt x="15387" y="4434"/>
                  </a:lnTo>
                  <a:lnTo>
                    <a:pt x="15395" y="4446"/>
                  </a:lnTo>
                  <a:lnTo>
                    <a:pt x="15416" y="4451"/>
                  </a:lnTo>
                  <a:lnTo>
                    <a:pt x="15432" y="4484"/>
                  </a:lnTo>
                  <a:lnTo>
                    <a:pt x="15447" y="4500"/>
                  </a:lnTo>
                  <a:lnTo>
                    <a:pt x="15442" y="4512"/>
                  </a:lnTo>
                  <a:lnTo>
                    <a:pt x="15442" y="4524"/>
                  </a:lnTo>
                  <a:lnTo>
                    <a:pt x="15447" y="4491"/>
                  </a:lnTo>
                  <a:lnTo>
                    <a:pt x="15463" y="4491"/>
                  </a:lnTo>
                  <a:lnTo>
                    <a:pt x="15447" y="4528"/>
                  </a:lnTo>
                  <a:lnTo>
                    <a:pt x="15447" y="4540"/>
                  </a:lnTo>
                  <a:lnTo>
                    <a:pt x="15454" y="4545"/>
                  </a:lnTo>
                  <a:lnTo>
                    <a:pt x="15447" y="4557"/>
                  </a:lnTo>
                  <a:lnTo>
                    <a:pt x="15442" y="4566"/>
                  </a:lnTo>
                  <a:lnTo>
                    <a:pt x="15463" y="4578"/>
                  </a:lnTo>
                  <a:lnTo>
                    <a:pt x="15463" y="4602"/>
                  </a:lnTo>
                  <a:lnTo>
                    <a:pt x="15484" y="4623"/>
                  </a:lnTo>
                  <a:lnTo>
                    <a:pt x="15508" y="4668"/>
                  </a:lnTo>
                  <a:lnTo>
                    <a:pt x="15522" y="4673"/>
                  </a:lnTo>
                  <a:lnTo>
                    <a:pt x="15508" y="4689"/>
                  </a:lnTo>
                  <a:lnTo>
                    <a:pt x="15484" y="4706"/>
                  </a:lnTo>
                  <a:lnTo>
                    <a:pt x="15480" y="4722"/>
                  </a:lnTo>
                  <a:lnTo>
                    <a:pt x="15463" y="4729"/>
                  </a:lnTo>
                  <a:lnTo>
                    <a:pt x="15432" y="4710"/>
                  </a:lnTo>
                  <a:lnTo>
                    <a:pt x="15425" y="4694"/>
                  </a:lnTo>
                  <a:lnTo>
                    <a:pt x="15395" y="4668"/>
                  </a:lnTo>
                  <a:lnTo>
                    <a:pt x="15387" y="4673"/>
                  </a:lnTo>
                  <a:lnTo>
                    <a:pt x="15371" y="4668"/>
                  </a:lnTo>
                  <a:lnTo>
                    <a:pt x="15319" y="4639"/>
                  </a:lnTo>
                  <a:lnTo>
                    <a:pt x="15324" y="4611"/>
                  </a:lnTo>
                  <a:lnTo>
                    <a:pt x="15291" y="4611"/>
                  </a:lnTo>
                  <a:lnTo>
                    <a:pt x="15286" y="4595"/>
                  </a:lnTo>
                  <a:lnTo>
                    <a:pt x="15269" y="4583"/>
                  </a:lnTo>
                  <a:lnTo>
                    <a:pt x="15253" y="4602"/>
                  </a:lnTo>
                  <a:lnTo>
                    <a:pt x="15236" y="4583"/>
                  </a:lnTo>
                  <a:lnTo>
                    <a:pt x="15194" y="4602"/>
                  </a:lnTo>
                  <a:lnTo>
                    <a:pt x="15182" y="4602"/>
                  </a:lnTo>
                  <a:lnTo>
                    <a:pt x="15182" y="4595"/>
                  </a:lnTo>
                  <a:lnTo>
                    <a:pt x="15144" y="4578"/>
                  </a:lnTo>
                  <a:lnTo>
                    <a:pt x="15123" y="4557"/>
                  </a:lnTo>
                  <a:lnTo>
                    <a:pt x="15031" y="4545"/>
                  </a:lnTo>
                  <a:lnTo>
                    <a:pt x="14967" y="4524"/>
                  </a:lnTo>
                  <a:lnTo>
                    <a:pt x="14941" y="4512"/>
                  </a:lnTo>
                  <a:lnTo>
                    <a:pt x="14924" y="4524"/>
                  </a:lnTo>
                  <a:lnTo>
                    <a:pt x="14924" y="4540"/>
                  </a:lnTo>
                  <a:lnTo>
                    <a:pt x="14832" y="4458"/>
                  </a:lnTo>
                  <a:lnTo>
                    <a:pt x="14795" y="4446"/>
                  </a:lnTo>
                  <a:lnTo>
                    <a:pt x="14766" y="4417"/>
                  </a:lnTo>
                  <a:lnTo>
                    <a:pt x="14766" y="4429"/>
                  </a:lnTo>
                  <a:lnTo>
                    <a:pt x="14745" y="4417"/>
                  </a:lnTo>
                  <a:lnTo>
                    <a:pt x="14724" y="4396"/>
                  </a:lnTo>
                  <a:lnTo>
                    <a:pt x="14686" y="4380"/>
                  </a:lnTo>
                  <a:lnTo>
                    <a:pt x="14707" y="4363"/>
                  </a:lnTo>
                  <a:lnTo>
                    <a:pt x="14691" y="4356"/>
                  </a:lnTo>
                  <a:lnTo>
                    <a:pt x="14686" y="4363"/>
                  </a:lnTo>
                  <a:lnTo>
                    <a:pt x="14698" y="4356"/>
                  </a:lnTo>
                  <a:lnTo>
                    <a:pt x="14714" y="4363"/>
                  </a:lnTo>
                  <a:lnTo>
                    <a:pt x="14714" y="4373"/>
                  </a:lnTo>
                  <a:lnTo>
                    <a:pt x="14745" y="4356"/>
                  </a:lnTo>
                  <a:lnTo>
                    <a:pt x="14761" y="4363"/>
                  </a:lnTo>
                  <a:lnTo>
                    <a:pt x="14761" y="4340"/>
                  </a:lnTo>
                  <a:lnTo>
                    <a:pt x="14752" y="4340"/>
                  </a:lnTo>
                  <a:lnTo>
                    <a:pt x="14752" y="4356"/>
                  </a:lnTo>
                  <a:lnTo>
                    <a:pt x="14752" y="4340"/>
                  </a:lnTo>
                  <a:lnTo>
                    <a:pt x="14761" y="4340"/>
                  </a:lnTo>
                  <a:lnTo>
                    <a:pt x="14752" y="4335"/>
                  </a:lnTo>
                  <a:lnTo>
                    <a:pt x="14766" y="4323"/>
                  </a:lnTo>
                  <a:lnTo>
                    <a:pt x="14778" y="4302"/>
                  </a:lnTo>
                  <a:lnTo>
                    <a:pt x="14783" y="4302"/>
                  </a:lnTo>
                  <a:lnTo>
                    <a:pt x="14783" y="4306"/>
                  </a:lnTo>
                  <a:lnTo>
                    <a:pt x="14795" y="4290"/>
                  </a:lnTo>
                  <a:lnTo>
                    <a:pt x="14816" y="4302"/>
                  </a:lnTo>
                  <a:lnTo>
                    <a:pt x="14821" y="4290"/>
                  </a:lnTo>
                  <a:lnTo>
                    <a:pt x="14783" y="4269"/>
                  </a:lnTo>
                  <a:lnTo>
                    <a:pt x="14778" y="4269"/>
                  </a:lnTo>
                  <a:lnTo>
                    <a:pt x="14761" y="4245"/>
                  </a:lnTo>
                  <a:lnTo>
                    <a:pt x="14783" y="4245"/>
                  </a:lnTo>
                  <a:lnTo>
                    <a:pt x="14799" y="4236"/>
                  </a:lnTo>
                  <a:lnTo>
                    <a:pt x="14821" y="4245"/>
                  </a:lnTo>
                  <a:lnTo>
                    <a:pt x="14816" y="4236"/>
                  </a:lnTo>
                  <a:lnTo>
                    <a:pt x="14804" y="4236"/>
                  </a:lnTo>
                  <a:lnTo>
                    <a:pt x="14804" y="4228"/>
                  </a:lnTo>
                  <a:lnTo>
                    <a:pt x="14854" y="4212"/>
                  </a:lnTo>
                  <a:lnTo>
                    <a:pt x="14870" y="4212"/>
                  </a:lnTo>
                  <a:lnTo>
                    <a:pt x="14870" y="4207"/>
                  </a:lnTo>
                  <a:lnTo>
                    <a:pt x="14870" y="4191"/>
                  </a:lnTo>
                  <a:lnTo>
                    <a:pt x="14854" y="4191"/>
                  </a:lnTo>
                  <a:lnTo>
                    <a:pt x="14821" y="4207"/>
                  </a:lnTo>
                  <a:lnTo>
                    <a:pt x="14816" y="4195"/>
                  </a:lnTo>
                  <a:lnTo>
                    <a:pt x="14821" y="4191"/>
                  </a:lnTo>
                  <a:lnTo>
                    <a:pt x="14832" y="4191"/>
                  </a:lnTo>
                  <a:lnTo>
                    <a:pt x="14799" y="4207"/>
                  </a:lnTo>
                  <a:lnTo>
                    <a:pt x="14799" y="4158"/>
                  </a:lnTo>
                  <a:lnTo>
                    <a:pt x="14832" y="4151"/>
                  </a:lnTo>
                  <a:lnTo>
                    <a:pt x="14837" y="4134"/>
                  </a:lnTo>
                  <a:lnTo>
                    <a:pt x="14908" y="4134"/>
                  </a:lnTo>
                  <a:lnTo>
                    <a:pt x="14908" y="4117"/>
                  </a:lnTo>
                  <a:lnTo>
                    <a:pt x="14924" y="4096"/>
                  </a:lnTo>
                  <a:lnTo>
                    <a:pt x="14908" y="4068"/>
                  </a:lnTo>
                  <a:lnTo>
                    <a:pt x="14903" y="4063"/>
                  </a:lnTo>
                  <a:lnTo>
                    <a:pt x="14908" y="4047"/>
                  </a:lnTo>
                  <a:lnTo>
                    <a:pt x="14924" y="4047"/>
                  </a:lnTo>
                  <a:lnTo>
                    <a:pt x="14924" y="4040"/>
                  </a:lnTo>
                  <a:lnTo>
                    <a:pt x="14908" y="4040"/>
                  </a:lnTo>
                  <a:lnTo>
                    <a:pt x="14903" y="4030"/>
                  </a:lnTo>
                  <a:lnTo>
                    <a:pt x="14913" y="4023"/>
                  </a:lnTo>
                  <a:lnTo>
                    <a:pt x="14929" y="4006"/>
                  </a:lnTo>
                  <a:lnTo>
                    <a:pt x="14924" y="3985"/>
                  </a:lnTo>
                  <a:lnTo>
                    <a:pt x="14929" y="3973"/>
                  </a:lnTo>
                  <a:lnTo>
                    <a:pt x="14908" y="3973"/>
                  </a:lnTo>
                  <a:lnTo>
                    <a:pt x="14891" y="3957"/>
                  </a:lnTo>
                  <a:lnTo>
                    <a:pt x="14870" y="3957"/>
                  </a:lnTo>
                  <a:lnTo>
                    <a:pt x="14858" y="3947"/>
                  </a:lnTo>
                  <a:lnTo>
                    <a:pt x="14849" y="3952"/>
                  </a:lnTo>
                  <a:lnTo>
                    <a:pt x="14799" y="3931"/>
                  </a:lnTo>
                  <a:lnTo>
                    <a:pt x="14795" y="3931"/>
                  </a:lnTo>
                  <a:lnTo>
                    <a:pt x="14783" y="3947"/>
                  </a:lnTo>
                  <a:lnTo>
                    <a:pt x="14761" y="3931"/>
                  </a:lnTo>
                  <a:lnTo>
                    <a:pt x="14745" y="3895"/>
                  </a:lnTo>
                  <a:lnTo>
                    <a:pt x="14686" y="3914"/>
                  </a:lnTo>
                  <a:lnTo>
                    <a:pt x="14660" y="3903"/>
                  </a:lnTo>
                  <a:lnTo>
                    <a:pt x="14653" y="3895"/>
                  </a:lnTo>
                  <a:lnTo>
                    <a:pt x="14615" y="3895"/>
                  </a:lnTo>
                  <a:lnTo>
                    <a:pt x="14601" y="3874"/>
                  </a:lnTo>
                  <a:lnTo>
                    <a:pt x="14606" y="3874"/>
                  </a:lnTo>
                  <a:lnTo>
                    <a:pt x="14589" y="3841"/>
                  </a:lnTo>
                  <a:lnTo>
                    <a:pt x="14601" y="3836"/>
                  </a:lnTo>
                  <a:lnTo>
                    <a:pt x="14584" y="3836"/>
                  </a:lnTo>
                  <a:lnTo>
                    <a:pt x="14577" y="3820"/>
                  </a:lnTo>
                  <a:lnTo>
                    <a:pt x="14551" y="3825"/>
                  </a:lnTo>
                  <a:lnTo>
                    <a:pt x="14530" y="3820"/>
                  </a:lnTo>
                  <a:lnTo>
                    <a:pt x="14509" y="3780"/>
                  </a:lnTo>
                  <a:lnTo>
                    <a:pt x="14530" y="3768"/>
                  </a:lnTo>
                  <a:lnTo>
                    <a:pt x="14530" y="3763"/>
                  </a:lnTo>
                  <a:lnTo>
                    <a:pt x="14509" y="3747"/>
                  </a:lnTo>
                  <a:lnTo>
                    <a:pt x="14509" y="3730"/>
                  </a:lnTo>
                  <a:lnTo>
                    <a:pt x="14492" y="3709"/>
                  </a:lnTo>
                  <a:lnTo>
                    <a:pt x="14443" y="3709"/>
                  </a:lnTo>
                  <a:lnTo>
                    <a:pt x="14421" y="3725"/>
                  </a:lnTo>
                  <a:lnTo>
                    <a:pt x="14384" y="3714"/>
                  </a:lnTo>
                  <a:lnTo>
                    <a:pt x="14374" y="3735"/>
                  </a:lnTo>
                  <a:lnTo>
                    <a:pt x="14346" y="3735"/>
                  </a:lnTo>
                  <a:lnTo>
                    <a:pt x="14329" y="3714"/>
                  </a:lnTo>
                  <a:lnTo>
                    <a:pt x="14329" y="3692"/>
                  </a:lnTo>
                  <a:lnTo>
                    <a:pt x="14320" y="3676"/>
                  </a:lnTo>
                  <a:lnTo>
                    <a:pt x="14329" y="3669"/>
                  </a:lnTo>
                  <a:lnTo>
                    <a:pt x="14308" y="3643"/>
                  </a:lnTo>
                  <a:lnTo>
                    <a:pt x="14320" y="3624"/>
                  </a:lnTo>
                  <a:lnTo>
                    <a:pt x="14374" y="3636"/>
                  </a:lnTo>
                  <a:lnTo>
                    <a:pt x="14405" y="3614"/>
                  </a:lnTo>
                  <a:lnTo>
                    <a:pt x="14417" y="3603"/>
                  </a:lnTo>
                  <a:lnTo>
                    <a:pt x="14388" y="3598"/>
                  </a:lnTo>
                  <a:lnTo>
                    <a:pt x="14388" y="3586"/>
                  </a:lnTo>
                  <a:lnTo>
                    <a:pt x="14400" y="3581"/>
                  </a:lnTo>
                  <a:lnTo>
                    <a:pt x="14388" y="3581"/>
                  </a:lnTo>
                  <a:lnTo>
                    <a:pt x="14367" y="3569"/>
                  </a:lnTo>
                  <a:lnTo>
                    <a:pt x="14346" y="3569"/>
                  </a:lnTo>
                  <a:lnTo>
                    <a:pt x="14350" y="3541"/>
                  </a:lnTo>
                  <a:lnTo>
                    <a:pt x="14313" y="3525"/>
                  </a:lnTo>
                  <a:lnTo>
                    <a:pt x="14308" y="3508"/>
                  </a:lnTo>
                  <a:lnTo>
                    <a:pt x="14298" y="3503"/>
                  </a:lnTo>
                  <a:lnTo>
                    <a:pt x="14298" y="3487"/>
                  </a:lnTo>
                  <a:lnTo>
                    <a:pt x="14275" y="3470"/>
                  </a:lnTo>
                  <a:lnTo>
                    <a:pt x="14291" y="3447"/>
                  </a:lnTo>
                  <a:lnTo>
                    <a:pt x="14275" y="3421"/>
                  </a:lnTo>
                  <a:lnTo>
                    <a:pt x="14282" y="3414"/>
                  </a:lnTo>
                  <a:lnTo>
                    <a:pt x="14282" y="3392"/>
                  </a:lnTo>
                  <a:lnTo>
                    <a:pt x="14275" y="3392"/>
                  </a:lnTo>
                  <a:lnTo>
                    <a:pt x="14254" y="3364"/>
                  </a:lnTo>
                  <a:lnTo>
                    <a:pt x="14237" y="3364"/>
                  </a:lnTo>
                  <a:lnTo>
                    <a:pt x="14211" y="3364"/>
                  </a:lnTo>
                  <a:lnTo>
                    <a:pt x="14185" y="3380"/>
                  </a:lnTo>
                  <a:lnTo>
                    <a:pt x="14173" y="3376"/>
                  </a:lnTo>
                  <a:lnTo>
                    <a:pt x="14185" y="3359"/>
                  </a:lnTo>
                  <a:lnTo>
                    <a:pt x="14173" y="3359"/>
                  </a:lnTo>
                  <a:lnTo>
                    <a:pt x="14152" y="3347"/>
                  </a:lnTo>
                  <a:lnTo>
                    <a:pt x="14131" y="3359"/>
                  </a:lnTo>
                  <a:lnTo>
                    <a:pt x="14119" y="3343"/>
                  </a:lnTo>
                  <a:lnTo>
                    <a:pt x="14098" y="3343"/>
                  </a:lnTo>
                  <a:lnTo>
                    <a:pt x="14093" y="3336"/>
                  </a:lnTo>
                  <a:lnTo>
                    <a:pt x="14098" y="3319"/>
                  </a:lnTo>
                  <a:lnTo>
                    <a:pt x="14076" y="3265"/>
                  </a:lnTo>
                  <a:lnTo>
                    <a:pt x="14060" y="3253"/>
                  </a:lnTo>
                  <a:lnTo>
                    <a:pt x="14065" y="3215"/>
                  </a:lnTo>
                  <a:lnTo>
                    <a:pt x="14043" y="3199"/>
                  </a:lnTo>
                  <a:lnTo>
                    <a:pt x="14043" y="3192"/>
                  </a:lnTo>
                  <a:lnTo>
                    <a:pt x="14039" y="3192"/>
                  </a:lnTo>
                  <a:lnTo>
                    <a:pt x="14043" y="3158"/>
                  </a:lnTo>
                  <a:lnTo>
                    <a:pt x="14065" y="3158"/>
                  </a:lnTo>
                  <a:lnTo>
                    <a:pt x="14043" y="3121"/>
                  </a:lnTo>
                  <a:lnTo>
                    <a:pt x="14043" y="3104"/>
                  </a:lnTo>
                  <a:lnTo>
                    <a:pt x="14039" y="3059"/>
                  </a:lnTo>
                  <a:lnTo>
                    <a:pt x="14065" y="3031"/>
                  </a:lnTo>
                  <a:lnTo>
                    <a:pt x="14076" y="3010"/>
                  </a:lnTo>
                  <a:lnTo>
                    <a:pt x="14093" y="3010"/>
                  </a:lnTo>
                  <a:lnTo>
                    <a:pt x="14093" y="2998"/>
                  </a:lnTo>
                  <a:lnTo>
                    <a:pt x="14081" y="2988"/>
                  </a:lnTo>
                  <a:lnTo>
                    <a:pt x="14081" y="2977"/>
                  </a:lnTo>
                  <a:lnTo>
                    <a:pt x="14076" y="2960"/>
                  </a:lnTo>
                  <a:lnTo>
                    <a:pt x="14081" y="2953"/>
                  </a:lnTo>
                  <a:lnTo>
                    <a:pt x="14102" y="2972"/>
                  </a:lnTo>
                  <a:lnTo>
                    <a:pt x="14114" y="2943"/>
                  </a:lnTo>
                  <a:lnTo>
                    <a:pt x="14136" y="2953"/>
                  </a:lnTo>
                  <a:lnTo>
                    <a:pt x="14157" y="2932"/>
                  </a:lnTo>
                  <a:lnTo>
                    <a:pt x="14228" y="2943"/>
                  </a:lnTo>
                  <a:lnTo>
                    <a:pt x="14237" y="2936"/>
                  </a:lnTo>
                  <a:lnTo>
                    <a:pt x="14211" y="2932"/>
                  </a:lnTo>
                  <a:lnTo>
                    <a:pt x="14211" y="2915"/>
                  </a:lnTo>
                  <a:lnTo>
                    <a:pt x="14199" y="2915"/>
                  </a:lnTo>
                  <a:lnTo>
                    <a:pt x="14152" y="2915"/>
                  </a:lnTo>
                  <a:lnTo>
                    <a:pt x="14119" y="2887"/>
                  </a:lnTo>
                  <a:lnTo>
                    <a:pt x="14114" y="2877"/>
                  </a:lnTo>
                  <a:lnTo>
                    <a:pt x="14131" y="2882"/>
                  </a:lnTo>
                  <a:lnTo>
                    <a:pt x="14131" y="2866"/>
                  </a:lnTo>
                  <a:lnTo>
                    <a:pt x="14119" y="2866"/>
                  </a:lnTo>
                  <a:lnTo>
                    <a:pt x="14131" y="2866"/>
                  </a:lnTo>
                  <a:lnTo>
                    <a:pt x="14131" y="2849"/>
                  </a:lnTo>
                  <a:lnTo>
                    <a:pt x="14093" y="2877"/>
                  </a:lnTo>
                  <a:lnTo>
                    <a:pt x="14065" y="2877"/>
                  </a:lnTo>
                  <a:lnTo>
                    <a:pt x="14169" y="2792"/>
                  </a:lnTo>
                  <a:lnTo>
                    <a:pt x="14308" y="2655"/>
                  </a:lnTo>
                  <a:lnTo>
                    <a:pt x="14329" y="2610"/>
                  </a:lnTo>
                  <a:lnTo>
                    <a:pt x="14308" y="2573"/>
                  </a:lnTo>
                  <a:lnTo>
                    <a:pt x="14223" y="2516"/>
                  </a:lnTo>
                  <a:lnTo>
                    <a:pt x="14261" y="2478"/>
                  </a:lnTo>
                  <a:lnTo>
                    <a:pt x="14261" y="2462"/>
                  </a:lnTo>
                  <a:lnTo>
                    <a:pt x="14223" y="2438"/>
                  </a:lnTo>
                  <a:lnTo>
                    <a:pt x="14228" y="2433"/>
                  </a:lnTo>
                  <a:lnTo>
                    <a:pt x="14223" y="2421"/>
                  </a:lnTo>
                  <a:lnTo>
                    <a:pt x="14237" y="2417"/>
                  </a:lnTo>
                  <a:lnTo>
                    <a:pt x="14228" y="2400"/>
                  </a:lnTo>
                  <a:lnTo>
                    <a:pt x="14206" y="2388"/>
                  </a:lnTo>
                  <a:lnTo>
                    <a:pt x="14190" y="2384"/>
                  </a:lnTo>
                  <a:lnTo>
                    <a:pt x="14190" y="2360"/>
                  </a:lnTo>
                  <a:lnTo>
                    <a:pt x="14211" y="2360"/>
                  </a:lnTo>
                  <a:lnTo>
                    <a:pt x="14206" y="2343"/>
                  </a:lnTo>
                  <a:lnTo>
                    <a:pt x="14190" y="2343"/>
                  </a:lnTo>
                  <a:lnTo>
                    <a:pt x="14199" y="2327"/>
                  </a:lnTo>
                  <a:lnTo>
                    <a:pt x="14206" y="2294"/>
                  </a:lnTo>
                  <a:lnTo>
                    <a:pt x="14228" y="2289"/>
                  </a:lnTo>
                  <a:lnTo>
                    <a:pt x="14211" y="2240"/>
                  </a:lnTo>
                  <a:lnTo>
                    <a:pt x="14152" y="2145"/>
                  </a:lnTo>
                  <a:lnTo>
                    <a:pt x="14157" y="2129"/>
                  </a:lnTo>
                  <a:lnTo>
                    <a:pt x="14211" y="2067"/>
                  </a:lnTo>
                  <a:lnTo>
                    <a:pt x="14223" y="2051"/>
                  </a:lnTo>
                  <a:lnTo>
                    <a:pt x="14199" y="2034"/>
                  </a:lnTo>
                  <a:lnTo>
                    <a:pt x="14173" y="2001"/>
                  </a:lnTo>
                  <a:lnTo>
                    <a:pt x="14131" y="1989"/>
                  </a:lnTo>
                  <a:lnTo>
                    <a:pt x="14114" y="1944"/>
                  </a:lnTo>
                  <a:lnTo>
                    <a:pt x="14136" y="1906"/>
                  </a:lnTo>
                  <a:lnTo>
                    <a:pt x="14102" y="1902"/>
                  </a:lnTo>
                  <a:lnTo>
                    <a:pt x="14147" y="1878"/>
                  </a:lnTo>
                  <a:lnTo>
                    <a:pt x="14169" y="1866"/>
                  </a:lnTo>
                  <a:lnTo>
                    <a:pt x="14169" y="1845"/>
                  </a:lnTo>
                  <a:lnTo>
                    <a:pt x="14228" y="1824"/>
                  </a:lnTo>
                  <a:lnTo>
                    <a:pt x="14228" y="1812"/>
                  </a:lnTo>
                  <a:lnTo>
                    <a:pt x="14228" y="1807"/>
                  </a:lnTo>
                  <a:lnTo>
                    <a:pt x="14261" y="1812"/>
                  </a:lnTo>
                  <a:lnTo>
                    <a:pt x="14282" y="1812"/>
                  </a:lnTo>
                  <a:lnTo>
                    <a:pt x="14282" y="1795"/>
                  </a:lnTo>
                  <a:lnTo>
                    <a:pt x="14282" y="1779"/>
                  </a:lnTo>
                  <a:lnTo>
                    <a:pt x="14346" y="1795"/>
                  </a:lnTo>
                  <a:lnTo>
                    <a:pt x="14336" y="1791"/>
                  </a:lnTo>
                  <a:lnTo>
                    <a:pt x="14336" y="1779"/>
                  </a:lnTo>
                  <a:lnTo>
                    <a:pt x="14367" y="1779"/>
                  </a:lnTo>
                  <a:lnTo>
                    <a:pt x="14350" y="1767"/>
                  </a:lnTo>
                  <a:lnTo>
                    <a:pt x="14400" y="1791"/>
                  </a:lnTo>
                  <a:lnTo>
                    <a:pt x="14438" y="1791"/>
                  </a:lnTo>
                  <a:lnTo>
                    <a:pt x="14438" y="1807"/>
                  </a:lnTo>
                  <a:lnTo>
                    <a:pt x="14421" y="1812"/>
                  </a:lnTo>
                  <a:lnTo>
                    <a:pt x="14362" y="1807"/>
                  </a:lnTo>
                  <a:lnTo>
                    <a:pt x="14388" y="1824"/>
                  </a:lnTo>
                  <a:lnTo>
                    <a:pt x="14374" y="1829"/>
                  </a:lnTo>
                  <a:lnTo>
                    <a:pt x="14426" y="1829"/>
                  </a:lnTo>
                  <a:lnTo>
                    <a:pt x="14417" y="1845"/>
                  </a:lnTo>
                  <a:lnTo>
                    <a:pt x="14426" y="1833"/>
                  </a:lnTo>
                  <a:lnTo>
                    <a:pt x="14471" y="1829"/>
                  </a:lnTo>
                  <a:lnTo>
                    <a:pt x="14443" y="1850"/>
                  </a:lnTo>
                  <a:lnTo>
                    <a:pt x="14459" y="1850"/>
                  </a:lnTo>
                  <a:lnTo>
                    <a:pt x="14471" y="1862"/>
                  </a:lnTo>
                  <a:lnTo>
                    <a:pt x="14426" y="1878"/>
                  </a:lnTo>
                  <a:lnTo>
                    <a:pt x="14426" y="1890"/>
                  </a:lnTo>
                  <a:lnTo>
                    <a:pt x="14426" y="1878"/>
                  </a:lnTo>
                  <a:lnTo>
                    <a:pt x="14459" y="1878"/>
                  </a:lnTo>
                  <a:lnTo>
                    <a:pt x="14471" y="1862"/>
                  </a:lnTo>
                  <a:lnTo>
                    <a:pt x="14471" y="1845"/>
                  </a:lnTo>
                  <a:lnTo>
                    <a:pt x="14480" y="1845"/>
                  </a:lnTo>
                  <a:lnTo>
                    <a:pt x="14639" y="1862"/>
                  </a:lnTo>
                  <a:lnTo>
                    <a:pt x="14761" y="1923"/>
                  </a:lnTo>
                  <a:lnTo>
                    <a:pt x="14804" y="1973"/>
                  </a:lnTo>
                  <a:lnTo>
                    <a:pt x="14821" y="1961"/>
                  </a:lnTo>
                  <a:lnTo>
                    <a:pt x="14887" y="2001"/>
                  </a:lnTo>
                  <a:lnTo>
                    <a:pt x="14908" y="2001"/>
                  </a:lnTo>
                  <a:lnTo>
                    <a:pt x="14903" y="1989"/>
                  </a:lnTo>
                  <a:lnTo>
                    <a:pt x="14908" y="1989"/>
                  </a:lnTo>
                  <a:lnTo>
                    <a:pt x="14946" y="2018"/>
                  </a:lnTo>
                  <a:lnTo>
                    <a:pt x="14946" y="2029"/>
                  </a:lnTo>
                  <a:lnTo>
                    <a:pt x="14955" y="2046"/>
                  </a:lnTo>
                  <a:lnTo>
                    <a:pt x="14993" y="2046"/>
                  </a:lnTo>
                  <a:lnTo>
                    <a:pt x="14993" y="2072"/>
                  </a:lnTo>
                  <a:lnTo>
                    <a:pt x="15000" y="2084"/>
                  </a:lnTo>
                  <a:lnTo>
                    <a:pt x="15000" y="2105"/>
                  </a:lnTo>
                  <a:lnTo>
                    <a:pt x="15017" y="2105"/>
                  </a:lnTo>
                  <a:lnTo>
                    <a:pt x="15017" y="2112"/>
                  </a:lnTo>
                  <a:lnTo>
                    <a:pt x="15010" y="2157"/>
                  </a:lnTo>
                  <a:lnTo>
                    <a:pt x="14962" y="2199"/>
                  </a:lnTo>
                  <a:lnTo>
                    <a:pt x="14924" y="2216"/>
                  </a:lnTo>
                  <a:lnTo>
                    <a:pt x="14821" y="2249"/>
                  </a:lnTo>
                  <a:lnTo>
                    <a:pt x="14606" y="2211"/>
                  </a:lnTo>
                  <a:lnTo>
                    <a:pt x="14563" y="2178"/>
                  </a:lnTo>
                  <a:lnTo>
                    <a:pt x="14530" y="2183"/>
                  </a:lnTo>
                  <a:lnTo>
                    <a:pt x="14525" y="2178"/>
                  </a:lnTo>
                  <a:lnTo>
                    <a:pt x="14530" y="2178"/>
                  </a:lnTo>
                  <a:lnTo>
                    <a:pt x="14492" y="2166"/>
                  </a:lnTo>
                  <a:lnTo>
                    <a:pt x="14471" y="2157"/>
                  </a:lnTo>
                  <a:lnTo>
                    <a:pt x="14476" y="2162"/>
                  </a:lnTo>
                  <a:lnTo>
                    <a:pt x="14471" y="2166"/>
                  </a:lnTo>
                  <a:lnTo>
                    <a:pt x="14443" y="2157"/>
                  </a:lnTo>
                  <a:lnTo>
                    <a:pt x="14405" y="2121"/>
                  </a:lnTo>
                  <a:lnTo>
                    <a:pt x="14350" y="2112"/>
                  </a:lnTo>
                  <a:lnTo>
                    <a:pt x="14374" y="2112"/>
                  </a:lnTo>
                  <a:lnTo>
                    <a:pt x="14400" y="2129"/>
                  </a:lnTo>
                  <a:lnTo>
                    <a:pt x="14400" y="2145"/>
                  </a:lnTo>
                  <a:lnTo>
                    <a:pt x="14421" y="2162"/>
                  </a:lnTo>
                  <a:lnTo>
                    <a:pt x="14417" y="2166"/>
                  </a:lnTo>
                  <a:lnTo>
                    <a:pt x="14454" y="2178"/>
                  </a:lnTo>
                  <a:lnTo>
                    <a:pt x="14421" y="2183"/>
                  </a:lnTo>
                  <a:lnTo>
                    <a:pt x="14443" y="2178"/>
                  </a:lnTo>
                  <a:lnTo>
                    <a:pt x="14471" y="2195"/>
                  </a:lnTo>
                  <a:lnTo>
                    <a:pt x="14421" y="2195"/>
                  </a:lnTo>
                  <a:lnTo>
                    <a:pt x="14480" y="2199"/>
                  </a:lnTo>
                  <a:lnTo>
                    <a:pt x="14454" y="2216"/>
                  </a:lnTo>
                  <a:lnTo>
                    <a:pt x="14509" y="2223"/>
                  </a:lnTo>
                  <a:lnTo>
                    <a:pt x="14563" y="2266"/>
                  </a:lnTo>
                  <a:lnTo>
                    <a:pt x="14568" y="2289"/>
                  </a:lnTo>
                  <a:lnTo>
                    <a:pt x="14547" y="2273"/>
                  </a:lnTo>
                  <a:lnTo>
                    <a:pt x="14551" y="2306"/>
                  </a:lnTo>
                  <a:lnTo>
                    <a:pt x="14547" y="2322"/>
                  </a:lnTo>
                  <a:lnTo>
                    <a:pt x="14530" y="2327"/>
                  </a:lnTo>
                  <a:lnTo>
                    <a:pt x="14547" y="2343"/>
                  </a:lnTo>
                  <a:lnTo>
                    <a:pt x="14568" y="2388"/>
                  </a:lnTo>
                  <a:lnTo>
                    <a:pt x="14568" y="2417"/>
                  </a:lnTo>
                  <a:lnTo>
                    <a:pt x="14551" y="2421"/>
                  </a:lnTo>
                  <a:lnTo>
                    <a:pt x="14589" y="2445"/>
                  </a:lnTo>
                  <a:lnTo>
                    <a:pt x="14606" y="2438"/>
                  </a:lnTo>
                  <a:lnTo>
                    <a:pt x="14622" y="2445"/>
                  </a:lnTo>
                  <a:lnTo>
                    <a:pt x="14639" y="2462"/>
                  </a:lnTo>
                  <a:lnTo>
                    <a:pt x="14643" y="2462"/>
                  </a:lnTo>
                  <a:lnTo>
                    <a:pt x="14660" y="2471"/>
                  </a:lnTo>
                  <a:lnTo>
                    <a:pt x="14660" y="2488"/>
                  </a:lnTo>
                  <a:lnTo>
                    <a:pt x="14740" y="2511"/>
                  </a:lnTo>
                  <a:lnTo>
                    <a:pt x="14783" y="2488"/>
                  </a:lnTo>
                  <a:lnTo>
                    <a:pt x="14783" y="2471"/>
                  </a:lnTo>
                  <a:lnTo>
                    <a:pt x="14778" y="2462"/>
                  </a:lnTo>
                  <a:lnTo>
                    <a:pt x="14778" y="2445"/>
                  </a:lnTo>
                  <a:lnTo>
                    <a:pt x="14766" y="2438"/>
                  </a:lnTo>
                  <a:lnTo>
                    <a:pt x="14728" y="2445"/>
                  </a:lnTo>
                  <a:lnTo>
                    <a:pt x="14724" y="2438"/>
                  </a:lnTo>
                  <a:lnTo>
                    <a:pt x="14691" y="2405"/>
                  </a:lnTo>
                  <a:lnTo>
                    <a:pt x="14676" y="2400"/>
                  </a:lnTo>
                  <a:lnTo>
                    <a:pt x="14669" y="2377"/>
                  </a:lnTo>
                  <a:lnTo>
                    <a:pt x="14698" y="2377"/>
                  </a:lnTo>
                  <a:lnTo>
                    <a:pt x="14698" y="2351"/>
                  </a:lnTo>
                  <a:lnTo>
                    <a:pt x="14714" y="2343"/>
                  </a:lnTo>
                  <a:lnTo>
                    <a:pt x="14761" y="2367"/>
                  </a:lnTo>
                  <a:lnTo>
                    <a:pt x="14778" y="2384"/>
                  </a:lnTo>
                  <a:lnTo>
                    <a:pt x="14804" y="2384"/>
                  </a:lnTo>
                  <a:lnTo>
                    <a:pt x="14783" y="2400"/>
                  </a:lnTo>
                  <a:lnTo>
                    <a:pt x="14783" y="2417"/>
                  </a:lnTo>
                  <a:lnTo>
                    <a:pt x="14816" y="2388"/>
                  </a:lnTo>
                  <a:lnTo>
                    <a:pt x="14891" y="2421"/>
                  </a:lnTo>
                  <a:lnTo>
                    <a:pt x="14913" y="2417"/>
                  </a:lnTo>
                  <a:lnTo>
                    <a:pt x="14908" y="2417"/>
                  </a:lnTo>
                  <a:lnTo>
                    <a:pt x="14908" y="2405"/>
                  </a:lnTo>
                  <a:lnTo>
                    <a:pt x="14955" y="2421"/>
                  </a:lnTo>
                  <a:lnTo>
                    <a:pt x="14946" y="2377"/>
                  </a:lnTo>
                  <a:lnTo>
                    <a:pt x="14903" y="2327"/>
                  </a:lnTo>
                  <a:lnTo>
                    <a:pt x="14903" y="2306"/>
                  </a:lnTo>
                  <a:lnTo>
                    <a:pt x="14946" y="2277"/>
                  </a:lnTo>
                  <a:lnTo>
                    <a:pt x="14967" y="2256"/>
                  </a:lnTo>
                  <a:lnTo>
                    <a:pt x="15021" y="2240"/>
                  </a:lnTo>
                  <a:lnTo>
                    <a:pt x="15069" y="2195"/>
                  </a:lnTo>
                  <a:lnTo>
                    <a:pt x="15106" y="2211"/>
                  </a:lnTo>
                  <a:lnTo>
                    <a:pt x="15156" y="2199"/>
                  </a:lnTo>
                  <a:lnTo>
                    <a:pt x="15177" y="2223"/>
                  </a:lnTo>
                  <a:lnTo>
                    <a:pt x="15156" y="2240"/>
                  </a:lnTo>
                  <a:lnTo>
                    <a:pt x="15156" y="2249"/>
                  </a:lnTo>
                  <a:lnTo>
                    <a:pt x="15172" y="2256"/>
                  </a:lnTo>
                  <a:lnTo>
                    <a:pt x="15172" y="2249"/>
                  </a:lnTo>
                  <a:lnTo>
                    <a:pt x="15156" y="2240"/>
                  </a:lnTo>
                  <a:lnTo>
                    <a:pt x="15194" y="2232"/>
                  </a:lnTo>
                  <a:lnTo>
                    <a:pt x="15198" y="2240"/>
                  </a:lnTo>
                  <a:lnTo>
                    <a:pt x="15198" y="2249"/>
                  </a:lnTo>
                  <a:lnTo>
                    <a:pt x="15215" y="2266"/>
                  </a:lnTo>
                  <a:lnTo>
                    <a:pt x="15210" y="2232"/>
                  </a:lnTo>
                  <a:lnTo>
                    <a:pt x="15232" y="2166"/>
                  </a:lnTo>
                  <a:lnTo>
                    <a:pt x="15227" y="2162"/>
                  </a:lnTo>
                  <a:lnTo>
                    <a:pt x="15236" y="2145"/>
                  </a:lnTo>
                  <a:lnTo>
                    <a:pt x="15210" y="2112"/>
                  </a:lnTo>
                  <a:lnTo>
                    <a:pt x="15182" y="2105"/>
                  </a:lnTo>
                  <a:lnTo>
                    <a:pt x="15182" y="2100"/>
                  </a:lnTo>
                  <a:lnTo>
                    <a:pt x="15210" y="2051"/>
                  </a:lnTo>
                  <a:lnTo>
                    <a:pt x="15210" y="2029"/>
                  </a:lnTo>
                  <a:lnTo>
                    <a:pt x="15215" y="2018"/>
                  </a:lnTo>
                  <a:lnTo>
                    <a:pt x="15210" y="2018"/>
                  </a:lnTo>
                  <a:lnTo>
                    <a:pt x="15215" y="1977"/>
                  </a:lnTo>
                  <a:lnTo>
                    <a:pt x="15156" y="1940"/>
                  </a:lnTo>
                  <a:lnTo>
                    <a:pt x="15156" y="1923"/>
                  </a:lnTo>
                  <a:lnTo>
                    <a:pt x="15210" y="1940"/>
                  </a:lnTo>
                  <a:lnTo>
                    <a:pt x="15291" y="1940"/>
                  </a:lnTo>
                  <a:lnTo>
                    <a:pt x="15333" y="1944"/>
                  </a:lnTo>
                  <a:lnTo>
                    <a:pt x="15340" y="1973"/>
                  </a:lnTo>
                  <a:lnTo>
                    <a:pt x="15378" y="1994"/>
                  </a:lnTo>
                  <a:lnTo>
                    <a:pt x="15378" y="2013"/>
                  </a:lnTo>
                  <a:lnTo>
                    <a:pt x="15395" y="2018"/>
                  </a:lnTo>
                  <a:lnTo>
                    <a:pt x="15395" y="2034"/>
                  </a:lnTo>
                  <a:lnTo>
                    <a:pt x="15302" y="2046"/>
                  </a:lnTo>
                  <a:lnTo>
                    <a:pt x="15291" y="2051"/>
                  </a:lnTo>
                  <a:lnTo>
                    <a:pt x="15291" y="2055"/>
                  </a:lnTo>
                  <a:lnTo>
                    <a:pt x="15269" y="2067"/>
                  </a:lnTo>
                  <a:lnTo>
                    <a:pt x="15265" y="2088"/>
                  </a:lnTo>
                  <a:lnTo>
                    <a:pt x="15319" y="2112"/>
                  </a:lnTo>
                  <a:lnTo>
                    <a:pt x="15324" y="2145"/>
                  </a:lnTo>
                  <a:lnTo>
                    <a:pt x="15340" y="2157"/>
                  </a:lnTo>
                  <a:lnTo>
                    <a:pt x="15387" y="2157"/>
                  </a:lnTo>
                  <a:lnTo>
                    <a:pt x="15371" y="2162"/>
                  </a:lnTo>
                  <a:lnTo>
                    <a:pt x="15463" y="2138"/>
                  </a:lnTo>
                  <a:lnTo>
                    <a:pt x="15463" y="2121"/>
                  </a:lnTo>
                  <a:lnTo>
                    <a:pt x="15454" y="2105"/>
                  </a:lnTo>
                  <a:lnTo>
                    <a:pt x="15480" y="2072"/>
                  </a:lnTo>
                  <a:lnTo>
                    <a:pt x="15470" y="2055"/>
                  </a:lnTo>
                  <a:lnTo>
                    <a:pt x="15480" y="2051"/>
                  </a:lnTo>
                  <a:lnTo>
                    <a:pt x="15534" y="2046"/>
                  </a:lnTo>
                  <a:lnTo>
                    <a:pt x="15555" y="2055"/>
                  </a:lnTo>
                  <a:lnTo>
                    <a:pt x="15522" y="2018"/>
                  </a:lnTo>
                  <a:lnTo>
                    <a:pt x="15572" y="2029"/>
                  </a:lnTo>
                  <a:lnTo>
                    <a:pt x="15626" y="1994"/>
                  </a:lnTo>
                  <a:lnTo>
                    <a:pt x="15609" y="2013"/>
                  </a:lnTo>
                  <a:lnTo>
                    <a:pt x="15614" y="2001"/>
                  </a:lnTo>
                  <a:lnTo>
                    <a:pt x="15680" y="1961"/>
                  </a:lnTo>
                  <a:lnTo>
                    <a:pt x="15697" y="1961"/>
                  </a:lnTo>
                  <a:lnTo>
                    <a:pt x="15765" y="1940"/>
                  </a:lnTo>
                  <a:lnTo>
                    <a:pt x="15787" y="1944"/>
                  </a:lnTo>
                  <a:lnTo>
                    <a:pt x="15772" y="1961"/>
                  </a:lnTo>
                  <a:lnTo>
                    <a:pt x="15777" y="1973"/>
                  </a:lnTo>
                  <a:lnTo>
                    <a:pt x="15810" y="1956"/>
                  </a:lnTo>
                  <a:lnTo>
                    <a:pt x="15794" y="1940"/>
                  </a:lnTo>
                  <a:lnTo>
                    <a:pt x="15810" y="1935"/>
                  </a:lnTo>
                  <a:lnTo>
                    <a:pt x="15777" y="1935"/>
                  </a:lnTo>
                  <a:lnTo>
                    <a:pt x="15886" y="1890"/>
                  </a:lnTo>
                  <a:lnTo>
                    <a:pt x="15938" y="1885"/>
                  </a:lnTo>
                  <a:lnTo>
                    <a:pt x="15874" y="1902"/>
                  </a:lnTo>
                  <a:lnTo>
                    <a:pt x="15900" y="1902"/>
                  </a:lnTo>
                  <a:lnTo>
                    <a:pt x="15879" y="1935"/>
                  </a:lnTo>
                  <a:lnTo>
                    <a:pt x="15895" y="1961"/>
                  </a:lnTo>
                  <a:lnTo>
                    <a:pt x="15886" y="1973"/>
                  </a:lnTo>
                  <a:lnTo>
                    <a:pt x="15874" y="1956"/>
                  </a:lnTo>
                  <a:lnTo>
                    <a:pt x="15879" y="1973"/>
                  </a:lnTo>
                  <a:lnTo>
                    <a:pt x="15862" y="1961"/>
                  </a:lnTo>
                  <a:lnTo>
                    <a:pt x="15848" y="1977"/>
                  </a:lnTo>
                  <a:lnTo>
                    <a:pt x="15917" y="1989"/>
                  </a:lnTo>
                  <a:lnTo>
                    <a:pt x="15933" y="1973"/>
                  </a:lnTo>
                  <a:lnTo>
                    <a:pt x="15954" y="1989"/>
                  </a:lnTo>
                  <a:lnTo>
                    <a:pt x="15966" y="1977"/>
                  </a:lnTo>
                  <a:lnTo>
                    <a:pt x="15966" y="1973"/>
                  </a:lnTo>
                  <a:lnTo>
                    <a:pt x="15966" y="1961"/>
                  </a:lnTo>
                  <a:lnTo>
                    <a:pt x="15992" y="1940"/>
                  </a:lnTo>
                  <a:lnTo>
                    <a:pt x="16042" y="1923"/>
                  </a:lnTo>
                  <a:lnTo>
                    <a:pt x="16134" y="1940"/>
                  </a:lnTo>
                  <a:lnTo>
                    <a:pt x="16155" y="1918"/>
                  </a:lnTo>
                  <a:lnTo>
                    <a:pt x="16181" y="1918"/>
                  </a:lnTo>
                  <a:lnTo>
                    <a:pt x="16181" y="1906"/>
                  </a:lnTo>
                  <a:lnTo>
                    <a:pt x="16198" y="1902"/>
                  </a:lnTo>
                  <a:lnTo>
                    <a:pt x="16209" y="1918"/>
                  </a:lnTo>
                  <a:lnTo>
                    <a:pt x="16202" y="1906"/>
                  </a:lnTo>
                  <a:lnTo>
                    <a:pt x="16202" y="1902"/>
                  </a:lnTo>
                  <a:lnTo>
                    <a:pt x="16240" y="1885"/>
                  </a:lnTo>
                  <a:lnTo>
                    <a:pt x="16273" y="1885"/>
                  </a:lnTo>
                  <a:lnTo>
                    <a:pt x="16240" y="1890"/>
                  </a:lnTo>
                  <a:lnTo>
                    <a:pt x="16278" y="1918"/>
                  </a:lnTo>
                  <a:lnTo>
                    <a:pt x="16257" y="1935"/>
                  </a:lnTo>
                  <a:lnTo>
                    <a:pt x="16257" y="1956"/>
                  </a:lnTo>
                  <a:lnTo>
                    <a:pt x="16311" y="1961"/>
                  </a:lnTo>
                  <a:lnTo>
                    <a:pt x="16316" y="1956"/>
                  </a:lnTo>
                  <a:lnTo>
                    <a:pt x="16306" y="1935"/>
                  </a:lnTo>
                  <a:lnTo>
                    <a:pt x="16311" y="1923"/>
                  </a:lnTo>
                  <a:lnTo>
                    <a:pt x="16361" y="1923"/>
                  </a:lnTo>
                  <a:lnTo>
                    <a:pt x="16387" y="1902"/>
                  </a:lnTo>
                  <a:lnTo>
                    <a:pt x="16387" y="1866"/>
                  </a:lnTo>
                  <a:lnTo>
                    <a:pt x="16365" y="1866"/>
                  </a:lnTo>
                  <a:lnTo>
                    <a:pt x="16361" y="1845"/>
                  </a:lnTo>
                  <a:lnTo>
                    <a:pt x="16332" y="1812"/>
                  </a:lnTo>
                  <a:lnTo>
                    <a:pt x="16344" y="1795"/>
                  </a:lnTo>
                  <a:lnTo>
                    <a:pt x="16365" y="1795"/>
                  </a:lnTo>
                  <a:lnTo>
                    <a:pt x="16370" y="1779"/>
                  </a:lnTo>
                  <a:lnTo>
                    <a:pt x="16382" y="1774"/>
                  </a:lnTo>
                  <a:lnTo>
                    <a:pt x="16543" y="1795"/>
                  </a:lnTo>
                  <a:lnTo>
                    <a:pt x="16613" y="1812"/>
                  </a:lnTo>
                  <a:lnTo>
                    <a:pt x="16672" y="1845"/>
                  </a:lnTo>
                  <a:lnTo>
                    <a:pt x="16656" y="1850"/>
                  </a:lnTo>
                  <a:lnTo>
                    <a:pt x="16656" y="1866"/>
                  </a:lnTo>
                  <a:lnTo>
                    <a:pt x="16684" y="1850"/>
                  </a:lnTo>
                  <a:lnTo>
                    <a:pt x="16739" y="1866"/>
                  </a:lnTo>
                  <a:lnTo>
                    <a:pt x="16722" y="1878"/>
                  </a:lnTo>
                  <a:lnTo>
                    <a:pt x="16819" y="1906"/>
                  </a:lnTo>
                  <a:lnTo>
                    <a:pt x="16814" y="1906"/>
                  </a:lnTo>
                  <a:lnTo>
                    <a:pt x="16831" y="1923"/>
                  </a:lnTo>
                  <a:lnTo>
                    <a:pt x="16899" y="1956"/>
                  </a:lnTo>
                  <a:lnTo>
                    <a:pt x="16906" y="1973"/>
                  </a:lnTo>
                  <a:lnTo>
                    <a:pt x="16899" y="1977"/>
                  </a:lnTo>
                  <a:lnTo>
                    <a:pt x="16906" y="1989"/>
                  </a:lnTo>
                  <a:lnTo>
                    <a:pt x="16916" y="1977"/>
                  </a:lnTo>
                  <a:lnTo>
                    <a:pt x="16958" y="1902"/>
                  </a:lnTo>
                  <a:lnTo>
                    <a:pt x="16954" y="1902"/>
                  </a:lnTo>
                  <a:lnTo>
                    <a:pt x="16970" y="1890"/>
                  </a:lnTo>
                  <a:lnTo>
                    <a:pt x="16937" y="1902"/>
                  </a:lnTo>
                  <a:lnTo>
                    <a:pt x="16916" y="1885"/>
                  </a:lnTo>
                  <a:lnTo>
                    <a:pt x="16890" y="1850"/>
                  </a:lnTo>
                  <a:lnTo>
                    <a:pt x="16890" y="1812"/>
                  </a:lnTo>
                  <a:lnTo>
                    <a:pt x="16883" y="1824"/>
                  </a:lnTo>
                  <a:lnTo>
                    <a:pt x="16814" y="1795"/>
                  </a:lnTo>
                  <a:lnTo>
                    <a:pt x="16814" y="1824"/>
                  </a:lnTo>
                  <a:lnTo>
                    <a:pt x="16798" y="1812"/>
                  </a:lnTo>
                  <a:lnTo>
                    <a:pt x="16798" y="1791"/>
                  </a:lnTo>
                  <a:lnTo>
                    <a:pt x="16807" y="1758"/>
                  </a:lnTo>
                  <a:lnTo>
                    <a:pt x="16814" y="1751"/>
                  </a:lnTo>
                  <a:lnTo>
                    <a:pt x="16814" y="1767"/>
                  </a:lnTo>
                  <a:lnTo>
                    <a:pt x="16831" y="1758"/>
                  </a:lnTo>
                  <a:lnTo>
                    <a:pt x="16835" y="1739"/>
                  </a:lnTo>
                  <a:lnTo>
                    <a:pt x="16819" y="1734"/>
                  </a:lnTo>
                  <a:lnTo>
                    <a:pt x="16835" y="1663"/>
                  </a:lnTo>
                  <a:lnTo>
                    <a:pt x="16819" y="1647"/>
                  </a:lnTo>
                  <a:lnTo>
                    <a:pt x="16793" y="1663"/>
                  </a:lnTo>
                  <a:lnTo>
                    <a:pt x="16793" y="1640"/>
                  </a:lnTo>
                  <a:lnTo>
                    <a:pt x="16807" y="1614"/>
                  </a:lnTo>
                  <a:lnTo>
                    <a:pt x="16798" y="1630"/>
                  </a:lnTo>
                  <a:lnTo>
                    <a:pt x="16793" y="1623"/>
                  </a:lnTo>
                  <a:lnTo>
                    <a:pt x="16807" y="1590"/>
                  </a:lnTo>
                  <a:lnTo>
                    <a:pt x="16883" y="1557"/>
                  </a:lnTo>
                  <a:lnTo>
                    <a:pt x="16916" y="1519"/>
                  </a:lnTo>
                  <a:lnTo>
                    <a:pt x="16954" y="1401"/>
                  </a:lnTo>
                  <a:lnTo>
                    <a:pt x="16970" y="1384"/>
                  </a:lnTo>
                  <a:lnTo>
                    <a:pt x="16975" y="1368"/>
                  </a:lnTo>
                  <a:lnTo>
                    <a:pt x="17013" y="1363"/>
                  </a:lnTo>
                  <a:lnTo>
                    <a:pt x="16991" y="1368"/>
                  </a:lnTo>
                  <a:lnTo>
                    <a:pt x="16996" y="1375"/>
                  </a:lnTo>
                  <a:lnTo>
                    <a:pt x="17138" y="1368"/>
                  </a:lnTo>
                  <a:lnTo>
                    <a:pt x="17171" y="1384"/>
                  </a:lnTo>
                  <a:lnTo>
                    <a:pt x="17154" y="1384"/>
                  </a:lnTo>
                  <a:lnTo>
                    <a:pt x="17223" y="1401"/>
                  </a:lnTo>
                  <a:lnTo>
                    <a:pt x="17213" y="1418"/>
                  </a:lnTo>
                  <a:lnTo>
                    <a:pt x="17230" y="1458"/>
                  </a:lnTo>
                  <a:lnTo>
                    <a:pt x="17197" y="1503"/>
                  </a:lnTo>
                  <a:lnTo>
                    <a:pt x="17192" y="1512"/>
                  </a:lnTo>
                  <a:lnTo>
                    <a:pt x="17192" y="1536"/>
                  </a:lnTo>
                  <a:lnTo>
                    <a:pt x="17154" y="1569"/>
                  </a:lnTo>
                  <a:lnTo>
                    <a:pt x="17171" y="1590"/>
                  </a:lnTo>
                  <a:lnTo>
                    <a:pt x="17209" y="1614"/>
                  </a:lnTo>
                  <a:lnTo>
                    <a:pt x="17209" y="1623"/>
                  </a:lnTo>
                  <a:lnTo>
                    <a:pt x="17223" y="1647"/>
                  </a:lnTo>
                  <a:lnTo>
                    <a:pt x="17213" y="1680"/>
                  </a:lnTo>
                  <a:lnTo>
                    <a:pt x="17223" y="1701"/>
                  </a:lnTo>
                  <a:lnTo>
                    <a:pt x="17192" y="1722"/>
                  </a:lnTo>
                  <a:lnTo>
                    <a:pt x="17209" y="1734"/>
                  </a:lnTo>
                  <a:lnTo>
                    <a:pt x="17197" y="1751"/>
                  </a:lnTo>
                  <a:lnTo>
                    <a:pt x="17213" y="1774"/>
                  </a:lnTo>
                  <a:lnTo>
                    <a:pt x="17197" y="1807"/>
                  </a:lnTo>
                  <a:lnTo>
                    <a:pt x="17209" y="1829"/>
                  </a:lnTo>
                  <a:lnTo>
                    <a:pt x="17197" y="1866"/>
                  </a:lnTo>
                  <a:lnTo>
                    <a:pt x="17209" y="1890"/>
                  </a:lnTo>
                  <a:lnTo>
                    <a:pt x="17213" y="1906"/>
                  </a:lnTo>
                  <a:lnTo>
                    <a:pt x="17268" y="1940"/>
                  </a:lnTo>
                  <a:lnTo>
                    <a:pt x="17284" y="1956"/>
                  </a:lnTo>
                  <a:lnTo>
                    <a:pt x="17268" y="1944"/>
                  </a:lnTo>
                  <a:lnTo>
                    <a:pt x="17246" y="1989"/>
                  </a:lnTo>
                  <a:lnTo>
                    <a:pt x="17239" y="1994"/>
                  </a:lnTo>
                  <a:lnTo>
                    <a:pt x="17251" y="2029"/>
                  </a:lnTo>
                  <a:lnTo>
                    <a:pt x="17239" y="2046"/>
                  </a:lnTo>
                  <a:lnTo>
                    <a:pt x="17209" y="2055"/>
                  </a:lnTo>
                  <a:lnTo>
                    <a:pt x="17209" y="2067"/>
                  </a:lnTo>
                  <a:lnTo>
                    <a:pt x="17192" y="2072"/>
                  </a:lnTo>
                  <a:lnTo>
                    <a:pt x="17197" y="2084"/>
                  </a:lnTo>
                  <a:lnTo>
                    <a:pt x="17192" y="2088"/>
                  </a:lnTo>
                  <a:lnTo>
                    <a:pt x="17171" y="2100"/>
                  </a:lnTo>
                  <a:lnTo>
                    <a:pt x="17185" y="2112"/>
                  </a:lnTo>
                  <a:lnTo>
                    <a:pt x="17176" y="2105"/>
                  </a:lnTo>
                  <a:lnTo>
                    <a:pt x="17154" y="2138"/>
                  </a:lnTo>
                  <a:lnTo>
                    <a:pt x="17121" y="2138"/>
                  </a:lnTo>
                  <a:lnTo>
                    <a:pt x="17138" y="2166"/>
                  </a:lnTo>
                  <a:lnTo>
                    <a:pt x="17138" y="2178"/>
                  </a:lnTo>
                  <a:lnTo>
                    <a:pt x="17100" y="2178"/>
                  </a:lnTo>
                  <a:lnTo>
                    <a:pt x="17088" y="2183"/>
                  </a:lnTo>
                  <a:lnTo>
                    <a:pt x="17079" y="2195"/>
                  </a:lnTo>
                  <a:lnTo>
                    <a:pt x="17046" y="2178"/>
                  </a:lnTo>
                  <a:lnTo>
                    <a:pt x="17079" y="2162"/>
                  </a:lnTo>
                  <a:lnTo>
                    <a:pt x="17046" y="2166"/>
                  </a:lnTo>
                  <a:lnTo>
                    <a:pt x="17013" y="2157"/>
                  </a:lnTo>
                  <a:lnTo>
                    <a:pt x="16954" y="2157"/>
                  </a:lnTo>
                  <a:lnTo>
                    <a:pt x="16958" y="2162"/>
                  </a:lnTo>
                  <a:lnTo>
                    <a:pt x="16958" y="2178"/>
                  </a:lnTo>
                  <a:lnTo>
                    <a:pt x="16982" y="2195"/>
                  </a:lnTo>
                  <a:lnTo>
                    <a:pt x="17050" y="2216"/>
                  </a:lnTo>
                  <a:lnTo>
                    <a:pt x="17133" y="2211"/>
                  </a:lnTo>
                  <a:lnTo>
                    <a:pt x="17171" y="2223"/>
                  </a:lnTo>
                  <a:lnTo>
                    <a:pt x="17192" y="2216"/>
                  </a:lnTo>
                  <a:lnTo>
                    <a:pt x="17192" y="2195"/>
                  </a:lnTo>
                  <a:lnTo>
                    <a:pt x="17197" y="2178"/>
                  </a:lnTo>
                  <a:lnTo>
                    <a:pt x="17230" y="2178"/>
                  </a:lnTo>
                  <a:lnTo>
                    <a:pt x="17294" y="2138"/>
                  </a:lnTo>
                  <a:lnTo>
                    <a:pt x="17298" y="2105"/>
                  </a:lnTo>
                  <a:lnTo>
                    <a:pt x="17298" y="2100"/>
                  </a:lnTo>
                  <a:lnTo>
                    <a:pt x="17353" y="2051"/>
                  </a:lnTo>
                  <a:lnTo>
                    <a:pt x="17360" y="2018"/>
                  </a:lnTo>
                  <a:lnTo>
                    <a:pt x="17353" y="1994"/>
                  </a:lnTo>
                  <a:lnTo>
                    <a:pt x="17332" y="1961"/>
                  </a:lnTo>
                  <a:lnTo>
                    <a:pt x="17336" y="1944"/>
                  </a:lnTo>
                  <a:lnTo>
                    <a:pt x="17336" y="1923"/>
                  </a:lnTo>
                  <a:lnTo>
                    <a:pt x="17353" y="1918"/>
                  </a:lnTo>
                  <a:lnTo>
                    <a:pt x="17483" y="1890"/>
                  </a:lnTo>
                  <a:lnTo>
                    <a:pt x="17495" y="1902"/>
                  </a:lnTo>
                  <a:lnTo>
                    <a:pt x="17495" y="1918"/>
                  </a:lnTo>
                  <a:lnTo>
                    <a:pt x="17537" y="1944"/>
                  </a:lnTo>
                  <a:lnTo>
                    <a:pt x="17537" y="1961"/>
                  </a:lnTo>
                  <a:lnTo>
                    <a:pt x="17532" y="1973"/>
                  </a:lnTo>
                  <a:lnTo>
                    <a:pt x="17537" y="1977"/>
                  </a:lnTo>
                  <a:lnTo>
                    <a:pt x="17532" y="2013"/>
                  </a:lnTo>
                  <a:lnTo>
                    <a:pt x="17537" y="2018"/>
                  </a:lnTo>
                  <a:lnTo>
                    <a:pt x="17520" y="2034"/>
                  </a:lnTo>
                  <a:lnTo>
                    <a:pt x="17570" y="2067"/>
                  </a:lnTo>
                  <a:lnTo>
                    <a:pt x="17662" y="2067"/>
                  </a:lnTo>
                  <a:lnTo>
                    <a:pt x="17646" y="2051"/>
                  </a:lnTo>
                  <a:lnTo>
                    <a:pt x="17624" y="2055"/>
                  </a:lnTo>
                  <a:lnTo>
                    <a:pt x="17617" y="2055"/>
                  </a:lnTo>
                  <a:lnTo>
                    <a:pt x="17629" y="2051"/>
                  </a:lnTo>
                  <a:lnTo>
                    <a:pt x="17549" y="2046"/>
                  </a:lnTo>
                  <a:lnTo>
                    <a:pt x="17554" y="1994"/>
                  </a:lnTo>
                  <a:lnTo>
                    <a:pt x="17601" y="1977"/>
                  </a:lnTo>
                  <a:lnTo>
                    <a:pt x="17587" y="1961"/>
                  </a:lnTo>
                  <a:lnTo>
                    <a:pt x="17587" y="1944"/>
                  </a:lnTo>
                  <a:lnTo>
                    <a:pt x="17570" y="1944"/>
                  </a:lnTo>
                  <a:lnTo>
                    <a:pt x="17563" y="1902"/>
                  </a:lnTo>
                  <a:lnTo>
                    <a:pt x="17445" y="1850"/>
                  </a:lnTo>
                  <a:lnTo>
                    <a:pt x="17407" y="1850"/>
                  </a:lnTo>
                  <a:lnTo>
                    <a:pt x="17360" y="1878"/>
                  </a:lnTo>
                  <a:lnTo>
                    <a:pt x="17332" y="1866"/>
                  </a:lnTo>
                  <a:lnTo>
                    <a:pt x="17298" y="1878"/>
                  </a:lnTo>
                  <a:lnTo>
                    <a:pt x="17284" y="1862"/>
                  </a:lnTo>
                  <a:lnTo>
                    <a:pt x="17298" y="1829"/>
                  </a:lnTo>
                  <a:lnTo>
                    <a:pt x="17268" y="1791"/>
                  </a:lnTo>
                  <a:lnTo>
                    <a:pt x="17294" y="1751"/>
                  </a:lnTo>
                  <a:lnTo>
                    <a:pt x="17284" y="1739"/>
                  </a:lnTo>
                  <a:lnTo>
                    <a:pt x="17332" y="1696"/>
                  </a:lnTo>
                  <a:lnTo>
                    <a:pt x="17332" y="1668"/>
                  </a:lnTo>
                  <a:lnTo>
                    <a:pt x="17298" y="1647"/>
                  </a:lnTo>
                  <a:lnTo>
                    <a:pt x="17298" y="1630"/>
                  </a:lnTo>
                  <a:lnTo>
                    <a:pt x="17268" y="1590"/>
                  </a:lnTo>
                  <a:lnTo>
                    <a:pt x="17239" y="1573"/>
                  </a:lnTo>
                  <a:lnTo>
                    <a:pt x="17268" y="1545"/>
                  </a:lnTo>
                  <a:lnTo>
                    <a:pt x="17268" y="1529"/>
                  </a:lnTo>
                  <a:lnTo>
                    <a:pt x="17268" y="1519"/>
                  </a:lnTo>
                  <a:lnTo>
                    <a:pt x="17369" y="1479"/>
                  </a:lnTo>
                  <a:lnTo>
                    <a:pt x="17386" y="1462"/>
                  </a:lnTo>
                  <a:lnTo>
                    <a:pt x="17386" y="1441"/>
                  </a:lnTo>
                  <a:lnTo>
                    <a:pt x="17374" y="1408"/>
                  </a:lnTo>
                  <a:lnTo>
                    <a:pt x="17360" y="1384"/>
                  </a:lnTo>
                  <a:lnTo>
                    <a:pt x="17374" y="1375"/>
                  </a:lnTo>
                  <a:lnTo>
                    <a:pt x="17402" y="1384"/>
                  </a:lnTo>
                  <a:lnTo>
                    <a:pt x="17412" y="1392"/>
                  </a:lnTo>
                  <a:lnTo>
                    <a:pt x="17402" y="1401"/>
                  </a:lnTo>
                  <a:lnTo>
                    <a:pt x="17424" y="1418"/>
                  </a:lnTo>
                  <a:lnTo>
                    <a:pt x="17412" y="1425"/>
                  </a:lnTo>
                  <a:lnTo>
                    <a:pt x="17428" y="1458"/>
                  </a:lnTo>
                  <a:lnTo>
                    <a:pt x="17391" y="1512"/>
                  </a:lnTo>
                  <a:lnTo>
                    <a:pt x="17391" y="1529"/>
                  </a:lnTo>
                  <a:lnTo>
                    <a:pt x="17407" y="1545"/>
                  </a:lnTo>
                  <a:lnTo>
                    <a:pt x="17407" y="1557"/>
                  </a:lnTo>
                  <a:lnTo>
                    <a:pt x="17391" y="1569"/>
                  </a:lnTo>
                  <a:lnTo>
                    <a:pt x="17391" y="1573"/>
                  </a:lnTo>
                  <a:lnTo>
                    <a:pt x="17428" y="1590"/>
                  </a:lnTo>
                  <a:lnTo>
                    <a:pt x="17511" y="1602"/>
                  </a:lnTo>
                  <a:lnTo>
                    <a:pt x="17511" y="1614"/>
                  </a:lnTo>
                  <a:lnTo>
                    <a:pt x="17516" y="1607"/>
                  </a:lnTo>
                  <a:lnTo>
                    <a:pt x="17563" y="1607"/>
                  </a:lnTo>
                  <a:lnTo>
                    <a:pt x="17575" y="1614"/>
                  </a:lnTo>
                  <a:lnTo>
                    <a:pt x="17587" y="1630"/>
                  </a:lnTo>
                  <a:lnTo>
                    <a:pt x="17617" y="1640"/>
                  </a:lnTo>
                  <a:lnTo>
                    <a:pt x="17662" y="1630"/>
                  </a:lnTo>
                  <a:lnTo>
                    <a:pt x="17624" y="1630"/>
                  </a:lnTo>
                  <a:lnTo>
                    <a:pt x="17617" y="1630"/>
                  </a:lnTo>
                  <a:lnTo>
                    <a:pt x="17624" y="1614"/>
                  </a:lnTo>
                  <a:lnTo>
                    <a:pt x="17608" y="1614"/>
                  </a:lnTo>
                  <a:lnTo>
                    <a:pt x="17624" y="1623"/>
                  </a:lnTo>
                  <a:lnTo>
                    <a:pt x="17617" y="1623"/>
                  </a:lnTo>
                  <a:lnTo>
                    <a:pt x="17601" y="1614"/>
                  </a:lnTo>
                  <a:lnTo>
                    <a:pt x="17608" y="1590"/>
                  </a:lnTo>
                  <a:lnTo>
                    <a:pt x="17575" y="1590"/>
                  </a:lnTo>
                  <a:lnTo>
                    <a:pt x="17587" y="1573"/>
                  </a:lnTo>
                  <a:lnTo>
                    <a:pt x="17570" y="1590"/>
                  </a:lnTo>
                  <a:lnTo>
                    <a:pt x="17549" y="1585"/>
                  </a:lnTo>
                  <a:lnTo>
                    <a:pt x="17554" y="1590"/>
                  </a:lnTo>
                  <a:lnTo>
                    <a:pt x="17461" y="1552"/>
                  </a:lnTo>
                  <a:lnTo>
                    <a:pt x="17445" y="1512"/>
                  </a:lnTo>
                  <a:lnTo>
                    <a:pt x="17457" y="1503"/>
                  </a:lnTo>
                  <a:lnTo>
                    <a:pt x="17511" y="1491"/>
                  </a:lnTo>
                  <a:lnTo>
                    <a:pt x="17554" y="1519"/>
                  </a:lnTo>
                  <a:lnTo>
                    <a:pt x="17591" y="1512"/>
                  </a:lnTo>
                  <a:lnTo>
                    <a:pt x="17601" y="1495"/>
                  </a:lnTo>
                  <a:lnTo>
                    <a:pt x="17587" y="1479"/>
                  </a:lnTo>
                  <a:lnTo>
                    <a:pt x="17537" y="1479"/>
                  </a:lnTo>
                  <a:lnTo>
                    <a:pt x="17549" y="1462"/>
                  </a:lnTo>
                  <a:lnTo>
                    <a:pt x="17563" y="1474"/>
                  </a:lnTo>
                  <a:lnTo>
                    <a:pt x="17575" y="1446"/>
                  </a:lnTo>
                  <a:lnTo>
                    <a:pt x="17624" y="1441"/>
                  </a:lnTo>
                  <a:lnTo>
                    <a:pt x="17693" y="1446"/>
                  </a:lnTo>
                  <a:lnTo>
                    <a:pt x="17785" y="1479"/>
                  </a:lnTo>
                  <a:lnTo>
                    <a:pt x="17785" y="1491"/>
                  </a:lnTo>
                  <a:lnTo>
                    <a:pt x="17769" y="1491"/>
                  </a:lnTo>
                  <a:lnTo>
                    <a:pt x="17839" y="1536"/>
                  </a:lnTo>
                  <a:lnTo>
                    <a:pt x="17927" y="1529"/>
                  </a:lnTo>
                  <a:lnTo>
                    <a:pt x="17953" y="1536"/>
                  </a:lnTo>
                  <a:lnTo>
                    <a:pt x="17941" y="1552"/>
                  </a:lnTo>
                  <a:lnTo>
                    <a:pt x="17932" y="1569"/>
                  </a:lnTo>
                  <a:lnTo>
                    <a:pt x="17889" y="1590"/>
                  </a:lnTo>
                  <a:lnTo>
                    <a:pt x="17894" y="1614"/>
                  </a:lnTo>
                  <a:lnTo>
                    <a:pt x="17877" y="1630"/>
                  </a:lnTo>
                  <a:lnTo>
                    <a:pt x="17894" y="1656"/>
                  </a:lnTo>
                  <a:lnTo>
                    <a:pt x="17872" y="1684"/>
                  </a:lnTo>
                  <a:lnTo>
                    <a:pt x="17894" y="1734"/>
                  </a:lnTo>
                  <a:lnTo>
                    <a:pt x="17877" y="1684"/>
                  </a:lnTo>
                  <a:lnTo>
                    <a:pt x="17898" y="1680"/>
                  </a:lnTo>
                  <a:lnTo>
                    <a:pt x="17898" y="1656"/>
                  </a:lnTo>
                  <a:lnTo>
                    <a:pt x="17910" y="1630"/>
                  </a:lnTo>
                  <a:lnTo>
                    <a:pt x="17948" y="1640"/>
                  </a:lnTo>
                  <a:lnTo>
                    <a:pt x="17941" y="1701"/>
                  </a:lnTo>
                  <a:lnTo>
                    <a:pt x="17910" y="1722"/>
                  </a:lnTo>
                  <a:lnTo>
                    <a:pt x="17910" y="1734"/>
                  </a:lnTo>
                  <a:lnTo>
                    <a:pt x="17948" y="1751"/>
                  </a:lnTo>
                  <a:lnTo>
                    <a:pt x="17948" y="1739"/>
                  </a:lnTo>
                  <a:lnTo>
                    <a:pt x="17932" y="1718"/>
                  </a:lnTo>
                  <a:lnTo>
                    <a:pt x="17969" y="1718"/>
                  </a:lnTo>
                  <a:lnTo>
                    <a:pt x="17986" y="1701"/>
                  </a:lnTo>
                  <a:lnTo>
                    <a:pt x="17969" y="1640"/>
                  </a:lnTo>
                  <a:lnTo>
                    <a:pt x="17948" y="1602"/>
                  </a:lnTo>
                  <a:lnTo>
                    <a:pt x="17979" y="1545"/>
                  </a:lnTo>
                  <a:lnTo>
                    <a:pt x="17965" y="1519"/>
                  </a:lnTo>
                  <a:lnTo>
                    <a:pt x="17915" y="1512"/>
                  </a:lnTo>
                  <a:lnTo>
                    <a:pt x="17877" y="1479"/>
                  </a:lnTo>
                  <a:lnTo>
                    <a:pt x="17889" y="1474"/>
                  </a:lnTo>
                  <a:lnTo>
                    <a:pt x="17877" y="1458"/>
                  </a:lnTo>
                  <a:lnTo>
                    <a:pt x="17806" y="1446"/>
                  </a:lnTo>
                  <a:lnTo>
                    <a:pt x="17780" y="1425"/>
                  </a:lnTo>
                  <a:lnTo>
                    <a:pt x="17785" y="1408"/>
                  </a:lnTo>
                  <a:lnTo>
                    <a:pt x="17769" y="1392"/>
                  </a:lnTo>
                  <a:lnTo>
                    <a:pt x="17785" y="1375"/>
                  </a:lnTo>
                  <a:lnTo>
                    <a:pt x="17785" y="1363"/>
                  </a:lnTo>
                  <a:lnTo>
                    <a:pt x="17752" y="1347"/>
                  </a:lnTo>
                  <a:lnTo>
                    <a:pt x="17764" y="1335"/>
                  </a:lnTo>
                  <a:lnTo>
                    <a:pt x="17738" y="1335"/>
                  </a:lnTo>
                  <a:lnTo>
                    <a:pt x="17764" y="1330"/>
                  </a:lnTo>
                  <a:lnTo>
                    <a:pt x="17747" y="1314"/>
                  </a:lnTo>
                  <a:lnTo>
                    <a:pt x="17769" y="1290"/>
                  </a:lnTo>
                  <a:lnTo>
                    <a:pt x="17764" y="1290"/>
                  </a:lnTo>
                  <a:lnTo>
                    <a:pt x="17764" y="1281"/>
                  </a:lnTo>
                  <a:lnTo>
                    <a:pt x="18054" y="1252"/>
                  </a:lnTo>
                  <a:lnTo>
                    <a:pt x="18092" y="1257"/>
                  </a:lnTo>
                  <a:lnTo>
                    <a:pt x="18146" y="1240"/>
                  </a:lnTo>
                  <a:lnTo>
                    <a:pt x="18222" y="1240"/>
                  </a:lnTo>
                  <a:lnTo>
                    <a:pt x="18217" y="1252"/>
                  </a:lnTo>
                  <a:lnTo>
                    <a:pt x="18130" y="1297"/>
                  </a:lnTo>
                  <a:lnTo>
                    <a:pt x="18130" y="1314"/>
                  </a:lnTo>
                  <a:lnTo>
                    <a:pt x="18196" y="1347"/>
                  </a:lnTo>
                  <a:lnTo>
                    <a:pt x="18201" y="1363"/>
                  </a:lnTo>
                  <a:lnTo>
                    <a:pt x="18196" y="1335"/>
                  </a:lnTo>
                  <a:lnTo>
                    <a:pt x="18142" y="1314"/>
                  </a:lnTo>
                  <a:lnTo>
                    <a:pt x="18130" y="1290"/>
                  </a:lnTo>
                  <a:lnTo>
                    <a:pt x="18234" y="1273"/>
                  </a:lnTo>
                  <a:lnTo>
                    <a:pt x="18267" y="1236"/>
                  </a:lnTo>
                  <a:lnTo>
                    <a:pt x="18239" y="1240"/>
                  </a:lnTo>
                  <a:lnTo>
                    <a:pt x="18217" y="1219"/>
                  </a:lnTo>
                  <a:lnTo>
                    <a:pt x="18250" y="1219"/>
                  </a:lnTo>
                  <a:lnTo>
                    <a:pt x="18239" y="1207"/>
                  </a:lnTo>
                  <a:lnTo>
                    <a:pt x="18213" y="1207"/>
                  </a:lnTo>
                  <a:lnTo>
                    <a:pt x="18201" y="1186"/>
                  </a:lnTo>
                  <a:lnTo>
                    <a:pt x="18184" y="1186"/>
                  </a:lnTo>
                  <a:lnTo>
                    <a:pt x="18142" y="1179"/>
                  </a:lnTo>
                  <a:lnTo>
                    <a:pt x="18142" y="1170"/>
                  </a:lnTo>
                  <a:lnTo>
                    <a:pt x="18168" y="1179"/>
                  </a:lnTo>
                  <a:lnTo>
                    <a:pt x="18146" y="1162"/>
                  </a:lnTo>
                  <a:lnTo>
                    <a:pt x="18180" y="1153"/>
                  </a:lnTo>
                  <a:lnTo>
                    <a:pt x="18213" y="1162"/>
                  </a:lnTo>
                  <a:lnTo>
                    <a:pt x="18196" y="1179"/>
                  </a:lnTo>
                  <a:lnTo>
                    <a:pt x="18222" y="1170"/>
                  </a:lnTo>
                  <a:lnTo>
                    <a:pt x="18184" y="1146"/>
                  </a:lnTo>
                  <a:lnTo>
                    <a:pt x="18196" y="1141"/>
                  </a:lnTo>
                  <a:lnTo>
                    <a:pt x="18184" y="1141"/>
                  </a:lnTo>
                  <a:lnTo>
                    <a:pt x="18130" y="1129"/>
                  </a:lnTo>
                  <a:lnTo>
                    <a:pt x="18158" y="1113"/>
                  </a:lnTo>
                  <a:lnTo>
                    <a:pt x="18146" y="1108"/>
                  </a:lnTo>
                  <a:lnTo>
                    <a:pt x="18213" y="1129"/>
                  </a:lnTo>
                  <a:lnTo>
                    <a:pt x="18213" y="1125"/>
                  </a:lnTo>
                  <a:lnTo>
                    <a:pt x="18201" y="1125"/>
                  </a:lnTo>
                  <a:lnTo>
                    <a:pt x="18239" y="1087"/>
                  </a:lnTo>
                  <a:lnTo>
                    <a:pt x="18234" y="1075"/>
                  </a:lnTo>
                  <a:lnTo>
                    <a:pt x="18255" y="1087"/>
                  </a:lnTo>
                  <a:lnTo>
                    <a:pt x="18272" y="1075"/>
                  </a:lnTo>
                  <a:lnTo>
                    <a:pt x="18213" y="1070"/>
                  </a:lnTo>
                  <a:lnTo>
                    <a:pt x="18217" y="1051"/>
                  </a:lnTo>
                  <a:lnTo>
                    <a:pt x="18288" y="1058"/>
                  </a:lnTo>
                  <a:lnTo>
                    <a:pt x="18373" y="1002"/>
                  </a:lnTo>
                  <a:lnTo>
                    <a:pt x="18395" y="1014"/>
                  </a:lnTo>
                  <a:lnTo>
                    <a:pt x="18428" y="997"/>
                  </a:lnTo>
                  <a:lnTo>
                    <a:pt x="18487" y="981"/>
                  </a:lnTo>
                  <a:lnTo>
                    <a:pt x="18541" y="981"/>
                  </a:lnTo>
                  <a:lnTo>
                    <a:pt x="18546" y="976"/>
                  </a:lnTo>
                  <a:lnTo>
                    <a:pt x="18720" y="943"/>
                  </a:lnTo>
                  <a:lnTo>
                    <a:pt x="18671" y="943"/>
                  </a:lnTo>
                  <a:lnTo>
                    <a:pt x="18666" y="947"/>
                  </a:lnTo>
                  <a:lnTo>
                    <a:pt x="18654" y="931"/>
                  </a:lnTo>
                  <a:lnTo>
                    <a:pt x="18645" y="943"/>
                  </a:lnTo>
                  <a:lnTo>
                    <a:pt x="18645" y="947"/>
                  </a:lnTo>
                  <a:lnTo>
                    <a:pt x="18628" y="943"/>
                  </a:lnTo>
                  <a:lnTo>
                    <a:pt x="18633" y="924"/>
                  </a:lnTo>
                  <a:lnTo>
                    <a:pt x="18654" y="924"/>
                  </a:lnTo>
                  <a:lnTo>
                    <a:pt x="18650" y="919"/>
                  </a:lnTo>
                  <a:lnTo>
                    <a:pt x="18666" y="919"/>
                  </a:lnTo>
                  <a:lnTo>
                    <a:pt x="18654" y="924"/>
                  </a:lnTo>
                  <a:lnTo>
                    <a:pt x="18666" y="931"/>
                  </a:lnTo>
                  <a:lnTo>
                    <a:pt x="18709" y="924"/>
                  </a:lnTo>
                  <a:lnTo>
                    <a:pt x="18683" y="907"/>
                  </a:lnTo>
                  <a:lnTo>
                    <a:pt x="18735" y="907"/>
                  </a:lnTo>
                  <a:lnTo>
                    <a:pt x="18742" y="924"/>
                  </a:lnTo>
                  <a:lnTo>
                    <a:pt x="18758" y="919"/>
                  </a:lnTo>
                  <a:lnTo>
                    <a:pt x="18742" y="907"/>
                  </a:lnTo>
                  <a:lnTo>
                    <a:pt x="18751" y="907"/>
                  </a:lnTo>
                  <a:lnTo>
                    <a:pt x="18865" y="919"/>
                  </a:lnTo>
                  <a:lnTo>
                    <a:pt x="18817" y="947"/>
                  </a:lnTo>
                  <a:lnTo>
                    <a:pt x="18827" y="947"/>
                  </a:lnTo>
                  <a:lnTo>
                    <a:pt x="18843" y="943"/>
                  </a:lnTo>
                  <a:lnTo>
                    <a:pt x="18881" y="931"/>
                  </a:lnTo>
                  <a:lnTo>
                    <a:pt x="18886" y="943"/>
                  </a:lnTo>
                  <a:lnTo>
                    <a:pt x="18881" y="947"/>
                  </a:lnTo>
                  <a:lnTo>
                    <a:pt x="18935" y="924"/>
                  </a:lnTo>
                  <a:lnTo>
                    <a:pt x="18940" y="924"/>
                  </a:lnTo>
                  <a:lnTo>
                    <a:pt x="18924" y="943"/>
                  </a:lnTo>
                  <a:lnTo>
                    <a:pt x="18973" y="931"/>
                  </a:lnTo>
                  <a:lnTo>
                    <a:pt x="18957" y="924"/>
                  </a:lnTo>
                  <a:lnTo>
                    <a:pt x="18994" y="919"/>
                  </a:lnTo>
                  <a:lnTo>
                    <a:pt x="19006" y="919"/>
                  </a:lnTo>
                  <a:lnTo>
                    <a:pt x="18978" y="907"/>
                  </a:lnTo>
                  <a:lnTo>
                    <a:pt x="19044" y="891"/>
                  </a:lnTo>
                  <a:lnTo>
                    <a:pt x="19032" y="903"/>
                  </a:lnTo>
                  <a:lnTo>
                    <a:pt x="19082" y="903"/>
                  </a:lnTo>
                  <a:lnTo>
                    <a:pt x="19065" y="907"/>
                  </a:lnTo>
                  <a:lnTo>
                    <a:pt x="19098" y="907"/>
                  </a:lnTo>
                  <a:lnTo>
                    <a:pt x="19087" y="919"/>
                  </a:lnTo>
                  <a:lnTo>
                    <a:pt x="19113" y="924"/>
                  </a:lnTo>
                  <a:lnTo>
                    <a:pt x="19103" y="959"/>
                  </a:lnTo>
                  <a:lnTo>
                    <a:pt x="19075" y="964"/>
                  </a:lnTo>
                  <a:lnTo>
                    <a:pt x="19065" y="997"/>
                  </a:lnTo>
                  <a:lnTo>
                    <a:pt x="19103" y="1014"/>
                  </a:lnTo>
                  <a:lnTo>
                    <a:pt x="19141" y="1051"/>
                  </a:lnTo>
                  <a:lnTo>
                    <a:pt x="19136" y="1035"/>
                  </a:lnTo>
                  <a:lnTo>
                    <a:pt x="19113" y="1018"/>
                  </a:lnTo>
                  <a:lnTo>
                    <a:pt x="19120" y="1014"/>
                  </a:lnTo>
                  <a:lnTo>
                    <a:pt x="19075" y="997"/>
                  </a:lnTo>
                  <a:lnTo>
                    <a:pt x="19082" y="964"/>
                  </a:lnTo>
                  <a:lnTo>
                    <a:pt x="19103" y="964"/>
                  </a:lnTo>
                  <a:lnTo>
                    <a:pt x="19120" y="947"/>
                  </a:lnTo>
                  <a:lnTo>
                    <a:pt x="19120" y="919"/>
                  </a:lnTo>
                  <a:lnTo>
                    <a:pt x="19103" y="891"/>
                  </a:lnTo>
                  <a:lnTo>
                    <a:pt x="19061" y="874"/>
                  </a:lnTo>
                  <a:lnTo>
                    <a:pt x="19044" y="865"/>
                  </a:lnTo>
                  <a:lnTo>
                    <a:pt x="19188" y="853"/>
                  </a:lnTo>
                  <a:lnTo>
                    <a:pt x="19280" y="874"/>
                  </a:lnTo>
                  <a:lnTo>
                    <a:pt x="19188" y="848"/>
                  </a:lnTo>
                  <a:lnTo>
                    <a:pt x="19205" y="848"/>
                  </a:lnTo>
                  <a:lnTo>
                    <a:pt x="19212" y="820"/>
                  </a:lnTo>
                  <a:lnTo>
                    <a:pt x="19188" y="799"/>
                  </a:lnTo>
                  <a:lnTo>
                    <a:pt x="19195" y="780"/>
                  </a:lnTo>
                  <a:lnTo>
                    <a:pt x="19212" y="780"/>
                  </a:lnTo>
                  <a:lnTo>
                    <a:pt x="19212" y="763"/>
                  </a:lnTo>
                  <a:lnTo>
                    <a:pt x="19276" y="721"/>
                  </a:lnTo>
                  <a:lnTo>
                    <a:pt x="19292" y="725"/>
                  </a:lnTo>
                  <a:lnTo>
                    <a:pt x="19351" y="681"/>
                  </a:lnTo>
                  <a:lnTo>
                    <a:pt x="19427" y="671"/>
                  </a:lnTo>
                  <a:lnTo>
                    <a:pt x="19439" y="671"/>
                  </a:lnTo>
                  <a:lnTo>
                    <a:pt x="19427" y="681"/>
                  </a:lnTo>
                  <a:lnTo>
                    <a:pt x="19460" y="671"/>
                  </a:lnTo>
                  <a:lnTo>
                    <a:pt x="19476" y="697"/>
                  </a:lnTo>
                  <a:lnTo>
                    <a:pt x="19507" y="697"/>
                  </a:lnTo>
                  <a:lnTo>
                    <a:pt x="19535" y="697"/>
                  </a:lnTo>
                  <a:lnTo>
                    <a:pt x="19552" y="721"/>
                  </a:lnTo>
                  <a:lnTo>
                    <a:pt x="19566" y="725"/>
                  </a:lnTo>
                  <a:lnTo>
                    <a:pt x="19528" y="725"/>
                  </a:lnTo>
                  <a:lnTo>
                    <a:pt x="19514" y="742"/>
                  </a:lnTo>
                  <a:lnTo>
                    <a:pt x="19422" y="763"/>
                  </a:lnTo>
                  <a:lnTo>
                    <a:pt x="19545" y="758"/>
                  </a:lnTo>
                  <a:lnTo>
                    <a:pt x="19535" y="775"/>
                  </a:lnTo>
                  <a:lnTo>
                    <a:pt x="19514" y="780"/>
                  </a:lnTo>
                  <a:lnTo>
                    <a:pt x="19604" y="775"/>
                  </a:lnTo>
                  <a:lnTo>
                    <a:pt x="19654" y="792"/>
                  </a:lnTo>
                  <a:lnTo>
                    <a:pt x="19637" y="799"/>
                  </a:lnTo>
                  <a:lnTo>
                    <a:pt x="19642" y="799"/>
                  </a:lnTo>
                  <a:lnTo>
                    <a:pt x="19590" y="848"/>
                  </a:lnTo>
                  <a:lnTo>
                    <a:pt x="19573" y="848"/>
                  </a:lnTo>
                  <a:lnTo>
                    <a:pt x="19573" y="853"/>
                  </a:lnTo>
                  <a:lnTo>
                    <a:pt x="19687" y="853"/>
                  </a:lnTo>
                  <a:lnTo>
                    <a:pt x="19691" y="836"/>
                  </a:lnTo>
                  <a:lnTo>
                    <a:pt x="19687" y="832"/>
                  </a:lnTo>
                  <a:lnTo>
                    <a:pt x="19687" y="820"/>
                  </a:lnTo>
                  <a:lnTo>
                    <a:pt x="19831" y="832"/>
                  </a:lnTo>
                  <a:lnTo>
                    <a:pt x="19906" y="820"/>
                  </a:lnTo>
                  <a:lnTo>
                    <a:pt x="19982" y="865"/>
                  </a:lnTo>
                  <a:lnTo>
                    <a:pt x="19961" y="874"/>
                  </a:lnTo>
                  <a:lnTo>
                    <a:pt x="19994" y="865"/>
                  </a:lnTo>
                  <a:lnTo>
                    <a:pt x="20020" y="886"/>
                  </a:lnTo>
                  <a:lnTo>
                    <a:pt x="20015" y="903"/>
                  </a:lnTo>
                  <a:lnTo>
                    <a:pt x="20010" y="891"/>
                  </a:lnTo>
                  <a:lnTo>
                    <a:pt x="20031" y="907"/>
                  </a:lnTo>
                  <a:lnTo>
                    <a:pt x="20010" y="924"/>
                  </a:lnTo>
                  <a:lnTo>
                    <a:pt x="20065" y="907"/>
                  </a:lnTo>
                  <a:lnTo>
                    <a:pt x="20036" y="891"/>
                  </a:lnTo>
                  <a:lnTo>
                    <a:pt x="20065" y="891"/>
                  </a:lnTo>
                  <a:lnTo>
                    <a:pt x="20074" y="907"/>
                  </a:lnTo>
                  <a:lnTo>
                    <a:pt x="20074" y="947"/>
                  </a:lnTo>
                  <a:lnTo>
                    <a:pt x="20091" y="943"/>
                  </a:lnTo>
                  <a:lnTo>
                    <a:pt x="20102" y="959"/>
                  </a:lnTo>
                  <a:lnTo>
                    <a:pt x="20091" y="985"/>
                  </a:lnTo>
                  <a:lnTo>
                    <a:pt x="20074" y="997"/>
                  </a:lnTo>
                  <a:lnTo>
                    <a:pt x="20069" y="997"/>
                  </a:lnTo>
                  <a:lnTo>
                    <a:pt x="20086" y="981"/>
                  </a:lnTo>
                  <a:lnTo>
                    <a:pt x="19994" y="959"/>
                  </a:lnTo>
                  <a:lnTo>
                    <a:pt x="20031" y="976"/>
                  </a:lnTo>
                  <a:lnTo>
                    <a:pt x="20031" y="997"/>
                  </a:lnTo>
                  <a:lnTo>
                    <a:pt x="20065" y="981"/>
                  </a:lnTo>
                  <a:lnTo>
                    <a:pt x="20065" y="997"/>
                  </a:lnTo>
                  <a:lnTo>
                    <a:pt x="20086" y="1002"/>
                  </a:lnTo>
                  <a:lnTo>
                    <a:pt x="20091" y="1018"/>
                  </a:lnTo>
                  <a:lnTo>
                    <a:pt x="20074" y="1018"/>
                  </a:lnTo>
                  <a:lnTo>
                    <a:pt x="20086" y="1030"/>
                  </a:lnTo>
                  <a:lnTo>
                    <a:pt x="20031" y="1075"/>
                  </a:lnTo>
                  <a:lnTo>
                    <a:pt x="19977" y="1092"/>
                  </a:lnTo>
                  <a:lnTo>
                    <a:pt x="19956" y="1125"/>
                  </a:lnTo>
                  <a:lnTo>
                    <a:pt x="19930" y="1125"/>
                  </a:lnTo>
                  <a:lnTo>
                    <a:pt x="19902" y="1141"/>
                  </a:lnTo>
                  <a:lnTo>
                    <a:pt x="19854" y="1153"/>
                  </a:lnTo>
                  <a:lnTo>
                    <a:pt x="19859" y="1153"/>
                  </a:lnTo>
                  <a:lnTo>
                    <a:pt x="19847" y="1170"/>
                  </a:lnTo>
                  <a:lnTo>
                    <a:pt x="19800" y="1170"/>
                  </a:lnTo>
                  <a:lnTo>
                    <a:pt x="19831" y="1179"/>
                  </a:lnTo>
                  <a:lnTo>
                    <a:pt x="19821" y="1195"/>
                  </a:lnTo>
                  <a:lnTo>
                    <a:pt x="19767" y="1219"/>
                  </a:lnTo>
                  <a:lnTo>
                    <a:pt x="19708" y="1264"/>
                  </a:lnTo>
                  <a:lnTo>
                    <a:pt x="19628" y="1273"/>
                  </a:lnTo>
                  <a:lnTo>
                    <a:pt x="19628" y="1281"/>
                  </a:lnTo>
                  <a:lnTo>
                    <a:pt x="19604" y="1314"/>
                  </a:lnTo>
                  <a:lnTo>
                    <a:pt x="19552" y="1318"/>
                  </a:lnTo>
                  <a:lnTo>
                    <a:pt x="19535" y="1363"/>
                  </a:lnTo>
                  <a:lnTo>
                    <a:pt x="19498" y="1392"/>
                  </a:lnTo>
                  <a:lnTo>
                    <a:pt x="19566" y="1363"/>
                  </a:lnTo>
                  <a:lnTo>
                    <a:pt x="19561" y="1347"/>
                  </a:lnTo>
                  <a:lnTo>
                    <a:pt x="19573" y="1330"/>
                  </a:lnTo>
                  <a:lnTo>
                    <a:pt x="19604" y="1335"/>
                  </a:lnTo>
                  <a:lnTo>
                    <a:pt x="19713" y="1330"/>
                  </a:lnTo>
                  <a:lnTo>
                    <a:pt x="19708" y="1318"/>
                  </a:lnTo>
                  <a:lnTo>
                    <a:pt x="19779" y="1307"/>
                  </a:lnTo>
                  <a:lnTo>
                    <a:pt x="19779" y="1290"/>
                  </a:lnTo>
                  <a:lnTo>
                    <a:pt x="19793" y="1297"/>
                  </a:lnTo>
                  <a:lnTo>
                    <a:pt x="19779" y="1281"/>
                  </a:lnTo>
                  <a:lnTo>
                    <a:pt x="19817" y="1297"/>
                  </a:lnTo>
                  <a:lnTo>
                    <a:pt x="19892" y="1264"/>
                  </a:lnTo>
                  <a:lnTo>
                    <a:pt x="19892" y="1252"/>
                  </a:lnTo>
                  <a:lnTo>
                    <a:pt x="19876" y="1252"/>
                  </a:lnTo>
                  <a:lnTo>
                    <a:pt x="19817" y="1264"/>
                  </a:lnTo>
                  <a:lnTo>
                    <a:pt x="19800" y="1252"/>
                  </a:lnTo>
                  <a:lnTo>
                    <a:pt x="19821" y="1224"/>
                  </a:lnTo>
                  <a:lnTo>
                    <a:pt x="19847" y="1219"/>
                  </a:lnTo>
                  <a:lnTo>
                    <a:pt x="19902" y="1236"/>
                  </a:lnTo>
                  <a:lnTo>
                    <a:pt x="19906" y="1219"/>
                  </a:lnTo>
                  <a:lnTo>
                    <a:pt x="19939" y="1207"/>
                  </a:lnTo>
                  <a:lnTo>
                    <a:pt x="19913" y="1224"/>
                  </a:lnTo>
                  <a:lnTo>
                    <a:pt x="19930" y="1240"/>
                  </a:lnTo>
                  <a:lnTo>
                    <a:pt x="19982" y="1257"/>
                  </a:lnTo>
                  <a:lnTo>
                    <a:pt x="20031" y="1252"/>
                  </a:lnTo>
                  <a:lnTo>
                    <a:pt x="20036" y="1240"/>
                  </a:lnTo>
                  <a:lnTo>
                    <a:pt x="20031" y="1224"/>
                  </a:lnTo>
                  <a:lnTo>
                    <a:pt x="20069" y="1264"/>
                  </a:lnTo>
                  <a:lnTo>
                    <a:pt x="20053" y="1297"/>
                  </a:lnTo>
                  <a:lnTo>
                    <a:pt x="20074" y="1314"/>
                  </a:lnTo>
                  <a:lnTo>
                    <a:pt x="20074" y="1363"/>
                  </a:lnTo>
                  <a:lnTo>
                    <a:pt x="20048" y="1375"/>
                  </a:lnTo>
                  <a:lnTo>
                    <a:pt x="20053" y="1392"/>
                  </a:lnTo>
                  <a:lnTo>
                    <a:pt x="20119" y="1418"/>
                  </a:lnTo>
                  <a:lnTo>
                    <a:pt x="20069" y="1401"/>
                  </a:lnTo>
                  <a:lnTo>
                    <a:pt x="20053" y="1384"/>
                  </a:lnTo>
                  <a:lnTo>
                    <a:pt x="20074" y="1363"/>
                  </a:lnTo>
                  <a:lnTo>
                    <a:pt x="20074" y="1318"/>
                  </a:lnTo>
                  <a:lnTo>
                    <a:pt x="20119" y="1314"/>
                  </a:lnTo>
                  <a:lnTo>
                    <a:pt x="20091" y="1314"/>
                  </a:lnTo>
                  <a:lnTo>
                    <a:pt x="20074" y="1290"/>
                  </a:lnTo>
                  <a:lnTo>
                    <a:pt x="20216" y="1257"/>
                  </a:lnTo>
                  <a:lnTo>
                    <a:pt x="20443" y="1281"/>
                  </a:lnTo>
                  <a:lnTo>
                    <a:pt x="20464" y="1290"/>
                  </a:lnTo>
                  <a:lnTo>
                    <a:pt x="20426" y="1290"/>
                  </a:lnTo>
                  <a:lnTo>
                    <a:pt x="20414" y="1297"/>
                  </a:lnTo>
                  <a:lnTo>
                    <a:pt x="20414" y="1330"/>
                  </a:lnTo>
                  <a:lnTo>
                    <a:pt x="20502" y="1351"/>
                  </a:lnTo>
                  <a:lnTo>
                    <a:pt x="20518" y="1368"/>
                  </a:lnTo>
                  <a:lnTo>
                    <a:pt x="20572" y="1375"/>
                  </a:lnTo>
                  <a:lnTo>
                    <a:pt x="20518" y="1363"/>
                  </a:lnTo>
                  <a:lnTo>
                    <a:pt x="20662" y="1363"/>
                  </a:lnTo>
                  <a:lnTo>
                    <a:pt x="20766" y="1392"/>
                  </a:lnTo>
                  <a:lnTo>
                    <a:pt x="20792" y="1392"/>
                  </a:lnTo>
                  <a:lnTo>
                    <a:pt x="20863" y="1408"/>
                  </a:lnTo>
                  <a:lnTo>
                    <a:pt x="20965" y="1458"/>
                  </a:lnTo>
                  <a:lnTo>
                    <a:pt x="20981" y="1446"/>
                  </a:lnTo>
                  <a:lnTo>
                    <a:pt x="21035" y="1512"/>
                  </a:lnTo>
                  <a:lnTo>
                    <a:pt x="21026" y="1529"/>
                  </a:lnTo>
                  <a:lnTo>
                    <a:pt x="21040" y="1573"/>
                  </a:lnTo>
                  <a:lnTo>
                    <a:pt x="21040" y="1569"/>
                  </a:lnTo>
                  <a:lnTo>
                    <a:pt x="21035" y="1529"/>
                  </a:lnTo>
                  <a:lnTo>
                    <a:pt x="21047" y="1512"/>
                  </a:lnTo>
                  <a:lnTo>
                    <a:pt x="21019" y="1491"/>
                  </a:lnTo>
                  <a:lnTo>
                    <a:pt x="21019" y="1458"/>
                  </a:lnTo>
                  <a:lnTo>
                    <a:pt x="21002" y="1441"/>
                  </a:lnTo>
                  <a:lnTo>
                    <a:pt x="21073" y="1446"/>
                  </a:lnTo>
                  <a:lnTo>
                    <a:pt x="21111" y="1479"/>
                  </a:lnTo>
                  <a:lnTo>
                    <a:pt x="21144" y="1529"/>
                  </a:lnTo>
                  <a:lnTo>
                    <a:pt x="21170" y="1519"/>
                  </a:lnTo>
                  <a:lnTo>
                    <a:pt x="21165" y="1495"/>
                  </a:lnTo>
                  <a:lnTo>
                    <a:pt x="21203" y="1536"/>
                  </a:lnTo>
                  <a:lnTo>
                    <a:pt x="21154" y="1536"/>
                  </a:lnTo>
                  <a:lnTo>
                    <a:pt x="21149" y="1545"/>
                  </a:lnTo>
                  <a:lnTo>
                    <a:pt x="21149" y="1552"/>
                  </a:lnTo>
                  <a:lnTo>
                    <a:pt x="21170" y="1552"/>
                  </a:lnTo>
                  <a:lnTo>
                    <a:pt x="21187" y="1585"/>
                  </a:lnTo>
                  <a:lnTo>
                    <a:pt x="21208" y="1590"/>
                  </a:lnTo>
                  <a:lnTo>
                    <a:pt x="21208" y="1614"/>
                  </a:lnTo>
                  <a:lnTo>
                    <a:pt x="21236" y="1614"/>
                  </a:lnTo>
                  <a:lnTo>
                    <a:pt x="21253" y="1630"/>
                  </a:lnTo>
                  <a:lnTo>
                    <a:pt x="21241" y="1630"/>
                  </a:lnTo>
                  <a:lnTo>
                    <a:pt x="21274" y="1647"/>
                  </a:lnTo>
                  <a:lnTo>
                    <a:pt x="21291" y="1630"/>
                  </a:lnTo>
                  <a:lnTo>
                    <a:pt x="21295" y="1663"/>
                  </a:lnTo>
                  <a:lnTo>
                    <a:pt x="21312" y="1663"/>
                  </a:lnTo>
                  <a:lnTo>
                    <a:pt x="21342" y="1647"/>
                  </a:lnTo>
                  <a:lnTo>
                    <a:pt x="21366" y="1602"/>
                  </a:lnTo>
                  <a:lnTo>
                    <a:pt x="21387" y="1602"/>
                  </a:lnTo>
                  <a:lnTo>
                    <a:pt x="21371" y="1590"/>
                  </a:lnTo>
                  <a:lnTo>
                    <a:pt x="21387" y="1536"/>
                  </a:lnTo>
                  <a:lnTo>
                    <a:pt x="21425" y="1503"/>
                  </a:lnTo>
                  <a:lnTo>
                    <a:pt x="21425" y="1529"/>
                  </a:lnTo>
                  <a:lnTo>
                    <a:pt x="21489" y="1569"/>
                  </a:lnTo>
                  <a:lnTo>
                    <a:pt x="21543" y="1585"/>
                  </a:lnTo>
                  <a:lnTo>
                    <a:pt x="21640" y="1545"/>
                  </a:lnTo>
                  <a:lnTo>
                    <a:pt x="21758" y="1585"/>
                  </a:lnTo>
                  <a:lnTo>
                    <a:pt x="21749" y="1590"/>
                  </a:lnTo>
                  <a:lnTo>
                    <a:pt x="21765" y="1590"/>
                  </a:lnTo>
                  <a:lnTo>
                    <a:pt x="21782" y="1614"/>
                  </a:lnTo>
                  <a:lnTo>
                    <a:pt x="21796" y="1607"/>
                  </a:lnTo>
                  <a:lnTo>
                    <a:pt x="21775" y="1602"/>
                  </a:lnTo>
                  <a:lnTo>
                    <a:pt x="21813" y="1590"/>
                  </a:lnTo>
                  <a:lnTo>
                    <a:pt x="21791" y="1590"/>
                  </a:lnTo>
                  <a:lnTo>
                    <a:pt x="21813" y="1585"/>
                  </a:lnTo>
                  <a:lnTo>
                    <a:pt x="21782" y="1573"/>
                  </a:lnTo>
                  <a:lnTo>
                    <a:pt x="21796" y="1552"/>
                  </a:lnTo>
                  <a:lnTo>
                    <a:pt x="21829" y="1545"/>
                  </a:lnTo>
                  <a:lnTo>
                    <a:pt x="21820" y="1552"/>
                  </a:lnTo>
                  <a:lnTo>
                    <a:pt x="21829" y="1557"/>
                  </a:lnTo>
                  <a:lnTo>
                    <a:pt x="21846" y="1545"/>
                  </a:lnTo>
                  <a:lnTo>
                    <a:pt x="21867" y="1552"/>
                  </a:lnTo>
                  <a:lnTo>
                    <a:pt x="21872" y="1573"/>
                  </a:lnTo>
                  <a:lnTo>
                    <a:pt x="21883" y="1573"/>
                  </a:lnTo>
                  <a:lnTo>
                    <a:pt x="21900" y="1557"/>
                  </a:lnTo>
                  <a:lnTo>
                    <a:pt x="21926" y="1569"/>
                  </a:lnTo>
                  <a:lnTo>
                    <a:pt x="21909" y="1536"/>
                  </a:lnTo>
                  <a:lnTo>
                    <a:pt x="21909" y="1512"/>
                  </a:lnTo>
                  <a:lnTo>
                    <a:pt x="21888" y="1503"/>
                  </a:lnTo>
                  <a:lnTo>
                    <a:pt x="21905" y="1503"/>
                  </a:lnTo>
                  <a:lnTo>
                    <a:pt x="21926" y="1474"/>
                  </a:lnTo>
                  <a:lnTo>
                    <a:pt x="21938" y="1479"/>
                  </a:lnTo>
                  <a:lnTo>
                    <a:pt x="21954" y="1462"/>
                  </a:lnTo>
                  <a:lnTo>
                    <a:pt x="21905" y="1462"/>
                  </a:lnTo>
                  <a:lnTo>
                    <a:pt x="21888" y="1479"/>
                  </a:lnTo>
                  <a:lnTo>
                    <a:pt x="21867" y="1462"/>
                  </a:lnTo>
                  <a:lnTo>
                    <a:pt x="21905" y="1425"/>
                  </a:lnTo>
                  <a:lnTo>
                    <a:pt x="21976" y="1425"/>
                  </a:lnTo>
                  <a:lnTo>
                    <a:pt x="22009" y="1418"/>
                  </a:lnTo>
                  <a:lnTo>
                    <a:pt x="22009" y="1401"/>
                  </a:lnTo>
                  <a:lnTo>
                    <a:pt x="21976" y="1375"/>
                  </a:lnTo>
                  <a:lnTo>
                    <a:pt x="21992" y="1375"/>
                  </a:lnTo>
                  <a:lnTo>
                    <a:pt x="22072" y="1392"/>
                  </a:lnTo>
                  <a:lnTo>
                    <a:pt x="22316" y="1425"/>
                  </a:lnTo>
                  <a:lnTo>
                    <a:pt x="22413" y="1446"/>
                  </a:lnTo>
                  <a:lnTo>
                    <a:pt x="22316" y="1446"/>
                  </a:lnTo>
                  <a:lnTo>
                    <a:pt x="22283" y="1429"/>
                  </a:lnTo>
                  <a:lnTo>
                    <a:pt x="22266" y="1441"/>
                  </a:lnTo>
                  <a:lnTo>
                    <a:pt x="22250" y="1462"/>
                  </a:lnTo>
                  <a:lnTo>
                    <a:pt x="22224" y="1458"/>
                  </a:lnTo>
                  <a:lnTo>
                    <a:pt x="22245" y="1474"/>
                  </a:lnTo>
                  <a:lnTo>
                    <a:pt x="22424" y="1458"/>
                  </a:lnTo>
                  <a:lnTo>
                    <a:pt x="22354" y="1512"/>
                  </a:lnTo>
                  <a:lnTo>
                    <a:pt x="22354" y="1491"/>
                  </a:lnTo>
                  <a:lnTo>
                    <a:pt x="22375" y="1479"/>
                  </a:lnTo>
                  <a:lnTo>
                    <a:pt x="22358" y="1474"/>
                  </a:lnTo>
                  <a:lnTo>
                    <a:pt x="22354" y="1491"/>
                  </a:lnTo>
                  <a:lnTo>
                    <a:pt x="22342" y="1462"/>
                  </a:lnTo>
                  <a:lnTo>
                    <a:pt x="22332" y="1462"/>
                  </a:lnTo>
                  <a:lnTo>
                    <a:pt x="22337" y="1462"/>
                  </a:lnTo>
                  <a:lnTo>
                    <a:pt x="22332" y="1491"/>
                  </a:lnTo>
                  <a:lnTo>
                    <a:pt x="22337" y="1491"/>
                  </a:lnTo>
                  <a:lnTo>
                    <a:pt x="22342" y="1503"/>
                  </a:lnTo>
                  <a:lnTo>
                    <a:pt x="22304" y="1512"/>
                  </a:lnTo>
                  <a:lnTo>
                    <a:pt x="22283" y="1503"/>
                  </a:lnTo>
                  <a:lnTo>
                    <a:pt x="22299" y="1519"/>
                  </a:lnTo>
                  <a:lnTo>
                    <a:pt x="22278" y="1529"/>
                  </a:lnTo>
                  <a:lnTo>
                    <a:pt x="22278" y="1536"/>
                  </a:lnTo>
                  <a:lnTo>
                    <a:pt x="22304" y="1545"/>
                  </a:lnTo>
                  <a:lnTo>
                    <a:pt x="22358" y="1519"/>
                  </a:lnTo>
                  <a:lnTo>
                    <a:pt x="22439" y="1446"/>
                  </a:lnTo>
                  <a:lnTo>
                    <a:pt x="22576" y="1462"/>
                  </a:lnTo>
                  <a:lnTo>
                    <a:pt x="22613" y="1479"/>
                  </a:lnTo>
                  <a:lnTo>
                    <a:pt x="22639" y="1512"/>
                  </a:lnTo>
                  <a:lnTo>
                    <a:pt x="22613" y="1529"/>
                  </a:lnTo>
                  <a:lnTo>
                    <a:pt x="22590" y="1503"/>
                  </a:lnTo>
                  <a:lnTo>
                    <a:pt x="22576" y="1529"/>
                  </a:lnTo>
                  <a:lnTo>
                    <a:pt x="22552" y="1519"/>
                  </a:lnTo>
                  <a:lnTo>
                    <a:pt x="22568" y="1529"/>
                  </a:lnTo>
                  <a:lnTo>
                    <a:pt x="22552" y="1536"/>
                  </a:lnTo>
                  <a:lnTo>
                    <a:pt x="22644" y="1552"/>
                  </a:lnTo>
                  <a:lnTo>
                    <a:pt x="22628" y="1552"/>
                  </a:lnTo>
                  <a:lnTo>
                    <a:pt x="22623" y="1569"/>
                  </a:lnTo>
                  <a:lnTo>
                    <a:pt x="22682" y="1557"/>
                  </a:lnTo>
                  <a:lnTo>
                    <a:pt x="22665" y="1585"/>
                  </a:lnTo>
                  <a:lnTo>
                    <a:pt x="22639" y="1602"/>
                  </a:lnTo>
                  <a:lnTo>
                    <a:pt x="22682" y="1573"/>
                  </a:lnTo>
                  <a:lnTo>
                    <a:pt x="22677" y="1590"/>
                  </a:lnTo>
                  <a:lnTo>
                    <a:pt x="22710" y="1573"/>
                  </a:lnTo>
                  <a:lnTo>
                    <a:pt x="22736" y="1585"/>
                  </a:lnTo>
                  <a:lnTo>
                    <a:pt x="22786" y="1630"/>
                  </a:lnTo>
                  <a:lnTo>
                    <a:pt x="22753" y="1630"/>
                  </a:lnTo>
                  <a:lnTo>
                    <a:pt x="22816" y="1647"/>
                  </a:lnTo>
                  <a:lnTo>
                    <a:pt x="22892" y="1647"/>
                  </a:lnTo>
                  <a:lnTo>
                    <a:pt x="23055" y="1614"/>
                  </a:lnTo>
                  <a:lnTo>
                    <a:pt x="23194" y="1623"/>
                  </a:lnTo>
                  <a:lnTo>
                    <a:pt x="23270" y="1647"/>
                  </a:lnTo>
                  <a:lnTo>
                    <a:pt x="23320" y="1668"/>
                  </a:lnTo>
                  <a:lnTo>
                    <a:pt x="23341" y="1701"/>
                  </a:lnTo>
                  <a:lnTo>
                    <a:pt x="23341" y="1722"/>
                  </a:lnTo>
                  <a:lnTo>
                    <a:pt x="23331" y="1739"/>
                  </a:lnTo>
                  <a:lnTo>
                    <a:pt x="23324" y="1739"/>
                  </a:lnTo>
                  <a:lnTo>
                    <a:pt x="23324" y="1751"/>
                  </a:lnTo>
                  <a:lnTo>
                    <a:pt x="23320" y="1774"/>
                  </a:lnTo>
                  <a:lnTo>
                    <a:pt x="23320" y="1779"/>
                  </a:lnTo>
                  <a:lnTo>
                    <a:pt x="23412" y="1812"/>
                  </a:lnTo>
                  <a:lnTo>
                    <a:pt x="23400" y="1829"/>
                  </a:lnTo>
                  <a:lnTo>
                    <a:pt x="23412" y="1862"/>
                  </a:lnTo>
                  <a:lnTo>
                    <a:pt x="23400" y="1878"/>
                  </a:lnTo>
                  <a:lnTo>
                    <a:pt x="23433" y="1885"/>
                  </a:lnTo>
                  <a:lnTo>
                    <a:pt x="23412" y="1940"/>
                  </a:lnTo>
                  <a:lnTo>
                    <a:pt x="23383" y="1940"/>
                  </a:lnTo>
                  <a:lnTo>
                    <a:pt x="23395" y="1944"/>
                  </a:lnTo>
                  <a:lnTo>
                    <a:pt x="23416" y="1940"/>
                  </a:lnTo>
                  <a:lnTo>
                    <a:pt x="23433" y="1906"/>
                  </a:lnTo>
                  <a:lnTo>
                    <a:pt x="23450" y="1890"/>
                  </a:lnTo>
                  <a:lnTo>
                    <a:pt x="23438" y="1862"/>
                  </a:lnTo>
                  <a:lnTo>
                    <a:pt x="23438" y="1833"/>
                  </a:lnTo>
                  <a:lnTo>
                    <a:pt x="23504" y="1807"/>
                  </a:lnTo>
                  <a:lnTo>
                    <a:pt x="23589" y="1795"/>
                  </a:lnTo>
                  <a:lnTo>
                    <a:pt x="23617" y="1791"/>
                  </a:lnTo>
                  <a:lnTo>
                    <a:pt x="23655" y="1807"/>
                  </a:lnTo>
                  <a:lnTo>
                    <a:pt x="23816" y="1824"/>
                  </a:lnTo>
                  <a:lnTo>
                    <a:pt x="23882" y="1791"/>
                  </a:lnTo>
                  <a:lnTo>
                    <a:pt x="23920" y="1812"/>
                  </a:lnTo>
                  <a:lnTo>
                    <a:pt x="23913" y="1833"/>
                  </a:lnTo>
                  <a:lnTo>
                    <a:pt x="23920" y="1850"/>
                  </a:lnTo>
                  <a:lnTo>
                    <a:pt x="23995" y="1878"/>
                  </a:lnTo>
                  <a:lnTo>
                    <a:pt x="24005" y="1906"/>
                  </a:lnTo>
                  <a:lnTo>
                    <a:pt x="24012" y="1918"/>
                  </a:lnTo>
                  <a:lnTo>
                    <a:pt x="24064" y="1906"/>
                  </a:lnTo>
                  <a:lnTo>
                    <a:pt x="24080" y="1918"/>
                  </a:lnTo>
                  <a:lnTo>
                    <a:pt x="24064" y="1906"/>
                  </a:lnTo>
                  <a:lnTo>
                    <a:pt x="24080" y="1902"/>
                  </a:lnTo>
                  <a:lnTo>
                    <a:pt x="24087" y="1906"/>
                  </a:lnTo>
                  <a:lnTo>
                    <a:pt x="24087" y="1890"/>
                  </a:lnTo>
                  <a:lnTo>
                    <a:pt x="24113" y="1878"/>
                  </a:lnTo>
                  <a:lnTo>
                    <a:pt x="24102" y="1845"/>
                  </a:lnTo>
                  <a:lnTo>
                    <a:pt x="24080" y="1812"/>
                  </a:lnTo>
                  <a:lnTo>
                    <a:pt x="24050" y="1807"/>
                  </a:lnTo>
                  <a:lnTo>
                    <a:pt x="24059" y="1791"/>
                  </a:lnTo>
                  <a:lnTo>
                    <a:pt x="24080" y="1791"/>
                  </a:lnTo>
                  <a:lnTo>
                    <a:pt x="24080" y="1751"/>
                  </a:lnTo>
                  <a:lnTo>
                    <a:pt x="24064" y="1739"/>
                  </a:lnTo>
                  <a:lnTo>
                    <a:pt x="24076" y="1739"/>
                  </a:lnTo>
                  <a:lnTo>
                    <a:pt x="24227" y="1767"/>
                  </a:lnTo>
                  <a:lnTo>
                    <a:pt x="24260" y="1774"/>
                  </a:lnTo>
                  <a:lnTo>
                    <a:pt x="24264" y="1791"/>
                  </a:lnTo>
                  <a:lnTo>
                    <a:pt x="24281" y="1779"/>
                  </a:lnTo>
                  <a:lnTo>
                    <a:pt x="24260" y="1767"/>
                  </a:lnTo>
                  <a:lnTo>
                    <a:pt x="24281" y="1767"/>
                  </a:lnTo>
                  <a:lnTo>
                    <a:pt x="24314" y="1779"/>
                  </a:lnTo>
                  <a:lnTo>
                    <a:pt x="24465" y="1774"/>
                  </a:lnTo>
                  <a:lnTo>
                    <a:pt x="24513" y="1795"/>
                  </a:lnTo>
                  <a:lnTo>
                    <a:pt x="24654" y="1833"/>
                  </a:lnTo>
                  <a:lnTo>
                    <a:pt x="24676" y="1845"/>
                  </a:lnTo>
                  <a:lnTo>
                    <a:pt x="24654" y="1833"/>
                  </a:lnTo>
                  <a:lnTo>
                    <a:pt x="24642" y="1845"/>
                  </a:lnTo>
                  <a:lnTo>
                    <a:pt x="24692" y="1850"/>
                  </a:lnTo>
                  <a:lnTo>
                    <a:pt x="24735" y="1885"/>
                  </a:lnTo>
                  <a:lnTo>
                    <a:pt x="24706" y="1866"/>
                  </a:lnTo>
                  <a:lnTo>
                    <a:pt x="24723" y="1885"/>
                  </a:lnTo>
                  <a:lnTo>
                    <a:pt x="24735" y="1885"/>
                  </a:lnTo>
                  <a:lnTo>
                    <a:pt x="24735" y="1944"/>
                  </a:lnTo>
                  <a:lnTo>
                    <a:pt x="24735" y="2013"/>
                  </a:lnTo>
                  <a:lnTo>
                    <a:pt x="24735" y="2067"/>
                  </a:lnTo>
                  <a:lnTo>
                    <a:pt x="24735" y="2129"/>
                  </a:lnTo>
                  <a:lnTo>
                    <a:pt x="24735" y="2183"/>
                  </a:lnTo>
                  <a:lnTo>
                    <a:pt x="24735" y="2249"/>
                  </a:lnTo>
                  <a:lnTo>
                    <a:pt x="24735" y="2306"/>
                  </a:lnTo>
                  <a:lnTo>
                    <a:pt x="24735" y="2360"/>
                  </a:lnTo>
                  <a:lnTo>
                    <a:pt x="24735" y="2360"/>
                  </a:lnTo>
                  <a:lnTo>
                    <a:pt x="24735" y="2360"/>
                  </a:lnTo>
                  <a:close/>
                  <a:moveTo>
                    <a:pt x="24735" y="1557"/>
                  </a:moveTo>
                  <a:lnTo>
                    <a:pt x="24739" y="1552"/>
                  </a:lnTo>
                  <a:lnTo>
                    <a:pt x="24836" y="1552"/>
                  </a:lnTo>
                  <a:lnTo>
                    <a:pt x="24912" y="1602"/>
                  </a:lnTo>
                  <a:lnTo>
                    <a:pt x="24874" y="1623"/>
                  </a:lnTo>
                  <a:lnTo>
                    <a:pt x="24782" y="1640"/>
                  </a:lnTo>
                  <a:lnTo>
                    <a:pt x="24735" y="1630"/>
                  </a:lnTo>
                  <a:lnTo>
                    <a:pt x="24735" y="1590"/>
                  </a:lnTo>
                  <a:lnTo>
                    <a:pt x="24735" y="1557"/>
                  </a:lnTo>
                  <a:lnTo>
                    <a:pt x="24735" y="1557"/>
                  </a:lnTo>
                  <a:lnTo>
                    <a:pt x="24735" y="1557"/>
                  </a:lnTo>
                  <a:close/>
                  <a:moveTo>
                    <a:pt x="24735" y="1630"/>
                  </a:moveTo>
                  <a:lnTo>
                    <a:pt x="24654" y="1656"/>
                  </a:lnTo>
                  <a:lnTo>
                    <a:pt x="24642" y="1623"/>
                  </a:lnTo>
                  <a:lnTo>
                    <a:pt x="24659" y="1602"/>
                  </a:lnTo>
                  <a:lnTo>
                    <a:pt x="24735" y="1557"/>
                  </a:lnTo>
                  <a:lnTo>
                    <a:pt x="24735" y="1590"/>
                  </a:lnTo>
                  <a:lnTo>
                    <a:pt x="24735" y="1630"/>
                  </a:lnTo>
                  <a:lnTo>
                    <a:pt x="24735" y="1630"/>
                  </a:lnTo>
                  <a:lnTo>
                    <a:pt x="24735" y="1630"/>
                  </a:lnTo>
                  <a:close/>
                  <a:moveTo>
                    <a:pt x="24735" y="1885"/>
                  </a:moveTo>
                  <a:lnTo>
                    <a:pt x="24756" y="1902"/>
                  </a:lnTo>
                  <a:lnTo>
                    <a:pt x="24768" y="1890"/>
                  </a:lnTo>
                  <a:lnTo>
                    <a:pt x="24772" y="1906"/>
                  </a:lnTo>
                  <a:lnTo>
                    <a:pt x="24805" y="1918"/>
                  </a:lnTo>
                  <a:lnTo>
                    <a:pt x="24836" y="1940"/>
                  </a:lnTo>
                  <a:lnTo>
                    <a:pt x="24820" y="1935"/>
                  </a:lnTo>
                  <a:lnTo>
                    <a:pt x="24820" y="1940"/>
                  </a:lnTo>
                  <a:lnTo>
                    <a:pt x="24864" y="1956"/>
                  </a:lnTo>
                  <a:lnTo>
                    <a:pt x="24874" y="1973"/>
                  </a:lnTo>
                  <a:lnTo>
                    <a:pt x="24890" y="1973"/>
                  </a:lnTo>
                  <a:lnTo>
                    <a:pt x="24843" y="1940"/>
                  </a:lnTo>
                  <a:lnTo>
                    <a:pt x="24895" y="1973"/>
                  </a:lnTo>
                  <a:lnTo>
                    <a:pt x="24890" y="1977"/>
                  </a:lnTo>
                  <a:lnTo>
                    <a:pt x="24895" y="1977"/>
                  </a:lnTo>
                  <a:lnTo>
                    <a:pt x="24919" y="1977"/>
                  </a:lnTo>
                  <a:lnTo>
                    <a:pt x="24928" y="1994"/>
                  </a:lnTo>
                  <a:lnTo>
                    <a:pt x="25053" y="2046"/>
                  </a:lnTo>
                  <a:lnTo>
                    <a:pt x="25063" y="2072"/>
                  </a:lnTo>
                  <a:lnTo>
                    <a:pt x="25058" y="2088"/>
                  </a:lnTo>
                  <a:lnTo>
                    <a:pt x="25075" y="2088"/>
                  </a:lnTo>
                  <a:lnTo>
                    <a:pt x="25079" y="2084"/>
                  </a:lnTo>
                  <a:lnTo>
                    <a:pt x="25096" y="2084"/>
                  </a:lnTo>
                  <a:lnTo>
                    <a:pt x="25096" y="2100"/>
                  </a:lnTo>
                  <a:lnTo>
                    <a:pt x="25091" y="2100"/>
                  </a:lnTo>
                  <a:lnTo>
                    <a:pt x="25079" y="2121"/>
                  </a:lnTo>
                  <a:lnTo>
                    <a:pt x="25096" y="2162"/>
                  </a:lnTo>
                  <a:lnTo>
                    <a:pt x="25079" y="2166"/>
                  </a:lnTo>
                  <a:lnTo>
                    <a:pt x="25117" y="2183"/>
                  </a:lnTo>
                  <a:lnTo>
                    <a:pt x="25117" y="2216"/>
                  </a:lnTo>
                  <a:lnTo>
                    <a:pt x="25150" y="2195"/>
                  </a:lnTo>
                  <a:lnTo>
                    <a:pt x="25146" y="2223"/>
                  </a:lnTo>
                  <a:lnTo>
                    <a:pt x="25150" y="2223"/>
                  </a:lnTo>
                  <a:lnTo>
                    <a:pt x="25167" y="2199"/>
                  </a:lnTo>
                  <a:lnTo>
                    <a:pt x="25129" y="2183"/>
                  </a:lnTo>
                  <a:lnTo>
                    <a:pt x="25150" y="2166"/>
                  </a:lnTo>
                  <a:lnTo>
                    <a:pt x="25146" y="2138"/>
                  </a:lnTo>
                  <a:lnTo>
                    <a:pt x="25108" y="2121"/>
                  </a:lnTo>
                  <a:lnTo>
                    <a:pt x="25172" y="2112"/>
                  </a:lnTo>
                  <a:lnTo>
                    <a:pt x="25214" y="2121"/>
                  </a:lnTo>
                  <a:lnTo>
                    <a:pt x="25198" y="2138"/>
                  </a:lnTo>
                  <a:lnTo>
                    <a:pt x="25198" y="2157"/>
                  </a:lnTo>
                  <a:lnTo>
                    <a:pt x="25214" y="2157"/>
                  </a:lnTo>
                  <a:lnTo>
                    <a:pt x="25205" y="2138"/>
                  </a:lnTo>
                  <a:lnTo>
                    <a:pt x="25214" y="2129"/>
                  </a:lnTo>
                  <a:lnTo>
                    <a:pt x="25235" y="2145"/>
                  </a:lnTo>
                  <a:lnTo>
                    <a:pt x="25259" y="2138"/>
                  </a:lnTo>
                  <a:lnTo>
                    <a:pt x="25221" y="2121"/>
                  </a:lnTo>
                  <a:lnTo>
                    <a:pt x="25311" y="2138"/>
                  </a:lnTo>
                  <a:lnTo>
                    <a:pt x="25311" y="2157"/>
                  </a:lnTo>
                  <a:lnTo>
                    <a:pt x="25335" y="2162"/>
                  </a:lnTo>
                  <a:lnTo>
                    <a:pt x="25335" y="2178"/>
                  </a:lnTo>
                  <a:lnTo>
                    <a:pt x="25398" y="2216"/>
                  </a:lnTo>
                  <a:lnTo>
                    <a:pt x="25387" y="2223"/>
                  </a:lnTo>
                  <a:lnTo>
                    <a:pt x="25403" y="2216"/>
                  </a:lnTo>
                  <a:lnTo>
                    <a:pt x="25420" y="2223"/>
                  </a:lnTo>
                  <a:lnTo>
                    <a:pt x="25415" y="2232"/>
                  </a:lnTo>
                  <a:lnTo>
                    <a:pt x="25441" y="2232"/>
                  </a:lnTo>
                  <a:lnTo>
                    <a:pt x="25453" y="2249"/>
                  </a:lnTo>
                  <a:lnTo>
                    <a:pt x="25453" y="2256"/>
                  </a:lnTo>
                  <a:lnTo>
                    <a:pt x="25420" y="2249"/>
                  </a:lnTo>
                  <a:lnTo>
                    <a:pt x="25387" y="2273"/>
                  </a:lnTo>
                  <a:lnTo>
                    <a:pt x="25398" y="2273"/>
                  </a:lnTo>
                  <a:lnTo>
                    <a:pt x="25398" y="2289"/>
                  </a:lnTo>
                  <a:lnTo>
                    <a:pt x="25387" y="2294"/>
                  </a:lnTo>
                  <a:lnTo>
                    <a:pt x="25323" y="2273"/>
                  </a:lnTo>
                  <a:lnTo>
                    <a:pt x="25361" y="2306"/>
                  </a:lnTo>
                  <a:lnTo>
                    <a:pt x="25349" y="2310"/>
                  </a:lnTo>
                  <a:lnTo>
                    <a:pt x="25335" y="2306"/>
                  </a:lnTo>
                  <a:lnTo>
                    <a:pt x="25290" y="2310"/>
                  </a:lnTo>
                  <a:lnTo>
                    <a:pt x="25306" y="2310"/>
                  </a:lnTo>
                  <a:lnTo>
                    <a:pt x="25273" y="2306"/>
                  </a:lnTo>
                  <a:lnTo>
                    <a:pt x="25268" y="2294"/>
                  </a:lnTo>
                  <a:lnTo>
                    <a:pt x="25235" y="2289"/>
                  </a:lnTo>
                  <a:lnTo>
                    <a:pt x="25259" y="2306"/>
                  </a:lnTo>
                  <a:lnTo>
                    <a:pt x="25268" y="2322"/>
                  </a:lnTo>
                  <a:lnTo>
                    <a:pt x="25280" y="2322"/>
                  </a:lnTo>
                  <a:lnTo>
                    <a:pt x="25273" y="2343"/>
                  </a:lnTo>
                  <a:lnTo>
                    <a:pt x="25242" y="2343"/>
                  </a:lnTo>
                  <a:lnTo>
                    <a:pt x="25273" y="2343"/>
                  </a:lnTo>
                  <a:lnTo>
                    <a:pt x="25280" y="2360"/>
                  </a:lnTo>
                  <a:lnTo>
                    <a:pt x="25259" y="2384"/>
                  </a:lnTo>
                  <a:lnTo>
                    <a:pt x="25205" y="2400"/>
                  </a:lnTo>
                  <a:lnTo>
                    <a:pt x="25226" y="2388"/>
                  </a:lnTo>
                  <a:lnTo>
                    <a:pt x="25235" y="2400"/>
                  </a:lnTo>
                  <a:lnTo>
                    <a:pt x="25214" y="2405"/>
                  </a:lnTo>
                  <a:lnTo>
                    <a:pt x="25259" y="2421"/>
                  </a:lnTo>
                  <a:lnTo>
                    <a:pt x="25268" y="2433"/>
                  </a:lnTo>
                  <a:lnTo>
                    <a:pt x="25252" y="2438"/>
                  </a:lnTo>
                  <a:lnTo>
                    <a:pt x="25235" y="2421"/>
                  </a:lnTo>
                  <a:lnTo>
                    <a:pt x="25221" y="2433"/>
                  </a:lnTo>
                  <a:lnTo>
                    <a:pt x="25226" y="2438"/>
                  </a:lnTo>
                  <a:lnTo>
                    <a:pt x="25226" y="2445"/>
                  </a:lnTo>
                  <a:lnTo>
                    <a:pt x="25205" y="2455"/>
                  </a:lnTo>
                  <a:lnTo>
                    <a:pt x="25188" y="2445"/>
                  </a:lnTo>
                  <a:lnTo>
                    <a:pt x="25205" y="2433"/>
                  </a:lnTo>
                  <a:lnTo>
                    <a:pt x="25188" y="2417"/>
                  </a:lnTo>
                  <a:lnTo>
                    <a:pt x="25198" y="2433"/>
                  </a:lnTo>
                  <a:lnTo>
                    <a:pt x="25172" y="2445"/>
                  </a:lnTo>
                  <a:lnTo>
                    <a:pt x="25150" y="2438"/>
                  </a:lnTo>
                  <a:lnTo>
                    <a:pt x="25146" y="2421"/>
                  </a:lnTo>
                  <a:lnTo>
                    <a:pt x="25091" y="2400"/>
                  </a:lnTo>
                  <a:lnTo>
                    <a:pt x="25053" y="2400"/>
                  </a:lnTo>
                  <a:lnTo>
                    <a:pt x="25053" y="2388"/>
                  </a:lnTo>
                  <a:lnTo>
                    <a:pt x="25020" y="2367"/>
                  </a:lnTo>
                  <a:lnTo>
                    <a:pt x="25025" y="2351"/>
                  </a:lnTo>
                  <a:lnTo>
                    <a:pt x="25020" y="2327"/>
                  </a:lnTo>
                  <a:lnTo>
                    <a:pt x="25004" y="2310"/>
                  </a:lnTo>
                  <a:lnTo>
                    <a:pt x="24933" y="2294"/>
                  </a:lnTo>
                  <a:lnTo>
                    <a:pt x="24902" y="2310"/>
                  </a:lnTo>
                  <a:lnTo>
                    <a:pt x="24836" y="2310"/>
                  </a:lnTo>
                  <a:lnTo>
                    <a:pt x="24843" y="2289"/>
                  </a:lnTo>
                  <a:lnTo>
                    <a:pt x="24827" y="2277"/>
                  </a:lnTo>
                  <a:lnTo>
                    <a:pt x="24810" y="2256"/>
                  </a:lnTo>
                  <a:lnTo>
                    <a:pt x="24820" y="2249"/>
                  </a:lnTo>
                  <a:lnTo>
                    <a:pt x="24836" y="2232"/>
                  </a:lnTo>
                  <a:lnTo>
                    <a:pt x="24836" y="2199"/>
                  </a:lnTo>
                  <a:lnTo>
                    <a:pt x="24810" y="2232"/>
                  </a:lnTo>
                  <a:lnTo>
                    <a:pt x="24794" y="2232"/>
                  </a:lnTo>
                  <a:lnTo>
                    <a:pt x="24789" y="2199"/>
                  </a:lnTo>
                  <a:lnTo>
                    <a:pt x="24789" y="2216"/>
                  </a:lnTo>
                  <a:lnTo>
                    <a:pt x="24772" y="2211"/>
                  </a:lnTo>
                  <a:lnTo>
                    <a:pt x="24789" y="2232"/>
                  </a:lnTo>
                  <a:lnTo>
                    <a:pt x="24782" y="2232"/>
                  </a:lnTo>
                  <a:lnTo>
                    <a:pt x="24756" y="2240"/>
                  </a:lnTo>
                  <a:lnTo>
                    <a:pt x="24751" y="2232"/>
                  </a:lnTo>
                  <a:lnTo>
                    <a:pt x="24756" y="2232"/>
                  </a:lnTo>
                  <a:lnTo>
                    <a:pt x="24751" y="2232"/>
                  </a:lnTo>
                  <a:lnTo>
                    <a:pt x="24739" y="2266"/>
                  </a:lnTo>
                  <a:lnTo>
                    <a:pt x="24782" y="2294"/>
                  </a:lnTo>
                  <a:lnTo>
                    <a:pt x="24782" y="2306"/>
                  </a:lnTo>
                  <a:lnTo>
                    <a:pt x="24768" y="2322"/>
                  </a:lnTo>
                  <a:lnTo>
                    <a:pt x="24768" y="2343"/>
                  </a:lnTo>
                  <a:lnTo>
                    <a:pt x="24751" y="2351"/>
                  </a:lnTo>
                  <a:lnTo>
                    <a:pt x="24735" y="2360"/>
                  </a:lnTo>
                  <a:lnTo>
                    <a:pt x="24735" y="2306"/>
                  </a:lnTo>
                  <a:lnTo>
                    <a:pt x="24735" y="2249"/>
                  </a:lnTo>
                  <a:lnTo>
                    <a:pt x="24735" y="2183"/>
                  </a:lnTo>
                  <a:lnTo>
                    <a:pt x="24735" y="2129"/>
                  </a:lnTo>
                  <a:lnTo>
                    <a:pt x="24735" y="2067"/>
                  </a:lnTo>
                  <a:lnTo>
                    <a:pt x="24735" y="2013"/>
                  </a:lnTo>
                  <a:lnTo>
                    <a:pt x="24735" y="1944"/>
                  </a:lnTo>
                  <a:lnTo>
                    <a:pt x="24735" y="1885"/>
                  </a:lnTo>
                  <a:lnTo>
                    <a:pt x="24735" y="1885"/>
                  </a:lnTo>
                  <a:lnTo>
                    <a:pt x="24735" y="1885"/>
                  </a:lnTo>
                  <a:close/>
                  <a:moveTo>
                    <a:pt x="16188" y="22"/>
                  </a:moveTo>
                  <a:lnTo>
                    <a:pt x="16172" y="22"/>
                  </a:lnTo>
                  <a:lnTo>
                    <a:pt x="16188" y="5"/>
                  </a:lnTo>
                  <a:lnTo>
                    <a:pt x="16278" y="0"/>
                  </a:lnTo>
                  <a:lnTo>
                    <a:pt x="16264" y="17"/>
                  </a:lnTo>
                  <a:lnTo>
                    <a:pt x="16188" y="22"/>
                  </a:lnTo>
                  <a:lnTo>
                    <a:pt x="16188" y="22"/>
                  </a:lnTo>
                  <a:lnTo>
                    <a:pt x="16188" y="22"/>
                  </a:lnTo>
                  <a:close/>
                  <a:moveTo>
                    <a:pt x="16474" y="22"/>
                  </a:moveTo>
                  <a:lnTo>
                    <a:pt x="16550" y="22"/>
                  </a:lnTo>
                  <a:lnTo>
                    <a:pt x="16592" y="33"/>
                  </a:lnTo>
                  <a:lnTo>
                    <a:pt x="16566" y="43"/>
                  </a:lnTo>
                  <a:lnTo>
                    <a:pt x="16474" y="33"/>
                  </a:lnTo>
                  <a:lnTo>
                    <a:pt x="16474" y="22"/>
                  </a:lnTo>
                  <a:lnTo>
                    <a:pt x="16474" y="22"/>
                  </a:lnTo>
                  <a:lnTo>
                    <a:pt x="16474" y="22"/>
                  </a:lnTo>
                  <a:close/>
                  <a:moveTo>
                    <a:pt x="16202" y="38"/>
                  </a:moveTo>
                  <a:lnTo>
                    <a:pt x="16235" y="38"/>
                  </a:lnTo>
                  <a:lnTo>
                    <a:pt x="16198" y="43"/>
                  </a:lnTo>
                  <a:lnTo>
                    <a:pt x="16202" y="38"/>
                  </a:lnTo>
                  <a:lnTo>
                    <a:pt x="16202" y="38"/>
                  </a:lnTo>
                  <a:lnTo>
                    <a:pt x="16202" y="38"/>
                  </a:lnTo>
                  <a:close/>
                  <a:moveTo>
                    <a:pt x="16453" y="38"/>
                  </a:moveTo>
                  <a:lnTo>
                    <a:pt x="16474" y="43"/>
                  </a:lnTo>
                  <a:lnTo>
                    <a:pt x="16441" y="38"/>
                  </a:lnTo>
                  <a:lnTo>
                    <a:pt x="16453" y="38"/>
                  </a:lnTo>
                  <a:lnTo>
                    <a:pt x="16453" y="38"/>
                  </a:lnTo>
                  <a:lnTo>
                    <a:pt x="16453" y="38"/>
                  </a:lnTo>
                  <a:close/>
                  <a:moveTo>
                    <a:pt x="16188" y="76"/>
                  </a:moveTo>
                  <a:lnTo>
                    <a:pt x="16096" y="59"/>
                  </a:lnTo>
                  <a:lnTo>
                    <a:pt x="16165" y="43"/>
                  </a:lnTo>
                  <a:lnTo>
                    <a:pt x="16219" y="71"/>
                  </a:lnTo>
                  <a:lnTo>
                    <a:pt x="16188" y="76"/>
                  </a:lnTo>
                  <a:lnTo>
                    <a:pt x="16188" y="76"/>
                  </a:lnTo>
                  <a:lnTo>
                    <a:pt x="16188" y="76"/>
                  </a:lnTo>
                  <a:close/>
                  <a:moveTo>
                    <a:pt x="16209" y="88"/>
                  </a:moveTo>
                  <a:lnTo>
                    <a:pt x="16252" y="71"/>
                  </a:lnTo>
                  <a:lnTo>
                    <a:pt x="16278" y="88"/>
                  </a:lnTo>
                  <a:lnTo>
                    <a:pt x="16209" y="88"/>
                  </a:lnTo>
                  <a:lnTo>
                    <a:pt x="16209" y="88"/>
                  </a:lnTo>
                  <a:lnTo>
                    <a:pt x="16209" y="88"/>
                  </a:lnTo>
                  <a:close/>
                  <a:moveTo>
                    <a:pt x="16009" y="99"/>
                  </a:moveTo>
                  <a:lnTo>
                    <a:pt x="16021" y="92"/>
                  </a:lnTo>
                  <a:lnTo>
                    <a:pt x="16004" y="92"/>
                  </a:lnTo>
                  <a:lnTo>
                    <a:pt x="16089" y="99"/>
                  </a:lnTo>
                  <a:lnTo>
                    <a:pt x="16063" y="76"/>
                  </a:lnTo>
                  <a:lnTo>
                    <a:pt x="16172" y="92"/>
                  </a:lnTo>
                  <a:lnTo>
                    <a:pt x="16075" y="116"/>
                  </a:lnTo>
                  <a:lnTo>
                    <a:pt x="16009" y="99"/>
                  </a:lnTo>
                  <a:lnTo>
                    <a:pt x="16009" y="99"/>
                  </a:lnTo>
                  <a:lnTo>
                    <a:pt x="16009" y="99"/>
                  </a:lnTo>
                  <a:close/>
                  <a:moveTo>
                    <a:pt x="15917" y="92"/>
                  </a:moveTo>
                  <a:lnTo>
                    <a:pt x="15912" y="88"/>
                  </a:lnTo>
                  <a:lnTo>
                    <a:pt x="15933" y="92"/>
                  </a:lnTo>
                  <a:lnTo>
                    <a:pt x="15917" y="92"/>
                  </a:lnTo>
                  <a:lnTo>
                    <a:pt x="15917" y="92"/>
                  </a:lnTo>
                  <a:lnTo>
                    <a:pt x="15917" y="92"/>
                  </a:lnTo>
                  <a:close/>
                  <a:moveTo>
                    <a:pt x="16311" y="92"/>
                  </a:moveTo>
                  <a:lnTo>
                    <a:pt x="16365" y="92"/>
                  </a:lnTo>
                  <a:lnTo>
                    <a:pt x="16306" y="92"/>
                  </a:lnTo>
                  <a:lnTo>
                    <a:pt x="16311" y="92"/>
                  </a:lnTo>
                  <a:lnTo>
                    <a:pt x="16311" y="92"/>
                  </a:lnTo>
                  <a:lnTo>
                    <a:pt x="16311" y="92"/>
                  </a:lnTo>
                  <a:close/>
                  <a:moveTo>
                    <a:pt x="18654" y="265"/>
                  </a:moveTo>
                  <a:lnTo>
                    <a:pt x="18524" y="260"/>
                  </a:lnTo>
                  <a:lnTo>
                    <a:pt x="18546" y="244"/>
                  </a:lnTo>
                  <a:lnTo>
                    <a:pt x="18612" y="244"/>
                  </a:lnTo>
                  <a:lnTo>
                    <a:pt x="18557" y="236"/>
                  </a:lnTo>
                  <a:lnTo>
                    <a:pt x="18617" y="220"/>
                  </a:lnTo>
                  <a:lnTo>
                    <a:pt x="18628" y="203"/>
                  </a:lnTo>
                  <a:lnTo>
                    <a:pt x="18654" y="170"/>
                  </a:lnTo>
                  <a:lnTo>
                    <a:pt x="18600" y="182"/>
                  </a:lnTo>
                  <a:lnTo>
                    <a:pt x="18617" y="166"/>
                  </a:lnTo>
                  <a:lnTo>
                    <a:pt x="18650" y="154"/>
                  </a:lnTo>
                  <a:lnTo>
                    <a:pt x="18645" y="144"/>
                  </a:lnTo>
                  <a:lnTo>
                    <a:pt x="18817" y="99"/>
                  </a:lnTo>
                  <a:lnTo>
                    <a:pt x="18780" y="99"/>
                  </a:lnTo>
                  <a:lnTo>
                    <a:pt x="18789" y="92"/>
                  </a:lnTo>
                  <a:lnTo>
                    <a:pt x="18834" y="92"/>
                  </a:lnTo>
                  <a:lnTo>
                    <a:pt x="18898" y="149"/>
                  </a:lnTo>
                  <a:lnTo>
                    <a:pt x="18990" y="187"/>
                  </a:lnTo>
                  <a:lnTo>
                    <a:pt x="18924" y="199"/>
                  </a:lnTo>
                  <a:lnTo>
                    <a:pt x="18919" y="220"/>
                  </a:lnTo>
                  <a:lnTo>
                    <a:pt x="18924" y="227"/>
                  </a:lnTo>
                  <a:lnTo>
                    <a:pt x="18935" y="255"/>
                  </a:lnTo>
                  <a:lnTo>
                    <a:pt x="18952" y="260"/>
                  </a:lnTo>
                  <a:lnTo>
                    <a:pt x="18924" y="265"/>
                  </a:lnTo>
                  <a:lnTo>
                    <a:pt x="18763" y="281"/>
                  </a:lnTo>
                  <a:lnTo>
                    <a:pt x="18687" y="310"/>
                  </a:lnTo>
                  <a:lnTo>
                    <a:pt x="18574" y="281"/>
                  </a:lnTo>
                  <a:lnTo>
                    <a:pt x="18628" y="281"/>
                  </a:lnTo>
                  <a:lnTo>
                    <a:pt x="18579" y="260"/>
                  </a:lnTo>
                  <a:lnTo>
                    <a:pt x="18654" y="265"/>
                  </a:lnTo>
                  <a:lnTo>
                    <a:pt x="18654" y="265"/>
                  </a:lnTo>
                  <a:lnTo>
                    <a:pt x="18654" y="265"/>
                  </a:lnTo>
                  <a:close/>
                  <a:moveTo>
                    <a:pt x="16117" y="109"/>
                  </a:moveTo>
                  <a:lnTo>
                    <a:pt x="16188" y="109"/>
                  </a:lnTo>
                  <a:lnTo>
                    <a:pt x="16150" y="128"/>
                  </a:lnTo>
                  <a:lnTo>
                    <a:pt x="16113" y="116"/>
                  </a:lnTo>
                  <a:lnTo>
                    <a:pt x="16117" y="109"/>
                  </a:lnTo>
                  <a:lnTo>
                    <a:pt x="16117" y="109"/>
                  </a:lnTo>
                  <a:lnTo>
                    <a:pt x="16117" y="109"/>
                  </a:lnTo>
                  <a:close/>
                  <a:moveTo>
                    <a:pt x="18503" y="133"/>
                  </a:moveTo>
                  <a:lnTo>
                    <a:pt x="18428" y="128"/>
                  </a:lnTo>
                  <a:lnTo>
                    <a:pt x="18418" y="109"/>
                  </a:lnTo>
                  <a:lnTo>
                    <a:pt x="18503" y="99"/>
                  </a:lnTo>
                  <a:lnTo>
                    <a:pt x="18541" y="116"/>
                  </a:lnTo>
                  <a:lnTo>
                    <a:pt x="18503" y="133"/>
                  </a:lnTo>
                  <a:lnTo>
                    <a:pt x="18503" y="133"/>
                  </a:lnTo>
                  <a:lnTo>
                    <a:pt x="18503" y="133"/>
                  </a:lnTo>
                  <a:close/>
                  <a:moveTo>
                    <a:pt x="16505" y="166"/>
                  </a:moveTo>
                  <a:lnTo>
                    <a:pt x="16543" y="149"/>
                  </a:lnTo>
                  <a:lnTo>
                    <a:pt x="16613" y="144"/>
                  </a:lnTo>
                  <a:lnTo>
                    <a:pt x="16618" y="116"/>
                  </a:lnTo>
                  <a:lnTo>
                    <a:pt x="16646" y="109"/>
                  </a:lnTo>
                  <a:lnTo>
                    <a:pt x="16689" y="116"/>
                  </a:lnTo>
                  <a:lnTo>
                    <a:pt x="16706" y="144"/>
                  </a:lnTo>
                  <a:lnTo>
                    <a:pt x="16706" y="154"/>
                  </a:lnTo>
                  <a:lnTo>
                    <a:pt x="16646" y="182"/>
                  </a:lnTo>
                  <a:lnTo>
                    <a:pt x="16550" y="199"/>
                  </a:lnTo>
                  <a:lnTo>
                    <a:pt x="16495" y="170"/>
                  </a:lnTo>
                  <a:lnTo>
                    <a:pt x="16505" y="166"/>
                  </a:lnTo>
                  <a:lnTo>
                    <a:pt x="16505" y="166"/>
                  </a:lnTo>
                  <a:lnTo>
                    <a:pt x="16505" y="166"/>
                  </a:lnTo>
                  <a:close/>
                  <a:moveTo>
                    <a:pt x="15647" y="133"/>
                  </a:moveTo>
                  <a:lnTo>
                    <a:pt x="15659" y="133"/>
                  </a:lnTo>
                  <a:lnTo>
                    <a:pt x="15647" y="128"/>
                  </a:lnTo>
                  <a:lnTo>
                    <a:pt x="15659" y="116"/>
                  </a:lnTo>
                  <a:lnTo>
                    <a:pt x="15685" y="128"/>
                  </a:lnTo>
                  <a:lnTo>
                    <a:pt x="15647" y="133"/>
                  </a:lnTo>
                  <a:lnTo>
                    <a:pt x="15647" y="133"/>
                  </a:lnTo>
                  <a:lnTo>
                    <a:pt x="15647" y="133"/>
                  </a:lnTo>
                  <a:close/>
                  <a:moveTo>
                    <a:pt x="16198" y="116"/>
                  </a:moveTo>
                  <a:lnTo>
                    <a:pt x="16226" y="116"/>
                  </a:lnTo>
                  <a:lnTo>
                    <a:pt x="16198" y="116"/>
                  </a:lnTo>
                  <a:lnTo>
                    <a:pt x="16198" y="116"/>
                  </a:lnTo>
                  <a:lnTo>
                    <a:pt x="16198" y="116"/>
                  </a:lnTo>
                  <a:close/>
                  <a:moveTo>
                    <a:pt x="16328" y="144"/>
                  </a:moveTo>
                  <a:lnTo>
                    <a:pt x="16370" y="128"/>
                  </a:lnTo>
                  <a:lnTo>
                    <a:pt x="16441" y="128"/>
                  </a:lnTo>
                  <a:lnTo>
                    <a:pt x="16398" y="154"/>
                  </a:lnTo>
                  <a:lnTo>
                    <a:pt x="16328" y="144"/>
                  </a:lnTo>
                  <a:lnTo>
                    <a:pt x="16328" y="144"/>
                  </a:lnTo>
                  <a:lnTo>
                    <a:pt x="16328" y="144"/>
                  </a:lnTo>
                  <a:close/>
                  <a:moveTo>
                    <a:pt x="15933" y="144"/>
                  </a:moveTo>
                  <a:lnTo>
                    <a:pt x="15950" y="128"/>
                  </a:lnTo>
                  <a:lnTo>
                    <a:pt x="16009" y="144"/>
                  </a:lnTo>
                  <a:lnTo>
                    <a:pt x="16047" y="133"/>
                  </a:lnTo>
                  <a:lnTo>
                    <a:pt x="16165" y="182"/>
                  </a:lnTo>
                  <a:lnTo>
                    <a:pt x="16113" y="199"/>
                  </a:lnTo>
                  <a:lnTo>
                    <a:pt x="16089" y="170"/>
                  </a:lnTo>
                  <a:lnTo>
                    <a:pt x="15933" y="144"/>
                  </a:lnTo>
                  <a:lnTo>
                    <a:pt x="15933" y="144"/>
                  </a:lnTo>
                  <a:lnTo>
                    <a:pt x="15933" y="144"/>
                  </a:lnTo>
                  <a:close/>
                  <a:moveTo>
                    <a:pt x="16047" y="128"/>
                  </a:moveTo>
                  <a:lnTo>
                    <a:pt x="16150" y="133"/>
                  </a:lnTo>
                  <a:lnTo>
                    <a:pt x="16202" y="154"/>
                  </a:lnTo>
                  <a:lnTo>
                    <a:pt x="16155" y="166"/>
                  </a:lnTo>
                  <a:lnTo>
                    <a:pt x="16047" y="128"/>
                  </a:lnTo>
                  <a:lnTo>
                    <a:pt x="16047" y="128"/>
                  </a:lnTo>
                  <a:lnTo>
                    <a:pt x="16047" y="128"/>
                  </a:lnTo>
                  <a:close/>
                  <a:moveTo>
                    <a:pt x="16172" y="133"/>
                  </a:moveTo>
                  <a:lnTo>
                    <a:pt x="16188" y="128"/>
                  </a:lnTo>
                  <a:lnTo>
                    <a:pt x="16235" y="144"/>
                  </a:lnTo>
                  <a:lnTo>
                    <a:pt x="16209" y="149"/>
                  </a:lnTo>
                  <a:lnTo>
                    <a:pt x="16172" y="133"/>
                  </a:lnTo>
                  <a:lnTo>
                    <a:pt x="16172" y="133"/>
                  </a:lnTo>
                  <a:lnTo>
                    <a:pt x="16172" y="133"/>
                  </a:lnTo>
                  <a:close/>
                  <a:moveTo>
                    <a:pt x="17672" y="149"/>
                  </a:moveTo>
                  <a:lnTo>
                    <a:pt x="17752" y="154"/>
                  </a:lnTo>
                  <a:lnTo>
                    <a:pt x="17714" y="170"/>
                  </a:lnTo>
                  <a:lnTo>
                    <a:pt x="17655" y="170"/>
                  </a:lnTo>
                  <a:lnTo>
                    <a:pt x="17672" y="149"/>
                  </a:lnTo>
                  <a:lnTo>
                    <a:pt x="17672" y="149"/>
                  </a:lnTo>
                  <a:lnTo>
                    <a:pt x="17672" y="149"/>
                  </a:lnTo>
                  <a:close/>
                  <a:moveTo>
                    <a:pt x="15534" y="260"/>
                  </a:moveTo>
                  <a:lnTo>
                    <a:pt x="15555" y="277"/>
                  </a:lnTo>
                  <a:lnTo>
                    <a:pt x="15517" y="277"/>
                  </a:lnTo>
                  <a:lnTo>
                    <a:pt x="15517" y="281"/>
                  </a:lnTo>
                  <a:lnTo>
                    <a:pt x="15508" y="293"/>
                  </a:lnTo>
                  <a:lnTo>
                    <a:pt x="15454" y="298"/>
                  </a:lnTo>
                  <a:lnTo>
                    <a:pt x="15454" y="293"/>
                  </a:lnTo>
                  <a:lnTo>
                    <a:pt x="15463" y="281"/>
                  </a:lnTo>
                  <a:lnTo>
                    <a:pt x="15484" y="277"/>
                  </a:lnTo>
                  <a:lnTo>
                    <a:pt x="15447" y="265"/>
                  </a:lnTo>
                  <a:lnTo>
                    <a:pt x="15416" y="281"/>
                  </a:lnTo>
                  <a:lnTo>
                    <a:pt x="15387" y="260"/>
                  </a:lnTo>
                  <a:lnTo>
                    <a:pt x="15416" y="244"/>
                  </a:lnTo>
                  <a:lnTo>
                    <a:pt x="15496" y="255"/>
                  </a:lnTo>
                  <a:lnTo>
                    <a:pt x="15454" y="244"/>
                  </a:lnTo>
                  <a:lnTo>
                    <a:pt x="15501" y="236"/>
                  </a:lnTo>
                  <a:lnTo>
                    <a:pt x="15484" y="227"/>
                  </a:lnTo>
                  <a:lnTo>
                    <a:pt x="15442" y="236"/>
                  </a:lnTo>
                  <a:lnTo>
                    <a:pt x="15508" y="210"/>
                  </a:lnTo>
                  <a:lnTo>
                    <a:pt x="15560" y="220"/>
                  </a:lnTo>
                  <a:lnTo>
                    <a:pt x="15576" y="210"/>
                  </a:lnTo>
                  <a:lnTo>
                    <a:pt x="15572" y="203"/>
                  </a:lnTo>
                  <a:lnTo>
                    <a:pt x="15593" y="203"/>
                  </a:lnTo>
                  <a:lnTo>
                    <a:pt x="15605" y="187"/>
                  </a:lnTo>
                  <a:lnTo>
                    <a:pt x="15550" y="187"/>
                  </a:lnTo>
                  <a:lnTo>
                    <a:pt x="15631" y="154"/>
                  </a:lnTo>
                  <a:lnTo>
                    <a:pt x="15659" y="154"/>
                  </a:lnTo>
                  <a:lnTo>
                    <a:pt x="15626" y="166"/>
                  </a:lnTo>
                  <a:lnTo>
                    <a:pt x="15680" y="154"/>
                  </a:lnTo>
                  <a:lnTo>
                    <a:pt x="15697" y="166"/>
                  </a:lnTo>
                  <a:lnTo>
                    <a:pt x="15643" y="187"/>
                  </a:lnTo>
                  <a:lnTo>
                    <a:pt x="15711" y="182"/>
                  </a:lnTo>
                  <a:lnTo>
                    <a:pt x="15739" y="187"/>
                  </a:lnTo>
                  <a:lnTo>
                    <a:pt x="15685" y="220"/>
                  </a:lnTo>
                  <a:lnTo>
                    <a:pt x="15605" y="227"/>
                  </a:lnTo>
                  <a:lnTo>
                    <a:pt x="15609" y="244"/>
                  </a:lnTo>
                  <a:lnTo>
                    <a:pt x="15539" y="244"/>
                  </a:lnTo>
                  <a:lnTo>
                    <a:pt x="15522" y="260"/>
                  </a:lnTo>
                  <a:lnTo>
                    <a:pt x="15534" y="260"/>
                  </a:lnTo>
                  <a:lnTo>
                    <a:pt x="15534" y="260"/>
                  </a:lnTo>
                  <a:lnTo>
                    <a:pt x="15534" y="260"/>
                  </a:lnTo>
                  <a:close/>
                  <a:moveTo>
                    <a:pt x="16181" y="170"/>
                  </a:moveTo>
                  <a:lnTo>
                    <a:pt x="16235" y="154"/>
                  </a:lnTo>
                  <a:lnTo>
                    <a:pt x="16257" y="170"/>
                  </a:lnTo>
                  <a:lnTo>
                    <a:pt x="16219" y="187"/>
                  </a:lnTo>
                  <a:lnTo>
                    <a:pt x="16172" y="170"/>
                  </a:lnTo>
                  <a:lnTo>
                    <a:pt x="16181" y="170"/>
                  </a:lnTo>
                  <a:lnTo>
                    <a:pt x="16181" y="170"/>
                  </a:lnTo>
                  <a:lnTo>
                    <a:pt x="16181" y="170"/>
                  </a:lnTo>
                  <a:close/>
                  <a:moveTo>
                    <a:pt x="15900" y="170"/>
                  </a:moveTo>
                  <a:lnTo>
                    <a:pt x="15983" y="154"/>
                  </a:lnTo>
                  <a:lnTo>
                    <a:pt x="16042" y="170"/>
                  </a:lnTo>
                  <a:lnTo>
                    <a:pt x="15966" y="187"/>
                  </a:lnTo>
                  <a:lnTo>
                    <a:pt x="15900" y="170"/>
                  </a:lnTo>
                  <a:lnTo>
                    <a:pt x="15900" y="170"/>
                  </a:lnTo>
                  <a:lnTo>
                    <a:pt x="15900" y="170"/>
                  </a:lnTo>
                  <a:close/>
                  <a:moveTo>
                    <a:pt x="16273" y="220"/>
                  </a:moveTo>
                  <a:lnTo>
                    <a:pt x="16278" y="210"/>
                  </a:lnTo>
                  <a:lnTo>
                    <a:pt x="16264" y="203"/>
                  </a:lnTo>
                  <a:lnTo>
                    <a:pt x="16273" y="199"/>
                  </a:lnTo>
                  <a:lnTo>
                    <a:pt x="16306" y="170"/>
                  </a:lnTo>
                  <a:lnTo>
                    <a:pt x="16453" y="166"/>
                  </a:lnTo>
                  <a:lnTo>
                    <a:pt x="16479" y="182"/>
                  </a:lnTo>
                  <a:lnTo>
                    <a:pt x="16467" y="199"/>
                  </a:lnTo>
                  <a:lnTo>
                    <a:pt x="16474" y="203"/>
                  </a:lnTo>
                  <a:lnTo>
                    <a:pt x="16441" y="210"/>
                  </a:lnTo>
                  <a:lnTo>
                    <a:pt x="16398" y="244"/>
                  </a:lnTo>
                  <a:lnTo>
                    <a:pt x="16344" y="227"/>
                  </a:lnTo>
                  <a:lnTo>
                    <a:pt x="16295" y="236"/>
                  </a:lnTo>
                  <a:lnTo>
                    <a:pt x="16273" y="220"/>
                  </a:lnTo>
                  <a:lnTo>
                    <a:pt x="16273" y="220"/>
                  </a:lnTo>
                  <a:lnTo>
                    <a:pt x="16273" y="220"/>
                  </a:lnTo>
                  <a:close/>
                  <a:moveTo>
                    <a:pt x="15345" y="236"/>
                  </a:moveTo>
                  <a:lnTo>
                    <a:pt x="15340" y="210"/>
                  </a:lnTo>
                  <a:lnTo>
                    <a:pt x="15307" y="220"/>
                  </a:lnTo>
                  <a:lnTo>
                    <a:pt x="15265" y="203"/>
                  </a:lnTo>
                  <a:lnTo>
                    <a:pt x="15409" y="182"/>
                  </a:lnTo>
                  <a:lnTo>
                    <a:pt x="15447" y="166"/>
                  </a:lnTo>
                  <a:lnTo>
                    <a:pt x="15517" y="182"/>
                  </a:lnTo>
                  <a:lnTo>
                    <a:pt x="15522" y="182"/>
                  </a:lnTo>
                  <a:lnTo>
                    <a:pt x="15508" y="187"/>
                  </a:lnTo>
                  <a:lnTo>
                    <a:pt x="15534" y="203"/>
                  </a:lnTo>
                  <a:lnTo>
                    <a:pt x="15484" y="199"/>
                  </a:lnTo>
                  <a:lnTo>
                    <a:pt x="15463" y="182"/>
                  </a:lnTo>
                  <a:lnTo>
                    <a:pt x="15432" y="199"/>
                  </a:lnTo>
                  <a:lnTo>
                    <a:pt x="15442" y="210"/>
                  </a:lnTo>
                  <a:lnTo>
                    <a:pt x="15425" y="203"/>
                  </a:lnTo>
                  <a:lnTo>
                    <a:pt x="15345" y="236"/>
                  </a:lnTo>
                  <a:lnTo>
                    <a:pt x="15345" y="236"/>
                  </a:lnTo>
                  <a:lnTo>
                    <a:pt x="15345" y="236"/>
                  </a:lnTo>
                  <a:close/>
                  <a:moveTo>
                    <a:pt x="16009" y="187"/>
                  </a:moveTo>
                  <a:lnTo>
                    <a:pt x="16080" y="182"/>
                  </a:lnTo>
                  <a:lnTo>
                    <a:pt x="16113" y="199"/>
                  </a:lnTo>
                  <a:lnTo>
                    <a:pt x="16037" y="203"/>
                  </a:lnTo>
                  <a:lnTo>
                    <a:pt x="16004" y="187"/>
                  </a:lnTo>
                  <a:lnTo>
                    <a:pt x="16009" y="187"/>
                  </a:lnTo>
                  <a:lnTo>
                    <a:pt x="16009" y="187"/>
                  </a:lnTo>
                  <a:lnTo>
                    <a:pt x="16009" y="187"/>
                  </a:lnTo>
                  <a:close/>
                  <a:moveTo>
                    <a:pt x="15848" y="220"/>
                  </a:moveTo>
                  <a:lnTo>
                    <a:pt x="15858" y="210"/>
                  </a:lnTo>
                  <a:lnTo>
                    <a:pt x="15841" y="203"/>
                  </a:lnTo>
                  <a:lnTo>
                    <a:pt x="15858" y="203"/>
                  </a:lnTo>
                  <a:lnTo>
                    <a:pt x="15874" y="220"/>
                  </a:lnTo>
                  <a:lnTo>
                    <a:pt x="15848" y="220"/>
                  </a:lnTo>
                  <a:lnTo>
                    <a:pt x="15848" y="220"/>
                  </a:lnTo>
                  <a:lnTo>
                    <a:pt x="15848" y="220"/>
                  </a:lnTo>
                  <a:close/>
                  <a:moveTo>
                    <a:pt x="16134" y="203"/>
                  </a:moveTo>
                  <a:lnTo>
                    <a:pt x="16188" y="203"/>
                  </a:lnTo>
                  <a:lnTo>
                    <a:pt x="16165" y="220"/>
                  </a:lnTo>
                  <a:lnTo>
                    <a:pt x="16127" y="210"/>
                  </a:lnTo>
                  <a:lnTo>
                    <a:pt x="16134" y="203"/>
                  </a:lnTo>
                  <a:lnTo>
                    <a:pt x="16134" y="203"/>
                  </a:lnTo>
                  <a:lnTo>
                    <a:pt x="16134" y="203"/>
                  </a:lnTo>
                  <a:close/>
                  <a:moveTo>
                    <a:pt x="15886" y="227"/>
                  </a:moveTo>
                  <a:lnTo>
                    <a:pt x="15900" y="220"/>
                  </a:lnTo>
                  <a:lnTo>
                    <a:pt x="15895" y="210"/>
                  </a:lnTo>
                  <a:lnTo>
                    <a:pt x="15900" y="203"/>
                  </a:lnTo>
                  <a:lnTo>
                    <a:pt x="15928" y="210"/>
                  </a:lnTo>
                  <a:lnTo>
                    <a:pt x="15912" y="220"/>
                  </a:lnTo>
                  <a:lnTo>
                    <a:pt x="15933" y="227"/>
                  </a:lnTo>
                  <a:lnTo>
                    <a:pt x="15917" y="236"/>
                  </a:lnTo>
                  <a:lnTo>
                    <a:pt x="15886" y="227"/>
                  </a:lnTo>
                  <a:lnTo>
                    <a:pt x="15886" y="227"/>
                  </a:lnTo>
                  <a:lnTo>
                    <a:pt x="15886" y="227"/>
                  </a:lnTo>
                  <a:close/>
                  <a:moveTo>
                    <a:pt x="15950" y="220"/>
                  </a:moveTo>
                  <a:lnTo>
                    <a:pt x="15971" y="210"/>
                  </a:lnTo>
                  <a:lnTo>
                    <a:pt x="15983" y="227"/>
                  </a:lnTo>
                  <a:lnTo>
                    <a:pt x="15950" y="220"/>
                  </a:lnTo>
                  <a:lnTo>
                    <a:pt x="15950" y="220"/>
                  </a:lnTo>
                  <a:lnTo>
                    <a:pt x="15950" y="220"/>
                  </a:lnTo>
                  <a:close/>
                  <a:moveTo>
                    <a:pt x="16155" y="293"/>
                  </a:moveTo>
                  <a:lnTo>
                    <a:pt x="16134" y="281"/>
                  </a:lnTo>
                  <a:lnTo>
                    <a:pt x="16134" y="244"/>
                  </a:lnTo>
                  <a:lnTo>
                    <a:pt x="16113" y="227"/>
                  </a:lnTo>
                  <a:lnTo>
                    <a:pt x="16209" y="227"/>
                  </a:lnTo>
                  <a:lnTo>
                    <a:pt x="16273" y="255"/>
                  </a:lnTo>
                  <a:lnTo>
                    <a:pt x="16209" y="260"/>
                  </a:lnTo>
                  <a:lnTo>
                    <a:pt x="16188" y="265"/>
                  </a:lnTo>
                  <a:lnTo>
                    <a:pt x="16219" y="265"/>
                  </a:lnTo>
                  <a:lnTo>
                    <a:pt x="16209" y="281"/>
                  </a:lnTo>
                  <a:lnTo>
                    <a:pt x="16181" y="277"/>
                  </a:lnTo>
                  <a:lnTo>
                    <a:pt x="16172" y="281"/>
                  </a:lnTo>
                  <a:lnTo>
                    <a:pt x="16181" y="293"/>
                  </a:lnTo>
                  <a:lnTo>
                    <a:pt x="16155" y="293"/>
                  </a:lnTo>
                  <a:lnTo>
                    <a:pt x="16155" y="293"/>
                  </a:lnTo>
                  <a:lnTo>
                    <a:pt x="16155" y="293"/>
                  </a:lnTo>
                  <a:close/>
                  <a:moveTo>
                    <a:pt x="15933" y="236"/>
                  </a:moveTo>
                  <a:lnTo>
                    <a:pt x="15950" y="227"/>
                  </a:lnTo>
                  <a:lnTo>
                    <a:pt x="15966" y="236"/>
                  </a:lnTo>
                  <a:lnTo>
                    <a:pt x="15928" y="244"/>
                  </a:lnTo>
                  <a:lnTo>
                    <a:pt x="15933" y="236"/>
                  </a:lnTo>
                  <a:lnTo>
                    <a:pt x="15933" y="236"/>
                  </a:lnTo>
                  <a:lnTo>
                    <a:pt x="15933" y="236"/>
                  </a:lnTo>
                  <a:close/>
                  <a:moveTo>
                    <a:pt x="15983" y="236"/>
                  </a:moveTo>
                  <a:lnTo>
                    <a:pt x="15992" y="236"/>
                  </a:lnTo>
                  <a:lnTo>
                    <a:pt x="15971" y="236"/>
                  </a:lnTo>
                  <a:lnTo>
                    <a:pt x="15983" y="236"/>
                  </a:lnTo>
                  <a:lnTo>
                    <a:pt x="15983" y="236"/>
                  </a:lnTo>
                  <a:lnTo>
                    <a:pt x="15983" y="236"/>
                  </a:lnTo>
                  <a:close/>
                  <a:moveTo>
                    <a:pt x="15787" y="277"/>
                  </a:moveTo>
                  <a:lnTo>
                    <a:pt x="15772" y="265"/>
                  </a:lnTo>
                  <a:lnTo>
                    <a:pt x="15824" y="244"/>
                  </a:lnTo>
                  <a:lnTo>
                    <a:pt x="15858" y="244"/>
                  </a:lnTo>
                  <a:lnTo>
                    <a:pt x="15895" y="265"/>
                  </a:lnTo>
                  <a:lnTo>
                    <a:pt x="15862" y="281"/>
                  </a:lnTo>
                  <a:lnTo>
                    <a:pt x="15787" y="277"/>
                  </a:lnTo>
                  <a:lnTo>
                    <a:pt x="15787" y="277"/>
                  </a:lnTo>
                  <a:lnTo>
                    <a:pt x="15787" y="277"/>
                  </a:lnTo>
                  <a:close/>
                  <a:moveTo>
                    <a:pt x="16025" y="293"/>
                  </a:moveTo>
                  <a:lnTo>
                    <a:pt x="16042" y="277"/>
                  </a:lnTo>
                  <a:lnTo>
                    <a:pt x="16042" y="265"/>
                  </a:lnTo>
                  <a:lnTo>
                    <a:pt x="16042" y="255"/>
                  </a:lnTo>
                  <a:lnTo>
                    <a:pt x="16117" y="260"/>
                  </a:lnTo>
                  <a:lnTo>
                    <a:pt x="16117" y="293"/>
                  </a:lnTo>
                  <a:lnTo>
                    <a:pt x="16113" y="298"/>
                  </a:lnTo>
                  <a:lnTo>
                    <a:pt x="16021" y="293"/>
                  </a:lnTo>
                  <a:lnTo>
                    <a:pt x="16025" y="293"/>
                  </a:lnTo>
                  <a:lnTo>
                    <a:pt x="16025" y="293"/>
                  </a:lnTo>
                  <a:lnTo>
                    <a:pt x="16025" y="293"/>
                  </a:lnTo>
                  <a:close/>
                  <a:moveTo>
                    <a:pt x="15966" y="265"/>
                  </a:moveTo>
                  <a:lnTo>
                    <a:pt x="15992" y="255"/>
                  </a:lnTo>
                  <a:lnTo>
                    <a:pt x="16009" y="260"/>
                  </a:lnTo>
                  <a:lnTo>
                    <a:pt x="15983" y="277"/>
                  </a:lnTo>
                  <a:lnTo>
                    <a:pt x="15966" y="265"/>
                  </a:lnTo>
                  <a:lnTo>
                    <a:pt x="15966" y="265"/>
                  </a:lnTo>
                  <a:lnTo>
                    <a:pt x="15966" y="265"/>
                  </a:lnTo>
                  <a:close/>
                  <a:moveTo>
                    <a:pt x="15917" y="277"/>
                  </a:moveTo>
                  <a:lnTo>
                    <a:pt x="15912" y="260"/>
                  </a:lnTo>
                  <a:lnTo>
                    <a:pt x="15917" y="255"/>
                  </a:lnTo>
                  <a:lnTo>
                    <a:pt x="15933" y="260"/>
                  </a:lnTo>
                  <a:lnTo>
                    <a:pt x="15917" y="277"/>
                  </a:lnTo>
                  <a:lnTo>
                    <a:pt x="15917" y="277"/>
                  </a:lnTo>
                  <a:lnTo>
                    <a:pt x="15917" y="277"/>
                  </a:lnTo>
                  <a:close/>
                  <a:moveTo>
                    <a:pt x="15609" y="298"/>
                  </a:moveTo>
                  <a:lnTo>
                    <a:pt x="15588" y="281"/>
                  </a:lnTo>
                  <a:lnTo>
                    <a:pt x="15614" y="265"/>
                  </a:lnTo>
                  <a:lnTo>
                    <a:pt x="15647" y="281"/>
                  </a:lnTo>
                  <a:lnTo>
                    <a:pt x="15609" y="298"/>
                  </a:lnTo>
                  <a:lnTo>
                    <a:pt x="15609" y="298"/>
                  </a:lnTo>
                  <a:lnTo>
                    <a:pt x="15609" y="298"/>
                  </a:lnTo>
                  <a:close/>
                  <a:moveTo>
                    <a:pt x="19098" y="425"/>
                  </a:moveTo>
                  <a:lnTo>
                    <a:pt x="19061" y="425"/>
                  </a:lnTo>
                  <a:lnTo>
                    <a:pt x="19120" y="459"/>
                  </a:lnTo>
                  <a:lnTo>
                    <a:pt x="19129" y="482"/>
                  </a:lnTo>
                  <a:lnTo>
                    <a:pt x="19087" y="499"/>
                  </a:lnTo>
                  <a:lnTo>
                    <a:pt x="19011" y="503"/>
                  </a:lnTo>
                  <a:lnTo>
                    <a:pt x="18935" y="499"/>
                  </a:lnTo>
                  <a:lnTo>
                    <a:pt x="18898" y="475"/>
                  </a:lnTo>
                  <a:lnTo>
                    <a:pt x="18827" y="475"/>
                  </a:lnTo>
                  <a:lnTo>
                    <a:pt x="18817" y="449"/>
                  </a:lnTo>
                  <a:lnTo>
                    <a:pt x="18780" y="466"/>
                  </a:lnTo>
                  <a:lnTo>
                    <a:pt x="18735" y="433"/>
                  </a:lnTo>
                  <a:lnTo>
                    <a:pt x="18735" y="392"/>
                  </a:lnTo>
                  <a:lnTo>
                    <a:pt x="18687" y="392"/>
                  </a:lnTo>
                  <a:lnTo>
                    <a:pt x="18704" y="392"/>
                  </a:lnTo>
                  <a:lnTo>
                    <a:pt x="18687" y="388"/>
                  </a:lnTo>
                  <a:lnTo>
                    <a:pt x="18697" y="371"/>
                  </a:lnTo>
                  <a:lnTo>
                    <a:pt x="18650" y="404"/>
                  </a:lnTo>
                  <a:lnTo>
                    <a:pt x="18650" y="392"/>
                  </a:lnTo>
                  <a:lnTo>
                    <a:pt x="18654" y="388"/>
                  </a:lnTo>
                  <a:lnTo>
                    <a:pt x="18628" y="376"/>
                  </a:lnTo>
                  <a:lnTo>
                    <a:pt x="18654" y="388"/>
                  </a:lnTo>
                  <a:lnTo>
                    <a:pt x="18709" y="347"/>
                  </a:lnTo>
                  <a:lnTo>
                    <a:pt x="18751" y="338"/>
                  </a:lnTo>
                  <a:lnTo>
                    <a:pt x="18725" y="322"/>
                  </a:lnTo>
                  <a:lnTo>
                    <a:pt x="18772" y="293"/>
                  </a:lnTo>
                  <a:lnTo>
                    <a:pt x="18796" y="310"/>
                  </a:lnTo>
                  <a:lnTo>
                    <a:pt x="18817" y="293"/>
                  </a:lnTo>
                  <a:lnTo>
                    <a:pt x="18957" y="281"/>
                  </a:lnTo>
                  <a:lnTo>
                    <a:pt x="18990" y="298"/>
                  </a:lnTo>
                  <a:lnTo>
                    <a:pt x="18957" y="347"/>
                  </a:lnTo>
                  <a:lnTo>
                    <a:pt x="18935" y="355"/>
                  </a:lnTo>
                  <a:lnTo>
                    <a:pt x="18969" y="347"/>
                  </a:lnTo>
                  <a:lnTo>
                    <a:pt x="18978" y="322"/>
                  </a:lnTo>
                  <a:lnTo>
                    <a:pt x="19011" y="331"/>
                  </a:lnTo>
                  <a:lnTo>
                    <a:pt x="19028" y="314"/>
                  </a:lnTo>
                  <a:lnTo>
                    <a:pt x="19023" y="310"/>
                  </a:lnTo>
                  <a:lnTo>
                    <a:pt x="19028" y="298"/>
                  </a:lnTo>
                  <a:lnTo>
                    <a:pt x="19075" y="298"/>
                  </a:lnTo>
                  <a:lnTo>
                    <a:pt x="19136" y="347"/>
                  </a:lnTo>
                  <a:lnTo>
                    <a:pt x="19113" y="371"/>
                  </a:lnTo>
                  <a:lnTo>
                    <a:pt x="19103" y="392"/>
                  </a:lnTo>
                  <a:lnTo>
                    <a:pt x="19113" y="409"/>
                  </a:lnTo>
                  <a:lnTo>
                    <a:pt x="19098" y="425"/>
                  </a:lnTo>
                  <a:lnTo>
                    <a:pt x="19098" y="425"/>
                  </a:lnTo>
                  <a:lnTo>
                    <a:pt x="19098" y="425"/>
                  </a:lnTo>
                  <a:close/>
                  <a:moveTo>
                    <a:pt x="16240" y="310"/>
                  </a:moveTo>
                  <a:lnTo>
                    <a:pt x="16278" y="293"/>
                  </a:lnTo>
                  <a:lnTo>
                    <a:pt x="16311" y="293"/>
                  </a:lnTo>
                  <a:lnTo>
                    <a:pt x="16311" y="310"/>
                  </a:lnTo>
                  <a:lnTo>
                    <a:pt x="16278" y="322"/>
                  </a:lnTo>
                  <a:lnTo>
                    <a:pt x="16240" y="310"/>
                  </a:lnTo>
                  <a:lnTo>
                    <a:pt x="16240" y="310"/>
                  </a:lnTo>
                  <a:lnTo>
                    <a:pt x="16240" y="310"/>
                  </a:lnTo>
                  <a:close/>
                  <a:moveTo>
                    <a:pt x="15626" y="314"/>
                  </a:moveTo>
                  <a:lnTo>
                    <a:pt x="15659" y="314"/>
                  </a:lnTo>
                  <a:lnTo>
                    <a:pt x="15697" y="293"/>
                  </a:lnTo>
                  <a:lnTo>
                    <a:pt x="15723" y="322"/>
                  </a:lnTo>
                  <a:lnTo>
                    <a:pt x="15626" y="314"/>
                  </a:lnTo>
                  <a:lnTo>
                    <a:pt x="15626" y="314"/>
                  </a:lnTo>
                  <a:lnTo>
                    <a:pt x="15626" y="314"/>
                  </a:lnTo>
                  <a:close/>
                  <a:moveTo>
                    <a:pt x="18503" y="298"/>
                  </a:moveTo>
                  <a:lnTo>
                    <a:pt x="18487" y="298"/>
                  </a:lnTo>
                  <a:lnTo>
                    <a:pt x="18633" y="310"/>
                  </a:lnTo>
                  <a:lnTo>
                    <a:pt x="18697" y="322"/>
                  </a:lnTo>
                  <a:lnTo>
                    <a:pt x="18645" y="355"/>
                  </a:lnTo>
                  <a:lnTo>
                    <a:pt x="18562" y="364"/>
                  </a:lnTo>
                  <a:lnTo>
                    <a:pt x="18595" y="355"/>
                  </a:lnTo>
                  <a:lnTo>
                    <a:pt x="18574" y="338"/>
                  </a:lnTo>
                  <a:lnTo>
                    <a:pt x="18503" y="331"/>
                  </a:lnTo>
                  <a:lnTo>
                    <a:pt x="18508" y="322"/>
                  </a:lnTo>
                  <a:lnTo>
                    <a:pt x="18503" y="298"/>
                  </a:lnTo>
                  <a:lnTo>
                    <a:pt x="18503" y="298"/>
                  </a:lnTo>
                  <a:lnTo>
                    <a:pt x="18503" y="298"/>
                  </a:lnTo>
                  <a:close/>
                  <a:moveTo>
                    <a:pt x="18704" y="310"/>
                  </a:moveTo>
                  <a:lnTo>
                    <a:pt x="18735" y="310"/>
                  </a:lnTo>
                  <a:lnTo>
                    <a:pt x="18704" y="314"/>
                  </a:lnTo>
                  <a:lnTo>
                    <a:pt x="18704" y="310"/>
                  </a:lnTo>
                  <a:lnTo>
                    <a:pt x="18704" y="310"/>
                  </a:lnTo>
                  <a:lnTo>
                    <a:pt x="18704" y="310"/>
                  </a:lnTo>
                  <a:close/>
                  <a:moveTo>
                    <a:pt x="16209" y="314"/>
                  </a:moveTo>
                  <a:lnTo>
                    <a:pt x="16226" y="314"/>
                  </a:lnTo>
                  <a:lnTo>
                    <a:pt x="16252" y="322"/>
                  </a:lnTo>
                  <a:lnTo>
                    <a:pt x="16202" y="322"/>
                  </a:lnTo>
                  <a:lnTo>
                    <a:pt x="16209" y="314"/>
                  </a:lnTo>
                  <a:lnTo>
                    <a:pt x="16209" y="314"/>
                  </a:lnTo>
                  <a:lnTo>
                    <a:pt x="16209" y="314"/>
                  </a:lnTo>
                  <a:close/>
                  <a:moveTo>
                    <a:pt x="18541" y="364"/>
                  </a:moveTo>
                  <a:lnTo>
                    <a:pt x="18503" y="355"/>
                  </a:lnTo>
                  <a:lnTo>
                    <a:pt x="18557" y="364"/>
                  </a:lnTo>
                  <a:lnTo>
                    <a:pt x="18541" y="364"/>
                  </a:lnTo>
                  <a:lnTo>
                    <a:pt x="18541" y="364"/>
                  </a:lnTo>
                  <a:lnTo>
                    <a:pt x="18541" y="364"/>
                  </a:lnTo>
                  <a:close/>
                  <a:moveTo>
                    <a:pt x="19129" y="376"/>
                  </a:moveTo>
                  <a:lnTo>
                    <a:pt x="19129" y="364"/>
                  </a:lnTo>
                  <a:lnTo>
                    <a:pt x="19150" y="364"/>
                  </a:lnTo>
                  <a:lnTo>
                    <a:pt x="19129" y="376"/>
                  </a:lnTo>
                  <a:lnTo>
                    <a:pt x="19129" y="376"/>
                  </a:lnTo>
                  <a:lnTo>
                    <a:pt x="19129" y="376"/>
                  </a:lnTo>
                  <a:close/>
                  <a:moveTo>
                    <a:pt x="17495" y="388"/>
                  </a:moveTo>
                  <a:lnTo>
                    <a:pt x="17445" y="371"/>
                  </a:lnTo>
                  <a:lnTo>
                    <a:pt x="17563" y="388"/>
                  </a:lnTo>
                  <a:lnTo>
                    <a:pt x="17499" y="392"/>
                  </a:lnTo>
                  <a:lnTo>
                    <a:pt x="17495" y="388"/>
                  </a:lnTo>
                  <a:lnTo>
                    <a:pt x="17495" y="388"/>
                  </a:lnTo>
                  <a:lnTo>
                    <a:pt x="17495" y="388"/>
                  </a:lnTo>
                  <a:close/>
                  <a:moveTo>
                    <a:pt x="18494" y="388"/>
                  </a:moveTo>
                  <a:lnTo>
                    <a:pt x="18536" y="392"/>
                  </a:lnTo>
                  <a:lnTo>
                    <a:pt x="18482" y="376"/>
                  </a:lnTo>
                  <a:lnTo>
                    <a:pt x="18494" y="388"/>
                  </a:lnTo>
                  <a:lnTo>
                    <a:pt x="18494" y="388"/>
                  </a:lnTo>
                  <a:lnTo>
                    <a:pt x="18494" y="388"/>
                  </a:lnTo>
                  <a:close/>
                  <a:moveTo>
                    <a:pt x="19129" y="392"/>
                  </a:moveTo>
                  <a:lnTo>
                    <a:pt x="19129" y="404"/>
                  </a:lnTo>
                  <a:lnTo>
                    <a:pt x="19120" y="404"/>
                  </a:lnTo>
                  <a:lnTo>
                    <a:pt x="19129" y="392"/>
                  </a:lnTo>
                  <a:lnTo>
                    <a:pt x="19129" y="392"/>
                  </a:lnTo>
                  <a:lnTo>
                    <a:pt x="19129" y="392"/>
                  </a:lnTo>
                  <a:close/>
                  <a:moveTo>
                    <a:pt x="19136" y="553"/>
                  </a:moveTo>
                  <a:lnTo>
                    <a:pt x="19157" y="503"/>
                  </a:lnTo>
                  <a:lnTo>
                    <a:pt x="19212" y="515"/>
                  </a:lnTo>
                  <a:lnTo>
                    <a:pt x="19183" y="487"/>
                  </a:lnTo>
                  <a:lnTo>
                    <a:pt x="19195" y="466"/>
                  </a:lnTo>
                  <a:lnTo>
                    <a:pt x="19243" y="475"/>
                  </a:lnTo>
                  <a:lnTo>
                    <a:pt x="19195" y="459"/>
                  </a:lnTo>
                  <a:lnTo>
                    <a:pt x="19212" y="433"/>
                  </a:lnTo>
                  <a:lnTo>
                    <a:pt x="19250" y="409"/>
                  </a:lnTo>
                  <a:lnTo>
                    <a:pt x="19264" y="425"/>
                  </a:lnTo>
                  <a:lnTo>
                    <a:pt x="19280" y="433"/>
                  </a:lnTo>
                  <a:lnTo>
                    <a:pt x="19280" y="409"/>
                  </a:lnTo>
                  <a:lnTo>
                    <a:pt x="19297" y="404"/>
                  </a:lnTo>
                  <a:lnTo>
                    <a:pt x="19351" y="421"/>
                  </a:lnTo>
                  <a:lnTo>
                    <a:pt x="19330" y="433"/>
                  </a:lnTo>
                  <a:lnTo>
                    <a:pt x="19297" y="499"/>
                  </a:lnTo>
                  <a:lnTo>
                    <a:pt x="19335" y="466"/>
                  </a:lnTo>
                  <a:lnTo>
                    <a:pt x="19406" y="449"/>
                  </a:lnTo>
                  <a:lnTo>
                    <a:pt x="19410" y="475"/>
                  </a:lnTo>
                  <a:lnTo>
                    <a:pt x="19439" y="475"/>
                  </a:lnTo>
                  <a:lnTo>
                    <a:pt x="19453" y="499"/>
                  </a:lnTo>
                  <a:lnTo>
                    <a:pt x="19453" y="503"/>
                  </a:lnTo>
                  <a:lnTo>
                    <a:pt x="19460" y="499"/>
                  </a:lnTo>
                  <a:lnTo>
                    <a:pt x="19491" y="499"/>
                  </a:lnTo>
                  <a:lnTo>
                    <a:pt x="19507" y="536"/>
                  </a:lnTo>
                  <a:lnTo>
                    <a:pt x="19460" y="577"/>
                  </a:lnTo>
                  <a:lnTo>
                    <a:pt x="19335" y="593"/>
                  </a:lnTo>
                  <a:lnTo>
                    <a:pt x="19318" y="598"/>
                  </a:lnTo>
                  <a:lnTo>
                    <a:pt x="19302" y="593"/>
                  </a:lnTo>
                  <a:lnTo>
                    <a:pt x="19221" y="598"/>
                  </a:lnTo>
                  <a:lnTo>
                    <a:pt x="19129" y="631"/>
                  </a:lnTo>
                  <a:lnTo>
                    <a:pt x="19087" y="643"/>
                  </a:lnTo>
                  <a:lnTo>
                    <a:pt x="19082" y="626"/>
                  </a:lnTo>
                  <a:lnTo>
                    <a:pt x="19136" y="553"/>
                  </a:lnTo>
                  <a:lnTo>
                    <a:pt x="19136" y="553"/>
                  </a:lnTo>
                  <a:lnTo>
                    <a:pt x="19136" y="553"/>
                  </a:lnTo>
                  <a:close/>
                  <a:moveTo>
                    <a:pt x="19561" y="598"/>
                  </a:moveTo>
                  <a:lnTo>
                    <a:pt x="19552" y="593"/>
                  </a:lnTo>
                  <a:lnTo>
                    <a:pt x="19583" y="577"/>
                  </a:lnTo>
                  <a:lnTo>
                    <a:pt x="19604" y="586"/>
                  </a:lnTo>
                  <a:lnTo>
                    <a:pt x="19561" y="598"/>
                  </a:lnTo>
                  <a:lnTo>
                    <a:pt x="19561" y="598"/>
                  </a:lnTo>
                  <a:lnTo>
                    <a:pt x="19561" y="598"/>
                  </a:lnTo>
                  <a:close/>
                  <a:moveTo>
                    <a:pt x="19654" y="626"/>
                  </a:moveTo>
                  <a:lnTo>
                    <a:pt x="19583" y="598"/>
                  </a:lnTo>
                  <a:lnTo>
                    <a:pt x="19670" y="610"/>
                  </a:lnTo>
                  <a:lnTo>
                    <a:pt x="19654" y="626"/>
                  </a:lnTo>
                  <a:lnTo>
                    <a:pt x="19654" y="626"/>
                  </a:lnTo>
                  <a:lnTo>
                    <a:pt x="19654" y="626"/>
                  </a:lnTo>
                  <a:close/>
                  <a:moveTo>
                    <a:pt x="18562" y="688"/>
                  </a:moveTo>
                  <a:lnTo>
                    <a:pt x="18546" y="681"/>
                  </a:lnTo>
                  <a:lnTo>
                    <a:pt x="18574" y="688"/>
                  </a:lnTo>
                  <a:lnTo>
                    <a:pt x="18562" y="688"/>
                  </a:lnTo>
                  <a:lnTo>
                    <a:pt x="18562" y="688"/>
                  </a:lnTo>
                  <a:lnTo>
                    <a:pt x="18562" y="688"/>
                  </a:lnTo>
                  <a:close/>
                  <a:moveTo>
                    <a:pt x="19642" y="754"/>
                  </a:moveTo>
                  <a:lnTo>
                    <a:pt x="19637" y="742"/>
                  </a:lnTo>
                  <a:lnTo>
                    <a:pt x="19654" y="725"/>
                  </a:lnTo>
                  <a:lnTo>
                    <a:pt x="19670" y="737"/>
                  </a:lnTo>
                  <a:lnTo>
                    <a:pt x="19670" y="742"/>
                  </a:lnTo>
                  <a:lnTo>
                    <a:pt x="19642" y="754"/>
                  </a:lnTo>
                  <a:lnTo>
                    <a:pt x="19642" y="754"/>
                  </a:lnTo>
                  <a:lnTo>
                    <a:pt x="19642" y="754"/>
                  </a:lnTo>
                  <a:close/>
                  <a:moveTo>
                    <a:pt x="18373" y="758"/>
                  </a:moveTo>
                  <a:lnTo>
                    <a:pt x="18364" y="742"/>
                  </a:lnTo>
                  <a:lnTo>
                    <a:pt x="18373" y="737"/>
                  </a:lnTo>
                  <a:lnTo>
                    <a:pt x="18402" y="742"/>
                  </a:lnTo>
                  <a:lnTo>
                    <a:pt x="18373" y="758"/>
                  </a:lnTo>
                  <a:lnTo>
                    <a:pt x="18373" y="758"/>
                  </a:lnTo>
                  <a:lnTo>
                    <a:pt x="18373" y="758"/>
                  </a:lnTo>
                  <a:close/>
                  <a:moveTo>
                    <a:pt x="19535" y="742"/>
                  </a:moveTo>
                  <a:lnTo>
                    <a:pt x="19552" y="737"/>
                  </a:lnTo>
                  <a:lnTo>
                    <a:pt x="19535" y="742"/>
                  </a:lnTo>
                  <a:lnTo>
                    <a:pt x="19535" y="742"/>
                  </a:lnTo>
                  <a:lnTo>
                    <a:pt x="19535" y="742"/>
                  </a:lnTo>
                  <a:close/>
                  <a:moveTo>
                    <a:pt x="18881" y="754"/>
                  </a:moveTo>
                  <a:lnTo>
                    <a:pt x="18886" y="758"/>
                  </a:lnTo>
                  <a:lnTo>
                    <a:pt x="18860" y="780"/>
                  </a:lnTo>
                  <a:lnTo>
                    <a:pt x="18796" y="780"/>
                  </a:lnTo>
                  <a:lnTo>
                    <a:pt x="18881" y="754"/>
                  </a:lnTo>
                  <a:lnTo>
                    <a:pt x="18881" y="754"/>
                  </a:lnTo>
                  <a:lnTo>
                    <a:pt x="18881" y="754"/>
                  </a:lnTo>
                  <a:close/>
                  <a:moveTo>
                    <a:pt x="18357" y="758"/>
                  </a:moveTo>
                  <a:lnTo>
                    <a:pt x="18331" y="763"/>
                  </a:lnTo>
                  <a:lnTo>
                    <a:pt x="18347" y="763"/>
                  </a:lnTo>
                  <a:lnTo>
                    <a:pt x="18343" y="780"/>
                  </a:lnTo>
                  <a:lnTo>
                    <a:pt x="18331" y="763"/>
                  </a:lnTo>
                  <a:lnTo>
                    <a:pt x="18357" y="758"/>
                  </a:lnTo>
                  <a:lnTo>
                    <a:pt x="18357" y="758"/>
                  </a:lnTo>
                  <a:lnTo>
                    <a:pt x="18357" y="758"/>
                  </a:lnTo>
                  <a:close/>
                  <a:moveTo>
                    <a:pt x="23093" y="758"/>
                  </a:moveTo>
                  <a:lnTo>
                    <a:pt x="23109" y="758"/>
                  </a:lnTo>
                  <a:lnTo>
                    <a:pt x="23088" y="758"/>
                  </a:lnTo>
                  <a:lnTo>
                    <a:pt x="23093" y="758"/>
                  </a:lnTo>
                  <a:lnTo>
                    <a:pt x="23093" y="758"/>
                  </a:lnTo>
                  <a:lnTo>
                    <a:pt x="23093" y="758"/>
                  </a:lnTo>
                  <a:close/>
                  <a:moveTo>
                    <a:pt x="16101" y="1314"/>
                  </a:moveTo>
                  <a:lnTo>
                    <a:pt x="16096" y="1307"/>
                  </a:lnTo>
                  <a:lnTo>
                    <a:pt x="16096" y="1318"/>
                  </a:lnTo>
                  <a:lnTo>
                    <a:pt x="16047" y="1318"/>
                  </a:lnTo>
                  <a:lnTo>
                    <a:pt x="16037" y="1297"/>
                  </a:lnTo>
                  <a:lnTo>
                    <a:pt x="16042" y="1314"/>
                  </a:lnTo>
                  <a:lnTo>
                    <a:pt x="15971" y="1297"/>
                  </a:lnTo>
                  <a:lnTo>
                    <a:pt x="15917" y="1314"/>
                  </a:lnTo>
                  <a:lnTo>
                    <a:pt x="15900" y="1307"/>
                  </a:lnTo>
                  <a:lnTo>
                    <a:pt x="15928" y="1297"/>
                  </a:lnTo>
                  <a:lnTo>
                    <a:pt x="15928" y="1290"/>
                  </a:lnTo>
                  <a:lnTo>
                    <a:pt x="15917" y="1290"/>
                  </a:lnTo>
                  <a:lnTo>
                    <a:pt x="15928" y="1281"/>
                  </a:lnTo>
                  <a:lnTo>
                    <a:pt x="15987" y="1257"/>
                  </a:lnTo>
                  <a:lnTo>
                    <a:pt x="15900" y="1273"/>
                  </a:lnTo>
                  <a:lnTo>
                    <a:pt x="15879" y="1252"/>
                  </a:lnTo>
                  <a:lnTo>
                    <a:pt x="15954" y="1224"/>
                  </a:lnTo>
                  <a:lnTo>
                    <a:pt x="15938" y="1219"/>
                  </a:lnTo>
                  <a:lnTo>
                    <a:pt x="15971" y="1195"/>
                  </a:lnTo>
                  <a:lnTo>
                    <a:pt x="16037" y="1203"/>
                  </a:lnTo>
                  <a:lnTo>
                    <a:pt x="15983" y="1179"/>
                  </a:lnTo>
                  <a:lnTo>
                    <a:pt x="16025" y="1179"/>
                  </a:lnTo>
                  <a:lnTo>
                    <a:pt x="15987" y="1170"/>
                  </a:lnTo>
                  <a:lnTo>
                    <a:pt x="15992" y="1153"/>
                  </a:lnTo>
                  <a:lnTo>
                    <a:pt x="16063" y="1146"/>
                  </a:lnTo>
                  <a:lnTo>
                    <a:pt x="16009" y="1141"/>
                  </a:lnTo>
                  <a:lnTo>
                    <a:pt x="16009" y="1125"/>
                  </a:lnTo>
                  <a:lnTo>
                    <a:pt x="16113" y="1125"/>
                  </a:lnTo>
                  <a:lnTo>
                    <a:pt x="16089" y="1125"/>
                  </a:lnTo>
                  <a:lnTo>
                    <a:pt x="16075" y="1108"/>
                  </a:lnTo>
                  <a:lnTo>
                    <a:pt x="16037" y="1108"/>
                  </a:lnTo>
                  <a:lnTo>
                    <a:pt x="16089" y="1087"/>
                  </a:lnTo>
                  <a:lnTo>
                    <a:pt x="16063" y="1087"/>
                  </a:lnTo>
                  <a:lnTo>
                    <a:pt x="16075" y="1075"/>
                  </a:lnTo>
                  <a:lnTo>
                    <a:pt x="16037" y="1075"/>
                  </a:lnTo>
                  <a:lnTo>
                    <a:pt x="16042" y="1070"/>
                  </a:lnTo>
                  <a:lnTo>
                    <a:pt x="16025" y="1070"/>
                  </a:lnTo>
                  <a:lnTo>
                    <a:pt x="16025" y="1058"/>
                  </a:lnTo>
                  <a:lnTo>
                    <a:pt x="16063" y="1051"/>
                  </a:lnTo>
                  <a:lnTo>
                    <a:pt x="16075" y="1070"/>
                  </a:lnTo>
                  <a:lnTo>
                    <a:pt x="16101" y="1042"/>
                  </a:lnTo>
                  <a:lnTo>
                    <a:pt x="16096" y="1035"/>
                  </a:lnTo>
                  <a:lnTo>
                    <a:pt x="16101" y="1030"/>
                  </a:lnTo>
                  <a:lnTo>
                    <a:pt x="16165" y="1030"/>
                  </a:lnTo>
                  <a:lnTo>
                    <a:pt x="16150" y="1002"/>
                  </a:lnTo>
                  <a:lnTo>
                    <a:pt x="16198" y="997"/>
                  </a:lnTo>
                  <a:lnTo>
                    <a:pt x="16181" y="985"/>
                  </a:lnTo>
                  <a:lnTo>
                    <a:pt x="16235" y="959"/>
                  </a:lnTo>
                  <a:lnTo>
                    <a:pt x="16349" y="931"/>
                  </a:lnTo>
                  <a:lnTo>
                    <a:pt x="16328" y="924"/>
                  </a:lnTo>
                  <a:lnTo>
                    <a:pt x="16344" y="919"/>
                  </a:lnTo>
                  <a:lnTo>
                    <a:pt x="16382" y="919"/>
                  </a:lnTo>
                  <a:lnTo>
                    <a:pt x="16361" y="931"/>
                  </a:lnTo>
                  <a:lnTo>
                    <a:pt x="16370" y="931"/>
                  </a:lnTo>
                  <a:lnTo>
                    <a:pt x="16403" y="907"/>
                  </a:lnTo>
                  <a:lnTo>
                    <a:pt x="16387" y="907"/>
                  </a:lnTo>
                  <a:lnTo>
                    <a:pt x="16398" y="891"/>
                  </a:lnTo>
                  <a:lnTo>
                    <a:pt x="16441" y="886"/>
                  </a:lnTo>
                  <a:lnTo>
                    <a:pt x="16495" y="903"/>
                  </a:lnTo>
                  <a:lnTo>
                    <a:pt x="16580" y="874"/>
                  </a:lnTo>
                  <a:lnTo>
                    <a:pt x="16613" y="886"/>
                  </a:lnTo>
                  <a:lnTo>
                    <a:pt x="16710" y="848"/>
                  </a:lnTo>
                  <a:lnTo>
                    <a:pt x="16743" y="853"/>
                  </a:lnTo>
                  <a:lnTo>
                    <a:pt x="16727" y="832"/>
                  </a:lnTo>
                  <a:lnTo>
                    <a:pt x="16852" y="780"/>
                  </a:lnTo>
                  <a:lnTo>
                    <a:pt x="16921" y="792"/>
                  </a:lnTo>
                  <a:lnTo>
                    <a:pt x="16954" y="815"/>
                  </a:lnTo>
                  <a:lnTo>
                    <a:pt x="16937" y="848"/>
                  </a:lnTo>
                  <a:lnTo>
                    <a:pt x="16944" y="853"/>
                  </a:lnTo>
                  <a:lnTo>
                    <a:pt x="16899" y="886"/>
                  </a:lnTo>
                  <a:lnTo>
                    <a:pt x="16906" y="886"/>
                  </a:lnTo>
                  <a:lnTo>
                    <a:pt x="16684" y="959"/>
                  </a:lnTo>
                  <a:lnTo>
                    <a:pt x="16592" y="981"/>
                  </a:lnTo>
                  <a:lnTo>
                    <a:pt x="16576" y="976"/>
                  </a:lnTo>
                  <a:lnTo>
                    <a:pt x="16559" y="985"/>
                  </a:lnTo>
                  <a:lnTo>
                    <a:pt x="16441" y="1018"/>
                  </a:lnTo>
                  <a:lnTo>
                    <a:pt x="16424" y="1042"/>
                  </a:lnTo>
                  <a:lnTo>
                    <a:pt x="16415" y="1030"/>
                  </a:lnTo>
                  <a:lnTo>
                    <a:pt x="16403" y="1042"/>
                  </a:lnTo>
                  <a:lnTo>
                    <a:pt x="16370" y="1058"/>
                  </a:lnTo>
                  <a:lnTo>
                    <a:pt x="16382" y="1070"/>
                  </a:lnTo>
                  <a:lnTo>
                    <a:pt x="16370" y="1075"/>
                  </a:lnTo>
                  <a:lnTo>
                    <a:pt x="16361" y="1058"/>
                  </a:lnTo>
                  <a:lnTo>
                    <a:pt x="16361" y="1075"/>
                  </a:lnTo>
                  <a:lnTo>
                    <a:pt x="16316" y="1075"/>
                  </a:lnTo>
                  <a:lnTo>
                    <a:pt x="16370" y="1087"/>
                  </a:lnTo>
                  <a:lnTo>
                    <a:pt x="16332" y="1096"/>
                  </a:lnTo>
                  <a:lnTo>
                    <a:pt x="16349" y="1108"/>
                  </a:lnTo>
                  <a:lnTo>
                    <a:pt x="16344" y="1113"/>
                  </a:lnTo>
                  <a:lnTo>
                    <a:pt x="16316" y="1113"/>
                  </a:lnTo>
                  <a:lnTo>
                    <a:pt x="16290" y="1108"/>
                  </a:lnTo>
                  <a:lnTo>
                    <a:pt x="16311" y="1125"/>
                  </a:lnTo>
                  <a:lnTo>
                    <a:pt x="16306" y="1141"/>
                  </a:lnTo>
                  <a:lnTo>
                    <a:pt x="16264" y="1113"/>
                  </a:lnTo>
                  <a:lnTo>
                    <a:pt x="16273" y="1129"/>
                  </a:lnTo>
                  <a:lnTo>
                    <a:pt x="16257" y="1141"/>
                  </a:lnTo>
                  <a:lnTo>
                    <a:pt x="16264" y="1153"/>
                  </a:lnTo>
                  <a:lnTo>
                    <a:pt x="16198" y="1141"/>
                  </a:lnTo>
                  <a:lnTo>
                    <a:pt x="16226" y="1153"/>
                  </a:lnTo>
                  <a:lnTo>
                    <a:pt x="16235" y="1179"/>
                  </a:lnTo>
                  <a:lnTo>
                    <a:pt x="16219" y="1195"/>
                  </a:lnTo>
                  <a:lnTo>
                    <a:pt x="16202" y="1186"/>
                  </a:lnTo>
                  <a:lnTo>
                    <a:pt x="16209" y="1203"/>
                  </a:lnTo>
                  <a:lnTo>
                    <a:pt x="16198" y="1203"/>
                  </a:lnTo>
                  <a:lnTo>
                    <a:pt x="16198" y="1219"/>
                  </a:lnTo>
                  <a:lnTo>
                    <a:pt x="16165" y="1207"/>
                  </a:lnTo>
                  <a:lnTo>
                    <a:pt x="16150" y="1195"/>
                  </a:lnTo>
                  <a:lnTo>
                    <a:pt x="16143" y="1195"/>
                  </a:lnTo>
                  <a:lnTo>
                    <a:pt x="16150" y="1207"/>
                  </a:lnTo>
                  <a:lnTo>
                    <a:pt x="16134" y="1207"/>
                  </a:lnTo>
                  <a:lnTo>
                    <a:pt x="16172" y="1236"/>
                  </a:lnTo>
                  <a:lnTo>
                    <a:pt x="16181" y="1252"/>
                  </a:lnTo>
                  <a:lnTo>
                    <a:pt x="16165" y="1257"/>
                  </a:lnTo>
                  <a:lnTo>
                    <a:pt x="16143" y="1240"/>
                  </a:lnTo>
                  <a:lnTo>
                    <a:pt x="16080" y="1236"/>
                  </a:lnTo>
                  <a:lnTo>
                    <a:pt x="16134" y="1240"/>
                  </a:lnTo>
                  <a:lnTo>
                    <a:pt x="16155" y="1264"/>
                  </a:lnTo>
                  <a:lnTo>
                    <a:pt x="16134" y="1281"/>
                  </a:lnTo>
                  <a:lnTo>
                    <a:pt x="16096" y="1264"/>
                  </a:lnTo>
                  <a:lnTo>
                    <a:pt x="16096" y="1273"/>
                  </a:lnTo>
                  <a:lnTo>
                    <a:pt x="16127" y="1290"/>
                  </a:lnTo>
                  <a:lnTo>
                    <a:pt x="16101" y="1314"/>
                  </a:lnTo>
                  <a:lnTo>
                    <a:pt x="16101" y="1314"/>
                  </a:lnTo>
                  <a:lnTo>
                    <a:pt x="16101" y="1314"/>
                  </a:lnTo>
                  <a:close/>
                  <a:moveTo>
                    <a:pt x="18978" y="815"/>
                  </a:moveTo>
                  <a:lnTo>
                    <a:pt x="18969" y="808"/>
                  </a:lnTo>
                  <a:lnTo>
                    <a:pt x="18978" y="808"/>
                  </a:lnTo>
                  <a:lnTo>
                    <a:pt x="18978" y="815"/>
                  </a:lnTo>
                  <a:lnTo>
                    <a:pt x="18978" y="815"/>
                  </a:lnTo>
                  <a:lnTo>
                    <a:pt x="18978" y="815"/>
                  </a:lnTo>
                  <a:close/>
                  <a:moveTo>
                    <a:pt x="22521" y="836"/>
                  </a:moveTo>
                  <a:lnTo>
                    <a:pt x="22547" y="820"/>
                  </a:lnTo>
                  <a:lnTo>
                    <a:pt x="22585" y="820"/>
                  </a:lnTo>
                  <a:lnTo>
                    <a:pt x="22576" y="836"/>
                  </a:lnTo>
                  <a:lnTo>
                    <a:pt x="22521" y="836"/>
                  </a:lnTo>
                  <a:lnTo>
                    <a:pt x="22521" y="836"/>
                  </a:lnTo>
                  <a:lnTo>
                    <a:pt x="22521" y="836"/>
                  </a:lnTo>
                  <a:close/>
                  <a:moveTo>
                    <a:pt x="18957" y="848"/>
                  </a:moveTo>
                  <a:lnTo>
                    <a:pt x="18940" y="836"/>
                  </a:lnTo>
                  <a:lnTo>
                    <a:pt x="18952" y="820"/>
                  </a:lnTo>
                  <a:lnTo>
                    <a:pt x="18957" y="836"/>
                  </a:lnTo>
                  <a:lnTo>
                    <a:pt x="18957" y="848"/>
                  </a:lnTo>
                  <a:lnTo>
                    <a:pt x="18957" y="848"/>
                  </a:lnTo>
                  <a:lnTo>
                    <a:pt x="18957" y="848"/>
                  </a:lnTo>
                  <a:close/>
                  <a:moveTo>
                    <a:pt x="18827" y="832"/>
                  </a:moveTo>
                  <a:lnTo>
                    <a:pt x="18834" y="832"/>
                  </a:lnTo>
                  <a:lnTo>
                    <a:pt x="18806" y="832"/>
                  </a:lnTo>
                  <a:lnTo>
                    <a:pt x="18827" y="832"/>
                  </a:lnTo>
                  <a:lnTo>
                    <a:pt x="18827" y="832"/>
                  </a:lnTo>
                  <a:lnTo>
                    <a:pt x="18827" y="832"/>
                  </a:lnTo>
                  <a:close/>
                  <a:moveTo>
                    <a:pt x="18789" y="820"/>
                  </a:moveTo>
                  <a:lnTo>
                    <a:pt x="18806" y="832"/>
                  </a:lnTo>
                  <a:lnTo>
                    <a:pt x="18763" y="836"/>
                  </a:lnTo>
                  <a:lnTo>
                    <a:pt x="18789" y="820"/>
                  </a:lnTo>
                  <a:lnTo>
                    <a:pt x="18789" y="820"/>
                  </a:lnTo>
                  <a:lnTo>
                    <a:pt x="18789" y="820"/>
                  </a:lnTo>
                  <a:close/>
                  <a:moveTo>
                    <a:pt x="18881" y="832"/>
                  </a:moveTo>
                  <a:lnTo>
                    <a:pt x="18865" y="836"/>
                  </a:lnTo>
                  <a:lnTo>
                    <a:pt x="18843" y="836"/>
                  </a:lnTo>
                  <a:lnTo>
                    <a:pt x="18881" y="832"/>
                  </a:lnTo>
                  <a:lnTo>
                    <a:pt x="18881" y="832"/>
                  </a:lnTo>
                  <a:lnTo>
                    <a:pt x="18881" y="832"/>
                  </a:lnTo>
                  <a:close/>
                  <a:moveTo>
                    <a:pt x="20010" y="865"/>
                  </a:moveTo>
                  <a:lnTo>
                    <a:pt x="19968" y="836"/>
                  </a:lnTo>
                  <a:lnTo>
                    <a:pt x="20010" y="836"/>
                  </a:lnTo>
                  <a:lnTo>
                    <a:pt x="20020" y="853"/>
                  </a:lnTo>
                  <a:lnTo>
                    <a:pt x="20010" y="865"/>
                  </a:lnTo>
                  <a:lnTo>
                    <a:pt x="20010" y="865"/>
                  </a:lnTo>
                  <a:lnTo>
                    <a:pt x="20010" y="865"/>
                  </a:lnTo>
                  <a:close/>
                  <a:moveTo>
                    <a:pt x="18704" y="836"/>
                  </a:moveTo>
                  <a:lnTo>
                    <a:pt x="18735" y="848"/>
                  </a:lnTo>
                  <a:lnTo>
                    <a:pt x="18697" y="848"/>
                  </a:lnTo>
                  <a:lnTo>
                    <a:pt x="18704" y="836"/>
                  </a:lnTo>
                  <a:lnTo>
                    <a:pt x="18704" y="836"/>
                  </a:lnTo>
                  <a:lnTo>
                    <a:pt x="18704" y="836"/>
                  </a:lnTo>
                  <a:close/>
                  <a:moveTo>
                    <a:pt x="20048" y="874"/>
                  </a:moveTo>
                  <a:lnTo>
                    <a:pt x="20065" y="870"/>
                  </a:lnTo>
                  <a:lnTo>
                    <a:pt x="20069" y="874"/>
                  </a:lnTo>
                  <a:lnTo>
                    <a:pt x="20048" y="874"/>
                  </a:lnTo>
                  <a:lnTo>
                    <a:pt x="20048" y="874"/>
                  </a:lnTo>
                  <a:lnTo>
                    <a:pt x="20048" y="874"/>
                  </a:lnTo>
                  <a:close/>
                  <a:moveTo>
                    <a:pt x="18902" y="907"/>
                  </a:moveTo>
                  <a:lnTo>
                    <a:pt x="18898" y="903"/>
                  </a:lnTo>
                  <a:lnTo>
                    <a:pt x="18902" y="874"/>
                  </a:lnTo>
                  <a:lnTo>
                    <a:pt x="18919" y="886"/>
                  </a:lnTo>
                  <a:lnTo>
                    <a:pt x="18902" y="907"/>
                  </a:lnTo>
                  <a:lnTo>
                    <a:pt x="18902" y="907"/>
                  </a:lnTo>
                  <a:lnTo>
                    <a:pt x="18902" y="907"/>
                  </a:lnTo>
                  <a:close/>
                  <a:moveTo>
                    <a:pt x="18898" y="886"/>
                  </a:moveTo>
                  <a:lnTo>
                    <a:pt x="18872" y="886"/>
                  </a:lnTo>
                  <a:lnTo>
                    <a:pt x="18902" y="886"/>
                  </a:lnTo>
                  <a:lnTo>
                    <a:pt x="18898" y="886"/>
                  </a:lnTo>
                  <a:lnTo>
                    <a:pt x="18898" y="886"/>
                  </a:lnTo>
                  <a:lnTo>
                    <a:pt x="18898" y="886"/>
                  </a:lnTo>
                  <a:close/>
                  <a:moveTo>
                    <a:pt x="18872" y="919"/>
                  </a:moveTo>
                  <a:lnTo>
                    <a:pt x="18796" y="903"/>
                  </a:lnTo>
                  <a:lnTo>
                    <a:pt x="18806" y="886"/>
                  </a:lnTo>
                  <a:lnTo>
                    <a:pt x="18898" y="891"/>
                  </a:lnTo>
                  <a:lnTo>
                    <a:pt x="18886" y="907"/>
                  </a:lnTo>
                  <a:lnTo>
                    <a:pt x="18886" y="891"/>
                  </a:lnTo>
                  <a:lnTo>
                    <a:pt x="18872" y="891"/>
                  </a:lnTo>
                  <a:lnTo>
                    <a:pt x="18872" y="903"/>
                  </a:lnTo>
                  <a:lnTo>
                    <a:pt x="18872" y="907"/>
                  </a:lnTo>
                  <a:lnTo>
                    <a:pt x="18872" y="919"/>
                  </a:lnTo>
                  <a:lnTo>
                    <a:pt x="18872" y="919"/>
                  </a:lnTo>
                  <a:lnTo>
                    <a:pt x="18872" y="919"/>
                  </a:lnTo>
                  <a:close/>
                  <a:moveTo>
                    <a:pt x="18758" y="891"/>
                  </a:moveTo>
                  <a:lnTo>
                    <a:pt x="18780" y="891"/>
                  </a:lnTo>
                  <a:lnTo>
                    <a:pt x="18763" y="903"/>
                  </a:lnTo>
                  <a:lnTo>
                    <a:pt x="18735" y="903"/>
                  </a:lnTo>
                  <a:lnTo>
                    <a:pt x="18763" y="903"/>
                  </a:lnTo>
                  <a:lnTo>
                    <a:pt x="18758" y="891"/>
                  </a:lnTo>
                  <a:lnTo>
                    <a:pt x="18758" y="891"/>
                  </a:lnTo>
                  <a:lnTo>
                    <a:pt x="18758" y="891"/>
                  </a:lnTo>
                  <a:close/>
                  <a:moveTo>
                    <a:pt x="18780" y="903"/>
                  </a:moveTo>
                  <a:lnTo>
                    <a:pt x="18789" y="907"/>
                  </a:lnTo>
                  <a:lnTo>
                    <a:pt x="18780" y="907"/>
                  </a:lnTo>
                  <a:lnTo>
                    <a:pt x="18780" y="903"/>
                  </a:lnTo>
                  <a:lnTo>
                    <a:pt x="18780" y="903"/>
                  </a:lnTo>
                  <a:lnTo>
                    <a:pt x="18780" y="903"/>
                  </a:lnTo>
                  <a:close/>
                  <a:moveTo>
                    <a:pt x="22105" y="1108"/>
                  </a:moveTo>
                  <a:lnTo>
                    <a:pt x="22072" y="1087"/>
                  </a:lnTo>
                  <a:lnTo>
                    <a:pt x="22098" y="1087"/>
                  </a:lnTo>
                  <a:lnTo>
                    <a:pt x="22089" y="1075"/>
                  </a:lnTo>
                  <a:lnTo>
                    <a:pt x="21938" y="1096"/>
                  </a:lnTo>
                  <a:lnTo>
                    <a:pt x="21909" y="1087"/>
                  </a:lnTo>
                  <a:lnTo>
                    <a:pt x="21900" y="1087"/>
                  </a:lnTo>
                  <a:lnTo>
                    <a:pt x="21905" y="1096"/>
                  </a:lnTo>
                  <a:lnTo>
                    <a:pt x="21900" y="1113"/>
                  </a:lnTo>
                  <a:lnTo>
                    <a:pt x="21867" y="1125"/>
                  </a:lnTo>
                  <a:lnTo>
                    <a:pt x="21791" y="1096"/>
                  </a:lnTo>
                  <a:lnTo>
                    <a:pt x="21782" y="1087"/>
                  </a:lnTo>
                  <a:lnTo>
                    <a:pt x="21737" y="1058"/>
                  </a:lnTo>
                  <a:lnTo>
                    <a:pt x="21711" y="1030"/>
                  </a:lnTo>
                  <a:lnTo>
                    <a:pt x="21749" y="1030"/>
                  </a:lnTo>
                  <a:lnTo>
                    <a:pt x="21749" y="1018"/>
                  </a:lnTo>
                  <a:lnTo>
                    <a:pt x="21737" y="1018"/>
                  </a:lnTo>
                  <a:lnTo>
                    <a:pt x="21744" y="985"/>
                  </a:lnTo>
                  <a:lnTo>
                    <a:pt x="21720" y="985"/>
                  </a:lnTo>
                  <a:lnTo>
                    <a:pt x="21737" y="981"/>
                  </a:lnTo>
                  <a:lnTo>
                    <a:pt x="21728" y="976"/>
                  </a:lnTo>
                  <a:lnTo>
                    <a:pt x="21737" y="964"/>
                  </a:lnTo>
                  <a:lnTo>
                    <a:pt x="21775" y="964"/>
                  </a:lnTo>
                  <a:lnTo>
                    <a:pt x="21749" y="943"/>
                  </a:lnTo>
                  <a:lnTo>
                    <a:pt x="21820" y="907"/>
                  </a:lnTo>
                  <a:lnTo>
                    <a:pt x="21829" y="924"/>
                  </a:lnTo>
                  <a:lnTo>
                    <a:pt x="21829" y="903"/>
                  </a:lnTo>
                  <a:lnTo>
                    <a:pt x="21850" y="903"/>
                  </a:lnTo>
                  <a:lnTo>
                    <a:pt x="21872" y="919"/>
                  </a:lnTo>
                  <a:lnTo>
                    <a:pt x="21921" y="931"/>
                  </a:lnTo>
                  <a:lnTo>
                    <a:pt x="21926" y="943"/>
                  </a:lnTo>
                  <a:lnTo>
                    <a:pt x="21921" y="947"/>
                  </a:lnTo>
                  <a:lnTo>
                    <a:pt x="21926" y="959"/>
                  </a:lnTo>
                  <a:lnTo>
                    <a:pt x="21964" y="964"/>
                  </a:lnTo>
                  <a:lnTo>
                    <a:pt x="21964" y="981"/>
                  </a:lnTo>
                  <a:lnTo>
                    <a:pt x="22009" y="981"/>
                  </a:lnTo>
                  <a:lnTo>
                    <a:pt x="21997" y="976"/>
                  </a:lnTo>
                  <a:lnTo>
                    <a:pt x="22009" y="924"/>
                  </a:lnTo>
                  <a:lnTo>
                    <a:pt x="22046" y="931"/>
                  </a:lnTo>
                  <a:lnTo>
                    <a:pt x="22030" y="903"/>
                  </a:lnTo>
                  <a:lnTo>
                    <a:pt x="22115" y="947"/>
                  </a:lnTo>
                  <a:lnTo>
                    <a:pt x="22207" y="959"/>
                  </a:lnTo>
                  <a:lnTo>
                    <a:pt x="22316" y="1002"/>
                  </a:lnTo>
                  <a:lnTo>
                    <a:pt x="22266" y="1014"/>
                  </a:lnTo>
                  <a:lnTo>
                    <a:pt x="22261" y="1030"/>
                  </a:lnTo>
                  <a:lnTo>
                    <a:pt x="22283" y="1035"/>
                  </a:lnTo>
                  <a:lnTo>
                    <a:pt x="22245" y="1070"/>
                  </a:lnTo>
                  <a:lnTo>
                    <a:pt x="22212" y="1075"/>
                  </a:lnTo>
                  <a:lnTo>
                    <a:pt x="22136" y="1058"/>
                  </a:lnTo>
                  <a:lnTo>
                    <a:pt x="22105" y="1030"/>
                  </a:lnTo>
                  <a:lnTo>
                    <a:pt x="22115" y="1014"/>
                  </a:lnTo>
                  <a:lnTo>
                    <a:pt x="22143" y="985"/>
                  </a:lnTo>
                  <a:lnTo>
                    <a:pt x="22143" y="981"/>
                  </a:lnTo>
                  <a:lnTo>
                    <a:pt x="22105" y="976"/>
                  </a:lnTo>
                  <a:lnTo>
                    <a:pt x="22084" y="985"/>
                  </a:lnTo>
                  <a:lnTo>
                    <a:pt x="22084" y="1018"/>
                  </a:lnTo>
                  <a:lnTo>
                    <a:pt x="22115" y="1058"/>
                  </a:lnTo>
                  <a:lnTo>
                    <a:pt x="22191" y="1087"/>
                  </a:lnTo>
                  <a:lnTo>
                    <a:pt x="22122" y="1092"/>
                  </a:lnTo>
                  <a:lnTo>
                    <a:pt x="22105" y="1108"/>
                  </a:lnTo>
                  <a:lnTo>
                    <a:pt x="22105" y="1108"/>
                  </a:lnTo>
                  <a:lnTo>
                    <a:pt x="22105" y="1108"/>
                  </a:lnTo>
                  <a:close/>
                  <a:moveTo>
                    <a:pt x="22816" y="907"/>
                  </a:moveTo>
                  <a:lnTo>
                    <a:pt x="22807" y="907"/>
                  </a:lnTo>
                  <a:lnTo>
                    <a:pt x="22833" y="907"/>
                  </a:lnTo>
                  <a:lnTo>
                    <a:pt x="22816" y="907"/>
                  </a:lnTo>
                  <a:lnTo>
                    <a:pt x="22816" y="907"/>
                  </a:lnTo>
                  <a:lnTo>
                    <a:pt x="22816" y="907"/>
                  </a:lnTo>
                  <a:close/>
                  <a:moveTo>
                    <a:pt x="16316" y="907"/>
                  </a:moveTo>
                  <a:lnTo>
                    <a:pt x="16361" y="903"/>
                  </a:lnTo>
                  <a:lnTo>
                    <a:pt x="16311" y="919"/>
                  </a:lnTo>
                  <a:lnTo>
                    <a:pt x="16316" y="907"/>
                  </a:lnTo>
                  <a:lnTo>
                    <a:pt x="16316" y="907"/>
                  </a:lnTo>
                  <a:lnTo>
                    <a:pt x="16316" y="907"/>
                  </a:lnTo>
                  <a:close/>
                  <a:moveTo>
                    <a:pt x="21997" y="924"/>
                  </a:moveTo>
                  <a:lnTo>
                    <a:pt x="21992" y="919"/>
                  </a:lnTo>
                  <a:lnTo>
                    <a:pt x="21997" y="907"/>
                  </a:lnTo>
                  <a:lnTo>
                    <a:pt x="22013" y="919"/>
                  </a:lnTo>
                  <a:lnTo>
                    <a:pt x="21997" y="924"/>
                  </a:lnTo>
                  <a:lnTo>
                    <a:pt x="21997" y="924"/>
                  </a:lnTo>
                  <a:lnTo>
                    <a:pt x="21997" y="924"/>
                  </a:lnTo>
                  <a:close/>
                  <a:moveTo>
                    <a:pt x="17932" y="943"/>
                  </a:moveTo>
                  <a:lnTo>
                    <a:pt x="17889" y="943"/>
                  </a:lnTo>
                  <a:lnTo>
                    <a:pt x="17953" y="943"/>
                  </a:lnTo>
                  <a:lnTo>
                    <a:pt x="17932" y="943"/>
                  </a:lnTo>
                  <a:lnTo>
                    <a:pt x="17932" y="943"/>
                  </a:lnTo>
                  <a:lnTo>
                    <a:pt x="17932" y="943"/>
                  </a:lnTo>
                  <a:close/>
                  <a:moveTo>
                    <a:pt x="16240" y="943"/>
                  </a:moveTo>
                  <a:lnTo>
                    <a:pt x="16273" y="931"/>
                  </a:lnTo>
                  <a:lnTo>
                    <a:pt x="16235" y="947"/>
                  </a:lnTo>
                  <a:lnTo>
                    <a:pt x="16240" y="943"/>
                  </a:lnTo>
                  <a:lnTo>
                    <a:pt x="16240" y="943"/>
                  </a:lnTo>
                  <a:lnTo>
                    <a:pt x="16240" y="943"/>
                  </a:lnTo>
                  <a:close/>
                  <a:moveTo>
                    <a:pt x="17839" y="943"/>
                  </a:moveTo>
                  <a:lnTo>
                    <a:pt x="17889" y="947"/>
                  </a:lnTo>
                  <a:lnTo>
                    <a:pt x="17835" y="943"/>
                  </a:lnTo>
                  <a:lnTo>
                    <a:pt x="17839" y="943"/>
                  </a:lnTo>
                  <a:lnTo>
                    <a:pt x="17839" y="943"/>
                  </a:lnTo>
                  <a:lnTo>
                    <a:pt x="17839" y="943"/>
                  </a:lnTo>
                  <a:close/>
                  <a:moveTo>
                    <a:pt x="16257" y="947"/>
                  </a:moveTo>
                  <a:lnTo>
                    <a:pt x="16273" y="943"/>
                  </a:lnTo>
                  <a:lnTo>
                    <a:pt x="16252" y="947"/>
                  </a:lnTo>
                  <a:lnTo>
                    <a:pt x="16257" y="947"/>
                  </a:lnTo>
                  <a:lnTo>
                    <a:pt x="16257" y="947"/>
                  </a:lnTo>
                  <a:lnTo>
                    <a:pt x="16257" y="947"/>
                  </a:lnTo>
                  <a:close/>
                  <a:moveTo>
                    <a:pt x="21614" y="1018"/>
                  </a:moveTo>
                  <a:lnTo>
                    <a:pt x="21631" y="997"/>
                  </a:lnTo>
                  <a:lnTo>
                    <a:pt x="21619" y="981"/>
                  </a:lnTo>
                  <a:lnTo>
                    <a:pt x="21635" y="959"/>
                  </a:lnTo>
                  <a:lnTo>
                    <a:pt x="21640" y="981"/>
                  </a:lnTo>
                  <a:lnTo>
                    <a:pt x="21668" y="985"/>
                  </a:lnTo>
                  <a:lnTo>
                    <a:pt x="21652" y="1002"/>
                  </a:lnTo>
                  <a:lnTo>
                    <a:pt x="21657" y="1014"/>
                  </a:lnTo>
                  <a:lnTo>
                    <a:pt x="21652" y="1018"/>
                  </a:lnTo>
                  <a:lnTo>
                    <a:pt x="21614" y="1018"/>
                  </a:lnTo>
                  <a:lnTo>
                    <a:pt x="21614" y="1018"/>
                  </a:lnTo>
                  <a:lnTo>
                    <a:pt x="21614" y="1018"/>
                  </a:lnTo>
                  <a:close/>
                  <a:moveTo>
                    <a:pt x="22391" y="985"/>
                  </a:moveTo>
                  <a:lnTo>
                    <a:pt x="22408" y="1002"/>
                  </a:lnTo>
                  <a:lnTo>
                    <a:pt x="22396" y="1014"/>
                  </a:lnTo>
                  <a:lnTo>
                    <a:pt x="22424" y="1030"/>
                  </a:lnTo>
                  <a:lnTo>
                    <a:pt x="22450" y="1030"/>
                  </a:lnTo>
                  <a:lnTo>
                    <a:pt x="22439" y="1030"/>
                  </a:lnTo>
                  <a:lnTo>
                    <a:pt x="22450" y="1014"/>
                  </a:lnTo>
                  <a:lnTo>
                    <a:pt x="22521" y="1018"/>
                  </a:lnTo>
                  <a:lnTo>
                    <a:pt x="22538" y="1018"/>
                  </a:lnTo>
                  <a:lnTo>
                    <a:pt x="22531" y="1035"/>
                  </a:lnTo>
                  <a:lnTo>
                    <a:pt x="22538" y="1042"/>
                  </a:lnTo>
                  <a:lnTo>
                    <a:pt x="22590" y="1035"/>
                  </a:lnTo>
                  <a:lnTo>
                    <a:pt x="22644" y="1042"/>
                  </a:lnTo>
                  <a:lnTo>
                    <a:pt x="22665" y="1070"/>
                  </a:lnTo>
                  <a:lnTo>
                    <a:pt x="22698" y="1058"/>
                  </a:lnTo>
                  <a:lnTo>
                    <a:pt x="22682" y="1075"/>
                  </a:lnTo>
                  <a:lnTo>
                    <a:pt x="22677" y="1092"/>
                  </a:lnTo>
                  <a:lnTo>
                    <a:pt x="22613" y="1113"/>
                  </a:lnTo>
                  <a:lnTo>
                    <a:pt x="22514" y="1108"/>
                  </a:lnTo>
                  <a:lnTo>
                    <a:pt x="22358" y="1042"/>
                  </a:lnTo>
                  <a:lnTo>
                    <a:pt x="22387" y="997"/>
                  </a:lnTo>
                  <a:lnTo>
                    <a:pt x="22391" y="985"/>
                  </a:lnTo>
                  <a:lnTo>
                    <a:pt x="22391" y="985"/>
                  </a:lnTo>
                  <a:lnTo>
                    <a:pt x="22391" y="985"/>
                  </a:lnTo>
                  <a:close/>
                  <a:moveTo>
                    <a:pt x="17877" y="1002"/>
                  </a:moveTo>
                  <a:lnTo>
                    <a:pt x="17872" y="1014"/>
                  </a:lnTo>
                  <a:lnTo>
                    <a:pt x="17889" y="1030"/>
                  </a:lnTo>
                  <a:lnTo>
                    <a:pt x="17872" y="1030"/>
                  </a:lnTo>
                  <a:lnTo>
                    <a:pt x="17872" y="1051"/>
                  </a:lnTo>
                  <a:lnTo>
                    <a:pt x="17856" y="1042"/>
                  </a:lnTo>
                  <a:lnTo>
                    <a:pt x="17856" y="1035"/>
                  </a:lnTo>
                  <a:lnTo>
                    <a:pt x="17844" y="1035"/>
                  </a:lnTo>
                  <a:lnTo>
                    <a:pt x="17835" y="1030"/>
                  </a:lnTo>
                  <a:lnTo>
                    <a:pt x="17877" y="1002"/>
                  </a:lnTo>
                  <a:lnTo>
                    <a:pt x="17877" y="1002"/>
                  </a:lnTo>
                  <a:lnTo>
                    <a:pt x="17877" y="1002"/>
                  </a:lnTo>
                  <a:close/>
                  <a:moveTo>
                    <a:pt x="18217" y="1075"/>
                  </a:moveTo>
                  <a:lnTo>
                    <a:pt x="18222" y="1087"/>
                  </a:lnTo>
                  <a:lnTo>
                    <a:pt x="18196" y="1092"/>
                  </a:lnTo>
                  <a:lnTo>
                    <a:pt x="18201" y="1096"/>
                  </a:lnTo>
                  <a:lnTo>
                    <a:pt x="18163" y="1092"/>
                  </a:lnTo>
                  <a:lnTo>
                    <a:pt x="18217" y="1075"/>
                  </a:lnTo>
                  <a:lnTo>
                    <a:pt x="18217" y="1075"/>
                  </a:lnTo>
                  <a:lnTo>
                    <a:pt x="18217" y="1075"/>
                  </a:lnTo>
                  <a:close/>
                  <a:moveTo>
                    <a:pt x="18109" y="1108"/>
                  </a:moveTo>
                  <a:lnTo>
                    <a:pt x="18125" y="1113"/>
                  </a:lnTo>
                  <a:lnTo>
                    <a:pt x="18087" y="1113"/>
                  </a:lnTo>
                  <a:lnTo>
                    <a:pt x="18109" y="1108"/>
                  </a:lnTo>
                  <a:lnTo>
                    <a:pt x="18109" y="1108"/>
                  </a:lnTo>
                  <a:lnTo>
                    <a:pt x="18109" y="1108"/>
                  </a:lnTo>
                  <a:close/>
                  <a:moveTo>
                    <a:pt x="17672" y="1129"/>
                  </a:moveTo>
                  <a:lnTo>
                    <a:pt x="17700" y="1129"/>
                  </a:lnTo>
                  <a:lnTo>
                    <a:pt x="17693" y="1146"/>
                  </a:lnTo>
                  <a:lnTo>
                    <a:pt x="17672" y="1129"/>
                  </a:lnTo>
                  <a:lnTo>
                    <a:pt x="17672" y="1129"/>
                  </a:lnTo>
                  <a:lnTo>
                    <a:pt x="17672" y="1129"/>
                  </a:lnTo>
                  <a:close/>
                  <a:moveTo>
                    <a:pt x="18125" y="1141"/>
                  </a:moveTo>
                  <a:lnTo>
                    <a:pt x="18104" y="1153"/>
                  </a:lnTo>
                  <a:lnTo>
                    <a:pt x="18087" y="1146"/>
                  </a:lnTo>
                  <a:lnTo>
                    <a:pt x="18125" y="1141"/>
                  </a:lnTo>
                  <a:lnTo>
                    <a:pt x="18125" y="1141"/>
                  </a:lnTo>
                  <a:lnTo>
                    <a:pt x="18125" y="1141"/>
                  </a:lnTo>
                  <a:close/>
                  <a:moveTo>
                    <a:pt x="18142" y="1153"/>
                  </a:moveTo>
                  <a:lnTo>
                    <a:pt x="18125" y="1153"/>
                  </a:lnTo>
                  <a:lnTo>
                    <a:pt x="18130" y="1141"/>
                  </a:lnTo>
                  <a:lnTo>
                    <a:pt x="18163" y="1146"/>
                  </a:lnTo>
                  <a:lnTo>
                    <a:pt x="18142" y="1153"/>
                  </a:lnTo>
                  <a:lnTo>
                    <a:pt x="18142" y="1153"/>
                  </a:lnTo>
                  <a:lnTo>
                    <a:pt x="18142" y="1153"/>
                  </a:lnTo>
                  <a:close/>
                  <a:moveTo>
                    <a:pt x="20020" y="1207"/>
                  </a:moveTo>
                  <a:lnTo>
                    <a:pt x="19982" y="1203"/>
                  </a:lnTo>
                  <a:lnTo>
                    <a:pt x="19930" y="1170"/>
                  </a:lnTo>
                  <a:lnTo>
                    <a:pt x="19961" y="1170"/>
                  </a:lnTo>
                  <a:lnTo>
                    <a:pt x="19977" y="1141"/>
                  </a:lnTo>
                  <a:lnTo>
                    <a:pt x="20069" y="1162"/>
                  </a:lnTo>
                  <a:lnTo>
                    <a:pt x="20053" y="1186"/>
                  </a:lnTo>
                  <a:lnTo>
                    <a:pt x="20020" y="1207"/>
                  </a:lnTo>
                  <a:lnTo>
                    <a:pt x="20020" y="1207"/>
                  </a:lnTo>
                  <a:lnTo>
                    <a:pt x="20020" y="1207"/>
                  </a:lnTo>
                  <a:close/>
                  <a:moveTo>
                    <a:pt x="18054" y="1146"/>
                  </a:moveTo>
                  <a:lnTo>
                    <a:pt x="18071" y="1153"/>
                  </a:lnTo>
                  <a:lnTo>
                    <a:pt x="18050" y="1153"/>
                  </a:lnTo>
                  <a:lnTo>
                    <a:pt x="18054" y="1162"/>
                  </a:lnTo>
                  <a:lnTo>
                    <a:pt x="18033" y="1153"/>
                  </a:lnTo>
                  <a:lnTo>
                    <a:pt x="18054" y="1146"/>
                  </a:lnTo>
                  <a:lnTo>
                    <a:pt x="18054" y="1146"/>
                  </a:lnTo>
                  <a:lnTo>
                    <a:pt x="18054" y="1146"/>
                  </a:lnTo>
                  <a:close/>
                  <a:moveTo>
                    <a:pt x="20246" y="1179"/>
                  </a:moveTo>
                  <a:lnTo>
                    <a:pt x="20246" y="1162"/>
                  </a:lnTo>
                  <a:lnTo>
                    <a:pt x="20263" y="1179"/>
                  </a:lnTo>
                  <a:lnTo>
                    <a:pt x="20246" y="1179"/>
                  </a:lnTo>
                  <a:lnTo>
                    <a:pt x="20246" y="1179"/>
                  </a:lnTo>
                  <a:lnTo>
                    <a:pt x="20246" y="1179"/>
                  </a:lnTo>
                  <a:close/>
                  <a:moveTo>
                    <a:pt x="21964" y="1236"/>
                  </a:moveTo>
                  <a:lnTo>
                    <a:pt x="21942" y="1219"/>
                  </a:lnTo>
                  <a:lnTo>
                    <a:pt x="21942" y="1195"/>
                  </a:lnTo>
                  <a:lnTo>
                    <a:pt x="21980" y="1179"/>
                  </a:lnTo>
                  <a:lnTo>
                    <a:pt x="22013" y="1195"/>
                  </a:lnTo>
                  <a:lnTo>
                    <a:pt x="22009" y="1219"/>
                  </a:lnTo>
                  <a:lnTo>
                    <a:pt x="21964" y="1236"/>
                  </a:lnTo>
                  <a:lnTo>
                    <a:pt x="21964" y="1236"/>
                  </a:lnTo>
                  <a:lnTo>
                    <a:pt x="21964" y="1236"/>
                  </a:lnTo>
                  <a:close/>
                  <a:moveTo>
                    <a:pt x="21614" y="1186"/>
                  </a:moveTo>
                  <a:lnTo>
                    <a:pt x="21657" y="1207"/>
                  </a:lnTo>
                  <a:lnTo>
                    <a:pt x="21673" y="1224"/>
                  </a:lnTo>
                  <a:lnTo>
                    <a:pt x="21657" y="1236"/>
                  </a:lnTo>
                  <a:lnTo>
                    <a:pt x="21614" y="1195"/>
                  </a:lnTo>
                  <a:lnTo>
                    <a:pt x="21614" y="1186"/>
                  </a:lnTo>
                  <a:lnTo>
                    <a:pt x="21614" y="1186"/>
                  </a:lnTo>
                  <a:lnTo>
                    <a:pt x="21614" y="1186"/>
                  </a:lnTo>
                  <a:close/>
                  <a:moveTo>
                    <a:pt x="18125" y="1195"/>
                  </a:moveTo>
                  <a:lnTo>
                    <a:pt x="18109" y="1203"/>
                  </a:lnTo>
                  <a:lnTo>
                    <a:pt x="18116" y="1195"/>
                  </a:lnTo>
                  <a:lnTo>
                    <a:pt x="18104" y="1195"/>
                  </a:lnTo>
                  <a:lnTo>
                    <a:pt x="18125" y="1195"/>
                  </a:lnTo>
                  <a:lnTo>
                    <a:pt x="18125" y="1195"/>
                  </a:lnTo>
                  <a:lnTo>
                    <a:pt x="18125" y="1195"/>
                  </a:lnTo>
                  <a:close/>
                  <a:moveTo>
                    <a:pt x="17910" y="1195"/>
                  </a:moveTo>
                  <a:lnTo>
                    <a:pt x="17915" y="1203"/>
                  </a:lnTo>
                  <a:lnTo>
                    <a:pt x="17889" y="1203"/>
                  </a:lnTo>
                  <a:lnTo>
                    <a:pt x="17910" y="1195"/>
                  </a:lnTo>
                  <a:lnTo>
                    <a:pt x="17910" y="1195"/>
                  </a:lnTo>
                  <a:lnTo>
                    <a:pt x="17910" y="1195"/>
                  </a:lnTo>
                  <a:close/>
                  <a:moveTo>
                    <a:pt x="17927" y="1207"/>
                  </a:moveTo>
                  <a:lnTo>
                    <a:pt x="17948" y="1195"/>
                  </a:lnTo>
                  <a:lnTo>
                    <a:pt x="17979" y="1207"/>
                  </a:lnTo>
                  <a:lnTo>
                    <a:pt x="17927" y="1207"/>
                  </a:lnTo>
                  <a:lnTo>
                    <a:pt x="17927" y="1207"/>
                  </a:lnTo>
                  <a:lnTo>
                    <a:pt x="17927" y="1207"/>
                  </a:lnTo>
                  <a:close/>
                  <a:moveTo>
                    <a:pt x="18002" y="1219"/>
                  </a:moveTo>
                  <a:lnTo>
                    <a:pt x="18033" y="1207"/>
                  </a:lnTo>
                  <a:lnTo>
                    <a:pt x="18033" y="1224"/>
                  </a:lnTo>
                  <a:lnTo>
                    <a:pt x="18002" y="1219"/>
                  </a:lnTo>
                  <a:lnTo>
                    <a:pt x="18002" y="1219"/>
                  </a:lnTo>
                  <a:lnTo>
                    <a:pt x="18002" y="1219"/>
                  </a:lnTo>
                  <a:close/>
                  <a:moveTo>
                    <a:pt x="20846" y="1240"/>
                  </a:moveTo>
                  <a:lnTo>
                    <a:pt x="20830" y="1236"/>
                  </a:lnTo>
                  <a:lnTo>
                    <a:pt x="20858" y="1236"/>
                  </a:lnTo>
                  <a:lnTo>
                    <a:pt x="20846" y="1240"/>
                  </a:lnTo>
                  <a:lnTo>
                    <a:pt x="20846" y="1240"/>
                  </a:lnTo>
                  <a:lnTo>
                    <a:pt x="20846" y="1240"/>
                  </a:lnTo>
                  <a:close/>
                  <a:moveTo>
                    <a:pt x="22013" y="1236"/>
                  </a:moveTo>
                  <a:lnTo>
                    <a:pt x="22072" y="1236"/>
                  </a:lnTo>
                  <a:lnTo>
                    <a:pt x="22115" y="1240"/>
                  </a:lnTo>
                  <a:lnTo>
                    <a:pt x="22174" y="1290"/>
                  </a:lnTo>
                  <a:lnTo>
                    <a:pt x="22181" y="1297"/>
                  </a:lnTo>
                  <a:lnTo>
                    <a:pt x="22174" y="1307"/>
                  </a:lnTo>
                  <a:lnTo>
                    <a:pt x="22181" y="1330"/>
                  </a:lnTo>
                  <a:lnTo>
                    <a:pt x="22098" y="1318"/>
                  </a:lnTo>
                  <a:lnTo>
                    <a:pt x="21992" y="1297"/>
                  </a:lnTo>
                  <a:lnTo>
                    <a:pt x="21926" y="1314"/>
                  </a:lnTo>
                  <a:lnTo>
                    <a:pt x="21909" y="1307"/>
                  </a:lnTo>
                  <a:lnTo>
                    <a:pt x="21964" y="1290"/>
                  </a:lnTo>
                  <a:lnTo>
                    <a:pt x="22013" y="1236"/>
                  </a:lnTo>
                  <a:lnTo>
                    <a:pt x="22013" y="1236"/>
                  </a:lnTo>
                  <a:lnTo>
                    <a:pt x="22013" y="1236"/>
                  </a:lnTo>
                  <a:close/>
                  <a:moveTo>
                    <a:pt x="20776" y="1330"/>
                  </a:moveTo>
                  <a:lnTo>
                    <a:pt x="20754" y="1307"/>
                  </a:lnTo>
                  <a:lnTo>
                    <a:pt x="20754" y="1281"/>
                  </a:lnTo>
                  <a:lnTo>
                    <a:pt x="20771" y="1264"/>
                  </a:lnTo>
                  <a:lnTo>
                    <a:pt x="20809" y="1273"/>
                  </a:lnTo>
                  <a:lnTo>
                    <a:pt x="20804" y="1252"/>
                  </a:lnTo>
                  <a:lnTo>
                    <a:pt x="20820" y="1264"/>
                  </a:lnTo>
                  <a:lnTo>
                    <a:pt x="20842" y="1252"/>
                  </a:lnTo>
                  <a:lnTo>
                    <a:pt x="20880" y="1273"/>
                  </a:lnTo>
                  <a:lnTo>
                    <a:pt x="20896" y="1264"/>
                  </a:lnTo>
                  <a:lnTo>
                    <a:pt x="20901" y="1281"/>
                  </a:lnTo>
                  <a:lnTo>
                    <a:pt x="20927" y="1281"/>
                  </a:lnTo>
                  <a:lnTo>
                    <a:pt x="20917" y="1297"/>
                  </a:lnTo>
                  <a:lnTo>
                    <a:pt x="20917" y="1307"/>
                  </a:lnTo>
                  <a:lnTo>
                    <a:pt x="20972" y="1281"/>
                  </a:lnTo>
                  <a:lnTo>
                    <a:pt x="20981" y="1290"/>
                  </a:lnTo>
                  <a:lnTo>
                    <a:pt x="20965" y="1307"/>
                  </a:lnTo>
                  <a:lnTo>
                    <a:pt x="20988" y="1307"/>
                  </a:lnTo>
                  <a:lnTo>
                    <a:pt x="21002" y="1347"/>
                  </a:lnTo>
                  <a:lnTo>
                    <a:pt x="20972" y="1375"/>
                  </a:lnTo>
                  <a:lnTo>
                    <a:pt x="20981" y="1384"/>
                  </a:lnTo>
                  <a:lnTo>
                    <a:pt x="20972" y="1425"/>
                  </a:lnTo>
                  <a:lnTo>
                    <a:pt x="20981" y="1441"/>
                  </a:lnTo>
                  <a:lnTo>
                    <a:pt x="20965" y="1458"/>
                  </a:lnTo>
                  <a:lnTo>
                    <a:pt x="20863" y="1401"/>
                  </a:lnTo>
                  <a:lnTo>
                    <a:pt x="20700" y="1363"/>
                  </a:lnTo>
                  <a:lnTo>
                    <a:pt x="20717" y="1351"/>
                  </a:lnTo>
                  <a:lnTo>
                    <a:pt x="20754" y="1368"/>
                  </a:lnTo>
                  <a:lnTo>
                    <a:pt x="20766" y="1363"/>
                  </a:lnTo>
                  <a:lnTo>
                    <a:pt x="20771" y="1335"/>
                  </a:lnTo>
                  <a:lnTo>
                    <a:pt x="20787" y="1330"/>
                  </a:lnTo>
                  <a:lnTo>
                    <a:pt x="20776" y="1330"/>
                  </a:lnTo>
                  <a:lnTo>
                    <a:pt x="20776" y="1330"/>
                  </a:lnTo>
                  <a:lnTo>
                    <a:pt x="20776" y="1330"/>
                  </a:lnTo>
                  <a:close/>
                  <a:moveTo>
                    <a:pt x="18213" y="1264"/>
                  </a:moveTo>
                  <a:lnTo>
                    <a:pt x="18201" y="1273"/>
                  </a:lnTo>
                  <a:lnTo>
                    <a:pt x="18168" y="1273"/>
                  </a:lnTo>
                  <a:lnTo>
                    <a:pt x="18213" y="1264"/>
                  </a:lnTo>
                  <a:lnTo>
                    <a:pt x="18213" y="1264"/>
                  </a:lnTo>
                  <a:lnTo>
                    <a:pt x="18213" y="1264"/>
                  </a:lnTo>
                  <a:close/>
                  <a:moveTo>
                    <a:pt x="17747" y="1290"/>
                  </a:moveTo>
                  <a:lnTo>
                    <a:pt x="17731" y="1281"/>
                  </a:lnTo>
                  <a:lnTo>
                    <a:pt x="17752" y="1281"/>
                  </a:lnTo>
                  <a:lnTo>
                    <a:pt x="17747" y="1290"/>
                  </a:lnTo>
                  <a:lnTo>
                    <a:pt x="17747" y="1290"/>
                  </a:lnTo>
                  <a:lnTo>
                    <a:pt x="17747" y="1290"/>
                  </a:lnTo>
                  <a:close/>
                  <a:moveTo>
                    <a:pt x="17402" y="1297"/>
                  </a:moveTo>
                  <a:lnTo>
                    <a:pt x="17412" y="1281"/>
                  </a:lnTo>
                  <a:lnTo>
                    <a:pt x="17457" y="1281"/>
                  </a:lnTo>
                  <a:lnTo>
                    <a:pt x="17440" y="1297"/>
                  </a:lnTo>
                  <a:lnTo>
                    <a:pt x="17407" y="1297"/>
                  </a:lnTo>
                  <a:lnTo>
                    <a:pt x="17412" y="1290"/>
                  </a:lnTo>
                  <a:lnTo>
                    <a:pt x="17402" y="1297"/>
                  </a:lnTo>
                  <a:lnTo>
                    <a:pt x="17402" y="1297"/>
                  </a:lnTo>
                  <a:lnTo>
                    <a:pt x="17402" y="1297"/>
                  </a:lnTo>
                  <a:close/>
                  <a:moveTo>
                    <a:pt x="21002" y="1347"/>
                  </a:moveTo>
                  <a:lnTo>
                    <a:pt x="21002" y="1335"/>
                  </a:lnTo>
                  <a:lnTo>
                    <a:pt x="20993" y="1318"/>
                  </a:lnTo>
                  <a:lnTo>
                    <a:pt x="20993" y="1307"/>
                  </a:lnTo>
                  <a:lnTo>
                    <a:pt x="21002" y="1297"/>
                  </a:lnTo>
                  <a:lnTo>
                    <a:pt x="21009" y="1307"/>
                  </a:lnTo>
                  <a:lnTo>
                    <a:pt x="21019" y="1290"/>
                  </a:lnTo>
                  <a:lnTo>
                    <a:pt x="21009" y="1290"/>
                  </a:lnTo>
                  <a:lnTo>
                    <a:pt x="21026" y="1281"/>
                  </a:lnTo>
                  <a:lnTo>
                    <a:pt x="21090" y="1290"/>
                  </a:lnTo>
                  <a:lnTo>
                    <a:pt x="21094" y="1307"/>
                  </a:lnTo>
                  <a:lnTo>
                    <a:pt x="21116" y="1314"/>
                  </a:lnTo>
                  <a:lnTo>
                    <a:pt x="21111" y="1318"/>
                  </a:lnTo>
                  <a:lnTo>
                    <a:pt x="21154" y="1335"/>
                  </a:lnTo>
                  <a:lnTo>
                    <a:pt x="21149" y="1351"/>
                  </a:lnTo>
                  <a:lnTo>
                    <a:pt x="21170" y="1347"/>
                  </a:lnTo>
                  <a:lnTo>
                    <a:pt x="21154" y="1363"/>
                  </a:lnTo>
                  <a:lnTo>
                    <a:pt x="21111" y="1368"/>
                  </a:lnTo>
                  <a:lnTo>
                    <a:pt x="21111" y="1384"/>
                  </a:lnTo>
                  <a:lnTo>
                    <a:pt x="20993" y="1425"/>
                  </a:lnTo>
                  <a:lnTo>
                    <a:pt x="20988" y="1429"/>
                  </a:lnTo>
                  <a:lnTo>
                    <a:pt x="20993" y="1441"/>
                  </a:lnTo>
                  <a:lnTo>
                    <a:pt x="20972" y="1425"/>
                  </a:lnTo>
                  <a:lnTo>
                    <a:pt x="20981" y="1401"/>
                  </a:lnTo>
                  <a:lnTo>
                    <a:pt x="20988" y="1384"/>
                  </a:lnTo>
                  <a:lnTo>
                    <a:pt x="20981" y="1368"/>
                  </a:lnTo>
                  <a:lnTo>
                    <a:pt x="21002" y="1347"/>
                  </a:lnTo>
                  <a:lnTo>
                    <a:pt x="21002" y="1347"/>
                  </a:lnTo>
                  <a:lnTo>
                    <a:pt x="21002" y="1347"/>
                  </a:lnTo>
                  <a:close/>
                  <a:moveTo>
                    <a:pt x="17013" y="1351"/>
                  </a:moveTo>
                  <a:lnTo>
                    <a:pt x="17029" y="1330"/>
                  </a:lnTo>
                  <a:lnTo>
                    <a:pt x="17024" y="1307"/>
                  </a:lnTo>
                  <a:lnTo>
                    <a:pt x="17062" y="1290"/>
                  </a:lnTo>
                  <a:lnTo>
                    <a:pt x="17117" y="1297"/>
                  </a:lnTo>
                  <a:lnTo>
                    <a:pt x="17088" y="1318"/>
                  </a:lnTo>
                  <a:lnTo>
                    <a:pt x="17133" y="1314"/>
                  </a:lnTo>
                  <a:lnTo>
                    <a:pt x="17143" y="1330"/>
                  </a:lnTo>
                  <a:lnTo>
                    <a:pt x="17050" y="1351"/>
                  </a:lnTo>
                  <a:lnTo>
                    <a:pt x="17013" y="1351"/>
                  </a:lnTo>
                  <a:lnTo>
                    <a:pt x="17013" y="1351"/>
                  </a:lnTo>
                  <a:lnTo>
                    <a:pt x="17013" y="1351"/>
                  </a:lnTo>
                  <a:close/>
                  <a:moveTo>
                    <a:pt x="16134" y="1684"/>
                  </a:moveTo>
                  <a:lnTo>
                    <a:pt x="16089" y="1680"/>
                  </a:lnTo>
                  <a:lnTo>
                    <a:pt x="16080" y="1668"/>
                  </a:lnTo>
                  <a:lnTo>
                    <a:pt x="16080" y="1663"/>
                  </a:lnTo>
                  <a:lnTo>
                    <a:pt x="16058" y="1668"/>
                  </a:lnTo>
                  <a:lnTo>
                    <a:pt x="16075" y="1668"/>
                  </a:lnTo>
                  <a:lnTo>
                    <a:pt x="16089" y="1684"/>
                  </a:lnTo>
                  <a:lnTo>
                    <a:pt x="16075" y="1684"/>
                  </a:lnTo>
                  <a:lnTo>
                    <a:pt x="16063" y="1684"/>
                  </a:lnTo>
                  <a:lnTo>
                    <a:pt x="16080" y="1684"/>
                  </a:lnTo>
                  <a:lnTo>
                    <a:pt x="16037" y="1668"/>
                  </a:lnTo>
                  <a:lnTo>
                    <a:pt x="16047" y="1684"/>
                  </a:lnTo>
                  <a:lnTo>
                    <a:pt x="16037" y="1684"/>
                  </a:lnTo>
                  <a:lnTo>
                    <a:pt x="16021" y="1680"/>
                  </a:lnTo>
                  <a:lnTo>
                    <a:pt x="16025" y="1668"/>
                  </a:lnTo>
                  <a:lnTo>
                    <a:pt x="16004" y="1663"/>
                  </a:lnTo>
                  <a:lnTo>
                    <a:pt x="15983" y="1684"/>
                  </a:lnTo>
                  <a:lnTo>
                    <a:pt x="15938" y="1656"/>
                  </a:lnTo>
                  <a:lnTo>
                    <a:pt x="15933" y="1663"/>
                  </a:lnTo>
                  <a:lnTo>
                    <a:pt x="15954" y="1668"/>
                  </a:lnTo>
                  <a:lnTo>
                    <a:pt x="15928" y="1656"/>
                  </a:lnTo>
                  <a:lnTo>
                    <a:pt x="15862" y="1656"/>
                  </a:lnTo>
                  <a:lnTo>
                    <a:pt x="15858" y="1647"/>
                  </a:lnTo>
                  <a:lnTo>
                    <a:pt x="15879" y="1647"/>
                  </a:lnTo>
                  <a:lnTo>
                    <a:pt x="15886" y="1640"/>
                  </a:lnTo>
                  <a:lnTo>
                    <a:pt x="15862" y="1614"/>
                  </a:lnTo>
                  <a:lnTo>
                    <a:pt x="15917" y="1607"/>
                  </a:lnTo>
                  <a:lnTo>
                    <a:pt x="15862" y="1602"/>
                  </a:lnTo>
                  <a:lnTo>
                    <a:pt x="15862" y="1590"/>
                  </a:lnTo>
                  <a:lnTo>
                    <a:pt x="15879" y="1573"/>
                  </a:lnTo>
                  <a:lnTo>
                    <a:pt x="15895" y="1569"/>
                  </a:lnTo>
                  <a:lnTo>
                    <a:pt x="15862" y="1590"/>
                  </a:lnTo>
                  <a:lnTo>
                    <a:pt x="15848" y="1569"/>
                  </a:lnTo>
                  <a:lnTo>
                    <a:pt x="15862" y="1557"/>
                  </a:lnTo>
                  <a:lnTo>
                    <a:pt x="15858" y="1552"/>
                  </a:lnTo>
                  <a:lnTo>
                    <a:pt x="15824" y="1573"/>
                  </a:lnTo>
                  <a:lnTo>
                    <a:pt x="15803" y="1557"/>
                  </a:lnTo>
                  <a:lnTo>
                    <a:pt x="15803" y="1552"/>
                  </a:lnTo>
                  <a:lnTo>
                    <a:pt x="15787" y="1569"/>
                  </a:lnTo>
                  <a:lnTo>
                    <a:pt x="15777" y="1552"/>
                  </a:lnTo>
                  <a:lnTo>
                    <a:pt x="15772" y="1557"/>
                  </a:lnTo>
                  <a:lnTo>
                    <a:pt x="15777" y="1557"/>
                  </a:lnTo>
                  <a:lnTo>
                    <a:pt x="15749" y="1569"/>
                  </a:lnTo>
                  <a:lnTo>
                    <a:pt x="15735" y="1552"/>
                  </a:lnTo>
                  <a:lnTo>
                    <a:pt x="15718" y="1512"/>
                  </a:lnTo>
                  <a:lnTo>
                    <a:pt x="15735" y="1491"/>
                  </a:lnTo>
                  <a:lnTo>
                    <a:pt x="15749" y="1474"/>
                  </a:lnTo>
                  <a:lnTo>
                    <a:pt x="15787" y="1491"/>
                  </a:lnTo>
                  <a:lnTo>
                    <a:pt x="15787" y="1462"/>
                  </a:lnTo>
                  <a:lnTo>
                    <a:pt x="15820" y="1446"/>
                  </a:lnTo>
                  <a:lnTo>
                    <a:pt x="15810" y="1429"/>
                  </a:lnTo>
                  <a:lnTo>
                    <a:pt x="15841" y="1418"/>
                  </a:lnTo>
                  <a:lnTo>
                    <a:pt x="15810" y="1418"/>
                  </a:lnTo>
                  <a:lnTo>
                    <a:pt x="15820" y="1408"/>
                  </a:lnTo>
                  <a:lnTo>
                    <a:pt x="15848" y="1408"/>
                  </a:lnTo>
                  <a:lnTo>
                    <a:pt x="15787" y="1392"/>
                  </a:lnTo>
                  <a:lnTo>
                    <a:pt x="15832" y="1368"/>
                  </a:lnTo>
                  <a:lnTo>
                    <a:pt x="15858" y="1375"/>
                  </a:lnTo>
                  <a:lnTo>
                    <a:pt x="15841" y="1363"/>
                  </a:lnTo>
                  <a:lnTo>
                    <a:pt x="15858" y="1363"/>
                  </a:lnTo>
                  <a:lnTo>
                    <a:pt x="15841" y="1347"/>
                  </a:lnTo>
                  <a:lnTo>
                    <a:pt x="15858" y="1330"/>
                  </a:lnTo>
                  <a:lnTo>
                    <a:pt x="15886" y="1314"/>
                  </a:lnTo>
                  <a:lnTo>
                    <a:pt x="15917" y="1318"/>
                  </a:lnTo>
                  <a:lnTo>
                    <a:pt x="15966" y="1297"/>
                  </a:lnTo>
                  <a:lnTo>
                    <a:pt x="16075" y="1330"/>
                  </a:lnTo>
                  <a:lnTo>
                    <a:pt x="16080" y="1335"/>
                  </a:lnTo>
                  <a:lnTo>
                    <a:pt x="16025" y="1351"/>
                  </a:lnTo>
                  <a:lnTo>
                    <a:pt x="16075" y="1351"/>
                  </a:lnTo>
                  <a:lnTo>
                    <a:pt x="16063" y="1363"/>
                  </a:lnTo>
                  <a:lnTo>
                    <a:pt x="16021" y="1363"/>
                  </a:lnTo>
                  <a:lnTo>
                    <a:pt x="16058" y="1363"/>
                  </a:lnTo>
                  <a:lnTo>
                    <a:pt x="16047" y="1384"/>
                  </a:lnTo>
                  <a:lnTo>
                    <a:pt x="16004" y="1384"/>
                  </a:lnTo>
                  <a:lnTo>
                    <a:pt x="16042" y="1401"/>
                  </a:lnTo>
                  <a:lnTo>
                    <a:pt x="16025" y="1408"/>
                  </a:lnTo>
                  <a:lnTo>
                    <a:pt x="16021" y="1425"/>
                  </a:lnTo>
                  <a:lnTo>
                    <a:pt x="15987" y="1418"/>
                  </a:lnTo>
                  <a:lnTo>
                    <a:pt x="16009" y="1425"/>
                  </a:lnTo>
                  <a:lnTo>
                    <a:pt x="15983" y="1429"/>
                  </a:lnTo>
                  <a:lnTo>
                    <a:pt x="16004" y="1429"/>
                  </a:lnTo>
                  <a:lnTo>
                    <a:pt x="16004" y="1458"/>
                  </a:lnTo>
                  <a:lnTo>
                    <a:pt x="16009" y="1474"/>
                  </a:lnTo>
                  <a:lnTo>
                    <a:pt x="15987" y="1503"/>
                  </a:lnTo>
                  <a:lnTo>
                    <a:pt x="16009" y="1512"/>
                  </a:lnTo>
                  <a:lnTo>
                    <a:pt x="16021" y="1545"/>
                  </a:lnTo>
                  <a:lnTo>
                    <a:pt x="16058" y="1602"/>
                  </a:lnTo>
                  <a:lnTo>
                    <a:pt x="16117" y="1647"/>
                  </a:lnTo>
                  <a:lnTo>
                    <a:pt x="16155" y="1663"/>
                  </a:lnTo>
                  <a:lnTo>
                    <a:pt x="16143" y="1680"/>
                  </a:lnTo>
                  <a:lnTo>
                    <a:pt x="16096" y="1668"/>
                  </a:lnTo>
                  <a:lnTo>
                    <a:pt x="16134" y="1684"/>
                  </a:lnTo>
                  <a:lnTo>
                    <a:pt x="16134" y="1684"/>
                  </a:lnTo>
                  <a:lnTo>
                    <a:pt x="16134" y="1684"/>
                  </a:lnTo>
                  <a:close/>
                  <a:moveTo>
                    <a:pt x="17105" y="1314"/>
                  </a:moveTo>
                  <a:lnTo>
                    <a:pt x="17121" y="1307"/>
                  </a:lnTo>
                  <a:lnTo>
                    <a:pt x="17105" y="1318"/>
                  </a:lnTo>
                  <a:lnTo>
                    <a:pt x="17105" y="1314"/>
                  </a:lnTo>
                  <a:lnTo>
                    <a:pt x="17105" y="1314"/>
                  </a:lnTo>
                  <a:lnTo>
                    <a:pt x="17105" y="1314"/>
                  </a:lnTo>
                  <a:close/>
                  <a:moveTo>
                    <a:pt x="17461" y="1335"/>
                  </a:moveTo>
                  <a:lnTo>
                    <a:pt x="17457" y="1330"/>
                  </a:lnTo>
                  <a:lnTo>
                    <a:pt x="17499" y="1335"/>
                  </a:lnTo>
                  <a:lnTo>
                    <a:pt x="17461" y="1335"/>
                  </a:lnTo>
                  <a:lnTo>
                    <a:pt x="17461" y="1335"/>
                  </a:lnTo>
                  <a:lnTo>
                    <a:pt x="17461" y="1335"/>
                  </a:lnTo>
                  <a:close/>
                  <a:moveTo>
                    <a:pt x="20535" y="1351"/>
                  </a:moveTo>
                  <a:lnTo>
                    <a:pt x="20506" y="1347"/>
                  </a:lnTo>
                  <a:lnTo>
                    <a:pt x="20523" y="1335"/>
                  </a:lnTo>
                  <a:lnTo>
                    <a:pt x="20549" y="1347"/>
                  </a:lnTo>
                  <a:lnTo>
                    <a:pt x="20535" y="1351"/>
                  </a:lnTo>
                  <a:lnTo>
                    <a:pt x="20535" y="1351"/>
                  </a:lnTo>
                  <a:lnTo>
                    <a:pt x="20535" y="1351"/>
                  </a:lnTo>
                  <a:close/>
                  <a:moveTo>
                    <a:pt x="17315" y="1351"/>
                  </a:moveTo>
                  <a:lnTo>
                    <a:pt x="17336" y="1335"/>
                  </a:lnTo>
                  <a:lnTo>
                    <a:pt x="17369" y="1351"/>
                  </a:lnTo>
                  <a:lnTo>
                    <a:pt x="17353" y="1347"/>
                  </a:lnTo>
                  <a:lnTo>
                    <a:pt x="17353" y="1375"/>
                  </a:lnTo>
                  <a:lnTo>
                    <a:pt x="17315" y="1351"/>
                  </a:lnTo>
                  <a:lnTo>
                    <a:pt x="17315" y="1351"/>
                  </a:lnTo>
                  <a:lnTo>
                    <a:pt x="17315" y="1351"/>
                  </a:lnTo>
                  <a:close/>
                  <a:moveTo>
                    <a:pt x="17629" y="1368"/>
                  </a:moveTo>
                  <a:lnTo>
                    <a:pt x="17672" y="1347"/>
                  </a:lnTo>
                  <a:lnTo>
                    <a:pt x="17693" y="1368"/>
                  </a:lnTo>
                  <a:lnTo>
                    <a:pt x="17693" y="1392"/>
                  </a:lnTo>
                  <a:lnTo>
                    <a:pt x="17683" y="1401"/>
                  </a:lnTo>
                  <a:lnTo>
                    <a:pt x="17629" y="1384"/>
                  </a:lnTo>
                  <a:lnTo>
                    <a:pt x="17629" y="1368"/>
                  </a:lnTo>
                  <a:lnTo>
                    <a:pt x="17629" y="1368"/>
                  </a:lnTo>
                  <a:lnTo>
                    <a:pt x="17629" y="1368"/>
                  </a:lnTo>
                  <a:close/>
                  <a:moveTo>
                    <a:pt x="20695" y="1368"/>
                  </a:moveTo>
                  <a:lnTo>
                    <a:pt x="20787" y="1392"/>
                  </a:lnTo>
                  <a:lnTo>
                    <a:pt x="20724" y="1384"/>
                  </a:lnTo>
                  <a:lnTo>
                    <a:pt x="20695" y="1368"/>
                  </a:lnTo>
                  <a:lnTo>
                    <a:pt x="20695" y="1368"/>
                  </a:lnTo>
                  <a:lnTo>
                    <a:pt x="20695" y="1368"/>
                  </a:lnTo>
                  <a:close/>
                  <a:moveTo>
                    <a:pt x="21170" y="1384"/>
                  </a:moveTo>
                  <a:lnTo>
                    <a:pt x="21111" y="1375"/>
                  </a:lnTo>
                  <a:lnTo>
                    <a:pt x="21149" y="1375"/>
                  </a:lnTo>
                  <a:lnTo>
                    <a:pt x="21182" y="1384"/>
                  </a:lnTo>
                  <a:lnTo>
                    <a:pt x="21170" y="1384"/>
                  </a:lnTo>
                  <a:lnTo>
                    <a:pt x="21170" y="1384"/>
                  </a:lnTo>
                  <a:lnTo>
                    <a:pt x="21170" y="1384"/>
                  </a:lnTo>
                  <a:close/>
                  <a:moveTo>
                    <a:pt x="21040" y="1408"/>
                  </a:moveTo>
                  <a:lnTo>
                    <a:pt x="21111" y="1384"/>
                  </a:lnTo>
                  <a:lnTo>
                    <a:pt x="21187" y="1401"/>
                  </a:lnTo>
                  <a:lnTo>
                    <a:pt x="21040" y="1408"/>
                  </a:lnTo>
                  <a:lnTo>
                    <a:pt x="21040" y="1408"/>
                  </a:lnTo>
                  <a:lnTo>
                    <a:pt x="21040" y="1408"/>
                  </a:lnTo>
                  <a:close/>
                  <a:moveTo>
                    <a:pt x="17223" y="1401"/>
                  </a:moveTo>
                  <a:lnTo>
                    <a:pt x="17239" y="1401"/>
                  </a:lnTo>
                  <a:lnTo>
                    <a:pt x="17239" y="1408"/>
                  </a:lnTo>
                  <a:lnTo>
                    <a:pt x="17223" y="1401"/>
                  </a:lnTo>
                  <a:lnTo>
                    <a:pt x="17223" y="1401"/>
                  </a:lnTo>
                  <a:lnTo>
                    <a:pt x="17223" y="1401"/>
                  </a:lnTo>
                  <a:close/>
                  <a:moveTo>
                    <a:pt x="21102" y="1408"/>
                  </a:moveTo>
                  <a:lnTo>
                    <a:pt x="21144" y="1401"/>
                  </a:lnTo>
                  <a:lnTo>
                    <a:pt x="21154" y="1418"/>
                  </a:lnTo>
                  <a:lnTo>
                    <a:pt x="21144" y="1425"/>
                  </a:lnTo>
                  <a:lnTo>
                    <a:pt x="21102" y="1408"/>
                  </a:lnTo>
                  <a:lnTo>
                    <a:pt x="21102" y="1408"/>
                  </a:lnTo>
                  <a:lnTo>
                    <a:pt x="21102" y="1408"/>
                  </a:lnTo>
                  <a:close/>
                  <a:moveTo>
                    <a:pt x="21002" y="1429"/>
                  </a:moveTo>
                  <a:lnTo>
                    <a:pt x="21002" y="1425"/>
                  </a:lnTo>
                  <a:lnTo>
                    <a:pt x="21078" y="1408"/>
                  </a:lnTo>
                  <a:lnTo>
                    <a:pt x="21144" y="1429"/>
                  </a:lnTo>
                  <a:lnTo>
                    <a:pt x="21182" y="1429"/>
                  </a:lnTo>
                  <a:lnTo>
                    <a:pt x="21198" y="1446"/>
                  </a:lnTo>
                  <a:lnTo>
                    <a:pt x="21187" y="1458"/>
                  </a:lnTo>
                  <a:lnTo>
                    <a:pt x="21203" y="1462"/>
                  </a:lnTo>
                  <a:lnTo>
                    <a:pt x="21182" y="1474"/>
                  </a:lnTo>
                  <a:lnTo>
                    <a:pt x="21198" y="1479"/>
                  </a:lnTo>
                  <a:lnTo>
                    <a:pt x="21187" y="1479"/>
                  </a:lnTo>
                  <a:lnTo>
                    <a:pt x="21149" y="1491"/>
                  </a:lnTo>
                  <a:lnTo>
                    <a:pt x="21064" y="1429"/>
                  </a:lnTo>
                  <a:lnTo>
                    <a:pt x="21002" y="1429"/>
                  </a:lnTo>
                  <a:lnTo>
                    <a:pt x="21002" y="1429"/>
                  </a:lnTo>
                  <a:lnTo>
                    <a:pt x="21002" y="1429"/>
                  </a:lnTo>
                  <a:close/>
                  <a:moveTo>
                    <a:pt x="17511" y="1446"/>
                  </a:moveTo>
                  <a:lnTo>
                    <a:pt x="17563" y="1408"/>
                  </a:lnTo>
                  <a:lnTo>
                    <a:pt x="17617" y="1425"/>
                  </a:lnTo>
                  <a:lnTo>
                    <a:pt x="17570" y="1458"/>
                  </a:lnTo>
                  <a:lnTo>
                    <a:pt x="17520" y="1458"/>
                  </a:lnTo>
                  <a:lnTo>
                    <a:pt x="17511" y="1446"/>
                  </a:lnTo>
                  <a:lnTo>
                    <a:pt x="17511" y="1446"/>
                  </a:lnTo>
                  <a:lnTo>
                    <a:pt x="17511" y="1446"/>
                  </a:lnTo>
                  <a:close/>
                  <a:moveTo>
                    <a:pt x="21791" y="1557"/>
                  </a:moveTo>
                  <a:lnTo>
                    <a:pt x="21775" y="1573"/>
                  </a:lnTo>
                  <a:lnTo>
                    <a:pt x="21720" y="1557"/>
                  </a:lnTo>
                  <a:lnTo>
                    <a:pt x="21775" y="1552"/>
                  </a:lnTo>
                  <a:lnTo>
                    <a:pt x="21791" y="1557"/>
                  </a:lnTo>
                  <a:lnTo>
                    <a:pt x="21791" y="1557"/>
                  </a:lnTo>
                  <a:lnTo>
                    <a:pt x="21791" y="1557"/>
                  </a:lnTo>
                  <a:close/>
                  <a:moveTo>
                    <a:pt x="15832" y="1630"/>
                  </a:moveTo>
                  <a:lnTo>
                    <a:pt x="15810" y="1602"/>
                  </a:lnTo>
                  <a:lnTo>
                    <a:pt x="15777" y="1585"/>
                  </a:lnTo>
                  <a:lnTo>
                    <a:pt x="15810" y="1573"/>
                  </a:lnTo>
                  <a:lnTo>
                    <a:pt x="15832" y="1590"/>
                  </a:lnTo>
                  <a:lnTo>
                    <a:pt x="15810" y="1573"/>
                  </a:lnTo>
                  <a:lnTo>
                    <a:pt x="15820" y="1590"/>
                  </a:lnTo>
                  <a:lnTo>
                    <a:pt x="15848" y="1590"/>
                  </a:lnTo>
                  <a:lnTo>
                    <a:pt x="15848" y="1607"/>
                  </a:lnTo>
                  <a:lnTo>
                    <a:pt x="15832" y="1614"/>
                  </a:lnTo>
                  <a:lnTo>
                    <a:pt x="15841" y="1630"/>
                  </a:lnTo>
                  <a:lnTo>
                    <a:pt x="15832" y="1630"/>
                  </a:lnTo>
                  <a:lnTo>
                    <a:pt x="15832" y="1630"/>
                  </a:lnTo>
                  <a:lnTo>
                    <a:pt x="15832" y="1630"/>
                  </a:lnTo>
                  <a:close/>
                  <a:moveTo>
                    <a:pt x="15848" y="1585"/>
                  </a:moveTo>
                  <a:lnTo>
                    <a:pt x="15841" y="1585"/>
                  </a:lnTo>
                  <a:lnTo>
                    <a:pt x="15858" y="1590"/>
                  </a:lnTo>
                  <a:lnTo>
                    <a:pt x="15848" y="1585"/>
                  </a:lnTo>
                  <a:lnTo>
                    <a:pt x="15848" y="1585"/>
                  </a:lnTo>
                  <a:lnTo>
                    <a:pt x="15848" y="1585"/>
                  </a:lnTo>
                  <a:close/>
                  <a:moveTo>
                    <a:pt x="23383" y="1656"/>
                  </a:moveTo>
                  <a:lnTo>
                    <a:pt x="23374" y="1647"/>
                  </a:lnTo>
                  <a:lnTo>
                    <a:pt x="23362" y="1640"/>
                  </a:lnTo>
                  <a:lnTo>
                    <a:pt x="23383" y="1656"/>
                  </a:lnTo>
                  <a:lnTo>
                    <a:pt x="23383" y="1656"/>
                  </a:lnTo>
                  <a:lnTo>
                    <a:pt x="23383" y="1656"/>
                  </a:lnTo>
                  <a:close/>
                  <a:moveTo>
                    <a:pt x="17941" y="1701"/>
                  </a:moveTo>
                  <a:lnTo>
                    <a:pt x="17948" y="1656"/>
                  </a:lnTo>
                  <a:lnTo>
                    <a:pt x="17953" y="1647"/>
                  </a:lnTo>
                  <a:lnTo>
                    <a:pt x="17969" y="1663"/>
                  </a:lnTo>
                  <a:lnTo>
                    <a:pt x="17953" y="1668"/>
                  </a:lnTo>
                  <a:lnTo>
                    <a:pt x="17953" y="1696"/>
                  </a:lnTo>
                  <a:lnTo>
                    <a:pt x="17941" y="1701"/>
                  </a:lnTo>
                  <a:lnTo>
                    <a:pt x="17941" y="1701"/>
                  </a:lnTo>
                  <a:lnTo>
                    <a:pt x="17941" y="1701"/>
                  </a:lnTo>
                  <a:close/>
                  <a:moveTo>
                    <a:pt x="16117" y="1696"/>
                  </a:moveTo>
                  <a:lnTo>
                    <a:pt x="16101" y="1680"/>
                  </a:lnTo>
                  <a:lnTo>
                    <a:pt x="16127" y="1684"/>
                  </a:lnTo>
                  <a:lnTo>
                    <a:pt x="16117" y="1696"/>
                  </a:lnTo>
                  <a:lnTo>
                    <a:pt x="16117" y="1696"/>
                  </a:lnTo>
                  <a:lnTo>
                    <a:pt x="16117" y="1696"/>
                  </a:lnTo>
                  <a:close/>
                  <a:moveTo>
                    <a:pt x="17979" y="1701"/>
                  </a:moveTo>
                  <a:lnTo>
                    <a:pt x="17965" y="1713"/>
                  </a:lnTo>
                  <a:lnTo>
                    <a:pt x="17979" y="1684"/>
                  </a:lnTo>
                  <a:lnTo>
                    <a:pt x="17979" y="1696"/>
                  </a:lnTo>
                  <a:lnTo>
                    <a:pt x="17979" y="1701"/>
                  </a:lnTo>
                  <a:lnTo>
                    <a:pt x="17979" y="1701"/>
                  </a:lnTo>
                  <a:lnTo>
                    <a:pt x="17979" y="1701"/>
                  </a:lnTo>
                  <a:close/>
                  <a:moveTo>
                    <a:pt x="16316" y="1795"/>
                  </a:moveTo>
                  <a:lnTo>
                    <a:pt x="16295" y="1795"/>
                  </a:lnTo>
                  <a:lnTo>
                    <a:pt x="16290" y="1791"/>
                  </a:lnTo>
                  <a:lnTo>
                    <a:pt x="16295" y="1779"/>
                  </a:lnTo>
                  <a:lnTo>
                    <a:pt x="16278" y="1774"/>
                  </a:lnTo>
                  <a:lnTo>
                    <a:pt x="16252" y="1767"/>
                  </a:lnTo>
                  <a:lnTo>
                    <a:pt x="16264" y="1774"/>
                  </a:lnTo>
                  <a:lnTo>
                    <a:pt x="16257" y="1774"/>
                  </a:lnTo>
                  <a:lnTo>
                    <a:pt x="16226" y="1751"/>
                  </a:lnTo>
                  <a:lnTo>
                    <a:pt x="16226" y="1734"/>
                  </a:lnTo>
                  <a:lnTo>
                    <a:pt x="16209" y="1722"/>
                  </a:lnTo>
                  <a:lnTo>
                    <a:pt x="16240" y="1734"/>
                  </a:lnTo>
                  <a:lnTo>
                    <a:pt x="16226" y="1718"/>
                  </a:lnTo>
                  <a:lnTo>
                    <a:pt x="16257" y="1696"/>
                  </a:lnTo>
                  <a:lnTo>
                    <a:pt x="16349" y="1767"/>
                  </a:lnTo>
                  <a:lnTo>
                    <a:pt x="16361" y="1779"/>
                  </a:lnTo>
                  <a:lnTo>
                    <a:pt x="16316" y="1795"/>
                  </a:lnTo>
                  <a:lnTo>
                    <a:pt x="16316" y="1795"/>
                  </a:lnTo>
                  <a:lnTo>
                    <a:pt x="16316" y="1795"/>
                  </a:lnTo>
                  <a:close/>
                  <a:moveTo>
                    <a:pt x="17927" y="1734"/>
                  </a:moveTo>
                  <a:lnTo>
                    <a:pt x="17932" y="1722"/>
                  </a:lnTo>
                  <a:lnTo>
                    <a:pt x="17948" y="1739"/>
                  </a:lnTo>
                  <a:lnTo>
                    <a:pt x="17927" y="1734"/>
                  </a:lnTo>
                  <a:lnTo>
                    <a:pt x="17927" y="1734"/>
                  </a:lnTo>
                  <a:lnTo>
                    <a:pt x="17927" y="1734"/>
                  </a:lnTo>
                  <a:close/>
                  <a:moveTo>
                    <a:pt x="23995" y="1791"/>
                  </a:moveTo>
                  <a:lnTo>
                    <a:pt x="23988" y="1791"/>
                  </a:lnTo>
                  <a:lnTo>
                    <a:pt x="23988" y="1807"/>
                  </a:lnTo>
                  <a:lnTo>
                    <a:pt x="23979" y="1812"/>
                  </a:lnTo>
                  <a:lnTo>
                    <a:pt x="23957" y="1812"/>
                  </a:lnTo>
                  <a:lnTo>
                    <a:pt x="23882" y="1779"/>
                  </a:lnTo>
                  <a:lnTo>
                    <a:pt x="23920" y="1758"/>
                  </a:lnTo>
                  <a:lnTo>
                    <a:pt x="23995" y="1774"/>
                  </a:lnTo>
                  <a:lnTo>
                    <a:pt x="23995" y="1791"/>
                  </a:lnTo>
                  <a:lnTo>
                    <a:pt x="23995" y="1791"/>
                  </a:lnTo>
                  <a:lnTo>
                    <a:pt x="23995" y="1791"/>
                  </a:lnTo>
                  <a:close/>
                  <a:moveTo>
                    <a:pt x="24050" y="1795"/>
                  </a:moveTo>
                  <a:lnTo>
                    <a:pt x="24033" y="1791"/>
                  </a:lnTo>
                  <a:lnTo>
                    <a:pt x="24050" y="1779"/>
                  </a:lnTo>
                  <a:lnTo>
                    <a:pt x="24050" y="1795"/>
                  </a:lnTo>
                  <a:lnTo>
                    <a:pt x="24050" y="1795"/>
                  </a:lnTo>
                  <a:lnTo>
                    <a:pt x="24050" y="1795"/>
                  </a:lnTo>
                  <a:close/>
                  <a:moveTo>
                    <a:pt x="23433" y="1833"/>
                  </a:moveTo>
                  <a:lnTo>
                    <a:pt x="23433" y="1812"/>
                  </a:lnTo>
                  <a:lnTo>
                    <a:pt x="23450" y="1812"/>
                  </a:lnTo>
                  <a:lnTo>
                    <a:pt x="23450" y="1829"/>
                  </a:lnTo>
                  <a:lnTo>
                    <a:pt x="23433" y="1833"/>
                  </a:lnTo>
                  <a:lnTo>
                    <a:pt x="23433" y="1833"/>
                  </a:lnTo>
                  <a:lnTo>
                    <a:pt x="23433" y="1833"/>
                  </a:lnTo>
                  <a:close/>
                  <a:moveTo>
                    <a:pt x="16814" y="1824"/>
                  </a:moveTo>
                  <a:lnTo>
                    <a:pt x="16835" y="1812"/>
                  </a:lnTo>
                  <a:lnTo>
                    <a:pt x="16831" y="1829"/>
                  </a:lnTo>
                  <a:lnTo>
                    <a:pt x="16814" y="1824"/>
                  </a:lnTo>
                  <a:lnTo>
                    <a:pt x="16814" y="1824"/>
                  </a:lnTo>
                  <a:lnTo>
                    <a:pt x="16814" y="1824"/>
                  </a:lnTo>
                  <a:close/>
                  <a:moveTo>
                    <a:pt x="23433" y="1902"/>
                  </a:moveTo>
                  <a:lnTo>
                    <a:pt x="23438" y="1885"/>
                  </a:lnTo>
                  <a:lnTo>
                    <a:pt x="23416" y="1878"/>
                  </a:lnTo>
                  <a:lnTo>
                    <a:pt x="23416" y="1845"/>
                  </a:lnTo>
                  <a:lnTo>
                    <a:pt x="23412" y="1833"/>
                  </a:lnTo>
                  <a:lnTo>
                    <a:pt x="23416" y="1829"/>
                  </a:lnTo>
                  <a:lnTo>
                    <a:pt x="23433" y="1824"/>
                  </a:lnTo>
                  <a:lnTo>
                    <a:pt x="23428" y="1829"/>
                  </a:lnTo>
                  <a:lnTo>
                    <a:pt x="23433" y="1833"/>
                  </a:lnTo>
                  <a:lnTo>
                    <a:pt x="23433" y="1850"/>
                  </a:lnTo>
                  <a:lnTo>
                    <a:pt x="23438" y="1890"/>
                  </a:lnTo>
                  <a:lnTo>
                    <a:pt x="23433" y="1902"/>
                  </a:lnTo>
                  <a:lnTo>
                    <a:pt x="23433" y="1902"/>
                  </a:lnTo>
                  <a:lnTo>
                    <a:pt x="23433" y="1902"/>
                  </a:lnTo>
                  <a:close/>
                  <a:moveTo>
                    <a:pt x="15496" y="1878"/>
                  </a:moveTo>
                  <a:lnTo>
                    <a:pt x="15508" y="1845"/>
                  </a:lnTo>
                  <a:lnTo>
                    <a:pt x="15555" y="1824"/>
                  </a:lnTo>
                  <a:lnTo>
                    <a:pt x="15631" y="1850"/>
                  </a:lnTo>
                  <a:lnTo>
                    <a:pt x="15647" y="1866"/>
                  </a:lnTo>
                  <a:lnTo>
                    <a:pt x="15631" y="1885"/>
                  </a:lnTo>
                  <a:lnTo>
                    <a:pt x="15643" y="1866"/>
                  </a:lnTo>
                  <a:lnTo>
                    <a:pt x="15631" y="1866"/>
                  </a:lnTo>
                  <a:lnTo>
                    <a:pt x="15588" y="1906"/>
                  </a:lnTo>
                  <a:lnTo>
                    <a:pt x="15534" y="1923"/>
                  </a:lnTo>
                  <a:lnTo>
                    <a:pt x="15496" y="1902"/>
                  </a:lnTo>
                  <a:lnTo>
                    <a:pt x="15496" y="1878"/>
                  </a:lnTo>
                  <a:lnTo>
                    <a:pt x="15496" y="1878"/>
                  </a:lnTo>
                  <a:lnTo>
                    <a:pt x="15496" y="1878"/>
                  </a:lnTo>
                  <a:close/>
                  <a:moveTo>
                    <a:pt x="16814" y="1833"/>
                  </a:moveTo>
                  <a:lnTo>
                    <a:pt x="16814" y="1829"/>
                  </a:lnTo>
                  <a:lnTo>
                    <a:pt x="16831" y="1833"/>
                  </a:lnTo>
                  <a:lnTo>
                    <a:pt x="16814" y="1833"/>
                  </a:lnTo>
                  <a:lnTo>
                    <a:pt x="16814" y="1833"/>
                  </a:lnTo>
                  <a:lnTo>
                    <a:pt x="16814" y="1833"/>
                  </a:lnTo>
                  <a:close/>
                  <a:moveTo>
                    <a:pt x="14513" y="1833"/>
                  </a:moveTo>
                  <a:lnTo>
                    <a:pt x="14530" y="1845"/>
                  </a:lnTo>
                  <a:lnTo>
                    <a:pt x="14497" y="1833"/>
                  </a:lnTo>
                  <a:lnTo>
                    <a:pt x="14513" y="1833"/>
                  </a:lnTo>
                  <a:lnTo>
                    <a:pt x="14513" y="1833"/>
                  </a:lnTo>
                  <a:lnTo>
                    <a:pt x="14513" y="1833"/>
                  </a:lnTo>
                  <a:close/>
                  <a:moveTo>
                    <a:pt x="16273" y="1866"/>
                  </a:moveTo>
                  <a:lnTo>
                    <a:pt x="16235" y="1845"/>
                  </a:lnTo>
                  <a:lnTo>
                    <a:pt x="16264" y="1850"/>
                  </a:lnTo>
                  <a:lnTo>
                    <a:pt x="16273" y="1866"/>
                  </a:lnTo>
                  <a:lnTo>
                    <a:pt x="16273" y="1866"/>
                  </a:lnTo>
                  <a:lnTo>
                    <a:pt x="16273" y="1866"/>
                  </a:lnTo>
                  <a:close/>
                  <a:moveTo>
                    <a:pt x="16134" y="1918"/>
                  </a:moveTo>
                  <a:lnTo>
                    <a:pt x="16181" y="1906"/>
                  </a:lnTo>
                  <a:lnTo>
                    <a:pt x="16127" y="1923"/>
                  </a:lnTo>
                  <a:lnTo>
                    <a:pt x="16134" y="1918"/>
                  </a:lnTo>
                  <a:lnTo>
                    <a:pt x="16134" y="1918"/>
                  </a:lnTo>
                  <a:lnTo>
                    <a:pt x="16134" y="1918"/>
                  </a:lnTo>
                  <a:close/>
                  <a:moveTo>
                    <a:pt x="17013" y="2195"/>
                  </a:moveTo>
                  <a:lnTo>
                    <a:pt x="16982" y="2162"/>
                  </a:lnTo>
                  <a:lnTo>
                    <a:pt x="16958" y="2162"/>
                  </a:lnTo>
                  <a:lnTo>
                    <a:pt x="17029" y="2166"/>
                  </a:lnTo>
                  <a:lnTo>
                    <a:pt x="17029" y="2195"/>
                  </a:lnTo>
                  <a:lnTo>
                    <a:pt x="17013" y="2195"/>
                  </a:lnTo>
                  <a:lnTo>
                    <a:pt x="17013" y="2195"/>
                  </a:lnTo>
                  <a:lnTo>
                    <a:pt x="17013" y="2195"/>
                  </a:lnTo>
                  <a:close/>
                  <a:moveTo>
                    <a:pt x="15102" y="2162"/>
                  </a:moveTo>
                  <a:lnTo>
                    <a:pt x="15106" y="2166"/>
                  </a:lnTo>
                  <a:lnTo>
                    <a:pt x="15092" y="2162"/>
                  </a:lnTo>
                  <a:lnTo>
                    <a:pt x="15102" y="2162"/>
                  </a:lnTo>
                  <a:lnTo>
                    <a:pt x="15102" y="2162"/>
                  </a:lnTo>
                  <a:lnTo>
                    <a:pt x="15102" y="2162"/>
                  </a:lnTo>
                  <a:close/>
                  <a:moveTo>
                    <a:pt x="16975" y="2166"/>
                  </a:moveTo>
                  <a:lnTo>
                    <a:pt x="16975" y="2178"/>
                  </a:lnTo>
                  <a:lnTo>
                    <a:pt x="16975" y="2166"/>
                  </a:lnTo>
                  <a:lnTo>
                    <a:pt x="16975" y="2166"/>
                  </a:lnTo>
                  <a:lnTo>
                    <a:pt x="16975" y="2166"/>
                  </a:lnTo>
                  <a:close/>
                  <a:moveTo>
                    <a:pt x="253" y="2277"/>
                  </a:moveTo>
                  <a:lnTo>
                    <a:pt x="253" y="2273"/>
                  </a:lnTo>
                  <a:lnTo>
                    <a:pt x="265" y="2273"/>
                  </a:lnTo>
                  <a:lnTo>
                    <a:pt x="253" y="2277"/>
                  </a:lnTo>
                  <a:lnTo>
                    <a:pt x="253" y="2277"/>
                  </a:lnTo>
                  <a:lnTo>
                    <a:pt x="253" y="2277"/>
                  </a:lnTo>
                  <a:close/>
                  <a:moveTo>
                    <a:pt x="14632" y="2351"/>
                  </a:moveTo>
                  <a:lnTo>
                    <a:pt x="14632" y="2367"/>
                  </a:lnTo>
                  <a:lnTo>
                    <a:pt x="14622" y="2377"/>
                  </a:lnTo>
                  <a:lnTo>
                    <a:pt x="14606" y="2351"/>
                  </a:lnTo>
                  <a:lnTo>
                    <a:pt x="14632" y="2351"/>
                  </a:lnTo>
                  <a:lnTo>
                    <a:pt x="14632" y="2351"/>
                  </a:lnTo>
                  <a:lnTo>
                    <a:pt x="14632" y="2351"/>
                  </a:lnTo>
                  <a:close/>
                  <a:moveTo>
                    <a:pt x="0" y="2400"/>
                  </a:moveTo>
                  <a:lnTo>
                    <a:pt x="17" y="2384"/>
                  </a:lnTo>
                  <a:lnTo>
                    <a:pt x="38" y="2400"/>
                  </a:lnTo>
                  <a:lnTo>
                    <a:pt x="0" y="2400"/>
                  </a:lnTo>
                  <a:lnTo>
                    <a:pt x="0" y="2400"/>
                  </a:lnTo>
                  <a:lnTo>
                    <a:pt x="0" y="2400"/>
                  </a:lnTo>
                  <a:close/>
                  <a:moveTo>
                    <a:pt x="14946" y="2400"/>
                  </a:moveTo>
                  <a:lnTo>
                    <a:pt x="14955" y="2421"/>
                  </a:lnTo>
                  <a:lnTo>
                    <a:pt x="14913" y="2405"/>
                  </a:lnTo>
                  <a:lnTo>
                    <a:pt x="14941" y="2417"/>
                  </a:lnTo>
                  <a:lnTo>
                    <a:pt x="14929" y="2400"/>
                  </a:lnTo>
                  <a:lnTo>
                    <a:pt x="14946" y="2400"/>
                  </a:lnTo>
                  <a:lnTo>
                    <a:pt x="14946" y="2400"/>
                  </a:lnTo>
                  <a:lnTo>
                    <a:pt x="14946" y="2400"/>
                  </a:lnTo>
                  <a:close/>
                  <a:moveTo>
                    <a:pt x="14639" y="2438"/>
                  </a:moveTo>
                  <a:lnTo>
                    <a:pt x="14643" y="2445"/>
                  </a:lnTo>
                  <a:lnTo>
                    <a:pt x="14632" y="2438"/>
                  </a:lnTo>
                  <a:lnTo>
                    <a:pt x="14639" y="2438"/>
                  </a:lnTo>
                  <a:lnTo>
                    <a:pt x="14639" y="2438"/>
                  </a:lnTo>
                  <a:lnTo>
                    <a:pt x="14639" y="2438"/>
                  </a:lnTo>
                  <a:close/>
                  <a:moveTo>
                    <a:pt x="14119" y="2899"/>
                  </a:moveTo>
                  <a:lnTo>
                    <a:pt x="14131" y="2899"/>
                  </a:lnTo>
                  <a:lnTo>
                    <a:pt x="14119" y="2887"/>
                  </a:lnTo>
                  <a:lnTo>
                    <a:pt x="14119" y="2899"/>
                  </a:lnTo>
                  <a:lnTo>
                    <a:pt x="14119" y="2899"/>
                  </a:lnTo>
                  <a:lnTo>
                    <a:pt x="14119" y="2899"/>
                  </a:lnTo>
                  <a:close/>
                  <a:moveTo>
                    <a:pt x="23572" y="3088"/>
                  </a:moveTo>
                  <a:lnTo>
                    <a:pt x="23596" y="3064"/>
                  </a:lnTo>
                  <a:lnTo>
                    <a:pt x="23610" y="3043"/>
                  </a:lnTo>
                  <a:lnTo>
                    <a:pt x="23596" y="3031"/>
                  </a:lnTo>
                  <a:lnTo>
                    <a:pt x="23655" y="3014"/>
                  </a:lnTo>
                  <a:lnTo>
                    <a:pt x="23665" y="3031"/>
                  </a:lnTo>
                  <a:lnTo>
                    <a:pt x="23665" y="3047"/>
                  </a:lnTo>
                  <a:lnTo>
                    <a:pt x="23627" y="3059"/>
                  </a:lnTo>
                  <a:lnTo>
                    <a:pt x="23579" y="3099"/>
                  </a:lnTo>
                  <a:lnTo>
                    <a:pt x="23572" y="3088"/>
                  </a:lnTo>
                  <a:lnTo>
                    <a:pt x="23572" y="3088"/>
                  </a:lnTo>
                  <a:lnTo>
                    <a:pt x="23572" y="3088"/>
                  </a:lnTo>
                  <a:close/>
                  <a:moveTo>
                    <a:pt x="22665" y="3031"/>
                  </a:moveTo>
                  <a:lnTo>
                    <a:pt x="22682" y="3026"/>
                  </a:lnTo>
                  <a:lnTo>
                    <a:pt x="22665" y="3031"/>
                  </a:lnTo>
                  <a:lnTo>
                    <a:pt x="22665" y="3031"/>
                  </a:lnTo>
                  <a:lnTo>
                    <a:pt x="22665" y="3031"/>
                  </a:lnTo>
                  <a:close/>
                  <a:moveTo>
                    <a:pt x="23773" y="3421"/>
                  </a:moveTo>
                  <a:lnTo>
                    <a:pt x="23773" y="3437"/>
                  </a:lnTo>
                  <a:lnTo>
                    <a:pt x="23806" y="3470"/>
                  </a:lnTo>
                  <a:lnTo>
                    <a:pt x="23806" y="3487"/>
                  </a:lnTo>
                  <a:lnTo>
                    <a:pt x="23778" y="3470"/>
                  </a:lnTo>
                  <a:lnTo>
                    <a:pt x="23752" y="3421"/>
                  </a:lnTo>
                  <a:lnTo>
                    <a:pt x="23773" y="3421"/>
                  </a:lnTo>
                  <a:lnTo>
                    <a:pt x="23773" y="3421"/>
                  </a:lnTo>
                  <a:lnTo>
                    <a:pt x="23773" y="3421"/>
                  </a:lnTo>
                  <a:close/>
                  <a:moveTo>
                    <a:pt x="13606" y="3430"/>
                  </a:moveTo>
                  <a:lnTo>
                    <a:pt x="13611" y="3421"/>
                  </a:lnTo>
                  <a:lnTo>
                    <a:pt x="13665" y="3447"/>
                  </a:lnTo>
                  <a:lnTo>
                    <a:pt x="13699" y="3447"/>
                  </a:lnTo>
                  <a:lnTo>
                    <a:pt x="13720" y="3470"/>
                  </a:lnTo>
                  <a:lnTo>
                    <a:pt x="13715" y="3487"/>
                  </a:lnTo>
                  <a:lnTo>
                    <a:pt x="13703" y="3503"/>
                  </a:lnTo>
                  <a:lnTo>
                    <a:pt x="13715" y="3515"/>
                  </a:lnTo>
                  <a:lnTo>
                    <a:pt x="13618" y="3515"/>
                  </a:lnTo>
                  <a:lnTo>
                    <a:pt x="13505" y="3508"/>
                  </a:lnTo>
                  <a:lnTo>
                    <a:pt x="13552" y="3487"/>
                  </a:lnTo>
                  <a:lnTo>
                    <a:pt x="13526" y="3487"/>
                  </a:lnTo>
                  <a:lnTo>
                    <a:pt x="13519" y="3475"/>
                  </a:lnTo>
                  <a:lnTo>
                    <a:pt x="13510" y="3487"/>
                  </a:lnTo>
                  <a:lnTo>
                    <a:pt x="13519" y="3454"/>
                  </a:lnTo>
                  <a:lnTo>
                    <a:pt x="13552" y="3454"/>
                  </a:lnTo>
                  <a:lnTo>
                    <a:pt x="13580" y="3421"/>
                  </a:lnTo>
                  <a:lnTo>
                    <a:pt x="13590" y="3421"/>
                  </a:lnTo>
                  <a:lnTo>
                    <a:pt x="13557" y="3454"/>
                  </a:lnTo>
                  <a:lnTo>
                    <a:pt x="13606" y="3458"/>
                  </a:lnTo>
                  <a:lnTo>
                    <a:pt x="13606" y="3437"/>
                  </a:lnTo>
                  <a:lnTo>
                    <a:pt x="13606" y="3430"/>
                  </a:lnTo>
                  <a:lnTo>
                    <a:pt x="13606" y="3430"/>
                  </a:lnTo>
                  <a:lnTo>
                    <a:pt x="13606" y="3430"/>
                  </a:lnTo>
                  <a:close/>
                  <a:moveTo>
                    <a:pt x="21744" y="3475"/>
                  </a:moveTo>
                  <a:lnTo>
                    <a:pt x="21765" y="3430"/>
                  </a:lnTo>
                  <a:lnTo>
                    <a:pt x="21803" y="3447"/>
                  </a:lnTo>
                  <a:lnTo>
                    <a:pt x="21775" y="3491"/>
                  </a:lnTo>
                  <a:lnTo>
                    <a:pt x="21758" y="3458"/>
                  </a:lnTo>
                  <a:lnTo>
                    <a:pt x="21744" y="3475"/>
                  </a:lnTo>
                  <a:lnTo>
                    <a:pt x="21744" y="3475"/>
                  </a:lnTo>
                  <a:lnTo>
                    <a:pt x="21744" y="3475"/>
                  </a:lnTo>
                  <a:close/>
                  <a:moveTo>
                    <a:pt x="21694" y="3458"/>
                  </a:moveTo>
                  <a:lnTo>
                    <a:pt x="21737" y="3437"/>
                  </a:lnTo>
                  <a:lnTo>
                    <a:pt x="21728" y="3458"/>
                  </a:lnTo>
                  <a:lnTo>
                    <a:pt x="21694" y="3458"/>
                  </a:lnTo>
                  <a:lnTo>
                    <a:pt x="21694" y="3458"/>
                  </a:lnTo>
                  <a:lnTo>
                    <a:pt x="21694" y="3458"/>
                  </a:lnTo>
                  <a:close/>
                  <a:moveTo>
                    <a:pt x="13498" y="3508"/>
                  </a:moveTo>
                  <a:lnTo>
                    <a:pt x="13488" y="3503"/>
                  </a:lnTo>
                  <a:lnTo>
                    <a:pt x="13510" y="3487"/>
                  </a:lnTo>
                  <a:lnTo>
                    <a:pt x="13498" y="3508"/>
                  </a:lnTo>
                  <a:lnTo>
                    <a:pt x="13498" y="3508"/>
                  </a:lnTo>
                  <a:lnTo>
                    <a:pt x="13498" y="3508"/>
                  </a:lnTo>
                  <a:close/>
                  <a:moveTo>
                    <a:pt x="21765" y="3508"/>
                  </a:moveTo>
                  <a:lnTo>
                    <a:pt x="21758" y="3503"/>
                  </a:lnTo>
                  <a:lnTo>
                    <a:pt x="21765" y="3491"/>
                  </a:lnTo>
                  <a:lnTo>
                    <a:pt x="21765" y="3508"/>
                  </a:lnTo>
                  <a:lnTo>
                    <a:pt x="21765" y="3508"/>
                  </a:lnTo>
                  <a:lnTo>
                    <a:pt x="21765" y="3508"/>
                  </a:lnTo>
                  <a:close/>
                  <a:moveTo>
                    <a:pt x="22072" y="4080"/>
                  </a:moveTo>
                  <a:lnTo>
                    <a:pt x="22068" y="4058"/>
                  </a:lnTo>
                  <a:lnTo>
                    <a:pt x="22072" y="4030"/>
                  </a:lnTo>
                  <a:lnTo>
                    <a:pt x="22084" y="3973"/>
                  </a:lnTo>
                  <a:lnTo>
                    <a:pt x="22084" y="3903"/>
                  </a:lnTo>
                  <a:lnTo>
                    <a:pt x="22072" y="3891"/>
                  </a:lnTo>
                  <a:lnTo>
                    <a:pt x="22089" y="3825"/>
                  </a:lnTo>
                  <a:lnTo>
                    <a:pt x="22084" y="3791"/>
                  </a:lnTo>
                  <a:lnTo>
                    <a:pt x="22051" y="3751"/>
                  </a:lnTo>
                  <a:lnTo>
                    <a:pt x="22051" y="3714"/>
                  </a:lnTo>
                  <a:lnTo>
                    <a:pt x="22061" y="3692"/>
                  </a:lnTo>
                  <a:lnTo>
                    <a:pt x="22068" y="3643"/>
                  </a:lnTo>
                  <a:lnTo>
                    <a:pt x="22061" y="3614"/>
                  </a:lnTo>
                  <a:lnTo>
                    <a:pt x="22089" y="3598"/>
                  </a:lnTo>
                  <a:lnTo>
                    <a:pt x="22089" y="3614"/>
                  </a:lnTo>
                  <a:lnTo>
                    <a:pt x="22105" y="3614"/>
                  </a:lnTo>
                  <a:lnTo>
                    <a:pt x="22122" y="3598"/>
                  </a:lnTo>
                  <a:lnTo>
                    <a:pt x="22115" y="3598"/>
                  </a:lnTo>
                  <a:lnTo>
                    <a:pt x="22105" y="3581"/>
                  </a:lnTo>
                  <a:lnTo>
                    <a:pt x="22122" y="3586"/>
                  </a:lnTo>
                  <a:lnTo>
                    <a:pt x="22127" y="3581"/>
                  </a:lnTo>
                  <a:lnTo>
                    <a:pt x="22127" y="3565"/>
                  </a:lnTo>
                  <a:lnTo>
                    <a:pt x="22115" y="3581"/>
                  </a:lnTo>
                  <a:lnTo>
                    <a:pt x="22122" y="3558"/>
                  </a:lnTo>
                  <a:lnTo>
                    <a:pt x="22098" y="3525"/>
                  </a:lnTo>
                  <a:lnTo>
                    <a:pt x="22122" y="3525"/>
                  </a:lnTo>
                  <a:lnTo>
                    <a:pt x="22122" y="3508"/>
                  </a:lnTo>
                  <a:lnTo>
                    <a:pt x="22143" y="3541"/>
                  </a:lnTo>
                  <a:lnTo>
                    <a:pt x="22136" y="3569"/>
                  </a:lnTo>
                  <a:lnTo>
                    <a:pt x="22153" y="3598"/>
                  </a:lnTo>
                  <a:lnTo>
                    <a:pt x="22153" y="3614"/>
                  </a:lnTo>
                  <a:lnTo>
                    <a:pt x="22160" y="3619"/>
                  </a:lnTo>
                  <a:lnTo>
                    <a:pt x="22169" y="3659"/>
                  </a:lnTo>
                  <a:lnTo>
                    <a:pt x="22169" y="3697"/>
                  </a:lnTo>
                  <a:lnTo>
                    <a:pt x="22160" y="3714"/>
                  </a:lnTo>
                  <a:lnTo>
                    <a:pt x="22160" y="3692"/>
                  </a:lnTo>
                  <a:lnTo>
                    <a:pt x="22153" y="3709"/>
                  </a:lnTo>
                  <a:lnTo>
                    <a:pt x="22153" y="3747"/>
                  </a:lnTo>
                  <a:lnTo>
                    <a:pt x="22169" y="3768"/>
                  </a:lnTo>
                  <a:lnTo>
                    <a:pt x="22160" y="3791"/>
                  </a:lnTo>
                  <a:lnTo>
                    <a:pt x="22169" y="3791"/>
                  </a:lnTo>
                  <a:lnTo>
                    <a:pt x="22169" y="3780"/>
                  </a:lnTo>
                  <a:lnTo>
                    <a:pt x="22174" y="3808"/>
                  </a:lnTo>
                  <a:lnTo>
                    <a:pt x="22169" y="3808"/>
                  </a:lnTo>
                  <a:lnTo>
                    <a:pt x="22181" y="3820"/>
                  </a:lnTo>
                  <a:lnTo>
                    <a:pt x="22198" y="3903"/>
                  </a:lnTo>
                  <a:lnTo>
                    <a:pt x="22212" y="3936"/>
                  </a:lnTo>
                  <a:lnTo>
                    <a:pt x="22245" y="4023"/>
                  </a:lnTo>
                  <a:lnTo>
                    <a:pt x="22261" y="4040"/>
                  </a:lnTo>
                  <a:lnTo>
                    <a:pt x="22266" y="4063"/>
                  </a:lnTo>
                  <a:lnTo>
                    <a:pt x="22245" y="4030"/>
                  </a:lnTo>
                  <a:lnTo>
                    <a:pt x="22212" y="4006"/>
                  </a:lnTo>
                  <a:lnTo>
                    <a:pt x="22169" y="3990"/>
                  </a:lnTo>
                  <a:lnTo>
                    <a:pt x="22169" y="4002"/>
                  </a:lnTo>
                  <a:lnTo>
                    <a:pt x="22191" y="4002"/>
                  </a:lnTo>
                  <a:lnTo>
                    <a:pt x="22160" y="4006"/>
                  </a:lnTo>
                  <a:lnTo>
                    <a:pt x="22143" y="4023"/>
                  </a:lnTo>
                  <a:lnTo>
                    <a:pt x="22143" y="4040"/>
                  </a:lnTo>
                  <a:lnTo>
                    <a:pt x="22115" y="4117"/>
                  </a:lnTo>
                  <a:lnTo>
                    <a:pt x="22115" y="4141"/>
                  </a:lnTo>
                  <a:lnTo>
                    <a:pt x="22122" y="4158"/>
                  </a:lnTo>
                  <a:lnTo>
                    <a:pt x="22143" y="4191"/>
                  </a:lnTo>
                  <a:lnTo>
                    <a:pt x="22160" y="4236"/>
                  </a:lnTo>
                  <a:lnTo>
                    <a:pt x="22169" y="4245"/>
                  </a:lnTo>
                  <a:lnTo>
                    <a:pt x="22169" y="4228"/>
                  </a:lnTo>
                  <a:lnTo>
                    <a:pt x="22174" y="4228"/>
                  </a:lnTo>
                  <a:lnTo>
                    <a:pt x="22181" y="4269"/>
                  </a:lnTo>
                  <a:lnTo>
                    <a:pt x="22174" y="4302"/>
                  </a:lnTo>
                  <a:lnTo>
                    <a:pt x="22169" y="4252"/>
                  </a:lnTo>
                  <a:lnTo>
                    <a:pt x="22127" y="4252"/>
                  </a:lnTo>
                  <a:lnTo>
                    <a:pt x="22122" y="4236"/>
                  </a:lnTo>
                  <a:lnTo>
                    <a:pt x="22105" y="4252"/>
                  </a:lnTo>
                  <a:lnTo>
                    <a:pt x="22084" y="4306"/>
                  </a:lnTo>
                  <a:lnTo>
                    <a:pt x="22068" y="4302"/>
                  </a:lnTo>
                  <a:lnTo>
                    <a:pt x="22061" y="4252"/>
                  </a:lnTo>
                  <a:lnTo>
                    <a:pt x="22072" y="4207"/>
                  </a:lnTo>
                  <a:lnTo>
                    <a:pt x="22072" y="4158"/>
                  </a:lnTo>
                  <a:lnTo>
                    <a:pt x="22089" y="4125"/>
                  </a:lnTo>
                  <a:lnTo>
                    <a:pt x="22084" y="4096"/>
                  </a:lnTo>
                  <a:lnTo>
                    <a:pt x="22072" y="4080"/>
                  </a:lnTo>
                  <a:lnTo>
                    <a:pt x="22072" y="4080"/>
                  </a:lnTo>
                  <a:lnTo>
                    <a:pt x="22072" y="4080"/>
                  </a:lnTo>
                  <a:close/>
                  <a:moveTo>
                    <a:pt x="23017" y="3846"/>
                  </a:moveTo>
                  <a:lnTo>
                    <a:pt x="23022" y="3846"/>
                  </a:lnTo>
                  <a:lnTo>
                    <a:pt x="23034" y="3858"/>
                  </a:lnTo>
                  <a:lnTo>
                    <a:pt x="23022" y="3858"/>
                  </a:lnTo>
                  <a:lnTo>
                    <a:pt x="23017" y="3846"/>
                  </a:lnTo>
                  <a:lnTo>
                    <a:pt x="23017" y="3846"/>
                  </a:lnTo>
                  <a:lnTo>
                    <a:pt x="23017" y="3846"/>
                  </a:lnTo>
                  <a:close/>
                  <a:moveTo>
                    <a:pt x="23088" y="3874"/>
                  </a:moveTo>
                  <a:lnTo>
                    <a:pt x="23072" y="3874"/>
                  </a:lnTo>
                  <a:lnTo>
                    <a:pt x="23072" y="3862"/>
                  </a:lnTo>
                  <a:lnTo>
                    <a:pt x="23088" y="3858"/>
                  </a:lnTo>
                  <a:lnTo>
                    <a:pt x="23088" y="3874"/>
                  </a:lnTo>
                  <a:lnTo>
                    <a:pt x="23088" y="3874"/>
                  </a:lnTo>
                  <a:lnTo>
                    <a:pt x="23088" y="3874"/>
                  </a:lnTo>
                  <a:close/>
                  <a:moveTo>
                    <a:pt x="23001" y="3931"/>
                  </a:moveTo>
                  <a:lnTo>
                    <a:pt x="23001" y="3903"/>
                  </a:lnTo>
                  <a:lnTo>
                    <a:pt x="23034" y="3895"/>
                  </a:lnTo>
                  <a:lnTo>
                    <a:pt x="23050" y="3874"/>
                  </a:lnTo>
                  <a:lnTo>
                    <a:pt x="23060" y="3862"/>
                  </a:lnTo>
                  <a:lnTo>
                    <a:pt x="23072" y="3891"/>
                  </a:lnTo>
                  <a:lnTo>
                    <a:pt x="23050" y="3914"/>
                  </a:lnTo>
                  <a:lnTo>
                    <a:pt x="23001" y="3931"/>
                  </a:lnTo>
                  <a:lnTo>
                    <a:pt x="23001" y="3931"/>
                  </a:lnTo>
                  <a:lnTo>
                    <a:pt x="23001" y="3931"/>
                  </a:lnTo>
                  <a:close/>
                  <a:moveTo>
                    <a:pt x="22946" y="3957"/>
                  </a:moveTo>
                  <a:lnTo>
                    <a:pt x="22946" y="3952"/>
                  </a:lnTo>
                  <a:lnTo>
                    <a:pt x="22946" y="3957"/>
                  </a:lnTo>
                  <a:lnTo>
                    <a:pt x="22946" y="3957"/>
                  </a:lnTo>
                  <a:lnTo>
                    <a:pt x="22946" y="3957"/>
                  </a:lnTo>
                  <a:close/>
                  <a:moveTo>
                    <a:pt x="22953" y="4002"/>
                  </a:moveTo>
                  <a:lnTo>
                    <a:pt x="22968" y="3973"/>
                  </a:lnTo>
                  <a:lnTo>
                    <a:pt x="22979" y="3969"/>
                  </a:lnTo>
                  <a:lnTo>
                    <a:pt x="22968" y="3990"/>
                  </a:lnTo>
                  <a:lnTo>
                    <a:pt x="22968" y="4002"/>
                  </a:lnTo>
                  <a:lnTo>
                    <a:pt x="22953" y="4002"/>
                  </a:lnTo>
                  <a:lnTo>
                    <a:pt x="22953" y="4002"/>
                  </a:lnTo>
                  <a:lnTo>
                    <a:pt x="22953" y="4002"/>
                  </a:lnTo>
                  <a:close/>
                  <a:moveTo>
                    <a:pt x="22946" y="4014"/>
                  </a:moveTo>
                  <a:lnTo>
                    <a:pt x="22953" y="4014"/>
                  </a:lnTo>
                  <a:lnTo>
                    <a:pt x="22953" y="4023"/>
                  </a:lnTo>
                  <a:lnTo>
                    <a:pt x="22946" y="4014"/>
                  </a:lnTo>
                  <a:lnTo>
                    <a:pt x="22946" y="4014"/>
                  </a:lnTo>
                  <a:lnTo>
                    <a:pt x="22946" y="4014"/>
                  </a:lnTo>
                  <a:close/>
                  <a:moveTo>
                    <a:pt x="22916" y="4058"/>
                  </a:moveTo>
                  <a:lnTo>
                    <a:pt x="22925" y="4040"/>
                  </a:lnTo>
                  <a:lnTo>
                    <a:pt x="22930" y="4040"/>
                  </a:lnTo>
                  <a:lnTo>
                    <a:pt x="22916" y="4058"/>
                  </a:lnTo>
                  <a:lnTo>
                    <a:pt x="22916" y="4058"/>
                  </a:lnTo>
                  <a:lnTo>
                    <a:pt x="22916" y="4058"/>
                  </a:lnTo>
                  <a:close/>
                  <a:moveTo>
                    <a:pt x="22861" y="4117"/>
                  </a:moveTo>
                  <a:lnTo>
                    <a:pt x="22854" y="4113"/>
                  </a:lnTo>
                  <a:lnTo>
                    <a:pt x="22861" y="4113"/>
                  </a:lnTo>
                  <a:lnTo>
                    <a:pt x="22861" y="4117"/>
                  </a:lnTo>
                  <a:lnTo>
                    <a:pt x="22861" y="4117"/>
                  </a:lnTo>
                  <a:lnTo>
                    <a:pt x="22861" y="4117"/>
                  </a:lnTo>
                  <a:close/>
                  <a:moveTo>
                    <a:pt x="22807" y="4179"/>
                  </a:moveTo>
                  <a:lnTo>
                    <a:pt x="22816" y="4179"/>
                  </a:lnTo>
                  <a:lnTo>
                    <a:pt x="22807" y="4179"/>
                  </a:lnTo>
                  <a:lnTo>
                    <a:pt x="22807" y="4179"/>
                  </a:lnTo>
                  <a:lnTo>
                    <a:pt x="22807" y="4179"/>
                  </a:lnTo>
                  <a:close/>
                  <a:moveTo>
                    <a:pt x="22791" y="4195"/>
                  </a:moveTo>
                  <a:lnTo>
                    <a:pt x="22779" y="4224"/>
                  </a:lnTo>
                  <a:lnTo>
                    <a:pt x="22753" y="4228"/>
                  </a:lnTo>
                  <a:lnTo>
                    <a:pt x="22791" y="4195"/>
                  </a:lnTo>
                  <a:lnTo>
                    <a:pt x="22791" y="4195"/>
                  </a:lnTo>
                  <a:lnTo>
                    <a:pt x="22791" y="4195"/>
                  </a:lnTo>
                  <a:close/>
                  <a:moveTo>
                    <a:pt x="22602" y="4340"/>
                  </a:moveTo>
                  <a:lnTo>
                    <a:pt x="22613" y="4318"/>
                  </a:lnTo>
                  <a:lnTo>
                    <a:pt x="22628" y="4302"/>
                  </a:lnTo>
                  <a:lnTo>
                    <a:pt x="22661" y="4285"/>
                  </a:lnTo>
                  <a:lnTo>
                    <a:pt x="22665" y="4285"/>
                  </a:lnTo>
                  <a:lnTo>
                    <a:pt x="22644" y="4306"/>
                  </a:lnTo>
                  <a:lnTo>
                    <a:pt x="22613" y="4335"/>
                  </a:lnTo>
                  <a:lnTo>
                    <a:pt x="22602" y="4340"/>
                  </a:lnTo>
                  <a:lnTo>
                    <a:pt x="22602" y="4340"/>
                  </a:lnTo>
                  <a:lnTo>
                    <a:pt x="22602" y="4340"/>
                  </a:lnTo>
                  <a:close/>
                  <a:moveTo>
                    <a:pt x="22413" y="4446"/>
                  </a:moveTo>
                  <a:lnTo>
                    <a:pt x="22413" y="4434"/>
                  </a:lnTo>
                  <a:lnTo>
                    <a:pt x="22439" y="4417"/>
                  </a:lnTo>
                  <a:lnTo>
                    <a:pt x="22429" y="4413"/>
                  </a:lnTo>
                  <a:lnTo>
                    <a:pt x="22483" y="4373"/>
                  </a:lnTo>
                  <a:lnTo>
                    <a:pt x="22483" y="4363"/>
                  </a:lnTo>
                  <a:lnTo>
                    <a:pt x="22493" y="4356"/>
                  </a:lnTo>
                  <a:lnTo>
                    <a:pt x="22500" y="4373"/>
                  </a:lnTo>
                  <a:lnTo>
                    <a:pt x="22514" y="4373"/>
                  </a:lnTo>
                  <a:lnTo>
                    <a:pt x="22547" y="4347"/>
                  </a:lnTo>
                  <a:lnTo>
                    <a:pt x="22552" y="4347"/>
                  </a:lnTo>
                  <a:lnTo>
                    <a:pt x="22552" y="4363"/>
                  </a:lnTo>
                  <a:lnTo>
                    <a:pt x="22514" y="4373"/>
                  </a:lnTo>
                  <a:lnTo>
                    <a:pt x="22476" y="4396"/>
                  </a:lnTo>
                  <a:lnTo>
                    <a:pt x="22467" y="4396"/>
                  </a:lnTo>
                  <a:lnTo>
                    <a:pt x="22462" y="4413"/>
                  </a:lnTo>
                  <a:lnTo>
                    <a:pt x="22413" y="4446"/>
                  </a:lnTo>
                  <a:lnTo>
                    <a:pt x="22413" y="4446"/>
                  </a:lnTo>
                  <a:lnTo>
                    <a:pt x="22413" y="4446"/>
                  </a:lnTo>
                  <a:close/>
                  <a:moveTo>
                    <a:pt x="22370" y="4434"/>
                  </a:moveTo>
                  <a:lnTo>
                    <a:pt x="22391" y="4446"/>
                  </a:lnTo>
                  <a:lnTo>
                    <a:pt x="22354" y="4467"/>
                  </a:lnTo>
                  <a:lnTo>
                    <a:pt x="22337" y="4491"/>
                  </a:lnTo>
                  <a:lnTo>
                    <a:pt x="22332" y="4491"/>
                  </a:lnTo>
                  <a:lnTo>
                    <a:pt x="22320" y="4512"/>
                  </a:lnTo>
                  <a:lnTo>
                    <a:pt x="22316" y="4507"/>
                  </a:lnTo>
                  <a:lnTo>
                    <a:pt x="22316" y="4500"/>
                  </a:lnTo>
                  <a:lnTo>
                    <a:pt x="22337" y="4474"/>
                  </a:lnTo>
                  <a:lnTo>
                    <a:pt x="22370" y="4434"/>
                  </a:lnTo>
                  <a:lnTo>
                    <a:pt x="22370" y="4434"/>
                  </a:lnTo>
                  <a:lnTo>
                    <a:pt x="22370" y="4434"/>
                  </a:lnTo>
                  <a:close/>
                  <a:moveTo>
                    <a:pt x="15463" y="4484"/>
                  </a:moveTo>
                  <a:lnTo>
                    <a:pt x="15454" y="4484"/>
                  </a:lnTo>
                  <a:lnTo>
                    <a:pt x="15463" y="4484"/>
                  </a:lnTo>
                  <a:lnTo>
                    <a:pt x="15463" y="4484"/>
                  </a:lnTo>
                  <a:lnTo>
                    <a:pt x="15463" y="4484"/>
                  </a:lnTo>
                  <a:close/>
                  <a:moveTo>
                    <a:pt x="22413" y="4491"/>
                  </a:moveTo>
                  <a:lnTo>
                    <a:pt x="22408" y="4507"/>
                  </a:lnTo>
                  <a:lnTo>
                    <a:pt x="22396" y="4507"/>
                  </a:lnTo>
                  <a:lnTo>
                    <a:pt x="22396" y="4500"/>
                  </a:lnTo>
                  <a:lnTo>
                    <a:pt x="22413" y="4491"/>
                  </a:lnTo>
                  <a:lnTo>
                    <a:pt x="22413" y="4491"/>
                  </a:lnTo>
                  <a:lnTo>
                    <a:pt x="22413" y="4491"/>
                  </a:lnTo>
                  <a:close/>
                  <a:moveTo>
                    <a:pt x="22370" y="4524"/>
                  </a:moveTo>
                  <a:lnTo>
                    <a:pt x="22370" y="4528"/>
                  </a:lnTo>
                  <a:lnTo>
                    <a:pt x="22358" y="4524"/>
                  </a:lnTo>
                  <a:lnTo>
                    <a:pt x="22370" y="4524"/>
                  </a:lnTo>
                  <a:lnTo>
                    <a:pt x="22370" y="4524"/>
                  </a:lnTo>
                  <a:lnTo>
                    <a:pt x="22370" y="4524"/>
                  </a:lnTo>
                  <a:close/>
                  <a:moveTo>
                    <a:pt x="21366" y="4566"/>
                  </a:moveTo>
                  <a:lnTo>
                    <a:pt x="21359" y="4566"/>
                  </a:lnTo>
                  <a:lnTo>
                    <a:pt x="21366" y="4562"/>
                  </a:lnTo>
                  <a:lnTo>
                    <a:pt x="21366" y="4566"/>
                  </a:lnTo>
                  <a:lnTo>
                    <a:pt x="21366" y="4566"/>
                  </a:lnTo>
                  <a:lnTo>
                    <a:pt x="21366" y="4566"/>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3" name="Freeform 544">
              <a:extLst>
                <a:ext uri="{FF2B5EF4-FFF2-40B4-BE49-F238E27FC236}">
                  <a16:creationId xmlns:a16="http://schemas.microsoft.com/office/drawing/2014/main" id="{6B77BA77-F70A-452B-BDCC-9FED6F286829}"/>
                </a:ext>
              </a:extLst>
            </p:cNvPr>
            <p:cNvSpPr>
              <a:spLocks/>
            </p:cNvSpPr>
            <p:nvPr/>
          </p:nvSpPr>
          <p:spPr bwMode="gray">
            <a:xfrm>
              <a:off x="14405632" y="4138298"/>
              <a:ext cx="47131" cy="41239"/>
            </a:xfrm>
            <a:custGeom>
              <a:avLst/>
              <a:gdLst>
                <a:gd name="T0" fmla="*/ 16 w 144"/>
                <a:gd name="T1" fmla="*/ 126 h 126"/>
                <a:gd name="T2" fmla="*/ 9 w 144"/>
                <a:gd name="T3" fmla="*/ 119 h 126"/>
                <a:gd name="T4" fmla="*/ 0 w 144"/>
                <a:gd name="T5" fmla="*/ 97 h 126"/>
                <a:gd name="T6" fmla="*/ 21 w 144"/>
                <a:gd name="T7" fmla="*/ 88 h 126"/>
                <a:gd name="T8" fmla="*/ 21 w 144"/>
                <a:gd name="T9" fmla="*/ 64 h 126"/>
                <a:gd name="T10" fmla="*/ 30 w 144"/>
                <a:gd name="T11" fmla="*/ 43 h 126"/>
                <a:gd name="T12" fmla="*/ 54 w 144"/>
                <a:gd name="T13" fmla="*/ 26 h 126"/>
                <a:gd name="T14" fmla="*/ 68 w 144"/>
                <a:gd name="T15" fmla="*/ 26 h 126"/>
                <a:gd name="T16" fmla="*/ 85 w 144"/>
                <a:gd name="T17" fmla="*/ 34 h 126"/>
                <a:gd name="T18" fmla="*/ 106 w 144"/>
                <a:gd name="T19" fmla="*/ 0 h 126"/>
                <a:gd name="T20" fmla="*/ 118 w 144"/>
                <a:gd name="T21" fmla="*/ 0 h 126"/>
                <a:gd name="T22" fmla="*/ 122 w 144"/>
                <a:gd name="T23" fmla="*/ 26 h 126"/>
                <a:gd name="T24" fmla="*/ 129 w 144"/>
                <a:gd name="T25" fmla="*/ 34 h 126"/>
                <a:gd name="T26" fmla="*/ 139 w 144"/>
                <a:gd name="T27" fmla="*/ 50 h 126"/>
                <a:gd name="T28" fmla="*/ 139 w 144"/>
                <a:gd name="T29" fmla="*/ 64 h 126"/>
                <a:gd name="T30" fmla="*/ 144 w 144"/>
                <a:gd name="T31" fmla="*/ 71 h 126"/>
                <a:gd name="T32" fmla="*/ 139 w 144"/>
                <a:gd name="T33" fmla="*/ 97 h 126"/>
                <a:gd name="T34" fmla="*/ 122 w 144"/>
                <a:gd name="T35" fmla="*/ 97 h 126"/>
                <a:gd name="T36" fmla="*/ 106 w 144"/>
                <a:gd name="T37" fmla="*/ 97 h 126"/>
                <a:gd name="T38" fmla="*/ 92 w 144"/>
                <a:gd name="T39" fmla="*/ 104 h 126"/>
                <a:gd name="T40" fmla="*/ 75 w 144"/>
                <a:gd name="T41" fmla="*/ 97 h 126"/>
                <a:gd name="T42" fmla="*/ 68 w 144"/>
                <a:gd name="T43" fmla="*/ 126 h 126"/>
                <a:gd name="T44" fmla="*/ 37 w 144"/>
                <a:gd name="T45" fmla="*/ 126 h 126"/>
                <a:gd name="T46" fmla="*/ 37 w 144"/>
                <a:gd name="T47" fmla="*/ 119 h 126"/>
                <a:gd name="T48" fmla="*/ 21 w 144"/>
                <a:gd name="T49" fmla="*/ 109 h 126"/>
                <a:gd name="T50" fmla="*/ 16 w 144"/>
                <a:gd name="T51" fmla="*/ 109 h 126"/>
                <a:gd name="T52" fmla="*/ 16 w 144"/>
                <a:gd name="T53" fmla="*/ 126 h 126"/>
                <a:gd name="T54" fmla="*/ 16 w 144"/>
                <a:gd name="T55" fmla="*/ 126 h 126"/>
                <a:gd name="T56" fmla="*/ 16 w 144"/>
                <a:gd name="T5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26">
                  <a:moveTo>
                    <a:pt x="16" y="126"/>
                  </a:moveTo>
                  <a:lnTo>
                    <a:pt x="9" y="119"/>
                  </a:lnTo>
                  <a:lnTo>
                    <a:pt x="0" y="97"/>
                  </a:lnTo>
                  <a:lnTo>
                    <a:pt x="21" y="88"/>
                  </a:lnTo>
                  <a:lnTo>
                    <a:pt x="21" y="64"/>
                  </a:lnTo>
                  <a:lnTo>
                    <a:pt x="30" y="43"/>
                  </a:lnTo>
                  <a:lnTo>
                    <a:pt x="54" y="26"/>
                  </a:lnTo>
                  <a:lnTo>
                    <a:pt x="68" y="26"/>
                  </a:lnTo>
                  <a:lnTo>
                    <a:pt x="85" y="34"/>
                  </a:lnTo>
                  <a:lnTo>
                    <a:pt x="106" y="0"/>
                  </a:lnTo>
                  <a:lnTo>
                    <a:pt x="118" y="0"/>
                  </a:lnTo>
                  <a:lnTo>
                    <a:pt x="122" y="26"/>
                  </a:lnTo>
                  <a:lnTo>
                    <a:pt x="129" y="34"/>
                  </a:lnTo>
                  <a:lnTo>
                    <a:pt x="139" y="50"/>
                  </a:lnTo>
                  <a:lnTo>
                    <a:pt x="139" y="64"/>
                  </a:lnTo>
                  <a:lnTo>
                    <a:pt x="144" y="71"/>
                  </a:lnTo>
                  <a:lnTo>
                    <a:pt x="139" y="97"/>
                  </a:lnTo>
                  <a:lnTo>
                    <a:pt x="122" y="97"/>
                  </a:lnTo>
                  <a:lnTo>
                    <a:pt x="106" y="97"/>
                  </a:lnTo>
                  <a:lnTo>
                    <a:pt x="92" y="104"/>
                  </a:lnTo>
                  <a:lnTo>
                    <a:pt x="75" y="97"/>
                  </a:lnTo>
                  <a:lnTo>
                    <a:pt x="68" y="126"/>
                  </a:lnTo>
                  <a:lnTo>
                    <a:pt x="37" y="126"/>
                  </a:lnTo>
                  <a:lnTo>
                    <a:pt x="37" y="119"/>
                  </a:lnTo>
                  <a:lnTo>
                    <a:pt x="21" y="109"/>
                  </a:lnTo>
                  <a:lnTo>
                    <a:pt x="16" y="109"/>
                  </a:lnTo>
                  <a:lnTo>
                    <a:pt x="16" y="126"/>
                  </a:lnTo>
                  <a:lnTo>
                    <a:pt x="16" y="126"/>
                  </a:lnTo>
                  <a:lnTo>
                    <a:pt x="16" y="126"/>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4" name="Freeform 545">
              <a:extLst>
                <a:ext uri="{FF2B5EF4-FFF2-40B4-BE49-F238E27FC236}">
                  <a16:creationId xmlns:a16="http://schemas.microsoft.com/office/drawing/2014/main" id="{955BC94C-C83B-4D5C-A5EE-0CA966C6B64E}"/>
                </a:ext>
              </a:extLst>
            </p:cNvPr>
            <p:cNvSpPr>
              <a:spLocks noEditPoints="1"/>
            </p:cNvSpPr>
            <p:nvPr/>
          </p:nvSpPr>
          <p:spPr bwMode="gray">
            <a:xfrm>
              <a:off x="14536223" y="3328239"/>
              <a:ext cx="485381" cy="414358"/>
            </a:xfrm>
            <a:custGeom>
              <a:avLst/>
              <a:gdLst>
                <a:gd name="T0" fmla="*/ 997 w 1483"/>
                <a:gd name="T1" fmla="*/ 1070 h 1266"/>
                <a:gd name="T2" fmla="*/ 694 w 1483"/>
                <a:gd name="T3" fmla="*/ 1139 h 1266"/>
                <a:gd name="T4" fmla="*/ 619 w 1483"/>
                <a:gd name="T5" fmla="*/ 1127 h 1266"/>
                <a:gd name="T6" fmla="*/ 609 w 1483"/>
                <a:gd name="T7" fmla="*/ 1193 h 1266"/>
                <a:gd name="T8" fmla="*/ 581 w 1483"/>
                <a:gd name="T9" fmla="*/ 1209 h 1266"/>
                <a:gd name="T10" fmla="*/ 567 w 1483"/>
                <a:gd name="T11" fmla="*/ 1172 h 1266"/>
                <a:gd name="T12" fmla="*/ 550 w 1483"/>
                <a:gd name="T13" fmla="*/ 1127 h 1266"/>
                <a:gd name="T14" fmla="*/ 475 w 1483"/>
                <a:gd name="T15" fmla="*/ 1044 h 1266"/>
                <a:gd name="T16" fmla="*/ 463 w 1483"/>
                <a:gd name="T17" fmla="*/ 1011 h 1266"/>
                <a:gd name="T18" fmla="*/ 441 w 1483"/>
                <a:gd name="T19" fmla="*/ 971 h 1266"/>
                <a:gd name="T20" fmla="*/ 378 w 1483"/>
                <a:gd name="T21" fmla="*/ 921 h 1266"/>
                <a:gd name="T22" fmla="*/ 323 w 1483"/>
                <a:gd name="T23" fmla="*/ 860 h 1266"/>
                <a:gd name="T24" fmla="*/ 312 w 1483"/>
                <a:gd name="T25" fmla="*/ 805 h 1266"/>
                <a:gd name="T26" fmla="*/ 278 w 1483"/>
                <a:gd name="T27" fmla="*/ 654 h 1266"/>
                <a:gd name="T28" fmla="*/ 189 w 1483"/>
                <a:gd name="T29" fmla="*/ 572 h 1266"/>
                <a:gd name="T30" fmla="*/ 172 w 1483"/>
                <a:gd name="T31" fmla="*/ 510 h 1266"/>
                <a:gd name="T32" fmla="*/ 156 w 1483"/>
                <a:gd name="T33" fmla="*/ 489 h 1266"/>
                <a:gd name="T34" fmla="*/ 47 w 1483"/>
                <a:gd name="T35" fmla="*/ 326 h 1266"/>
                <a:gd name="T36" fmla="*/ 0 w 1483"/>
                <a:gd name="T37" fmla="*/ 321 h 1266"/>
                <a:gd name="T38" fmla="*/ 106 w 1483"/>
                <a:gd name="T39" fmla="*/ 239 h 1266"/>
                <a:gd name="T40" fmla="*/ 210 w 1483"/>
                <a:gd name="T41" fmla="*/ 177 h 1266"/>
                <a:gd name="T42" fmla="*/ 172 w 1483"/>
                <a:gd name="T43" fmla="*/ 50 h 1266"/>
                <a:gd name="T44" fmla="*/ 408 w 1483"/>
                <a:gd name="T45" fmla="*/ 17 h 1266"/>
                <a:gd name="T46" fmla="*/ 718 w 1483"/>
                <a:gd name="T47" fmla="*/ 239 h 1266"/>
                <a:gd name="T48" fmla="*/ 928 w 1483"/>
                <a:gd name="T49" fmla="*/ 288 h 1266"/>
                <a:gd name="T50" fmla="*/ 987 w 1483"/>
                <a:gd name="T51" fmla="*/ 326 h 1266"/>
                <a:gd name="T52" fmla="*/ 1004 w 1483"/>
                <a:gd name="T53" fmla="*/ 345 h 1266"/>
                <a:gd name="T54" fmla="*/ 1034 w 1483"/>
                <a:gd name="T55" fmla="*/ 378 h 1266"/>
                <a:gd name="T56" fmla="*/ 1051 w 1483"/>
                <a:gd name="T57" fmla="*/ 387 h 1266"/>
                <a:gd name="T58" fmla="*/ 1089 w 1483"/>
                <a:gd name="T59" fmla="*/ 432 h 1266"/>
                <a:gd name="T60" fmla="*/ 1105 w 1483"/>
                <a:gd name="T61" fmla="*/ 461 h 1266"/>
                <a:gd name="T62" fmla="*/ 1089 w 1483"/>
                <a:gd name="T63" fmla="*/ 489 h 1266"/>
                <a:gd name="T64" fmla="*/ 1122 w 1483"/>
                <a:gd name="T65" fmla="*/ 531 h 1266"/>
                <a:gd name="T66" fmla="*/ 1143 w 1483"/>
                <a:gd name="T67" fmla="*/ 583 h 1266"/>
                <a:gd name="T68" fmla="*/ 1176 w 1483"/>
                <a:gd name="T69" fmla="*/ 588 h 1266"/>
                <a:gd name="T70" fmla="*/ 1186 w 1483"/>
                <a:gd name="T71" fmla="*/ 600 h 1266"/>
                <a:gd name="T72" fmla="*/ 1197 w 1483"/>
                <a:gd name="T73" fmla="*/ 626 h 1266"/>
                <a:gd name="T74" fmla="*/ 1450 w 1483"/>
                <a:gd name="T75" fmla="*/ 737 h 1266"/>
                <a:gd name="T76" fmla="*/ 1436 w 1483"/>
                <a:gd name="T77" fmla="*/ 938 h 1266"/>
                <a:gd name="T78" fmla="*/ 9 w 1483"/>
                <a:gd name="T79" fmla="*/ 333 h 1266"/>
                <a:gd name="T80" fmla="*/ 0 w 1483"/>
                <a:gd name="T81" fmla="*/ 326 h 1266"/>
                <a:gd name="T82" fmla="*/ 1051 w 1483"/>
                <a:gd name="T83" fmla="*/ 383 h 1266"/>
                <a:gd name="T84" fmla="*/ 1051 w 1483"/>
                <a:gd name="T85" fmla="*/ 383 h 1266"/>
                <a:gd name="T86" fmla="*/ 517 w 1483"/>
                <a:gd name="T87" fmla="*/ 1172 h 1266"/>
                <a:gd name="T88" fmla="*/ 517 w 1483"/>
                <a:gd name="T89" fmla="*/ 1172 h 1266"/>
                <a:gd name="T90" fmla="*/ 517 w 1483"/>
                <a:gd name="T91" fmla="*/ 1172 h 1266"/>
                <a:gd name="T92" fmla="*/ 512 w 1483"/>
                <a:gd name="T93" fmla="*/ 1181 h 1266"/>
                <a:gd name="T94" fmla="*/ 529 w 1483"/>
                <a:gd name="T95" fmla="*/ 1181 h 1266"/>
                <a:gd name="T96" fmla="*/ 534 w 1483"/>
                <a:gd name="T97" fmla="*/ 1200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3" h="1266">
                  <a:moveTo>
                    <a:pt x="1436" y="938"/>
                  </a:moveTo>
                  <a:lnTo>
                    <a:pt x="1230" y="1016"/>
                  </a:lnTo>
                  <a:lnTo>
                    <a:pt x="997" y="1070"/>
                  </a:lnTo>
                  <a:lnTo>
                    <a:pt x="824" y="1266"/>
                  </a:lnTo>
                  <a:lnTo>
                    <a:pt x="824" y="1193"/>
                  </a:lnTo>
                  <a:lnTo>
                    <a:pt x="694" y="1139"/>
                  </a:lnTo>
                  <a:lnTo>
                    <a:pt x="656" y="1143"/>
                  </a:lnTo>
                  <a:lnTo>
                    <a:pt x="635" y="1127"/>
                  </a:lnTo>
                  <a:lnTo>
                    <a:pt x="619" y="1127"/>
                  </a:lnTo>
                  <a:lnTo>
                    <a:pt x="609" y="1139"/>
                  </a:lnTo>
                  <a:lnTo>
                    <a:pt x="604" y="1172"/>
                  </a:lnTo>
                  <a:lnTo>
                    <a:pt x="609" y="1193"/>
                  </a:lnTo>
                  <a:lnTo>
                    <a:pt x="604" y="1193"/>
                  </a:lnTo>
                  <a:lnTo>
                    <a:pt x="593" y="1200"/>
                  </a:lnTo>
                  <a:lnTo>
                    <a:pt x="581" y="1209"/>
                  </a:lnTo>
                  <a:lnTo>
                    <a:pt x="581" y="1193"/>
                  </a:lnTo>
                  <a:lnTo>
                    <a:pt x="567" y="1176"/>
                  </a:lnTo>
                  <a:lnTo>
                    <a:pt x="567" y="1172"/>
                  </a:lnTo>
                  <a:lnTo>
                    <a:pt x="555" y="1155"/>
                  </a:lnTo>
                  <a:lnTo>
                    <a:pt x="550" y="1160"/>
                  </a:lnTo>
                  <a:lnTo>
                    <a:pt x="550" y="1127"/>
                  </a:lnTo>
                  <a:lnTo>
                    <a:pt x="500" y="1098"/>
                  </a:lnTo>
                  <a:lnTo>
                    <a:pt x="484" y="1061"/>
                  </a:lnTo>
                  <a:lnTo>
                    <a:pt x="475" y="1044"/>
                  </a:lnTo>
                  <a:lnTo>
                    <a:pt x="475" y="1028"/>
                  </a:lnTo>
                  <a:lnTo>
                    <a:pt x="463" y="1016"/>
                  </a:lnTo>
                  <a:lnTo>
                    <a:pt x="463" y="1011"/>
                  </a:lnTo>
                  <a:lnTo>
                    <a:pt x="458" y="1004"/>
                  </a:lnTo>
                  <a:lnTo>
                    <a:pt x="446" y="987"/>
                  </a:lnTo>
                  <a:lnTo>
                    <a:pt x="441" y="971"/>
                  </a:lnTo>
                  <a:lnTo>
                    <a:pt x="441" y="959"/>
                  </a:lnTo>
                  <a:lnTo>
                    <a:pt x="392" y="921"/>
                  </a:lnTo>
                  <a:lnTo>
                    <a:pt x="378" y="921"/>
                  </a:lnTo>
                  <a:lnTo>
                    <a:pt x="366" y="905"/>
                  </a:lnTo>
                  <a:lnTo>
                    <a:pt x="349" y="883"/>
                  </a:lnTo>
                  <a:lnTo>
                    <a:pt x="323" y="860"/>
                  </a:lnTo>
                  <a:lnTo>
                    <a:pt x="323" y="843"/>
                  </a:lnTo>
                  <a:lnTo>
                    <a:pt x="323" y="827"/>
                  </a:lnTo>
                  <a:lnTo>
                    <a:pt x="312" y="805"/>
                  </a:lnTo>
                  <a:lnTo>
                    <a:pt x="323" y="765"/>
                  </a:lnTo>
                  <a:lnTo>
                    <a:pt x="316" y="749"/>
                  </a:lnTo>
                  <a:lnTo>
                    <a:pt x="278" y="654"/>
                  </a:lnTo>
                  <a:lnTo>
                    <a:pt x="257" y="638"/>
                  </a:lnTo>
                  <a:lnTo>
                    <a:pt x="203" y="609"/>
                  </a:lnTo>
                  <a:lnTo>
                    <a:pt x="189" y="572"/>
                  </a:lnTo>
                  <a:lnTo>
                    <a:pt x="193" y="572"/>
                  </a:lnTo>
                  <a:lnTo>
                    <a:pt x="189" y="548"/>
                  </a:lnTo>
                  <a:lnTo>
                    <a:pt x="172" y="510"/>
                  </a:lnTo>
                  <a:lnTo>
                    <a:pt x="156" y="498"/>
                  </a:lnTo>
                  <a:lnTo>
                    <a:pt x="151" y="494"/>
                  </a:lnTo>
                  <a:lnTo>
                    <a:pt x="156" y="489"/>
                  </a:lnTo>
                  <a:lnTo>
                    <a:pt x="139" y="477"/>
                  </a:lnTo>
                  <a:lnTo>
                    <a:pt x="118" y="437"/>
                  </a:lnTo>
                  <a:lnTo>
                    <a:pt x="47" y="326"/>
                  </a:lnTo>
                  <a:lnTo>
                    <a:pt x="14" y="321"/>
                  </a:lnTo>
                  <a:lnTo>
                    <a:pt x="9" y="326"/>
                  </a:lnTo>
                  <a:lnTo>
                    <a:pt x="0" y="321"/>
                  </a:lnTo>
                  <a:lnTo>
                    <a:pt x="14" y="288"/>
                  </a:lnTo>
                  <a:lnTo>
                    <a:pt x="30" y="222"/>
                  </a:lnTo>
                  <a:lnTo>
                    <a:pt x="106" y="239"/>
                  </a:lnTo>
                  <a:lnTo>
                    <a:pt x="139" y="215"/>
                  </a:lnTo>
                  <a:lnTo>
                    <a:pt x="156" y="182"/>
                  </a:lnTo>
                  <a:lnTo>
                    <a:pt x="210" y="177"/>
                  </a:lnTo>
                  <a:lnTo>
                    <a:pt x="215" y="144"/>
                  </a:lnTo>
                  <a:lnTo>
                    <a:pt x="241" y="139"/>
                  </a:lnTo>
                  <a:lnTo>
                    <a:pt x="172" y="50"/>
                  </a:lnTo>
                  <a:lnTo>
                    <a:pt x="316" y="9"/>
                  </a:lnTo>
                  <a:lnTo>
                    <a:pt x="323" y="0"/>
                  </a:lnTo>
                  <a:lnTo>
                    <a:pt x="408" y="17"/>
                  </a:lnTo>
                  <a:lnTo>
                    <a:pt x="484" y="66"/>
                  </a:lnTo>
                  <a:lnTo>
                    <a:pt x="534" y="83"/>
                  </a:lnTo>
                  <a:lnTo>
                    <a:pt x="718" y="239"/>
                  </a:lnTo>
                  <a:lnTo>
                    <a:pt x="841" y="239"/>
                  </a:lnTo>
                  <a:lnTo>
                    <a:pt x="907" y="250"/>
                  </a:lnTo>
                  <a:lnTo>
                    <a:pt x="928" y="288"/>
                  </a:lnTo>
                  <a:lnTo>
                    <a:pt x="971" y="288"/>
                  </a:lnTo>
                  <a:lnTo>
                    <a:pt x="982" y="288"/>
                  </a:lnTo>
                  <a:lnTo>
                    <a:pt x="987" y="326"/>
                  </a:lnTo>
                  <a:lnTo>
                    <a:pt x="1004" y="345"/>
                  </a:lnTo>
                  <a:lnTo>
                    <a:pt x="1004" y="350"/>
                  </a:lnTo>
                  <a:lnTo>
                    <a:pt x="1004" y="345"/>
                  </a:lnTo>
                  <a:lnTo>
                    <a:pt x="1004" y="361"/>
                  </a:lnTo>
                  <a:lnTo>
                    <a:pt x="1034" y="366"/>
                  </a:lnTo>
                  <a:lnTo>
                    <a:pt x="1034" y="378"/>
                  </a:lnTo>
                  <a:lnTo>
                    <a:pt x="1025" y="378"/>
                  </a:lnTo>
                  <a:lnTo>
                    <a:pt x="1041" y="399"/>
                  </a:lnTo>
                  <a:lnTo>
                    <a:pt x="1051" y="387"/>
                  </a:lnTo>
                  <a:lnTo>
                    <a:pt x="1067" y="404"/>
                  </a:lnTo>
                  <a:lnTo>
                    <a:pt x="1096" y="437"/>
                  </a:lnTo>
                  <a:lnTo>
                    <a:pt x="1089" y="432"/>
                  </a:lnTo>
                  <a:lnTo>
                    <a:pt x="1089" y="444"/>
                  </a:lnTo>
                  <a:lnTo>
                    <a:pt x="1096" y="456"/>
                  </a:lnTo>
                  <a:lnTo>
                    <a:pt x="1105" y="461"/>
                  </a:lnTo>
                  <a:lnTo>
                    <a:pt x="1096" y="477"/>
                  </a:lnTo>
                  <a:lnTo>
                    <a:pt x="1089" y="472"/>
                  </a:lnTo>
                  <a:lnTo>
                    <a:pt x="1089" y="489"/>
                  </a:lnTo>
                  <a:lnTo>
                    <a:pt x="1105" y="515"/>
                  </a:lnTo>
                  <a:lnTo>
                    <a:pt x="1096" y="510"/>
                  </a:lnTo>
                  <a:lnTo>
                    <a:pt x="1122" y="531"/>
                  </a:lnTo>
                  <a:lnTo>
                    <a:pt x="1126" y="555"/>
                  </a:lnTo>
                  <a:lnTo>
                    <a:pt x="1143" y="583"/>
                  </a:lnTo>
                  <a:lnTo>
                    <a:pt x="1143" y="583"/>
                  </a:lnTo>
                  <a:lnTo>
                    <a:pt x="1148" y="600"/>
                  </a:lnTo>
                  <a:lnTo>
                    <a:pt x="1176" y="588"/>
                  </a:lnTo>
                  <a:lnTo>
                    <a:pt x="1176" y="588"/>
                  </a:lnTo>
                  <a:lnTo>
                    <a:pt x="1176" y="600"/>
                  </a:lnTo>
                  <a:lnTo>
                    <a:pt x="1181" y="588"/>
                  </a:lnTo>
                  <a:lnTo>
                    <a:pt x="1186" y="600"/>
                  </a:lnTo>
                  <a:lnTo>
                    <a:pt x="1176" y="609"/>
                  </a:lnTo>
                  <a:lnTo>
                    <a:pt x="1197" y="621"/>
                  </a:lnTo>
                  <a:lnTo>
                    <a:pt x="1197" y="626"/>
                  </a:lnTo>
                  <a:lnTo>
                    <a:pt x="1268" y="716"/>
                  </a:lnTo>
                  <a:lnTo>
                    <a:pt x="1445" y="737"/>
                  </a:lnTo>
                  <a:lnTo>
                    <a:pt x="1450" y="737"/>
                  </a:lnTo>
                  <a:lnTo>
                    <a:pt x="1483" y="789"/>
                  </a:lnTo>
                  <a:lnTo>
                    <a:pt x="1436" y="938"/>
                  </a:lnTo>
                  <a:lnTo>
                    <a:pt x="1436" y="938"/>
                  </a:lnTo>
                  <a:lnTo>
                    <a:pt x="1436" y="938"/>
                  </a:lnTo>
                  <a:close/>
                  <a:moveTo>
                    <a:pt x="0" y="326"/>
                  </a:moveTo>
                  <a:lnTo>
                    <a:pt x="9" y="333"/>
                  </a:lnTo>
                  <a:lnTo>
                    <a:pt x="0" y="333"/>
                  </a:lnTo>
                  <a:lnTo>
                    <a:pt x="0" y="326"/>
                  </a:lnTo>
                  <a:lnTo>
                    <a:pt x="0" y="326"/>
                  </a:lnTo>
                  <a:lnTo>
                    <a:pt x="0" y="326"/>
                  </a:lnTo>
                  <a:close/>
                  <a:moveTo>
                    <a:pt x="1051" y="383"/>
                  </a:moveTo>
                  <a:lnTo>
                    <a:pt x="1051" y="383"/>
                  </a:lnTo>
                  <a:lnTo>
                    <a:pt x="1058" y="383"/>
                  </a:lnTo>
                  <a:lnTo>
                    <a:pt x="1051" y="383"/>
                  </a:lnTo>
                  <a:lnTo>
                    <a:pt x="1051" y="383"/>
                  </a:lnTo>
                  <a:lnTo>
                    <a:pt x="1051" y="383"/>
                  </a:lnTo>
                  <a:close/>
                  <a:moveTo>
                    <a:pt x="517" y="1172"/>
                  </a:moveTo>
                  <a:lnTo>
                    <a:pt x="517" y="1172"/>
                  </a:lnTo>
                  <a:lnTo>
                    <a:pt x="529" y="1181"/>
                  </a:lnTo>
                  <a:lnTo>
                    <a:pt x="512" y="1176"/>
                  </a:lnTo>
                  <a:lnTo>
                    <a:pt x="517" y="1172"/>
                  </a:lnTo>
                  <a:lnTo>
                    <a:pt x="517" y="1172"/>
                  </a:lnTo>
                  <a:lnTo>
                    <a:pt x="517" y="1172"/>
                  </a:lnTo>
                  <a:lnTo>
                    <a:pt x="517" y="1172"/>
                  </a:lnTo>
                  <a:close/>
                  <a:moveTo>
                    <a:pt x="534" y="1200"/>
                  </a:moveTo>
                  <a:lnTo>
                    <a:pt x="534" y="1193"/>
                  </a:lnTo>
                  <a:lnTo>
                    <a:pt x="512" y="1181"/>
                  </a:lnTo>
                  <a:lnTo>
                    <a:pt x="512" y="1176"/>
                  </a:lnTo>
                  <a:lnTo>
                    <a:pt x="517" y="1181"/>
                  </a:lnTo>
                  <a:lnTo>
                    <a:pt x="529" y="1181"/>
                  </a:lnTo>
                  <a:lnTo>
                    <a:pt x="529" y="1181"/>
                  </a:lnTo>
                  <a:lnTo>
                    <a:pt x="534" y="1176"/>
                  </a:lnTo>
                  <a:lnTo>
                    <a:pt x="534" y="1200"/>
                  </a:lnTo>
                  <a:lnTo>
                    <a:pt x="534" y="1200"/>
                  </a:lnTo>
                  <a:lnTo>
                    <a:pt x="534" y="120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5" name="Freeform 546">
              <a:extLst>
                <a:ext uri="{FF2B5EF4-FFF2-40B4-BE49-F238E27FC236}">
                  <a16:creationId xmlns:a16="http://schemas.microsoft.com/office/drawing/2014/main" id="{1358B7B1-65A9-4056-90C5-2E68B70D70D2}"/>
                </a:ext>
              </a:extLst>
            </p:cNvPr>
            <p:cNvSpPr>
              <a:spLocks/>
            </p:cNvSpPr>
            <p:nvPr/>
          </p:nvSpPr>
          <p:spPr bwMode="gray">
            <a:xfrm>
              <a:off x="12448725" y="2915518"/>
              <a:ext cx="5237" cy="6873"/>
            </a:xfrm>
            <a:custGeom>
              <a:avLst/>
              <a:gdLst>
                <a:gd name="T0" fmla="*/ 5 w 16"/>
                <a:gd name="T1" fmla="*/ 0 h 21"/>
                <a:gd name="T2" fmla="*/ 5 w 16"/>
                <a:gd name="T3" fmla="*/ 4 h 21"/>
                <a:gd name="T4" fmla="*/ 5 w 16"/>
                <a:gd name="T5" fmla="*/ 4 h 21"/>
                <a:gd name="T6" fmla="*/ 16 w 16"/>
                <a:gd name="T7" fmla="*/ 21 h 21"/>
                <a:gd name="T8" fmla="*/ 5 w 16"/>
                <a:gd name="T9" fmla="*/ 21 h 21"/>
                <a:gd name="T10" fmla="*/ 0 w 16"/>
                <a:gd name="T11" fmla="*/ 0 h 21"/>
                <a:gd name="T12" fmla="*/ 5 w 16"/>
                <a:gd name="T13" fmla="*/ 0 h 21"/>
                <a:gd name="T14" fmla="*/ 5 w 16"/>
                <a:gd name="T15" fmla="*/ 0 h 21"/>
                <a:gd name="T16" fmla="*/ 5 w 16"/>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1">
                  <a:moveTo>
                    <a:pt x="5" y="0"/>
                  </a:moveTo>
                  <a:lnTo>
                    <a:pt x="5" y="4"/>
                  </a:lnTo>
                  <a:lnTo>
                    <a:pt x="5" y="4"/>
                  </a:lnTo>
                  <a:lnTo>
                    <a:pt x="16" y="21"/>
                  </a:lnTo>
                  <a:lnTo>
                    <a:pt x="5" y="21"/>
                  </a:lnTo>
                  <a:lnTo>
                    <a:pt x="0" y="0"/>
                  </a:lnTo>
                  <a:lnTo>
                    <a:pt x="5" y="0"/>
                  </a:lnTo>
                  <a:lnTo>
                    <a:pt x="5" y="0"/>
                  </a:lnTo>
                  <a:lnTo>
                    <a:pt x="5" y="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6" name="Freeform 547">
              <a:extLst>
                <a:ext uri="{FF2B5EF4-FFF2-40B4-BE49-F238E27FC236}">
                  <a16:creationId xmlns:a16="http://schemas.microsoft.com/office/drawing/2014/main" id="{EC338C28-C1AE-497B-9970-68DE66099BE2}"/>
                </a:ext>
              </a:extLst>
            </p:cNvPr>
            <p:cNvSpPr>
              <a:spLocks/>
            </p:cNvSpPr>
            <p:nvPr/>
          </p:nvSpPr>
          <p:spPr bwMode="gray">
            <a:xfrm>
              <a:off x="12302424" y="3700048"/>
              <a:ext cx="1636" cy="5564"/>
            </a:xfrm>
            <a:custGeom>
              <a:avLst/>
              <a:gdLst>
                <a:gd name="T0" fmla="*/ 5 w 5"/>
                <a:gd name="T1" fmla="*/ 17 h 17"/>
                <a:gd name="T2" fmla="*/ 0 w 5"/>
                <a:gd name="T3" fmla="*/ 0 h 17"/>
                <a:gd name="T4" fmla="*/ 5 w 5"/>
                <a:gd name="T5" fmla="*/ 0 h 17"/>
                <a:gd name="T6" fmla="*/ 5 w 5"/>
                <a:gd name="T7" fmla="*/ 17 h 17"/>
                <a:gd name="T8" fmla="*/ 5 w 5"/>
                <a:gd name="T9" fmla="*/ 17 h 17"/>
                <a:gd name="T10" fmla="*/ 5 w 5"/>
                <a:gd name="T11" fmla="*/ 17 h 17"/>
              </a:gdLst>
              <a:ahLst/>
              <a:cxnLst>
                <a:cxn ang="0">
                  <a:pos x="T0" y="T1"/>
                </a:cxn>
                <a:cxn ang="0">
                  <a:pos x="T2" y="T3"/>
                </a:cxn>
                <a:cxn ang="0">
                  <a:pos x="T4" y="T5"/>
                </a:cxn>
                <a:cxn ang="0">
                  <a:pos x="T6" y="T7"/>
                </a:cxn>
                <a:cxn ang="0">
                  <a:pos x="T8" y="T9"/>
                </a:cxn>
                <a:cxn ang="0">
                  <a:pos x="T10" y="T11"/>
                </a:cxn>
              </a:cxnLst>
              <a:rect l="0" t="0" r="r" b="b"/>
              <a:pathLst>
                <a:path w="5" h="17">
                  <a:moveTo>
                    <a:pt x="5" y="17"/>
                  </a:moveTo>
                  <a:lnTo>
                    <a:pt x="0" y="0"/>
                  </a:lnTo>
                  <a:lnTo>
                    <a:pt x="5" y="0"/>
                  </a:lnTo>
                  <a:lnTo>
                    <a:pt x="5" y="17"/>
                  </a:lnTo>
                  <a:lnTo>
                    <a:pt x="5" y="17"/>
                  </a:lnTo>
                  <a:lnTo>
                    <a:pt x="5" y="1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7" name="Freeform 548">
              <a:extLst>
                <a:ext uri="{FF2B5EF4-FFF2-40B4-BE49-F238E27FC236}">
                  <a16:creationId xmlns:a16="http://schemas.microsoft.com/office/drawing/2014/main" id="{3DF9AA38-96FB-4CDA-95CF-7F6C014AADC8}"/>
                </a:ext>
              </a:extLst>
            </p:cNvPr>
            <p:cNvSpPr>
              <a:spLocks noEditPoints="1"/>
            </p:cNvSpPr>
            <p:nvPr/>
          </p:nvSpPr>
          <p:spPr bwMode="gray">
            <a:xfrm>
              <a:off x="14805261" y="4221105"/>
              <a:ext cx="214052" cy="116845"/>
            </a:xfrm>
            <a:custGeom>
              <a:avLst/>
              <a:gdLst>
                <a:gd name="T0" fmla="*/ 654 w 654"/>
                <a:gd name="T1" fmla="*/ 17 h 357"/>
                <a:gd name="T2" fmla="*/ 638 w 654"/>
                <a:gd name="T3" fmla="*/ 12 h 357"/>
                <a:gd name="T4" fmla="*/ 647 w 654"/>
                <a:gd name="T5" fmla="*/ 0 h 357"/>
                <a:gd name="T6" fmla="*/ 654 w 654"/>
                <a:gd name="T7" fmla="*/ 17 h 357"/>
                <a:gd name="T8" fmla="*/ 654 w 654"/>
                <a:gd name="T9" fmla="*/ 17 h 357"/>
                <a:gd name="T10" fmla="*/ 654 w 654"/>
                <a:gd name="T11" fmla="*/ 17 h 357"/>
                <a:gd name="T12" fmla="*/ 7 w 654"/>
                <a:gd name="T13" fmla="*/ 357 h 357"/>
                <a:gd name="T14" fmla="*/ 0 w 654"/>
                <a:gd name="T15" fmla="*/ 352 h 357"/>
                <a:gd name="T16" fmla="*/ 23 w 654"/>
                <a:gd name="T17" fmla="*/ 352 h 357"/>
                <a:gd name="T18" fmla="*/ 7 w 654"/>
                <a:gd name="T19" fmla="*/ 357 h 357"/>
                <a:gd name="T20" fmla="*/ 7 w 654"/>
                <a:gd name="T21" fmla="*/ 357 h 357"/>
                <a:gd name="T22" fmla="*/ 7 w 654"/>
                <a:gd name="T23"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4" h="357">
                  <a:moveTo>
                    <a:pt x="654" y="17"/>
                  </a:moveTo>
                  <a:lnTo>
                    <a:pt x="638" y="12"/>
                  </a:lnTo>
                  <a:lnTo>
                    <a:pt x="647" y="0"/>
                  </a:lnTo>
                  <a:lnTo>
                    <a:pt x="654" y="17"/>
                  </a:lnTo>
                  <a:lnTo>
                    <a:pt x="654" y="17"/>
                  </a:lnTo>
                  <a:lnTo>
                    <a:pt x="654" y="17"/>
                  </a:lnTo>
                  <a:close/>
                  <a:moveTo>
                    <a:pt x="7" y="357"/>
                  </a:moveTo>
                  <a:lnTo>
                    <a:pt x="0" y="352"/>
                  </a:lnTo>
                  <a:lnTo>
                    <a:pt x="23" y="352"/>
                  </a:lnTo>
                  <a:lnTo>
                    <a:pt x="7" y="357"/>
                  </a:lnTo>
                  <a:lnTo>
                    <a:pt x="7" y="357"/>
                  </a:lnTo>
                  <a:lnTo>
                    <a:pt x="7" y="35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8" name="Freeform 549">
              <a:extLst>
                <a:ext uri="{FF2B5EF4-FFF2-40B4-BE49-F238E27FC236}">
                  <a16:creationId xmlns:a16="http://schemas.microsoft.com/office/drawing/2014/main" id="{C3FAAA63-618A-4456-A5A2-729B65C9EB6C}"/>
                </a:ext>
              </a:extLst>
            </p:cNvPr>
            <p:cNvSpPr>
              <a:spLocks noEditPoints="1"/>
            </p:cNvSpPr>
            <p:nvPr/>
          </p:nvSpPr>
          <p:spPr bwMode="gray">
            <a:xfrm>
              <a:off x="14075390" y="4643972"/>
              <a:ext cx="538076" cy="665721"/>
            </a:xfrm>
            <a:custGeom>
              <a:avLst/>
              <a:gdLst>
                <a:gd name="T0" fmla="*/ 449 w 1644"/>
                <a:gd name="T1" fmla="*/ 289 h 2034"/>
                <a:gd name="T2" fmla="*/ 437 w 1644"/>
                <a:gd name="T3" fmla="*/ 355 h 2034"/>
                <a:gd name="T4" fmla="*/ 534 w 1644"/>
                <a:gd name="T5" fmla="*/ 350 h 2034"/>
                <a:gd name="T6" fmla="*/ 588 w 1644"/>
                <a:gd name="T7" fmla="*/ 260 h 2034"/>
                <a:gd name="T8" fmla="*/ 664 w 1644"/>
                <a:gd name="T9" fmla="*/ 272 h 2034"/>
                <a:gd name="T10" fmla="*/ 718 w 1644"/>
                <a:gd name="T11" fmla="*/ 289 h 2034"/>
                <a:gd name="T12" fmla="*/ 805 w 1644"/>
                <a:gd name="T13" fmla="*/ 199 h 2034"/>
                <a:gd name="T14" fmla="*/ 881 w 1644"/>
                <a:gd name="T15" fmla="*/ 123 h 2034"/>
                <a:gd name="T16" fmla="*/ 923 w 1644"/>
                <a:gd name="T17" fmla="*/ 90 h 2034"/>
                <a:gd name="T18" fmla="*/ 1020 w 1644"/>
                <a:gd name="T19" fmla="*/ 22 h 2034"/>
                <a:gd name="T20" fmla="*/ 1075 w 1644"/>
                <a:gd name="T21" fmla="*/ 0 h 2034"/>
                <a:gd name="T22" fmla="*/ 1188 w 1644"/>
                <a:gd name="T23" fmla="*/ 22 h 2034"/>
                <a:gd name="T24" fmla="*/ 1226 w 1644"/>
                <a:gd name="T25" fmla="*/ 144 h 2034"/>
                <a:gd name="T26" fmla="*/ 1226 w 1644"/>
                <a:gd name="T27" fmla="*/ 293 h 2034"/>
                <a:gd name="T28" fmla="*/ 1171 w 1644"/>
                <a:gd name="T29" fmla="*/ 293 h 2034"/>
                <a:gd name="T30" fmla="*/ 1157 w 1644"/>
                <a:gd name="T31" fmla="*/ 355 h 2034"/>
                <a:gd name="T32" fmla="*/ 1238 w 1644"/>
                <a:gd name="T33" fmla="*/ 400 h 2034"/>
                <a:gd name="T34" fmla="*/ 1297 w 1644"/>
                <a:gd name="T35" fmla="*/ 366 h 2034"/>
                <a:gd name="T36" fmla="*/ 1221 w 1644"/>
                <a:gd name="T37" fmla="*/ 522 h 2034"/>
                <a:gd name="T38" fmla="*/ 1167 w 1644"/>
                <a:gd name="T39" fmla="*/ 605 h 2034"/>
                <a:gd name="T40" fmla="*/ 990 w 1644"/>
                <a:gd name="T41" fmla="*/ 815 h 2034"/>
                <a:gd name="T42" fmla="*/ 848 w 1644"/>
                <a:gd name="T43" fmla="*/ 910 h 2034"/>
                <a:gd name="T44" fmla="*/ 794 w 1644"/>
                <a:gd name="T45" fmla="*/ 926 h 2034"/>
                <a:gd name="T46" fmla="*/ 734 w 1644"/>
                <a:gd name="T47" fmla="*/ 943 h 2034"/>
                <a:gd name="T48" fmla="*/ 626 w 1644"/>
                <a:gd name="T49" fmla="*/ 938 h 2034"/>
                <a:gd name="T50" fmla="*/ 517 w 1644"/>
                <a:gd name="T51" fmla="*/ 959 h 2034"/>
                <a:gd name="T52" fmla="*/ 453 w 1644"/>
                <a:gd name="T53" fmla="*/ 959 h 2034"/>
                <a:gd name="T54" fmla="*/ 394 w 1644"/>
                <a:gd name="T55" fmla="*/ 992 h 2034"/>
                <a:gd name="T56" fmla="*/ 345 w 1644"/>
                <a:gd name="T57" fmla="*/ 964 h 2034"/>
                <a:gd name="T58" fmla="*/ 307 w 1644"/>
                <a:gd name="T59" fmla="*/ 943 h 2034"/>
                <a:gd name="T60" fmla="*/ 286 w 1644"/>
                <a:gd name="T61" fmla="*/ 959 h 2034"/>
                <a:gd name="T62" fmla="*/ 286 w 1644"/>
                <a:gd name="T63" fmla="*/ 922 h 2034"/>
                <a:gd name="T64" fmla="*/ 248 w 1644"/>
                <a:gd name="T65" fmla="*/ 848 h 2034"/>
                <a:gd name="T66" fmla="*/ 260 w 1644"/>
                <a:gd name="T67" fmla="*/ 832 h 2034"/>
                <a:gd name="T68" fmla="*/ 269 w 1644"/>
                <a:gd name="T69" fmla="*/ 759 h 2034"/>
                <a:gd name="T70" fmla="*/ 151 w 1644"/>
                <a:gd name="T71" fmla="*/ 522 h 2034"/>
                <a:gd name="T72" fmla="*/ 168 w 1644"/>
                <a:gd name="T73" fmla="*/ 461 h 2034"/>
                <a:gd name="T74" fmla="*/ 205 w 1644"/>
                <a:gd name="T75" fmla="*/ 466 h 2034"/>
                <a:gd name="T76" fmla="*/ 222 w 1644"/>
                <a:gd name="T77" fmla="*/ 515 h 2034"/>
                <a:gd name="T78" fmla="*/ 302 w 1644"/>
                <a:gd name="T79" fmla="*/ 515 h 2034"/>
                <a:gd name="T80" fmla="*/ 340 w 1644"/>
                <a:gd name="T81" fmla="*/ 511 h 2034"/>
                <a:gd name="T82" fmla="*/ 394 w 1644"/>
                <a:gd name="T83" fmla="*/ 482 h 2034"/>
                <a:gd name="T84" fmla="*/ 394 w 1644"/>
                <a:gd name="T85" fmla="*/ 199 h 2034"/>
                <a:gd name="T86" fmla="*/ 966 w 1644"/>
                <a:gd name="T87" fmla="*/ 511 h 2034"/>
                <a:gd name="T88" fmla="*/ 886 w 1644"/>
                <a:gd name="T89" fmla="*/ 577 h 2034"/>
                <a:gd name="T90" fmla="*/ 935 w 1644"/>
                <a:gd name="T91" fmla="*/ 659 h 2034"/>
                <a:gd name="T92" fmla="*/ 1011 w 1644"/>
                <a:gd name="T93" fmla="*/ 622 h 2034"/>
                <a:gd name="T94" fmla="*/ 1042 w 1644"/>
                <a:gd name="T95" fmla="*/ 577 h 2034"/>
                <a:gd name="T96" fmla="*/ 1049 w 1644"/>
                <a:gd name="T97" fmla="*/ 539 h 2034"/>
                <a:gd name="T98" fmla="*/ 1011 w 1644"/>
                <a:gd name="T99" fmla="*/ 511 h 2034"/>
                <a:gd name="T100" fmla="*/ 21 w 1644"/>
                <a:gd name="T101" fmla="*/ 78 h 2034"/>
                <a:gd name="T102" fmla="*/ 0 w 1644"/>
                <a:gd name="T103" fmla="*/ 55 h 2034"/>
                <a:gd name="T104" fmla="*/ 5 w 1644"/>
                <a:gd name="T105" fmla="*/ 38 h 2034"/>
                <a:gd name="T106" fmla="*/ 1644 w 1644"/>
                <a:gd name="T107" fmla="*/ 2034 h 2034"/>
                <a:gd name="T108" fmla="*/ 1644 w 1644"/>
                <a:gd name="T109" fmla="*/ 2029 h 2034"/>
                <a:gd name="T110" fmla="*/ 1644 w 1644"/>
                <a:gd name="T111" fmla="*/ 2034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44" h="2034">
                  <a:moveTo>
                    <a:pt x="394" y="199"/>
                  </a:moveTo>
                  <a:lnTo>
                    <a:pt x="416" y="222"/>
                  </a:lnTo>
                  <a:lnTo>
                    <a:pt x="449" y="289"/>
                  </a:lnTo>
                  <a:lnTo>
                    <a:pt x="453" y="310"/>
                  </a:lnTo>
                  <a:lnTo>
                    <a:pt x="432" y="333"/>
                  </a:lnTo>
                  <a:lnTo>
                    <a:pt x="437" y="355"/>
                  </a:lnTo>
                  <a:lnTo>
                    <a:pt x="508" y="366"/>
                  </a:lnTo>
                  <a:lnTo>
                    <a:pt x="517" y="350"/>
                  </a:lnTo>
                  <a:lnTo>
                    <a:pt x="534" y="350"/>
                  </a:lnTo>
                  <a:lnTo>
                    <a:pt x="546" y="326"/>
                  </a:lnTo>
                  <a:lnTo>
                    <a:pt x="579" y="300"/>
                  </a:lnTo>
                  <a:lnTo>
                    <a:pt x="588" y="260"/>
                  </a:lnTo>
                  <a:lnTo>
                    <a:pt x="600" y="244"/>
                  </a:lnTo>
                  <a:lnTo>
                    <a:pt x="633" y="239"/>
                  </a:lnTo>
                  <a:lnTo>
                    <a:pt x="664" y="272"/>
                  </a:lnTo>
                  <a:lnTo>
                    <a:pt x="685" y="272"/>
                  </a:lnTo>
                  <a:lnTo>
                    <a:pt x="697" y="277"/>
                  </a:lnTo>
                  <a:lnTo>
                    <a:pt x="718" y="289"/>
                  </a:lnTo>
                  <a:lnTo>
                    <a:pt x="777" y="272"/>
                  </a:lnTo>
                  <a:lnTo>
                    <a:pt x="789" y="255"/>
                  </a:lnTo>
                  <a:lnTo>
                    <a:pt x="805" y="199"/>
                  </a:lnTo>
                  <a:lnTo>
                    <a:pt x="843" y="189"/>
                  </a:lnTo>
                  <a:lnTo>
                    <a:pt x="869" y="166"/>
                  </a:lnTo>
                  <a:lnTo>
                    <a:pt x="881" y="123"/>
                  </a:lnTo>
                  <a:lnTo>
                    <a:pt x="914" y="95"/>
                  </a:lnTo>
                  <a:lnTo>
                    <a:pt x="919" y="95"/>
                  </a:lnTo>
                  <a:lnTo>
                    <a:pt x="923" y="90"/>
                  </a:lnTo>
                  <a:lnTo>
                    <a:pt x="952" y="74"/>
                  </a:lnTo>
                  <a:lnTo>
                    <a:pt x="973" y="38"/>
                  </a:lnTo>
                  <a:lnTo>
                    <a:pt x="1020" y="22"/>
                  </a:lnTo>
                  <a:lnTo>
                    <a:pt x="1027" y="12"/>
                  </a:lnTo>
                  <a:lnTo>
                    <a:pt x="1049" y="12"/>
                  </a:lnTo>
                  <a:lnTo>
                    <a:pt x="1075" y="0"/>
                  </a:lnTo>
                  <a:lnTo>
                    <a:pt x="1120" y="17"/>
                  </a:lnTo>
                  <a:lnTo>
                    <a:pt x="1157" y="17"/>
                  </a:lnTo>
                  <a:lnTo>
                    <a:pt x="1188" y="22"/>
                  </a:lnTo>
                  <a:lnTo>
                    <a:pt x="1205" y="78"/>
                  </a:lnTo>
                  <a:lnTo>
                    <a:pt x="1205" y="107"/>
                  </a:lnTo>
                  <a:lnTo>
                    <a:pt x="1226" y="144"/>
                  </a:lnTo>
                  <a:lnTo>
                    <a:pt x="1238" y="178"/>
                  </a:lnTo>
                  <a:lnTo>
                    <a:pt x="1238" y="293"/>
                  </a:lnTo>
                  <a:lnTo>
                    <a:pt x="1226" y="293"/>
                  </a:lnTo>
                  <a:lnTo>
                    <a:pt x="1195" y="277"/>
                  </a:lnTo>
                  <a:lnTo>
                    <a:pt x="1188" y="277"/>
                  </a:lnTo>
                  <a:lnTo>
                    <a:pt x="1171" y="293"/>
                  </a:lnTo>
                  <a:lnTo>
                    <a:pt x="1150" y="326"/>
                  </a:lnTo>
                  <a:lnTo>
                    <a:pt x="1150" y="355"/>
                  </a:lnTo>
                  <a:lnTo>
                    <a:pt x="1157" y="355"/>
                  </a:lnTo>
                  <a:lnTo>
                    <a:pt x="1171" y="388"/>
                  </a:lnTo>
                  <a:lnTo>
                    <a:pt x="1205" y="400"/>
                  </a:lnTo>
                  <a:lnTo>
                    <a:pt x="1238" y="400"/>
                  </a:lnTo>
                  <a:lnTo>
                    <a:pt x="1238" y="355"/>
                  </a:lnTo>
                  <a:lnTo>
                    <a:pt x="1242" y="366"/>
                  </a:lnTo>
                  <a:lnTo>
                    <a:pt x="1297" y="366"/>
                  </a:lnTo>
                  <a:lnTo>
                    <a:pt x="1259" y="494"/>
                  </a:lnTo>
                  <a:lnTo>
                    <a:pt x="1238" y="522"/>
                  </a:lnTo>
                  <a:lnTo>
                    <a:pt x="1221" y="522"/>
                  </a:lnTo>
                  <a:lnTo>
                    <a:pt x="1188" y="565"/>
                  </a:lnTo>
                  <a:lnTo>
                    <a:pt x="1167" y="605"/>
                  </a:lnTo>
                  <a:lnTo>
                    <a:pt x="1167" y="605"/>
                  </a:lnTo>
                  <a:lnTo>
                    <a:pt x="1096" y="716"/>
                  </a:lnTo>
                  <a:lnTo>
                    <a:pt x="1049" y="742"/>
                  </a:lnTo>
                  <a:lnTo>
                    <a:pt x="990" y="815"/>
                  </a:lnTo>
                  <a:lnTo>
                    <a:pt x="952" y="848"/>
                  </a:lnTo>
                  <a:lnTo>
                    <a:pt x="886" y="886"/>
                  </a:lnTo>
                  <a:lnTo>
                    <a:pt x="848" y="910"/>
                  </a:lnTo>
                  <a:lnTo>
                    <a:pt x="794" y="910"/>
                  </a:lnTo>
                  <a:lnTo>
                    <a:pt x="789" y="922"/>
                  </a:lnTo>
                  <a:lnTo>
                    <a:pt x="794" y="926"/>
                  </a:lnTo>
                  <a:lnTo>
                    <a:pt x="739" y="926"/>
                  </a:lnTo>
                  <a:lnTo>
                    <a:pt x="739" y="926"/>
                  </a:lnTo>
                  <a:lnTo>
                    <a:pt x="734" y="943"/>
                  </a:lnTo>
                  <a:lnTo>
                    <a:pt x="647" y="926"/>
                  </a:lnTo>
                  <a:lnTo>
                    <a:pt x="633" y="926"/>
                  </a:lnTo>
                  <a:lnTo>
                    <a:pt x="626" y="938"/>
                  </a:lnTo>
                  <a:lnTo>
                    <a:pt x="572" y="926"/>
                  </a:lnTo>
                  <a:lnTo>
                    <a:pt x="541" y="938"/>
                  </a:lnTo>
                  <a:lnTo>
                    <a:pt x="517" y="959"/>
                  </a:lnTo>
                  <a:lnTo>
                    <a:pt x="503" y="959"/>
                  </a:lnTo>
                  <a:lnTo>
                    <a:pt x="486" y="959"/>
                  </a:lnTo>
                  <a:lnTo>
                    <a:pt x="453" y="959"/>
                  </a:lnTo>
                  <a:lnTo>
                    <a:pt x="449" y="964"/>
                  </a:lnTo>
                  <a:lnTo>
                    <a:pt x="427" y="964"/>
                  </a:lnTo>
                  <a:lnTo>
                    <a:pt x="394" y="992"/>
                  </a:lnTo>
                  <a:lnTo>
                    <a:pt x="373" y="992"/>
                  </a:lnTo>
                  <a:lnTo>
                    <a:pt x="345" y="976"/>
                  </a:lnTo>
                  <a:lnTo>
                    <a:pt x="345" y="964"/>
                  </a:lnTo>
                  <a:lnTo>
                    <a:pt x="340" y="959"/>
                  </a:lnTo>
                  <a:lnTo>
                    <a:pt x="307" y="959"/>
                  </a:lnTo>
                  <a:lnTo>
                    <a:pt x="307" y="943"/>
                  </a:lnTo>
                  <a:lnTo>
                    <a:pt x="307" y="938"/>
                  </a:lnTo>
                  <a:lnTo>
                    <a:pt x="286" y="938"/>
                  </a:lnTo>
                  <a:lnTo>
                    <a:pt x="286" y="959"/>
                  </a:lnTo>
                  <a:lnTo>
                    <a:pt x="274" y="955"/>
                  </a:lnTo>
                  <a:lnTo>
                    <a:pt x="269" y="926"/>
                  </a:lnTo>
                  <a:lnTo>
                    <a:pt x="286" y="922"/>
                  </a:lnTo>
                  <a:lnTo>
                    <a:pt x="286" y="903"/>
                  </a:lnTo>
                  <a:lnTo>
                    <a:pt x="253" y="848"/>
                  </a:lnTo>
                  <a:lnTo>
                    <a:pt x="248" y="848"/>
                  </a:lnTo>
                  <a:lnTo>
                    <a:pt x="236" y="832"/>
                  </a:lnTo>
                  <a:lnTo>
                    <a:pt x="253" y="827"/>
                  </a:lnTo>
                  <a:lnTo>
                    <a:pt x="260" y="832"/>
                  </a:lnTo>
                  <a:lnTo>
                    <a:pt x="269" y="815"/>
                  </a:lnTo>
                  <a:lnTo>
                    <a:pt x="274" y="794"/>
                  </a:lnTo>
                  <a:lnTo>
                    <a:pt x="269" y="759"/>
                  </a:lnTo>
                  <a:lnTo>
                    <a:pt x="198" y="631"/>
                  </a:lnTo>
                  <a:lnTo>
                    <a:pt x="168" y="539"/>
                  </a:lnTo>
                  <a:lnTo>
                    <a:pt x="151" y="522"/>
                  </a:lnTo>
                  <a:lnTo>
                    <a:pt x="146" y="499"/>
                  </a:lnTo>
                  <a:lnTo>
                    <a:pt x="160" y="494"/>
                  </a:lnTo>
                  <a:lnTo>
                    <a:pt x="168" y="461"/>
                  </a:lnTo>
                  <a:lnTo>
                    <a:pt x="184" y="454"/>
                  </a:lnTo>
                  <a:lnTo>
                    <a:pt x="198" y="466"/>
                  </a:lnTo>
                  <a:lnTo>
                    <a:pt x="205" y="466"/>
                  </a:lnTo>
                  <a:lnTo>
                    <a:pt x="205" y="511"/>
                  </a:lnTo>
                  <a:lnTo>
                    <a:pt x="222" y="511"/>
                  </a:lnTo>
                  <a:lnTo>
                    <a:pt x="222" y="515"/>
                  </a:lnTo>
                  <a:lnTo>
                    <a:pt x="248" y="515"/>
                  </a:lnTo>
                  <a:lnTo>
                    <a:pt x="260" y="522"/>
                  </a:lnTo>
                  <a:lnTo>
                    <a:pt x="302" y="515"/>
                  </a:lnTo>
                  <a:lnTo>
                    <a:pt x="328" y="522"/>
                  </a:lnTo>
                  <a:lnTo>
                    <a:pt x="340" y="522"/>
                  </a:lnTo>
                  <a:lnTo>
                    <a:pt x="340" y="511"/>
                  </a:lnTo>
                  <a:lnTo>
                    <a:pt x="357" y="511"/>
                  </a:lnTo>
                  <a:lnTo>
                    <a:pt x="361" y="494"/>
                  </a:lnTo>
                  <a:lnTo>
                    <a:pt x="394" y="482"/>
                  </a:lnTo>
                  <a:lnTo>
                    <a:pt x="394" y="199"/>
                  </a:lnTo>
                  <a:lnTo>
                    <a:pt x="394" y="199"/>
                  </a:lnTo>
                  <a:lnTo>
                    <a:pt x="394" y="199"/>
                  </a:lnTo>
                  <a:close/>
                  <a:moveTo>
                    <a:pt x="1011" y="511"/>
                  </a:moveTo>
                  <a:lnTo>
                    <a:pt x="994" y="499"/>
                  </a:lnTo>
                  <a:lnTo>
                    <a:pt x="966" y="511"/>
                  </a:lnTo>
                  <a:lnTo>
                    <a:pt x="923" y="532"/>
                  </a:lnTo>
                  <a:lnTo>
                    <a:pt x="902" y="572"/>
                  </a:lnTo>
                  <a:lnTo>
                    <a:pt x="886" y="577"/>
                  </a:lnTo>
                  <a:lnTo>
                    <a:pt x="902" y="610"/>
                  </a:lnTo>
                  <a:lnTo>
                    <a:pt x="914" y="631"/>
                  </a:lnTo>
                  <a:lnTo>
                    <a:pt x="935" y="659"/>
                  </a:lnTo>
                  <a:lnTo>
                    <a:pt x="957" y="659"/>
                  </a:lnTo>
                  <a:lnTo>
                    <a:pt x="978" y="622"/>
                  </a:lnTo>
                  <a:lnTo>
                    <a:pt x="1011" y="622"/>
                  </a:lnTo>
                  <a:lnTo>
                    <a:pt x="1032" y="605"/>
                  </a:lnTo>
                  <a:lnTo>
                    <a:pt x="1032" y="577"/>
                  </a:lnTo>
                  <a:lnTo>
                    <a:pt x="1042" y="577"/>
                  </a:lnTo>
                  <a:lnTo>
                    <a:pt x="1042" y="572"/>
                  </a:lnTo>
                  <a:lnTo>
                    <a:pt x="1058" y="555"/>
                  </a:lnTo>
                  <a:lnTo>
                    <a:pt x="1049" y="539"/>
                  </a:lnTo>
                  <a:lnTo>
                    <a:pt x="1011" y="511"/>
                  </a:lnTo>
                  <a:lnTo>
                    <a:pt x="1011" y="511"/>
                  </a:lnTo>
                  <a:lnTo>
                    <a:pt x="1011" y="511"/>
                  </a:lnTo>
                  <a:close/>
                  <a:moveTo>
                    <a:pt x="5" y="38"/>
                  </a:moveTo>
                  <a:lnTo>
                    <a:pt x="16" y="38"/>
                  </a:lnTo>
                  <a:lnTo>
                    <a:pt x="21" y="78"/>
                  </a:lnTo>
                  <a:lnTo>
                    <a:pt x="0" y="78"/>
                  </a:lnTo>
                  <a:lnTo>
                    <a:pt x="0" y="66"/>
                  </a:lnTo>
                  <a:lnTo>
                    <a:pt x="0" y="55"/>
                  </a:lnTo>
                  <a:lnTo>
                    <a:pt x="0" y="66"/>
                  </a:lnTo>
                  <a:lnTo>
                    <a:pt x="5" y="66"/>
                  </a:lnTo>
                  <a:lnTo>
                    <a:pt x="5" y="38"/>
                  </a:lnTo>
                  <a:lnTo>
                    <a:pt x="5" y="38"/>
                  </a:lnTo>
                  <a:lnTo>
                    <a:pt x="5" y="38"/>
                  </a:lnTo>
                  <a:close/>
                  <a:moveTo>
                    <a:pt x="1644" y="2034"/>
                  </a:moveTo>
                  <a:lnTo>
                    <a:pt x="1627" y="2029"/>
                  </a:lnTo>
                  <a:lnTo>
                    <a:pt x="1637" y="2022"/>
                  </a:lnTo>
                  <a:lnTo>
                    <a:pt x="1644" y="2029"/>
                  </a:lnTo>
                  <a:lnTo>
                    <a:pt x="1644" y="2034"/>
                  </a:lnTo>
                  <a:lnTo>
                    <a:pt x="1644" y="2034"/>
                  </a:lnTo>
                  <a:lnTo>
                    <a:pt x="1644" y="2034"/>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9" name="Freeform 550">
              <a:extLst>
                <a:ext uri="{FF2B5EF4-FFF2-40B4-BE49-F238E27FC236}">
                  <a16:creationId xmlns:a16="http://schemas.microsoft.com/office/drawing/2014/main" id="{EE486636-A499-44C4-98E7-0CB4C85CF1EC}"/>
                </a:ext>
              </a:extLst>
            </p:cNvPr>
            <p:cNvSpPr>
              <a:spLocks/>
            </p:cNvSpPr>
            <p:nvPr/>
          </p:nvSpPr>
          <p:spPr bwMode="gray">
            <a:xfrm>
              <a:off x="13343227" y="3715431"/>
              <a:ext cx="142374" cy="106699"/>
            </a:xfrm>
            <a:custGeom>
              <a:avLst/>
              <a:gdLst>
                <a:gd name="T0" fmla="*/ 163 w 435"/>
                <a:gd name="T1" fmla="*/ 305 h 326"/>
                <a:gd name="T2" fmla="*/ 92 w 435"/>
                <a:gd name="T3" fmla="*/ 322 h 326"/>
                <a:gd name="T4" fmla="*/ 45 w 435"/>
                <a:gd name="T5" fmla="*/ 322 h 326"/>
                <a:gd name="T6" fmla="*/ 75 w 435"/>
                <a:gd name="T7" fmla="*/ 310 h 326"/>
                <a:gd name="T8" fmla="*/ 130 w 435"/>
                <a:gd name="T9" fmla="*/ 310 h 326"/>
                <a:gd name="T10" fmla="*/ 137 w 435"/>
                <a:gd name="T11" fmla="*/ 293 h 326"/>
                <a:gd name="T12" fmla="*/ 137 w 435"/>
                <a:gd name="T13" fmla="*/ 293 h 326"/>
                <a:gd name="T14" fmla="*/ 130 w 435"/>
                <a:gd name="T15" fmla="*/ 310 h 326"/>
                <a:gd name="T16" fmla="*/ 99 w 435"/>
                <a:gd name="T17" fmla="*/ 293 h 326"/>
                <a:gd name="T18" fmla="*/ 75 w 435"/>
                <a:gd name="T19" fmla="*/ 310 h 326"/>
                <a:gd name="T20" fmla="*/ 59 w 435"/>
                <a:gd name="T21" fmla="*/ 293 h 326"/>
                <a:gd name="T22" fmla="*/ 54 w 435"/>
                <a:gd name="T23" fmla="*/ 272 h 326"/>
                <a:gd name="T24" fmla="*/ 113 w 435"/>
                <a:gd name="T25" fmla="*/ 267 h 326"/>
                <a:gd name="T26" fmla="*/ 151 w 435"/>
                <a:gd name="T27" fmla="*/ 251 h 326"/>
                <a:gd name="T28" fmla="*/ 222 w 435"/>
                <a:gd name="T29" fmla="*/ 267 h 326"/>
                <a:gd name="T30" fmla="*/ 260 w 435"/>
                <a:gd name="T31" fmla="*/ 251 h 326"/>
                <a:gd name="T32" fmla="*/ 222 w 435"/>
                <a:gd name="T33" fmla="*/ 251 h 326"/>
                <a:gd name="T34" fmla="*/ 191 w 435"/>
                <a:gd name="T35" fmla="*/ 232 h 326"/>
                <a:gd name="T36" fmla="*/ 168 w 435"/>
                <a:gd name="T37" fmla="*/ 215 h 326"/>
                <a:gd name="T38" fmla="*/ 137 w 435"/>
                <a:gd name="T39" fmla="*/ 232 h 326"/>
                <a:gd name="T40" fmla="*/ 59 w 435"/>
                <a:gd name="T41" fmla="*/ 222 h 326"/>
                <a:gd name="T42" fmla="*/ 54 w 435"/>
                <a:gd name="T43" fmla="*/ 222 h 326"/>
                <a:gd name="T44" fmla="*/ 75 w 435"/>
                <a:gd name="T45" fmla="*/ 194 h 326"/>
                <a:gd name="T46" fmla="*/ 59 w 435"/>
                <a:gd name="T47" fmla="*/ 199 h 326"/>
                <a:gd name="T48" fmla="*/ 21 w 435"/>
                <a:gd name="T49" fmla="*/ 156 h 326"/>
                <a:gd name="T50" fmla="*/ 0 w 435"/>
                <a:gd name="T51" fmla="*/ 156 h 326"/>
                <a:gd name="T52" fmla="*/ 21 w 435"/>
                <a:gd name="T53" fmla="*/ 140 h 326"/>
                <a:gd name="T54" fmla="*/ 66 w 435"/>
                <a:gd name="T55" fmla="*/ 74 h 326"/>
                <a:gd name="T56" fmla="*/ 83 w 435"/>
                <a:gd name="T57" fmla="*/ 17 h 326"/>
                <a:gd name="T58" fmla="*/ 175 w 435"/>
                <a:gd name="T59" fmla="*/ 0 h 326"/>
                <a:gd name="T60" fmla="*/ 255 w 435"/>
                <a:gd name="T61" fmla="*/ 50 h 326"/>
                <a:gd name="T62" fmla="*/ 272 w 435"/>
                <a:gd name="T63" fmla="*/ 50 h 326"/>
                <a:gd name="T64" fmla="*/ 283 w 435"/>
                <a:gd name="T65" fmla="*/ 50 h 326"/>
                <a:gd name="T66" fmla="*/ 309 w 435"/>
                <a:gd name="T67" fmla="*/ 100 h 326"/>
                <a:gd name="T68" fmla="*/ 326 w 435"/>
                <a:gd name="T69" fmla="*/ 107 h 326"/>
                <a:gd name="T70" fmla="*/ 347 w 435"/>
                <a:gd name="T71" fmla="*/ 128 h 326"/>
                <a:gd name="T72" fmla="*/ 368 w 435"/>
                <a:gd name="T73" fmla="*/ 178 h 326"/>
                <a:gd name="T74" fmla="*/ 385 w 435"/>
                <a:gd name="T75" fmla="*/ 215 h 326"/>
                <a:gd name="T76" fmla="*/ 401 w 435"/>
                <a:gd name="T77" fmla="*/ 256 h 326"/>
                <a:gd name="T78" fmla="*/ 406 w 435"/>
                <a:gd name="T79" fmla="*/ 251 h 326"/>
                <a:gd name="T80" fmla="*/ 435 w 435"/>
                <a:gd name="T81" fmla="*/ 322 h 326"/>
                <a:gd name="T82" fmla="*/ 364 w 435"/>
                <a:gd name="T83" fmla="*/ 326 h 326"/>
                <a:gd name="T84" fmla="*/ 309 w 435"/>
                <a:gd name="T85" fmla="*/ 322 h 326"/>
                <a:gd name="T86" fmla="*/ 260 w 435"/>
                <a:gd name="T87" fmla="*/ 305 h 326"/>
                <a:gd name="T88" fmla="*/ 222 w 435"/>
                <a:gd name="T89" fmla="*/ 30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5" h="326">
                  <a:moveTo>
                    <a:pt x="222" y="305"/>
                  </a:moveTo>
                  <a:lnTo>
                    <a:pt x="163" y="305"/>
                  </a:lnTo>
                  <a:lnTo>
                    <a:pt x="120" y="322"/>
                  </a:lnTo>
                  <a:lnTo>
                    <a:pt x="92" y="322"/>
                  </a:lnTo>
                  <a:lnTo>
                    <a:pt x="54" y="326"/>
                  </a:lnTo>
                  <a:lnTo>
                    <a:pt x="45" y="322"/>
                  </a:lnTo>
                  <a:lnTo>
                    <a:pt x="59" y="305"/>
                  </a:lnTo>
                  <a:lnTo>
                    <a:pt x="75" y="310"/>
                  </a:lnTo>
                  <a:lnTo>
                    <a:pt x="99" y="305"/>
                  </a:lnTo>
                  <a:lnTo>
                    <a:pt x="130" y="310"/>
                  </a:lnTo>
                  <a:lnTo>
                    <a:pt x="137" y="305"/>
                  </a:lnTo>
                  <a:lnTo>
                    <a:pt x="137" y="293"/>
                  </a:lnTo>
                  <a:lnTo>
                    <a:pt x="146" y="289"/>
                  </a:lnTo>
                  <a:lnTo>
                    <a:pt x="137" y="293"/>
                  </a:lnTo>
                  <a:lnTo>
                    <a:pt x="137" y="305"/>
                  </a:lnTo>
                  <a:lnTo>
                    <a:pt x="130" y="310"/>
                  </a:lnTo>
                  <a:lnTo>
                    <a:pt x="109" y="310"/>
                  </a:lnTo>
                  <a:lnTo>
                    <a:pt x="99" y="293"/>
                  </a:lnTo>
                  <a:lnTo>
                    <a:pt x="99" y="305"/>
                  </a:lnTo>
                  <a:lnTo>
                    <a:pt x="75" y="310"/>
                  </a:lnTo>
                  <a:lnTo>
                    <a:pt x="59" y="305"/>
                  </a:lnTo>
                  <a:lnTo>
                    <a:pt x="59" y="293"/>
                  </a:lnTo>
                  <a:lnTo>
                    <a:pt x="54" y="310"/>
                  </a:lnTo>
                  <a:lnTo>
                    <a:pt x="54" y="272"/>
                  </a:lnTo>
                  <a:lnTo>
                    <a:pt x="54" y="267"/>
                  </a:lnTo>
                  <a:lnTo>
                    <a:pt x="113" y="267"/>
                  </a:lnTo>
                  <a:lnTo>
                    <a:pt x="113" y="256"/>
                  </a:lnTo>
                  <a:lnTo>
                    <a:pt x="151" y="251"/>
                  </a:lnTo>
                  <a:lnTo>
                    <a:pt x="168" y="232"/>
                  </a:lnTo>
                  <a:lnTo>
                    <a:pt x="222" y="267"/>
                  </a:lnTo>
                  <a:lnTo>
                    <a:pt x="255" y="256"/>
                  </a:lnTo>
                  <a:lnTo>
                    <a:pt x="260" y="251"/>
                  </a:lnTo>
                  <a:lnTo>
                    <a:pt x="243" y="232"/>
                  </a:lnTo>
                  <a:lnTo>
                    <a:pt x="222" y="251"/>
                  </a:lnTo>
                  <a:lnTo>
                    <a:pt x="205" y="232"/>
                  </a:lnTo>
                  <a:lnTo>
                    <a:pt x="191" y="232"/>
                  </a:lnTo>
                  <a:lnTo>
                    <a:pt x="184" y="222"/>
                  </a:lnTo>
                  <a:lnTo>
                    <a:pt x="168" y="215"/>
                  </a:lnTo>
                  <a:lnTo>
                    <a:pt x="146" y="222"/>
                  </a:lnTo>
                  <a:lnTo>
                    <a:pt x="137" y="232"/>
                  </a:lnTo>
                  <a:lnTo>
                    <a:pt x="59" y="232"/>
                  </a:lnTo>
                  <a:lnTo>
                    <a:pt x="59" y="222"/>
                  </a:lnTo>
                  <a:lnTo>
                    <a:pt x="66" y="211"/>
                  </a:lnTo>
                  <a:lnTo>
                    <a:pt x="54" y="222"/>
                  </a:lnTo>
                  <a:lnTo>
                    <a:pt x="54" y="211"/>
                  </a:lnTo>
                  <a:lnTo>
                    <a:pt x="75" y="194"/>
                  </a:lnTo>
                  <a:lnTo>
                    <a:pt x="66" y="194"/>
                  </a:lnTo>
                  <a:lnTo>
                    <a:pt x="59" y="199"/>
                  </a:lnTo>
                  <a:lnTo>
                    <a:pt x="45" y="199"/>
                  </a:lnTo>
                  <a:lnTo>
                    <a:pt x="21" y="156"/>
                  </a:lnTo>
                  <a:lnTo>
                    <a:pt x="7" y="156"/>
                  </a:lnTo>
                  <a:lnTo>
                    <a:pt x="0" y="156"/>
                  </a:lnTo>
                  <a:lnTo>
                    <a:pt x="0" y="156"/>
                  </a:lnTo>
                  <a:lnTo>
                    <a:pt x="21" y="140"/>
                  </a:lnTo>
                  <a:lnTo>
                    <a:pt x="45" y="111"/>
                  </a:lnTo>
                  <a:lnTo>
                    <a:pt x="66" y="74"/>
                  </a:lnTo>
                  <a:lnTo>
                    <a:pt x="66" y="50"/>
                  </a:lnTo>
                  <a:lnTo>
                    <a:pt x="83" y="17"/>
                  </a:lnTo>
                  <a:lnTo>
                    <a:pt x="130" y="17"/>
                  </a:lnTo>
                  <a:lnTo>
                    <a:pt x="175" y="0"/>
                  </a:lnTo>
                  <a:lnTo>
                    <a:pt x="222" y="12"/>
                  </a:lnTo>
                  <a:lnTo>
                    <a:pt x="255" y="50"/>
                  </a:lnTo>
                  <a:lnTo>
                    <a:pt x="260" y="45"/>
                  </a:lnTo>
                  <a:lnTo>
                    <a:pt x="272" y="50"/>
                  </a:lnTo>
                  <a:lnTo>
                    <a:pt x="276" y="50"/>
                  </a:lnTo>
                  <a:lnTo>
                    <a:pt x="283" y="50"/>
                  </a:lnTo>
                  <a:lnTo>
                    <a:pt x="298" y="83"/>
                  </a:lnTo>
                  <a:lnTo>
                    <a:pt x="309" y="100"/>
                  </a:lnTo>
                  <a:lnTo>
                    <a:pt x="314" y="100"/>
                  </a:lnTo>
                  <a:lnTo>
                    <a:pt x="326" y="107"/>
                  </a:lnTo>
                  <a:lnTo>
                    <a:pt x="326" y="111"/>
                  </a:lnTo>
                  <a:lnTo>
                    <a:pt x="347" y="128"/>
                  </a:lnTo>
                  <a:lnTo>
                    <a:pt x="368" y="144"/>
                  </a:lnTo>
                  <a:lnTo>
                    <a:pt x="368" y="178"/>
                  </a:lnTo>
                  <a:lnTo>
                    <a:pt x="385" y="194"/>
                  </a:lnTo>
                  <a:lnTo>
                    <a:pt x="385" y="215"/>
                  </a:lnTo>
                  <a:lnTo>
                    <a:pt x="380" y="232"/>
                  </a:lnTo>
                  <a:lnTo>
                    <a:pt x="401" y="256"/>
                  </a:lnTo>
                  <a:lnTo>
                    <a:pt x="401" y="251"/>
                  </a:lnTo>
                  <a:lnTo>
                    <a:pt x="406" y="251"/>
                  </a:lnTo>
                  <a:lnTo>
                    <a:pt x="435" y="277"/>
                  </a:lnTo>
                  <a:lnTo>
                    <a:pt x="435" y="322"/>
                  </a:lnTo>
                  <a:lnTo>
                    <a:pt x="385" y="322"/>
                  </a:lnTo>
                  <a:lnTo>
                    <a:pt x="364" y="326"/>
                  </a:lnTo>
                  <a:lnTo>
                    <a:pt x="326" y="310"/>
                  </a:lnTo>
                  <a:lnTo>
                    <a:pt x="309" y="322"/>
                  </a:lnTo>
                  <a:lnTo>
                    <a:pt x="309" y="305"/>
                  </a:lnTo>
                  <a:lnTo>
                    <a:pt x="260" y="305"/>
                  </a:lnTo>
                  <a:lnTo>
                    <a:pt x="222" y="305"/>
                  </a:lnTo>
                  <a:lnTo>
                    <a:pt x="222" y="305"/>
                  </a:lnTo>
                  <a:lnTo>
                    <a:pt x="222" y="305"/>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0" name="Freeform 551">
              <a:extLst>
                <a:ext uri="{FF2B5EF4-FFF2-40B4-BE49-F238E27FC236}">
                  <a16:creationId xmlns:a16="http://schemas.microsoft.com/office/drawing/2014/main" id="{48D5C890-BB36-4709-894B-7BF96333BA5F}"/>
                </a:ext>
              </a:extLst>
            </p:cNvPr>
            <p:cNvSpPr>
              <a:spLocks noEditPoints="1"/>
            </p:cNvSpPr>
            <p:nvPr/>
          </p:nvSpPr>
          <p:spPr bwMode="gray">
            <a:xfrm>
              <a:off x="13413596" y="4299983"/>
              <a:ext cx="198014" cy="732817"/>
            </a:xfrm>
            <a:custGeom>
              <a:avLst/>
              <a:gdLst>
                <a:gd name="T0" fmla="*/ 0 w 605"/>
                <a:gd name="T1" fmla="*/ 5 h 2239"/>
                <a:gd name="T2" fmla="*/ 0 w 605"/>
                <a:gd name="T3" fmla="*/ 0 h 2239"/>
                <a:gd name="T4" fmla="*/ 5 w 605"/>
                <a:gd name="T5" fmla="*/ 5 h 2239"/>
                <a:gd name="T6" fmla="*/ 0 w 605"/>
                <a:gd name="T7" fmla="*/ 5 h 2239"/>
                <a:gd name="T8" fmla="*/ 0 w 605"/>
                <a:gd name="T9" fmla="*/ 5 h 2239"/>
                <a:gd name="T10" fmla="*/ 0 w 605"/>
                <a:gd name="T11" fmla="*/ 5 h 2239"/>
                <a:gd name="T12" fmla="*/ 605 w 605"/>
                <a:gd name="T13" fmla="*/ 593 h 2239"/>
                <a:gd name="T14" fmla="*/ 600 w 605"/>
                <a:gd name="T15" fmla="*/ 593 h 2239"/>
                <a:gd name="T16" fmla="*/ 605 w 605"/>
                <a:gd name="T17" fmla="*/ 588 h 2239"/>
                <a:gd name="T18" fmla="*/ 605 w 605"/>
                <a:gd name="T19" fmla="*/ 593 h 2239"/>
                <a:gd name="T20" fmla="*/ 605 w 605"/>
                <a:gd name="T21" fmla="*/ 593 h 2239"/>
                <a:gd name="T22" fmla="*/ 605 w 605"/>
                <a:gd name="T23" fmla="*/ 593 h 2239"/>
                <a:gd name="T24" fmla="*/ 146 w 605"/>
                <a:gd name="T25" fmla="*/ 2239 h 2239"/>
                <a:gd name="T26" fmla="*/ 146 w 605"/>
                <a:gd name="T27" fmla="*/ 2235 h 2239"/>
                <a:gd name="T28" fmla="*/ 151 w 605"/>
                <a:gd name="T29" fmla="*/ 2235 h 2239"/>
                <a:gd name="T30" fmla="*/ 146 w 605"/>
                <a:gd name="T31" fmla="*/ 2239 h 2239"/>
                <a:gd name="T32" fmla="*/ 146 w 605"/>
                <a:gd name="T33" fmla="*/ 2239 h 2239"/>
                <a:gd name="T34" fmla="*/ 146 w 605"/>
                <a:gd name="T35" fmla="*/ 2239 h 2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5" h="2239">
                  <a:moveTo>
                    <a:pt x="0" y="5"/>
                  </a:moveTo>
                  <a:lnTo>
                    <a:pt x="0" y="0"/>
                  </a:lnTo>
                  <a:lnTo>
                    <a:pt x="5" y="5"/>
                  </a:lnTo>
                  <a:lnTo>
                    <a:pt x="0" y="5"/>
                  </a:lnTo>
                  <a:lnTo>
                    <a:pt x="0" y="5"/>
                  </a:lnTo>
                  <a:lnTo>
                    <a:pt x="0" y="5"/>
                  </a:lnTo>
                  <a:close/>
                  <a:moveTo>
                    <a:pt x="605" y="593"/>
                  </a:moveTo>
                  <a:lnTo>
                    <a:pt x="600" y="593"/>
                  </a:lnTo>
                  <a:lnTo>
                    <a:pt x="605" y="588"/>
                  </a:lnTo>
                  <a:lnTo>
                    <a:pt x="605" y="593"/>
                  </a:lnTo>
                  <a:lnTo>
                    <a:pt x="605" y="593"/>
                  </a:lnTo>
                  <a:lnTo>
                    <a:pt x="605" y="593"/>
                  </a:lnTo>
                  <a:close/>
                  <a:moveTo>
                    <a:pt x="146" y="2239"/>
                  </a:moveTo>
                  <a:lnTo>
                    <a:pt x="146" y="2235"/>
                  </a:lnTo>
                  <a:lnTo>
                    <a:pt x="151" y="2235"/>
                  </a:lnTo>
                  <a:lnTo>
                    <a:pt x="146" y="2239"/>
                  </a:lnTo>
                  <a:lnTo>
                    <a:pt x="146" y="2239"/>
                  </a:lnTo>
                  <a:lnTo>
                    <a:pt x="146" y="223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1" name="Freeform 552">
              <a:extLst>
                <a:ext uri="{FF2B5EF4-FFF2-40B4-BE49-F238E27FC236}">
                  <a16:creationId xmlns:a16="http://schemas.microsoft.com/office/drawing/2014/main" id="{F02DEF5F-C33B-4D9B-AF7E-198F79731716}"/>
                </a:ext>
              </a:extLst>
            </p:cNvPr>
            <p:cNvSpPr>
              <a:spLocks/>
            </p:cNvSpPr>
            <p:nvPr/>
          </p:nvSpPr>
          <p:spPr bwMode="gray">
            <a:xfrm>
              <a:off x="14052806" y="2920755"/>
              <a:ext cx="71351" cy="43203"/>
            </a:xfrm>
            <a:custGeom>
              <a:avLst/>
              <a:gdLst>
                <a:gd name="T0" fmla="*/ 22 w 218"/>
                <a:gd name="T1" fmla="*/ 28 h 132"/>
                <a:gd name="T2" fmla="*/ 74 w 218"/>
                <a:gd name="T3" fmla="*/ 45 h 132"/>
                <a:gd name="T4" fmla="*/ 102 w 218"/>
                <a:gd name="T5" fmla="*/ 38 h 132"/>
                <a:gd name="T6" fmla="*/ 102 w 218"/>
                <a:gd name="T7" fmla="*/ 21 h 132"/>
                <a:gd name="T8" fmla="*/ 166 w 218"/>
                <a:gd name="T9" fmla="*/ 12 h 132"/>
                <a:gd name="T10" fmla="*/ 180 w 218"/>
                <a:gd name="T11" fmla="*/ 0 h 132"/>
                <a:gd name="T12" fmla="*/ 208 w 218"/>
                <a:gd name="T13" fmla="*/ 5 h 132"/>
                <a:gd name="T14" fmla="*/ 196 w 218"/>
                <a:gd name="T15" fmla="*/ 12 h 132"/>
                <a:gd name="T16" fmla="*/ 218 w 218"/>
                <a:gd name="T17" fmla="*/ 38 h 132"/>
                <a:gd name="T18" fmla="*/ 196 w 218"/>
                <a:gd name="T19" fmla="*/ 28 h 132"/>
                <a:gd name="T20" fmla="*/ 196 w 218"/>
                <a:gd name="T21" fmla="*/ 45 h 132"/>
                <a:gd name="T22" fmla="*/ 154 w 218"/>
                <a:gd name="T23" fmla="*/ 62 h 132"/>
                <a:gd name="T24" fmla="*/ 154 w 218"/>
                <a:gd name="T25" fmla="*/ 66 h 132"/>
                <a:gd name="T26" fmla="*/ 159 w 218"/>
                <a:gd name="T27" fmla="*/ 78 h 132"/>
                <a:gd name="T28" fmla="*/ 159 w 218"/>
                <a:gd name="T29" fmla="*/ 95 h 132"/>
                <a:gd name="T30" fmla="*/ 128 w 218"/>
                <a:gd name="T31" fmla="*/ 99 h 132"/>
                <a:gd name="T32" fmla="*/ 128 w 218"/>
                <a:gd name="T33" fmla="*/ 111 h 132"/>
                <a:gd name="T34" fmla="*/ 137 w 218"/>
                <a:gd name="T35" fmla="*/ 111 h 132"/>
                <a:gd name="T36" fmla="*/ 128 w 218"/>
                <a:gd name="T37" fmla="*/ 123 h 132"/>
                <a:gd name="T38" fmla="*/ 123 w 218"/>
                <a:gd name="T39" fmla="*/ 132 h 132"/>
                <a:gd name="T40" fmla="*/ 102 w 218"/>
                <a:gd name="T41" fmla="*/ 123 h 132"/>
                <a:gd name="T42" fmla="*/ 85 w 218"/>
                <a:gd name="T43" fmla="*/ 111 h 132"/>
                <a:gd name="T44" fmla="*/ 69 w 218"/>
                <a:gd name="T45" fmla="*/ 123 h 132"/>
                <a:gd name="T46" fmla="*/ 15 w 218"/>
                <a:gd name="T47" fmla="*/ 123 h 132"/>
                <a:gd name="T48" fmla="*/ 22 w 218"/>
                <a:gd name="T49" fmla="*/ 116 h 132"/>
                <a:gd name="T50" fmla="*/ 22 w 218"/>
                <a:gd name="T51" fmla="*/ 116 h 132"/>
                <a:gd name="T52" fmla="*/ 36 w 218"/>
                <a:gd name="T53" fmla="*/ 111 h 132"/>
                <a:gd name="T54" fmla="*/ 15 w 218"/>
                <a:gd name="T55" fmla="*/ 95 h 132"/>
                <a:gd name="T56" fmla="*/ 15 w 218"/>
                <a:gd name="T57" fmla="*/ 78 h 132"/>
                <a:gd name="T58" fmla="*/ 5 w 218"/>
                <a:gd name="T59" fmla="*/ 78 h 132"/>
                <a:gd name="T60" fmla="*/ 15 w 218"/>
                <a:gd name="T61" fmla="*/ 62 h 132"/>
                <a:gd name="T62" fmla="*/ 0 w 218"/>
                <a:gd name="T63" fmla="*/ 62 h 132"/>
                <a:gd name="T64" fmla="*/ 0 w 218"/>
                <a:gd name="T65" fmla="*/ 54 h 132"/>
                <a:gd name="T66" fmla="*/ 22 w 218"/>
                <a:gd name="T67" fmla="*/ 28 h 132"/>
                <a:gd name="T68" fmla="*/ 22 w 218"/>
                <a:gd name="T69" fmla="*/ 28 h 132"/>
                <a:gd name="T70" fmla="*/ 22 w 218"/>
                <a:gd name="T71" fmla="*/ 2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8" h="132">
                  <a:moveTo>
                    <a:pt x="22" y="28"/>
                  </a:moveTo>
                  <a:lnTo>
                    <a:pt x="74" y="45"/>
                  </a:lnTo>
                  <a:lnTo>
                    <a:pt x="102" y="38"/>
                  </a:lnTo>
                  <a:lnTo>
                    <a:pt x="102" y="21"/>
                  </a:lnTo>
                  <a:lnTo>
                    <a:pt x="166" y="12"/>
                  </a:lnTo>
                  <a:lnTo>
                    <a:pt x="180" y="0"/>
                  </a:lnTo>
                  <a:lnTo>
                    <a:pt x="208" y="5"/>
                  </a:lnTo>
                  <a:lnTo>
                    <a:pt x="196" y="12"/>
                  </a:lnTo>
                  <a:lnTo>
                    <a:pt x="218" y="38"/>
                  </a:lnTo>
                  <a:lnTo>
                    <a:pt x="196" y="28"/>
                  </a:lnTo>
                  <a:lnTo>
                    <a:pt x="196" y="45"/>
                  </a:lnTo>
                  <a:lnTo>
                    <a:pt x="154" y="62"/>
                  </a:lnTo>
                  <a:lnTo>
                    <a:pt x="154" y="66"/>
                  </a:lnTo>
                  <a:lnTo>
                    <a:pt x="159" y="78"/>
                  </a:lnTo>
                  <a:lnTo>
                    <a:pt x="159" y="95"/>
                  </a:lnTo>
                  <a:lnTo>
                    <a:pt x="128" y="99"/>
                  </a:lnTo>
                  <a:lnTo>
                    <a:pt x="128" y="111"/>
                  </a:lnTo>
                  <a:lnTo>
                    <a:pt x="137" y="111"/>
                  </a:lnTo>
                  <a:lnTo>
                    <a:pt x="128" y="123"/>
                  </a:lnTo>
                  <a:lnTo>
                    <a:pt x="123" y="132"/>
                  </a:lnTo>
                  <a:lnTo>
                    <a:pt x="102" y="123"/>
                  </a:lnTo>
                  <a:lnTo>
                    <a:pt x="85" y="111"/>
                  </a:lnTo>
                  <a:lnTo>
                    <a:pt x="69" y="123"/>
                  </a:lnTo>
                  <a:lnTo>
                    <a:pt x="15" y="123"/>
                  </a:lnTo>
                  <a:lnTo>
                    <a:pt x="22" y="116"/>
                  </a:lnTo>
                  <a:lnTo>
                    <a:pt x="22" y="116"/>
                  </a:lnTo>
                  <a:lnTo>
                    <a:pt x="36" y="111"/>
                  </a:lnTo>
                  <a:lnTo>
                    <a:pt x="15" y="95"/>
                  </a:lnTo>
                  <a:lnTo>
                    <a:pt x="15" y="78"/>
                  </a:lnTo>
                  <a:lnTo>
                    <a:pt x="5" y="78"/>
                  </a:lnTo>
                  <a:lnTo>
                    <a:pt x="15" y="62"/>
                  </a:lnTo>
                  <a:lnTo>
                    <a:pt x="0" y="62"/>
                  </a:lnTo>
                  <a:lnTo>
                    <a:pt x="0" y="54"/>
                  </a:lnTo>
                  <a:lnTo>
                    <a:pt x="22" y="28"/>
                  </a:lnTo>
                  <a:lnTo>
                    <a:pt x="22" y="28"/>
                  </a:lnTo>
                  <a:lnTo>
                    <a:pt x="22" y="28"/>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2" name="Freeform 553">
              <a:extLst>
                <a:ext uri="{FF2B5EF4-FFF2-40B4-BE49-F238E27FC236}">
                  <a16:creationId xmlns:a16="http://schemas.microsoft.com/office/drawing/2014/main" id="{4E28BDF2-E8BE-47C8-AF05-FDCA8268DC5A}"/>
                </a:ext>
              </a:extLst>
            </p:cNvPr>
            <p:cNvSpPr>
              <a:spLocks noEditPoints="1"/>
            </p:cNvSpPr>
            <p:nvPr/>
          </p:nvSpPr>
          <p:spPr bwMode="gray">
            <a:xfrm>
              <a:off x="13439125" y="3877116"/>
              <a:ext cx="70369" cy="74296"/>
            </a:xfrm>
            <a:custGeom>
              <a:avLst/>
              <a:gdLst>
                <a:gd name="T0" fmla="*/ 165 w 215"/>
                <a:gd name="T1" fmla="*/ 184 h 227"/>
                <a:gd name="T2" fmla="*/ 139 w 215"/>
                <a:gd name="T3" fmla="*/ 206 h 227"/>
                <a:gd name="T4" fmla="*/ 127 w 215"/>
                <a:gd name="T5" fmla="*/ 227 h 227"/>
                <a:gd name="T6" fmla="*/ 97 w 215"/>
                <a:gd name="T7" fmla="*/ 217 h 227"/>
                <a:gd name="T8" fmla="*/ 52 w 215"/>
                <a:gd name="T9" fmla="*/ 189 h 227"/>
                <a:gd name="T10" fmla="*/ 59 w 215"/>
                <a:gd name="T11" fmla="*/ 184 h 227"/>
                <a:gd name="T12" fmla="*/ 75 w 215"/>
                <a:gd name="T13" fmla="*/ 173 h 227"/>
                <a:gd name="T14" fmla="*/ 59 w 215"/>
                <a:gd name="T15" fmla="*/ 184 h 227"/>
                <a:gd name="T16" fmla="*/ 21 w 215"/>
                <a:gd name="T17" fmla="*/ 161 h 227"/>
                <a:gd name="T18" fmla="*/ 30 w 215"/>
                <a:gd name="T19" fmla="*/ 151 h 227"/>
                <a:gd name="T20" fmla="*/ 21 w 215"/>
                <a:gd name="T21" fmla="*/ 128 h 227"/>
                <a:gd name="T22" fmla="*/ 16 w 215"/>
                <a:gd name="T23" fmla="*/ 132 h 227"/>
                <a:gd name="T24" fmla="*/ 0 w 215"/>
                <a:gd name="T25" fmla="*/ 111 h 227"/>
                <a:gd name="T26" fmla="*/ 16 w 215"/>
                <a:gd name="T27" fmla="*/ 116 h 227"/>
                <a:gd name="T28" fmla="*/ 16 w 215"/>
                <a:gd name="T29" fmla="*/ 116 h 227"/>
                <a:gd name="T30" fmla="*/ 30 w 215"/>
                <a:gd name="T31" fmla="*/ 111 h 227"/>
                <a:gd name="T32" fmla="*/ 5 w 215"/>
                <a:gd name="T33" fmla="*/ 111 h 227"/>
                <a:gd name="T34" fmla="*/ 5 w 215"/>
                <a:gd name="T35" fmla="*/ 90 h 227"/>
                <a:gd name="T36" fmla="*/ 16 w 215"/>
                <a:gd name="T37" fmla="*/ 90 h 227"/>
                <a:gd name="T38" fmla="*/ 0 w 215"/>
                <a:gd name="T39" fmla="*/ 73 h 227"/>
                <a:gd name="T40" fmla="*/ 16 w 215"/>
                <a:gd name="T41" fmla="*/ 73 h 227"/>
                <a:gd name="T42" fmla="*/ 21 w 215"/>
                <a:gd name="T43" fmla="*/ 57 h 227"/>
                <a:gd name="T44" fmla="*/ 42 w 215"/>
                <a:gd name="T45" fmla="*/ 50 h 227"/>
                <a:gd name="T46" fmla="*/ 59 w 215"/>
                <a:gd name="T47" fmla="*/ 5 h 227"/>
                <a:gd name="T48" fmla="*/ 75 w 215"/>
                <a:gd name="T49" fmla="*/ 5 h 227"/>
                <a:gd name="T50" fmla="*/ 85 w 215"/>
                <a:gd name="T51" fmla="*/ 17 h 227"/>
                <a:gd name="T52" fmla="*/ 97 w 215"/>
                <a:gd name="T53" fmla="*/ 5 h 227"/>
                <a:gd name="T54" fmla="*/ 97 w 215"/>
                <a:gd name="T55" fmla="*/ 0 h 227"/>
                <a:gd name="T56" fmla="*/ 144 w 215"/>
                <a:gd name="T57" fmla="*/ 0 h 227"/>
                <a:gd name="T58" fmla="*/ 182 w 215"/>
                <a:gd name="T59" fmla="*/ 57 h 227"/>
                <a:gd name="T60" fmla="*/ 177 w 215"/>
                <a:gd name="T61" fmla="*/ 73 h 227"/>
                <a:gd name="T62" fmla="*/ 193 w 215"/>
                <a:gd name="T63" fmla="*/ 73 h 227"/>
                <a:gd name="T64" fmla="*/ 193 w 215"/>
                <a:gd name="T65" fmla="*/ 90 h 227"/>
                <a:gd name="T66" fmla="*/ 198 w 215"/>
                <a:gd name="T67" fmla="*/ 95 h 227"/>
                <a:gd name="T68" fmla="*/ 182 w 215"/>
                <a:gd name="T69" fmla="*/ 128 h 227"/>
                <a:gd name="T70" fmla="*/ 215 w 215"/>
                <a:gd name="T71" fmla="*/ 111 h 227"/>
                <a:gd name="T72" fmla="*/ 203 w 215"/>
                <a:gd name="T73" fmla="*/ 132 h 227"/>
                <a:gd name="T74" fmla="*/ 193 w 215"/>
                <a:gd name="T75" fmla="*/ 144 h 227"/>
                <a:gd name="T76" fmla="*/ 193 w 215"/>
                <a:gd name="T77" fmla="*/ 168 h 227"/>
                <a:gd name="T78" fmla="*/ 165 w 215"/>
                <a:gd name="T79" fmla="*/ 184 h 227"/>
                <a:gd name="T80" fmla="*/ 165 w 215"/>
                <a:gd name="T81" fmla="*/ 184 h 227"/>
                <a:gd name="T82" fmla="*/ 165 w 215"/>
                <a:gd name="T83" fmla="*/ 184 h 227"/>
                <a:gd name="T84" fmla="*/ 30 w 215"/>
                <a:gd name="T85" fmla="*/ 173 h 227"/>
                <a:gd name="T86" fmla="*/ 52 w 215"/>
                <a:gd name="T87" fmla="*/ 173 h 227"/>
                <a:gd name="T88" fmla="*/ 52 w 215"/>
                <a:gd name="T89" fmla="*/ 184 h 227"/>
                <a:gd name="T90" fmla="*/ 52 w 215"/>
                <a:gd name="T91" fmla="*/ 189 h 227"/>
                <a:gd name="T92" fmla="*/ 21 w 215"/>
                <a:gd name="T93" fmla="*/ 184 h 227"/>
                <a:gd name="T94" fmla="*/ 30 w 215"/>
                <a:gd name="T95" fmla="*/ 173 h 227"/>
                <a:gd name="T96" fmla="*/ 30 w 215"/>
                <a:gd name="T97" fmla="*/ 173 h 227"/>
                <a:gd name="T98" fmla="*/ 30 w 215"/>
                <a:gd name="T99" fmla="*/ 17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5" h="227">
                  <a:moveTo>
                    <a:pt x="165" y="184"/>
                  </a:moveTo>
                  <a:lnTo>
                    <a:pt x="139" y="206"/>
                  </a:lnTo>
                  <a:lnTo>
                    <a:pt x="127" y="227"/>
                  </a:lnTo>
                  <a:lnTo>
                    <a:pt x="97" y="217"/>
                  </a:lnTo>
                  <a:lnTo>
                    <a:pt x="52" y="189"/>
                  </a:lnTo>
                  <a:lnTo>
                    <a:pt x="59" y="184"/>
                  </a:lnTo>
                  <a:lnTo>
                    <a:pt x="75" y="173"/>
                  </a:lnTo>
                  <a:lnTo>
                    <a:pt x="59" y="184"/>
                  </a:lnTo>
                  <a:lnTo>
                    <a:pt x="21" y="161"/>
                  </a:lnTo>
                  <a:lnTo>
                    <a:pt x="30" y="151"/>
                  </a:lnTo>
                  <a:lnTo>
                    <a:pt x="21" y="128"/>
                  </a:lnTo>
                  <a:lnTo>
                    <a:pt x="16" y="132"/>
                  </a:lnTo>
                  <a:lnTo>
                    <a:pt x="0" y="111"/>
                  </a:lnTo>
                  <a:lnTo>
                    <a:pt x="16" y="116"/>
                  </a:lnTo>
                  <a:lnTo>
                    <a:pt x="16" y="116"/>
                  </a:lnTo>
                  <a:lnTo>
                    <a:pt x="30" y="111"/>
                  </a:lnTo>
                  <a:lnTo>
                    <a:pt x="5" y="111"/>
                  </a:lnTo>
                  <a:lnTo>
                    <a:pt x="5" y="90"/>
                  </a:lnTo>
                  <a:lnTo>
                    <a:pt x="16" y="90"/>
                  </a:lnTo>
                  <a:lnTo>
                    <a:pt x="0" y="73"/>
                  </a:lnTo>
                  <a:lnTo>
                    <a:pt x="16" y="73"/>
                  </a:lnTo>
                  <a:lnTo>
                    <a:pt x="21" y="57"/>
                  </a:lnTo>
                  <a:lnTo>
                    <a:pt x="42" y="50"/>
                  </a:lnTo>
                  <a:lnTo>
                    <a:pt x="59" y="5"/>
                  </a:lnTo>
                  <a:lnTo>
                    <a:pt x="75" y="5"/>
                  </a:lnTo>
                  <a:lnTo>
                    <a:pt x="85" y="17"/>
                  </a:lnTo>
                  <a:lnTo>
                    <a:pt x="97" y="5"/>
                  </a:lnTo>
                  <a:lnTo>
                    <a:pt x="97" y="0"/>
                  </a:lnTo>
                  <a:lnTo>
                    <a:pt x="144" y="0"/>
                  </a:lnTo>
                  <a:lnTo>
                    <a:pt x="182" y="57"/>
                  </a:lnTo>
                  <a:lnTo>
                    <a:pt x="177" y="73"/>
                  </a:lnTo>
                  <a:lnTo>
                    <a:pt x="193" y="73"/>
                  </a:lnTo>
                  <a:lnTo>
                    <a:pt x="193" y="90"/>
                  </a:lnTo>
                  <a:lnTo>
                    <a:pt x="198" y="95"/>
                  </a:lnTo>
                  <a:lnTo>
                    <a:pt x="182" y="128"/>
                  </a:lnTo>
                  <a:lnTo>
                    <a:pt x="215" y="111"/>
                  </a:lnTo>
                  <a:lnTo>
                    <a:pt x="203" y="132"/>
                  </a:lnTo>
                  <a:lnTo>
                    <a:pt x="193" y="144"/>
                  </a:lnTo>
                  <a:lnTo>
                    <a:pt x="193" y="168"/>
                  </a:lnTo>
                  <a:lnTo>
                    <a:pt x="165" y="184"/>
                  </a:lnTo>
                  <a:lnTo>
                    <a:pt x="165" y="184"/>
                  </a:lnTo>
                  <a:lnTo>
                    <a:pt x="165" y="184"/>
                  </a:lnTo>
                  <a:close/>
                  <a:moveTo>
                    <a:pt x="30" y="173"/>
                  </a:moveTo>
                  <a:lnTo>
                    <a:pt x="52" y="173"/>
                  </a:lnTo>
                  <a:lnTo>
                    <a:pt x="52" y="184"/>
                  </a:lnTo>
                  <a:lnTo>
                    <a:pt x="52" y="189"/>
                  </a:lnTo>
                  <a:lnTo>
                    <a:pt x="21" y="184"/>
                  </a:lnTo>
                  <a:lnTo>
                    <a:pt x="30" y="173"/>
                  </a:lnTo>
                  <a:lnTo>
                    <a:pt x="30" y="173"/>
                  </a:lnTo>
                  <a:lnTo>
                    <a:pt x="30" y="173"/>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3" name="Freeform 554">
              <a:extLst>
                <a:ext uri="{FF2B5EF4-FFF2-40B4-BE49-F238E27FC236}">
                  <a16:creationId xmlns:a16="http://schemas.microsoft.com/office/drawing/2014/main" id="{653C97B2-A999-43E5-8D80-43B68D1AA0CB}"/>
                </a:ext>
              </a:extLst>
            </p:cNvPr>
            <p:cNvSpPr>
              <a:spLocks/>
            </p:cNvSpPr>
            <p:nvPr/>
          </p:nvSpPr>
          <p:spPr bwMode="gray">
            <a:xfrm>
              <a:off x="14028913" y="3005198"/>
              <a:ext cx="3928" cy="2946"/>
            </a:xfrm>
            <a:custGeom>
              <a:avLst/>
              <a:gdLst>
                <a:gd name="T0" fmla="*/ 0 w 12"/>
                <a:gd name="T1" fmla="*/ 0 h 9"/>
                <a:gd name="T2" fmla="*/ 12 w 12"/>
                <a:gd name="T3" fmla="*/ 0 h 9"/>
                <a:gd name="T4" fmla="*/ 0 w 12"/>
                <a:gd name="T5" fmla="*/ 9 h 9"/>
                <a:gd name="T6" fmla="*/ 0 w 12"/>
                <a:gd name="T7" fmla="*/ 0 h 9"/>
                <a:gd name="T8" fmla="*/ 0 w 12"/>
                <a:gd name="T9" fmla="*/ 0 h 9"/>
                <a:gd name="T10" fmla="*/ 0 w 12"/>
                <a:gd name="T11" fmla="*/ 0 h 9"/>
              </a:gdLst>
              <a:ahLst/>
              <a:cxnLst>
                <a:cxn ang="0">
                  <a:pos x="T0" y="T1"/>
                </a:cxn>
                <a:cxn ang="0">
                  <a:pos x="T2" y="T3"/>
                </a:cxn>
                <a:cxn ang="0">
                  <a:pos x="T4" y="T5"/>
                </a:cxn>
                <a:cxn ang="0">
                  <a:pos x="T6" y="T7"/>
                </a:cxn>
                <a:cxn ang="0">
                  <a:pos x="T8" y="T9"/>
                </a:cxn>
                <a:cxn ang="0">
                  <a:pos x="T10" y="T11"/>
                </a:cxn>
              </a:cxnLst>
              <a:rect l="0" t="0" r="r" b="b"/>
              <a:pathLst>
                <a:path w="12" h="9">
                  <a:moveTo>
                    <a:pt x="0" y="0"/>
                  </a:moveTo>
                  <a:lnTo>
                    <a:pt x="12" y="0"/>
                  </a:lnTo>
                  <a:lnTo>
                    <a:pt x="0" y="9"/>
                  </a:lnTo>
                  <a:lnTo>
                    <a:pt x="0" y="0"/>
                  </a:lnTo>
                  <a:lnTo>
                    <a:pt x="0" y="0"/>
                  </a:lnTo>
                  <a:lnTo>
                    <a:pt x="0" y="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4" name="Freeform 555">
              <a:extLst>
                <a:ext uri="{FF2B5EF4-FFF2-40B4-BE49-F238E27FC236}">
                  <a16:creationId xmlns:a16="http://schemas.microsoft.com/office/drawing/2014/main" id="{A5989023-FE7C-42AC-A657-C63399327837}"/>
                </a:ext>
              </a:extLst>
            </p:cNvPr>
            <p:cNvSpPr>
              <a:spLocks/>
            </p:cNvSpPr>
            <p:nvPr/>
          </p:nvSpPr>
          <p:spPr bwMode="gray">
            <a:xfrm>
              <a:off x="16122630" y="4082003"/>
              <a:ext cx="7855" cy="1637"/>
            </a:xfrm>
            <a:custGeom>
              <a:avLst/>
              <a:gdLst>
                <a:gd name="T0" fmla="*/ 24 w 24"/>
                <a:gd name="T1" fmla="*/ 0 h 5"/>
                <a:gd name="T2" fmla="*/ 16 w 24"/>
                <a:gd name="T3" fmla="*/ 5 h 5"/>
                <a:gd name="T4" fmla="*/ 0 w 24"/>
                <a:gd name="T5" fmla="*/ 5 h 5"/>
                <a:gd name="T6" fmla="*/ 7 w 24"/>
                <a:gd name="T7" fmla="*/ 0 h 5"/>
                <a:gd name="T8" fmla="*/ 24 w 24"/>
                <a:gd name="T9" fmla="*/ 0 h 5"/>
                <a:gd name="T10" fmla="*/ 24 w 24"/>
                <a:gd name="T11" fmla="*/ 0 h 5"/>
                <a:gd name="T12" fmla="*/ 24 w 2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4" h="5">
                  <a:moveTo>
                    <a:pt x="24" y="0"/>
                  </a:moveTo>
                  <a:lnTo>
                    <a:pt x="16" y="5"/>
                  </a:lnTo>
                  <a:lnTo>
                    <a:pt x="0" y="5"/>
                  </a:lnTo>
                  <a:lnTo>
                    <a:pt x="7" y="0"/>
                  </a:lnTo>
                  <a:lnTo>
                    <a:pt x="24" y="0"/>
                  </a:lnTo>
                  <a:lnTo>
                    <a:pt x="24" y="0"/>
                  </a:lnTo>
                  <a:lnTo>
                    <a:pt x="24" y="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5" name="Freeform 556">
              <a:extLst>
                <a:ext uri="{FF2B5EF4-FFF2-40B4-BE49-F238E27FC236}">
                  <a16:creationId xmlns:a16="http://schemas.microsoft.com/office/drawing/2014/main" id="{C5DCB666-F9A4-4701-BFCC-505F18C19FDD}"/>
                </a:ext>
              </a:extLst>
            </p:cNvPr>
            <p:cNvSpPr>
              <a:spLocks/>
            </p:cNvSpPr>
            <p:nvPr/>
          </p:nvSpPr>
          <p:spPr bwMode="gray">
            <a:xfrm>
              <a:off x="14686125" y="3829330"/>
              <a:ext cx="237290" cy="324678"/>
            </a:xfrm>
            <a:custGeom>
              <a:avLst/>
              <a:gdLst>
                <a:gd name="T0" fmla="*/ 130 w 725"/>
                <a:gd name="T1" fmla="*/ 555 h 992"/>
                <a:gd name="T2" fmla="*/ 184 w 725"/>
                <a:gd name="T3" fmla="*/ 515 h 992"/>
                <a:gd name="T4" fmla="*/ 276 w 725"/>
                <a:gd name="T5" fmla="*/ 515 h 992"/>
                <a:gd name="T6" fmla="*/ 416 w 725"/>
                <a:gd name="T7" fmla="*/ 295 h 992"/>
                <a:gd name="T8" fmla="*/ 184 w 725"/>
                <a:gd name="T9" fmla="*/ 193 h 992"/>
                <a:gd name="T10" fmla="*/ 151 w 725"/>
                <a:gd name="T11" fmla="*/ 151 h 992"/>
                <a:gd name="T12" fmla="*/ 130 w 725"/>
                <a:gd name="T13" fmla="*/ 127 h 992"/>
                <a:gd name="T14" fmla="*/ 130 w 725"/>
                <a:gd name="T15" fmla="*/ 73 h 992"/>
                <a:gd name="T16" fmla="*/ 168 w 725"/>
                <a:gd name="T17" fmla="*/ 49 h 992"/>
                <a:gd name="T18" fmla="*/ 234 w 725"/>
                <a:gd name="T19" fmla="*/ 111 h 992"/>
                <a:gd name="T20" fmla="*/ 331 w 725"/>
                <a:gd name="T21" fmla="*/ 85 h 992"/>
                <a:gd name="T22" fmla="*/ 449 w 725"/>
                <a:gd name="T23" fmla="*/ 66 h 992"/>
                <a:gd name="T24" fmla="*/ 503 w 725"/>
                <a:gd name="T25" fmla="*/ 66 h 992"/>
                <a:gd name="T26" fmla="*/ 557 w 725"/>
                <a:gd name="T27" fmla="*/ 56 h 992"/>
                <a:gd name="T28" fmla="*/ 600 w 725"/>
                <a:gd name="T29" fmla="*/ 40 h 992"/>
                <a:gd name="T30" fmla="*/ 654 w 725"/>
                <a:gd name="T31" fmla="*/ 28 h 992"/>
                <a:gd name="T32" fmla="*/ 687 w 725"/>
                <a:gd name="T33" fmla="*/ 0 h 992"/>
                <a:gd name="T34" fmla="*/ 704 w 725"/>
                <a:gd name="T35" fmla="*/ 49 h 992"/>
                <a:gd name="T36" fmla="*/ 709 w 725"/>
                <a:gd name="T37" fmla="*/ 66 h 992"/>
                <a:gd name="T38" fmla="*/ 704 w 725"/>
                <a:gd name="T39" fmla="*/ 111 h 992"/>
                <a:gd name="T40" fmla="*/ 709 w 725"/>
                <a:gd name="T41" fmla="*/ 106 h 992"/>
                <a:gd name="T42" fmla="*/ 725 w 725"/>
                <a:gd name="T43" fmla="*/ 122 h 992"/>
                <a:gd name="T44" fmla="*/ 692 w 725"/>
                <a:gd name="T45" fmla="*/ 122 h 992"/>
                <a:gd name="T46" fmla="*/ 654 w 725"/>
                <a:gd name="T47" fmla="*/ 233 h 992"/>
                <a:gd name="T48" fmla="*/ 616 w 725"/>
                <a:gd name="T49" fmla="*/ 295 h 992"/>
                <a:gd name="T50" fmla="*/ 569 w 725"/>
                <a:gd name="T51" fmla="*/ 382 h 992"/>
                <a:gd name="T52" fmla="*/ 487 w 725"/>
                <a:gd name="T53" fmla="*/ 548 h 992"/>
                <a:gd name="T54" fmla="*/ 243 w 725"/>
                <a:gd name="T55" fmla="*/ 753 h 992"/>
                <a:gd name="T56" fmla="*/ 71 w 725"/>
                <a:gd name="T57" fmla="*/ 937 h 992"/>
                <a:gd name="T58" fmla="*/ 0 w 725"/>
                <a:gd name="T59" fmla="*/ 937 h 992"/>
                <a:gd name="T60" fmla="*/ 21 w 725"/>
                <a:gd name="T61" fmla="*/ 642 h 992"/>
                <a:gd name="T62" fmla="*/ 71 w 725"/>
                <a:gd name="T63" fmla="*/ 571 h 992"/>
                <a:gd name="T64" fmla="*/ 71 w 725"/>
                <a:gd name="T65" fmla="*/ 571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5" h="992">
                  <a:moveTo>
                    <a:pt x="71" y="571"/>
                  </a:moveTo>
                  <a:lnTo>
                    <a:pt x="130" y="555"/>
                  </a:lnTo>
                  <a:lnTo>
                    <a:pt x="146" y="531"/>
                  </a:lnTo>
                  <a:lnTo>
                    <a:pt x="184" y="515"/>
                  </a:lnTo>
                  <a:lnTo>
                    <a:pt x="205" y="510"/>
                  </a:lnTo>
                  <a:lnTo>
                    <a:pt x="276" y="515"/>
                  </a:lnTo>
                  <a:lnTo>
                    <a:pt x="487" y="295"/>
                  </a:lnTo>
                  <a:lnTo>
                    <a:pt x="416" y="295"/>
                  </a:lnTo>
                  <a:lnTo>
                    <a:pt x="205" y="222"/>
                  </a:lnTo>
                  <a:lnTo>
                    <a:pt x="184" y="193"/>
                  </a:lnTo>
                  <a:lnTo>
                    <a:pt x="168" y="193"/>
                  </a:lnTo>
                  <a:lnTo>
                    <a:pt x="151" y="151"/>
                  </a:lnTo>
                  <a:lnTo>
                    <a:pt x="146" y="151"/>
                  </a:lnTo>
                  <a:lnTo>
                    <a:pt x="130" y="127"/>
                  </a:lnTo>
                  <a:lnTo>
                    <a:pt x="113" y="106"/>
                  </a:lnTo>
                  <a:lnTo>
                    <a:pt x="130" y="73"/>
                  </a:lnTo>
                  <a:lnTo>
                    <a:pt x="151" y="40"/>
                  </a:lnTo>
                  <a:lnTo>
                    <a:pt x="168" y="49"/>
                  </a:lnTo>
                  <a:lnTo>
                    <a:pt x="189" y="89"/>
                  </a:lnTo>
                  <a:lnTo>
                    <a:pt x="234" y="111"/>
                  </a:lnTo>
                  <a:lnTo>
                    <a:pt x="272" y="122"/>
                  </a:lnTo>
                  <a:lnTo>
                    <a:pt x="331" y="85"/>
                  </a:lnTo>
                  <a:lnTo>
                    <a:pt x="378" y="94"/>
                  </a:lnTo>
                  <a:lnTo>
                    <a:pt x="449" y="66"/>
                  </a:lnTo>
                  <a:lnTo>
                    <a:pt x="470" y="66"/>
                  </a:lnTo>
                  <a:lnTo>
                    <a:pt x="503" y="66"/>
                  </a:lnTo>
                  <a:lnTo>
                    <a:pt x="524" y="49"/>
                  </a:lnTo>
                  <a:lnTo>
                    <a:pt x="557" y="56"/>
                  </a:lnTo>
                  <a:lnTo>
                    <a:pt x="583" y="49"/>
                  </a:lnTo>
                  <a:lnTo>
                    <a:pt x="600" y="40"/>
                  </a:lnTo>
                  <a:lnTo>
                    <a:pt x="633" y="40"/>
                  </a:lnTo>
                  <a:lnTo>
                    <a:pt x="654" y="28"/>
                  </a:lnTo>
                  <a:lnTo>
                    <a:pt x="671" y="11"/>
                  </a:lnTo>
                  <a:lnTo>
                    <a:pt x="687" y="0"/>
                  </a:lnTo>
                  <a:lnTo>
                    <a:pt x="720" y="11"/>
                  </a:lnTo>
                  <a:lnTo>
                    <a:pt x="704" y="49"/>
                  </a:lnTo>
                  <a:lnTo>
                    <a:pt x="704" y="56"/>
                  </a:lnTo>
                  <a:lnTo>
                    <a:pt x="709" y="66"/>
                  </a:lnTo>
                  <a:lnTo>
                    <a:pt x="709" y="106"/>
                  </a:lnTo>
                  <a:lnTo>
                    <a:pt x="704" y="111"/>
                  </a:lnTo>
                  <a:lnTo>
                    <a:pt x="709" y="111"/>
                  </a:lnTo>
                  <a:lnTo>
                    <a:pt x="709" y="106"/>
                  </a:lnTo>
                  <a:lnTo>
                    <a:pt x="725" y="111"/>
                  </a:lnTo>
                  <a:lnTo>
                    <a:pt x="725" y="122"/>
                  </a:lnTo>
                  <a:lnTo>
                    <a:pt x="720" y="111"/>
                  </a:lnTo>
                  <a:lnTo>
                    <a:pt x="692" y="122"/>
                  </a:lnTo>
                  <a:lnTo>
                    <a:pt x="687" y="193"/>
                  </a:lnTo>
                  <a:lnTo>
                    <a:pt x="654" y="233"/>
                  </a:lnTo>
                  <a:lnTo>
                    <a:pt x="638" y="278"/>
                  </a:lnTo>
                  <a:lnTo>
                    <a:pt x="616" y="295"/>
                  </a:lnTo>
                  <a:lnTo>
                    <a:pt x="612" y="328"/>
                  </a:lnTo>
                  <a:lnTo>
                    <a:pt x="569" y="382"/>
                  </a:lnTo>
                  <a:lnTo>
                    <a:pt x="562" y="427"/>
                  </a:lnTo>
                  <a:lnTo>
                    <a:pt x="487" y="548"/>
                  </a:lnTo>
                  <a:lnTo>
                    <a:pt x="347" y="699"/>
                  </a:lnTo>
                  <a:lnTo>
                    <a:pt x="243" y="753"/>
                  </a:lnTo>
                  <a:lnTo>
                    <a:pt x="168" y="826"/>
                  </a:lnTo>
                  <a:lnTo>
                    <a:pt x="71" y="937"/>
                  </a:lnTo>
                  <a:lnTo>
                    <a:pt x="38" y="992"/>
                  </a:lnTo>
                  <a:lnTo>
                    <a:pt x="0" y="937"/>
                  </a:lnTo>
                  <a:lnTo>
                    <a:pt x="0" y="666"/>
                  </a:lnTo>
                  <a:lnTo>
                    <a:pt x="21" y="642"/>
                  </a:lnTo>
                  <a:lnTo>
                    <a:pt x="59" y="583"/>
                  </a:lnTo>
                  <a:lnTo>
                    <a:pt x="71" y="571"/>
                  </a:lnTo>
                  <a:lnTo>
                    <a:pt x="71" y="571"/>
                  </a:lnTo>
                  <a:lnTo>
                    <a:pt x="71" y="571"/>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6" name="Freeform 557">
              <a:extLst>
                <a:ext uri="{FF2B5EF4-FFF2-40B4-BE49-F238E27FC236}">
                  <a16:creationId xmlns:a16="http://schemas.microsoft.com/office/drawing/2014/main" id="{769207FA-BD4D-4BE8-B3B9-26BB3F650C73}"/>
                </a:ext>
              </a:extLst>
            </p:cNvPr>
            <p:cNvSpPr>
              <a:spLocks noEditPoints="1"/>
            </p:cNvSpPr>
            <p:nvPr/>
          </p:nvSpPr>
          <p:spPr bwMode="gray">
            <a:xfrm>
              <a:off x="13327844" y="3010434"/>
              <a:ext cx="513856" cy="435305"/>
            </a:xfrm>
            <a:custGeom>
              <a:avLst/>
              <a:gdLst>
                <a:gd name="T0" fmla="*/ 793 w 1570"/>
                <a:gd name="T1" fmla="*/ 251 h 1330"/>
                <a:gd name="T2" fmla="*/ 815 w 1570"/>
                <a:gd name="T3" fmla="*/ 184 h 1330"/>
                <a:gd name="T4" fmla="*/ 756 w 1570"/>
                <a:gd name="T5" fmla="*/ 173 h 1330"/>
                <a:gd name="T6" fmla="*/ 708 w 1570"/>
                <a:gd name="T7" fmla="*/ 151 h 1330"/>
                <a:gd name="T8" fmla="*/ 647 w 1570"/>
                <a:gd name="T9" fmla="*/ 151 h 1330"/>
                <a:gd name="T10" fmla="*/ 654 w 1570"/>
                <a:gd name="T11" fmla="*/ 123 h 1330"/>
                <a:gd name="T12" fmla="*/ 642 w 1570"/>
                <a:gd name="T13" fmla="*/ 111 h 1330"/>
                <a:gd name="T14" fmla="*/ 633 w 1570"/>
                <a:gd name="T15" fmla="*/ 66 h 1330"/>
                <a:gd name="T16" fmla="*/ 663 w 1570"/>
                <a:gd name="T17" fmla="*/ 45 h 1330"/>
                <a:gd name="T18" fmla="*/ 722 w 1570"/>
                <a:gd name="T19" fmla="*/ 7 h 1330"/>
                <a:gd name="T20" fmla="*/ 777 w 1570"/>
                <a:gd name="T21" fmla="*/ 24 h 1330"/>
                <a:gd name="T22" fmla="*/ 869 w 1570"/>
                <a:gd name="T23" fmla="*/ 24 h 1330"/>
                <a:gd name="T24" fmla="*/ 1063 w 1570"/>
                <a:gd name="T25" fmla="*/ 28 h 1330"/>
                <a:gd name="T26" fmla="*/ 1171 w 1570"/>
                <a:gd name="T27" fmla="*/ 62 h 1330"/>
                <a:gd name="T28" fmla="*/ 1273 w 1570"/>
                <a:gd name="T29" fmla="*/ 95 h 1330"/>
                <a:gd name="T30" fmla="*/ 1372 w 1570"/>
                <a:gd name="T31" fmla="*/ 99 h 1330"/>
                <a:gd name="T32" fmla="*/ 1436 w 1570"/>
                <a:gd name="T33" fmla="*/ 118 h 1330"/>
                <a:gd name="T34" fmla="*/ 1495 w 1570"/>
                <a:gd name="T35" fmla="*/ 123 h 1330"/>
                <a:gd name="T36" fmla="*/ 1495 w 1570"/>
                <a:gd name="T37" fmla="*/ 168 h 1330"/>
                <a:gd name="T38" fmla="*/ 1318 w 1570"/>
                <a:gd name="T39" fmla="*/ 262 h 1330"/>
                <a:gd name="T40" fmla="*/ 1327 w 1570"/>
                <a:gd name="T41" fmla="*/ 279 h 1330"/>
                <a:gd name="T42" fmla="*/ 1263 w 1570"/>
                <a:gd name="T43" fmla="*/ 411 h 1330"/>
                <a:gd name="T44" fmla="*/ 1226 w 1570"/>
                <a:gd name="T45" fmla="*/ 527 h 1330"/>
                <a:gd name="T46" fmla="*/ 1112 w 1570"/>
                <a:gd name="T47" fmla="*/ 593 h 1330"/>
                <a:gd name="T48" fmla="*/ 949 w 1570"/>
                <a:gd name="T49" fmla="*/ 617 h 1330"/>
                <a:gd name="T50" fmla="*/ 881 w 1570"/>
                <a:gd name="T51" fmla="*/ 666 h 1330"/>
                <a:gd name="T52" fmla="*/ 826 w 1570"/>
                <a:gd name="T53" fmla="*/ 600 h 1330"/>
                <a:gd name="T54" fmla="*/ 751 w 1570"/>
                <a:gd name="T55" fmla="*/ 560 h 1330"/>
                <a:gd name="T56" fmla="*/ 777 w 1570"/>
                <a:gd name="T57" fmla="*/ 489 h 1330"/>
                <a:gd name="T58" fmla="*/ 760 w 1570"/>
                <a:gd name="T59" fmla="*/ 432 h 1330"/>
                <a:gd name="T60" fmla="*/ 777 w 1570"/>
                <a:gd name="T61" fmla="*/ 354 h 1330"/>
                <a:gd name="T62" fmla="*/ 789 w 1570"/>
                <a:gd name="T63" fmla="*/ 305 h 1330"/>
                <a:gd name="T64" fmla="*/ 1544 w 1570"/>
                <a:gd name="T65" fmla="*/ 321 h 1330"/>
                <a:gd name="T66" fmla="*/ 1570 w 1570"/>
                <a:gd name="T67" fmla="*/ 350 h 1330"/>
                <a:gd name="T68" fmla="*/ 1478 w 1570"/>
                <a:gd name="T69" fmla="*/ 333 h 1330"/>
                <a:gd name="T70" fmla="*/ 1495 w 1570"/>
                <a:gd name="T71" fmla="*/ 378 h 1330"/>
                <a:gd name="T72" fmla="*/ 1441 w 1570"/>
                <a:gd name="T73" fmla="*/ 371 h 1330"/>
                <a:gd name="T74" fmla="*/ 1356 w 1570"/>
                <a:gd name="T75" fmla="*/ 416 h 1330"/>
                <a:gd name="T76" fmla="*/ 1365 w 1570"/>
                <a:gd name="T77" fmla="*/ 428 h 1330"/>
                <a:gd name="T78" fmla="*/ 1372 w 1570"/>
                <a:gd name="T79" fmla="*/ 432 h 1330"/>
                <a:gd name="T80" fmla="*/ 1372 w 1570"/>
                <a:gd name="T81" fmla="*/ 444 h 1330"/>
                <a:gd name="T82" fmla="*/ 330 w 1570"/>
                <a:gd name="T83" fmla="*/ 1202 h 1330"/>
                <a:gd name="T84" fmla="*/ 309 w 1570"/>
                <a:gd name="T85" fmla="*/ 1238 h 1330"/>
                <a:gd name="T86" fmla="*/ 16 w 1570"/>
                <a:gd name="T87" fmla="*/ 1238 h 1330"/>
                <a:gd name="T88" fmla="*/ 21 w 1570"/>
                <a:gd name="T89" fmla="*/ 1259 h 1330"/>
                <a:gd name="T90" fmla="*/ 293 w 1570"/>
                <a:gd name="T91" fmla="*/ 1243 h 1330"/>
                <a:gd name="T92" fmla="*/ 271 w 1570"/>
                <a:gd name="T93" fmla="*/ 1297 h 1330"/>
                <a:gd name="T94" fmla="*/ 87 w 1570"/>
                <a:gd name="T95" fmla="*/ 1276 h 1330"/>
                <a:gd name="T96" fmla="*/ 125 w 1570"/>
                <a:gd name="T97" fmla="*/ 1292 h 1330"/>
                <a:gd name="T98" fmla="*/ 59 w 1570"/>
                <a:gd name="T99" fmla="*/ 1297 h 1330"/>
                <a:gd name="T100" fmla="*/ 59 w 1570"/>
                <a:gd name="T101" fmla="*/ 1297 h 1330"/>
                <a:gd name="T102" fmla="*/ 163 w 1570"/>
                <a:gd name="T103" fmla="*/ 1304 h 1330"/>
                <a:gd name="T104" fmla="*/ 196 w 1570"/>
                <a:gd name="T105" fmla="*/ 1313 h 1330"/>
                <a:gd name="T106" fmla="*/ 7 w 1570"/>
                <a:gd name="T107" fmla="*/ 1330 h 1330"/>
                <a:gd name="T108" fmla="*/ 7 w 1570"/>
                <a:gd name="T109" fmla="*/ 133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70" h="1330">
                  <a:moveTo>
                    <a:pt x="789" y="305"/>
                  </a:moveTo>
                  <a:lnTo>
                    <a:pt x="793" y="300"/>
                  </a:lnTo>
                  <a:lnTo>
                    <a:pt x="793" y="284"/>
                  </a:lnTo>
                  <a:lnTo>
                    <a:pt x="793" y="251"/>
                  </a:lnTo>
                  <a:lnTo>
                    <a:pt x="789" y="239"/>
                  </a:lnTo>
                  <a:lnTo>
                    <a:pt x="826" y="210"/>
                  </a:lnTo>
                  <a:lnTo>
                    <a:pt x="843" y="189"/>
                  </a:lnTo>
                  <a:lnTo>
                    <a:pt x="815" y="184"/>
                  </a:lnTo>
                  <a:lnTo>
                    <a:pt x="810" y="156"/>
                  </a:lnTo>
                  <a:lnTo>
                    <a:pt x="772" y="156"/>
                  </a:lnTo>
                  <a:lnTo>
                    <a:pt x="772" y="168"/>
                  </a:lnTo>
                  <a:lnTo>
                    <a:pt x="756" y="173"/>
                  </a:lnTo>
                  <a:lnTo>
                    <a:pt x="734" y="168"/>
                  </a:lnTo>
                  <a:lnTo>
                    <a:pt x="701" y="173"/>
                  </a:lnTo>
                  <a:lnTo>
                    <a:pt x="696" y="168"/>
                  </a:lnTo>
                  <a:lnTo>
                    <a:pt x="708" y="151"/>
                  </a:lnTo>
                  <a:lnTo>
                    <a:pt x="696" y="139"/>
                  </a:lnTo>
                  <a:lnTo>
                    <a:pt x="654" y="156"/>
                  </a:lnTo>
                  <a:lnTo>
                    <a:pt x="647" y="168"/>
                  </a:lnTo>
                  <a:lnTo>
                    <a:pt x="647" y="151"/>
                  </a:lnTo>
                  <a:lnTo>
                    <a:pt x="670" y="123"/>
                  </a:lnTo>
                  <a:lnTo>
                    <a:pt x="647" y="135"/>
                  </a:lnTo>
                  <a:lnTo>
                    <a:pt x="663" y="118"/>
                  </a:lnTo>
                  <a:lnTo>
                    <a:pt x="654" y="123"/>
                  </a:lnTo>
                  <a:lnTo>
                    <a:pt x="647" y="118"/>
                  </a:lnTo>
                  <a:lnTo>
                    <a:pt x="654" y="118"/>
                  </a:lnTo>
                  <a:lnTo>
                    <a:pt x="663" y="95"/>
                  </a:lnTo>
                  <a:lnTo>
                    <a:pt x="642" y="111"/>
                  </a:lnTo>
                  <a:lnTo>
                    <a:pt x="642" y="95"/>
                  </a:lnTo>
                  <a:lnTo>
                    <a:pt x="647" y="83"/>
                  </a:lnTo>
                  <a:lnTo>
                    <a:pt x="633" y="95"/>
                  </a:lnTo>
                  <a:lnTo>
                    <a:pt x="633" y="66"/>
                  </a:lnTo>
                  <a:lnTo>
                    <a:pt x="626" y="78"/>
                  </a:lnTo>
                  <a:lnTo>
                    <a:pt x="626" y="57"/>
                  </a:lnTo>
                  <a:lnTo>
                    <a:pt x="647" y="40"/>
                  </a:lnTo>
                  <a:lnTo>
                    <a:pt x="663" y="45"/>
                  </a:lnTo>
                  <a:lnTo>
                    <a:pt x="685" y="28"/>
                  </a:lnTo>
                  <a:lnTo>
                    <a:pt x="696" y="24"/>
                  </a:lnTo>
                  <a:lnTo>
                    <a:pt x="718" y="0"/>
                  </a:lnTo>
                  <a:lnTo>
                    <a:pt x="722" y="7"/>
                  </a:lnTo>
                  <a:lnTo>
                    <a:pt x="751" y="7"/>
                  </a:lnTo>
                  <a:lnTo>
                    <a:pt x="760" y="24"/>
                  </a:lnTo>
                  <a:lnTo>
                    <a:pt x="777" y="24"/>
                  </a:lnTo>
                  <a:lnTo>
                    <a:pt x="777" y="24"/>
                  </a:lnTo>
                  <a:lnTo>
                    <a:pt x="789" y="12"/>
                  </a:lnTo>
                  <a:lnTo>
                    <a:pt x="848" y="24"/>
                  </a:lnTo>
                  <a:lnTo>
                    <a:pt x="864" y="12"/>
                  </a:lnTo>
                  <a:lnTo>
                    <a:pt x="869" y="24"/>
                  </a:lnTo>
                  <a:lnTo>
                    <a:pt x="956" y="28"/>
                  </a:lnTo>
                  <a:lnTo>
                    <a:pt x="1020" y="24"/>
                  </a:lnTo>
                  <a:lnTo>
                    <a:pt x="1048" y="40"/>
                  </a:lnTo>
                  <a:lnTo>
                    <a:pt x="1063" y="28"/>
                  </a:lnTo>
                  <a:lnTo>
                    <a:pt x="1112" y="45"/>
                  </a:lnTo>
                  <a:lnTo>
                    <a:pt x="1150" y="40"/>
                  </a:lnTo>
                  <a:lnTo>
                    <a:pt x="1171" y="45"/>
                  </a:lnTo>
                  <a:lnTo>
                    <a:pt x="1171" y="62"/>
                  </a:lnTo>
                  <a:lnTo>
                    <a:pt x="1221" y="66"/>
                  </a:lnTo>
                  <a:lnTo>
                    <a:pt x="1237" y="83"/>
                  </a:lnTo>
                  <a:lnTo>
                    <a:pt x="1247" y="83"/>
                  </a:lnTo>
                  <a:lnTo>
                    <a:pt x="1273" y="95"/>
                  </a:lnTo>
                  <a:lnTo>
                    <a:pt x="1318" y="95"/>
                  </a:lnTo>
                  <a:lnTo>
                    <a:pt x="1327" y="78"/>
                  </a:lnTo>
                  <a:lnTo>
                    <a:pt x="1365" y="95"/>
                  </a:lnTo>
                  <a:lnTo>
                    <a:pt x="1372" y="99"/>
                  </a:lnTo>
                  <a:lnTo>
                    <a:pt x="1372" y="118"/>
                  </a:lnTo>
                  <a:lnTo>
                    <a:pt x="1398" y="111"/>
                  </a:lnTo>
                  <a:lnTo>
                    <a:pt x="1410" y="123"/>
                  </a:lnTo>
                  <a:lnTo>
                    <a:pt x="1436" y="118"/>
                  </a:lnTo>
                  <a:lnTo>
                    <a:pt x="1452" y="123"/>
                  </a:lnTo>
                  <a:lnTo>
                    <a:pt x="1478" y="118"/>
                  </a:lnTo>
                  <a:lnTo>
                    <a:pt x="1495" y="118"/>
                  </a:lnTo>
                  <a:lnTo>
                    <a:pt x="1495" y="123"/>
                  </a:lnTo>
                  <a:lnTo>
                    <a:pt x="1507" y="123"/>
                  </a:lnTo>
                  <a:lnTo>
                    <a:pt x="1490" y="135"/>
                  </a:lnTo>
                  <a:lnTo>
                    <a:pt x="1495" y="151"/>
                  </a:lnTo>
                  <a:lnTo>
                    <a:pt x="1495" y="168"/>
                  </a:lnTo>
                  <a:lnTo>
                    <a:pt x="1436" y="206"/>
                  </a:lnTo>
                  <a:lnTo>
                    <a:pt x="1419" y="222"/>
                  </a:lnTo>
                  <a:lnTo>
                    <a:pt x="1344" y="239"/>
                  </a:lnTo>
                  <a:lnTo>
                    <a:pt x="1318" y="262"/>
                  </a:lnTo>
                  <a:lnTo>
                    <a:pt x="1334" y="267"/>
                  </a:lnTo>
                  <a:lnTo>
                    <a:pt x="1318" y="279"/>
                  </a:lnTo>
                  <a:lnTo>
                    <a:pt x="1318" y="279"/>
                  </a:lnTo>
                  <a:lnTo>
                    <a:pt x="1327" y="279"/>
                  </a:lnTo>
                  <a:lnTo>
                    <a:pt x="1311" y="279"/>
                  </a:lnTo>
                  <a:lnTo>
                    <a:pt x="1273" y="321"/>
                  </a:lnTo>
                  <a:lnTo>
                    <a:pt x="1247" y="371"/>
                  </a:lnTo>
                  <a:lnTo>
                    <a:pt x="1263" y="411"/>
                  </a:lnTo>
                  <a:lnTo>
                    <a:pt x="1289" y="432"/>
                  </a:lnTo>
                  <a:lnTo>
                    <a:pt x="1237" y="465"/>
                  </a:lnTo>
                  <a:lnTo>
                    <a:pt x="1209" y="522"/>
                  </a:lnTo>
                  <a:lnTo>
                    <a:pt x="1226" y="527"/>
                  </a:lnTo>
                  <a:lnTo>
                    <a:pt x="1183" y="527"/>
                  </a:lnTo>
                  <a:lnTo>
                    <a:pt x="1155" y="543"/>
                  </a:lnTo>
                  <a:lnTo>
                    <a:pt x="1129" y="600"/>
                  </a:lnTo>
                  <a:lnTo>
                    <a:pt x="1112" y="593"/>
                  </a:lnTo>
                  <a:lnTo>
                    <a:pt x="1079" y="610"/>
                  </a:lnTo>
                  <a:lnTo>
                    <a:pt x="1063" y="600"/>
                  </a:lnTo>
                  <a:lnTo>
                    <a:pt x="966" y="600"/>
                  </a:lnTo>
                  <a:lnTo>
                    <a:pt x="949" y="617"/>
                  </a:lnTo>
                  <a:lnTo>
                    <a:pt x="911" y="626"/>
                  </a:lnTo>
                  <a:lnTo>
                    <a:pt x="902" y="650"/>
                  </a:lnTo>
                  <a:lnTo>
                    <a:pt x="897" y="650"/>
                  </a:lnTo>
                  <a:lnTo>
                    <a:pt x="881" y="666"/>
                  </a:lnTo>
                  <a:lnTo>
                    <a:pt x="848" y="650"/>
                  </a:lnTo>
                  <a:lnTo>
                    <a:pt x="831" y="626"/>
                  </a:lnTo>
                  <a:lnTo>
                    <a:pt x="843" y="617"/>
                  </a:lnTo>
                  <a:lnTo>
                    <a:pt x="826" y="600"/>
                  </a:lnTo>
                  <a:lnTo>
                    <a:pt x="826" y="593"/>
                  </a:lnTo>
                  <a:lnTo>
                    <a:pt x="789" y="560"/>
                  </a:lnTo>
                  <a:lnTo>
                    <a:pt x="756" y="560"/>
                  </a:lnTo>
                  <a:lnTo>
                    <a:pt x="751" y="560"/>
                  </a:lnTo>
                  <a:lnTo>
                    <a:pt x="751" y="527"/>
                  </a:lnTo>
                  <a:lnTo>
                    <a:pt x="751" y="522"/>
                  </a:lnTo>
                  <a:lnTo>
                    <a:pt x="760" y="499"/>
                  </a:lnTo>
                  <a:lnTo>
                    <a:pt x="777" y="489"/>
                  </a:lnTo>
                  <a:lnTo>
                    <a:pt x="789" y="482"/>
                  </a:lnTo>
                  <a:lnTo>
                    <a:pt x="777" y="482"/>
                  </a:lnTo>
                  <a:lnTo>
                    <a:pt x="756" y="461"/>
                  </a:lnTo>
                  <a:lnTo>
                    <a:pt x="760" y="432"/>
                  </a:lnTo>
                  <a:lnTo>
                    <a:pt x="789" y="411"/>
                  </a:lnTo>
                  <a:lnTo>
                    <a:pt x="760" y="395"/>
                  </a:lnTo>
                  <a:lnTo>
                    <a:pt x="751" y="354"/>
                  </a:lnTo>
                  <a:lnTo>
                    <a:pt x="777" y="354"/>
                  </a:lnTo>
                  <a:lnTo>
                    <a:pt x="793" y="321"/>
                  </a:lnTo>
                  <a:lnTo>
                    <a:pt x="777" y="317"/>
                  </a:lnTo>
                  <a:lnTo>
                    <a:pt x="789" y="305"/>
                  </a:lnTo>
                  <a:lnTo>
                    <a:pt x="789" y="305"/>
                  </a:lnTo>
                  <a:lnTo>
                    <a:pt x="789" y="305"/>
                  </a:lnTo>
                  <a:close/>
                  <a:moveTo>
                    <a:pt x="1570" y="350"/>
                  </a:moveTo>
                  <a:lnTo>
                    <a:pt x="1544" y="333"/>
                  </a:lnTo>
                  <a:lnTo>
                    <a:pt x="1544" y="321"/>
                  </a:lnTo>
                  <a:lnTo>
                    <a:pt x="1566" y="321"/>
                  </a:lnTo>
                  <a:lnTo>
                    <a:pt x="1570" y="338"/>
                  </a:lnTo>
                  <a:lnTo>
                    <a:pt x="1570" y="350"/>
                  </a:lnTo>
                  <a:lnTo>
                    <a:pt x="1570" y="350"/>
                  </a:lnTo>
                  <a:lnTo>
                    <a:pt x="1570" y="350"/>
                  </a:lnTo>
                  <a:close/>
                  <a:moveTo>
                    <a:pt x="1441" y="371"/>
                  </a:moveTo>
                  <a:lnTo>
                    <a:pt x="1441" y="362"/>
                  </a:lnTo>
                  <a:lnTo>
                    <a:pt x="1478" y="333"/>
                  </a:lnTo>
                  <a:lnTo>
                    <a:pt x="1490" y="333"/>
                  </a:lnTo>
                  <a:lnTo>
                    <a:pt x="1495" y="350"/>
                  </a:lnTo>
                  <a:lnTo>
                    <a:pt x="1516" y="350"/>
                  </a:lnTo>
                  <a:lnTo>
                    <a:pt x="1495" y="378"/>
                  </a:lnTo>
                  <a:lnTo>
                    <a:pt x="1490" y="388"/>
                  </a:lnTo>
                  <a:lnTo>
                    <a:pt x="1462" y="378"/>
                  </a:lnTo>
                  <a:lnTo>
                    <a:pt x="1457" y="362"/>
                  </a:lnTo>
                  <a:lnTo>
                    <a:pt x="1441" y="371"/>
                  </a:lnTo>
                  <a:lnTo>
                    <a:pt x="1441" y="371"/>
                  </a:lnTo>
                  <a:lnTo>
                    <a:pt x="1441" y="371"/>
                  </a:lnTo>
                  <a:close/>
                  <a:moveTo>
                    <a:pt x="1365" y="428"/>
                  </a:moveTo>
                  <a:lnTo>
                    <a:pt x="1356" y="416"/>
                  </a:lnTo>
                  <a:lnTo>
                    <a:pt x="1365" y="411"/>
                  </a:lnTo>
                  <a:lnTo>
                    <a:pt x="1386" y="406"/>
                  </a:lnTo>
                  <a:lnTo>
                    <a:pt x="1386" y="411"/>
                  </a:lnTo>
                  <a:lnTo>
                    <a:pt x="1365" y="428"/>
                  </a:lnTo>
                  <a:lnTo>
                    <a:pt x="1365" y="428"/>
                  </a:lnTo>
                  <a:lnTo>
                    <a:pt x="1365" y="428"/>
                  </a:lnTo>
                  <a:close/>
                  <a:moveTo>
                    <a:pt x="1372" y="444"/>
                  </a:moveTo>
                  <a:lnTo>
                    <a:pt x="1372" y="432"/>
                  </a:lnTo>
                  <a:lnTo>
                    <a:pt x="1382" y="444"/>
                  </a:lnTo>
                  <a:lnTo>
                    <a:pt x="1372" y="444"/>
                  </a:lnTo>
                  <a:lnTo>
                    <a:pt x="1372" y="444"/>
                  </a:lnTo>
                  <a:lnTo>
                    <a:pt x="1372" y="444"/>
                  </a:lnTo>
                  <a:close/>
                  <a:moveTo>
                    <a:pt x="309" y="1238"/>
                  </a:moveTo>
                  <a:lnTo>
                    <a:pt x="302" y="1226"/>
                  </a:lnTo>
                  <a:lnTo>
                    <a:pt x="309" y="1219"/>
                  </a:lnTo>
                  <a:lnTo>
                    <a:pt x="330" y="1202"/>
                  </a:lnTo>
                  <a:lnTo>
                    <a:pt x="323" y="1226"/>
                  </a:lnTo>
                  <a:lnTo>
                    <a:pt x="309" y="1238"/>
                  </a:lnTo>
                  <a:lnTo>
                    <a:pt x="309" y="1238"/>
                  </a:lnTo>
                  <a:lnTo>
                    <a:pt x="309" y="1238"/>
                  </a:lnTo>
                  <a:close/>
                  <a:moveTo>
                    <a:pt x="21" y="1259"/>
                  </a:moveTo>
                  <a:lnTo>
                    <a:pt x="21" y="1264"/>
                  </a:lnTo>
                  <a:lnTo>
                    <a:pt x="7" y="1243"/>
                  </a:lnTo>
                  <a:lnTo>
                    <a:pt x="16" y="1238"/>
                  </a:lnTo>
                  <a:lnTo>
                    <a:pt x="33" y="1243"/>
                  </a:lnTo>
                  <a:lnTo>
                    <a:pt x="21" y="1259"/>
                  </a:lnTo>
                  <a:lnTo>
                    <a:pt x="21" y="1259"/>
                  </a:lnTo>
                  <a:lnTo>
                    <a:pt x="21" y="1259"/>
                  </a:lnTo>
                  <a:close/>
                  <a:moveTo>
                    <a:pt x="271" y="1297"/>
                  </a:moveTo>
                  <a:lnTo>
                    <a:pt x="264" y="1297"/>
                  </a:lnTo>
                  <a:lnTo>
                    <a:pt x="276" y="1280"/>
                  </a:lnTo>
                  <a:lnTo>
                    <a:pt x="293" y="1243"/>
                  </a:lnTo>
                  <a:lnTo>
                    <a:pt x="302" y="1243"/>
                  </a:lnTo>
                  <a:lnTo>
                    <a:pt x="302" y="1259"/>
                  </a:lnTo>
                  <a:lnTo>
                    <a:pt x="293" y="1280"/>
                  </a:lnTo>
                  <a:lnTo>
                    <a:pt x="271" y="1297"/>
                  </a:lnTo>
                  <a:lnTo>
                    <a:pt x="271" y="1297"/>
                  </a:lnTo>
                  <a:lnTo>
                    <a:pt x="271" y="1297"/>
                  </a:lnTo>
                  <a:close/>
                  <a:moveTo>
                    <a:pt x="104" y="1297"/>
                  </a:moveTo>
                  <a:lnTo>
                    <a:pt x="87" y="1276"/>
                  </a:lnTo>
                  <a:lnTo>
                    <a:pt x="108" y="1264"/>
                  </a:lnTo>
                  <a:lnTo>
                    <a:pt x="125" y="1259"/>
                  </a:lnTo>
                  <a:lnTo>
                    <a:pt x="141" y="1259"/>
                  </a:lnTo>
                  <a:lnTo>
                    <a:pt x="125" y="1292"/>
                  </a:lnTo>
                  <a:lnTo>
                    <a:pt x="104" y="1297"/>
                  </a:lnTo>
                  <a:lnTo>
                    <a:pt x="104" y="1297"/>
                  </a:lnTo>
                  <a:lnTo>
                    <a:pt x="104" y="1297"/>
                  </a:lnTo>
                  <a:close/>
                  <a:moveTo>
                    <a:pt x="59" y="1297"/>
                  </a:moveTo>
                  <a:lnTo>
                    <a:pt x="54" y="1292"/>
                  </a:lnTo>
                  <a:lnTo>
                    <a:pt x="59" y="1280"/>
                  </a:lnTo>
                  <a:lnTo>
                    <a:pt x="75" y="1292"/>
                  </a:lnTo>
                  <a:lnTo>
                    <a:pt x="59" y="1297"/>
                  </a:lnTo>
                  <a:lnTo>
                    <a:pt x="59" y="1297"/>
                  </a:lnTo>
                  <a:lnTo>
                    <a:pt x="59" y="1297"/>
                  </a:lnTo>
                  <a:close/>
                  <a:moveTo>
                    <a:pt x="179" y="1321"/>
                  </a:moveTo>
                  <a:lnTo>
                    <a:pt x="163" y="1304"/>
                  </a:lnTo>
                  <a:lnTo>
                    <a:pt x="167" y="1292"/>
                  </a:lnTo>
                  <a:lnTo>
                    <a:pt x="196" y="1292"/>
                  </a:lnTo>
                  <a:lnTo>
                    <a:pt x="196" y="1297"/>
                  </a:lnTo>
                  <a:lnTo>
                    <a:pt x="196" y="1313"/>
                  </a:lnTo>
                  <a:lnTo>
                    <a:pt x="179" y="1321"/>
                  </a:lnTo>
                  <a:lnTo>
                    <a:pt x="179" y="1321"/>
                  </a:lnTo>
                  <a:lnTo>
                    <a:pt x="179" y="1321"/>
                  </a:lnTo>
                  <a:close/>
                  <a:moveTo>
                    <a:pt x="7" y="1330"/>
                  </a:moveTo>
                  <a:lnTo>
                    <a:pt x="0" y="1321"/>
                  </a:lnTo>
                  <a:lnTo>
                    <a:pt x="16" y="1313"/>
                  </a:lnTo>
                  <a:lnTo>
                    <a:pt x="7" y="1330"/>
                  </a:lnTo>
                  <a:lnTo>
                    <a:pt x="7" y="1330"/>
                  </a:lnTo>
                  <a:lnTo>
                    <a:pt x="7" y="133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7" name="Freeform 558">
              <a:extLst>
                <a:ext uri="{FF2B5EF4-FFF2-40B4-BE49-F238E27FC236}">
                  <a16:creationId xmlns:a16="http://schemas.microsoft.com/office/drawing/2014/main" id="{36C9F3A2-5FF9-4535-84A9-852BC6730139}"/>
                </a:ext>
              </a:extLst>
            </p:cNvPr>
            <p:cNvSpPr>
              <a:spLocks/>
            </p:cNvSpPr>
            <p:nvPr/>
          </p:nvSpPr>
          <p:spPr bwMode="gray">
            <a:xfrm>
              <a:off x="14176524" y="2940066"/>
              <a:ext cx="95243" cy="125355"/>
            </a:xfrm>
            <a:custGeom>
              <a:avLst/>
              <a:gdLst>
                <a:gd name="T0" fmla="*/ 90 w 291"/>
                <a:gd name="T1" fmla="*/ 317 h 383"/>
                <a:gd name="T2" fmla="*/ 102 w 291"/>
                <a:gd name="T3" fmla="*/ 300 h 383"/>
                <a:gd name="T4" fmla="*/ 107 w 291"/>
                <a:gd name="T5" fmla="*/ 295 h 383"/>
                <a:gd name="T6" fmla="*/ 31 w 291"/>
                <a:gd name="T7" fmla="*/ 239 h 383"/>
                <a:gd name="T8" fmla="*/ 48 w 291"/>
                <a:gd name="T9" fmla="*/ 222 h 383"/>
                <a:gd name="T10" fmla="*/ 48 w 291"/>
                <a:gd name="T11" fmla="*/ 201 h 383"/>
                <a:gd name="T12" fmla="*/ 22 w 291"/>
                <a:gd name="T13" fmla="*/ 168 h 383"/>
                <a:gd name="T14" fmla="*/ 14 w 291"/>
                <a:gd name="T15" fmla="*/ 118 h 383"/>
                <a:gd name="T16" fmla="*/ 48 w 291"/>
                <a:gd name="T17" fmla="*/ 90 h 383"/>
                <a:gd name="T18" fmla="*/ 14 w 291"/>
                <a:gd name="T19" fmla="*/ 62 h 383"/>
                <a:gd name="T20" fmla="*/ 5 w 291"/>
                <a:gd name="T21" fmla="*/ 57 h 383"/>
                <a:gd name="T22" fmla="*/ 0 w 291"/>
                <a:gd name="T23" fmla="*/ 24 h 383"/>
                <a:gd name="T24" fmla="*/ 31 w 291"/>
                <a:gd name="T25" fmla="*/ 17 h 383"/>
                <a:gd name="T26" fmla="*/ 102 w 291"/>
                <a:gd name="T27" fmla="*/ 7 h 383"/>
                <a:gd name="T28" fmla="*/ 140 w 291"/>
                <a:gd name="T29" fmla="*/ 40 h 383"/>
                <a:gd name="T30" fmla="*/ 194 w 291"/>
                <a:gd name="T31" fmla="*/ 95 h 383"/>
                <a:gd name="T32" fmla="*/ 194 w 291"/>
                <a:gd name="T33" fmla="*/ 118 h 383"/>
                <a:gd name="T34" fmla="*/ 182 w 291"/>
                <a:gd name="T35" fmla="*/ 128 h 383"/>
                <a:gd name="T36" fmla="*/ 199 w 291"/>
                <a:gd name="T37" fmla="*/ 135 h 383"/>
                <a:gd name="T38" fmla="*/ 232 w 291"/>
                <a:gd name="T39" fmla="*/ 151 h 383"/>
                <a:gd name="T40" fmla="*/ 253 w 291"/>
                <a:gd name="T41" fmla="*/ 135 h 383"/>
                <a:gd name="T42" fmla="*/ 253 w 291"/>
                <a:gd name="T43" fmla="*/ 151 h 383"/>
                <a:gd name="T44" fmla="*/ 253 w 291"/>
                <a:gd name="T45" fmla="*/ 201 h 383"/>
                <a:gd name="T46" fmla="*/ 265 w 291"/>
                <a:gd name="T47" fmla="*/ 246 h 383"/>
                <a:gd name="T48" fmla="*/ 279 w 291"/>
                <a:gd name="T49" fmla="*/ 295 h 383"/>
                <a:gd name="T50" fmla="*/ 253 w 291"/>
                <a:gd name="T51" fmla="*/ 317 h 383"/>
                <a:gd name="T52" fmla="*/ 248 w 291"/>
                <a:gd name="T53" fmla="*/ 338 h 383"/>
                <a:gd name="T54" fmla="*/ 199 w 291"/>
                <a:gd name="T55" fmla="*/ 350 h 383"/>
                <a:gd name="T56" fmla="*/ 177 w 291"/>
                <a:gd name="T57" fmla="*/ 354 h 383"/>
                <a:gd name="T58" fmla="*/ 140 w 291"/>
                <a:gd name="T59" fmla="*/ 366 h 383"/>
                <a:gd name="T60" fmla="*/ 123 w 291"/>
                <a:gd name="T61" fmla="*/ 383 h 383"/>
                <a:gd name="T62" fmla="*/ 102 w 291"/>
                <a:gd name="T63" fmla="*/ 338 h 383"/>
                <a:gd name="T64" fmla="*/ 85 w 291"/>
                <a:gd name="T65" fmla="*/ 32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 h="383">
                  <a:moveTo>
                    <a:pt x="85" y="329"/>
                  </a:moveTo>
                  <a:lnTo>
                    <a:pt x="90" y="317"/>
                  </a:lnTo>
                  <a:lnTo>
                    <a:pt x="85" y="312"/>
                  </a:lnTo>
                  <a:lnTo>
                    <a:pt x="102" y="300"/>
                  </a:lnTo>
                  <a:lnTo>
                    <a:pt x="107" y="300"/>
                  </a:lnTo>
                  <a:lnTo>
                    <a:pt x="107" y="295"/>
                  </a:lnTo>
                  <a:lnTo>
                    <a:pt x="64" y="272"/>
                  </a:lnTo>
                  <a:lnTo>
                    <a:pt x="31" y="239"/>
                  </a:lnTo>
                  <a:lnTo>
                    <a:pt x="48" y="239"/>
                  </a:lnTo>
                  <a:lnTo>
                    <a:pt x="48" y="222"/>
                  </a:lnTo>
                  <a:lnTo>
                    <a:pt x="31" y="201"/>
                  </a:lnTo>
                  <a:lnTo>
                    <a:pt x="48" y="201"/>
                  </a:lnTo>
                  <a:lnTo>
                    <a:pt x="52" y="189"/>
                  </a:lnTo>
                  <a:lnTo>
                    <a:pt x="22" y="168"/>
                  </a:lnTo>
                  <a:lnTo>
                    <a:pt x="38" y="118"/>
                  </a:lnTo>
                  <a:lnTo>
                    <a:pt x="14" y="118"/>
                  </a:lnTo>
                  <a:lnTo>
                    <a:pt x="22" y="90"/>
                  </a:lnTo>
                  <a:lnTo>
                    <a:pt x="48" y="90"/>
                  </a:lnTo>
                  <a:lnTo>
                    <a:pt x="14" y="73"/>
                  </a:lnTo>
                  <a:lnTo>
                    <a:pt x="14" y="62"/>
                  </a:lnTo>
                  <a:lnTo>
                    <a:pt x="22" y="62"/>
                  </a:lnTo>
                  <a:lnTo>
                    <a:pt x="5" y="57"/>
                  </a:lnTo>
                  <a:lnTo>
                    <a:pt x="5" y="40"/>
                  </a:lnTo>
                  <a:lnTo>
                    <a:pt x="0" y="24"/>
                  </a:lnTo>
                  <a:lnTo>
                    <a:pt x="22" y="17"/>
                  </a:lnTo>
                  <a:lnTo>
                    <a:pt x="31" y="17"/>
                  </a:lnTo>
                  <a:lnTo>
                    <a:pt x="52" y="0"/>
                  </a:lnTo>
                  <a:lnTo>
                    <a:pt x="102" y="7"/>
                  </a:lnTo>
                  <a:lnTo>
                    <a:pt x="128" y="40"/>
                  </a:lnTo>
                  <a:lnTo>
                    <a:pt x="140" y="40"/>
                  </a:lnTo>
                  <a:lnTo>
                    <a:pt x="140" y="62"/>
                  </a:lnTo>
                  <a:lnTo>
                    <a:pt x="194" y="95"/>
                  </a:lnTo>
                  <a:lnTo>
                    <a:pt x="177" y="111"/>
                  </a:lnTo>
                  <a:lnTo>
                    <a:pt x="194" y="118"/>
                  </a:lnTo>
                  <a:lnTo>
                    <a:pt x="177" y="118"/>
                  </a:lnTo>
                  <a:lnTo>
                    <a:pt x="182" y="128"/>
                  </a:lnTo>
                  <a:lnTo>
                    <a:pt x="194" y="128"/>
                  </a:lnTo>
                  <a:lnTo>
                    <a:pt x="199" y="135"/>
                  </a:lnTo>
                  <a:lnTo>
                    <a:pt x="227" y="144"/>
                  </a:lnTo>
                  <a:lnTo>
                    <a:pt x="232" y="151"/>
                  </a:lnTo>
                  <a:lnTo>
                    <a:pt x="248" y="135"/>
                  </a:lnTo>
                  <a:lnTo>
                    <a:pt x="253" y="135"/>
                  </a:lnTo>
                  <a:lnTo>
                    <a:pt x="279" y="151"/>
                  </a:lnTo>
                  <a:lnTo>
                    <a:pt x="253" y="151"/>
                  </a:lnTo>
                  <a:lnTo>
                    <a:pt x="270" y="173"/>
                  </a:lnTo>
                  <a:lnTo>
                    <a:pt x="253" y="201"/>
                  </a:lnTo>
                  <a:lnTo>
                    <a:pt x="248" y="217"/>
                  </a:lnTo>
                  <a:lnTo>
                    <a:pt x="265" y="246"/>
                  </a:lnTo>
                  <a:lnTo>
                    <a:pt x="291" y="272"/>
                  </a:lnTo>
                  <a:lnTo>
                    <a:pt x="279" y="295"/>
                  </a:lnTo>
                  <a:lnTo>
                    <a:pt x="253" y="300"/>
                  </a:lnTo>
                  <a:lnTo>
                    <a:pt x="253" y="317"/>
                  </a:lnTo>
                  <a:lnTo>
                    <a:pt x="265" y="333"/>
                  </a:lnTo>
                  <a:lnTo>
                    <a:pt x="248" y="338"/>
                  </a:lnTo>
                  <a:lnTo>
                    <a:pt x="215" y="338"/>
                  </a:lnTo>
                  <a:lnTo>
                    <a:pt x="199" y="350"/>
                  </a:lnTo>
                  <a:lnTo>
                    <a:pt x="182" y="350"/>
                  </a:lnTo>
                  <a:lnTo>
                    <a:pt x="177" y="354"/>
                  </a:lnTo>
                  <a:lnTo>
                    <a:pt x="161" y="354"/>
                  </a:lnTo>
                  <a:lnTo>
                    <a:pt x="140" y="366"/>
                  </a:lnTo>
                  <a:lnTo>
                    <a:pt x="128" y="383"/>
                  </a:lnTo>
                  <a:lnTo>
                    <a:pt x="123" y="383"/>
                  </a:lnTo>
                  <a:lnTo>
                    <a:pt x="123" y="350"/>
                  </a:lnTo>
                  <a:lnTo>
                    <a:pt x="102" y="338"/>
                  </a:lnTo>
                  <a:lnTo>
                    <a:pt x="85" y="329"/>
                  </a:lnTo>
                  <a:lnTo>
                    <a:pt x="85" y="329"/>
                  </a:lnTo>
                  <a:lnTo>
                    <a:pt x="85" y="32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8" name="Freeform 559">
              <a:extLst>
                <a:ext uri="{FF2B5EF4-FFF2-40B4-BE49-F238E27FC236}">
                  <a16:creationId xmlns:a16="http://schemas.microsoft.com/office/drawing/2014/main" id="{16CC72DB-C436-4B5E-8A47-EE43ED719071}"/>
                </a:ext>
              </a:extLst>
            </p:cNvPr>
            <p:cNvSpPr>
              <a:spLocks/>
            </p:cNvSpPr>
            <p:nvPr/>
          </p:nvSpPr>
          <p:spPr bwMode="gray">
            <a:xfrm>
              <a:off x="12343663" y="3780563"/>
              <a:ext cx="5237" cy="6873"/>
            </a:xfrm>
            <a:custGeom>
              <a:avLst/>
              <a:gdLst>
                <a:gd name="T0" fmla="*/ 4 w 16"/>
                <a:gd name="T1" fmla="*/ 21 h 21"/>
                <a:gd name="T2" fmla="*/ 0 w 16"/>
                <a:gd name="T3" fmla="*/ 16 h 21"/>
                <a:gd name="T4" fmla="*/ 4 w 16"/>
                <a:gd name="T5" fmla="*/ 0 h 21"/>
                <a:gd name="T6" fmla="*/ 16 w 16"/>
                <a:gd name="T7" fmla="*/ 9 h 21"/>
                <a:gd name="T8" fmla="*/ 4 w 16"/>
                <a:gd name="T9" fmla="*/ 21 h 21"/>
                <a:gd name="T10" fmla="*/ 4 w 16"/>
                <a:gd name="T11" fmla="*/ 21 h 21"/>
                <a:gd name="T12" fmla="*/ 4 w 16"/>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6" h="21">
                  <a:moveTo>
                    <a:pt x="4" y="21"/>
                  </a:moveTo>
                  <a:lnTo>
                    <a:pt x="0" y="16"/>
                  </a:lnTo>
                  <a:lnTo>
                    <a:pt x="4" y="0"/>
                  </a:lnTo>
                  <a:lnTo>
                    <a:pt x="16" y="9"/>
                  </a:lnTo>
                  <a:lnTo>
                    <a:pt x="4" y="21"/>
                  </a:lnTo>
                  <a:lnTo>
                    <a:pt x="4" y="21"/>
                  </a:lnTo>
                  <a:lnTo>
                    <a:pt x="4" y="21"/>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9" name="Freeform 560">
              <a:extLst>
                <a:ext uri="{FF2B5EF4-FFF2-40B4-BE49-F238E27FC236}">
                  <a16:creationId xmlns:a16="http://schemas.microsoft.com/office/drawing/2014/main" id="{91ECFE5D-0D43-4394-BA19-2B09ECD1B187}"/>
                </a:ext>
              </a:extLst>
            </p:cNvPr>
            <p:cNvSpPr>
              <a:spLocks noEditPoints="1"/>
            </p:cNvSpPr>
            <p:nvPr/>
          </p:nvSpPr>
          <p:spPr bwMode="gray">
            <a:xfrm>
              <a:off x="13984074" y="1597822"/>
              <a:ext cx="605499" cy="323369"/>
            </a:xfrm>
            <a:custGeom>
              <a:avLst/>
              <a:gdLst>
                <a:gd name="T0" fmla="*/ 749 w 1850"/>
                <a:gd name="T1" fmla="*/ 22 h 988"/>
                <a:gd name="T2" fmla="*/ 706 w 1850"/>
                <a:gd name="T3" fmla="*/ 17 h 988"/>
                <a:gd name="T4" fmla="*/ 678 w 1850"/>
                <a:gd name="T5" fmla="*/ 38 h 988"/>
                <a:gd name="T6" fmla="*/ 959 w 1850"/>
                <a:gd name="T7" fmla="*/ 43 h 988"/>
                <a:gd name="T8" fmla="*/ 834 w 1850"/>
                <a:gd name="T9" fmla="*/ 60 h 988"/>
                <a:gd name="T10" fmla="*/ 905 w 1850"/>
                <a:gd name="T11" fmla="*/ 71 h 988"/>
                <a:gd name="T12" fmla="*/ 933 w 1850"/>
                <a:gd name="T13" fmla="*/ 78 h 988"/>
                <a:gd name="T14" fmla="*/ 1013 w 1850"/>
                <a:gd name="T15" fmla="*/ 78 h 988"/>
                <a:gd name="T16" fmla="*/ 1082 w 1850"/>
                <a:gd name="T17" fmla="*/ 187 h 988"/>
                <a:gd name="T18" fmla="*/ 921 w 1850"/>
                <a:gd name="T19" fmla="*/ 260 h 988"/>
                <a:gd name="T20" fmla="*/ 690 w 1850"/>
                <a:gd name="T21" fmla="*/ 187 h 988"/>
                <a:gd name="T22" fmla="*/ 586 w 1850"/>
                <a:gd name="T23" fmla="*/ 128 h 988"/>
                <a:gd name="T24" fmla="*/ 657 w 1850"/>
                <a:gd name="T25" fmla="*/ 95 h 988"/>
                <a:gd name="T26" fmla="*/ 728 w 1850"/>
                <a:gd name="T27" fmla="*/ 78 h 988"/>
                <a:gd name="T28" fmla="*/ 825 w 1850"/>
                <a:gd name="T29" fmla="*/ 133 h 988"/>
                <a:gd name="T30" fmla="*/ 980 w 1850"/>
                <a:gd name="T31" fmla="*/ 60 h 988"/>
                <a:gd name="T32" fmla="*/ 586 w 1850"/>
                <a:gd name="T33" fmla="*/ 78 h 988"/>
                <a:gd name="T34" fmla="*/ 1481 w 1850"/>
                <a:gd name="T35" fmla="*/ 116 h 988"/>
                <a:gd name="T36" fmla="*/ 1219 w 1850"/>
                <a:gd name="T37" fmla="*/ 100 h 988"/>
                <a:gd name="T38" fmla="*/ 1843 w 1850"/>
                <a:gd name="T39" fmla="*/ 100 h 988"/>
                <a:gd name="T40" fmla="*/ 85 w 1850"/>
                <a:gd name="T41" fmla="*/ 334 h 988"/>
                <a:gd name="T42" fmla="*/ 118 w 1850"/>
                <a:gd name="T43" fmla="*/ 244 h 988"/>
                <a:gd name="T44" fmla="*/ 31 w 1850"/>
                <a:gd name="T45" fmla="*/ 227 h 988"/>
                <a:gd name="T46" fmla="*/ 85 w 1850"/>
                <a:gd name="T47" fmla="*/ 154 h 988"/>
                <a:gd name="T48" fmla="*/ 139 w 1850"/>
                <a:gd name="T49" fmla="*/ 194 h 988"/>
                <a:gd name="T50" fmla="*/ 295 w 1850"/>
                <a:gd name="T51" fmla="*/ 154 h 988"/>
                <a:gd name="T52" fmla="*/ 388 w 1850"/>
                <a:gd name="T53" fmla="*/ 239 h 988"/>
                <a:gd name="T54" fmla="*/ 458 w 1850"/>
                <a:gd name="T55" fmla="*/ 133 h 988"/>
                <a:gd name="T56" fmla="*/ 555 w 1850"/>
                <a:gd name="T57" fmla="*/ 187 h 988"/>
                <a:gd name="T58" fmla="*/ 652 w 1850"/>
                <a:gd name="T59" fmla="*/ 350 h 988"/>
                <a:gd name="T60" fmla="*/ 555 w 1850"/>
                <a:gd name="T61" fmla="*/ 442 h 988"/>
                <a:gd name="T62" fmla="*/ 480 w 1850"/>
                <a:gd name="T63" fmla="*/ 598 h 988"/>
                <a:gd name="T64" fmla="*/ 350 w 1850"/>
                <a:gd name="T65" fmla="*/ 598 h 988"/>
                <a:gd name="T66" fmla="*/ 286 w 1850"/>
                <a:gd name="T67" fmla="*/ 520 h 988"/>
                <a:gd name="T68" fmla="*/ 248 w 1850"/>
                <a:gd name="T69" fmla="*/ 487 h 988"/>
                <a:gd name="T70" fmla="*/ 265 w 1850"/>
                <a:gd name="T71" fmla="*/ 433 h 988"/>
                <a:gd name="T72" fmla="*/ 480 w 1850"/>
                <a:gd name="T73" fmla="*/ 376 h 988"/>
                <a:gd name="T74" fmla="*/ 350 w 1850"/>
                <a:gd name="T75" fmla="*/ 350 h 988"/>
                <a:gd name="T76" fmla="*/ 286 w 1850"/>
                <a:gd name="T77" fmla="*/ 355 h 988"/>
                <a:gd name="T78" fmla="*/ 227 w 1850"/>
                <a:gd name="T79" fmla="*/ 416 h 988"/>
                <a:gd name="T80" fmla="*/ 662 w 1850"/>
                <a:gd name="T81" fmla="*/ 249 h 988"/>
                <a:gd name="T82" fmla="*/ 673 w 1850"/>
                <a:gd name="T83" fmla="*/ 282 h 988"/>
                <a:gd name="T84" fmla="*/ 732 w 1850"/>
                <a:gd name="T85" fmla="*/ 282 h 988"/>
                <a:gd name="T86" fmla="*/ 1396 w 1850"/>
                <a:gd name="T87" fmla="*/ 293 h 988"/>
                <a:gd name="T88" fmla="*/ 1354 w 1850"/>
                <a:gd name="T89" fmla="*/ 305 h 988"/>
                <a:gd name="T90" fmla="*/ 47 w 1850"/>
                <a:gd name="T91" fmla="*/ 371 h 988"/>
                <a:gd name="T92" fmla="*/ 97 w 1850"/>
                <a:gd name="T93" fmla="*/ 376 h 988"/>
                <a:gd name="T94" fmla="*/ 1136 w 1850"/>
                <a:gd name="T95" fmla="*/ 315 h 988"/>
                <a:gd name="T96" fmla="*/ 813 w 1850"/>
                <a:gd name="T97" fmla="*/ 355 h 988"/>
                <a:gd name="T98" fmla="*/ 678 w 1850"/>
                <a:gd name="T99" fmla="*/ 371 h 988"/>
                <a:gd name="T100" fmla="*/ 841 w 1850"/>
                <a:gd name="T101" fmla="*/ 537 h 988"/>
                <a:gd name="T102" fmla="*/ 732 w 1850"/>
                <a:gd name="T103" fmla="*/ 433 h 988"/>
                <a:gd name="T104" fmla="*/ 1013 w 1850"/>
                <a:gd name="T105" fmla="*/ 482 h 988"/>
                <a:gd name="T106" fmla="*/ 879 w 1850"/>
                <a:gd name="T107" fmla="*/ 560 h 988"/>
                <a:gd name="T108" fmla="*/ 1068 w 1850"/>
                <a:gd name="T109" fmla="*/ 648 h 988"/>
                <a:gd name="T110" fmla="*/ 602 w 1850"/>
                <a:gd name="T111" fmla="*/ 988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50" h="988">
                  <a:moveTo>
                    <a:pt x="728" y="17"/>
                  </a:moveTo>
                  <a:lnTo>
                    <a:pt x="711" y="0"/>
                  </a:lnTo>
                  <a:lnTo>
                    <a:pt x="744" y="5"/>
                  </a:lnTo>
                  <a:lnTo>
                    <a:pt x="728" y="17"/>
                  </a:lnTo>
                  <a:lnTo>
                    <a:pt x="728" y="17"/>
                  </a:lnTo>
                  <a:lnTo>
                    <a:pt x="728" y="17"/>
                  </a:lnTo>
                  <a:close/>
                  <a:moveTo>
                    <a:pt x="749" y="22"/>
                  </a:moveTo>
                  <a:lnTo>
                    <a:pt x="744" y="17"/>
                  </a:lnTo>
                  <a:lnTo>
                    <a:pt x="765" y="17"/>
                  </a:lnTo>
                  <a:lnTo>
                    <a:pt x="749" y="22"/>
                  </a:lnTo>
                  <a:lnTo>
                    <a:pt x="749" y="22"/>
                  </a:lnTo>
                  <a:lnTo>
                    <a:pt x="749" y="22"/>
                  </a:lnTo>
                  <a:close/>
                  <a:moveTo>
                    <a:pt x="716" y="22"/>
                  </a:moveTo>
                  <a:lnTo>
                    <a:pt x="706" y="17"/>
                  </a:lnTo>
                  <a:lnTo>
                    <a:pt x="728" y="22"/>
                  </a:lnTo>
                  <a:lnTo>
                    <a:pt x="716" y="22"/>
                  </a:lnTo>
                  <a:lnTo>
                    <a:pt x="716" y="22"/>
                  </a:lnTo>
                  <a:lnTo>
                    <a:pt x="716" y="22"/>
                  </a:lnTo>
                  <a:close/>
                  <a:moveTo>
                    <a:pt x="673" y="43"/>
                  </a:moveTo>
                  <a:lnTo>
                    <a:pt x="657" y="43"/>
                  </a:lnTo>
                  <a:lnTo>
                    <a:pt x="678" y="38"/>
                  </a:lnTo>
                  <a:lnTo>
                    <a:pt x="673" y="43"/>
                  </a:lnTo>
                  <a:lnTo>
                    <a:pt x="673" y="43"/>
                  </a:lnTo>
                  <a:lnTo>
                    <a:pt x="673" y="43"/>
                  </a:lnTo>
                  <a:close/>
                  <a:moveTo>
                    <a:pt x="959" y="43"/>
                  </a:moveTo>
                  <a:lnTo>
                    <a:pt x="976" y="43"/>
                  </a:lnTo>
                  <a:lnTo>
                    <a:pt x="947" y="43"/>
                  </a:lnTo>
                  <a:lnTo>
                    <a:pt x="959" y="43"/>
                  </a:lnTo>
                  <a:lnTo>
                    <a:pt x="959" y="43"/>
                  </a:lnTo>
                  <a:lnTo>
                    <a:pt x="959" y="43"/>
                  </a:lnTo>
                  <a:close/>
                  <a:moveTo>
                    <a:pt x="834" y="128"/>
                  </a:moveTo>
                  <a:lnTo>
                    <a:pt x="841" y="83"/>
                  </a:lnTo>
                  <a:lnTo>
                    <a:pt x="851" y="78"/>
                  </a:lnTo>
                  <a:lnTo>
                    <a:pt x="834" y="71"/>
                  </a:lnTo>
                  <a:lnTo>
                    <a:pt x="834" y="60"/>
                  </a:lnTo>
                  <a:lnTo>
                    <a:pt x="858" y="55"/>
                  </a:lnTo>
                  <a:lnTo>
                    <a:pt x="858" y="71"/>
                  </a:lnTo>
                  <a:lnTo>
                    <a:pt x="867" y="71"/>
                  </a:lnTo>
                  <a:lnTo>
                    <a:pt x="872" y="43"/>
                  </a:lnTo>
                  <a:lnTo>
                    <a:pt x="905" y="55"/>
                  </a:lnTo>
                  <a:lnTo>
                    <a:pt x="888" y="60"/>
                  </a:lnTo>
                  <a:lnTo>
                    <a:pt x="905" y="71"/>
                  </a:lnTo>
                  <a:lnTo>
                    <a:pt x="888" y="83"/>
                  </a:lnTo>
                  <a:lnTo>
                    <a:pt x="879" y="100"/>
                  </a:lnTo>
                  <a:lnTo>
                    <a:pt x="888" y="112"/>
                  </a:lnTo>
                  <a:lnTo>
                    <a:pt x="910" y="95"/>
                  </a:lnTo>
                  <a:lnTo>
                    <a:pt x="926" y="100"/>
                  </a:lnTo>
                  <a:lnTo>
                    <a:pt x="933" y="95"/>
                  </a:lnTo>
                  <a:lnTo>
                    <a:pt x="933" y="78"/>
                  </a:lnTo>
                  <a:lnTo>
                    <a:pt x="980" y="78"/>
                  </a:lnTo>
                  <a:lnTo>
                    <a:pt x="964" y="71"/>
                  </a:lnTo>
                  <a:lnTo>
                    <a:pt x="997" y="78"/>
                  </a:lnTo>
                  <a:lnTo>
                    <a:pt x="980" y="83"/>
                  </a:lnTo>
                  <a:lnTo>
                    <a:pt x="985" y="83"/>
                  </a:lnTo>
                  <a:lnTo>
                    <a:pt x="1013" y="71"/>
                  </a:lnTo>
                  <a:lnTo>
                    <a:pt x="1013" y="78"/>
                  </a:lnTo>
                  <a:lnTo>
                    <a:pt x="1002" y="83"/>
                  </a:lnTo>
                  <a:lnTo>
                    <a:pt x="1039" y="78"/>
                  </a:lnTo>
                  <a:lnTo>
                    <a:pt x="1035" y="83"/>
                  </a:lnTo>
                  <a:lnTo>
                    <a:pt x="1174" y="112"/>
                  </a:lnTo>
                  <a:lnTo>
                    <a:pt x="1165" y="133"/>
                  </a:lnTo>
                  <a:lnTo>
                    <a:pt x="1181" y="138"/>
                  </a:lnTo>
                  <a:lnTo>
                    <a:pt x="1082" y="187"/>
                  </a:lnTo>
                  <a:lnTo>
                    <a:pt x="1089" y="206"/>
                  </a:lnTo>
                  <a:lnTo>
                    <a:pt x="1073" y="223"/>
                  </a:lnTo>
                  <a:lnTo>
                    <a:pt x="1035" y="239"/>
                  </a:lnTo>
                  <a:lnTo>
                    <a:pt x="1002" y="227"/>
                  </a:lnTo>
                  <a:lnTo>
                    <a:pt x="976" y="239"/>
                  </a:lnTo>
                  <a:lnTo>
                    <a:pt x="959" y="260"/>
                  </a:lnTo>
                  <a:lnTo>
                    <a:pt x="921" y="260"/>
                  </a:lnTo>
                  <a:lnTo>
                    <a:pt x="858" y="239"/>
                  </a:lnTo>
                  <a:lnTo>
                    <a:pt x="872" y="223"/>
                  </a:lnTo>
                  <a:lnTo>
                    <a:pt x="728" y="227"/>
                  </a:lnTo>
                  <a:lnTo>
                    <a:pt x="728" y="211"/>
                  </a:lnTo>
                  <a:lnTo>
                    <a:pt x="690" y="211"/>
                  </a:lnTo>
                  <a:lnTo>
                    <a:pt x="640" y="187"/>
                  </a:lnTo>
                  <a:lnTo>
                    <a:pt x="690" y="187"/>
                  </a:lnTo>
                  <a:lnTo>
                    <a:pt x="749" y="194"/>
                  </a:lnTo>
                  <a:lnTo>
                    <a:pt x="706" y="182"/>
                  </a:lnTo>
                  <a:lnTo>
                    <a:pt x="803" y="171"/>
                  </a:lnTo>
                  <a:lnTo>
                    <a:pt x="834" y="154"/>
                  </a:lnTo>
                  <a:lnTo>
                    <a:pt x="586" y="171"/>
                  </a:lnTo>
                  <a:lnTo>
                    <a:pt x="539" y="138"/>
                  </a:lnTo>
                  <a:lnTo>
                    <a:pt x="586" y="128"/>
                  </a:lnTo>
                  <a:lnTo>
                    <a:pt x="517" y="112"/>
                  </a:lnTo>
                  <a:lnTo>
                    <a:pt x="581" y="95"/>
                  </a:lnTo>
                  <a:lnTo>
                    <a:pt x="624" y="112"/>
                  </a:lnTo>
                  <a:lnTo>
                    <a:pt x="640" y="100"/>
                  </a:lnTo>
                  <a:lnTo>
                    <a:pt x="619" y="95"/>
                  </a:lnTo>
                  <a:lnTo>
                    <a:pt x="602" y="71"/>
                  </a:lnTo>
                  <a:lnTo>
                    <a:pt x="657" y="95"/>
                  </a:lnTo>
                  <a:lnTo>
                    <a:pt x="657" y="78"/>
                  </a:lnTo>
                  <a:lnTo>
                    <a:pt x="662" y="60"/>
                  </a:lnTo>
                  <a:lnTo>
                    <a:pt x="636" y="55"/>
                  </a:lnTo>
                  <a:lnTo>
                    <a:pt x="652" y="43"/>
                  </a:lnTo>
                  <a:lnTo>
                    <a:pt x="706" y="60"/>
                  </a:lnTo>
                  <a:lnTo>
                    <a:pt x="711" y="78"/>
                  </a:lnTo>
                  <a:lnTo>
                    <a:pt x="728" y="78"/>
                  </a:lnTo>
                  <a:lnTo>
                    <a:pt x="728" y="83"/>
                  </a:lnTo>
                  <a:lnTo>
                    <a:pt x="728" y="95"/>
                  </a:lnTo>
                  <a:lnTo>
                    <a:pt x="803" y="83"/>
                  </a:lnTo>
                  <a:lnTo>
                    <a:pt x="803" y="95"/>
                  </a:lnTo>
                  <a:lnTo>
                    <a:pt x="782" y="112"/>
                  </a:lnTo>
                  <a:lnTo>
                    <a:pt x="803" y="100"/>
                  </a:lnTo>
                  <a:lnTo>
                    <a:pt x="825" y="133"/>
                  </a:lnTo>
                  <a:lnTo>
                    <a:pt x="834" y="128"/>
                  </a:lnTo>
                  <a:lnTo>
                    <a:pt x="834" y="128"/>
                  </a:lnTo>
                  <a:lnTo>
                    <a:pt x="834" y="128"/>
                  </a:lnTo>
                  <a:close/>
                  <a:moveTo>
                    <a:pt x="976" y="60"/>
                  </a:moveTo>
                  <a:lnTo>
                    <a:pt x="959" y="60"/>
                  </a:lnTo>
                  <a:lnTo>
                    <a:pt x="964" y="55"/>
                  </a:lnTo>
                  <a:lnTo>
                    <a:pt x="980" y="60"/>
                  </a:lnTo>
                  <a:lnTo>
                    <a:pt x="976" y="60"/>
                  </a:lnTo>
                  <a:lnTo>
                    <a:pt x="976" y="60"/>
                  </a:lnTo>
                  <a:lnTo>
                    <a:pt x="976" y="60"/>
                  </a:lnTo>
                  <a:close/>
                  <a:moveTo>
                    <a:pt x="565" y="83"/>
                  </a:moveTo>
                  <a:lnTo>
                    <a:pt x="539" y="78"/>
                  </a:lnTo>
                  <a:lnTo>
                    <a:pt x="555" y="71"/>
                  </a:lnTo>
                  <a:lnTo>
                    <a:pt x="586" y="78"/>
                  </a:lnTo>
                  <a:lnTo>
                    <a:pt x="565" y="83"/>
                  </a:lnTo>
                  <a:lnTo>
                    <a:pt x="565" y="83"/>
                  </a:lnTo>
                  <a:lnTo>
                    <a:pt x="565" y="83"/>
                  </a:lnTo>
                  <a:close/>
                  <a:moveTo>
                    <a:pt x="1481" y="116"/>
                  </a:moveTo>
                  <a:lnTo>
                    <a:pt x="1472" y="112"/>
                  </a:lnTo>
                  <a:lnTo>
                    <a:pt x="1628" y="95"/>
                  </a:lnTo>
                  <a:lnTo>
                    <a:pt x="1481" y="116"/>
                  </a:lnTo>
                  <a:lnTo>
                    <a:pt x="1481" y="116"/>
                  </a:lnTo>
                  <a:lnTo>
                    <a:pt x="1481" y="116"/>
                  </a:lnTo>
                  <a:close/>
                  <a:moveTo>
                    <a:pt x="1219" y="100"/>
                  </a:moveTo>
                  <a:lnTo>
                    <a:pt x="1233" y="100"/>
                  </a:lnTo>
                  <a:lnTo>
                    <a:pt x="1212" y="112"/>
                  </a:lnTo>
                  <a:lnTo>
                    <a:pt x="1219" y="100"/>
                  </a:lnTo>
                  <a:lnTo>
                    <a:pt x="1219" y="100"/>
                  </a:lnTo>
                  <a:lnTo>
                    <a:pt x="1219" y="100"/>
                  </a:lnTo>
                  <a:close/>
                  <a:moveTo>
                    <a:pt x="1843" y="100"/>
                  </a:moveTo>
                  <a:lnTo>
                    <a:pt x="1838" y="100"/>
                  </a:lnTo>
                  <a:lnTo>
                    <a:pt x="1850" y="100"/>
                  </a:lnTo>
                  <a:lnTo>
                    <a:pt x="1843" y="100"/>
                  </a:lnTo>
                  <a:lnTo>
                    <a:pt x="1843" y="100"/>
                  </a:lnTo>
                  <a:lnTo>
                    <a:pt x="1843" y="100"/>
                  </a:lnTo>
                  <a:close/>
                  <a:moveTo>
                    <a:pt x="227" y="416"/>
                  </a:moveTo>
                  <a:lnTo>
                    <a:pt x="177" y="409"/>
                  </a:lnTo>
                  <a:lnTo>
                    <a:pt x="173" y="393"/>
                  </a:lnTo>
                  <a:lnTo>
                    <a:pt x="135" y="371"/>
                  </a:lnTo>
                  <a:lnTo>
                    <a:pt x="194" y="360"/>
                  </a:lnTo>
                  <a:lnTo>
                    <a:pt x="102" y="350"/>
                  </a:lnTo>
                  <a:lnTo>
                    <a:pt x="85" y="334"/>
                  </a:lnTo>
                  <a:lnTo>
                    <a:pt x="102" y="315"/>
                  </a:lnTo>
                  <a:lnTo>
                    <a:pt x="64" y="293"/>
                  </a:lnTo>
                  <a:lnTo>
                    <a:pt x="151" y="298"/>
                  </a:lnTo>
                  <a:lnTo>
                    <a:pt x="139" y="293"/>
                  </a:lnTo>
                  <a:lnTo>
                    <a:pt x="106" y="293"/>
                  </a:lnTo>
                  <a:lnTo>
                    <a:pt x="97" y="277"/>
                  </a:lnTo>
                  <a:lnTo>
                    <a:pt x="118" y="244"/>
                  </a:lnTo>
                  <a:lnTo>
                    <a:pt x="102" y="249"/>
                  </a:lnTo>
                  <a:lnTo>
                    <a:pt x="85" y="239"/>
                  </a:lnTo>
                  <a:lnTo>
                    <a:pt x="80" y="244"/>
                  </a:lnTo>
                  <a:lnTo>
                    <a:pt x="97" y="260"/>
                  </a:lnTo>
                  <a:lnTo>
                    <a:pt x="52" y="277"/>
                  </a:lnTo>
                  <a:lnTo>
                    <a:pt x="47" y="249"/>
                  </a:lnTo>
                  <a:lnTo>
                    <a:pt x="31" y="227"/>
                  </a:lnTo>
                  <a:lnTo>
                    <a:pt x="31" y="211"/>
                  </a:lnTo>
                  <a:lnTo>
                    <a:pt x="14" y="194"/>
                  </a:lnTo>
                  <a:lnTo>
                    <a:pt x="52" y="194"/>
                  </a:lnTo>
                  <a:lnTo>
                    <a:pt x="31" y="194"/>
                  </a:lnTo>
                  <a:lnTo>
                    <a:pt x="64" y="187"/>
                  </a:lnTo>
                  <a:lnTo>
                    <a:pt x="52" y="166"/>
                  </a:lnTo>
                  <a:lnTo>
                    <a:pt x="85" y="154"/>
                  </a:lnTo>
                  <a:lnTo>
                    <a:pt x="135" y="182"/>
                  </a:lnTo>
                  <a:lnTo>
                    <a:pt x="135" y="171"/>
                  </a:lnTo>
                  <a:lnTo>
                    <a:pt x="123" y="154"/>
                  </a:lnTo>
                  <a:lnTo>
                    <a:pt x="156" y="166"/>
                  </a:lnTo>
                  <a:lnTo>
                    <a:pt x="241" y="149"/>
                  </a:lnTo>
                  <a:lnTo>
                    <a:pt x="248" y="166"/>
                  </a:lnTo>
                  <a:lnTo>
                    <a:pt x="139" y="194"/>
                  </a:lnTo>
                  <a:lnTo>
                    <a:pt x="215" y="194"/>
                  </a:lnTo>
                  <a:lnTo>
                    <a:pt x="203" y="211"/>
                  </a:lnTo>
                  <a:lnTo>
                    <a:pt x="227" y="211"/>
                  </a:lnTo>
                  <a:lnTo>
                    <a:pt x="258" y="244"/>
                  </a:lnTo>
                  <a:lnTo>
                    <a:pt x="265" y="239"/>
                  </a:lnTo>
                  <a:lnTo>
                    <a:pt x="241" y="206"/>
                  </a:lnTo>
                  <a:lnTo>
                    <a:pt x="295" y="154"/>
                  </a:lnTo>
                  <a:lnTo>
                    <a:pt x="338" y="187"/>
                  </a:lnTo>
                  <a:lnTo>
                    <a:pt x="354" y="239"/>
                  </a:lnTo>
                  <a:lnTo>
                    <a:pt x="376" y="249"/>
                  </a:lnTo>
                  <a:lnTo>
                    <a:pt x="371" y="265"/>
                  </a:lnTo>
                  <a:lnTo>
                    <a:pt x="376" y="260"/>
                  </a:lnTo>
                  <a:lnTo>
                    <a:pt x="425" y="305"/>
                  </a:lnTo>
                  <a:lnTo>
                    <a:pt x="388" y="239"/>
                  </a:lnTo>
                  <a:lnTo>
                    <a:pt x="366" y="154"/>
                  </a:lnTo>
                  <a:lnTo>
                    <a:pt x="404" y="149"/>
                  </a:lnTo>
                  <a:lnTo>
                    <a:pt x="388" y="133"/>
                  </a:lnTo>
                  <a:lnTo>
                    <a:pt x="409" y="116"/>
                  </a:lnTo>
                  <a:lnTo>
                    <a:pt x="430" y="116"/>
                  </a:lnTo>
                  <a:lnTo>
                    <a:pt x="447" y="149"/>
                  </a:lnTo>
                  <a:lnTo>
                    <a:pt x="458" y="133"/>
                  </a:lnTo>
                  <a:lnTo>
                    <a:pt x="480" y="138"/>
                  </a:lnTo>
                  <a:lnTo>
                    <a:pt x="539" y="171"/>
                  </a:lnTo>
                  <a:lnTo>
                    <a:pt x="517" y="187"/>
                  </a:lnTo>
                  <a:lnTo>
                    <a:pt x="513" y="206"/>
                  </a:lnTo>
                  <a:lnTo>
                    <a:pt x="517" y="223"/>
                  </a:lnTo>
                  <a:lnTo>
                    <a:pt x="501" y="227"/>
                  </a:lnTo>
                  <a:lnTo>
                    <a:pt x="555" y="187"/>
                  </a:lnTo>
                  <a:lnTo>
                    <a:pt x="586" y="211"/>
                  </a:lnTo>
                  <a:lnTo>
                    <a:pt x="593" y="260"/>
                  </a:lnTo>
                  <a:lnTo>
                    <a:pt x="652" y="265"/>
                  </a:lnTo>
                  <a:lnTo>
                    <a:pt x="662" y="282"/>
                  </a:lnTo>
                  <a:lnTo>
                    <a:pt x="782" y="315"/>
                  </a:lnTo>
                  <a:lnTo>
                    <a:pt x="765" y="350"/>
                  </a:lnTo>
                  <a:lnTo>
                    <a:pt x="652" y="350"/>
                  </a:lnTo>
                  <a:lnTo>
                    <a:pt x="640" y="355"/>
                  </a:lnTo>
                  <a:lnTo>
                    <a:pt x="652" y="371"/>
                  </a:lnTo>
                  <a:lnTo>
                    <a:pt x="593" y="371"/>
                  </a:lnTo>
                  <a:lnTo>
                    <a:pt x="602" y="388"/>
                  </a:lnTo>
                  <a:lnTo>
                    <a:pt x="602" y="404"/>
                  </a:lnTo>
                  <a:lnTo>
                    <a:pt x="610" y="433"/>
                  </a:lnTo>
                  <a:lnTo>
                    <a:pt x="555" y="442"/>
                  </a:lnTo>
                  <a:lnTo>
                    <a:pt x="555" y="466"/>
                  </a:lnTo>
                  <a:lnTo>
                    <a:pt x="565" y="482"/>
                  </a:lnTo>
                  <a:lnTo>
                    <a:pt x="548" y="520"/>
                  </a:lnTo>
                  <a:lnTo>
                    <a:pt x="513" y="537"/>
                  </a:lnTo>
                  <a:lnTo>
                    <a:pt x="484" y="593"/>
                  </a:lnTo>
                  <a:lnTo>
                    <a:pt x="463" y="593"/>
                  </a:lnTo>
                  <a:lnTo>
                    <a:pt x="480" y="598"/>
                  </a:lnTo>
                  <a:lnTo>
                    <a:pt x="458" y="631"/>
                  </a:lnTo>
                  <a:lnTo>
                    <a:pt x="475" y="648"/>
                  </a:lnTo>
                  <a:lnTo>
                    <a:pt x="447" y="664"/>
                  </a:lnTo>
                  <a:lnTo>
                    <a:pt x="354" y="615"/>
                  </a:lnTo>
                  <a:lnTo>
                    <a:pt x="425" y="598"/>
                  </a:lnTo>
                  <a:lnTo>
                    <a:pt x="392" y="582"/>
                  </a:lnTo>
                  <a:lnTo>
                    <a:pt x="350" y="598"/>
                  </a:lnTo>
                  <a:lnTo>
                    <a:pt x="324" y="577"/>
                  </a:lnTo>
                  <a:lnTo>
                    <a:pt x="286" y="577"/>
                  </a:lnTo>
                  <a:lnTo>
                    <a:pt x="265" y="553"/>
                  </a:lnTo>
                  <a:lnTo>
                    <a:pt x="241" y="520"/>
                  </a:lnTo>
                  <a:lnTo>
                    <a:pt x="269" y="515"/>
                  </a:lnTo>
                  <a:lnTo>
                    <a:pt x="286" y="515"/>
                  </a:lnTo>
                  <a:lnTo>
                    <a:pt x="286" y="520"/>
                  </a:lnTo>
                  <a:lnTo>
                    <a:pt x="371" y="520"/>
                  </a:lnTo>
                  <a:lnTo>
                    <a:pt x="404" y="537"/>
                  </a:lnTo>
                  <a:lnTo>
                    <a:pt x="409" y="527"/>
                  </a:lnTo>
                  <a:lnTo>
                    <a:pt x="300" y="499"/>
                  </a:lnTo>
                  <a:lnTo>
                    <a:pt x="447" y="471"/>
                  </a:lnTo>
                  <a:lnTo>
                    <a:pt x="463" y="461"/>
                  </a:lnTo>
                  <a:lnTo>
                    <a:pt x="248" y="487"/>
                  </a:lnTo>
                  <a:lnTo>
                    <a:pt x="232" y="482"/>
                  </a:lnTo>
                  <a:lnTo>
                    <a:pt x="241" y="471"/>
                  </a:lnTo>
                  <a:lnTo>
                    <a:pt x="227" y="466"/>
                  </a:lnTo>
                  <a:lnTo>
                    <a:pt x="227" y="442"/>
                  </a:lnTo>
                  <a:lnTo>
                    <a:pt x="248" y="433"/>
                  </a:lnTo>
                  <a:lnTo>
                    <a:pt x="269" y="449"/>
                  </a:lnTo>
                  <a:lnTo>
                    <a:pt x="265" y="433"/>
                  </a:lnTo>
                  <a:lnTo>
                    <a:pt x="317" y="426"/>
                  </a:lnTo>
                  <a:lnTo>
                    <a:pt x="338" y="409"/>
                  </a:lnTo>
                  <a:lnTo>
                    <a:pt x="371" y="409"/>
                  </a:lnTo>
                  <a:lnTo>
                    <a:pt x="366" y="404"/>
                  </a:lnTo>
                  <a:lnTo>
                    <a:pt x="371" y="393"/>
                  </a:lnTo>
                  <a:lnTo>
                    <a:pt x="442" y="393"/>
                  </a:lnTo>
                  <a:lnTo>
                    <a:pt x="480" y="376"/>
                  </a:lnTo>
                  <a:lnTo>
                    <a:pt x="409" y="376"/>
                  </a:lnTo>
                  <a:lnTo>
                    <a:pt x="447" y="338"/>
                  </a:lnTo>
                  <a:lnTo>
                    <a:pt x="425" y="334"/>
                  </a:lnTo>
                  <a:lnTo>
                    <a:pt x="392" y="371"/>
                  </a:lnTo>
                  <a:lnTo>
                    <a:pt x="354" y="376"/>
                  </a:lnTo>
                  <a:lnTo>
                    <a:pt x="333" y="355"/>
                  </a:lnTo>
                  <a:lnTo>
                    <a:pt x="350" y="350"/>
                  </a:lnTo>
                  <a:lnTo>
                    <a:pt x="354" y="322"/>
                  </a:lnTo>
                  <a:lnTo>
                    <a:pt x="350" y="315"/>
                  </a:lnTo>
                  <a:lnTo>
                    <a:pt x="324" y="355"/>
                  </a:lnTo>
                  <a:lnTo>
                    <a:pt x="312" y="350"/>
                  </a:lnTo>
                  <a:lnTo>
                    <a:pt x="312" y="334"/>
                  </a:lnTo>
                  <a:lnTo>
                    <a:pt x="286" y="338"/>
                  </a:lnTo>
                  <a:lnTo>
                    <a:pt x="286" y="355"/>
                  </a:lnTo>
                  <a:lnTo>
                    <a:pt x="279" y="371"/>
                  </a:lnTo>
                  <a:lnTo>
                    <a:pt x="300" y="388"/>
                  </a:lnTo>
                  <a:lnTo>
                    <a:pt x="279" y="388"/>
                  </a:lnTo>
                  <a:lnTo>
                    <a:pt x="269" y="393"/>
                  </a:lnTo>
                  <a:lnTo>
                    <a:pt x="227" y="416"/>
                  </a:lnTo>
                  <a:lnTo>
                    <a:pt x="227" y="416"/>
                  </a:lnTo>
                  <a:lnTo>
                    <a:pt x="227" y="416"/>
                  </a:lnTo>
                  <a:close/>
                  <a:moveTo>
                    <a:pt x="26" y="182"/>
                  </a:moveTo>
                  <a:lnTo>
                    <a:pt x="14" y="171"/>
                  </a:lnTo>
                  <a:lnTo>
                    <a:pt x="47" y="182"/>
                  </a:lnTo>
                  <a:lnTo>
                    <a:pt x="26" y="182"/>
                  </a:lnTo>
                  <a:lnTo>
                    <a:pt x="26" y="182"/>
                  </a:lnTo>
                  <a:lnTo>
                    <a:pt x="26" y="182"/>
                  </a:lnTo>
                  <a:close/>
                  <a:moveTo>
                    <a:pt x="662" y="249"/>
                  </a:moveTo>
                  <a:lnTo>
                    <a:pt x="673" y="239"/>
                  </a:lnTo>
                  <a:lnTo>
                    <a:pt x="678" y="239"/>
                  </a:lnTo>
                  <a:lnTo>
                    <a:pt x="662" y="249"/>
                  </a:lnTo>
                  <a:lnTo>
                    <a:pt x="662" y="249"/>
                  </a:lnTo>
                  <a:lnTo>
                    <a:pt x="662" y="249"/>
                  </a:lnTo>
                  <a:close/>
                  <a:moveTo>
                    <a:pt x="695" y="293"/>
                  </a:moveTo>
                  <a:lnTo>
                    <a:pt x="673" y="282"/>
                  </a:lnTo>
                  <a:lnTo>
                    <a:pt x="690" y="265"/>
                  </a:lnTo>
                  <a:lnTo>
                    <a:pt x="728" y="277"/>
                  </a:lnTo>
                  <a:lnTo>
                    <a:pt x="695" y="293"/>
                  </a:lnTo>
                  <a:lnTo>
                    <a:pt x="695" y="293"/>
                  </a:lnTo>
                  <a:lnTo>
                    <a:pt x="695" y="293"/>
                  </a:lnTo>
                  <a:close/>
                  <a:moveTo>
                    <a:pt x="744" y="282"/>
                  </a:moveTo>
                  <a:lnTo>
                    <a:pt x="732" y="282"/>
                  </a:lnTo>
                  <a:lnTo>
                    <a:pt x="761" y="282"/>
                  </a:lnTo>
                  <a:lnTo>
                    <a:pt x="744" y="282"/>
                  </a:lnTo>
                  <a:lnTo>
                    <a:pt x="744" y="282"/>
                  </a:lnTo>
                  <a:lnTo>
                    <a:pt x="744" y="282"/>
                  </a:lnTo>
                  <a:close/>
                  <a:moveTo>
                    <a:pt x="1391" y="293"/>
                  </a:moveTo>
                  <a:lnTo>
                    <a:pt x="1375" y="293"/>
                  </a:lnTo>
                  <a:lnTo>
                    <a:pt x="1396" y="293"/>
                  </a:lnTo>
                  <a:lnTo>
                    <a:pt x="1391" y="293"/>
                  </a:lnTo>
                  <a:lnTo>
                    <a:pt x="1391" y="293"/>
                  </a:lnTo>
                  <a:lnTo>
                    <a:pt x="1391" y="293"/>
                  </a:lnTo>
                  <a:close/>
                  <a:moveTo>
                    <a:pt x="1233" y="315"/>
                  </a:moveTo>
                  <a:lnTo>
                    <a:pt x="1233" y="305"/>
                  </a:lnTo>
                  <a:lnTo>
                    <a:pt x="1257" y="298"/>
                  </a:lnTo>
                  <a:lnTo>
                    <a:pt x="1354" y="305"/>
                  </a:lnTo>
                  <a:lnTo>
                    <a:pt x="1321" y="315"/>
                  </a:lnTo>
                  <a:lnTo>
                    <a:pt x="1288" y="298"/>
                  </a:lnTo>
                  <a:lnTo>
                    <a:pt x="1233" y="315"/>
                  </a:lnTo>
                  <a:lnTo>
                    <a:pt x="1233" y="315"/>
                  </a:lnTo>
                  <a:lnTo>
                    <a:pt x="1233" y="315"/>
                  </a:lnTo>
                  <a:close/>
                  <a:moveTo>
                    <a:pt x="118" y="416"/>
                  </a:moveTo>
                  <a:lnTo>
                    <a:pt x="47" y="371"/>
                  </a:lnTo>
                  <a:lnTo>
                    <a:pt x="10" y="322"/>
                  </a:lnTo>
                  <a:lnTo>
                    <a:pt x="0" y="305"/>
                  </a:lnTo>
                  <a:lnTo>
                    <a:pt x="43" y="315"/>
                  </a:lnTo>
                  <a:lnTo>
                    <a:pt x="52" y="334"/>
                  </a:lnTo>
                  <a:lnTo>
                    <a:pt x="47" y="334"/>
                  </a:lnTo>
                  <a:lnTo>
                    <a:pt x="52" y="360"/>
                  </a:lnTo>
                  <a:lnTo>
                    <a:pt x="97" y="376"/>
                  </a:lnTo>
                  <a:lnTo>
                    <a:pt x="118" y="404"/>
                  </a:lnTo>
                  <a:lnTo>
                    <a:pt x="118" y="416"/>
                  </a:lnTo>
                  <a:lnTo>
                    <a:pt x="118" y="416"/>
                  </a:lnTo>
                  <a:lnTo>
                    <a:pt x="118" y="416"/>
                  </a:lnTo>
                  <a:close/>
                  <a:moveTo>
                    <a:pt x="1143" y="350"/>
                  </a:moveTo>
                  <a:lnTo>
                    <a:pt x="1120" y="322"/>
                  </a:lnTo>
                  <a:lnTo>
                    <a:pt x="1136" y="315"/>
                  </a:lnTo>
                  <a:lnTo>
                    <a:pt x="1165" y="338"/>
                  </a:lnTo>
                  <a:lnTo>
                    <a:pt x="1143" y="350"/>
                  </a:lnTo>
                  <a:lnTo>
                    <a:pt x="1143" y="350"/>
                  </a:lnTo>
                  <a:lnTo>
                    <a:pt x="1143" y="350"/>
                  </a:lnTo>
                  <a:close/>
                  <a:moveTo>
                    <a:pt x="678" y="371"/>
                  </a:moveTo>
                  <a:lnTo>
                    <a:pt x="761" y="350"/>
                  </a:lnTo>
                  <a:lnTo>
                    <a:pt x="813" y="355"/>
                  </a:lnTo>
                  <a:lnTo>
                    <a:pt x="825" y="371"/>
                  </a:lnTo>
                  <a:lnTo>
                    <a:pt x="825" y="404"/>
                  </a:lnTo>
                  <a:lnTo>
                    <a:pt x="716" y="416"/>
                  </a:lnTo>
                  <a:lnTo>
                    <a:pt x="728" y="404"/>
                  </a:lnTo>
                  <a:lnTo>
                    <a:pt x="706" y="393"/>
                  </a:lnTo>
                  <a:lnTo>
                    <a:pt x="716" y="388"/>
                  </a:lnTo>
                  <a:lnTo>
                    <a:pt x="678" y="371"/>
                  </a:lnTo>
                  <a:lnTo>
                    <a:pt x="678" y="371"/>
                  </a:lnTo>
                  <a:lnTo>
                    <a:pt x="678" y="371"/>
                  </a:lnTo>
                  <a:close/>
                  <a:moveTo>
                    <a:pt x="858" y="560"/>
                  </a:moveTo>
                  <a:lnTo>
                    <a:pt x="841" y="560"/>
                  </a:lnTo>
                  <a:lnTo>
                    <a:pt x="841" y="553"/>
                  </a:lnTo>
                  <a:lnTo>
                    <a:pt x="851" y="544"/>
                  </a:lnTo>
                  <a:lnTo>
                    <a:pt x="841" y="537"/>
                  </a:lnTo>
                  <a:lnTo>
                    <a:pt x="867" y="515"/>
                  </a:lnTo>
                  <a:lnTo>
                    <a:pt x="732" y="527"/>
                  </a:lnTo>
                  <a:lnTo>
                    <a:pt x="732" y="515"/>
                  </a:lnTo>
                  <a:lnTo>
                    <a:pt x="761" y="504"/>
                  </a:lnTo>
                  <a:lnTo>
                    <a:pt x="761" y="487"/>
                  </a:lnTo>
                  <a:lnTo>
                    <a:pt x="787" y="461"/>
                  </a:lnTo>
                  <a:lnTo>
                    <a:pt x="732" y="433"/>
                  </a:lnTo>
                  <a:lnTo>
                    <a:pt x="879" y="409"/>
                  </a:lnTo>
                  <a:lnTo>
                    <a:pt x="910" y="416"/>
                  </a:lnTo>
                  <a:lnTo>
                    <a:pt x="888" y="433"/>
                  </a:lnTo>
                  <a:lnTo>
                    <a:pt x="888" y="449"/>
                  </a:lnTo>
                  <a:lnTo>
                    <a:pt x="926" y="466"/>
                  </a:lnTo>
                  <a:lnTo>
                    <a:pt x="976" y="466"/>
                  </a:lnTo>
                  <a:lnTo>
                    <a:pt x="1013" y="482"/>
                  </a:lnTo>
                  <a:lnTo>
                    <a:pt x="964" y="499"/>
                  </a:lnTo>
                  <a:lnTo>
                    <a:pt x="933" y="527"/>
                  </a:lnTo>
                  <a:lnTo>
                    <a:pt x="858" y="560"/>
                  </a:lnTo>
                  <a:lnTo>
                    <a:pt x="858" y="560"/>
                  </a:lnTo>
                  <a:lnTo>
                    <a:pt x="858" y="560"/>
                  </a:lnTo>
                  <a:close/>
                  <a:moveTo>
                    <a:pt x="888" y="560"/>
                  </a:moveTo>
                  <a:lnTo>
                    <a:pt x="879" y="560"/>
                  </a:lnTo>
                  <a:lnTo>
                    <a:pt x="905" y="560"/>
                  </a:lnTo>
                  <a:lnTo>
                    <a:pt x="888" y="560"/>
                  </a:lnTo>
                  <a:lnTo>
                    <a:pt x="888" y="560"/>
                  </a:lnTo>
                  <a:lnTo>
                    <a:pt x="888" y="560"/>
                  </a:lnTo>
                  <a:close/>
                  <a:moveTo>
                    <a:pt x="1018" y="688"/>
                  </a:moveTo>
                  <a:lnTo>
                    <a:pt x="1018" y="681"/>
                  </a:lnTo>
                  <a:lnTo>
                    <a:pt x="1068" y="648"/>
                  </a:lnTo>
                  <a:lnTo>
                    <a:pt x="1018" y="688"/>
                  </a:lnTo>
                  <a:lnTo>
                    <a:pt x="1018" y="688"/>
                  </a:lnTo>
                  <a:lnTo>
                    <a:pt x="1018" y="688"/>
                  </a:lnTo>
                  <a:close/>
                  <a:moveTo>
                    <a:pt x="602" y="988"/>
                  </a:moveTo>
                  <a:lnTo>
                    <a:pt x="586" y="969"/>
                  </a:lnTo>
                  <a:lnTo>
                    <a:pt x="619" y="969"/>
                  </a:lnTo>
                  <a:lnTo>
                    <a:pt x="602" y="988"/>
                  </a:lnTo>
                  <a:lnTo>
                    <a:pt x="602" y="988"/>
                  </a:lnTo>
                  <a:lnTo>
                    <a:pt x="602" y="988"/>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0" name="Freeform 561">
              <a:extLst>
                <a:ext uri="{FF2B5EF4-FFF2-40B4-BE49-F238E27FC236}">
                  <a16:creationId xmlns:a16="http://schemas.microsoft.com/office/drawing/2014/main" id="{94D63BCE-881E-4E90-8371-6B775D74A077}"/>
                </a:ext>
              </a:extLst>
            </p:cNvPr>
            <p:cNvSpPr>
              <a:spLocks noEditPoints="1"/>
            </p:cNvSpPr>
            <p:nvPr/>
          </p:nvSpPr>
          <p:spPr bwMode="gray">
            <a:xfrm>
              <a:off x="13999457" y="2152263"/>
              <a:ext cx="300131" cy="503382"/>
            </a:xfrm>
            <a:custGeom>
              <a:avLst/>
              <a:gdLst>
                <a:gd name="T0" fmla="*/ 69 w 917"/>
                <a:gd name="T1" fmla="*/ 1065 h 1538"/>
                <a:gd name="T2" fmla="*/ 69 w 917"/>
                <a:gd name="T3" fmla="*/ 860 h 1538"/>
                <a:gd name="T4" fmla="*/ 76 w 917"/>
                <a:gd name="T5" fmla="*/ 666 h 1538"/>
                <a:gd name="T6" fmla="*/ 211 w 917"/>
                <a:gd name="T7" fmla="*/ 555 h 1538"/>
                <a:gd name="T8" fmla="*/ 274 w 917"/>
                <a:gd name="T9" fmla="*/ 357 h 1538"/>
                <a:gd name="T10" fmla="*/ 378 w 917"/>
                <a:gd name="T11" fmla="*/ 177 h 1538"/>
                <a:gd name="T12" fmla="*/ 485 w 917"/>
                <a:gd name="T13" fmla="*/ 66 h 1538"/>
                <a:gd name="T14" fmla="*/ 648 w 917"/>
                <a:gd name="T15" fmla="*/ 12 h 1538"/>
                <a:gd name="T16" fmla="*/ 865 w 917"/>
                <a:gd name="T17" fmla="*/ 151 h 1538"/>
                <a:gd name="T18" fmla="*/ 903 w 917"/>
                <a:gd name="T19" fmla="*/ 279 h 1538"/>
                <a:gd name="T20" fmla="*/ 903 w 917"/>
                <a:gd name="T21" fmla="*/ 362 h 1538"/>
                <a:gd name="T22" fmla="*/ 794 w 917"/>
                <a:gd name="T23" fmla="*/ 395 h 1538"/>
                <a:gd name="T24" fmla="*/ 778 w 917"/>
                <a:gd name="T25" fmla="*/ 428 h 1538"/>
                <a:gd name="T26" fmla="*/ 740 w 917"/>
                <a:gd name="T27" fmla="*/ 465 h 1538"/>
                <a:gd name="T28" fmla="*/ 697 w 917"/>
                <a:gd name="T29" fmla="*/ 510 h 1538"/>
                <a:gd name="T30" fmla="*/ 697 w 917"/>
                <a:gd name="T31" fmla="*/ 593 h 1538"/>
                <a:gd name="T32" fmla="*/ 589 w 917"/>
                <a:gd name="T33" fmla="*/ 666 h 1538"/>
                <a:gd name="T34" fmla="*/ 546 w 917"/>
                <a:gd name="T35" fmla="*/ 695 h 1538"/>
                <a:gd name="T36" fmla="*/ 501 w 917"/>
                <a:gd name="T37" fmla="*/ 749 h 1538"/>
                <a:gd name="T38" fmla="*/ 480 w 917"/>
                <a:gd name="T39" fmla="*/ 761 h 1538"/>
                <a:gd name="T40" fmla="*/ 463 w 917"/>
                <a:gd name="T41" fmla="*/ 806 h 1538"/>
                <a:gd name="T42" fmla="*/ 447 w 917"/>
                <a:gd name="T43" fmla="*/ 877 h 1538"/>
                <a:gd name="T44" fmla="*/ 433 w 917"/>
                <a:gd name="T45" fmla="*/ 910 h 1538"/>
                <a:gd name="T46" fmla="*/ 480 w 917"/>
                <a:gd name="T47" fmla="*/ 988 h 1538"/>
                <a:gd name="T48" fmla="*/ 539 w 917"/>
                <a:gd name="T49" fmla="*/ 1044 h 1538"/>
                <a:gd name="T50" fmla="*/ 555 w 917"/>
                <a:gd name="T51" fmla="*/ 1082 h 1538"/>
                <a:gd name="T52" fmla="*/ 470 w 917"/>
                <a:gd name="T53" fmla="*/ 1110 h 1538"/>
                <a:gd name="T54" fmla="*/ 454 w 917"/>
                <a:gd name="T55" fmla="*/ 1099 h 1538"/>
                <a:gd name="T56" fmla="*/ 454 w 917"/>
                <a:gd name="T57" fmla="*/ 1110 h 1538"/>
                <a:gd name="T58" fmla="*/ 395 w 917"/>
                <a:gd name="T59" fmla="*/ 1110 h 1538"/>
                <a:gd name="T60" fmla="*/ 437 w 917"/>
                <a:gd name="T61" fmla="*/ 1132 h 1538"/>
                <a:gd name="T62" fmla="*/ 534 w 917"/>
                <a:gd name="T63" fmla="*/ 1122 h 1538"/>
                <a:gd name="T64" fmla="*/ 454 w 917"/>
                <a:gd name="T65" fmla="*/ 1172 h 1538"/>
                <a:gd name="T66" fmla="*/ 383 w 917"/>
                <a:gd name="T67" fmla="*/ 1205 h 1538"/>
                <a:gd name="T68" fmla="*/ 383 w 917"/>
                <a:gd name="T69" fmla="*/ 1266 h 1538"/>
                <a:gd name="T70" fmla="*/ 383 w 917"/>
                <a:gd name="T71" fmla="*/ 1304 h 1538"/>
                <a:gd name="T72" fmla="*/ 371 w 917"/>
                <a:gd name="T73" fmla="*/ 1403 h 1538"/>
                <a:gd name="T74" fmla="*/ 215 w 917"/>
                <a:gd name="T75" fmla="*/ 1486 h 1538"/>
                <a:gd name="T76" fmla="*/ 130 w 917"/>
                <a:gd name="T77" fmla="*/ 1538 h 1538"/>
                <a:gd name="T78" fmla="*/ 123 w 917"/>
                <a:gd name="T79" fmla="*/ 1427 h 1538"/>
                <a:gd name="T80" fmla="*/ 69 w 917"/>
                <a:gd name="T81" fmla="*/ 1321 h 1538"/>
                <a:gd name="T82" fmla="*/ 55 w 917"/>
                <a:gd name="T83" fmla="*/ 1299 h 1538"/>
                <a:gd name="T84" fmla="*/ 5 w 917"/>
                <a:gd name="T85" fmla="*/ 1226 h 1538"/>
                <a:gd name="T86" fmla="*/ 31 w 917"/>
                <a:gd name="T87" fmla="*/ 1172 h 1538"/>
                <a:gd name="T88" fmla="*/ 485 w 917"/>
                <a:gd name="T89" fmla="*/ 761 h 1538"/>
                <a:gd name="T90" fmla="*/ 447 w 917"/>
                <a:gd name="T91" fmla="*/ 789 h 1538"/>
                <a:gd name="T92" fmla="*/ 508 w 917"/>
                <a:gd name="T93" fmla="*/ 999 h 1538"/>
                <a:gd name="T94" fmla="*/ 534 w 917"/>
                <a:gd name="T95" fmla="*/ 1099 h 1538"/>
                <a:gd name="T96" fmla="*/ 433 w 917"/>
                <a:gd name="T97" fmla="*/ 1115 h 1538"/>
                <a:gd name="T98" fmla="*/ 447 w 917"/>
                <a:gd name="T99" fmla="*/ 1115 h 1538"/>
                <a:gd name="T100" fmla="*/ 522 w 917"/>
                <a:gd name="T101" fmla="*/ 1132 h 1538"/>
                <a:gd name="T102" fmla="*/ 577 w 917"/>
                <a:gd name="T103" fmla="*/ 1226 h 1538"/>
                <a:gd name="T104" fmla="*/ 38 w 917"/>
                <a:gd name="T105" fmla="*/ 1238 h 1538"/>
                <a:gd name="T106" fmla="*/ 48 w 917"/>
                <a:gd name="T107" fmla="*/ 1259 h 1538"/>
                <a:gd name="T108" fmla="*/ 560 w 917"/>
                <a:gd name="T109" fmla="*/ 1283 h 1538"/>
                <a:gd name="T110" fmla="*/ 560 w 917"/>
                <a:gd name="T111" fmla="*/ 1283 h 1538"/>
                <a:gd name="T112" fmla="*/ 508 w 917"/>
                <a:gd name="T113" fmla="*/ 1354 h 1538"/>
                <a:gd name="T114" fmla="*/ 555 w 917"/>
                <a:gd name="T115" fmla="*/ 1276 h 1538"/>
                <a:gd name="T116" fmla="*/ 426 w 917"/>
                <a:gd name="T117" fmla="*/ 1337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7" h="1538">
                  <a:moveTo>
                    <a:pt x="31" y="1172"/>
                  </a:moveTo>
                  <a:lnTo>
                    <a:pt x="48" y="1132"/>
                  </a:lnTo>
                  <a:lnTo>
                    <a:pt x="38" y="1099"/>
                  </a:lnTo>
                  <a:lnTo>
                    <a:pt x="55" y="1082"/>
                  </a:lnTo>
                  <a:lnTo>
                    <a:pt x="48" y="1065"/>
                  </a:lnTo>
                  <a:lnTo>
                    <a:pt x="69" y="1065"/>
                  </a:lnTo>
                  <a:lnTo>
                    <a:pt x="92" y="1044"/>
                  </a:lnTo>
                  <a:lnTo>
                    <a:pt x="107" y="1004"/>
                  </a:lnTo>
                  <a:lnTo>
                    <a:pt x="76" y="943"/>
                  </a:lnTo>
                  <a:lnTo>
                    <a:pt x="107" y="943"/>
                  </a:lnTo>
                  <a:lnTo>
                    <a:pt x="123" y="910"/>
                  </a:lnTo>
                  <a:lnTo>
                    <a:pt x="69" y="860"/>
                  </a:lnTo>
                  <a:lnTo>
                    <a:pt x="85" y="806"/>
                  </a:lnTo>
                  <a:lnTo>
                    <a:pt x="69" y="765"/>
                  </a:lnTo>
                  <a:lnTo>
                    <a:pt x="59" y="732"/>
                  </a:lnTo>
                  <a:lnTo>
                    <a:pt x="76" y="721"/>
                  </a:lnTo>
                  <a:lnTo>
                    <a:pt x="59" y="695"/>
                  </a:lnTo>
                  <a:lnTo>
                    <a:pt x="76" y="666"/>
                  </a:lnTo>
                  <a:lnTo>
                    <a:pt x="69" y="654"/>
                  </a:lnTo>
                  <a:lnTo>
                    <a:pt x="107" y="617"/>
                  </a:lnTo>
                  <a:lnTo>
                    <a:pt x="130" y="600"/>
                  </a:lnTo>
                  <a:lnTo>
                    <a:pt x="199" y="612"/>
                  </a:lnTo>
                  <a:lnTo>
                    <a:pt x="215" y="584"/>
                  </a:lnTo>
                  <a:lnTo>
                    <a:pt x="211" y="555"/>
                  </a:lnTo>
                  <a:lnTo>
                    <a:pt x="178" y="543"/>
                  </a:lnTo>
                  <a:lnTo>
                    <a:pt x="237" y="456"/>
                  </a:lnTo>
                  <a:lnTo>
                    <a:pt x="237" y="428"/>
                  </a:lnTo>
                  <a:lnTo>
                    <a:pt x="248" y="395"/>
                  </a:lnTo>
                  <a:lnTo>
                    <a:pt x="237" y="362"/>
                  </a:lnTo>
                  <a:lnTo>
                    <a:pt x="274" y="357"/>
                  </a:lnTo>
                  <a:lnTo>
                    <a:pt x="307" y="338"/>
                  </a:lnTo>
                  <a:lnTo>
                    <a:pt x="303" y="317"/>
                  </a:lnTo>
                  <a:lnTo>
                    <a:pt x="371" y="251"/>
                  </a:lnTo>
                  <a:lnTo>
                    <a:pt x="371" y="229"/>
                  </a:lnTo>
                  <a:lnTo>
                    <a:pt x="345" y="206"/>
                  </a:lnTo>
                  <a:lnTo>
                    <a:pt x="378" y="177"/>
                  </a:lnTo>
                  <a:lnTo>
                    <a:pt x="395" y="140"/>
                  </a:lnTo>
                  <a:lnTo>
                    <a:pt x="433" y="118"/>
                  </a:lnTo>
                  <a:lnTo>
                    <a:pt x="480" y="140"/>
                  </a:lnTo>
                  <a:lnTo>
                    <a:pt x="492" y="111"/>
                  </a:lnTo>
                  <a:lnTo>
                    <a:pt x="485" y="78"/>
                  </a:lnTo>
                  <a:lnTo>
                    <a:pt x="485" y="66"/>
                  </a:lnTo>
                  <a:lnTo>
                    <a:pt x="546" y="66"/>
                  </a:lnTo>
                  <a:lnTo>
                    <a:pt x="615" y="95"/>
                  </a:lnTo>
                  <a:lnTo>
                    <a:pt x="643" y="66"/>
                  </a:lnTo>
                  <a:lnTo>
                    <a:pt x="615" y="62"/>
                  </a:lnTo>
                  <a:lnTo>
                    <a:pt x="648" y="28"/>
                  </a:lnTo>
                  <a:lnTo>
                    <a:pt x="648" y="12"/>
                  </a:lnTo>
                  <a:lnTo>
                    <a:pt x="631" y="0"/>
                  </a:lnTo>
                  <a:lnTo>
                    <a:pt x="664" y="0"/>
                  </a:lnTo>
                  <a:lnTo>
                    <a:pt x="766" y="66"/>
                  </a:lnTo>
                  <a:lnTo>
                    <a:pt x="827" y="83"/>
                  </a:lnTo>
                  <a:lnTo>
                    <a:pt x="879" y="140"/>
                  </a:lnTo>
                  <a:lnTo>
                    <a:pt x="865" y="151"/>
                  </a:lnTo>
                  <a:lnTo>
                    <a:pt x="865" y="194"/>
                  </a:lnTo>
                  <a:lnTo>
                    <a:pt x="886" y="206"/>
                  </a:lnTo>
                  <a:lnTo>
                    <a:pt x="886" y="222"/>
                  </a:lnTo>
                  <a:lnTo>
                    <a:pt x="879" y="222"/>
                  </a:lnTo>
                  <a:lnTo>
                    <a:pt x="874" y="234"/>
                  </a:lnTo>
                  <a:lnTo>
                    <a:pt x="903" y="279"/>
                  </a:lnTo>
                  <a:lnTo>
                    <a:pt x="896" y="284"/>
                  </a:lnTo>
                  <a:lnTo>
                    <a:pt x="896" y="305"/>
                  </a:lnTo>
                  <a:lnTo>
                    <a:pt x="879" y="321"/>
                  </a:lnTo>
                  <a:lnTo>
                    <a:pt x="879" y="338"/>
                  </a:lnTo>
                  <a:lnTo>
                    <a:pt x="886" y="357"/>
                  </a:lnTo>
                  <a:lnTo>
                    <a:pt x="903" y="362"/>
                  </a:lnTo>
                  <a:lnTo>
                    <a:pt x="917" y="395"/>
                  </a:lnTo>
                  <a:lnTo>
                    <a:pt x="848" y="399"/>
                  </a:lnTo>
                  <a:lnTo>
                    <a:pt x="841" y="411"/>
                  </a:lnTo>
                  <a:lnTo>
                    <a:pt x="811" y="390"/>
                  </a:lnTo>
                  <a:lnTo>
                    <a:pt x="811" y="399"/>
                  </a:lnTo>
                  <a:lnTo>
                    <a:pt x="794" y="395"/>
                  </a:lnTo>
                  <a:lnTo>
                    <a:pt x="789" y="395"/>
                  </a:lnTo>
                  <a:lnTo>
                    <a:pt x="778" y="416"/>
                  </a:lnTo>
                  <a:lnTo>
                    <a:pt x="794" y="416"/>
                  </a:lnTo>
                  <a:lnTo>
                    <a:pt x="794" y="428"/>
                  </a:lnTo>
                  <a:lnTo>
                    <a:pt x="752" y="411"/>
                  </a:lnTo>
                  <a:lnTo>
                    <a:pt x="778" y="428"/>
                  </a:lnTo>
                  <a:lnTo>
                    <a:pt x="756" y="432"/>
                  </a:lnTo>
                  <a:lnTo>
                    <a:pt x="766" y="444"/>
                  </a:lnTo>
                  <a:lnTo>
                    <a:pt x="756" y="449"/>
                  </a:lnTo>
                  <a:lnTo>
                    <a:pt x="723" y="449"/>
                  </a:lnTo>
                  <a:lnTo>
                    <a:pt x="740" y="456"/>
                  </a:lnTo>
                  <a:lnTo>
                    <a:pt x="740" y="465"/>
                  </a:lnTo>
                  <a:lnTo>
                    <a:pt x="711" y="449"/>
                  </a:lnTo>
                  <a:lnTo>
                    <a:pt x="740" y="473"/>
                  </a:lnTo>
                  <a:lnTo>
                    <a:pt x="735" y="489"/>
                  </a:lnTo>
                  <a:lnTo>
                    <a:pt x="711" y="501"/>
                  </a:lnTo>
                  <a:lnTo>
                    <a:pt x="711" y="510"/>
                  </a:lnTo>
                  <a:lnTo>
                    <a:pt x="697" y="510"/>
                  </a:lnTo>
                  <a:lnTo>
                    <a:pt x="718" y="522"/>
                  </a:lnTo>
                  <a:lnTo>
                    <a:pt x="718" y="527"/>
                  </a:lnTo>
                  <a:lnTo>
                    <a:pt x="702" y="527"/>
                  </a:lnTo>
                  <a:lnTo>
                    <a:pt x="735" y="543"/>
                  </a:lnTo>
                  <a:lnTo>
                    <a:pt x="735" y="560"/>
                  </a:lnTo>
                  <a:lnTo>
                    <a:pt x="697" y="593"/>
                  </a:lnTo>
                  <a:lnTo>
                    <a:pt x="681" y="621"/>
                  </a:lnTo>
                  <a:lnTo>
                    <a:pt x="659" y="633"/>
                  </a:lnTo>
                  <a:lnTo>
                    <a:pt x="648" y="650"/>
                  </a:lnTo>
                  <a:lnTo>
                    <a:pt x="615" y="654"/>
                  </a:lnTo>
                  <a:lnTo>
                    <a:pt x="605" y="671"/>
                  </a:lnTo>
                  <a:lnTo>
                    <a:pt x="589" y="666"/>
                  </a:lnTo>
                  <a:lnTo>
                    <a:pt x="589" y="671"/>
                  </a:lnTo>
                  <a:lnTo>
                    <a:pt x="572" y="671"/>
                  </a:lnTo>
                  <a:lnTo>
                    <a:pt x="572" y="688"/>
                  </a:lnTo>
                  <a:lnTo>
                    <a:pt x="555" y="695"/>
                  </a:lnTo>
                  <a:lnTo>
                    <a:pt x="555" y="704"/>
                  </a:lnTo>
                  <a:lnTo>
                    <a:pt x="546" y="695"/>
                  </a:lnTo>
                  <a:lnTo>
                    <a:pt x="539" y="695"/>
                  </a:lnTo>
                  <a:lnTo>
                    <a:pt x="546" y="704"/>
                  </a:lnTo>
                  <a:lnTo>
                    <a:pt x="534" y="704"/>
                  </a:lnTo>
                  <a:lnTo>
                    <a:pt x="501" y="721"/>
                  </a:lnTo>
                  <a:lnTo>
                    <a:pt x="522" y="728"/>
                  </a:lnTo>
                  <a:lnTo>
                    <a:pt x="501" y="749"/>
                  </a:lnTo>
                  <a:lnTo>
                    <a:pt x="480" y="744"/>
                  </a:lnTo>
                  <a:lnTo>
                    <a:pt x="470" y="728"/>
                  </a:lnTo>
                  <a:lnTo>
                    <a:pt x="463" y="728"/>
                  </a:lnTo>
                  <a:lnTo>
                    <a:pt x="485" y="749"/>
                  </a:lnTo>
                  <a:lnTo>
                    <a:pt x="485" y="761"/>
                  </a:lnTo>
                  <a:lnTo>
                    <a:pt x="480" y="761"/>
                  </a:lnTo>
                  <a:lnTo>
                    <a:pt x="485" y="765"/>
                  </a:lnTo>
                  <a:lnTo>
                    <a:pt x="463" y="782"/>
                  </a:lnTo>
                  <a:lnTo>
                    <a:pt x="437" y="777"/>
                  </a:lnTo>
                  <a:lnTo>
                    <a:pt x="437" y="782"/>
                  </a:lnTo>
                  <a:lnTo>
                    <a:pt x="437" y="799"/>
                  </a:lnTo>
                  <a:lnTo>
                    <a:pt x="463" y="806"/>
                  </a:lnTo>
                  <a:lnTo>
                    <a:pt x="447" y="806"/>
                  </a:lnTo>
                  <a:lnTo>
                    <a:pt x="447" y="839"/>
                  </a:lnTo>
                  <a:lnTo>
                    <a:pt x="437" y="839"/>
                  </a:lnTo>
                  <a:lnTo>
                    <a:pt x="437" y="855"/>
                  </a:lnTo>
                  <a:lnTo>
                    <a:pt x="447" y="872"/>
                  </a:lnTo>
                  <a:lnTo>
                    <a:pt x="447" y="877"/>
                  </a:lnTo>
                  <a:lnTo>
                    <a:pt x="426" y="872"/>
                  </a:lnTo>
                  <a:lnTo>
                    <a:pt x="433" y="872"/>
                  </a:lnTo>
                  <a:lnTo>
                    <a:pt x="416" y="877"/>
                  </a:lnTo>
                  <a:lnTo>
                    <a:pt x="433" y="893"/>
                  </a:lnTo>
                  <a:lnTo>
                    <a:pt x="416" y="900"/>
                  </a:lnTo>
                  <a:lnTo>
                    <a:pt x="433" y="910"/>
                  </a:lnTo>
                  <a:lnTo>
                    <a:pt x="426" y="950"/>
                  </a:lnTo>
                  <a:lnTo>
                    <a:pt x="433" y="966"/>
                  </a:lnTo>
                  <a:lnTo>
                    <a:pt x="433" y="983"/>
                  </a:lnTo>
                  <a:lnTo>
                    <a:pt x="454" y="988"/>
                  </a:lnTo>
                  <a:lnTo>
                    <a:pt x="463" y="999"/>
                  </a:lnTo>
                  <a:lnTo>
                    <a:pt x="480" y="988"/>
                  </a:lnTo>
                  <a:lnTo>
                    <a:pt x="501" y="1021"/>
                  </a:lnTo>
                  <a:lnTo>
                    <a:pt x="518" y="1021"/>
                  </a:lnTo>
                  <a:lnTo>
                    <a:pt x="522" y="1028"/>
                  </a:lnTo>
                  <a:lnTo>
                    <a:pt x="508" y="1021"/>
                  </a:lnTo>
                  <a:lnTo>
                    <a:pt x="508" y="1037"/>
                  </a:lnTo>
                  <a:lnTo>
                    <a:pt x="539" y="1044"/>
                  </a:lnTo>
                  <a:lnTo>
                    <a:pt x="546" y="1061"/>
                  </a:lnTo>
                  <a:lnTo>
                    <a:pt x="555" y="1065"/>
                  </a:lnTo>
                  <a:lnTo>
                    <a:pt x="555" y="1077"/>
                  </a:lnTo>
                  <a:lnTo>
                    <a:pt x="546" y="1065"/>
                  </a:lnTo>
                  <a:lnTo>
                    <a:pt x="539" y="1077"/>
                  </a:lnTo>
                  <a:lnTo>
                    <a:pt x="555" y="1082"/>
                  </a:lnTo>
                  <a:lnTo>
                    <a:pt x="501" y="1110"/>
                  </a:lnTo>
                  <a:lnTo>
                    <a:pt x="508" y="1115"/>
                  </a:lnTo>
                  <a:lnTo>
                    <a:pt x="492" y="1115"/>
                  </a:lnTo>
                  <a:lnTo>
                    <a:pt x="485" y="1122"/>
                  </a:lnTo>
                  <a:lnTo>
                    <a:pt x="470" y="1115"/>
                  </a:lnTo>
                  <a:lnTo>
                    <a:pt x="470" y="1110"/>
                  </a:lnTo>
                  <a:lnTo>
                    <a:pt x="463" y="1094"/>
                  </a:lnTo>
                  <a:lnTo>
                    <a:pt x="454" y="1094"/>
                  </a:lnTo>
                  <a:lnTo>
                    <a:pt x="463" y="1082"/>
                  </a:lnTo>
                  <a:lnTo>
                    <a:pt x="454" y="1077"/>
                  </a:lnTo>
                  <a:lnTo>
                    <a:pt x="447" y="1094"/>
                  </a:lnTo>
                  <a:lnTo>
                    <a:pt x="454" y="1099"/>
                  </a:lnTo>
                  <a:lnTo>
                    <a:pt x="447" y="1082"/>
                  </a:lnTo>
                  <a:lnTo>
                    <a:pt x="454" y="1082"/>
                  </a:lnTo>
                  <a:lnTo>
                    <a:pt x="454" y="1094"/>
                  </a:lnTo>
                  <a:lnTo>
                    <a:pt x="470" y="1099"/>
                  </a:lnTo>
                  <a:lnTo>
                    <a:pt x="463" y="1115"/>
                  </a:lnTo>
                  <a:lnTo>
                    <a:pt x="454" y="1110"/>
                  </a:lnTo>
                  <a:lnTo>
                    <a:pt x="437" y="1094"/>
                  </a:lnTo>
                  <a:lnTo>
                    <a:pt x="437" y="1110"/>
                  </a:lnTo>
                  <a:lnTo>
                    <a:pt x="378" y="1099"/>
                  </a:lnTo>
                  <a:lnTo>
                    <a:pt x="378" y="1110"/>
                  </a:lnTo>
                  <a:lnTo>
                    <a:pt x="345" y="1110"/>
                  </a:lnTo>
                  <a:lnTo>
                    <a:pt x="395" y="1110"/>
                  </a:lnTo>
                  <a:lnTo>
                    <a:pt x="409" y="1122"/>
                  </a:lnTo>
                  <a:lnTo>
                    <a:pt x="395" y="1110"/>
                  </a:lnTo>
                  <a:lnTo>
                    <a:pt x="400" y="1110"/>
                  </a:lnTo>
                  <a:lnTo>
                    <a:pt x="433" y="1122"/>
                  </a:lnTo>
                  <a:lnTo>
                    <a:pt x="433" y="1132"/>
                  </a:lnTo>
                  <a:lnTo>
                    <a:pt x="437" y="1132"/>
                  </a:lnTo>
                  <a:lnTo>
                    <a:pt x="437" y="1122"/>
                  </a:lnTo>
                  <a:lnTo>
                    <a:pt x="470" y="1132"/>
                  </a:lnTo>
                  <a:lnTo>
                    <a:pt x="501" y="1122"/>
                  </a:lnTo>
                  <a:lnTo>
                    <a:pt x="518" y="1122"/>
                  </a:lnTo>
                  <a:lnTo>
                    <a:pt x="518" y="1115"/>
                  </a:lnTo>
                  <a:lnTo>
                    <a:pt x="534" y="1122"/>
                  </a:lnTo>
                  <a:lnTo>
                    <a:pt x="501" y="1132"/>
                  </a:lnTo>
                  <a:lnTo>
                    <a:pt x="501" y="1148"/>
                  </a:lnTo>
                  <a:lnTo>
                    <a:pt x="485" y="1155"/>
                  </a:lnTo>
                  <a:lnTo>
                    <a:pt x="480" y="1181"/>
                  </a:lnTo>
                  <a:lnTo>
                    <a:pt x="463" y="1139"/>
                  </a:lnTo>
                  <a:lnTo>
                    <a:pt x="454" y="1172"/>
                  </a:lnTo>
                  <a:lnTo>
                    <a:pt x="437" y="1188"/>
                  </a:lnTo>
                  <a:lnTo>
                    <a:pt x="416" y="1188"/>
                  </a:lnTo>
                  <a:lnTo>
                    <a:pt x="426" y="1193"/>
                  </a:lnTo>
                  <a:lnTo>
                    <a:pt x="409" y="1205"/>
                  </a:lnTo>
                  <a:lnTo>
                    <a:pt x="357" y="1205"/>
                  </a:lnTo>
                  <a:lnTo>
                    <a:pt x="383" y="1205"/>
                  </a:lnTo>
                  <a:lnTo>
                    <a:pt x="409" y="1221"/>
                  </a:lnTo>
                  <a:lnTo>
                    <a:pt x="371" y="1221"/>
                  </a:lnTo>
                  <a:lnTo>
                    <a:pt x="395" y="1226"/>
                  </a:lnTo>
                  <a:lnTo>
                    <a:pt x="400" y="1243"/>
                  </a:lnTo>
                  <a:lnTo>
                    <a:pt x="395" y="1266"/>
                  </a:lnTo>
                  <a:lnTo>
                    <a:pt x="383" y="1266"/>
                  </a:lnTo>
                  <a:lnTo>
                    <a:pt x="395" y="1283"/>
                  </a:lnTo>
                  <a:lnTo>
                    <a:pt x="378" y="1266"/>
                  </a:lnTo>
                  <a:lnTo>
                    <a:pt x="395" y="1292"/>
                  </a:lnTo>
                  <a:lnTo>
                    <a:pt x="371" y="1276"/>
                  </a:lnTo>
                  <a:lnTo>
                    <a:pt x="395" y="1299"/>
                  </a:lnTo>
                  <a:lnTo>
                    <a:pt x="383" y="1304"/>
                  </a:lnTo>
                  <a:lnTo>
                    <a:pt x="395" y="1321"/>
                  </a:lnTo>
                  <a:lnTo>
                    <a:pt x="378" y="1337"/>
                  </a:lnTo>
                  <a:lnTo>
                    <a:pt x="378" y="1354"/>
                  </a:lnTo>
                  <a:lnTo>
                    <a:pt x="383" y="1358"/>
                  </a:lnTo>
                  <a:lnTo>
                    <a:pt x="378" y="1370"/>
                  </a:lnTo>
                  <a:lnTo>
                    <a:pt x="371" y="1403"/>
                  </a:lnTo>
                  <a:lnTo>
                    <a:pt x="329" y="1465"/>
                  </a:lnTo>
                  <a:lnTo>
                    <a:pt x="319" y="1460"/>
                  </a:lnTo>
                  <a:lnTo>
                    <a:pt x="253" y="1460"/>
                  </a:lnTo>
                  <a:lnTo>
                    <a:pt x="253" y="1469"/>
                  </a:lnTo>
                  <a:lnTo>
                    <a:pt x="237" y="1465"/>
                  </a:lnTo>
                  <a:lnTo>
                    <a:pt x="215" y="1486"/>
                  </a:lnTo>
                  <a:lnTo>
                    <a:pt x="215" y="1505"/>
                  </a:lnTo>
                  <a:lnTo>
                    <a:pt x="232" y="1521"/>
                  </a:lnTo>
                  <a:lnTo>
                    <a:pt x="215" y="1538"/>
                  </a:lnTo>
                  <a:lnTo>
                    <a:pt x="182" y="1526"/>
                  </a:lnTo>
                  <a:lnTo>
                    <a:pt x="156" y="1538"/>
                  </a:lnTo>
                  <a:lnTo>
                    <a:pt x="130" y="1538"/>
                  </a:lnTo>
                  <a:lnTo>
                    <a:pt x="123" y="1521"/>
                  </a:lnTo>
                  <a:lnTo>
                    <a:pt x="140" y="1505"/>
                  </a:lnTo>
                  <a:lnTo>
                    <a:pt x="92" y="1443"/>
                  </a:lnTo>
                  <a:lnTo>
                    <a:pt x="123" y="1448"/>
                  </a:lnTo>
                  <a:lnTo>
                    <a:pt x="107" y="1432"/>
                  </a:lnTo>
                  <a:lnTo>
                    <a:pt x="123" y="1427"/>
                  </a:lnTo>
                  <a:lnTo>
                    <a:pt x="123" y="1410"/>
                  </a:lnTo>
                  <a:lnTo>
                    <a:pt x="114" y="1410"/>
                  </a:lnTo>
                  <a:lnTo>
                    <a:pt x="102" y="1387"/>
                  </a:lnTo>
                  <a:lnTo>
                    <a:pt x="85" y="1377"/>
                  </a:lnTo>
                  <a:lnTo>
                    <a:pt x="69" y="1349"/>
                  </a:lnTo>
                  <a:lnTo>
                    <a:pt x="69" y="1321"/>
                  </a:lnTo>
                  <a:lnTo>
                    <a:pt x="59" y="1321"/>
                  </a:lnTo>
                  <a:lnTo>
                    <a:pt x="59" y="1337"/>
                  </a:lnTo>
                  <a:lnTo>
                    <a:pt x="55" y="1332"/>
                  </a:lnTo>
                  <a:lnTo>
                    <a:pt x="55" y="1304"/>
                  </a:lnTo>
                  <a:lnTo>
                    <a:pt x="55" y="1299"/>
                  </a:lnTo>
                  <a:lnTo>
                    <a:pt x="55" y="1299"/>
                  </a:lnTo>
                  <a:lnTo>
                    <a:pt x="38" y="1299"/>
                  </a:lnTo>
                  <a:lnTo>
                    <a:pt x="38" y="1283"/>
                  </a:lnTo>
                  <a:lnTo>
                    <a:pt x="55" y="1243"/>
                  </a:lnTo>
                  <a:lnTo>
                    <a:pt x="48" y="1238"/>
                  </a:lnTo>
                  <a:lnTo>
                    <a:pt x="31" y="1243"/>
                  </a:lnTo>
                  <a:lnTo>
                    <a:pt x="5" y="1226"/>
                  </a:lnTo>
                  <a:lnTo>
                    <a:pt x="5" y="1181"/>
                  </a:lnTo>
                  <a:lnTo>
                    <a:pt x="0" y="1165"/>
                  </a:lnTo>
                  <a:lnTo>
                    <a:pt x="15" y="1148"/>
                  </a:lnTo>
                  <a:lnTo>
                    <a:pt x="22" y="1165"/>
                  </a:lnTo>
                  <a:lnTo>
                    <a:pt x="22" y="1172"/>
                  </a:lnTo>
                  <a:lnTo>
                    <a:pt x="31" y="1172"/>
                  </a:lnTo>
                  <a:lnTo>
                    <a:pt x="31" y="1172"/>
                  </a:lnTo>
                  <a:lnTo>
                    <a:pt x="31" y="1172"/>
                  </a:lnTo>
                  <a:close/>
                  <a:moveTo>
                    <a:pt x="485" y="761"/>
                  </a:moveTo>
                  <a:lnTo>
                    <a:pt x="485" y="749"/>
                  </a:lnTo>
                  <a:lnTo>
                    <a:pt x="492" y="749"/>
                  </a:lnTo>
                  <a:lnTo>
                    <a:pt x="485" y="761"/>
                  </a:lnTo>
                  <a:lnTo>
                    <a:pt x="485" y="761"/>
                  </a:lnTo>
                  <a:lnTo>
                    <a:pt x="485" y="761"/>
                  </a:lnTo>
                  <a:close/>
                  <a:moveTo>
                    <a:pt x="447" y="799"/>
                  </a:moveTo>
                  <a:lnTo>
                    <a:pt x="437" y="782"/>
                  </a:lnTo>
                  <a:lnTo>
                    <a:pt x="447" y="782"/>
                  </a:lnTo>
                  <a:lnTo>
                    <a:pt x="447" y="789"/>
                  </a:lnTo>
                  <a:lnTo>
                    <a:pt x="447" y="799"/>
                  </a:lnTo>
                  <a:lnTo>
                    <a:pt x="447" y="799"/>
                  </a:lnTo>
                  <a:lnTo>
                    <a:pt x="447" y="799"/>
                  </a:lnTo>
                  <a:close/>
                  <a:moveTo>
                    <a:pt x="522" y="1021"/>
                  </a:moveTo>
                  <a:lnTo>
                    <a:pt x="508" y="1011"/>
                  </a:lnTo>
                  <a:lnTo>
                    <a:pt x="508" y="999"/>
                  </a:lnTo>
                  <a:lnTo>
                    <a:pt x="522" y="1021"/>
                  </a:lnTo>
                  <a:lnTo>
                    <a:pt x="522" y="1021"/>
                  </a:lnTo>
                  <a:lnTo>
                    <a:pt x="522" y="1021"/>
                  </a:lnTo>
                  <a:close/>
                  <a:moveTo>
                    <a:pt x="522" y="1115"/>
                  </a:moveTo>
                  <a:lnTo>
                    <a:pt x="522" y="1110"/>
                  </a:lnTo>
                  <a:lnTo>
                    <a:pt x="534" y="1099"/>
                  </a:lnTo>
                  <a:lnTo>
                    <a:pt x="522" y="1115"/>
                  </a:lnTo>
                  <a:lnTo>
                    <a:pt x="522" y="1115"/>
                  </a:lnTo>
                  <a:lnTo>
                    <a:pt x="522" y="1115"/>
                  </a:lnTo>
                  <a:close/>
                  <a:moveTo>
                    <a:pt x="433" y="1122"/>
                  </a:moveTo>
                  <a:lnTo>
                    <a:pt x="416" y="1115"/>
                  </a:lnTo>
                  <a:lnTo>
                    <a:pt x="433" y="1115"/>
                  </a:lnTo>
                  <a:lnTo>
                    <a:pt x="433" y="1122"/>
                  </a:lnTo>
                  <a:lnTo>
                    <a:pt x="433" y="1122"/>
                  </a:lnTo>
                  <a:lnTo>
                    <a:pt x="433" y="1122"/>
                  </a:lnTo>
                  <a:close/>
                  <a:moveTo>
                    <a:pt x="470" y="1132"/>
                  </a:moveTo>
                  <a:lnTo>
                    <a:pt x="454" y="1132"/>
                  </a:lnTo>
                  <a:lnTo>
                    <a:pt x="447" y="1115"/>
                  </a:lnTo>
                  <a:lnTo>
                    <a:pt x="470" y="1132"/>
                  </a:lnTo>
                  <a:lnTo>
                    <a:pt x="470" y="1132"/>
                  </a:lnTo>
                  <a:lnTo>
                    <a:pt x="470" y="1132"/>
                  </a:lnTo>
                  <a:close/>
                  <a:moveTo>
                    <a:pt x="518" y="1139"/>
                  </a:moveTo>
                  <a:lnTo>
                    <a:pt x="508" y="1132"/>
                  </a:lnTo>
                  <a:lnTo>
                    <a:pt x="522" y="1132"/>
                  </a:lnTo>
                  <a:lnTo>
                    <a:pt x="518" y="1139"/>
                  </a:lnTo>
                  <a:lnTo>
                    <a:pt x="518" y="1139"/>
                  </a:lnTo>
                  <a:lnTo>
                    <a:pt x="518" y="1139"/>
                  </a:lnTo>
                  <a:close/>
                  <a:moveTo>
                    <a:pt x="572" y="1238"/>
                  </a:moveTo>
                  <a:lnTo>
                    <a:pt x="560" y="1226"/>
                  </a:lnTo>
                  <a:lnTo>
                    <a:pt x="577" y="1226"/>
                  </a:lnTo>
                  <a:lnTo>
                    <a:pt x="572" y="1238"/>
                  </a:lnTo>
                  <a:lnTo>
                    <a:pt x="572" y="1238"/>
                  </a:lnTo>
                  <a:lnTo>
                    <a:pt x="572" y="1238"/>
                  </a:lnTo>
                  <a:close/>
                  <a:moveTo>
                    <a:pt x="22" y="1259"/>
                  </a:moveTo>
                  <a:lnTo>
                    <a:pt x="22" y="1250"/>
                  </a:lnTo>
                  <a:lnTo>
                    <a:pt x="38" y="1238"/>
                  </a:lnTo>
                  <a:lnTo>
                    <a:pt x="48" y="1243"/>
                  </a:lnTo>
                  <a:lnTo>
                    <a:pt x="48" y="1250"/>
                  </a:lnTo>
                  <a:lnTo>
                    <a:pt x="22" y="1259"/>
                  </a:lnTo>
                  <a:lnTo>
                    <a:pt x="22" y="1259"/>
                  </a:lnTo>
                  <a:lnTo>
                    <a:pt x="22" y="1259"/>
                  </a:lnTo>
                  <a:close/>
                  <a:moveTo>
                    <a:pt x="48" y="1259"/>
                  </a:moveTo>
                  <a:lnTo>
                    <a:pt x="31" y="1276"/>
                  </a:lnTo>
                  <a:lnTo>
                    <a:pt x="31" y="1266"/>
                  </a:lnTo>
                  <a:lnTo>
                    <a:pt x="48" y="1259"/>
                  </a:lnTo>
                  <a:lnTo>
                    <a:pt x="48" y="1259"/>
                  </a:lnTo>
                  <a:lnTo>
                    <a:pt x="48" y="1259"/>
                  </a:lnTo>
                  <a:close/>
                  <a:moveTo>
                    <a:pt x="560" y="1283"/>
                  </a:moveTo>
                  <a:lnTo>
                    <a:pt x="555" y="1276"/>
                  </a:lnTo>
                  <a:lnTo>
                    <a:pt x="560" y="1266"/>
                  </a:lnTo>
                  <a:lnTo>
                    <a:pt x="577" y="1266"/>
                  </a:lnTo>
                  <a:lnTo>
                    <a:pt x="560" y="1276"/>
                  </a:lnTo>
                  <a:lnTo>
                    <a:pt x="560" y="1283"/>
                  </a:lnTo>
                  <a:lnTo>
                    <a:pt x="560" y="1283"/>
                  </a:lnTo>
                  <a:lnTo>
                    <a:pt x="560" y="1283"/>
                  </a:lnTo>
                  <a:close/>
                  <a:moveTo>
                    <a:pt x="555" y="1276"/>
                  </a:moveTo>
                  <a:lnTo>
                    <a:pt x="555" y="1283"/>
                  </a:lnTo>
                  <a:lnTo>
                    <a:pt x="539" y="1299"/>
                  </a:lnTo>
                  <a:lnTo>
                    <a:pt x="534" y="1349"/>
                  </a:lnTo>
                  <a:lnTo>
                    <a:pt x="508" y="1354"/>
                  </a:lnTo>
                  <a:lnTo>
                    <a:pt x="501" y="1377"/>
                  </a:lnTo>
                  <a:lnTo>
                    <a:pt x="492" y="1377"/>
                  </a:lnTo>
                  <a:lnTo>
                    <a:pt x="501" y="1370"/>
                  </a:lnTo>
                  <a:lnTo>
                    <a:pt x="492" y="1316"/>
                  </a:lnTo>
                  <a:lnTo>
                    <a:pt x="534" y="1276"/>
                  </a:lnTo>
                  <a:lnTo>
                    <a:pt x="555" y="1276"/>
                  </a:lnTo>
                  <a:lnTo>
                    <a:pt x="555" y="1276"/>
                  </a:lnTo>
                  <a:lnTo>
                    <a:pt x="555" y="1276"/>
                  </a:lnTo>
                  <a:close/>
                  <a:moveTo>
                    <a:pt x="371" y="1448"/>
                  </a:moveTo>
                  <a:lnTo>
                    <a:pt x="371" y="1410"/>
                  </a:lnTo>
                  <a:lnTo>
                    <a:pt x="409" y="1337"/>
                  </a:lnTo>
                  <a:lnTo>
                    <a:pt x="426" y="1337"/>
                  </a:lnTo>
                  <a:lnTo>
                    <a:pt x="371" y="1448"/>
                  </a:lnTo>
                  <a:lnTo>
                    <a:pt x="371" y="1448"/>
                  </a:lnTo>
                  <a:lnTo>
                    <a:pt x="371" y="1448"/>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1" name="Freeform 562">
              <a:extLst>
                <a:ext uri="{FF2B5EF4-FFF2-40B4-BE49-F238E27FC236}">
                  <a16:creationId xmlns:a16="http://schemas.microsoft.com/office/drawing/2014/main" id="{D0C7C51D-001D-4C28-BFD9-BFE0EBACBB8B}"/>
                </a:ext>
              </a:extLst>
            </p:cNvPr>
            <p:cNvSpPr>
              <a:spLocks noEditPoints="1"/>
            </p:cNvSpPr>
            <p:nvPr/>
          </p:nvSpPr>
          <p:spPr bwMode="gray">
            <a:xfrm>
              <a:off x="12869956" y="5527673"/>
              <a:ext cx="270020" cy="170194"/>
            </a:xfrm>
            <a:custGeom>
              <a:avLst/>
              <a:gdLst>
                <a:gd name="T0" fmla="*/ 81 w 825"/>
                <a:gd name="T1" fmla="*/ 33 h 520"/>
                <a:gd name="T2" fmla="*/ 64 w 825"/>
                <a:gd name="T3" fmla="*/ 29 h 520"/>
                <a:gd name="T4" fmla="*/ 50 w 825"/>
                <a:gd name="T5" fmla="*/ 29 h 520"/>
                <a:gd name="T6" fmla="*/ 50 w 825"/>
                <a:gd name="T7" fmla="*/ 17 h 520"/>
                <a:gd name="T8" fmla="*/ 55 w 825"/>
                <a:gd name="T9" fmla="*/ 17 h 520"/>
                <a:gd name="T10" fmla="*/ 33 w 825"/>
                <a:gd name="T11" fmla="*/ 17 h 520"/>
                <a:gd name="T12" fmla="*/ 26 w 825"/>
                <a:gd name="T13" fmla="*/ 10 h 520"/>
                <a:gd name="T14" fmla="*/ 33 w 825"/>
                <a:gd name="T15" fmla="*/ 10 h 520"/>
                <a:gd name="T16" fmla="*/ 0 w 825"/>
                <a:gd name="T17" fmla="*/ 0 h 520"/>
                <a:gd name="T18" fmla="*/ 102 w 825"/>
                <a:gd name="T19" fmla="*/ 10 h 520"/>
                <a:gd name="T20" fmla="*/ 102 w 825"/>
                <a:gd name="T21" fmla="*/ 29 h 520"/>
                <a:gd name="T22" fmla="*/ 102 w 825"/>
                <a:gd name="T23" fmla="*/ 29 h 520"/>
                <a:gd name="T24" fmla="*/ 109 w 825"/>
                <a:gd name="T25" fmla="*/ 29 h 520"/>
                <a:gd name="T26" fmla="*/ 123 w 825"/>
                <a:gd name="T27" fmla="*/ 45 h 520"/>
                <a:gd name="T28" fmla="*/ 118 w 825"/>
                <a:gd name="T29" fmla="*/ 29 h 520"/>
                <a:gd name="T30" fmla="*/ 123 w 825"/>
                <a:gd name="T31" fmla="*/ 29 h 520"/>
                <a:gd name="T32" fmla="*/ 140 w 825"/>
                <a:gd name="T33" fmla="*/ 55 h 520"/>
                <a:gd name="T34" fmla="*/ 161 w 825"/>
                <a:gd name="T35" fmla="*/ 83 h 520"/>
                <a:gd name="T36" fmla="*/ 140 w 825"/>
                <a:gd name="T37" fmla="*/ 83 h 520"/>
                <a:gd name="T38" fmla="*/ 147 w 825"/>
                <a:gd name="T39" fmla="*/ 90 h 520"/>
                <a:gd name="T40" fmla="*/ 140 w 825"/>
                <a:gd name="T41" fmla="*/ 90 h 520"/>
                <a:gd name="T42" fmla="*/ 109 w 825"/>
                <a:gd name="T43" fmla="*/ 55 h 520"/>
                <a:gd name="T44" fmla="*/ 81 w 825"/>
                <a:gd name="T45" fmla="*/ 33 h 520"/>
                <a:gd name="T46" fmla="*/ 81 w 825"/>
                <a:gd name="T47" fmla="*/ 33 h 520"/>
                <a:gd name="T48" fmla="*/ 81 w 825"/>
                <a:gd name="T49" fmla="*/ 33 h 520"/>
                <a:gd name="T50" fmla="*/ 766 w 825"/>
                <a:gd name="T51" fmla="*/ 279 h 520"/>
                <a:gd name="T52" fmla="*/ 766 w 825"/>
                <a:gd name="T53" fmla="*/ 274 h 520"/>
                <a:gd name="T54" fmla="*/ 770 w 825"/>
                <a:gd name="T55" fmla="*/ 274 h 520"/>
                <a:gd name="T56" fmla="*/ 766 w 825"/>
                <a:gd name="T57" fmla="*/ 279 h 520"/>
                <a:gd name="T58" fmla="*/ 766 w 825"/>
                <a:gd name="T59" fmla="*/ 279 h 520"/>
                <a:gd name="T60" fmla="*/ 766 w 825"/>
                <a:gd name="T61" fmla="*/ 279 h 520"/>
                <a:gd name="T62" fmla="*/ 820 w 825"/>
                <a:gd name="T63" fmla="*/ 397 h 520"/>
                <a:gd name="T64" fmla="*/ 808 w 825"/>
                <a:gd name="T65" fmla="*/ 385 h 520"/>
                <a:gd name="T66" fmla="*/ 820 w 825"/>
                <a:gd name="T67" fmla="*/ 385 h 520"/>
                <a:gd name="T68" fmla="*/ 820 w 825"/>
                <a:gd name="T69" fmla="*/ 397 h 520"/>
                <a:gd name="T70" fmla="*/ 820 w 825"/>
                <a:gd name="T71" fmla="*/ 397 h 520"/>
                <a:gd name="T72" fmla="*/ 820 w 825"/>
                <a:gd name="T73" fmla="*/ 397 h 520"/>
                <a:gd name="T74" fmla="*/ 825 w 825"/>
                <a:gd name="T75" fmla="*/ 463 h 520"/>
                <a:gd name="T76" fmla="*/ 808 w 825"/>
                <a:gd name="T77" fmla="*/ 459 h 520"/>
                <a:gd name="T78" fmla="*/ 825 w 825"/>
                <a:gd name="T79" fmla="*/ 451 h 520"/>
                <a:gd name="T80" fmla="*/ 825 w 825"/>
                <a:gd name="T81" fmla="*/ 463 h 520"/>
                <a:gd name="T82" fmla="*/ 825 w 825"/>
                <a:gd name="T83" fmla="*/ 463 h 520"/>
                <a:gd name="T84" fmla="*/ 825 w 825"/>
                <a:gd name="T85" fmla="*/ 463 h 520"/>
                <a:gd name="T86" fmla="*/ 803 w 825"/>
                <a:gd name="T87" fmla="*/ 520 h 520"/>
                <a:gd name="T88" fmla="*/ 803 w 825"/>
                <a:gd name="T89" fmla="*/ 520 h 520"/>
                <a:gd name="T90" fmla="*/ 808 w 825"/>
                <a:gd name="T91" fmla="*/ 520 h 520"/>
                <a:gd name="T92" fmla="*/ 803 w 825"/>
                <a:gd name="T93" fmla="*/ 520 h 520"/>
                <a:gd name="T94" fmla="*/ 803 w 825"/>
                <a:gd name="T95" fmla="*/ 520 h 520"/>
                <a:gd name="T96" fmla="*/ 803 w 825"/>
                <a:gd name="T97" fmla="*/ 52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5" h="520">
                  <a:moveTo>
                    <a:pt x="81" y="33"/>
                  </a:moveTo>
                  <a:lnTo>
                    <a:pt x="64" y="29"/>
                  </a:lnTo>
                  <a:lnTo>
                    <a:pt x="50" y="29"/>
                  </a:lnTo>
                  <a:lnTo>
                    <a:pt x="50" y="17"/>
                  </a:lnTo>
                  <a:lnTo>
                    <a:pt x="55" y="17"/>
                  </a:lnTo>
                  <a:lnTo>
                    <a:pt x="33" y="17"/>
                  </a:lnTo>
                  <a:lnTo>
                    <a:pt x="26" y="10"/>
                  </a:lnTo>
                  <a:lnTo>
                    <a:pt x="33" y="10"/>
                  </a:lnTo>
                  <a:lnTo>
                    <a:pt x="0" y="0"/>
                  </a:lnTo>
                  <a:lnTo>
                    <a:pt x="102" y="10"/>
                  </a:lnTo>
                  <a:lnTo>
                    <a:pt x="102" y="29"/>
                  </a:lnTo>
                  <a:lnTo>
                    <a:pt x="102" y="29"/>
                  </a:lnTo>
                  <a:lnTo>
                    <a:pt x="109" y="29"/>
                  </a:lnTo>
                  <a:lnTo>
                    <a:pt x="123" y="45"/>
                  </a:lnTo>
                  <a:lnTo>
                    <a:pt x="118" y="29"/>
                  </a:lnTo>
                  <a:lnTo>
                    <a:pt x="123" y="29"/>
                  </a:lnTo>
                  <a:lnTo>
                    <a:pt x="140" y="55"/>
                  </a:lnTo>
                  <a:lnTo>
                    <a:pt x="161" y="83"/>
                  </a:lnTo>
                  <a:lnTo>
                    <a:pt x="140" y="83"/>
                  </a:lnTo>
                  <a:lnTo>
                    <a:pt x="147" y="90"/>
                  </a:lnTo>
                  <a:lnTo>
                    <a:pt x="140" y="90"/>
                  </a:lnTo>
                  <a:lnTo>
                    <a:pt x="109" y="55"/>
                  </a:lnTo>
                  <a:lnTo>
                    <a:pt x="81" y="33"/>
                  </a:lnTo>
                  <a:lnTo>
                    <a:pt x="81" y="33"/>
                  </a:lnTo>
                  <a:lnTo>
                    <a:pt x="81" y="33"/>
                  </a:lnTo>
                  <a:close/>
                  <a:moveTo>
                    <a:pt x="766" y="279"/>
                  </a:moveTo>
                  <a:lnTo>
                    <a:pt x="766" y="274"/>
                  </a:lnTo>
                  <a:lnTo>
                    <a:pt x="770" y="274"/>
                  </a:lnTo>
                  <a:lnTo>
                    <a:pt x="766" y="279"/>
                  </a:lnTo>
                  <a:lnTo>
                    <a:pt x="766" y="279"/>
                  </a:lnTo>
                  <a:lnTo>
                    <a:pt x="766" y="279"/>
                  </a:lnTo>
                  <a:close/>
                  <a:moveTo>
                    <a:pt x="820" y="397"/>
                  </a:moveTo>
                  <a:lnTo>
                    <a:pt x="808" y="385"/>
                  </a:lnTo>
                  <a:lnTo>
                    <a:pt x="820" y="385"/>
                  </a:lnTo>
                  <a:lnTo>
                    <a:pt x="820" y="397"/>
                  </a:lnTo>
                  <a:lnTo>
                    <a:pt x="820" y="397"/>
                  </a:lnTo>
                  <a:lnTo>
                    <a:pt x="820" y="397"/>
                  </a:lnTo>
                  <a:close/>
                  <a:moveTo>
                    <a:pt x="825" y="463"/>
                  </a:moveTo>
                  <a:lnTo>
                    <a:pt x="808" y="459"/>
                  </a:lnTo>
                  <a:lnTo>
                    <a:pt x="825" y="451"/>
                  </a:lnTo>
                  <a:lnTo>
                    <a:pt x="825" y="463"/>
                  </a:lnTo>
                  <a:lnTo>
                    <a:pt x="825" y="463"/>
                  </a:lnTo>
                  <a:lnTo>
                    <a:pt x="825" y="463"/>
                  </a:lnTo>
                  <a:close/>
                  <a:moveTo>
                    <a:pt x="803" y="520"/>
                  </a:moveTo>
                  <a:lnTo>
                    <a:pt x="803" y="520"/>
                  </a:lnTo>
                  <a:lnTo>
                    <a:pt x="808" y="520"/>
                  </a:lnTo>
                  <a:lnTo>
                    <a:pt x="803" y="520"/>
                  </a:lnTo>
                  <a:lnTo>
                    <a:pt x="803" y="520"/>
                  </a:lnTo>
                  <a:lnTo>
                    <a:pt x="803" y="52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2" name="Freeform 563">
              <a:extLst>
                <a:ext uri="{FF2B5EF4-FFF2-40B4-BE49-F238E27FC236}">
                  <a16:creationId xmlns:a16="http://schemas.microsoft.com/office/drawing/2014/main" id="{CC9B5701-D20B-42CD-B624-6A6A86689806}"/>
                </a:ext>
              </a:extLst>
            </p:cNvPr>
            <p:cNvSpPr>
              <a:spLocks/>
            </p:cNvSpPr>
            <p:nvPr/>
          </p:nvSpPr>
          <p:spPr bwMode="gray">
            <a:xfrm>
              <a:off x="14562407" y="3192084"/>
              <a:ext cx="154484" cy="133210"/>
            </a:xfrm>
            <a:custGeom>
              <a:avLst/>
              <a:gdLst>
                <a:gd name="T0" fmla="*/ 0 w 472"/>
                <a:gd name="T1" fmla="*/ 333 h 407"/>
                <a:gd name="T2" fmla="*/ 0 w 472"/>
                <a:gd name="T3" fmla="*/ 333 h 407"/>
                <a:gd name="T4" fmla="*/ 28 w 472"/>
                <a:gd name="T5" fmla="*/ 300 h 407"/>
                <a:gd name="T6" fmla="*/ 21 w 472"/>
                <a:gd name="T7" fmla="*/ 300 h 407"/>
                <a:gd name="T8" fmla="*/ 28 w 472"/>
                <a:gd name="T9" fmla="*/ 284 h 407"/>
                <a:gd name="T10" fmla="*/ 54 w 472"/>
                <a:gd name="T11" fmla="*/ 284 h 407"/>
                <a:gd name="T12" fmla="*/ 43 w 472"/>
                <a:gd name="T13" fmla="*/ 279 h 407"/>
                <a:gd name="T14" fmla="*/ 71 w 472"/>
                <a:gd name="T15" fmla="*/ 251 h 407"/>
                <a:gd name="T16" fmla="*/ 59 w 472"/>
                <a:gd name="T17" fmla="*/ 239 h 407"/>
                <a:gd name="T18" fmla="*/ 43 w 472"/>
                <a:gd name="T19" fmla="*/ 229 h 407"/>
                <a:gd name="T20" fmla="*/ 54 w 472"/>
                <a:gd name="T21" fmla="*/ 222 h 407"/>
                <a:gd name="T22" fmla="*/ 21 w 472"/>
                <a:gd name="T23" fmla="*/ 222 h 407"/>
                <a:gd name="T24" fmla="*/ 17 w 472"/>
                <a:gd name="T25" fmla="*/ 194 h 407"/>
                <a:gd name="T26" fmla="*/ 21 w 472"/>
                <a:gd name="T27" fmla="*/ 173 h 407"/>
                <a:gd name="T28" fmla="*/ 21 w 472"/>
                <a:gd name="T29" fmla="*/ 156 h 407"/>
                <a:gd name="T30" fmla="*/ 5 w 472"/>
                <a:gd name="T31" fmla="*/ 140 h 407"/>
                <a:gd name="T32" fmla="*/ 21 w 472"/>
                <a:gd name="T33" fmla="*/ 111 h 407"/>
                <a:gd name="T34" fmla="*/ 38 w 472"/>
                <a:gd name="T35" fmla="*/ 128 h 407"/>
                <a:gd name="T36" fmla="*/ 38 w 472"/>
                <a:gd name="T37" fmla="*/ 111 h 407"/>
                <a:gd name="T38" fmla="*/ 54 w 472"/>
                <a:gd name="T39" fmla="*/ 111 h 407"/>
                <a:gd name="T40" fmla="*/ 54 w 472"/>
                <a:gd name="T41" fmla="*/ 83 h 407"/>
                <a:gd name="T42" fmla="*/ 76 w 472"/>
                <a:gd name="T43" fmla="*/ 83 h 407"/>
                <a:gd name="T44" fmla="*/ 59 w 472"/>
                <a:gd name="T45" fmla="*/ 71 h 407"/>
                <a:gd name="T46" fmla="*/ 71 w 472"/>
                <a:gd name="T47" fmla="*/ 38 h 407"/>
                <a:gd name="T48" fmla="*/ 109 w 472"/>
                <a:gd name="T49" fmla="*/ 55 h 407"/>
                <a:gd name="T50" fmla="*/ 125 w 472"/>
                <a:gd name="T51" fmla="*/ 55 h 407"/>
                <a:gd name="T52" fmla="*/ 184 w 472"/>
                <a:gd name="T53" fmla="*/ 26 h 407"/>
                <a:gd name="T54" fmla="*/ 201 w 472"/>
                <a:gd name="T55" fmla="*/ 38 h 407"/>
                <a:gd name="T56" fmla="*/ 217 w 472"/>
                <a:gd name="T57" fmla="*/ 43 h 407"/>
                <a:gd name="T58" fmla="*/ 255 w 472"/>
                <a:gd name="T59" fmla="*/ 55 h 407"/>
                <a:gd name="T60" fmla="*/ 293 w 472"/>
                <a:gd name="T61" fmla="*/ 43 h 407"/>
                <a:gd name="T62" fmla="*/ 364 w 472"/>
                <a:gd name="T63" fmla="*/ 17 h 407"/>
                <a:gd name="T64" fmla="*/ 418 w 472"/>
                <a:gd name="T65" fmla="*/ 17 h 407"/>
                <a:gd name="T66" fmla="*/ 451 w 472"/>
                <a:gd name="T67" fmla="*/ 5 h 407"/>
                <a:gd name="T68" fmla="*/ 456 w 472"/>
                <a:gd name="T69" fmla="*/ 0 h 407"/>
                <a:gd name="T70" fmla="*/ 472 w 472"/>
                <a:gd name="T71" fmla="*/ 5 h 407"/>
                <a:gd name="T72" fmla="*/ 472 w 472"/>
                <a:gd name="T73" fmla="*/ 17 h 407"/>
                <a:gd name="T74" fmla="*/ 435 w 472"/>
                <a:gd name="T75" fmla="*/ 55 h 407"/>
                <a:gd name="T76" fmla="*/ 402 w 472"/>
                <a:gd name="T77" fmla="*/ 62 h 407"/>
                <a:gd name="T78" fmla="*/ 397 w 472"/>
                <a:gd name="T79" fmla="*/ 78 h 407"/>
                <a:gd name="T80" fmla="*/ 397 w 472"/>
                <a:gd name="T81" fmla="*/ 99 h 407"/>
                <a:gd name="T82" fmla="*/ 402 w 472"/>
                <a:gd name="T83" fmla="*/ 116 h 407"/>
                <a:gd name="T84" fmla="*/ 402 w 472"/>
                <a:gd name="T85" fmla="*/ 140 h 407"/>
                <a:gd name="T86" fmla="*/ 397 w 472"/>
                <a:gd name="T87" fmla="*/ 173 h 407"/>
                <a:gd name="T88" fmla="*/ 397 w 472"/>
                <a:gd name="T89" fmla="*/ 206 h 407"/>
                <a:gd name="T90" fmla="*/ 380 w 472"/>
                <a:gd name="T91" fmla="*/ 239 h 407"/>
                <a:gd name="T92" fmla="*/ 222 w 472"/>
                <a:gd name="T93" fmla="*/ 324 h 407"/>
                <a:gd name="T94" fmla="*/ 83 w 472"/>
                <a:gd name="T95" fmla="*/ 407 h 407"/>
                <a:gd name="T96" fmla="*/ 54 w 472"/>
                <a:gd name="T97" fmla="*/ 407 h 407"/>
                <a:gd name="T98" fmla="*/ 28 w 472"/>
                <a:gd name="T99" fmla="*/ 390 h 407"/>
                <a:gd name="T100" fmla="*/ 21 w 472"/>
                <a:gd name="T101" fmla="*/ 373 h 407"/>
                <a:gd name="T102" fmla="*/ 0 w 472"/>
                <a:gd name="T103" fmla="*/ 378 h 407"/>
                <a:gd name="T104" fmla="*/ 0 w 472"/>
                <a:gd name="T105" fmla="*/ 333 h 407"/>
                <a:gd name="T106" fmla="*/ 0 w 472"/>
                <a:gd name="T107" fmla="*/ 333 h 407"/>
                <a:gd name="T108" fmla="*/ 0 w 472"/>
                <a:gd name="T109" fmla="*/ 333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2" h="407">
                  <a:moveTo>
                    <a:pt x="0" y="333"/>
                  </a:moveTo>
                  <a:lnTo>
                    <a:pt x="0" y="333"/>
                  </a:lnTo>
                  <a:lnTo>
                    <a:pt x="28" y="300"/>
                  </a:lnTo>
                  <a:lnTo>
                    <a:pt x="21" y="300"/>
                  </a:lnTo>
                  <a:lnTo>
                    <a:pt x="28" y="284"/>
                  </a:lnTo>
                  <a:lnTo>
                    <a:pt x="54" y="284"/>
                  </a:lnTo>
                  <a:lnTo>
                    <a:pt x="43" y="279"/>
                  </a:lnTo>
                  <a:lnTo>
                    <a:pt x="71" y="251"/>
                  </a:lnTo>
                  <a:lnTo>
                    <a:pt x="59" y="239"/>
                  </a:lnTo>
                  <a:lnTo>
                    <a:pt x="43" y="229"/>
                  </a:lnTo>
                  <a:lnTo>
                    <a:pt x="54" y="222"/>
                  </a:lnTo>
                  <a:lnTo>
                    <a:pt x="21" y="222"/>
                  </a:lnTo>
                  <a:lnTo>
                    <a:pt x="17" y="194"/>
                  </a:lnTo>
                  <a:lnTo>
                    <a:pt x="21" y="173"/>
                  </a:lnTo>
                  <a:lnTo>
                    <a:pt x="21" y="156"/>
                  </a:lnTo>
                  <a:lnTo>
                    <a:pt x="5" y="140"/>
                  </a:lnTo>
                  <a:lnTo>
                    <a:pt x="21" y="111"/>
                  </a:lnTo>
                  <a:lnTo>
                    <a:pt x="38" y="128"/>
                  </a:lnTo>
                  <a:lnTo>
                    <a:pt x="38" y="111"/>
                  </a:lnTo>
                  <a:lnTo>
                    <a:pt x="54" y="111"/>
                  </a:lnTo>
                  <a:lnTo>
                    <a:pt x="54" y="83"/>
                  </a:lnTo>
                  <a:lnTo>
                    <a:pt x="76" y="83"/>
                  </a:lnTo>
                  <a:lnTo>
                    <a:pt x="59" y="71"/>
                  </a:lnTo>
                  <a:lnTo>
                    <a:pt x="71" y="38"/>
                  </a:lnTo>
                  <a:lnTo>
                    <a:pt x="109" y="55"/>
                  </a:lnTo>
                  <a:lnTo>
                    <a:pt x="125" y="55"/>
                  </a:lnTo>
                  <a:lnTo>
                    <a:pt x="184" y="26"/>
                  </a:lnTo>
                  <a:lnTo>
                    <a:pt x="201" y="38"/>
                  </a:lnTo>
                  <a:lnTo>
                    <a:pt x="217" y="43"/>
                  </a:lnTo>
                  <a:lnTo>
                    <a:pt x="255" y="55"/>
                  </a:lnTo>
                  <a:lnTo>
                    <a:pt x="293" y="43"/>
                  </a:lnTo>
                  <a:lnTo>
                    <a:pt x="364" y="17"/>
                  </a:lnTo>
                  <a:lnTo>
                    <a:pt x="418" y="17"/>
                  </a:lnTo>
                  <a:lnTo>
                    <a:pt x="451" y="5"/>
                  </a:lnTo>
                  <a:lnTo>
                    <a:pt x="456" y="0"/>
                  </a:lnTo>
                  <a:lnTo>
                    <a:pt x="472" y="5"/>
                  </a:lnTo>
                  <a:lnTo>
                    <a:pt x="472" y="17"/>
                  </a:lnTo>
                  <a:lnTo>
                    <a:pt x="435" y="55"/>
                  </a:lnTo>
                  <a:lnTo>
                    <a:pt x="402" y="62"/>
                  </a:lnTo>
                  <a:lnTo>
                    <a:pt x="397" y="78"/>
                  </a:lnTo>
                  <a:lnTo>
                    <a:pt x="397" y="99"/>
                  </a:lnTo>
                  <a:lnTo>
                    <a:pt x="402" y="116"/>
                  </a:lnTo>
                  <a:lnTo>
                    <a:pt x="402" y="140"/>
                  </a:lnTo>
                  <a:lnTo>
                    <a:pt x="397" y="173"/>
                  </a:lnTo>
                  <a:lnTo>
                    <a:pt x="397" y="206"/>
                  </a:lnTo>
                  <a:lnTo>
                    <a:pt x="380" y="239"/>
                  </a:lnTo>
                  <a:lnTo>
                    <a:pt x="222" y="324"/>
                  </a:lnTo>
                  <a:lnTo>
                    <a:pt x="83" y="407"/>
                  </a:lnTo>
                  <a:lnTo>
                    <a:pt x="54" y="407"/>
                  </a:lnTo>
                  <a:lnTo>
                    <a:pt x="28" y="390"/>
                  </a:lnTo>
                  <a:lnTo>
                    <a:pt x="21" y="373"/>
                  </a:lnTo>
                  <a:lnTo>
                    <a:pt x="0" y="378"/>
                  </a:lnTo>
                  <a:lnTo>
                    <a:pt x="0" y="333"/>
                  </a:lnTo>
                  <a:lnTo>
                    <a:pt x="0" y="333"/>
                  </a:lnTo>
                  <a:lnTo>
                    <a:pt x="0" y="333"/>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3" name="Freeform 564">
              <a:extLst>
                <a:ext uri="{FF2B5EF4-FFF2-40B4-BE49-F238E27FC236}">
                  <a16:creationId xmlns:a16="http://schemas.microsoft.com/office/drawing/2014/main" id="{951D66D7-5B9A-4308-A37A-D034B199B65F}"/>
                </a:ext>
              </a:extLst>
            </p:cNvPr>
            <p:cNvSpPr>
              <a:spLocks/>
            </p:cNvSpPr>
            <p:nvPr/>
          </p:nvSpPr>
          <p:spPr bwMode="gray">
            <a:xfrm>
              <a:off x="13881303" y="2892935"/>
              <a:ext cx="102771" cy="58913"/>
            </a:xfrm>
            <a:custGeom>
              <a:avLst/>
              <a:gdLst>
                <a:gd name="T0" fmla="*/ 38 w 314"/>
                <a:gd name="T1" fmla="*/ 90 h 180"/>
                <a:gd name="T2" fmla="*/ 71 w 314"/>
                <a:gd name="T3" fmla="*/ 50 h 180"/>
                <a:gd name="T4" fmla="*/ 76 w 314"/>
                <a:gd name="T5" fmla="*/ 38 h 180"/>
                <a:gd name="T6" fmla="*/ 71 w 314"/>
                <a:gd name="T7" fmla="*/ 38 h 180"/>
                <a:gd name="T8" fmla="*/ 76 w 314"/>
                <a:gd name="T9" fmla="*/ 28 h 180"/>
                <a:gd name="T10" fmla="*/ 97 w 314"/>
                <a:gd name="T11" fmla="*/ 33 h 180"/>
                <a:gd name="T12" fmla="*/ 113 w 314"/>
                <a:gd name="T13" fmla="*/ 17 h 180"/>
                <a:gd name="T14" fmla="*/ 184 w 314"/>
                <a:gd name="T15" fmla="*/ 17 h 180"/>
                <a:gd name="T16" fmla="*/ 184 w 314"/>
                <a:gd name="T17" fmla="*/ 10 h 180"/>
                <a:gd name="T18" fmla="*/ 168 w 314"/>
                <a:gd name="T19" fmla="*/ 10 h 180"/>
                <a:gd name="T20" fmla="*/ 184 w 314"/>
                <a:gd name="T21" fmla="*/ 0 h 180"/>
                <a:gd name="T22" fmla="*/ 194 w 314"/>
                <a:gd name="T23" fmla="*/ 0 h 180"/>
                <a:gd name="T24" fmla="*/ 194 w 314"/>
                <a:gd name="T25" fmla="*/ 10 h 180"/>
                <a:gd name="T26" fmla="*/ 231 w 314"/>
                <a:gd name="T27" fmla="*/ 10 h 180"/>
                <a:gd name="T28" fmla="*/ 253 w 314"/>
                <a:gd name="T29" fmla="*/ 28 h 180"/>
                <a:gd name="T30" fmla="*/ 260 w 314"/>
                <a:gd name="T31" fmla="*/ 33 h 180"/>
                <a:gd name="T32" fmla="*/ 253 w 314"/>
                <a:gd name="T33" fmla="*/ 50 h 180"/>
                <a:gd name="T34" fmla="*/ 248 w 314"/>
                <a:gd name="T35" fmla="*/ 66 h 180"/>
                <a:gd name="T36" fmla="*/ 253 w 314"/>
                <a:gd name="T37" fmla="*/ 66 h 180"/>
                <a:gd name="T38" fmla="*/ 276 w 314"/>
                <a:gd name="T39" fmla="*/ 73 h 180"/>
                <a:gd name="T40" fmla="*/ 276 w 314"/>
                <a:gd name="T41" fmla="*/ 83 h 180"/>
                <a:gd name="T42" fmla="*/ 293 w 314"/>
                <a:gd name="T43" fmla="*/ 90 h 180"/>
                <a:gd name="T44" fmla="*/ 307 w 314"/>
                <a:gd name="T45" fmla="*/ 73 h 180"/>
                <a:gd name="T46" fmla="*/ 314 w 314"/>
                <a:gd name="T47" fmla="*/ 83 h 180"/>
                <a:gd name="T48" fmla="*/ 314 w 314"/>
                <a:gd name="T49" fmla="*/ 111 h 180"/>
                <a:gd name="T50" fmla="*/ 302 w 314"/>
                <a:gd name="T51" fmla="*/ 106 h 180"/>
                <a:gd name="T52" fmla="*/ 286 w 314"/>
                <a:gd name="T53" fmla="*/ 111 h 180"/>
                <a:gd name="T54" fmla="*/ 286 w 314"/>
                <a:gd name="T55" fmla="*/ 123 h 180"/>
                <a:gd name="T56" fmla="*/ 293 w 314"/>
                <a:gd name="T57" fmla="*/ 128 h 180"/>
                <a:gd name="T58" fmla="*/ 293 w 314"/>
                <a:gd name="T59" fmla="*/ 147 h 180"/>
                <a:gd name="T60" fmla="*/ 276 w 314"/>
                <a:gd name="T61" fmla="*/ 128 h 180"/>
                <a:gd name="T62" fmla="*/ 253 w 314"/>
                <a:gd name="T63" fmla="*/ 139 h 180"/>
                <a:gd name="T64" fmla="*/ 248 w 314"/>
                <a:gd name="T65" fmla="*/ 123 h 180"/>
                <a:gd name="T66" fmla="*/ 231 w 314"/>
                <a:gd name="T67" fmla="*/ 123 h 180"/>
                <a:gd name="T68" fmla="*/ 231 w 314"/>
                <a:gd name="T69" fmla="*/ 139 h 180"/>
                <a:gd name="T70" fmla="*/ 215 w 314"/>
                <a:gd name="T71" fmla="*/ 168 h 180"/>
                <a:gd name="T72" fmla="*/ 222 w 314"/>
                <a:gd name="T73" fmla="*/ 168 h 180"/>
                <a:gd name="T74" fmla="*/ 215 w 314"/>
                <a:gd name="T75" fmla="*/ 180 h 180"/>
                <a:gd name="T76" fmla="*/ 201 w 314"/>
                <a:gd name="T77" fmla="*/ 163 h 180"/>
                <a:gd name="T78" fmla="*/ 201 w 314"/>
                <a:gd name="T79" fmla="*/ 151 h 180"/>
                <a:gd name="T80" fmla="*/ 177 w 314"/>
                <a:gd name="T81" fmla="*/ 147 h 180"/>
                <a:gd name="T82" fmla="*/ 177 w 314"/>
                <a:gd name="T83" fmla="*/ 123 h 180"/>
                <a:gd name="T84" fmla="*/ 163 w 314"/>
                <a:gd name="T85" fmla="*/ 123 h 180"/>
                <a:gd name="T86" fmla="*/ 151 w 314"/>
                <a:gd name="T87" fmla="*/ 151 h 180"/>
                <a:gd name="T88" fmla="*/ 130 w 314"/>
                <a:gd name="T89" fmla="*/ 168 h 180"/>
                <a:gd name="T90" fmla="*/ 125 w 314"/>
                <a:gd name="T91" fmla="*/ 168 h 180"/>
                <a:gd name="T92" fmla="*/ 87 w 314"/>
                <a:gd name="T93" fmla="*/ 180 h 180"/>
                <a:gd name="T94" fmla="*/ 76 w 314"/>
                <a:gd name="T95" fmla="*/ 168 h 180"/>
                <a:gd name="T96" fmla="*/ 59 w 314"/>
                <a:gd name="T97" fmla="*/ 151 h 180"/>
                <a:gd name="T98" fmla="*/ 59 w 314"/>
                <a:gd name="T99" fmla="*/ 128 h 180"/>
                <a:gd name="T100" fmla="*/ 54 w 314"/>
                <a:gd name="T101" fmla="*/ 123 h 180"/>
                <a:gd name="T102" fmla="*/ 21 w 314"/>
                <a:gd name="T103" fmla="*/ 128 h 180"/>
                <a:gd name="T104" fmla="*/ 21 w 314"/>
                <a:gd name="T105" fmla="*/ 147 h 180"/>
                <a:gd name="T106" fmla="*/ 5 w 314"/>
                <a:gd name="T107" fmla="*/ 151 h 180"/>
                <a:gd name="T108" fmla="*/ 0 w 314"/>
                <a:gd name="T109" fmla="*/ 147 h 180"/>
                <a:gd name="T110" fmla="*/ 16 w 314"/>
                <a:gd name="T111" fmla="*/ 139 h 180"/>
                <a:gd name="T112" fmla="*/ 16 w 314"/>
                <a:gd name="T113" fmla="*/ 128 h 180"/>
                <a:gd name="T114" fmla="*/ 5 w 314"/>
                <a:gd name="T115" fmla="*/ 123 h 180"/>
                <a:gd name="T116" fmla="*/ 16 w 314"/>
                <a:gd name="T117" fmla="*/ 111 h 180"/>
                <a:gd name="T118" fmla="*/ 33 w 314"/>
                <a:gd name="T119" fmla="*/ 95 h 180"/>
                <a:gd name="T120" fmla="*/ 38 w 314"/>
                <a:gd name="T121" fmla="*/ 90 h 180"/>
                <a:gd name="T122" fmla="*/ 38 w 314"/>
                <a:gd name="T123" fmla="*/ 90 h 180"/>
                <a:gd name="T124" fmla="*/ 38 w 314"/>
                <a:gd name="T125"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4" h="180">
                  <a:moveTo>
                    <a:pt x="38" y="90"/>
                  </a:moveTo>
                  <a:lnTo>
                    <a:pt x="71" y="50"/>
                  </a:lnTo>
                  <a:lnTo>
                    <a:pt x="76" y="38"/>
                  </a:lnTo>
                  <a:lnTo>
                    <a:pt x="71" y="38"/>
                  </a:lnTo>
                  <a:lnTo>
                    <a:pt x="76" y="28"/>
                  </a:lnTo>
                  <a:lnTo>
                    <a:pt x="97" y="33"/>
                  </a:lnTo>
                  <a:lnTo>
                    <a:pt x="113" y="17"/>
                  </a:lnTo>
                  <a:lnTo>
                    <a:pt x="184" y="17"/>
                  </a:lnTo>
                  <a:lnTo>
                    <a:pt x="184" y="10"/>
                  </a:lnTo>
                  <a:lnTo>
                    <a:pt x="168" y="10"/>
                  </a:lnTo>
                  <a:lnTo>
                    <a:pt x="184" y="0"/>
                  </a:lnTo>
                  <a:lnTo>
                    <a:pt x="194" y="0"/>
                  </a:lnTo>
                  <a:lnTo>
                    <a:pt x="194" y="10"/>
                  </a:lnTo>
                  <a:lnTo>
                    <a:pt x="231" y="10"/>
                  </a:lnTo>
                  <a:lnTo>
                    <a:pt x="253" y="28"/>
                  </a:lnTo>
                  <a:lnTo>
                    <a:pt x="260" y="33"/>
                  </a:lnTo>
                  <a:lnTo>
                    <a:pt x="253" y="50"/>
                  </a:lnTo>
                  <a:lnTo>
                    <a:pt x="248" y="66"/>
                  </a:lnTo>
                  <a:lnTo>
                    <a:pt x="253" y="66"/>
                  </a:lnTo>
                  <a:lnTo>
                    <a:pt x="276" y="73"/>
                  </a:lnTo>
                  <a:lnTo>
                    <a:pt x="276" y="83"/>
                  </a:lnTo>
                  <a:lnTo>
                    <a:pt x="293" y="90"/>
                  </a:lnTo>
                  <a:lnTo>
                    <a:pt x="307" y="73"/>
                  </a:lnTo>
                  <a:lnTo>
                    <a:pt x="314" y="83"/>
                  </a:lnTo>
                  <a:lnTo>
                    <a:pt x="314" y="111"/>
                  </a:lnTo>
                  <a:lnTo>
                    <a:pt x="302" y="106"/>
                  </a:lnTo>
                  <a:lnTo>
                    <a:pt x="286" y="111"/>
                  </a:lnTo>
                  <a:lnTo>
                    <a:pt x="286" y="123"/>
                  </a:lnTo>
                  <a:lnTo>
                    <a:pt x="293" y="128"/>
                  </a:lnTo>
                  <a:lnTo>
                    <a:pt x="293" y="147"/>
                  </a:lnTo>
                  <a:lnTo>
                    <a:pt x="276" y="128"/>
                  </a:lnTo>
                  <a:lnTo>
                    <a:pt x="253" y="139"/>
                  </a:lnTo>
                  <a:lnTo>
                    <a:pt x="248" y="123"/>
                  </a:lnTo>
                  <a:lnTo>
                    <a:pt x="231" y="123"/>
                  </a:lnTo>
                  <a:lnTo>
                    <a:pt x="231" y="139"/>
                  </a:lnTo>
                  <a:lnTo>
                    <a:pt x="215" y="168"/>
                  </a:lnTo>
                  <a:lnTo>
                    <a:pt x="222" y="168"/>
                  </a:lnTo>
                  <a:lnTo>
                    <a:pt x="215" y="180"/>
                  </a:lnTo>
                  <a:lnTo>
                    <a:pt x="201" y="163"/>
                  </a:lnTo>
                  <a:lnTo>
                    <a:pt x="201" y="151"/>
                  </a:lnTo>
                  <a:lnTo>
                    <a:pt x="177" y="147"/>
                  </a:lnTo>
                  <a:lnTo>
                    <a:pt x="177" y="123"/>
                  </a:lnTo>
                  <a:lnTo>
                    <a:pt x="163" y="123"/>
                  </a:lnTo>
                  <a:lnTo>
                    <a:pt x="151" y="151"/>
                  </a:lnTo>
                  <a:lnTo>
                    <a:pt x="130" y="168"/>
                  </a:lnTo>
                  <a:lnTo>
                    <a:pt x="125" y="168"/>
                  </a:lnTo>
                  <a:lnTo>
                    <a:pt x="87" y="180"/>
                  </a:lnTo>
                  <a:lnTo>
                    <a:pt x="76" y="168"/>
                  </a:lnTo>
                  <a:lnTo>
                    <a:pt x="59" y="151"/>
                  </a:lnTo>
                  <a:lnTo>
                    <a:pt x="59" y="128"/>
                  </a:lnTo>
                  <a:lnTo>
                    <a:pt x="54" y="123"/>
                  </a:lnTo>
                  <a:lnTo>
                    <a:pt x="21" y="128"/>
                  </a:lnTo>
                  <a:lnTo>
                    <a:pt x="21" y="147"/>
                  </a:lnTo>
                  <a:lnTo>
                    <a:pt x="5" y="151"/>
                  </a:lnTo>
                  <a:lnTo>
                    <a:pt x="0" y="147"/>
                  </a:lnTo>
                  <a:lnTo>
                    <a:pt x="16" y="139"/>
                  </a:lnTo>
                  <a:lnTo>
                    <a:pt x="16" y="128"/>
                  </a:lnTo>
                  <a:lnTo>
                    <a:pt x="5" y="123"/>
                  </a:lnTo>
                  <a:lnTo>
                    <a:pt x="16" y="111"/>
                  </a:lnTo>
                  <a:lnTo>
                    <a:pt x="33" y="95"/>
                  </a:lnTo>
                  <a:lnTo>
                    <a:pt x="38" y="90"/>
                  </a:lnTo>
                  <a:lnTo>
                    <a:pt x="38" y="90"/>
                  </a:lnTo>
                  <a:lnTo>
                    <a:pt x="38" y="9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4" name="Freeform 565">
              <a:extLst>
                <a:ext uri="{FF2B5EF4-FFF2-40B4-BE49-F238E27FC236}">
                  <a16:creationId xmlns:a16="http://schemas.microsoft.com/office/drawing/2014/main" id="{74503ACB-12F8-4B79-994A-9C67D7971DC8}"/>
                </a:ext>
              </a:extLst>
            </p:cNvPr>
            <p:cNvSpPr>
              <a:spLocks noEditPoints="1"/>
            </p:cNvSpPr>
            <p:nvPr/>
          </p:nvSpPr>
          <p:spPr bwMode="gray">
            <a:xfrm>
              <a:off x="14928979" y="3483705"/>
              <a:ext cx="106699" cy="85752"/>
            </a:xfrm>
            <a:custGeom>
              <a:avLst/>
              <a:gdLst>
                <a:gd name="T0" fmla="*/ 326 w 326"/>
                <a:gd name="T1" fmla="*/ 97 h 262"/>
                <a:gd name="T2" fmla="*/ 312 w 326"/>
                <a:gd name="T3" fmla="*/ 106 h 262"/>
                <a:gd name="T4" fmla="*/ 304 w 326"/>
                <a:gd name="T5" fmla="*/ 97 h 262"/>
                <a:gd name="T6" fmla="*/ 312 w 326"/>
                <a:gd name="T7" fmla="*/ 97 h 262"/>
                <a:gd name="T8" fmla="*/ 304 w 326"/>
                <a:gd name="T9" fmla="*/ 90 h 262"/>
                <a:gd name="T10" fmla="*/ 288 w 326"/>
                <a:gd name="T11" fmla="*/ 97 h 262"/>
                <a:gd name="T12" fmla="*/ 288 w 326"/>
                <a:gd name="T13" fmla="*/ 146 h 262"/>
                <a:gd name="T14" fmla="*/ 304 w 326"/>
                <a:gd name="T15" fmla="*/ 146 h 262"/>
                <a:gd name="T16" fmla="*/ 304 w 326"/>
                <a:gd name="T17" fmla="*/ 151 h 262"/>
                <a:gd name="T18" fmla="*/ 274 w 326"/>
                <a:gd name="T19" fmla="*/ 163 h 262"/>
                <a:gd name="T20" fmla="*/ 274 w 326"/>
                <a:gd name="T21" fmla="*/ 179 h 262"/>
                <a:gd name="T22" fmla="*/ 252 w 326"/>
                <a:gd name="T23" fmla="*/ 234 h 262"/>
                <a:gd name="T24" fmla="*/ 252 w 326"/>
                <a:gd name="T25" fmla="*/ 262 h 262"/>
                <a:gd name="T26" fmla="*/ 245 w 326"/>
                <a:gd name="T27" fmla="*/ 262 h 262"/>
                <a:gd name="T28" fmla="*/ 71 w 326"/>
                <a:gd name="T29" fmla="*/ 241 h 262"/>
                <a:gd name="T30" fmla="*/ 0 w 326"/>
                <a:gd name="T31" fmla="*/ 151 h 262"/>
                <a:gd name="T32" fmla="*/ 0 w 326"/>
                <a:gd name="T33" fmla="*/ 146 h 262"/>
                <a:gd name="T34" fmla="*/ 7 w 326"/>
                <a:gd name="T35" fmla="*/ 146 h 262"/>
                <a:gd name="T36" fmla="*/ 16 w 326"/>
                <a:gd name="T37" fmla="*/ 163 h 262"/>
                <a:gd name="T38" fmla="*/ 33 w 326"/>
                <a:gd name="T39" fmla="*/ 167 h 262"/>
                <a:gd name="T40" fmla="*/ 54 w 326"/>
                <a:gd name="T41" fmla="*/ 163 h 262"/>
                <a:gd name="T42" fmla="*/ 71 w 326"/>
                <a:gd name="T43" fmla="*/ 146 h 262"/>
                <a:gd name="T44" fmla="*/ 139 w 326"/>
                <a:gd name="T45" fmla="*/ 163 h 262"/>
                <a:gd name="T46" fmla="*/ 177 w 326"/>
                <a:gd name="T47" fmla="*/ 151 h 262"/>
                <a:gd name="T48" fmla="*/ 198 w 326"/>
                <a:gd name="T49" fmla="*/ 146 h 262"/>
                <a:gd name="T50" fmla="*/ 198 w 326"/>
                <a:gd name="T51" fmla="*/ 130 h 262"/>
                <a:gd name="T52" fmla="*/ 203 w 326"/>
                <a:gd name="T53" fmla="*/ 130 h 262"/>
                <a:gd name="T54" fmla="*/ 215 w 326"/>
                <a:gd name="T55" fmla="*/ 106 h 262"/>
                <a:gd name="T56" fmla="*/ 245 w 326"/>
                <a:gd name="T57" fmla="*/ 78 h 262"/>
                <a:gd name="T58" fmla="*/ 274 w 326"/>
                <a:gd name="T59" fmla="*/ 40 h 262"/>
                <a:gd name="T60" fmla="*/ 283 w 326"/>
                <a:gd name="T61" fmla="*/ 40 h 262"/>
                <a:gd name="T62" fmla="*/ 300 w 326"/>
                <a:gd name="T63" fmla="*/ 35 h 262"/>
                <a:gd name="T64" fmla="*/ 312 w 326"/>
                <a:gd name="T65" fmla="*/ 0 h 262"/>
                <a:gd name="T66" fmla="*/ 321 w 326"/>
                <a:gd name="T67" fmla="*/ 12 h 262"/>
                <a:gd name="T68" fmla="*/ 312 w 326"/>
                <a:gd name="T69" fmla="*/ 35 h 262"/>
                <a:gd name="T70" fmla="*/ 326 w 326"/>
                <a:gd name="T71" fmla="*/ 35 h 262"/>
                <a:gd name="T72" fmla="*/ 326 w 326"/>
                <a:gd name="T73" fmla="*/ 40 h 262"/>
                <a:gd name="T74" fmla="*/ 326 w 326"/>
                <a:gd name="T75" fmla="*/ 90 h 262"/>
                <a:gd name="T76" fmla="*/ 326 w 326"/>
                <a:gd name="T77" fmla="*/ 97 h 262"/>
                <a:gd name="T78" fmla="*/ 326 w 326"/>
                <a:gd name="T79" fmla="*/ 97 h 262"/>
                <a:gd name="T80" fmla="*/ 326 w 326"/>
                <a:gd name="T81" fmla="*/ 97 h 262"/>
                <a:gd name="T82" fmla="*/ 198 w 326"/>
                <a:gd name="T83" fmla="*/ 130 h 262"/>
                <a:gd name="T84" fmla="*/ 193 w 326"/>
                <a:gd name="T85" fmla="*/ 130 h 262"/>
                <a:gd name="T86" fmla="*/ 193 w 326"/>
                <a:gd name="T87" fmla="*/ 123 h 262"/>
                <a:gd name="T88" fmla="*/ 198 w 326"/>
                <a:gd name="T89" fmla="*/ 130 h 262"/>
                <a:gd name="T90" fmla="*/ 198 w 326"/>
                <a:gd name="T91" fmla="*/ 130 h 262"/>
                <a:gd name="T92" fmla="*/ 198 w 326"/>
                <a:gd name="T93" fmla="*/ 130 h 262"/>
                <a:gd name="T94" fmla="*/ 71 w 326"/>
                <a:gd name="T95" fmla="*/ 146 h 262"/>
                <a:gd name="T96" fmla="*/ 71 w 326"/>
                <a:gd name="T97" fmla="*/ 134 h 262"/>
                <a:gd name="T98" fmla="*/ 75 w 326"/>
                <a:gd name="T99" fmla="*/ 134 h 262"/>
                <a:gd name="T100" fmla="*/ 71 w 326"/>
                <a:gd name="T101" fmla="*/ 146 h 262"/>
                <a:gd name="T102" fmla="*/ 71 w 326"/>
                <a:gd name="T103" fmla="*/ 146 h 262"/>
                <a:gd name="T104" fmla="*/ 71 w 326"/>
                <a:gd name="T105" fmla="*/ 146 h 262"/>
                <a:gd name="T106" fmla="*/ 151 w 326"/>
                <a:gd name="T107" fmla="*/ 151 h 262"/>
                <a:gd name="T108" fmla="*/ 144 w 326"/>
                <a:gd name="T109" fmla="*/ 151 h 262"/>
                <a:gd name="T110" fmla="*/ 160 w 326"/>
                <a:gd name="T111" fmla="*/ 146 h 262"/>
                <a:gd name="T112" fmla="*/ 165 w 326"/>
                <a:gd name="T113" fmla="*/ 146 h 262"/>
                <a:gd name="T114" fmla="*/ 151 w 326"/>
                <a:gd name="T115" fmla="*/ 151 h 262"/>
                <a:gd name="T116" fmla="*/ 151 w 326"/>
                <a:gd name="T117" fmla="*/ 151 h 262"/>
                <a:gd name="T118" fmla="*/ 151 w 326"/>
                <a:gd name="T119" fmla="*/ 15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6" h="262">
                  <a:moveTo>
                    <a:pt x="326" y="97"/>
                  </a:moveTo>
                  <a:lnTo>
                    <a:pt x="312" y="106"/>
                  </a:lnTo>
                  <a:lnTo>
                    <a:pt x="304" y="97"/>
                  </a:lnTo>
                  <a:lnTo>
                    <a:pt x="312" y="97"/>
                  </a:lnTo>
                  <a:lnTo>
                    <a:pt x="304" y="90"/>
                  </a:lnTo>
                  <a:lnTo>
                    <a:pt x="288" y="97"/>
                  </a:lnTo>
                  <a:lnTo>
                    <a:pt x="288" y="146"/>
                  </a:lnTo>
                  <a:lnTo>
                    <a:pt x="304" y="146"/>
                  </a:lnTo>
                  <a:lnTo>
                    <a:pt x="304" y="151"/>
                  </a:lnTo>
                  <a:lnTo>
                    <a:pt x="274" y="163"/>
                  </a:lnTo>
                  <a:lnTo>
                    <a:pt x="274" y="179"/>
                  </a:lnTo>
                  <a:lnTo>
                    <a:pt x="252" y="234"/>
                  </a:lnTo>
                  <a:lnTo>
                    <a:pt x="252" y="262"/>
                  </a:lnTo>
                  <a:lnTo>
                    <a:pt x="245" y="262"/>
                  </a:lnTo>
                  <a:lnTo>
                    <a:pt x="71" y="241"/>
                  </a:lnTo>
                  <a:lnTo>
                    <a:pt x="0" y="151"/>
                  </a:lnTo>
                  <a:lnTo>
                    <a:pt x="0" y="146"/>
                  </a:lnTo>
                  <a:lnTo>
                    <a:pt x="7" y="146"/>
                  </a:lnTo>
                  <a:lnTo>
                    <a:pt x="16" y="163"/>
                  </a:lnTo>
                  <a:lnTo>
                    <a:pt x="33" y="167"/>
                  </a:lnTo>
                  <a:lnTo>
                    <a:pt x="54" y="163"/>
                  </a:lnTo>
                  <a:lnTo>
                    <a:pt x="71" y="146"/>
                  </a:lnTo>
                  <a:lnTo>
                    <a:pt x="139" y="163"/>
                  </a:lnTo>
                  <a:lnTo>
                    <a:pt x="177" y="151"/>
                  </a:lnTo>
                  <a:lnTo>
                    <a:pt x="198" y="146"/>
                  </a:lnTo>
                  <a:lnTo>
                    <a:pt x="198" y="130"/>
                  </a:lnTo>
                  <a:lnTo>
                    <a:pt x="203" y="130"/>
                  </a:lnTo>
                  <a:lnTo>
                    <a:pt x="215" y="106"/>
                  </a:lnTo>
                  <a:lnTo>
                    <a:pt x="245" y="78"/>
                  </a:lnTo>
                  <a:lnTo>
                    <a:pt x="274" y="40"/>
                  </a:lnTo>
                  <a:lnTo>
                    <a:pt x="283" y="40"/>
                  </a:lnTo>
                  <a:lnTo>
                    <a:pt x="300" y="35"/>
                  </a:lnTo>
                  <a:lnTo>
                    <a:pt x="312" y="0"/>
                  </a:lnTo>
                  <a:lnTo>
                    <a:pt x="321" y="12"/>
                  </a:lnTo>
                  <a:lnTo>
                    <a:pt x="312" y="35"/>
                  </a:lnTo>
                  <a:lnTo>
                    <a:pt x="326" y="35"/>
                  </a:lnTo>
                  <a:lnTo>
                    <a:pt x="326" y="40"/>
                  </a:lnTo>
                  <a:lnTo>
                    <a:pt x="326" y="90"/>
                  </a:lnTo>
                  <a:lnTo>
                    <a:pt x="326" y="97"/>
                  </a:lnTo>
                  <a:lnTo>
                    <a:pt x="326" y="97"/>
                  </a:lnTo>
                  <a:lnTo>
                    <a:pt x="326" y="97"/>
                  </a:lnTo>
                  <a:close/>
                  <a:moveTo>
                    <a:pt x="198" y="130"/>
                  </a:moveTo>
                  <a:lnTo>
                    <a:pt x="193" y="130"/>
                  </a:lnTo>
                  <a:lnTo>
                    <a:pt x="193" y="123"/>
                  </a:lnTo>
                  <a:lnTo>
                    <a:pt x="198" y="130"/>
                  </a:lnTo>
                  <a:lnTo>
                    <a:pt x="198" y="130"/>
                  </a:lnTo>
                  <a:lnTo>
                    <a:pt x="198" y="130"/>
                  </a:lnTo>
                  <a:close/>
                  <a:moveTo>
                    <a:pt x="71" y="146"/>
                  </a:moveTo>
                  <a:lnTo>
                    <a:pt x="71" y="134"/>
                  </a:lnTo>
                  <a:lnTo>
                    <a:pt x="75" y="134"/>
                  </a:lnTo>
                  <a:lnTo>
                    <a:pt x="71" y="146"/>
                  </a:lnTo>
                  <a:lnTo>
                    <a:pt x="71" y="146"/>
                  </a:lnTo>
                  <a:lnTo>
                    <a:pt x="71" y="146"/>
                  </a:lnTo>
                  <a:close/>
                  <a:moveTo>
                    <a:pt x="151" y="151"/>
                  </a:moveTo>
                  <a:lnTo>
                    <a:pt x="144" y="151"/>
                  </a:lnTo>
                  <a:lnTo>
                    <a:pt x="160" y="146"/>
                  </a:lnTo>
                  <a:lnTo>
                    <a:pt x="165" y="146"/>
                  </a:lnTo>
                  <a:lnTo>
                    <a:pt x="151" y="151"/>
                  </a:lnTo>
                  <a:lnTo>
                    <a:pt x="151" y="151"/>
                  </a:lnTo>
                  <a:lnTo>
                    <a:pt x="151" y="151"/>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5" name="Freeform 566">
              <a:extLst>
                <a:ext uri="{FF2B5EF4-FFF2-40B4-BE49-F238E27FC236}">
                  <a16:creationId xmlns:a16="http://schemas.microsoft.com/office/drawing/2014/main" id="{CDBC9068-AC2E-4FF4-83AA-87E50026C7A8}"/>
                </a:ext>
              </a:extLst>
            </p:cNvPr>
            <p:cNvSpPr>
              <a:spLocks noEditPoints="1"/>
            </p:cNvSpPr>
            <p:nvPr/>
          </p:nvSpPr>
          <p:spPr bwMode="gray">
            <a:xfrm>
              <a:off x="12322716" y="3846350"/>
              <a:ext cx="33057" cy="30766"/>
            </a:xfrm>
            <a:custGeom>
              <a:avLst/>
              <a:gdLst>
                <a:gd name="T0" fmla="*/ 80 w 101"/>
                <a:gd name="T1" fmla="*/ 16 h 94"/>
                <a:gd name="T2" fmla="*/ 80 w 101"/>
                <a:gd name="T3" fmla="*/ 16 h 94"/>
                <a:gd name="T4" fmla="*/ 101 w 101"/>
                <a:gd name="T5" fmla="*/ 0 h 94"/>
                <a:gd name="T6" fmla="*/ 101 w 101"/>
                <a:gd name="T7" fmla="*/ 4 h 94"/>
                <a:gd name="T8" fmla="*/ 80 w 101"/>
                <a:gd name="T9" fmla="*/ 16 h 94"/>
                <a:gd name="T10" fmla="*/ 80 w 101"/>
                <a:gd name="T11" fmla="*/ 16 h 94"/>
                <a:gd name="T12" fmla="*/ 80 w 101"/>
                <a:gd name="T13" fmla="*/ 16 h 94"/>
                <a:gd name="T14" fmla="*/ 64 w 101"/>
                <a:gd name="T15" fmla="*/ 40 h 94"/>
                <a:gd name="T16" fmla="*/ 68 w 101"/>
                <a:gd name="T17" fmla="*/ 40 h 94"/>
                <a:gd name="T18" fmla="*/ 64 w 101"/>
                <a:gd name="T19" fmla="*/ 44 h 94"/>
                <a:gd name="T20" fmla="*/ 64 w 101"/>
                <a:gd name="T21" fmla="*/ 89 h 94"/>
                <a:gd name="T22" fmla="*/ 0 w 101"/>
                <a:gd name="T23" fmla="*/ 94 h 94"/>
                <a:gd name="T24" fmla="*/ 31 w 101"/>
                <a:gd name="T25" fmla="*/ 78 h 94"/>
                <a:gd name="T26" fmla="*/ 31 w 101"/>
                <a:gd name="T27" fmla="*/ 56 h 94"/>
                <a:gd name="T28" fmla="*/ 14 w 101"/>
                <a:gd name="T29" fmla="*/ 44 h 94"/>
                <a:gd name="T30" fmla="*/ 64 w 101"/>
                <a:gd name="T31" fmla="*/ 40 h 94"/>
                <a:gd name="T32" fmla="*/ 64 w 101"/>
                <a:gd name="T33" fmla="*/ 40 h 94"/>
                <a:gd name="T34" fmla="*/ 64 w 101"/>
                <a:gd name="T35" fmla="*/ 4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 h="94">
                  <a:moveTo>
                    <a:pt x="80" y="16"/>
                  </a:moveTo>
                  <a:lnTo>
                    <a:pt x="80" y="16"/>
                  </a:lnTo>
                  <a:lnTo>
                    <a:pt x="101" y="0"/>
                  </a:lnTo>
                  <a:lnTo>
                    <a:pt x="101" y="4"/>
                  </a:lnTo>
                  <a:lnTo>
                    <a:pt x="80" y="16"/>
                  </a:lnTo>
                  <a:lnTo>
                    <a:pt x="80" y="16"/>
                  </a:lnTo>
                  <a:lnTo>
                    <a:pt x="80" y="16"/>
                  </a:lnTo>
                  <a:close/>
                  <a:moveTo>
                    <a:pt x="64" y="40"/>
                  </a:moveTo>
                  <a:lnTo>
                    <a:pt x="68" y="40"/>
                  </a:lnTo>
                  <a:lnTo>
                    <a:pt x="64" y="44"/>
                  </a:lnTo>
                  <a:lnTo>
                    <a:pt x="64" y="89"/>
                  </a:lnTo>
                  <a:lnTo>
                    <a:pt x="0" y="94"/>
                  </a:lnTo>
                  <a:lnTo>
                    <a:pt x="31" y="78"/>
                  </a:lnTo>
                  <a:lnTo>
                    <a:pt x="31" y="56"/>
                  </a:lnTo>
                  <a:lnTo>
                    <a:pt x="14" y="44"/>
                  </a:lnTo>
                  <a:lnTo>
                    <a:pt x="64" y="40"/>
                  </a:lnTo>
                  <a:lnTo>
                    <a:pt x="64" y="40"/>
                  </a:lnTo>
                  <a:lnTo>
                    <a:pt x="64" y="4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6" name="Freeform 567">
              <a:extLst>
                <a:ext uri="{FF2B5EF4-FFF2-40B4-BE49-F238E27FC236}">
                  <a16:creationId xmlns:a16="http://schemas.microsoft.com/office/drawing/2014/main" id="{922898A4-39B2-4019-BCE3-E51BE7DBC848}"/>
                </a:ext>
              </a:extLst>
            </p:cNvPr>
            <p:cNvSpPr>
              <a:spLocks noEditPoints="1"/>
            </p:cNvSpPr>
            <p:nvPr/>
          </p:nvSpPr>
          <p:spPr bwMode="gray">
            <a:xfrm>
              <a:off x="15977965" y="3624443"/>
              <a:ext cx="190159" cy="355444"/>
            </a:xfrm>
            <a:custGeom>
              <a:avLst/>
              <a:gdLst>
                <a:gd name="T0" fmla="*/ 298 w 581"/>
                <a:gd name="T1" fmla="*/ 1070 h 1086"/>
                <a:gd name="T2" fmla="*/ 267 w 581"/>
                <a:gd name="T3" fmla="*/ 1046 h 1086"/>
                <a:gd name="T4" fmla="*/ 217 w 581"/>
                <a:gd name="T5" fmla="*/ 1025 h 1086"/>
                <a:gd name="T6" fmla="*/ 196 w 581"/>
                <a:gd name="T7" fmla="*/ 1025 h 1086"/>
                <a:gd name="T8" fmla="*/ 147 w 581"/>
                <a:gd name="T9" fmla="*/ 968 h 1086"/>
                <a:gd name="T10" fmla="*/ 121 w 581"/>
                <a:gd name="T11" fmla="*/ 930 h 1086"/>
                <a:gd name="T12" fmla="*/ 92 w 581"/>
                <a:gd name="T13" fmla="*/ 885 h 1086"/>
                <a:gd name="T14" fmla="*/ 66 w 581"/>
                <a:gd name="T15" fmla="*/ 881 h 1086"/>
                <a:gd name="T16" fmla="*/ 104 w 581"/>
                <a:gd name="T17" fmla="*/ 720 h 1086"/>
                <a:gd name="T18" fmla="*/ 147 w 581"/>
                <a:gd name="T19" fmla="*/ 588 h 1086"/>
                <a:gd name="T20" fmla="*/ 137 w 581"/>
                <a:gd name="T21" fmla="*/ 543 h 1086"/>
                <a:gd name="T22" fmla="*/ 71 w 581"/>
                <a:gd name="T23" fmla="*/ 432 h 1086"/>
                <a:gd name="T24" fmla="*/ 88 w 581"/>
                <a:gd name="T25" fmla="*/ 382 h 1086"/>
                <a:gd name="T26" fmla="*/ 109 w 581"/>
                <a:gd name="T27" fmla="*/ 304 h 1086"/>
                <a:gd name="T28" fmla="*/ 33 w 581"/>
                <a:gd name="T29" fmla="*/ 210 h 1086"/>
                <a:gd name="T30" fmla="*/ 12 w 581"/>
                <a:gd name="T31" fmla="*/ 156 h 1086"/>
                <a:gd name="T32" fmla="*/ 33 w 581"/>
                <a:gd name="T33" fmla="*/ 82 h 1086"/>
                <a:gd name="T34" fmla="*/ 66 w 581"/>
                <a:gd name="T35" fmla="*/ 56 h 1086"/>
                <a:gd name="T36" fmla="*/ 147 w 581"/>
                <a:gd name="T37" fmla="*/ 28 h 1086"/>
                <a:gd name="T38" fmla="*/ 191 w 581"/>
                <a:gd name="T39" fmla="*/ 0 h 1086"/>
                <a:gd name="T40" fmla="*/ 217 w 581"/>
                <a:gd name="T41" fmla="*/ 28 h 1086"/>
                <a:gd name="T42" fmla="*/ 243 w 581"/>
                <a:gd name="T43" fmla="*/ 73 h 1086"/>
                <a:gd name="T44" fmla="*/ 281 w 581"/>
                <a:gd name="T45" fmla="*/ 106 h 1086"/>
                <a:gd name="T46" fmla="*/ 272 w 581"/>
                <a:gd name="T47" fmla="*/ 160 h 1086"/>
                <a:gd name="T48" fmla="*/ 298 w 581"/>
                <a:gd name="T49" fmla="*/ 200 h 1086"/>
                <a:gd name="T50" fmla="*/ 359 w 581"/>
                <a:gd name="T51" fmla="*/ 182 h 1086"/>
                <a:gd name="T52" fmla="*/ 406 w 581"/>
                <a:gd name="T53" fmla="*/ 182 h 1086"/>
                <a:gd name="T54" fmla="*/ 428 w 581"/>
                <a:gd name="T55" fmla="*/ 156 h 1086"/>
                <a:gd name="T56" fmla="*/ 527 w 581"/>
                <a:gd name="T57" fmla="*/ 238 h 1086"/>
                <a:gd name="T58" fmla="*/ 569 w 581"/>
                <a:gd name="T59" fmla="*/ 345 h 1086"/>
                <a:gd name="T60" fmla="*/ 581 w 581"/>
                <a:gd name="T61" fmla="*/ 404 h 1086"/>
                <a:gd name="T62" fmla="*/ 543 w 581"/>
                <a:gd name="T63" fmla="*/ 453 h 1086"/>
                <a:gd name="T64" fmla="*/ 414 w 581"/>
                <a:gd name="T65" fmla="*/ 453 h 1086"/>
                <a:gd name="T66" fmla="*/ 373 w 581"/>
                <a:gd name="T67" fmla="*/ 510 h 1086"/>
                <a:gd name="T68" fmla="*/ 364 w 581"/>
                <a:gd name="T69" fmla="*/ 581 h 1086"/>
                <a:gd name="T70" fmla="*/ 373 w 581"/>
                <a:gd name="T71" fmla="*/ 609 h 1086"/>
                <a:gd name="T72" fmla="*/ 359 w 581"/>
                <a:gd name="T73" fmla="*/ 604 h 1086"/>
                <a:gd name="T74" fmla="*/ 310 w 581"/>
                <a:gd name="T75" fmla="*/ 571 h 1086"/>
                <a:gd name="T76" fmla="*/ 251 w 581"/>
                <a:gd name="T77" fmla="*/ 581 h 1086"/>
                <a:gd name="T78" fmla="*/ 191 w 581"/>
                <a:gd name="T79" fmla="*/ 531 h 1086"/>
                <a:gd name="T80" fmla="*/ 163 w 581"/>
                <a:gd name="T81" fmla="*/ 666 h 1086"/>
                <a:gd name="T82" fmla="*/ 142 w 581"/>
                <a:gd name="T83" fmla="*/ 819 h 1086"/>
                <a:gd name="T84" fmla="*/ 191 w 581"/>
                <a:gd name="T85" fmla="*/ 876 h 1086"/>
                <a:gd name="T86" fmla="*/ 201 w 581"/>
                <a:gd name="T87" fmla="*/ 885 h 1086"/>
                <a:gd name="T88" fmla="*/ 213 w 581"/>
                <a:gd name="T89" fmla="*/ 935 h 1086"/>
                <a:gd name="T90" fmla="*/ 217 w 581"/>
                <a:gd name="T91" fmla="*/ 975 h 1086"/>
                <a:gd name="T92" fmla="*/ 281 w 581"/>
                <a:gd name="T93" fmla="*/ 996 h 1086"/>
                <a:gd name="T94" fmla="*/ 336 w 581"/>
                <a:gd name="T95" fmla="*/ 1046 h 1086"/>
                <a:gd name="T96" fmla="*/ 352 w 581"/>
                <a:gd name="T97" fmla="*/ 626 h 1086"/>
                <a:gd name="T98" fmla="*/ 359 w 581"/>
                <a:gd name="T99" fmla="*/ 626 h 1086"/>
                <a:gd name="T100" fmla="*/ 364 w 581"/>
                <a:gd name="T101" fmla="*/ 642 h 1086"/>
                <a:gd name="T102" fmla="*/ 196 w 581"/>
                <a:gd name="T103" fmla="*/ 791 h 1086"/>
                <a:gd name="T104" fmla="*/ 191 w 581"/>
                <a:gd name="T105" fmla="*/ 786 h 1086"/>
                <a:gd name="T106" fmla="*/ 196 w 581"/>
                <a:gd name="T107" fmla="*/ 808 h 1086"/>
                <a:gd name="T108" fmla="*/ 66 w 581"/>
                <a:gd name="T109" fmla="*/ 843 h 1086"/>
                <a:gd name="T110" fmla="*/ 71 w 581"/>
                <a:gd name="T111" fmla="*/ 843 h 1086"/>
                <a:gd name="T112" fmla="*/ 66 w 581"/>
                <a:gd name="T113" fmla="*/ 902 h 1086"/>
                <a:gd name="T114" fmla="*/ 88 w 581"/>
                <a:gd name="T115" fmla="*/ 914 h 1086"/>
                <a:gd name="T116" fmla="*/ 88 w 581"/>
                <a:gd name="T117" fmla="*/ 914 h 1086"/>
                <a:gd name="T118" fmla="*/ 158 w 581"/>
                <a:gd name="T119" fmla="*/ 1025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1" h="1086">
                  <a:moveTo>
                    <a:pt x="336" y="1046"/>
                  </a:moveTo>
                  <a:lnTo>
                    <a:pt x="321" y="1079"/>
                  </a:lnTo>
                  <a:lnTo>
                    <a:pt x="305" y="1079"/>
                  </a:lnTo>
                  <a:lnTo>
                    <a:pt x="298" y="1070"/>
                  </a:lnTo>
                  <a:lnTo>
                    <a:pt x="267" y="1086"/>
                  </a:lnTo>
                  <a:lnTo>
                    <a:pt x="255" y="1079"/>
                  </a:lnTo>
                  <a:lnTo>
                    <a:pt x="267" y="1063"/>
                  </a:lnTo>
                  <a:lnTo>
                    <a:pt x="267" y="1046"/>
                  </a:lnTo>
                  <a:lnTo>
                    <a:pt x="251" y="1046"/>
                  </a:lnTo>
                  <a:lnTo>
                    <a:pt x="243" y="1025"/>
                  </a:lnTo>
                  <a:lnTo>
                    <a:pt x="234" y="1030"/>
                  </a:lnTo>
                  <a:lnTo>
                    <a:pt x="217" y="1025"/>
                  </a:lnTo>
                  <a:lnTo>
                    <a:pt x="213" y="1013"/>
                  </a:lnTo>
                  <a:lnTo>
                    <a:pt x="201" y="1013"/>
                  </a:lnTo>
                  <a:lnTo>
                    <a:pt x="196" y="1030"/>
                  </a:lnTo>
                  <a:lnTo>
                    <a:pt x="196" y="1025"/>
                  </a:lnTo>
                  <a:lnTo>
                    <a:pt x="163" y="996"/>
                  </a:lnTo>
                  <a:lnTo>
                    <a:pt x="175" y="987"/>
                  </a:lnTo>
                  <a:lnTo>
                    <a:pt x="158" y="987"/>
                  </a:lnTo>
                  <a:lnTo>
                    <a:pt x="147" y="968"/>
                  </a:lnTo>
                  <a:lnTo>
                    <a:pt x="137" y="942"/>
                  </a:lnTo>
                  <a:lnTo>
                    <a:pt x="125" y="935"/>
                  </a:lnTo>
                  <a:lnTo>
                    <a:pt x="121" y="935"/>
                  </a:lnTo>
                  <a:lnTo>
                    <a:pt x="121" y="930"/>
                  </a:lnTo>
                  <a:lnTo>
                    <a:pt x="104" y="919"/>
                  </a:lnTo>
                  <a:lnTo>
                    <a:pt x="92" y="897"/>
                  </a:lnTo>
                  <a:lnTo>
                    <a:pt x="92" y="897"/>
                  </a:lnTo>
                  <a:lnTo>
                    <a:pt x="92" y="885"/>
                  </a:lnTo>
                  <a:lnTo>
                    <a:pt x="83" y="897"/>
                  </a:lnTo>
                  <a:lnTo>
                    <a:pt x="83" y="902"/>
                  </a:lnTo>
                  <a:lnTo>
                    <a:pt x="66" y="897"/>
                  </a:lnTo>
                  <a:lnTo>
                    <a:pt x="66" y="881"/>
                  </a:lnTo>
                  <a:lnTo>
                    <a:pt x="71" y="831"/>
                  </a:lnTo>
                  <a:lnTo>
                    <a:pt x="104" y="748"/>
                  </a:lnTo>
                  <a:lnTo>
                    <a:pt x="104" y="737"/>
                  </a:lnTo>
                  <a:lnTo>
                    <a:pt x="104" y="720"/>
                  </a:lnTo>
                  <a:lnTo>
                    <a:pt x="137" y="699"/>
                  </a:lnTo>
                  <a:lnTo>
                    <a:pt x="163" y="642"/>
                  </a:lnTo>
                  <a:lnTo>
                    <a:pt x="147" y="604"/>
                  </a:lnTo>
                  <a:lnTo>
                    <a:pt x="147" y="588"/>
                  </a:lnTo>
                  <a:lnTo>
                    <a:pt x="137" y="571"/>
                  </a:lnTo>
                  <a:lnTo>
                    <a:pt x="125" y="548"/>
                  </a:lnTo>
                  <a:lnTo>
                    <a:pt x="125" y="543"/>
                  </a:lnTo>
                  <a:lnTo>
                    <a:pt x="137" y="543"/>
                  </a:lnTo>
                  <a:lnTo>
                    <a:pt x="137" y="498"/>
                  </a:lnTo>
                  <a:lnTo>
                    <a:pt x="121" y="477"/>
                  </a:lnTo>
                  <a:lnTo>
                    <a:pt x="92" y="460"/>
                  </a:lnTo>
                  <a:lnTo>
                    <a:pt x="71" y="432"/>
                  </a:lnTo>
                  <a:lnTo>
                    <a:pt x="66" y="404"/>
                  </a:lnTo>
                  <a:lnTo>
                    <a:pt x="66" y="387"/>
                  </a:lnTo>
                  <a:lnTo>
                    <a:pt x="83" y="382"/>
                  </a:lnTo>
                  <a:lnTo>
                    <a:pt x="88" y="382"/>
                  </a:lnTo>
                  <a:lnTo>
                    <a:pt x="92" y="333"/>
                  </a:lnTo>
                  <a:lnTo>
                    <a:pt x="109" y="326"/>
                  </a:lnTo>
                  <a:lnTo>
                    <a:pt x="109" y="304"/>
                  </a:lnTo>
                  <a:lnTo>
                    <a:pt x="109" y="304"/>
                  </a:lnTo>
                  <a:lnTo>
                    <a:pt x="92" y="309"/>
                  </a:lnTo>
                  <a:lnTo>
                    <a:pt x="83" y="276"/>
                  </a:lnTo>
                  <a:lnTo>
                    <a:pt x="88" y="267"/>
                  </a:lnTo>
                  <a:lnTo>
                    <a:pt x="33" y="210"/>
                  </a:lnTo>
                  <a:lnTo>
                    <a:pt x="29" y="165"/>
                  </a:lnTo>
                  <a:lnTo>
                    <a:pt x="12" y="165"/>
                  </a:lnTo>
                  <a:lnTo>
                    <a:pt x="0" y="144"/>
                  </a:lnTo>
                  <a:lnTo>
                    <a:pt x="12" y="156"/>
                  </a:lnTo>
                  <a:lnTo>
                    <a:pt x="33" y="144"/>
                  </a:lnTo>
                  <a:lnTo>
                    <a:pt x="29" y="111"/>
                  </a:lnTo>
                  <a:lnTo>
                    <a:pt x="33" y="106"/>
                  </a:lnTo>
                  <a:lnTo>
                    <a:pt x="33" y="82"/>
                  </a:lnTo>
                  <a:lnTo>
                    <a:pt x="38" y="66"/>
                  </a:lnTo>
                  <a:lnTo>
                    <a:pt x="50" y="66"/>
                  </a:lnTo>
                  <a:lnTo>
                    <a:pt x="50" y="49"/>
                  </a:lnTo>
                  <a:lnTo>
                    <a:pt x="66" y="56"/>
                  </a:lnTo>
                  <a:lnTo>
                    <a:pt x="109" y="49"/>
                  </a:lnTo>
                  <a:lnTo>
                    <a:pt x="121" y="49"/>
                  </a:lnTo>
                  <a:lnTo>
                    <a:pt x="125" y="33"/>
                  </a:lnTo>
                  <a:lnTo>
                    <a:pt x="147" y="28"/>
                  </a:lnTo>
                  <a:lnTo>
                    <a:pt x="158" y="28"/>
                  </a:lnTo>
                  <a:lnTo>
                    <a:pt x="158" y="11"/>
                  </a:lnTo>
                  <a:lnTo>
                    <a:pt x="175" y="11"/>
                  </a:lnTo>
                  <a:lnTo>
                    <a:pt x="191" y="0"/>
                  </a:lnTo>
                  <a:lnTo>
                    <a:pt x="196" y="11"/>
                  </a:lnTo>
                  <a:lnTo>
                    <a:pt x="201" y="16"/>
                  </a:lnTo>
                  <a:lnTo>
                    <a:pt x="213" y="11"/>
                  </a:lnTo>
                  <a:lnTo>
                    <a:pt x="217" y="28"/>
                  </a:lnTo>
                  <a:lnTo>
                    <a:pt x="229" y="28"/>
                  </a:lnTo>
                  <a:lnTo>
                    <a:pt x="217" y="56"/>
                  </a:lnTo>
                  <a:lnTo>
                    <a:pt x="229" y="73"/>
                  </a:lnTo>
                  <a:lnTo>
                    <a:pt x="243" y="73"/>
                  </a:lnTo>
                  <a:lnTo>
                    <a:pt x="251" y="66"/>
                  </a:lnTo>
                  <a:lnTo>
                    <a:pt x="281" y="73"/>
                  </a:lnTo>
                  <a:lnTo>
                    <a:pt x="272" y="82"/>
                  </a:lnTo>
                  <a:lnTo>
                    <a:pt x="281" y="106"/>
                  </a:lnTo>
                  <a:lnTo>
                    <a:pt x="272" y="123"/>
                  </a:lnTo>
                  <a:lnTo>
                    <a:pt x="281" y="139"/>
                  </a:lnTo>
                  <a:lnTo>
                    <a:pt x="267" y="156"/>
                  </a:lnTo>
                  <a:lnTo>
                    <a:pt x="272" y="160"/>
                  </a:lnTo>
                  <a:lnTo>
                    <a:pt x="272" y="177"/>
                  </a:lnTo>
                  <a:lnTo>
                    <a:pt x="255" y="217"/>
                  </a:lnTo>
                  <a:lnTo>
                    <a:pt x="272" y="222"/>
                  </a:lnTo>
                  <a:lnTo>
                    <a:pt x="298" y="200"/>
                  </a:lnTo>
                  <a:lnTo>
                    <a:pt x="310" y="182"/>
                  </a:lnTo>
                  <a:lnTo>
                    <a:pt x="321" y="182"/>
                  </a:lnTo>
                  <a:lnTo>
                    <a:pt x="336" y="165"/>
                  </a:lnTo>
                  <a:lnTo>
                    <a:pt x="359" y="182"/>
                  </a:lnTo>
                  <a:lnTo>
                    <a:pt x="373" y="193"/>
                  </a:lnTo>
                  <a:lnTo>
                    <a:pt x="373" y="200"/>
                  </a:lnTo>
                  <a:lnTo>
                    <a:pt x="390" y="182"/>
                  </a:lnTo>
                  <a:lnTo>
                    <a:pt x="406" y="182"/>
                  </a:lnTo>
                  <a:lnTo>
                    <a:pt x="406" y="177"/>
                  </a:lnTo>
                  <a:lnTo>
                    <a:pt x="418" y="165"/>
                  </a:lnTo>
                  <a:lnTo>
                    <a:pt x="418" y="160"/>
                  </a:lnTo>
                  <a:lnTo>
                    <a:pt x="428" y="156"/>
                  </a:lnTo>
                  <a:lnTo>
                    <a:pt x="466" y="160"/>
                  </a:lnTo>
                  <a:lnTo>
                    <a:pt x="489" y="200"/>
                  </a:lnTo>
                  <a:lnTo>
                    <a:pt x="520" y="222"/>
                  </a:lnTo>
                  <a:lnTo>
                    <a:pt x="527" y="238"/>
                  </a:lnTo>
                  <a:lnTo>
                    <a:pt x="520" y="293"/>
                  </a:lnTo>
                  <a:lnTo>
                    <a:pt x="543" y="326"/>
                  </a:lnTo>
                  <a:lnTo>
                    <a:pt x="569" y="333"/>
                  </a:lnTo>
                  <a:lnTo>
                    <a:pt x="569" y="345"/>
                  </a:lnTo>
                  <a:lnTo>
                    <a:pt x="569" y="349"/>
                  </a:lnTo>
                  <a:lnTo>
                    <a:pt x="581" y="361"/>
                  </a:lnTo>
                  <a:lnTo>
                    <a:pt x="574" y="399"/>
                  </a:lnTo>
                  <a:lnTo>
                    <a:pt x="581" y="404"/>
                  </a:lnTo>
                  <a:lnTo>
                    <a:pt x="574" y="437"/>
                  </a:lnTo>
                  <a:lnTo>
                    <a:pt x="553" y="453"/>
                  </a:lnTo>
                  <a:lnTo>
                    <a:pt x="543" y="470"/>
                  </a:lnTo>
                  <a:lnTo>
                    <a:pt x="543" y="453"/>
                  </a:lnTo>
                  <a:lnTo>
                    <a:pt x="527" y="444"/>
                  </a:lnTo>
                  <a:lnTo>
                    <a:pt x="466" y="453"/>
                  </a:lnTo>
                  <a:lnTo>
                    <a:pt x="444" y="444"/>
                  </a:lnTo>
                  <a:lnTo>
                    <a:pt x="414" y="453"/>
                  </a:lnTo>
                  <a:lnTo>
                    <a:pt x="397" y="470"/>
                  </a:lnTo>
                  <a:lnTo>
                    <a:pt x="380" y="498"/>
                  </a:lnTo>
                  <a:lnTo>
                    <a:pt x="364" y="498"/>
                  </a:lnTo>
                  <a:lnTo>
                    <a:pt x="373" y="510"/>
                  </a:lnTo>
                  <a:lnTo>
                    <a:pt x="359" y="510"/>
                  </a:lnTo>
                  <a:lnTo>
                    <a:pt x="352" y="531"/>
                  </a:lnTo>
                  <a:lnTo>
                    <a:pt x="364" y="555"/>
                  </a:lnTo>
                  <a:lnTo>
                    <a:pt x="364" y="581"/>
                  </a:lnTo>
                  <a:lnTo>
                    <a:pt x="380" y="597"/>
                  </a:lnTo>
                  <a:lnTo>
                    <a:pt x="380" y="621"/>
                  </a:lnTo>
                  <a:lnTo>
                    <a:pt x="397" y="654"/>
                  </a:lnTo>
                  <a:lnTo>
                    <a:pt x="373" y="609"/>
                  </a:lnTo>
                  <a:lnTo>
                    <a:pt x="364" y="609"/>
                  </a:lnTo>
                  <a:lnTo>
                    <a:pt x="364" y="621"/>
                  </a:lnTo>
                  <a:lnTo>
                    <a:pt x="352" y="609"/>
                  </a:lnTo>
                  <a:lnTo>
                    <a:pt x="359" y="604"/>
                  </a:lnTo>
                  <a:lnTo>
                    <a:pt x="343" y="604"/>
                  </a:lnTo>
                  <a:lnTo>
                    <a:pt x="336" y="588"/>
                  </a:lnTo>
                  <a:lnTo>
                    <a:pt x="326" y="588"/>
                  </a:lnTo>
                  <a:lnTo>
                    <a:pt x="310" y="571"/>
                  </a:lnTo>
                  <a:lnTo>
                    <a:pt x="288" y="581"/>
                  </a:lnTo>
                  <a:lnTo>
                    <a:pt x="267" y="581"/>
                  </a:lnTo>
                  <a:lnTo>
                    <a:pt x="255" y="588"/>
                  </a:lnTo>
                  <a:lnTo>
                    <a:pt x="251" y="581"/>
                  </a:lnTo>
                  <a:lnTo>
                    <a:pt x="255" y="515"/>
                  </a:lnTo>
                  <a:lnTo>
                    <a:pt x="229" y="515"/>
                  </a:lnTo>
                  <a:lnTo>
                    <a:pt x="196" y="526"/>
                  </a:lnTo>
                  <a:lnTo>
                    <a:pt x="191" y="531"/>
                  </a:lnTo>
                  <a:lnTo>
                    <a:pt x="196" y="548"/>
                  </a:lnTo>
                  <a:lnTo>
                    <a:pt x="191" y="581"/>
                  </a:lnTo>
                  <a:lnTo>
                    <a:pt x="191" y="609"/>
                  </a:lnTo>
                  <a:lnTo>
                    <a:pt x="163" y="666"/>
                  </a:lnTo>
                  <a:lnTo>
                    <a:pt x="158" y="708"/>
                  </a:lnTo>
                  <a:lnTo>
                    <a:pt x="125" y="748"/>
                  </a:lnTo>
                  <a:lnTo>
                    <a:pt x="125" y="791"/>
                  </a:lnTo>
                  <a:lnTo>
                    <a:pt x="142" y="819"/>
                  </a:lnTo>
                  <a:lnTo>
                    <a:pt x="137" y="826"/>
                  </a:lnTo>
                  <a:lnTo>
                    <a:pt x="147" y="831"/>
                  </a:lnTo>
                  <a:lnTo>
                    <a:pt x="180" y="826"/>
                  </a:lnTo>
                  <a:lnTo>
                    <a:pt x="191" y="876"/>
                  </a:lnTo>
                  <a:lnTo>
                    <a:pt x="196" y="885"/>
                  </a:lnTo>
                  <a:lnTo>
                    <a:pt x="201" y="885"/>
                  </a:lnTo>
                  <a:lnTo>
                    <a:pt x="196" y="881"/>
                  </a:lnTo>
                  <a:lnTo>
                    <a:pt x="201" y="885"/>
                  </a:lnTo>
                  <a:lnTo>
                    <a:pt x="217" y="959"/>
                  </a:lnTo>
                  <a:lnTo>
                    <a:pt x="229" y="975"/>
                  </a:lnTo>
                  <a:lnTo>
                    <a:pt x="217" y="968"/>
                  </a:lnTo>
                  <a:lnTo>
                    <a:pt x="213" y="935"/>
                  </a:lnTo>
                  <a:lnTo>
                    <a:pt x="201" y="935"/>
                  </a:lnTo>
                  <a:lnTo>
                    <a:pt x="196" y="935"/>
                  </a:lnTo>
                  <a:lnTo>
                    <a:pt x="201" y="952"/>
                  </a:lnTo>
                  <a:lnTo>
                    <a:pt x="217" y="975"/>
                  </a:lnTo>
                  <a:lnTo>
                    <a:pt x="234" y="975"/>
                  </a:lnTo>
                  <a:lnTo>
                    <a:pt x="243" y="992"/>
                  </a:lnTo>
                  <a:lnTo>
                    <a:pt x="255" y="996"/>
                  </a:lnTo>
                  <a:lnTo>
                    <a:pt x="281" y="996"/>
                  </a:lnTo>
                  <a:lnTo>
                    <a:pt x="281" y="992"/>
                  </a:lnTo>
                  <a:lnTo>
                    <a:pt x="298" y="996"/>
                  </a:lnTo>
                  <a:lnTo>
                    <a:pt x="310" y="1030"/>
                  </a:lnTo>
                  <a:lnTo>
                    <a:pt x="336" y="1046"/>
                  </a:lnTo>
                  <a:lnTo>
                    <a:pt x="336" y="1046"/>
                  </a:lnTo>
                  <a:lnTo>
                    <a:pt x="336" y="1046"/>
                  </a:lnTo>
                  <a:close/>
                  <a:moveTo>
                    <a:pt x="359" y="626"/>
                  </a:moveTo>
                  <a:lnTo>
                    <a:pt x="352" y="626"/>
                  </a:lnTo>
                  <a:lnTo>
                    <a:pt x="352" y="621"/>
                  </a:lnTo>
                  <a:lnTo>
                    <a:pt x="359" y="626"/>
                  </a:lnTo>
                  <a:lnTo>
                    <a:pt x="359" y="626"/>
                  </a:lnTo>
                  <a:lnTo>
                    <a:pt x="359" y="626"/>
                  </a:lnTo>
                  <a:close/>
                  <a:moveTo>
                    <a:pt x="364" y="642"/>
                  </a:moveTo>
                  <a:lnTo>
                    <a:pt x="373" y="659"/>
                  </a:lnTo>
                  <a:lnTo>
                    <a:pt x="364" y="659"/>
                  </a:lnTo>
                  <a:lnTo>
                    <a:pt x="364" y="642"/>
                  </a:lnTo>
                  <a:lnTo>
                    <a:pt x="364" y="642"/>
                  </a:lnTo>
                  <a:lnTo>
                    <a:pt x="364" y="642"/>
                  </a:lnTo>
                  <a:close/>
                  <a:moveTo>
                    <a:pt x="191" y="786"/>
                  </a:moveTo>
                  <a:lnTo>
                    <a:pt x="196" y="791"/>
                  </a:lnTo>
                  <a:lnTo>
                    <a:pt x="191" y="791"/>
                  </a:lnTo>
                  <a:lnTo>
                    <a:pt x="191" y="786"/>
                  </a:lnTo>
                  <a:lnTo>
                    <a:pt x="191" y="786"/>
                  </a:lnTo>
                  <a:lnTo>
                    <a:pt x="191" y="786"/>
                  </a:lnTo>
                  <a:close/>
                  <a:moveTo>
                    <a:pt x="196" y="808"/>
                  </a:moveTo>
                  <a:lnTo>
                    <a:pt x="191" y="819"/>
                  </a:lnTo>
                  <a:lnTo>
                    <a:pt x="191" y="808"/>
                  </a:lnTo>
                  <a:lnTo>
                    <a:pt x="196" y="808"/>
                  </a:lnTo>
                  <a:lnTo>
                    <a:pt x="196" y="808"/>
                  </a:lnTo>
                  <a:lnTo>
                    <a:pt x="196" y="808"/>
                  </a:lnTo>
                  <a:close/>
                  <a:moveTo>
                    <a:pt x="71" y="843"/>
                  </a:moveTo>
                  <a:lnTo>
                    <a:pt x="66" y="843"/>
                  </a:lnTo>
                  <a:lnTo>
                    <a:pt x="66" y="831"/>
                  </a:lnTo>
                  <a:lnTo>
                    <a:pt x="71" y="843"/>
                  </a:lnTo>
                  <a:lnTo>
                    <a:pt x="71" y="843"/>
                  </a:lnTo>
                  <a:lnTo>
                    <a:pt x="71" y="843"/>
                  </a:lnTo>
                  <a:close/>
                  <a:moveTo>
                    <a:pt x="71" y="902"/>
                  </a:moveTo>
                  <a:lnTo>
                    <a:pt x="83" y="930"/>
                  </a:lnTo>
                  <a:lnTo>
                    <a:pt x="71" y="935"/>
                  </a:lnTo>
                  <a:lnTo>
                    <a:pt x="66" y="902"/>
                  </a:lnTo>
                  <a:lnTo>
                    <a:pt x="71" y="902"/>
                  </a:lnTo>
                  <a:lnTo>
                    <a:pt x="71" y="902"/>
                  </a:lnTo>
                  <a:lnTo>
                    <a:pt x="71" y="902"/>
                  </a:lnTo>
                  <a:close/>
                  <a:moveTo>
                    <a:pt x="88" y="914"/>
                  </a:moveTo>
                  <a:lnTo>
                    <a:pt x="88" y="914"/>
                  </a:lnTo>
                  <a:lnTo>
                    <a:pt x="88" y="930"/>
                  </a:lnTo>
                  <a:lnTo>
                    <a:pt x="88" y="914"/>
                  </a:lnTo>
                  <a:lnTo>
                    <a:pt x="88" y="914"/>
                  </a:lnTo>
                  <a:lnTo>
                    <a:pt x="88" y="914"/>
                  </a:lnTo>
                  <a:close/>
                  <a:moveTo>
                    <a:pt x="163" y="1013"/>
                  </a:moveTo>
                  <a:lnTo>
                    <a:pt x="163" y="1030"/>
                  </a:lnTo>
                  <a:lnTo>
                    <a:pt x="158" y="1025"/>
                  </a:lnTo>
                  <a:lnTo>
                    <a:pt x="163" y="1013"/>
                  </a:lnTo>
                  <a:lnTo>
                    <a:pt x="163" y="1013"/>
                  </a:lnTo>
                  <a:lnTo>
                    <a:pt x="163" y="1013"/>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7" name="Freeform 568">
              <a:extLst>
                <a:ext uri="{FF2B5EF4-FFF2-40B4-BE49-F238E27FC236}">
                  <a16:creationId xmlns:a16="http://schemas.microsoft.com/office/drawing/2014/main" id="{7D143C91-084F-4B3E-A36F-C7BE8C2148FA}"/>
                </a:ext>
              </a:extLst>
            </p:cNvPr>
            <p:cNvSpPr>
              <a:spLocks/>
            </p:cNvSpPr>
            <p:nvPr/>
          </p:nvSpPr>
          <p:spPr bwMode="gray">
            <a:xfrm>
              <a:off x="15288351" y="3089313"/>
              <a:ext cx="182632" cy="120773"/>
            </a:xfrm>
            <a:custGeom>
              <a:avLst/>
              <a:gdLst>
                <a:gd name="T0" fmla="*/ 520 w 558"/>
                <a:gd name="T1" fmla="*/ 302 h 369"/>
                <a:gd name="T2" fmla="*/ 451 w 558"/>
                <a:gd name="T3" fmla="*/ 319 h 369"/>
                <a:gd name="T4" fmla="*/ 461 w 558"/>
                <a:gd name="T5" fmla="*/ 314 h 369"/>
                <a:gd name="T6" fmla="*/ 418 w 558"/>
                <a:gd name="T7" fmla="*/ 298 h 369"/>
                <a:gd name="T8" fmla="*/ 380 w 558"/>
                <a:gd name="T9" fmla="*/ 335 h 369"/>
                <a:gd name="T10" fmla="*/ 321 w 558"/>
                <a:gd name="T11" fmla="*/ 359 h 369"/>
                <a:gd name="T12" fmla="*/ 305 w 558"/>
                <a:gd name="T13" fmla="*/ 359 h 369"/>
                <a:gd name="T14" fmla="*/ 305 w 558"/>
                <a:gd name="T15" fmla="*/ 265 h 369"/>
                <a:gd name="T16" fmla="*/ 288 w 558"/>
                <a:gd name="T17" fmla="*/ 232 h 369"/>
                <a:gd name="T18" fmla="*/ 246 w 558"/>
                <a:gd name="T19" fmla="*/ 220 h 369"/>
                <a:gd name="T20" fmla="*/ 213 w 558"/>
                <a:gd name="T21" fmla="*/ 281 h 369"/>
                <a:gd name="T22" fmla="*/ 180 w 558"/>
                <a:gd name="T23" fmla="*/ 286 h 369"/>
                <a:gd name="T24" fmla="*/ 147 w 558"/>
                <a:gd name="T25" fmla="*/ 302 h 369"/>
                <a:gd name="T26" fmla="*/ 142 w 558"/>
                <a:gd name="T27" fmla="*/ 331 h 369"/>
                <a:gd name="T28" fmla="*/ 54 w 558"/>
                <a:gd name="T29" fmla="*/ 343 h 369"/>
                <a:gd name="T30" fmla="*/ 33 w 558"/>
                <a:gd name="T31" fmla="*/ 319 h 369"/>
                <a:gd name="T32" fmla="*/ 66 w 558"/>
                <a:gd name="T33" fmla="*/ 260 h 369"/>
                <a:gd name="T34" fmla="*/ 83 w 558"/>
                <a:gd name="T35" fmla="*/ 243 h 369"/>
                <a:gd name="T36" fmla="*/ 54 w 558"/>
                <a:gd name="T37" fmla="*/ 187 h 369"/>
                <a:gd name="T38" fmla="*/ 54 w 558"/>
                <a:gd name="T39" fmla="*/ 170 h 369"/>
                <a:gd name="T40" fmla="*/ 28 w 558"/>
                <a:gd name="T41" fmla="*/ 165 h 369"/>
                <a:gd name="T42" fmla="*/ 0 w 558"/>
                <a:gd name="T43" fmla="*/ 149 h 369"/>
                <a:gd name="T44" fmla="*/ 33 w 558"/>
                <a:gd name="T45" fmla="*/ 116 h 369"/>
                <a:gd name="T46" fmla="*/ 92 w 558"/>
                <a:gd name="T47" fmla="*/ 99 h 369"/>
                <a:gd name="T48" fmla="*/ 104 w 558"/>
                <a:gd name="T49" fmla="*/ 83 h 369"/>
                <a:gd name="T50" fmla="*/ 92 w 558"/>
                <a:gd name="T51" fmla="*/ 78 h 369"/>
                <a:gd name="T52" fmla="*/ 142 w 558"/>
                <a:gd name="T53" fmla="*/ 45 h 369"/>
                <a:gd name="T54" fmla="*/ 147 w 558"/>
                <a:gd name="T55" fmla="*/ 21 h 369"/>
                <a:gd name="T56" fmla="*/ 213 w 558"/>
                <a:gd name="T57" fmla="*/ 12 h 369"/>
                <a:gd name="T58" fmla="*/ 250 w 558"/>
                <a:gd name="T59" fmla="*/ 28 h 369"/>
                <a:gd name="T60" fmla="*/ 217 w 558"/>
                <a:gd name="T61" fmla="*/ 54 h 369"/>
                <a:gd name="T62" fmla="*/ 255 w 558"/>
                <a:gd name="T63" fmla="*/ 66 h 369"/>
                <a:gd name="T64" fmla="*/ 234 w 558"/>
                <a:gd name="T65" fmla="*/ 78 h 369"/>
                <a:gd name="T66" fmla="*/ 229 w 558"/>
                <a:gd name="T67" fmla="*/ 95 h 369"/>
                <a:gd name="T68" fmla="*/ 196 w 558"/>
                <a:gd name="T69" fmla="*/ 66 h 369"/>
                <a:gd name="T70" fmla="*/ 158 w 558"/>
                <a:gd name="T71" fmla="*/ 95 h 369"/>
                <a:gd name="T72" fmla="*/ 142 w 558"/>
                <a:gd name="T73" fmla="*/ 83 h 369"/>
                <a:gd name="T74" fmla="*/ 142 w 558"/>
                <a:gd name="T75" fmla="*/ 121 h 369"/>
                <a:gd name="T76" fmla="*/ 234 w 558"/>
                <a:gd name="T77" fmla="*/ 121 h 369"/>
                <a:gd name="T78" fmla="*/ 255 w 558"/>
                <a:gd name="T79" fmla="*/ 137 h 369"/>
                <a:gd name="T80" fmla="*/ 298 w 558"/>
                <a:gd name="T81" fmla="*/ 121 h 369"/>
                <a:gd name="T82" fmla="*/ 310 w 558"/>
                <a:gd name="T83" fmla="*/ 132 h 369"/>
                <a:gd name="T84" fmla="*/ 336 w 558"/>
                <a:gd name="T85" fmla="*/ 137 h 369"/>
                <a:gd name="T86" fmla="*/ 359 w 558"/>
                <a:gd name="T87" fmla="*/ 137 h 369"/>
                <a:gd name="T88" fmla="*/ 451 w 558"/>
                <a:gd name="T89" fmla="*/ 132 h 369"/>
                <a:gd name="T90" fmla="*/ 461 w 558"/>
                <a:gd name="T91" fmla="*/ 170 h 369"/>
                <a:gd name="T92" fmla="*/ 461 w 558"/>
                <a:gd name="T93" fmla="*/ 203 h 369"/>
                <a:gd name="T94" fmla="*/ 482 w 558"/>
                <a:gd name="T95" fmla="*/ 203 h 369"/>
                <a:gd name="T96" fmla="*/ 536 w 558"/>
                <a:gd name="T97" fmla="*/ 220 h 369"/>
                <a:gd name="T98" fmla="*/ 543 w 558"/>
                <a:gd name="T99" fmla="*/ 276 h 369"/>
                <a:gd name="T100" fmla="*/ 558 w 558"/>
                <a:gd name="T101" fmla="*/ 302 h 369"/>
                <a:gd name="T102" fmla="*/ 536 w 558"/>
                <a:gd name="T103" fmla="*/ 31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58" h="369">
                  <a:moveTo>
                    <a:pt x="536" y="319"/>
                  </a:moveTo>
                  <a:lnTo>
                    <a:pt x="520" y="302"/>
                  </a:lnTo>
                  <a:lnTo>
                    <a:pt x="489" y="302"/>
                  </a:lnTo>
                  <a:lnTo>
                    <a:pt x="451" y="319"/>
                  </a:lnTo>
                  <a:lnTo>
                    <a:pt x="444" y="314"/>
                  </a:lnTo>
                  <a:lnTo>
                    <a:pt x="461" y="314"/>
                  </a:lnTo>
                  <a:lnTo>
                    <a:pt x="461" y="302"/>
                  </a:lnTo>
                  <a:lnTo>
                    <a:pt x="418" y="298"/>
                  </a:lnTo>
                  <a:lnTo>
                    <a:pt x="390" y="319"/>
                  </a:lnTo>
                  <a:lnTo>
                    <a:pt x="380" y="335"/>
                  </a:lnTo>
                  <a:lnTo>
                    <a:pt x="352" y="335"/>
                  </a:lnTo>
                  <a:lnTo>
                    <a:pt x="321" y="359"/>
                  </a:lnTo>
                  <a:lnTo>
                    <a:pt x="310" y="369"/>
                  </a:lnTo>
                  <a:lnTo>
                    <a:pt x="305" y="359"/>
                  </a:lnTo>
                  <a:lnTo>
                    <a:pt x="288" y="331"/>
                  </a:lnTo>
                  <a:lnTo>
                    <a:pt x="305" y="265"/>
                  </a:lnTo>
                  <a:lnTo>
                    <a:pt x="284" y="265"/>
                  </a:lnTo>
                  <a:lnTo>
                    <a:pt x="288" y="232"/>
                  </a:lnTo>
                  <a:lnTo>
                    <a:pt x="255" y="220"/>
                  </a:lnTo>
                  <a:lnTo>
                    <a:pt x="246" y="220"/>
                  </a:lnTo>
                  <a:lnTo>
                    <a:pt x="201" y="260"/>
                  </a:lnTo>
                  <a:lnTo>
                    <a:pt x="213" y="281"/>
                  </a:lnTo>
                  <a:lnTo>
                    <a:pt x="201" y="298"/>
                  </a:lnTo>
                  <a:lnTo>
                    <a:pt x="180" y="286"/>
                  </a:lnTo>
                  <a:lnTo>
                    <a:pt x="158" y="286"/>
                  </a:lnTo>
                  <a:lnTo>
                    <a:pt x="147" y="302"/>
                  </a:lnTo>
                  <a:lnTo>
                    <a:pt x="147" y="319"/>
                  </a:lnTo>
                  <a:lnTo>
                    <a:pt x="142" y="331"/>
                  </a:lnTo>
                  <a:lnTo>
                    <a:pt x="109" y="314"/>
                  </a:lnTo>
                  <a:lnTo>
                    <a:pt x="54" y="343"/>
                  </a:lnTo>
                  <a:lnTo>
                    <a:pt x="33" y="331"/>
                  </a:lnTo>
                  <a:lnTo>
                    <a:pt x="33" y="319"/>
                  </a:lnTo>
                  <a:lnTo>
                    <a:pt x="38" y="298"/>
                  </a:lnTo>
                  <a:lnTo>
                    <a:pt x="66" y="260"/>
                  </a:lnTo>
                  <a:lnTo>
                    <a:pt x="71" y="260"/>
                  </a:lnTo>
                  <a:lnTo>
                    <a:pt x="83" y="243"/>
                  </a:lnTo>
                  <a:lnTo>
                    <a:pt x="54" y="210"/>
                  </a:lnTo>
                  <a:lnTo>
                    <a:pt x="54" y="187"/>
                  </a:lnTo>
                  <a:lnTo>
                    <a:pt x="66" y="187"/>
                  </a:lnTo>
                  <a:lnTo>
                    <a:pt x="54" y="170"/>
                  </a:lnTo>
                  <a:lnTo>
                    <a:pt x="33" y="170"/>
                  </a:lnTo>
                  <a:lnTo>
                    <a:pt x="28" y="165"/>
                  </a:lnTo>
                  <a:lnTo>
                    <a:pt x="12" y="154"/>
                  </a:lnTo>
                  <a:lnTo>
                    <a:pt x="0" y="149"/>
                  </a:lnTo>
                  <a:lnTo>
                    <a:pt x="12" y="132"/>
                  </a:lnTo>
                  <a:lnTo>
                    <a:pt x="33" y="116"/>
                  </a:lnTo>
                  <a:lnTo>
                    <a:pt x="88" y="121"/>
                  </a:lnTo>
                  <a:lnTo>
                    <a:pt x="92" y="99"/>
                  </a:lnTo>
                  <a:lnTo>
                    <a:pt x="109" y="99"/>
                  </a:lnTo>
                  <a:lnTo>
                    <a:pt x="104" y="83"/>
                  </a:lnTo>
                  <a:lnTo>
                    <a:pt x="121" y="78"/>
                  </a:lnTo>
                  <a:lnTo>
                    <a:pt x="92" y="78"/>
                  </a:lnTo>
                  <a:lnTo>
                    <a:pt x="142" y="66"/>
                  </a:lnTo>
                  <a:lnTo>
                    <a:pt x="142" y="45"/>
                  </a:lnTo>
                  <a:lnTo>
                    <a:pt x="147" y="21"/>
                  </a:lnTo>
                  <a:lnTo>
                    <a:pt x="147" y="21"/>
                  </a:lnTo>
                  <a:lnTo>
                    <a:pt x="175" y="38"/>
                  </a:lnTo>
                  <a:lnTo>
                    <a:pt x="213" y="12"/>
                  </a:lnTo>
                  <a:lnTo>
                    <a:pt x="217" y="0"/>
                  </a:lnTo>
                  <a:lnTo>
                    <a:pt x="250" y="28"/>
                  </a:lnTo>
                  <a:lnTo>
                    <a:pt x="217" y="54"/>
                  </a:lnTo>
                  <a:lnTo>
                    <a:pt x="217" y="54"/>
                  </a:lnTo>
                  <a:lnTo>
                    <a:pt x="234" y="66"/>
                  </a:lnTo>
                  <a:lnTo>
                    <a:pt x="255" y="66"/>
                  </a:lnTo>
                  <a:lnTo>
                    <a:pt x="255" y="78"/>
                  </a:lnTo>
                  <a:lnTo>
                    <a:pt x="234" y="78"/>
                  </a:lnTo>
                  <a:lnTo>
                    <a:pt x="234" y="95"/>
                  </a:lnTo>
                  <a:lnTo>
                    <a:pt x="229" y="95"/>
                  </a:lnTo>
                  <a:lnTo>
                    <a:pt x="229" y="83"/>
                  </a:lnTo>
                  <a:lnTo>
                    <a:pt x="196" y="66"/>
                  </a:lnTo>
                  <a:lnTo>
                    <a:pt x="158" y="78"/>
                  </a:lnTo>
                  <a:lnTo>
                    <a:pt x="158" y="95"/>
                  </a:lnTo>
                  <a:lnTo>
                    <a:pt x="147" y="95"/>
                  </a:lnTo>
                  <a:lnTo>
                    <a:pt x="142" y="83"/>
                  </a:lnTo>
                  <a:lnTo>
                    <a:pt x="142" y="99"/>
                  </a:lnTo>
                  <a:lnTo>
                    <a:pt x="142" y="121"/>
                  </a:lnTo>
                  <a:lnTo>
                    <a:pt x="229" y="121"/>
                  </a:lnTo>
                  <a:lnTo>
                    <a:pt x="234" y="121"/>
                  </a:lnTo>
                  <a:lnTo>
                    <a:pt x="246" y="137"/>
                  </a:lnTo>
                  <a:lnTo>
                    <a:pt x="255" y="137"/>
                  </a:lnTo>
                  <a:lnTo>
                    <a:pt x="267" y="132"/>
                  </a:lnTo>
                  <a:lnTo>
                    <a:pt x="298" y="121"/>
                  </a:lnTo>
                  <a:lnTo>
                    <a:pt x="298" y="132"/>
                  </a:lnTo>
                  <a:lnTo>
                    <a:pt x="310" y="132"/>
                  </a:lnTo>
                  <a:lnTo>
                    <a:pt x="310" y="149"/>
                  </a:lnTo>
                  <a:lnTo>
                    <a:pt x="336" y="137"/>
                  </a:lnTo>
                  <a:lnTo>
                    <a:pt x="352" y="154"/>
                  </a:lnTo>
                  <a:lnTo>
                    <a:pt x="359" y="137"/>
                  </a:lnTo>
                  <a:lnTo>
                    <a:pt x="413" y="137"/>
                  </a:lnTo>
                  <a:lnTo>
                    <a:pt x="451" y="132"/>
                  </a:lnTo>
                  <a:lnTo>
                    <a:pt x="444" y="154"/>
                  </a:lnTo>
                  <a:lnTo>
                    <a:pt x="461" y="170"/>
                  </a:lnTo>
                  <a:lnTo>
                    <a:pt x="451" y="177"/>
                  </a:lnTo>
                  <a:lnTo>
                    <a:pt x="461" y="203"/>
                  </a:lnTo>
                  <a:lnTo>
                    <a:pt x="473" y="210"/>
                  </a:lnTo>
                  <a:lnTo>
                    <a:pt x="482" y="203"/>
                  </a:lnTo>
                  <a:lnTo>
                    <a:pt x="499" y="203"/>
                  </a:lnTo>
                  <a:lnTo>
                    <a:pt x="536" y="220"/>
                  </a:lnTo>
                  <a:lnTo>
                    <a:pt x="527" y="248"/>
                  </a:lnTo>
                  <a:lnTo>
                    <a:pt x="543" y="276"/>
                  </a:lnTo>
                  <a:lnTo>
                    <a:pt x="536" y="281"/>
                  </a:lnTo>
                  <a:lnTo>
                    <a:pt x="558" y="302"/>
                  </a:lnTo>
                  <a:lnTo>
                    <a:pt x="536" y="319"/>
                  </a:lnTo>
                  <a:lnTo>
                    <a:pt x="536" y="319"/>
                  </a:lnTo>
                  <a:lnTo>
                    <a:pt x="536" y="31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8" name="Freeform 569">
              <a:extLst>
                <a:ext uri="{FF2B5EF4-FFF2-40B4-BE49-F238E27FC236}">
                  <a16:creationId xmlns:a16="http://schemas.microsoft.com/office/drawing/2014/main" id="{67D93393-674F-4D0D-8A30-90212F0BBBB3}"/>
                </a:ext>
              </a:extLst>
            </p:cNvPr>
            <p:cNvSpPr>
              <a:spLocks noEditPoints="1"/>
            </p:cNvSpPr>
            <p:nvPr/>
          </p:nvSpPr>
          <p:spPr bwMode="gray">
            <a:xfrm>
              <a:off x="12090663" y="3588113"/>
              <a:ext cx="8510" cy="5237"/>
            </a:xfrm>
            <a:custGeom>
              <a:avLst/>
              <a:gdLst>
                <a:gd name="T0" fmla="*/ 14 w 26"/>
                <a:gd name="T1" fmla="*/ 11 h 16"/>
                <a:gd name="T2" fmla="*/ 0 w 26"/>
                <a:gd name="T3" fmla="*/ 0 h 16"/>
                <a:gd name="T4" fmla="*/ 5 w 26"/>
                <a:gd name="T5" fmla="*/ 0 h 16"/>
                <a:gd name="T6" fmla="*/ 14 w 26"/>
                <a:gd name="T7" fmla="*/ 11 h 16"/>
                <a:gd name="T8" fmla="*/ 14 w 26"/>
                <a:gd name="T9" fmla="*/ 11 h 16"/>
                <a:gd name="T10" fmla="*/ 14 w 26"/>
                <a:gd name="T11" fmla="*/ 11 h 16"/>
                <a:gd name="T12" fmla="*/ 26 w 26"/>
                <a:gd name="T13" fmla="*/ 16 h 16"/>
                <a:gd name="T14" fmla="*/ 14 w 26"/>
                <a:gd name="T15" fmla="*/ 16 h 16"/>
                <a:gd name="T16" fmla="*/ 14 w 26"/>
                <a:gd name="T17" fmla="*/ 11 h 16"/>
                <a:gd name="T18" fmla="*/ 21 w 26"/>
                <a:gd name="T19" fmla="*/ 11 h 16"/>
                <a:gd name="T20" fmla="*/ 26 w 26"/>
                <a:gd name="T21" fmla="*/ 16 h 16"/>
                <a:gd name="T22" fmla="*/ 26 w 26"/>
                <a:gd name="T23" fmla="*/ 16 h 16"/>
                <a:gd name="T24" fmla="*/ 26 w 26"/>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6">
                  <a:moveTo>
                    <a:pt x="14" y="11"/>
                  </a:moveTo>
                  <a:lnTo>
                    <a:pt x="0" y="0"/>
                  </a:lnTo>
                  <a:lnTo>
                    <a:pt x="5" y="0"/>
                  </a:lnTo>
                  <a:lnTo>
                    <a:pt x="14" y="11"/>
                  </a:lnTo>
                  <a:lnTo>
                    <a:pt x="14" y="11"/>
                  </a:lnTo>
                  <a:lnTo>
                    <a:pt x="14" y="11"/>
                  </a:lnTo>
                  <a:close/>
                  <a:moveTo>
                    <a:pt x="26" y="16"/>
                  </a:moveTo>
                  <a:lnTo>
                    <a:pt x="14" y="16"/>
                  </a:lnTo>
                  <a:lnTo>
                    <a:pt x="14" y="11"/>
                  </a:lnTo>
                  <a:lnTo>
                    <a:pt x="21" y="11"/>
                  </a:lnTo>
                  <a:lnTo>
                    <a:pt x="26" y="16"/>
                  </a:lnTo>
                  <a:lnTo>
                    <a:pt x="26" y="16"/>
                  </a:lnTo>
                  <a:lnTo>
                    <a:pt x="26" y="16"/>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9" name="Freeform 570">
              <a:extLst>
                <a:ext uri="{FF2B5EF4-FFF2-40B4-BE49-F238E27FC236}">
                  <a16:creationId xmlns:a16="http://schemas.microsoft.com/office/drawing/2014/main" id="{86B73BDD-FB92-4C3F-BD93-1E50F415FE1F}"/>
                </a:ext>
              </a:extLst>
            </p:cNvPr>
            <p:cNvSpPr>
              <a:spLocks noEditPoints="1"/>
            </p:cNvSpPr>
            <p:nvPr/>
          </p:nvSpPr>
          <p:spPr bwMode="gray">
            <a:xfrm>
              <a:off x="9718090" y="4555929"/>
              <a:ext cx="34039" cy="74296"/>
            </a:xfrm>
            <a:custGeom>
              <a:avLst/>
              <a:gdLst>
                <a:gd name="T0" fmla="*/ 104 w 104"/>
                <a:gd name="T1" fmla="*/ 0 h 227"/>
                <a:gd name="T2" fmla="*/ 104 w 104"/>
                <a:gd name="T3" fmla="*/ 10 h 227"/>
                <a:gd name="T4" fmla="*/ 92 w 104"/>
                <a:gd name="T5" fmla="*/ 10 h 227"/>
                <a:gd name="T6" fmla="*/ 104 w 104"/>
                <a:gd name="T7" fmla="*/ 0 h 227"/>
                <a:gd name="T8" fmla="*/ 104 w 104"/>
                <a:gd name="T9" fmla="*/ 0 h 227"/>
                <a:gd name="T10" fmla="*/ 104 w 104"/>
                <a:gd name="T11" fmla="*/ 0 h 227"/>
                <a:gd name="T12" fmla="*/ 16 w 104"/>
                <a:gd name="T13" fmla="*/ 210 h 227"/>
                <a:gd name="T14" fmla="*/ 0 w 104"/>
                <a:gd name="T15" fmla="*/ 198 h 227"/>
                <a:gd name="T16" fmla="*/ 0 w 104"/>
                <a:gd name="T17" fmla="*/ 194 h 227"/>
                <a:gd name="T18" fmla="*/ 16 w 104"/>
                <a:gd name="T19" fmla="*/ 198 h 227"/>
                <a:gd name="T20" fmla="*/ 23 w 104"/>
                <a:gd name="T21" fmla="*/ 198 h 227"/>
                <a:gd name="T22" fmla="*/ 16 w 104"/>
                <a:gd name="T23" fmla="*/ 210 h 227"/>
                <a:gd name="T24" fmla="*/ 16 w 104"/>
                <a:gd name="T25" fmla="*/ 210 h 227"/>
                <a:gd name="T26" fmla="*/ 16 w 104"/>
                <a:gd name="T27" fmla="*/ 210 h 227"/>
                <a:gd name="T28" fmla="*/ 33 w 104"/>
                <a:gd name="T29" fmla="*/ 227 h 227"/>
                <a:gd name="T30" fmla="*/ 23 w 104"/>
                <a:gd name="T31" fmla="*/ 215 h 227"/>
                <a:gd name="T32" fmla="*/ 33 w 104"/>
                <a:gd name="T33" fmla="*/ 210 h 227"/>
                <a:gd name="T34" fmla="*/ 33 w 104"/>
                <a:gd name="T35" fmla="*/ 227 h 227"/>
                <a:gd name="T36" fmla="*/ 33 w 104"/>
                <a:gd name="T37" fmla="*/ 227 h 227"/>
                <a:gd name="T38" fmla="*/ 33 w 104"/>
                <a:gd name="T39"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227">
                  <a:moveTo>
                    <a:pt x="104" y="0"/>
                  </a:moveTo>
                  <a:lnTo>
                    <a:pt x="104" y="10"/>
                  </a:lnTo>
                  <a:lnTo>
                    <a:pt x="92" y="10"/>
                  </a:lnTo>
                  <a:lnTo>
                    <a:pt x="104" y="0"/>
                  </a:lnTo>
                  <a:lnTo>
                    <a:pt x="104" y="0"/>
                  </a:lnTo>
                  <a:lnTo>
                    <a:pt x="104" y="0"/>
                  </a:lnTo>
                  <a:close/>
                  <a:moveTo>
                    <a:pt x="16" y="210"/>
                  </a:moveTo>
                  <a:lnTo>
                    <a:pt x="0" y="198"/>
                  </a:lnTo>
                  <a:lnTo>
                    <a:pt x="0" y="194"/>
                  </a:lnTo>
                  <a:lnTo>
                    <a:pt x="16" y="198"/>
                  </a:lnTo>
                  <a:lnTo>
                    <a:pt x="23" y="198"/>
                  </a:lnTo>
                  <a:lnTo>
                    <a:pt x="16" y="210"/>
                  </a:lnTo>
                  <a:lnTo>
                    <a:pt x="16" y="210"/>
                  </a:lnTo>
                  <a:lnTo>
                    <a:pt x="16" y="210"/>
                  </a:lnTo>
                  <a:close/>
                  <a:moveTo>
                    <a:pt x="33" y="227"/>
                  </a:moveTo>
                  <a:lnTo>
                    <a:pt x="23" y="215"/>
                  </a:lnTo>
                  <a:lnTo>
                    <a:pt x="33" y="210"/>
                  </a:lnTo>
                  <a:lnTo>
                    <a:pt x="33" y="227"/>
                  </a:lnTo>
                  <a:lnTo>
                    <a:pt x="33" y="227"/>
                  </a:lnTo>
                  <a:lnTo>
                    <a:pt x="33" y="22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0" name="Freeform 571">
              <a:extLst>
                <a:ext uri="{FF2B5EF4-FFF2-40B4-BE49-F238E27FC236}">
                  <a16:creationId xmlns:a16="http://schemas.microsoft.com/office/drawing/2014/main" id="{52FC3057-A693-4035-8A2F-5A39171FEC83}"/>
                </a:ext>
              </a:extLst>
            </p:cNvPr>
            <p:cNvSpPr>
              <a:spLocks/>
            </p:cNvSpPr>
            <p:nvPr/>
          </p:nvSpPr>
          <p:spPr bwMode="gray">
            <a:xfrm>
              <a:off x="13740565" y="3850932"/>
              <a:ext cx="45494" cy="117500"/>
            </a:xfrm>
            <a:custGeom>
              <a:avLst/>
              <a:gdLst>
                <a:gd name="T0" fmla="*/ 128 w 139"/>
                <a:gd name="T1" fmla="*/ 260 h 359"/>
                <a:gd name="T2" fmla="*/ 128 w 139"/>
                <a:gd name="T3" fmla="*/ 297 h 359"/>
                <a:gd name="T4" fmla="*/ 123 w 139"/>
                <a:gd name="T5" fmla="*/ 297 h 359"/>
                <a:gd name="T6" fmla="*/ 123 w 139"/>
                <a:gd name="T7" fmla="*/ 321 h 359"/>
                <a:gd name="T8" fmla="*/ 139 w 139"/>
                <a:gd name="T9" fmla="*/ 349 h 359"/>
                <a:gd name="T10" fmla="*/ 128 w 139"/>
                <a:gd name="T11" fmla="*/ 354 h 359"/>
                <a:gd name="T12" fmla="*/ 95 w 139"/>
                <a:gd name="T13" fmla="*/ 359 h 359"/>
                <a:gd name="T14" fmla="*/ 83 w 139"/>
                <a:gd name="T15" fmla="*/ 349 h 359"/>
                <a:gd name="T16" fmla="*/ 66 w 139"/>
                <a:gd name="T17" fmla="*/ 338 h 359"/>
                <a:gd name="T18" fmla="*/ 50 w 139"/>
                <a:gd name="T19" fmla="*/ 297 h 359"/>
                <a:gd name="T20" fmla="*/ 57 w 139"/>
                <a:gd name="T21" fmla="*/ 297 h 359"/>
                <a:gd name="T22" fmla="*/ 57 w 139"/>
                <a:gd name="T23" fmla="*/ 276 h 359"/>
                <a:gd name="T24" fmla="*/ 50 w 139"/>
                <a:gd name="T25" fmla="*/ 264 h 359"/>
                <a:gd name="T26" fmla="*/ 50 w 139"/>
                <a:gd name="T27" fmla="*/ 260 h 359"/>
                <a:gd name="T28" fmla="*/ 50 w 139"/>
                <a:gd name="T29" fmla="*/ 243 h 359"/>
                <a:gd name="T30" fmla="*/ 57 w 139"/>
                <a:gd name="T31" fmla="*/ 210 h 359"/>
                <a:gd name="T32" fmla="*/ 66 w 139"/>
                <a:gd name="T33" fmla="*/ 203 h 359"/>
                <a:gd name="T34" fmla="*/ 33 w 139"/>
                <a:gd name="T35" fmla="*/ 170 h 359"/>
                <a:gd name="T36" fmla="*/ 50 w 139"/>
                <a:gd name="T37" fmla="*/ 165 h 359"/>
                <a:gd name="T38" fmla="*/ 40 w 139"/>
                <a:gd name="T39" fmla="*/ 149 h 359"/>
                <a:gd name="T40" fmla="*/ 50 w 139"/>
                <a:gd name="T41" fmla="*/ 127 h 359"/>
                <a:gd name="T42" fmla="*/ 40 w 139"/>
                <a:gd name="T43" fmla="*/ 116 h 359"/>
                <a:gd name="T44" fmla="*/ 28 w 139"/>
                <a:gd name="T45" fmla="*/ 116 h 359"/>
                <a:gd name="T46" fmla="*/ 40 w 139"/>
                <a:gd name="T47" fmla="*/ 75 h 359"/>
                <a:gd name="T48" fmla="*/ 33 w 139"/>
                <a:gd name="T49" fmla="*/ 59 h 359"/>
                <a:gd name="T50" fmla="*/ 33 w 139"/>
                <a:gd name="T51" fmla="*/ 54 h 359"/>
                <a:gd name="T52" fmla="*/ 0 w 139"/>
                <a:gd name="T53" fmla="*/ 26 h 359"/>
                <a:gd name="T54" fmla="*/ 12 w 139"/>
                <a:gd name="T55" fmla="*/ 5 h 359"/>
                <a:gd name="T56" fmla="*/ 0 w 139"/>
                <a:gd name="T57" fmla="*/ 0 h 359"/>
                <a:gd name="T58" fmla="*/ 50 w 139"/>
                <a:gd name="T59" fmla="*/ 5 h 359"/>
                <a:gd name="T60" fmla="*/ 50 w 139"/>
                <a:gd name="T61" fmla="*/ 16 h 359"/>
                <a:gd name="T62" fmla="*/ 73 w 139"/>
                <a:gd name="T63" fmla="*/ 5 h 359"/>
                <a:gd name="T64" fmla="*/ 66 w 139"/>
                <a:gd name="T65" fmla="*/ 54 h 359"/>
                <a:gd name="T66" fmla="*/ 106 w 139"/>
                <a:gd name="T67" fmla="*/ 75 h 359"/>
                <a:gd name="T68" fmla="*/ 106 w 139"/>
                <a:gd name="T69" fmla="*/ 116 h 359"/>
                <a:gd name="T70" fmla="*/ 128 w 139"/>
                <a:gd name="T71" fmla="*/ 149 h 359"/>
                <a:gd name="T72" fmla="*/ 128 w 139"/>
                <a:gd name="T73" fmla="*/ 260 h 359"/>
                <a:gd name="T74" fmla="*/ 128 w 139"/>
                <a:gd name="T75" fmla="*/ 260 h 359"/>
                <a:gd name="T76" fmla="*/ 128 w 139"/>
                <a:gd name="T77" fmla="*/ 26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359">
                  <a:moveTo>
                    <a:pt x="128" y="260"/>
                  </a:moveTo>
                  <a:lnTo>
                    <a:pt x="128" y="297"/>
                  </a:lnTo>
                  <a:lnTo>
                    <a:pt x="123" y="297"/>
                  </a:lnTo>
                  <a:lnTo>
                    <a:pt x="123" y="321"/>
                  </a:lnTo>
                  <a:lnTo>
                    <a:pt x="139" y="349"/>
                  </a:lnTo>
                  <a:lnTo>
                    <a:pt x="128" y="354"/>
                  </a:lnTo>
                  <a:lnTo>
                    <a:pt x="95" y="359"/>
                  </a:lnTo>
                  <a:lnTo>
                    <a:pt x="83" y="349"/>
                  </a:lnTo>
                  <a:lnTo>
                    <a:pt x="66" y="338"/>
                  </a:lnTo>
                  <a:lnTo>
                    <a:pt x="50" y="297"/>
                  </a:lnTo>
                  <a:lnTo>
                    <a:pt x="57" y="297"/>
                  </a:lnTo>
                  <a:lnTo>
                    <a:pt x="57" y="276"/>
                  </a:lnTo>
                  <a:lnTo>
                    <a:pt x="50" y="264"/>
                  </a:lnTo>
                  <a:lnTo>
                    <a:pt x="50" y="260"/>
                  </a:lnTo>
                  <a:lnTo>
                    <a:pt x="50" y="243"/>
                  </a:lnTo>
                  <a:lnTo>
                    <a:pt x="57" y="210"/>
                  </a:lnTo>
                  <a:lnTo>
                    <a:pt x="66" y="203"/>
                  </a:lnTo>
                  <a:lnTo>
                    <a:pt x="33" y="170"/>
                  </a:lnTo>
                  <a:lnTo>
                    <a:pt x="50" y="165"/>
                  </a:lnTo>
                  <a:lnTo>
                    <a:pt x="40" y="149"/>
                  </a:lnTo>
                  <a:lnTo>
                    <a:pt x="50" y="127"/>
                  </a:lnTo>
                  <a:lnTo>
                    <a:pt x="40" y="116"/>
                  </a:lnTo>
                  <a:lnTo>
                    <a:pt x="28" y="116"/>
                  </a:lnTo>
                  <a:lnTo>
                    <a:pt x="40" y="75"/>
                  </a:lnTo>
                  <a:lnTo>
                    <a:pt x="33" y="59"/>
                  </a:lnTo>
                  <a:lnTo>
                    <a:pt x="33" y="54"/>
                  </a:lnTo>
                  <a:lnTo>
                    <a:pt x="0" y="26"/>
                  </a:lnTo>
                  <a:lnTo>
                    <a:pt x="12" y="5"/>
                  </a:lnTo>
                  <a:lnTo>
                    <a:pt x="0" y="0"/>
                  </a:lnTo>
                  <a:lnTo>
                    <a:pt x="50" y="5"/>
                  </a:lnTo>
                  <a:lnTo>
                    <a:pt x="50" y="16"/>
                  </a:lnTo>
                  <a:lnTo>
                    <a:pt x="73" y="5"/>
                  </a:lnTo>
                  <a:lnTo>
                    <a:pt x="66" y="54"/>
                  </a:lnTo>
                  <a:lnTo>
                    <a:pt x="106" y="75"/>
                  </a:lnTo>
                  <a:lnTo>
                    <a:pt x="106" y="116"/>
                  </a:lnTo>
                  <a:lnTo>
                    <a:pt x="128" y="149"/>
                  </a:lnTo>
                  <a:lnTo>
                    <a:pt x="128" y="260"/>
                  </a:lnTo>
                  <a:lnTo>
                    <a:pt x="128" y="260"/>
                  </a:lnTo>
                  <a:lnTo>
                    <a:pt x="128" y="26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1" name="Freeform 572">
              <a:extLst>
                <a:ext uri="{FF2B5EF4-FFF2-40B4-BE49-F238E27FC236}">
                  <a16:creationId xmlns:a16="http://schemas.microsoft.com/office/drawing/2014/main" id="{06AF2748-2013-489C-AB72-E6307A726D6C}"/>
                </a:ext>
              </a:extLst>
            </p:cNvPr>
            <p:cNvSpPr>
              <a:spLocks noEditPoints="1"/>
            </p:cNvSpPr>
            <p:nvPr/>
          </p:nvSpPr>
          <p:spPr bwMode="gray">
            <a:xfrm>
              <a:off x="13892758" y="4073494"/>
              <a:ext cx="23238" cy="39603"/>
            </a:xfrm>
            <a:custGeom>
              <a:avLst/>
              <a:gdLst>
                <a:gd name="T0" fmla="*/ 62 w 71"/>
                <a:gd name="T1" fmla="*/ 12 h 121"/>
                <a:gd name="T2" fmla="*/ 62 w 71"/>
                <a:gd name="T3" fmla="*/ 7 h 121"/>
                <a:gd name="T4" fmla="*/ 62 w 71"/>
                <a:gd name="T5" fmla="*/ 0 h 121"/>
                <a:gd name="T6" fmla="*/ 71 w 71"/>
                <a:gd name="T7" fmla="*/ 7 h 121"/>
                <a:gd name="T8" fmla="*/ 62 w 71"/>
                <a:gd name="T9" fmla="*/ 12 h 121"/>
                <a:gd name="T10" fmla="*/ 62 w 71"/>
                <a:gd name="T11" fmla="*/ 12 h 121"/>
                <a:gd name="T12" fmla="*/ 62 w 71"/>
                <a:gd name="T13" fmla="*/ 12 h 121"/>
                <a:gd name="T14" fmla="*/ 0 w 71"/>
                <a:gd name="T15" fmla="*/ 121 h 121"/>
                <a:gd name="T16" fmla="*/ 0 w 71"/>
                <a:gd name="T17" fmla="*/ 104 h 121"/>
                <a:gd name="T18" fmla="*/ 17 w 71"/>
                <a:gd name="T19" fmla="*/ 99 h 121"/>
                <a:gd name="T20" fmla="*/ 17 w 71"/>
                <a:gd name="T21" fmla="*/ 116 h 121"/>
                <a:gd name="T22" fmla="*/ 0 w 71"/>
                <a:gd name="T23" fmla="*/ 121 h 121"/>
                <a:gd name="T24" fmla="*/ 0 w 71"/>
                <a:gd name="T25" fmla="*/ 121 h 121"/>
                <a:gd name="T26" fmla="*/ 0 w 71"/>
                <a:gd name="T2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121">
                  <a:moveTo>
                    <a:pt x="62" y="12"/>
                  </a:moveTo>
                  <a:lnTo>
                    <a:pt x="62" y="7"/>
                  </a:lnTo>
                  <a:lnTo>
                    <a:pt x="62" y="0"/>
                  </a:lnTo>
                  <a:lnTo>
                    <a:pt x="71" y="7"/>
                  </a:lnTo>
                  <a:lnTo>
                    <a:pt x="62" y="12"/>
                  </a:lnTo>
                  <a:lnTo>
                    <a:pt x="62" y="12"/>
                  </a:lnTo>
                  <a:lnTo>
                    <a:pt x="62" y="12"/>
                  </a:lnTo>
                  <a:close/>
                  <a:moveTo>
                    <a:pt x="0" y="121"/>
                  </a:moveTo>
                  <a:lnTo>
                    <a:pt x="0" y="104"/>
                  </a:lnTo>
                  <a:lnTo>
                    <a:pt x="17" y="99"/>
                  </a:lnTo>
                  <a:lnTo>
                    <a:pt x="17" y="116"/>
                  </a:lnTo>
                  <a:lnTo>
                    <a:pt x="0" y="121"/>
                  </a:lnTo>
                  <a:lnTo>
                    <a:pt x="0" y="121"/>
                  </a:lnTo>
                  <a:lnTo>
                    <a:pt x="0" y="121"/>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2" name="Freeform 573">
              <a:extLst>
                <a:ext uri="{FF2B5EF4-FFF2-40B4-BE49-F238E27FC236}">
                  <a16:creationId xmlns:a16="http://schemas.microsoft.com/office/drawing/2014/main" id="{D361BDEC-27A1-470D-B9D2-4DA3B9D09E6E}"/>
                </a:ext>
              </a:extLst>
            </p:cNvPr>
            <p:cNvSpPr>
              <a:spLocks noEditPoints="1"/>
            </p:cNvSpPr>
            <p:nvPr/>
          </p:nvSpPr>
          <p:spPr bwMode="gray">
            <a:xfrm>
              <a:off x="13915996" y="3192084"/>
              <a:ext cx="92952" cy="187868"/>
            </a:xfrm>
            <a:custGeom>
              <a:avLst/>
              <a:gdLst>
                <a:gd name="T0" fmla="*/ 24 w 284"/>
                <a:gd name="T1" fmla="*/ 251 h 574"/>
                <a:gd name="T2" fmla="*/ 55 w 284"/>
                <a:gd name="T3" fmla="*/ 222 h 574"/>
                <a:gd name="T4" fmla="*/ 59 w 284"/>
                <a:gd name="T5" fmla="*/ 156 h 574"/>
                <a:gd name="T6" fmla="*/ 55 w 284"/>
                <a:gd name="T7" fmla="*/ 116 h 574"/>
                <a:gd name="T8" fmla="*/ 45 w 284"/>
                <a:gd name="T9" fmla="*/ 62 h 574"/>
                <a:gd name="T10" fmla="*/ 76 w 284"/>
                <a:gd name="T11" fmla="*/ 26 h 574"/>
                <a:gd name="T12" fmla="*/ 168 w 284"/>
                <a:gd name="T13" fmla="*/ 0 h 574"/>
                <a:gd name="T14" fmla="*/ 161 w 284"/>
                <a:gd name="T15" fmla="*/ 17 h 574"/>
                <a:gd name="T16" fmla="*/ 168 w 284"/>
                <a:gd name="T17" fmla="*/ 5 h 574"/>
                <a:gd name="T18" fmla="*/ 194 w 284"/>
                <a:gd name="T19" fmla="*/ 5 h 574"/>
                <a:gd name="T20" fmla="*/ 194 w 284"/>
                <a:gd name="T21" fmla="*/ 17 h 574"/>
                <a:gd name="T22" fmla="*/ 199 w 284"/>
                <a:gd name="T23" fmla="*/ 38 h 574"/>
                <a:gd name="T24" fmla="*/ 199 w 284"/>
                <a:gd name="T25" fmla="*/ 43 h 574"/>
                <a:gd name="T26" fmla="*/ 253 w 284"/>
                <a:gd name="T27" fmla="*/ 26 h 574"/>
                <a:gd name="T28" fmla="*/ 215 w 284"/>
                <a:gd name="T29" fmla="*/ 78 h 574"/>
                <a:gd name="T30" fmla="*/ 220 w 284"/>
                <a:gd name="T31" fmla="*/ 128 h 574"/>
                <a:gd name="T32" fmla="*/ 248 w 284"/>
                <a:gd name="T33" fmla="*/ 156 h 574"/>
                <a:gd name="T34" fmla="*/ 232 w 284"/>
                <a:gd name="T35" fmla="*/ 210 h 574"/>
                <a:gd name="T36" fmla="*/ 177 w 284"/>
                <a:gd name="T37" fmla="*/ 251 h 574"/>
                <a:gd name="T38" fmla="*/ 199 w 284"/>
                <a:gd name="T39" fmla="*/ 296 h 574"/>
                <a:gd name="T40" fmla="*/ 220 w 284"/>
                <a:gd name="T41" fmla="*/ 296 h 574"/>
                <a:gd name="T42" fmla="*/ 232 w 284"/>
                <a:gd name="T43" fmla="*/ 317 h 574"/>
                <a:gd name="T44" fmla="*/ 236 w 284"/>
                <a:gd name="T45" fmla="*/ 300 h 574"/>
                <a:gd name="T46" fmla="*/ 258 w 284"/>
                <a:gd name="T47" fmla="*/ 333 h 574"/>
                <a:gd name="T48" fmla="*/ 274 w 284"/>
                <a:gd name="T49" fmla="*/ 378 h 574"/>
                <a:gd name="T50" fmla="*/ 236 w 284"/>
                <a:gd name="T51" fmla="*/ 418 h 574"/>
                <a:gd name="T52" fmla="*/ 199 w 284"/>
                <a:gd name="T53" fmla="*/ 463 h 574"/>
                <a:gd name="T54" fmla="*/ 199 w 284"/>
                <a:gd name="T55" fmla="*/ 518 h 574"/>
                <a:gd name="T56" fmla="*/ 168 w 284"/>
                <a:gd name="T57" fmla="*/ 562 h 574"/>
                <a:gd name="T58" fmla="*/ 109 w 284"/>
                <a:gd name="T59" fmla="*/ 430 h 574"/>
                <a:gd name="T60" fmla="*/ 59 w 284"/>
                <a:gd name="T61" fmla="*/ 362 h 574"/>
                <a:gd name="T62" fmla="*/ 17 w 284"/>
                <a:gd name="T63" fmla="*/ 333 h 574"/>
                <a:gd name="T64" fmla="*/ 0 w 284"/>
                <a:gd name="T65" fmla="*/ 262 h 574"/>
                <a:gd name="T66" fmla="*/ 0 w 284"/>
                <a:gd name="T67" fmla="*/ 262 h 574"/>
                <a:gd name="T68" fmla="*/ 258 w 284"/>
                <a:gd name="T69" fmla="*/ 206 h 574"/>
                <a:gd name="T70" fmla="*/ 253 w 284"/>
                <a:gd name="T71" fmla="*/ 210 h 574"/>
                <a:gd name="T72" fmla="*/ 253 w 284"/>
                <a:gd name="T73" fmla="*/ 210 h 574"/>
                <a:gd name="T74" fmla="*/ 232 w 284"/>
                <a:gd name="T75" fmla="*/ 296 h 574"/>
                <a:gd name="T76" fmla="*/ 232 w 284"/>
                <a:gd name="T77" fmla="*/ 279 h 574"/>
                <a:gd name="T78" fmla="*/ 236 w 284"/>
                <a:gd name="T79" fmla="*/ 300 h 574"/>
                <a:gd name="T80" fmla="*/ 236 w 284"/>
                <a:gd name="T81" fmla="*/ 30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574">
                  <a:moveTo>
                    <a:pt x="0" y="262"/>
                  </a:moveTo>
                  <a:lnTo>
                    <a:pt x="24" y="251"/>
                  </a:lnTo>
                  <a:lnTo>
                    <a:pt x="24" y="239"/>
                  </a:lnTo>
                  <a:lnTo>
                    <a:pt x="55" y="222"/>
                  </a:lnTo>
                  <a:lnTo>
                    <a:pt x="59" y="173"/>
                  </a:lnTo>
                  <a:lnTo>
                    <a:pt x="59" y="156"/>
                  </a:lnTo>
                  <a:lnTo>
                    <a:pt x="59" y="133"/>
                  </a:lnTo>
                  <a:lnTo>
                    <a:pt x="55" y="116"/>
                  </a:lnTo>
                  <a:lnTo>
                    <a:pt x="59" y="71"/>
                  </a:lnTo>
                  <a:lnTo>
                    <a:pt x="45" y="62"/>
                  </a:lnTo>
                  <a:lnTo>
                    <a:pt x="88" y="38"/>
                  </a:lnTo>
                  <a:lnTo>
                    <a:pt x="76" y="26"/>
                  </a:lnTo>
                  <a:lnTo>
                    <a:pt x="151" y="0"/>
                  </a:lnTo>
                  <a:lnTo>
                    <a:pt x="168" y="0"/>
                  </a:lnTo>
                  <a:lnTo>
                    <a:pt x="161" y="5"/>
                  </a:lnTo>
                  <a:lnTo>
                    <a:pt x="161" y="17"/>
                  </a:lnTo>
                  <a:lnTo>
                    <a:pt x="168" y="5"/>
                  </a:lnTo>
                  <a:lnTo>
                    <a:pt x="168" y="5"/>
                  </a:lnTo>
                  <a:lnTo>
                    <a:pt x="177" y="0"/>
                  </a:lnTo>
                  <a:lnTo>
                    <a:pt x="194" y="5"/>
                  </a:lnTo>
                  <a:lnTo>
                    <a:pt x="182" y="17"/>
                  </a:lnTo>
                  <a:lnTo>
                    <a:pt x="194" y="17"/>
                  </a:lnTo>
                  <a:lnTo>
                    <a:pt x="194" y="21"/>
                  </a:lnTo>
                  <a:lnTo>
                    <a:pt x="199" y="38"/>
                  </a:lnTo>
                  <a:lnTo>
                    <a:pt x="194" y="38"/>
                  </a:lnTo>
                  <a:lnTo>
                    <a:pt x="199" y="43"/>
                  </a:lnTo>
                  <a:lnTo>
                    <a:pt x="248" y="17"/>
                  </a:lnTo>
                  <a:lnTo>
                    <a:pt x="253" y="26"/>
                  </a:lnTo>
                  <a:lnTo>
                    <a:pt x="232" y="71"/>
                  </a:lnTo>
                  <a:lnTo>
                    <a:pt x="215" y="78"/>
                  </a:lnTo>
                  <a:lnTo>
                    <a:pt x="203" y="95"/>
                  </a:lnTo>
                  <a:lnTo>
                    <a:pt x="220" y="128"/>
                  </a:lnTo>
                  <a:lnTo>
                    <a:pt x="248" y="133"/>
                  </a:lnTo>
                  <a:lnTo>
                    <a:pt x="248" y="156"/>
                  </a:lnTo>
                  <a:lnTo>
                    <a:pt x="253" y="173"/>
                  </a:lnTo>
                  <a:lnTo>
                    <a:pt x="232" y="210"/>
                  </a:lnTo>
                  <a:lnTo>
                    <a:pt x="182" y="246"/>
                  </a:lnTo>
                  <a:lnTo>
                    <a:pt x="177" y="251"/>
                  </a:lnTo>
                  <a:lnTo>
                    <a:pt x="182" y="279"/>
                  </a:lnTo>
                  <a:lnTo>
                    <a:pt x="199" y="296"/>
                  </a:lnTo>
                  <a:lnTo>
                    <a:pt x="203" y="300"/>
                  </a:lnTo>
                  <a:lnTo>
                    <a:pt x="220" y="296"/>
                  </a:lnTo>
                  <a:lnTo>
                    <a:pt x="220" y="307"/>
                  </a:lnTo>
                  <a:lnTo>
                    <a:pt x="232" y="317"/>
                  </a:lnTo>
                  <a:lnTo>
                    <a:pt x="236" y="307"/>
                  </a:lnTo>
                  <a:lnTo>
                    <a:pt x="236" y="300"/>
                  </a:lnTo>
                  <a:lnTo>
                    <a:pt x="248" y="300"/>
                  </a:lnTo>
                  <a:lnTo>
                    <a:pt x="258" y="333"/>
                  </a:lnTo>
                  <a:lnTo>
                    <a:pt x="284" y="340"/>
                  </a:lnTo>
                  <a:lnTo>
                    <a:pt x="274" y="378"/>
                  </a:lnTo>
                  <a:lnTo>
                    <a:pt x="284" y="395"/>
                  </a:lnTo>
                  <a:lnTo>
                    <a:pt x="236" y="418"/>
                  </a:lnTo>
                  <a:lnTo>
                    <a:pt x="203" y="451"/>
                  </a:lnTo>
                  <a:lnTo>
                    <a:pt x="199" y="463"/>
                  </a:lnTo>
                  <a:lnTo>
                    <a:pt x="182" y="473"/>
                  </a:lnTo>
                  <a:lnTo>
                    <a:pt x="199" y="518"/>
                  </a:lnTo>
                  <a:lnTo>
                    <a:pt x="194" y="529"/>
                  </a:lnTo>
                  <a:lnTo>
                    <a:pt x="168" y="562"/>
                  </a:lnTo>
                  <a:lnTo>
                    <a:pt x="147" y="574"/>
                  </a:lnTo>
                  <a:lnTo>
                    <a:pt x="109" y="430"/>
                  </a:lnTo>
                  <a:lnTo>
                    <a:pt x="59" y="390"/>
                  </a:lnTo>
                  <a:lnTo>
                    <a:pt x="59" y="362"/>
                  </a:lnTo>
                  <a:lnTo>
                    <a:pt x="45" y="340"/>
                  </a:lnTo>
                  <a:lnTo>
                    <a:pt x="17" y="333"/>
                  </a:lnTo>
                  <a:lnTo>
                    <a:pt x="0" y="279"/>
                  </a:lnTo>
                  <a:lnTo>
                    <a:pt x="0" y="262"/>
                  </a:lnTo>
                  <a:lnTo>
                    <a:pt x="0" y="262"/>
                  </a:lnTo>
                  <a:lnTo>
                    <a:pt x="0" y="262"/>
                  </a:lnTo>
                  <a:close/>
                  <a:moveTo>
                    <a:pt x="253" y="210"/>
                  </a:moveTo>
                  <a:lnTo>
                    <a:pt x="258" y="206"/>
                  </a:lnTo>
                  <a:lnTo>
                    <a:pt x="270" y="206"/>
                  </a:lnTo>
                  <a:lnTo>
                    <a:pt x="253" y="210"/>
                  </a:lnTo>
                  <a:lnTo>
                    <a:pt x="253" y="210"/>
                  </a:lnTo>
                  <a:lnTo>
                    <a:pt x="253" y="210"/>
                  </a:lnTo>
                  <a:close/>
                  <a:moveTo>
                    <a:pt x="236" y="300"/>
                  </a:moveTo>
                  <a:lnTo>
                    <a:pt x="232" y="296"/>
                  </a:lnTo>
                  <a:lnTo>
                    <a:pt x="232" y="296"/>
                  </a:lnTo>
                  <a:lnTo>
                    <a:pt x="232" y="279"/>
                  </a:lnTo>
                  <a:lnTo>
                    <a:pt x="248" y="284"/>
                  </a:lnTo>
                  <a:lnTo>
                    <a:pt x="236" y="300"/>
                  </a:lnTo>
                  <a:lnTo>
                    <a:pt x="236" y="300"/>
                  </a:lnTo>
                  <a:lnTo>
                    <a:pt x="236" y="30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3" name="Freeform 574">
              <a:extLst>
                <a:ext uri="{FF2B5EF4-FFF2-40B4-BE49-F238E27FC236}">
                  <a16:creationId xmlns:a16="http://schemas.microsoft.com/office/drawing/2014/main" id="{FEA3145A-F936-4FCC-95E4-18AD742CBE39}"/>
                </a:ext>
              </a:extLst>
            </p:cNvPr>
            <p:cNvSpPr>
              <a:spLocks noEditPoints="1"/>
            </p:cNvSpPr>
            <p:nvPr/>
          </p:nvSpPr>
          <p:spPr bwMode="gray">
            <a:xfrm>
              <a:off x="14333627" y="3059856"/>
              <a:ext cx="438250" cy="174122"/>
            </a:xfrm>
            <a:custGeom>
              <a:avLst/>
              <a:gdLst>
                <a:gd name="T0" fmla="*/ 71 w 1339"/>
                <a:gd name="T1" fmla="*/ 62 h 532"/>
                <a:gd name="T2" fmla="*/ 59 w 1339"/>
                <a:gd name="T3" fmla="*/ 22 h 532"/>
                <a:gd name="T4" fmla="*/ 113 w 1339"/>
                <a:gd name="T5" fmla="*/ 0 h 532"/>
                <a:gd name="T6" fmla="*/ 168 w 1339"/>
                <a:gd name="T7" fmla="*/ 38 h 532"/>
                <a:gd name="T8" fmla="*/ 222 w 1339"/>
                <a:gd name="T9" fmla="*/ 95 h 532"/>
                <a:gd name="T10" fmla="*/ 177 w 1339"/>
                <a:gd name="T11" fmla="*/ 88 h 532"/>
                <a:gd name="T12" fmla="*/ 75 w 1339"/>
                <a:gd name="T13" fmla="*/ 144 h 532"/>
                <a:gd name="T14" fmla="*/ 80 w 1339"/>
                <a:gd name="T15" fmla="*/ 128 h 532"/>
                <a:gd name="T16" fmla="*/ 26 w 1339"/>
                <a:gd name="T17" fmla="*/ 116 h 532"/>
                <a:gd name="T18" fmla="*/ 1264 w 1339"/>
                <a:gd name="T19" fmla="*/ 409 h 532"/>
                <a:gd name="T20" fmla="*/ 1188 w 1339"/>
                <a:gd name="T21" fmla="*/ 421 h 532"/>
                <a:gd name="T22" fmla="*/ 1150 w 1339"/>
                <a:gd name="T23" fmla="*/ 409 h 532"/>
                <a:gd name="T24" fmla="*/ 957 w 1339"/>
                <a:gd name="T25" fmla="*/ 461 h 532"/>
                <a:gd name="T26" fmla="*/ 827 w 1339"/>
                <a:gd name="T27" fmla="*/ 461 h 532"/>
                <a:gd name="T28" fmla="*/ 777 w 1339"/>
                <a:gd name="T29" fmla="*/ 487 h 532"/>
                <a:gd name="T30" fmla="*/ 739 w 1339"/>
                <a:gd name="T31" fmla="*/ 532 h 532"/>
                <a:gd name="T32" fmla="*/ 739 w 1339"/>
                <a:gd name="T33" fmla="*/ 461 h 532"/>
                <a:gd name="T34" fmla="*/ 701 w 1339"/>
                <a:gd name="T35" fmla="*/ 461 h 532"/>
                <a:gd name="T36" fmla="*/ 583 w 1339"/>
                <a:gd name="T37" fmla="*/ 487 h 532"/>
                <a:gd name="T38" fmla="*/ 470 w 1339"/>
                <a:gd name="T39" fmla="*/ 499 h 532"/>
                <a:gd name="T40" fmla="*/ 340 w 1339"/>
                <a:gd name="T41" fmla="*/ 482 h 532"/>
                <a:gd name="T42" fmla="*/ 243 w 1339"/>
                <a:gd name="T43" fmla="*/ 482 h 532"/>
                <a:gd name="T44" fmla="*/ 231 w 1339"/>
                <a:gd name="T45" fmla="*/ 449 h 532"/>
                <a:gd name="T46" fmla="*/ 189 w 1339"/>
                <a:gd name="T47" fmla="*/ 444 h 532"/>
                <a:gd name="T48" fmla="*/ 168 w 1339"/>
                <a:gd name="T49" fmla="*/ 461 h 532"/>
                <a:gd name="T50" fmla="*/ 125 w 1339"/>
                <a:gd name="T51" fmla="*/ 461 h 532"/>
                <a:gd name="T52" fmla="*/ 113 w 1339"/>
                <a:gd name="T53" fmla="*/ 433 h 532"/>
                <a:gd name="T54" fmla="*/ 134 w 1339"/>
                <a:gd name="T55" fmla="*/ 409 h 532"/>
                <a:gd name="T56" fmla="*/ 113 w 1339"/>
                <a:gd name="T57" fmla="*/ 350 h 532"/>
                <a:gd name="T58" fmla="*/ 42 w 1339"/>
                <a:gd name="T59" fmla="*/ 322 h 532"/>
                <a:gd name="T60" fmla="*/ 54 w 1339"/>
                <a:gd name="T61" fmla="*/ 310 h 532"/>
                <a:gd name="T62" fmla="*/ 108 w 1339"/>
                <a:gd name="T63" fmla="*/ 310 h 532"/>
                <a:gd name="T64" fmla="*/ 97 w 1339"/>
                <a:gd name="T65" fmla="*/ 265 h 532"/>
                <a:gd name="T66" fmla="*/ 92 w 1339"/>
                <a:gd name="T67" fmla="*/ 222 h 532"/>
                <a:gd name="T68" fmla="*/ 75 w 1339"/>
                <a:gd name="T69" fmla="*/ 144 h 532"/>
                <a:gd name="T70" fmla="*/ 146 w 1339"/>
                <a:gd name="T71" fmla="*/ 133 h 532"/>
                <a:gd name="T72" fmla="*/ 163 w 1339"/>
                <a:gd name="T73" fmla="*/ 149 h 532"/>
                <a:gd name="T74" fmla="*/ 269 w 1339"/>
                <a:gd name="T75" fmla="*/ 116 h 532"/>
                <a:gd name="T76" fmla="*/ 238 w 1339"/>
                <a:gd name="T77" fmla="*/ 88 h 532"/>
                <a:gd name="T78" fmla="*/ 361 w 1339"/>
                <a:gd name="T79" fmla="*/ 88 h 532"/>
                <a:gd name="T80" fmla="*/ 541 w 1339"/>
                <a:gd name="T81" fmla="*/ 5 h 532"/>
                <a:gd name="T82" fmla="*/ 692 w 1339"/>
                <a:gd name="T83" fmla="*/ 38 h 532"/>
                <a:gd name="T84" fmla="*/ 756 w 1339"/>
                <a:gd name="T85" fmla="*/ 71 h 532"/>
                <a:gd name="T86" fmla="*/ 831 w 1339"/>
                <a:gd name="T87" fmla="*/ 88 h 532"/>
                <a:gd name="T88" fmla="*/ 961 w 1339"/>
                <a:gd name="T89" fmla="*/ 88 h 532"/>
                <a:gd name="T90" fmla="*/ 1134 w 1339"/>
                <a:gd name="T91" fmla="*/ 55 h 532"/>
                <a:gd name="T92" fmla="*/ 1205 w 1339"/>
                <a:gd name="T93" fmla="*/ 38 h 532"/>
                <a:gd name="T94" fmla="*/ 1268 w 1339"/>
                <a:gd name="T95" fmla="*/ 111 h 532"/>
                <a:gd name="T96" fmla="*/ 1280 w 1339"/>
                <a:gd name="T97" fmla="*/ 173 h 532"/>
                <a:gd name="T98" fmla="*/ 1334 w 1339"/>
                <a:gd name="T99" fmla="*/ 199 h 532"/>
                <a:gd name="T100" fmla="*/ 1301 w 1339"/>
                <a:gd name="T101" fmla="*/ 255 h 532"/>
                <a:gd name="T102" fmla="*/ 1318 w 1339"/>
                <a:gd name="T103" fmla="*/ 317 h 532"/>
                <a:gd name="T104" fmla="*/ 1339 w 1339"/>
                <a:gd name="T105" fmla="*/ 404 h 532"/>
                <a:gd name="T106" fmla="*/ 1301 w 1339"/>
                <a:gd name="T107" fmla="*/ 421 h 532"/>
                <a:gd name="T108" fmla="*/ 1297 w 1339"/>
                <a:gd name="T109" fmla="*/ 404 h 532"/>
                <a:gd name="T110" fmla="*/ 134 w 1339"/>
                <a:gd name="T111" fmla="*/ 128 h 532"/>
                <a:gd name="T112" fmla="*/ 0 w 1339"/>
                <a:gd name="T113" fmla="*/ 166 h 532"/>
                <a:gd name="T114" fmla="*/ 5 w 1339"/>
                <a:gd name="T115" fmla="*/ 166 h 532"/>
                <a:gd name="T116" fmla="*/ 21 w 1339"/>
                <a:gd name="T117" fmla="*/ 189 h 532"/>
                <a:gd name="T118" fmla="*/ 26 w 1339"/>
                <a:gd name="T119" fmla="*/ 199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39" h="532">
                  <a:moveTo>
                    <a:pt x="26" y="116"/>
                  </a:moveTo>
                  <a:lnTo>
                    <a:pt x="54" y="95"/>
                  </a:lnTo>
                  <a:lnTo>
                    <a:pt x="42" y="71"/>
                  </a:lnTo>
                  <a:lnTo>
                    <a:pt x="71" y="62"/>
                  </a:lnTo>
                  <a:lnTo>
                    <a:pt x="71" y="38"/>
                  </a:lnTo>
                  <a:lnTo>
                    <a:pt x="54" y="33"/>
                  </a:lnTo>
                  <a:lnTo>
                    <a:pt x="54" y="22"/>
                  </a:lnTo>
                  <a:lnTo>
                    <a:pt x="59" y="22"/>
                  </a:lnTo>
                  <a:lnTo>
                    <a:pt x="71" y="5"/>
                  </a:lnTo>
                  <a:lnTo>
                    <a:pt x="92" y="5"/>
                  </a:lnTo>
                  <a:lnTo>
                    <a:pt x="97" y="0"/>
                  </a:lnTo>
                  <a:lnTo>
                    <a:pt x="113" y="0"/>
                  </a:lnTo>
                  <a:lnTo>
                    <a:pt x="134" y="17"/>
                  </a:lnTo>
                  <a:lnTo>
                    <a:pt x="168" y="5"/>
                  </a:lnTo>
                  <a:lnTo>
                    <a:pt x="163" y="22"/>
                  </a:lnTo>
                  <a:lnTo>
                    <a:pt x="168" y="38"/>
                  </a:lnTo>
                  <a:lnTo>
                    <a:pt x="201" y="55"/>
                  </a:lnTo>
                  <a:lnTo>
                    <a:pt x="238" y="71"/>
                  </a:lnTo>
                  <a:lnTo>
                    <a:pt x="238" y="88"/>
                  </a:lnTo>
                  <a:lnTo>
                    <a:pt x="222" y="95"/>
                  </a:lnTo>
                  <a:lnTo>
                    <a:pt x="205" y="95"/>
                  </a:lnTo>
                  <a:lnTo>
                    <a:pt x="201" y="88"/>
                  </a:lnTo>
                  <a:lnTo>
                    <a:pt x="201" y="95"/>
                  </a:lnTo>
                  <a:lnTo>
                    <a:pt x="177" y="88"/>
                  </a:lnTo>
                  <a:lnTo>
                    <a:pt x="163" y="95"/>
                  </a:lnTo>
                  <a:lnTo>
                    <a:pt x="130" y="95"/>
                  </a:lnTo>
                  <a:lnTo>
                    <a:pt x="113" y="116"/>
                  </a:lnTo>
                  <a:lnTo>
                    <a:pt x="75" y="144"/>
                  </a:lnTo>
                  <a:lnTo>
                    <a:pt x="38" y="173"/>
                  </a:lnTo>
                  <a:lnTo>
                    <a:pt x="42" y="156"/>
                  </a:lnTo>
                  <a:lnTo>
                    <a:pt x="38" y="149"/>
                  </a:lnTo>
                  <a:lnTo>
                    <a:pt x="80" y="128"/>
                  </a:lnTo>
                  <a:lnTo>
                    <a:pt x="75" y="116"/>
                  </a:lnTo>
                  <a:lnTo>
                    <a:pt x="26" y="128"/>
                  </a:lnTo>
                  <a:lnTo>
                    <a:pt x="26" y="116"/>
                  </a:lnTo>
                  <a:lnTo>
                    <a:pt x="26" y="116"/>
                  </a:lnTo>
                  <a:lnTo>
                    <a:pt x="26" y="116"/>
                  </a:lnTo>
                  <a:close/>
                  <a:moveTo>
                    <a:pt x="1297" y="404"/>
                  </a:moveTo>
                  <a:lnTo>
                    <a:pt x="1280" y="409"/>
                  </a:lnTo>
                  <a:lnTo>
                    <a:pt x="1264" y="409"/>
                  </a:lnTo>
                  <a:lnTo>
                    <a:pt x="1226" y="392"/>
                  </a:lnTo>
                  <a:lnTo>
                    <a:pt x="1214" y="404"/>
                  </a:lnTo>
                  <a:lnTo>
                    <a:pt x="1205" y="392"/>
                  </a:lnTo>
                  <a:lnTo>
                    <a:pt x="1188" y="421"/>
                  </a:lnTo>
                  <a:lnTo>
                    <a:pt x="1171" y="421"/>
                  </a:lnTo>
                  <a:lnTo>
                    <a:pt x="1171" y="409"/>
                  </a:lnTo>
                  <a:lnTo>
                    <a:pt x="1155" y="404"/>
                  </a:lnTo>
                  <a:lnTo>
                    <a:pt x="1150" y="409"/>
                  </a:lnTo>
                  <a:lnTo>
                    <a:pt x="1117" y="421"/>
                  </a:lnTo>
                  <a:lnTo>
                    <a:pt x="1063" y="421"/>
                  </a:lnTo>
                  <a:lnTo>
                    <a:pt x="994" y="449"/>
                  </a:lnTo>
                  <a:lnTo>
                    <a:pt x="957" y="461"/>
                  </a:lnTo>
                  <a:lnTo>
                    <a:pt x="919" y="449"/>
                  </a:lnTo>
                  <a:lnTo>
                    <a:pt x="902" y="444"/>
                  </a:lnTo>
                  <a:lnTo>
                    <a:pt x="886" y="433"/>
                  </a:lnTo>
                  <a:lnTo>
                    <a:pt x="827" y="461"/>
                  </a:lnTo>
                  <a:lnTo>
                    <a:pt x="810" y="461"/>
                  </a:lnTo>
                  <a:lnTo>
                    <a:pt x="772" y="444"/>
                  </a:lnTo>
                  <a:lnTo>
                    <a:pt x="760" y="477"/>
                  </a:lnTo>
                  <a:lnTo>
                    <a:pt x="777" y="487"/>
                  </a:lnTo>
                  <a:lnTo>
                    <a:pt x="756" y="487"/>
                  </a:lnTo>
                  <a:lnTo>
                    <a:pt x="756" y="515"/>
                  </a:lnTo>
                  <a:lnTo>
                    <a:pt x="739" y="515"/>
                  </a:lnTo>
                  <a:lnTo>
                    <a:pt x="739" y="532"/>
                  </a:lnTo>
                  <a:lnTo>
                    <a:pt x="723" y="515"/>
                  </a:lnTo>
                  <a:lnTo>
                    <a:pt x="723" y="515"/>
                  </a:lnTo>
                  <a:lnTo>
                    <a:pt x="706" y="482"/>
                  </a:lnTo>
                  <a:lnTo>
                    <a:pt x="739" y="461"/>
                  </a:lnTo>
                  <a:lnTo>
                    <a:pt x="739" y="444"/>
                  </a:lnTo>
                  <a:lnTo>
                    <a:pt x="723" y="433"/>
                  </a:lnTo>
                  <a:lnTo>
                    <a:pt x="692" y="449"/>
                  </a:lnTo>
                  <a:lnTo>
                    <a:pt x="701" y="461"/>
                  </a:lnTo>
                  <a:lnTo>
                    <a:pt x="675" y="466"/>
                  </a:lnTo>
                  <a:lnTo>
                    <a:pt x="631" y="444"/>
                  </a:lnTo>
                  <a:lnTo>
                    <a:pt x="609" y="466"/>
                  </a:lnTo>
                  <a:lnTo>
                    <a:pt x="583" y="487"/>
                  </a:lnTo>
                  <a:lnTo>
                    <a:pt x="579" y="482"/>
                  </a:lnTo>
                  <a:lnTo>
                    <a:pt x="562" y="499"/>
                  </a:lnTo>
                  <a:lnTo>
                    <a:pt x="503" y="503"/>
                  </a:lnTo>
                  <a:lnTo>
                    <a:pt x="470" y="499"/>
                  </a:lnTo>
                  <a:lnTo>
                    <a:pt x="449" y="466"/>
                  </a:lnTo>
                  <a:lnTo>
                    <a:pt x="378" y="444"/>
                  </a:lnTo>
                  <a:lnTo>
                    <a:pt x="345" y="444"/>
                  </a:lnTo>
                  <a:lnTo>
                    <a:pt x="340" y="482"/>
                  </a:lnTo>
                  <a:lnTo>
                    <a:pt x="328" y="499"/>
                  </a:lnTo>
                  <a:lnTo>
                    <a:pt x="323" y="482"/>
                  </a:lnTo>
                  <a:lnTo>
                    <a:pt x="286" y="499"/>
                  </a:lnTo>
                  <a:lnTo>
                    <a:pt x="243" y="482"/>
                  </a:lnTo>
                  <a:lnTo>
                    <a:pt x="243" y="466"/>
                  </a:lnTo>
                  <a:lnTo>
                    <a:pt x="238" y="466"/>
                  </a:lnTo>
                  <a:lnTo>
                    <a:pt x="238" y="461"/>
                  </a:lnTo>
                  <a:lnTo>
                    <a:pt x="231" y="449"/>
                  </a:lnTo>
                  <a:lnTo>
                    <a:pt x="222" y="461"/>
                  </a:lnTo>
                  <a:lnTo>
                    <a:pt x="215" y="449"/>
                  </a:lnTo>
                  <a:lnTo>
                    <a:pt x="201" y="433"/>
                  </a:lnTo>
                  <a:lnTo>
                    <a:pt x="189" y="444"/>
                  </a:lnTo>
                  <a:lnTo>
                    <a:pt x="184" y="444"/>
                  </a:lnTo>
                  <a:lnTo>
                    <a:pt x="184" y="449"/>
                  </a:lnTo>
                  <a:lnTo>
                    <a:pt x="163" y="466"/>
                  </a:lnTo>
                  <a:lnTo>
                    <a:pt x="168" y="461"/>
                  </a:lnTo>
                  <a:lnTo>
                    <a:pt x="163" y="449"/>
                  </a:lnTo>
                  <a:lnTo>
                    <a:pt x="177" y="449"/>
                  </a:lnTo>
                  <a:lnTo>
                    <a:pt x="177" y="444"/>
                  </a:lnTo>
                  <a:lnTo>
                    <a:pt x="125" y="461"/>
                  </a:lnTo>
                  <a:lnTo>
                    <a:pt x="168" y="444"/>
                  </a:lnTo>
                  <a:lnTo>
                    <a:pt x="168" y="433"/>
                  </a:lnTo>
                  <a:lnTo>
                    <a:pt x="189" y="425"/>
                  </a:lnTo>
                  <a:lnTo>
                    <a:pt x="113" y="433"/>
                  </a:lnTo>
                  <a:lnTo>
                    <a:pt x="113" y="425"/>
                  </a:lnTo>
                  <a:lnTo>
                    <a:pt x="113" y="421"/>
                  </a:lnTo>
                  <a:lnTo>
                    <a:pt x="130" y="421"/>
                  </a:lnTo>
                  <a:lnTo>
                    <a:pt x="134" y="409"/>
                  </a:lnTo>
                  <a:lnTo>
                    <a:pt x="125" y="404"/>
                  </a:lnTo>
                  <a:lnTo>
                    <a:pt x="125" y="392"/>
                  </a:lnTo>
                  <a:lnTo>
                    <a:pt x="108" y="404"/>
                  </a:lnTo>
                  <a:lnTo>
                    <a:pt x="113" y="350"/>
                  </a:lnTo>
                  <a:lnTo>
                    <a:pt x="92" y="338"/>
                  </a:lnTo>
                  <a:lnTo>
                    <a:pt x="75" y="322"/>
                  </a:lnTo>
                  <a:lnTo>
                    <a:pt x="71" y="338"/>
                  </a:lnTo>
                  <a:lnTo>
                    <a:pt x="42" y="322"/>
                  </a:lnTo>
                  <a:lnTo>
                    <a:pt x="42" y="317"/>
                  </a:lnTo>
                  <a:lnTo>
                    <a:pt x="54" y="317"/>
                  </a:lnTo>
                  <a:lnTo>
                    <a:pt x="59" y="310"/>
                  </a:lnTo>
                  <a:lnTo>
                    <a:pt x="54" y="310"/>
                  </a:lnTo>
                  <a:lnTo>
                    <a:pt x="54" y="293"/>
                  </a:lnTo>
                  <a:lnTo>
                    <a:pt x="59" y="293"/>
                  </a:lnTo>
                  <a:lnTo>
                    <a:pt x="75" y="317"/>
                  </a:lnTo>
                  <a:lnTo>
                    <a:pt x="108" y="310"/>
                  </a:lnTo>
                  <a:lnTo>
                    <a:pt x="92" y="310"/>
                  </a:lnTo>
                  <a:lnTo>
                    <a:pt x="75" y="293"/>
                  </a:lnTo>
                  <a:lnTo>
                    <a:pt x="75" y="281"/>
                  </a:lnTo>
                  <a:lnTo>
                    <a:pt x="97" y="265"/>
                  </a:lnTo>
                  <a:lnTo>
                    <a:pt x="80" y="265"/>
                  </a:lnTo>
                  <a:lnTo>
                    <a:pt x="80" y="255"/>
                  </a:lnTo>
                  <a:lnTo>
                    <a:pt x="71" y="239"/>
                  </a:lnTo>
                  <a:lnTo>
                    <a:pt x="92" y="222"/>
                  </a:lnTo>
                  <a:lnTo>
                    <a:pt x="92" y="211"/>
                  </a:lnTo>
                  <a:lnTo>
                    <a:pt x="26" y="222"/>
                  </a:lnTo>
                  <a:lnTo>
                    <a:pt x="38" y="182"/>
                  </a:lnTo>
                  <a:lnTo>
                    <a:pt x="75" y="144"/>
                  </a:lnTo>
                  <a:lnTo>
                    <a:pt x="108" y="144"/>
                  </a:lnTo>
                  <a:lnTo>
                    <a:pt x="130" y="149"/>
                  </a:lnTo>
                  <a:lnTo>
                    <a:pt x="151" y="149"/>
                  </a:lnTo>
                  <a:lnTo>
                    <a:pt x="146" y="133"/>
                  </a:lnTo>
                  <a:lnTo>
                    <a:pt x="146" y="133"/>
                  </a:lnTo>
                  <a:lnTo>
                    <a:pt x="168" y="133"/>
                  </a:lnTo>
                  <a:lnTo>
                    <a:pt x="163" y="144"/>
                  </a:lnTo>
                  <a:lnTo>
                    <a:pt x="163" y="149"/>
                  </a:lnTo>
                  <a:lnTo>
                    <a:pt x="238" y="149"/>
                  </a:lnTo>
                  <a:lnTo>
                    <a:pt x="243" y="144"/>
                  </a:lnTo>
                  <a:lnTo>
                    <a:pt x="222" y="133"/>
                  </a:lnTo>
                  <a:lnTo>
                    <a:pt x="269" y="116"/>
                  </a:lnTo>
                  <a:lnTo>
                    <a:pt x="297" y="116"/>
                  </a:lnTo>
                  <a:lnTo>
                    <a:pt x="260" y="111"/>
                  </a:lnTo>
                  <a:lnTo>
                    <a:pt x="243" y="100"/>
                  </a:lnTo>
                  <a:lnTo>
                    <a:pt x="238" y="88"/>
                  </a:lnTo>
                  <a:lnTo>
                    <a:pt x="243" y="71"/>
                  </a:lnTo>
                  <a:lnTo>
                    <a:pt x="307" y="78"/>
                  </a:lnTo>
                  <a:lnTo>
                    <a:pt x="323" y="71"/>
                  </a:lnTo>
                  <a:lnTo>
                    <a:pt x="361" y="88"/>
                  </a:lnTo>
                  <a:lnTo>
                    <a:pt x="394" y="88"/>
                  </a:lnTo>
                  <a:lnTo>
                    <a:pt x="416" y="62"/>
                  </a:lnTo>
                  <a:lnTo>
                    <a:pt x="458" y="33"/>
                  </a:lnTo>
                  <a:lnTo>
                    <a:pt x="541" y="5"/>
                  </a:lnTo>
                  <a:lnTo>
                    <a:pt x="638" y="5"/>
                  </a:lnTo>
                  <a:lnTo>
                    <a:pt x="654" y="0"/>
                  </a:lnTo>
                  <a:lnTo>
                    <a:pt x="675" y="33"/>
                  </a:lnTo>
                  <a:lnTo>
                    <a:pt x="692" y="38"/>
                  </a:lnTo>
                  <a:lnTo>
                    <a:pt x="723" y="33"/>
                  </a:lnTo>
                  <a:lnTo>
                    <a:pt x="730" y="33"/>
                  </a:lnTo>
                  <a:lnTo>
                    <a:pt x="730" y="55"/>
                  </a:lnTo>
                  <a:lnTo>
                    <a:pt x="756" y="71"/>
                  </a:lnTo>
                  <a:lnTo>
                    <a:pt x="782" y="62"/>
                  </a:lnTo>
                  <a:lnTo>
                    <a:pt x="798" y="71"/>
                  </a:lnTo>
                  <a:lnTo>
                    <a:pt x="798" y="78"/>
                  </a:lnTo>
                  <a:lnTo>
                    <a:pt x="831" y="88"/>
                  </a:lnTo>
                  <a:lnTo>
                    <a:pt x="848" y="78"/>
                  </a:lnTo>
                  <a:lnTo>
                    <a:pt x="853" y="95"/>
                  </a:lnTo>
                  <a:lnTo>
                    <a:pt x="890" y="100"/>
                  </a:lnTo>
                  <a:lnTo>
                    <a:pt x="961" y="88"/>
                  </a:lnTo>
                  <a:lnTo>
                    <a:pt x="1016" y="100"/>
                  </a:lnTo>
                  <a:lnTo>
                    <a:pt x="1101" y="62"/>
                  </a:lnTo>
                  <a:lnTo>
                    <a:pt x="1117" y="45"/>
                  </a:lnTo>
                  <a:lnTo>
                    <a:pt x="1134" y="55"/>
                  </a:lnTo>
                  <a:lnTo>
                    <a:pt x="1150" y="45"/>
                  </a:lnTo>
                  <a:lnTo>
                    <a:pt x="1176" y="55"/>
                  </a:lnTo>
                  <a:lnTo>
                    <a:pt x="1188" y="38"/>
                  </a:lnTo>
                  <a:lnTo>
                    <a:pt x="1205" y="38"/>
                  </a:lnTo>
                  <a:lnTo>
                    <a:pt x="1231" y="78"/>
                  </a:lnTo>
                  <a:lnTo>
                    <a:pt x="1242" y="78"/>
                  </a:lnTo>
                  <a:lnTo>
                    <a:pt x="1247" y="78"/>
                  </a:lnTo>
                  <a:lnTo>
                    <a:pt x="1268" y="111"/>
                  </a:lnTo>
                  <a:lnTo>
                    <a:pt x="1259" y="144"/>
                  </a:lnTo>
                  <a:lnTo>
                    <a:pt x="1264" y="166"/>
                  </a:lnTo>
                  <a:lnTo>
                    <a:pt x="1264" y="166"/>
                  </a:lnTo>
                  <a:lnTo>
                    <a:pt x="1280" y="173"/>
                  </a:lnTo>
                  <a:lnTo>
                    <a:pt x="1311" y="173"/>
                  </a:lnTo>
                  <a:lnTo>
                    <a:pt x="1339" y="206"/>
                  </a:lnTo>
                  <a:lnTo>
                    <a:pt x="1339" y="206"/>
                  </a:lnTo>
                  <a:lnTo>
                    <a:pt x="1334" y="199"/>
                  </a:lnTo>
                  <a:lnTo>
                    <a:pt x="1318" y="206"/>
                  </a:lnTo>
                  <a:lnTo>
                    <a:pt x="1318" y="227"/>
                  </a:lnTo>
                  <a:lnTo>
                    <a:pt x="1285" y="227"/>
                  </a:lnTo>
                  <a:lnTo>
                    <a:pt x="1301" y="255"/>
                  </a:lnTo>
                  <a:lnTo>
                    <a:pt x="1301" y="265"/>
                  </a:lnTo>
                  <a:lnTo>
                    <a:pt x="1311" y="277"/>
                  </a:lnTo>
                  <a:lnTo>
                    <a:pt x="1311" y="317"/>
                  </a:lnTo>
                  <a:lnTo>
                    <a:pt x="1318" y="317"/>
                  </a:lnTo>
                  <a:lnTo>
                    <a:pt x="1301" y="355"/>
                  </a:lnTo>
                  <a:lnTo>
                    <a:pt x="1334" y="371"/>
                  </a:lnTo>
                  <a:lnTo>
                    <a:pt x="1323" y="392"/>
                  </a:lnTo>
                  <a:lnTo>
                    <a:pt x="1339" y="404"/>
                  </a:lnTo>
                  <a:lnTo>
                    <a:pt x="1339" y="421"/>
                  </a:lnTo>
                  <a:lnTo>
                    <a:pt x="1334" y="409"/>
                  </a:lnTo>
                  <a:lnTo>
                    <a:pt x="1311" y="433"/>
                  </a:lnTo>
                  <a:lnTo>
                    <a:pt x="1301" y="421"/>
                  </a:lnTo>
                  <a:lnTo>
                    <a:pt x="1301" y="409"/>
                  </a:lnTo>
                  <a:lnTo>
                    <a:pt x="1297" y="404"/>
                  </a:lnTo>
                  <a:lnTo>
                    <a:pt x="1297" y="404"/>
                  </a:lnTo>
                  <a:lnTo>
                    <a:pt x="1297" y="404"/>
                  </a:lnTo>
                  <a:close/>
                  <a:moveTo>
                    <a:pt x="134" y="128"/>
                  </a:moveTo>
                  <a:lnTo>
                    <a:pt x="130" y="128"/>
                  </a:lnTo>
                  <a:lnTo>
                    <a:pt x="146" y="128"/>
                  </a:lnTo>
                  <a:lnTo>
                    <a:pt x="134" y="128"/>
                  </a:lnTo>
                  <a:lnTo>
                    <a:pt x="134" y="128"/>
                  </a:lnTo>
                  <a:lnTo>
                    <a:pt x="134" y="128"/>
                  </a:lnTo>
                  <a:close/>
                  <a:moveTo>
                    <a:pt x="5" y="166"/>
                  </a:moveTo>
                  <a:lnTo>
                    <a:pt x="0" y="166"/>
                  </a:lnTo>
                  <a:lnTo>
                    <a:pt x="5" y="156"/>
                  </a:lnTo>
                  <a:lnTo>
                    <a:pt x="21" y="156"/>
                  </a:lnTo>
                  <a:lnTo>
                    <a:pt x="21" y="166"/>
                  </a:lnTo>
                  <a:lnTo>
                    <a:pt x="5" y="166"/>
                  </a:lnTo>
                  <a:lnTo>
                    <a:pt x="5" y="166"/>
                  </a:lnTo>
                  <a:lnTo>
                    <a:pt x="5" y="166"/>
                  </a:lnTo>
                  <a:close/>
                  <a:moveTo>
                    <a:pt x="26" y="199"/>
                  </a:moveTo>
                  <a:lnTo>
                    <a:pt x="21" y="189"/>
                  </a:lnTo>
                  <a:lnTo>
                    <a:pt x="26" y="189"/>
                  </a:lnTo>
                  <a:lnTo>
                    <a:pt x="26" y="199"/>
                  </a:lnTo>
                  <a:lnTo>
                    <a:pt x="26" y="199"/>
                  </a:lnTo>
                  <a:lnTo>
                    <a:pt x="26" y="19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4" name="Freeform 575">
              <a:extLst>
                <a:ext uri="{FF2B5EF4-FFF2-40B4-BE49-F238E27FC236}">
                  <a16:creationId xmlns:a16="http://schemas.microsoft.com/office/drawing/2014/main" id="{B969BA6A-5094-4F28-8AE1-0B6F1AE1BF76}"/>
                </a:ext>
              </a:extLst>
            </p:cNvPr>
            <p:cNvSpPr>
              <a:spLocks noEditPoints="1"/>
            </p:cNvSpPr>
            <p:nvPr/>
          </p:nvSpPr>
          <p:spPr bwMode="gray">
            <a:xfrm>
              <a:off x="16458764" y="3506943"/>
              <a:ext cx="85097" cy="81170"/>
            </a:xfrm>
            <a:custGeom>
              <a:avLst/>
              <a:gdLst>
                <a:gd name="T0" fmla="*/ 130 w 260"/>
                <a:gd name="T1" fmla="*/ 132 h 248"/>
                <a:gd name="T2" fmla="*/ 142 w 260"/>
                <a:gd name="T3" fmla="*/ 108 h 248"/>
                <a:gd name="T4" fmla="*/ 196 w 260"/>
                <a:gd name="T5" fmla="*/ 21 h 248"/>
                <a:gd name="T6" fmla="*/ 222 w 260"/>
                <a:gd name="T7" fmla="*/ 4 h 248"/>
                <a:gd name="T8" fmla="*/ 222 w 260"/>
                <a:gd name="T9" fmla="*/ 4 h 248"/>
                <a:gd name="T10" fmla="*/ 234 w 260"/>
                <a:gd name="T11" fmla="*/ 0 h 248"/>
                <a:gd name="T12" fmla="*/ 260 w 260"/>
                <a:gd name="T13" fmla="*/ 9 h 248"/>
                <a:gd name="T14" fmla="*/ 251 w 260"/>
                <a:gd name="T15" fmla="*/ 26 h 248"/>
                <a:gd name="T16" fmla="*/ 256 w 260"/>
                <a:gd name="T17" fmla="*/ 59 h 248"/>
                <a:gd name="T18" fmla="*/ 239 w 260"/>
                <a:gd name="T19" fmla="*/ 82 h 248"/>
                <a:gd name="T20" fmla="*/ 222 w 260"/>
                <a:gd name="T21" fmla="*/ 148 h 248"/>
                <a:gd name="T22" fmla="*/ 206 w 260"/>
                <a:gd name="T23" fmla="*/ 174 h 248"/>
                <a:gd name="T24" fmla="*/ 196 w 260"/>
                <a:gd name="T25" fmla="*/ 203 h 248"/>
                <a:gd name="T26" fmla="*/ 180 w 260"/>
                <a:gd name="T27" fmla="*/ 248 h 248"/>
                <a:gd name="T28" fmla="*/ 168 w 260"/>
                <a:gd name="T29" fmla="*/ 248 h 248"/>
                <a:gd name="T30" fmla="*/ 168 w 260"/>
                <a:gd name="T31" fmla="*/ 226 h 248"/>
                <a:gd name="T32" fmla="*/ 147 w 260"/>
                <a:gd name="T33" fmla="*/ 203 h 248"/>
                <a:gd name="T34" fmla="*/ 130 w 260"/>
                <a:gd name="T35" fmla="*/ 170 h 248"/>
                <a:gd name="T36" fmla="*/ 126 w 260"/>
                <a:gd name="T37" fmla="*/ 165 h 248"/>
                <a:gd name="T38" fmla="*/ 130 w 260"/>
                <a:gd name="T39" fmla="*/ 132 h 248"/>
                <a:gd name="T40" fmla="*/ 130 w 260"/>
                <a:gd name="T41" fmla="*/ 132 h 248"/>
                <a:gd name="T42" fmla="*/ 130 w 260"/>
                <a:gd name="T43" fmla="*/ 132 h 248"/>
                <a:gd name="T44" fmla="*/ 0 w 260"/>
                <a:gd name="T45" fmla="*/ 59 h 248"/>
                <a:gd name="T46" fmla="*/ 5 w 260"/>
                <a:gd name="T47" fmla="*/ 54 h 248"/>
                <a:gd name="T48" fmla="*/ 17 w 260"/>
                <a:gd name="T49" fmla="*/ 59 h 248"/>
                <a:gd name="T50" fmla="*/ 17 w 260"/>
                <a:gd name="T51" fmla="*/ 59 h 248"/>
                <a:gd name="T52" fmla="*/ 0 w 260"/>
                <a:gd name="T53" fmla="*/ 59 h 248"/>
                <a:gd name="T54" fmla="*/ 0 w 260"/>
                <a:gd name="T55" fmla="*/ 59 h 248"/>
                <a:gd name="T56" fmla="*/ 0 w 260"/>
                <a:gd name="T57" fmla="*/ 59 h 248"/>
                <a:gd name="T58" fmla="*/ 93 w 260"/>
                <a:gd name="T59" fmla="*/ 132 h 248"/>
                <a:gd name="T60" fmla="*/ 93 w 260"/>
                <a:gd name="T61" fmla="*/ 120 h 248"/>
                <a:gd name="T62" fmla="*/ 97 w 260"/>
                <a:gd name="T63" fmla="*/ 132 h 248"/>
                <a:gd name="T64" fmla="*/ 93 w 260"/>
                <a:gd name="T65" fmla="*/ 132 h 248"/>
                <a:gd name="T66" fmla="*/ 93 w 260"/>
                <a:gd name="T67" fmla="*/ 132 h 248"/>
                <a:gd name="T68" fmla="*/ 93 w 260"/>
                <a:gd name="T69" fmla="*/ 13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0" h="248">
                  <a:moveTo>
                    <a:pt x="130" y="132"/>
                  </a:moveTo>
                  <a:lnTo>
                    <a:pt x="142" y="108"/>
                  </a:lnTo>
                  <a:lnTo>
                    <a:pt x="196" y="21"/>
                  </a:lnTo>
                  <a:lnTo>
                    <a:pt x="222" y="4"/>
                  </a:lnTo>
                  <a:lnTo>
                    <a:pt x="222" y="4"/>
                  </a:lnTo>
                  <a:lnTo>
                    <a:pt x="234" y="0"/>
                  </a:lnTo>
                  <a:lnTo>
                    <a:pt x="260" y="9"/>
                  </a:lnTo>
                  <a:lnTo>
                    <a:pt x="251" y="26"/>
                  </a:lnTo>
                  <a:lnTo>
                    <a:pt x="256" y="59"/>
                  </a:lnTo>
                  <a:lnTo>
                    <a:pt x="239" y="82"/>
                  </a:lnTo>
                  <a:lnTo>
                    <a:pt x="222" y="148"/>
                  </a:lnTo>
                  <a:lnTo>
                    <a:pt x="206" y="174"/>
                  </a:lnTo>
                  <a:lnTo>
                    <a:pt x="196" y="203"/>
                  </a:lnTo>
                  <a:lnTo>
                    <a:pt x="180" y="248"/>
                  </a:lnTo>
                  <a:lnTo>
                    <a:pt x="168" y="248"/>
                  </a:lnTo>
                  <a:lnTo>
                    <a:pt x="168" y="226"/>
                  </a:lnTo>
                  <a:lnTo>
                    <a:pt x="147" y="203"/>
                  </a:lnTo>
                  <a:lnTo>
                    <a:pt x="130" y="170"/>
                  </a:lnTo>
                  <a:lnTo>
                    <a:pt x="126" y="165"/>
                  </a:lnTo>
                  <a:lnTo>
                    <a:pt x="130" y="132"/>
                  </a:lnTo>
                  <a:lnTo>
                    <a:pt x="130" y="132"/>
                  </a:lnTo>
                  <a:lnTo>
                    <a:pt x="130" y="132"/>
                  </a:lnTo>
                  <a:close/>
                  <a:moveTo>
                    <a:pt x="0" y="59"/>
                  </a:moveTo>
                  <a:lnTo>
                    <a:pt x="5" y="54"/>
                  </a:lnTo>
                  <a:lnTo>
                    <a:pt x="17" y="59"/>
                  </a:lnTo>
                  <a:lnTo>
                    <a:pt x="17" y="59"/>
                  </a:lnTo>
                  <a:lnTo>
                    <a:pt x="0" y="59"/>
                  </a:lnTo>
                  <a:lnTo>
                    <a:pt x="0" y="59"/>
                  </a:lnTo>
                  <a:lnTo>
                    <a:pt x="0" y="59"/>
                  </a:lnTo>
                  <a:close/>
                  <a:moveTo>
                    <a:pt x="93" y="132"/>
                  </a:moveTo>
                  <a:lnTo>
                    <a:pt x="93" y="120"/>
                  </a:lnTo>
                  <a:lnTo>
                    <a:pt x="97" y="132"/>
                  </a:lnTo>
                  <a:lnTo>
                    <a:pt x="93" y="132"/>
                  </a:lnTo>
                  <a:lnTo>
                    <a:pt x="93" y="132"/>
                  </a:lnTo>
                  <a:lnTo>
                    <a:pt x="93" y="132"/>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5" name="Freeform 577">
              <a:extLst>
                <a:ext uri="{FF2B5EF4-FFF2-40B4-BE49-F238E27FC236}">
                  <a16:creationId xmlns:a16="http://schemas.microsoft.com/office/drawing/2014/main" id="{E6A7E087-0B5C-4F13-BDA6-B66BE81B07AA}"/>
                </a:ext>
              </a:extLst>
            </p:cNvPr>
            <p:cNvSpPr>
              <a:spLocks/>
            </p:cNvSpPr>
            <p:nvPr/>
          </p:nvSpPr>
          <p:spPr bwMode="gray">
            <a:xfrm>
              <a:off x="14948944" y="3039236"/>
              <a:ext cx="325660" cy="210124"/>
            </a:xfrm>
            <a:custGeom>
              <a:avLst/>
              <a:gdLst>
                <a:gd name="T0" fmla="*/ 926 w 995"/>
                <a:gd name="T1" fmla="*/ 453 h 642"/>
                <a:gd name="T2" fmla="*/ 860 w 995"/>
                <a:gd name="T3" fmla="*/ 486 h 642"/>
                <a:gd name="T4" fmla="*/ 806 w 995"/>
                <a:gd name="T5" fmla="*/ 571 h 642"/>
                <a:gd name="T6" fmla="*/ 747 w 995"/>
                <a:gd name="T7" fmla="*/ 609 h 642"/>
                <a:gd name="T8" fmla="*/ 699 w 995"/>
                <a:gd name="T9" fmla="*/ 637 h 642"/>
                <a:gd name="T10" fmla="*/ 640 w 995"/>
                <a:gd name="T11" fmla="*/ 621 h 642"/>
                <a:gd name="T12" fmla="*/ 607 w 995"/>
                <a:gd name="T13" fmla="*/ 526 h 642"/>
                <a:gd name="T14" fmla="*/ 494 w 995"/>
                <a:gd name="T15" fmla="*/ 477 h 642"/>
                <a:gd name="T16" fmla="*/ 409 w 995"/>
                <a:gd name="T17" fmla="*/ 437 h 642"/>
                <a:gd name="T18" fmla="*/ 333 w 995"/>
                <a:gd name="T19" fmla="*/ 387 h 642"/>
                <a:gd name="T20" fmla="*/ 279 w 995"/>
                <a:gd name="T21" fmla="*/ 387 h 642"/>
                <a:gd name="T22" fmla="*/ 262 w 995"/>
                <a:gd name="T23" fmla="*/ 403 h 642"/>
                <a:gd name="T24" fmla="*/ 161 w 995"/>
                <a:gd name="T25" fmla="*/ 453 h 642"/>
                <a:gd name="T26" fmla="*/ 102 w 995"/>
                <a:gd name="T27" fmla="*/ 470 h 642"/>
                <a:gd name="T28" fmla="*/ 106 w 995"/>
                <a:gd name="T29" fmla="*/ 333 h 642"/>
                <a:gd name="T30" fmla="*/ 47 w 995"/>
                <a:gd name="T31" fmla="*/ 292 h 642"/>
                <a:gd name="T32" fmla="*/ 52 w 995"/>
                <a:gd name="T33" fmla="*/ 271 h 642"/>
                <a:gd name="T34" fmla="*/ 90 w 995"/>
                <a:gd name="T35" fmla="*/ 288 h 642"/>
                <a:gd name="T36" fmla="*/ 31 w 995"/>
                <a:gd name="T37" fmla="*/ 248 h 642"/>
                <a:gd name="T38" fmla="*/ 17 w 995"/>
                <a:gd name="T39" fmla="*/ 210 h 642"/>
                <a:gd name="T40" fmla="*/ 47 w 995"/>
                <a:gd name="T41" fmla="*/ 177 h 642"/>
                <a:gd name="T42" fmla="*/ 90 w 995"/>
                <a:gd name="T43" fmla="*/ 193 h 642"/>
                <a:gd name="T44" fmla="*/ 135 w 995"/>
                <a:gd name="T45" fmla="*/ 160 h 642"/>
                <a:gd name="T46" fmla="*/ 161 w 995"/>
                <a:gd name="T47" fmla="*/ 153 h 642"/>
                <a:gd name="T48" fmla="*/ 90 w 995"/>
                <a:gd name="T49" fmla="*/ 54 h 642"/>
                <a:gd name="T50" fmla="*/ 26 w 995"/>
                <a:gd name="T51" fmla="*/ 99 h 642"/>
                <a:gd name="T52" fmla="*/ 31 w 995"/>
                <a:gd name="T53" fmla="*/ 153 h 642"/>
                <a:gd name="T54" fmla="*/ 10 w 995"/>
                <a:gd name="T55" fmla="*/ 103 h 642"/>
                <a:gd name="T56" fmla="*/ 69 w 995"/>
                <a:gd name="T57" fmla="*/ 49 h 642"/>
                <a:gd name="T58" fmla="*/ 177 w 995"/>
                <a:gd name="T59" fmla="*/ 87 h 642"/>
                <a:gd name="T60" fmla="*/ 321 w 995"/>
                <a:gd name="T61" fmla="*/ 137 h 642"/>
                <a:gd name="T62" fmla="*/ 317 w 995"/>
                <a:gd name="T63" fmla="*/ 82 h 642"/>
                <a:gd name="T64" fmla="*/ 392 w 995"/>
                <a:gd name="T65" fmla="*/ 26 h 642"/>
                <a:gd name="T66" fmla="*/ 425 w 995"/>
                <a:gd name="T67" fmla="*/ 49 h 642"/>
                <a:gd name="T68" fmla="*/ 425 w 995"/>
                <a:gd name="T69" fmla="*/ 16 h 642"/>
                <a:gd name="T70" fmla="*/ 468 w 995"/>
                <a:gd name="T71" fmla="*/ 26 h 642"/>
                <a:gd name="T72" fmla="*/ 532 w 995"/>
                <a:gd name="T73" fmla="*/ 49 h 642"/>
                <a:gd name="T74" fmla="*/ 532 w 995"/>
                <a:gd name="T75" fmla="*/ 87 h 642"/>
                <a:gd name="T76" fmla="*/ 539 w 995"/>
                <a:gd name="T77" fmla="*/ 127 h 642"/>
                <a:gd name="T78" fmla="*/ 619 w 995"/>
                <a:gd name="T79" fmla="*/ 144 h 642"/>
                <a:gd name="T80" fmla="*/ 678 w 995"/>
                <a:gd name="T81" fmla="*/ 193 h 642"/>
                <a:gd name="T82" fmla="*/ 780 w 995"/>
                <a:gd name="T83" fmla="*/ 292 h 642"/>
                <a:gd name="T84" fmla="*/ 834 w 995"/>
                <a:gd name="T85" fmla="*/ 326 h 642"/>
                <a:gd name="T86" fmla="*/ 995 w 995"/>
                <a:gd name="T87" fmla="*/ 415 h 642"/>
                <a:gd name="T88" fmla="*/ 985 w 995"/>
                <a:gd name="T89" fmla="*/ 460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5" h="642">
                  <a:moveTo>
                    <a:pt x="985" y="460"/>
                  </a:moveTo>
                  <a:lnTo>
                    <a:pt x="969" y="470"/>
                  </a:lnTo>
                  <a:lnTo>
                    <a:pt x="926" y="453"/>
                  </a:lnTo>
                  <a:lnTo>
                    <a:pt x="914" y="477"/>
                  </a:lnTo>
                  <a:lnTo>
                    <a:pt x="888" y="477"/>
                  </a:lnTo>
                  <a:lnTo>
                    <a:pt x="860" y="486"/>
                  </a:lnTo>
                  <a:lnTo>
                    <a:pt x="860" y="498"/>
                  </a:lnTo>
                  <a:lnTo>
                    <a:pt x="839" y="552"/>
                  </a:lnTo>
                  <a:lnTo>
                    <a:pt x="806" y="571"/>
                  </a:lnTo>
                  <a:lnTo>
                    <a:pt x="747" y="588"/>
                  </a:lnTo>
                  <a:lnTo>
                    <a:pt x="747" y="604"/>
                  </a:lnTo>
                  <a:lnTo>
                    <a:pt x="747" y="609"/>
                  </a:lnTo>
                  <a:lnTo>
                    <a:pt x="747" y="621"/>
                  </a:lnTo>
                  <a:lnTo>
                    <a:pt x="716" y="637"/>
                  </a:lnTo>
                  <a:lnTo>
                    <a:pt x="699" y="637"/>
                  </a:lnTo>
                  <a:lnTo>
                    <a:pt x="683" y="642"/>
                  </a:lnTo>
                  <a:lnTo>
                    <a:pt x="671" y="621"/>
                  </a:lnTo>
                  <a:lnTo>
                    <a:pt x="640" y="621"/>
                  </a:lnTo>
                  <a:lnTo>
                    <a:pt x="624" y="604"/>
                  </a:lnTo>
                  <a:lnTo>
                    <a:pt x="619" y="609"/>
                  </a:lnTo>
                  <a:lnTo>
                    <a:pt x="607" y="526"/>
                  </a:lnTo>
                  <a:lnTo>
                    <a:pt x="548" y="526"/>
                  </a:lnTo>
                  <a:lnTo>
                    <a:pt x="532" y="493"/>
                  </a:lnTo>
                  <a:lnTo>
                    <a:pt x="494" y="477"/>
                  </a:lnTo>
                  <a:lnTo>
                    <a:pt x="477" y="453"/>
                  </a:lnTo>
                  <a:lnTo>
                    <a:pt x="456" y="437"/>
                  </a:lnTo>
                  <a:lnTo>
                    <a:pt x="409" y="437"/>
                  </a:lnTo>
                  <a:lnTo>
                    <a:pt x="404" y="432"/>
                  </a:lnTo>
                  <a:lnTo>
                    <a:pt x="350" y="415"/>
                  </a:lnTo>
                  <a:lnTo>
                    <a:pt x="333" y="387"/>
                  </a:lnTo>
                  <a:lnTo>
                    <a:pt x="321" y="399"/>
                  </a:lnTo>
                  <a:lnTo>
                    <a:pt x="300" y="387"/>
                  </a:lnTo>
                  <a:lnTo>
                    <a:pt x="279" y="387"/>
                  </a:lnTo>
                  <a:lnTo>
                    <a:pt x="269" y="399"/>
                  </a:lnTo>
                  <a:lnTo>
                    <a:pt x="269" y="403"/>
                  </a:lnTo>
                  <a:lnTo>
                    <a:pt x="262" y="403"/>
                  </a:lnTo>
                  <a:lnTo>
                    <a:pt x="210" y="403"/>
                  </a:lnTo>
                  <a:lnTo>
                    <a:pt x="173" y="432"/>
                  </a:lnTo>
                  <a:lnTo>
                    <a:pt x="161" y="453"/>
                  </a:lnTo>
                  <a:lnTo>
                    <a:pt x="156" y="460"/>
                  </a:lnTo>
                  <a:lnTo>
                    <a:pt x="123" y="470"/>
                  </a:lnTo>
                  <a:lnTo>
                    <a:pt x="102" y="470"/>
                  </a:lnTo>
                  <a:lnTo>
                    <a:pt x="90" y="420"/>
                  </a:lnTo>
                  <a:lnTo>
                    <a:pt x="90" y="366"/>
                  </a:lnTo>
                  <a:lnTo>
                    <a:pt x="106" y="333"/>
                  </a:lnTo>
                  <a:lnTo>
                    <a:pt x="85" y="321"/>
                  </a:lnTo>
                  <a:lnTo>
                    <a:pt x="80" y="304"/>
                  </a:lnTo>
                  <a:lnTo>
                    <a:pt x="47" y="292"/>
                  </a:lnTo>
                  <a:lnTo>
                    <a:pt x="47" y="309"/>
                  </a:lnTo>
                  <a:lnTo>
                    <a:pt x="47" y="288"/>
                  </a:lnTo>
                  <a:lnTo>
                    <a:pt x="52" y="271"/>
                  </a:lnTo>
                  <a:lnTo>
                    <a:pt x="52" y="288"/>
                  </a:lnTo>
                  <a:lnTo>
                    <a:pt x="80" y="288"/>
                  </a:lnTo>
                  <a:lnTo>
                    <a:pt x="90" y="288"/>
                  </a:lnTo>
                  <a:lnTo>
                    <a:pt x="69" y="271"/>
                  </a:lnTo>
                  <a:lnTo>
                    <a:pt x="80" y="248"/>
                  </a:lnTo>
                  <a:lnTo>
                    <a:pt x="31" y="248"/>
                  </a:lnTo>
                  <a:lnTo>
                    <a:pt x="38" y="264"/>
                  </a:lnTo>
                  <a:lnTo>
                    <a:pt x="17" y="238"/>
                  </a:lnTo>
                  <a:lnTo>
                    <a:pt x="17" y="210"/>
                  </a:lnTo>
                  <a:lnTo>
                    <a:pt x="31" y="181"/>
                  </a:lnTo>
                  <a:lnTo>
                    <a:pt x="31" y="153"/>
                  </a:lnTo>
                  <a:lnTo>
                    <a:pt x="47" y="177"/>
                  </a:lnTo>
                  <a:lnTo>
                    <a:pt x="69" y="181"/>
                  </a:lnTo>
                  <a:lnTo>
                    <a:pt x="80" y="165"/>
                  </a:lnTo>
                  <a:lnTo>
                    <a:pt x="90" y="193"/>
                  </a:lnTo>
                  <a:lnTo>
                    <a:pt x="139" y="181"/>
                  </a:lnTo>
                  <a:lnTo>
                    <a:pt x="123" y="165"/>
                  </a:lnTo>
                  <a:lnTo>
                    <a:pt x="135" y="160"/>
                  </a:lnTo>
                  <a:lnTo>
                    <a:pt x="139" y="177"/>
                  </a:lnTo>
                  <a:lnTo>
                    <a:pt x="156" y="165"/>
                  </a:lnTo>
                  <a:lnTo>
                    <a:pt x="161" y="153"/>
                  </a:lnTo>
                  <a:lnTo>
                    <a:pt x="118" y="120"/>
                  </a:lnTo>
                  <a:lnTo>
                    <a:pt x="102" y="66"/>
                  </a:lnTo>
                  <a:lnTo>
                    <a:pt x="90" y="54"/>
                  </a:lnTo>
                  <a:lnTo>
                    <a:pt x="47" y="66"/>
                  </a:lnTo>
                  <a:lnTo>
                    <a:pt x="31" y="70"/>
                  </a:lnTo>
                  <a:lnTo>
                    <a:pt x="26" y="99"/>
                  </a:lnTo>
                  <a:lnTo>
                    <a:pt x="31" y="99"/>
                  </a:lnTo>
                  <a:lnTo>
                    <a:pt x="26" y="120"/>
                  </a:lnTo>
                  <a:lnTo>
                    <a:pt x="31" y="153"/>
                  </a:lnTo>
                  <a:lnTo>
                    <a:pt x="26" y="127"/>
                  </a:lnTo>
                  <a:lnTo>
                    <a:pt x="10" y="111"/>
                  </a:lnTo>
                  <a:lnTo>
                    <a:pt x="10" y="103"/>
                  </a:lnTo>
                  <a:lnTo>
                    <a:pt x="0" y="99"/>
                  </a:lnTo>
                  <a:lnTo>
                    <a:pt x="38" y="54"/>
                  </a:lnTo>
                  <a:lnTo>
                    <a:pt x="69" y="49"/>
                  </a:lnTo>
                  <a:lnTo>
                    <a:pt x="123" y="37"/>
                  </a:lnTo>
                  <a:lnTo>
                    <a:pt x="177" y="82"/>
                  </a:lnTo>
                  <a:lnTo>
                    <a:pt x="177" y="87"/>
                  </a:lnTo>
                  <a:lnTo>
                    <a:pt x="210" y="137"/>
                  </a:lnTo>
                  <a:lnTo>
                    <a:pt x="246" y="127"/>
                  </a:lnTo>
                  <a:lnTo>
                    <a:pt x="321" y="137"/>
                  </a:lnTo>
                  <a:lnTo>
                    <a:pt x="321" y="127"/>
                  </a:lnTo>
                  <a:lnTo>
                    <a:pt x="317" y="99"/>
                  </a:lnTo>
                  <a:lnTo>
                    <a:pt x="317" y="82"/>
                  </a:lnTo>
                  <a:lnTo>
                    <a:pt x="350" y="54"/>
                  </a:lnTo>
                  <a:lnTo>
                    <a:pt x="376" y="54"/>
                  </a:lnTo>
                  <a:lnTo>
                    <a:pt x="392" y="26"/>
                  </a:lnTo>
                  <a:lnTo>
                    <a:pt x="409" y="33"/>
                  </a:lnTo>
                  <a:lnTo>
                    <a:pt x="413" y="49"/>
                  </a:lnTo>
                  <a:lnTo>
                    <a:pt x="425" y="49"/>
                  </a:lnTo>
                  <a:lnTo>
                    <a:pt x="404" y="16"/>
                  </a:lnTo>
                  <a:lnTo>
                    <a:pt x="409" y="9"/>
                  </a:lnTo>
                  <a:lnTo>
                    <a:pt x="425" y="16"/>
                  </a:lnTo>
                  <a:lnTo>
                    <a:pt x="430" y="0"/>
                  </a:lnTo>
                  <a:lnTo>
                    <a:pt x="456" y="26"/>
                  </a:lnTo>
                  <a:lnTo>
                    <a:pt x="468" y="26"/>
                  </a:lnTo>
                  <a:lnTo>
                    <a:pt x="477" y="37"/>
                  </a:lnTo>
                  <a:lnTo>
                    <a:pt x="515" y="37"/>
                  </a:lnTo>
                  <a:lnTo>
                    <a:pt x="532" y="49"/>
                  </a:lnTo>
                  <a:lnTo>
                    <a:pt x="532" y="66"/>
                  </a:lnTo>
                  <a:lnTo>
                    <a:pt x="548" y="87"/>
                  </a:lnTo>
                  <a:lnTo>
                    <a:pt x="532" y="87"/>
                  </a:lnTo>
                  <a:lnTo>
                    <a:pt x="539" y="103"/>
                  </a:lnTo>
                  <a:lnTo>
                    <a:pt x="532" y="120"/>
                  </a:lnTo>
                  <a:lnTo>
                    <a:pt x="539" y="127"/>
                  </a:lnTo>
                  <a:lnTo>
                    <a:pt x="565" y="137"/>
                  </a:lnTo>
                  <a:lnTo>
                    <a:pt x="591" y="137"/>
                  </a:lnTo>
                  <a:lnTo>
                    <a:pt x="619" y="144"/>
                  </a:lnTo>
                  <a:lnTo>
                    <a:pt x="628" y="127"/>
                  </a:lnTo>
                  <a:lnTo>
                    <a:pt x="662" y="144"/>
                  </a:lnTo>
                  <a:lnTo>
                    <a:pt x="678" y="193"/>
                  </a:lnTo>
                  <a:lnTo>
                    <a:pt x="695" y="210"/>
                  </a:lnTo>
                  <a:lnTo>
                    <a:pt x="699" y="238"/>
                  </a:lnTo>
                  <a:lnTo>
                    <a:pt x="780" y="292"/>
                  </a:lnTo>
                  <a:lnTo>
                    <a:pt x="784" y="309"/>
                  </a:lnTo>
                  <a:lnTo>
                    <a:pt x="817" y="333"/>
                  </a:lnTo>
                  <a:lnTo>
                    <a:pt x="834" y="326"/>
                  </a:lnTo>
                  <a:lnTo>
                    <a:pt x="914" y="387"/>
                  </a:lnTo>
                  <a:lnTo>
                    <a:pt x="940" y="387"/>
                  </a:lnTo>
                  <a:lnTo>
                    <a:pt x="995" y="415"/>
                  </a:lnTo>
                  <a:lnTo>
                    <a:pt x="985" y="432"/>
                  </a:lnTo>
                  <a:lnTo>
                    <a:pt x="985" y="460"/>
                  </a:lnTo>
                  <a:lnTo>
                    <a:pt x="985" y="460"/>
                  </a:lnTo>
                  <a:lnTo>
                    <a:pt x="985" y="46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6" name="Freeform 578">
              <a:extLst>
                <a:ext uri="{FF2B5EF4-FFF2-40B4-BE49-F238E27FC236}">
                  <a16:creationId xmlns:a16="http://schemas.microsoft.com/office/drawing/2014/main" id="{479C464A-ECEF-4BB5-9368-8038C886948E}"/>
                </a:ext>
              </a:extLst>
            </p:cNvPr>
            <p:cNvSpPr>
              <a:spLocks noEditPoints="1"/>
            </p:cNvSpPr>
            <p:nvPr/>
          </p:nvSpPr>
          <p:spPr bwMode="gray">
            <a:xfrm>
              <a:off x="14417742" y="4138298"/>
              <a:ext cx="256928" cy="254637"/>
            </a:xfrm>
            <a:custGeom>
              <a:avLst/>
              <a:gdLst>
                <a:gd name="T0" fmla="*/ 612 w 785"/>
                <a:gd name="T1" fmla="*/ 737 h 778"/>
                <a:gd name="T2" fmla="*/ 596 w 785"/>
                <a:gd name="T3" fmla="*/ 766 h 778"/>
                <a:gd name="T4" fmla="*/ 525 w 785"/>
                <a:gd name="T5" fmla="*/ 766 h 778"/>
                <a:gd name="T6" fmla="*/ 482 w 785"/>
                <a:gd name="T7" fmla="*/ 778 h 778"/>
                <a:gd name="T8" fmla="*/ 461 w 785"/>
                <a:gd name="T9" fmla="*/ 754 h 778"/>
                <a:gd name="T10" fmla="*/ 395 w 785"/>
                <a:gd name="T11" fmla="*/ 766 h 778"/>
                <a:gd name="T12" fmla="*/ 374 w 785"/>
                <a:gd name="T13" fmla="*/ 712 h 778"/>
                <a:gd name="T14" fmla="*/ 352 w 785"/>
                <a:gd name="T15" fmla="*/ 626 h 778"/>
                <a:gd name="T16" fmla="*/ 319 w 785"/>
                <a:gd name="T17" fmla="*/ 626 h 778"/>
                <a:gd name="T18" fmla="*/ 288 w 785"/>
                <a:gd name="T19" fmla="*/ 622 h 778"/>
                <a:gd name="T20" fmla="*/ 248 w 785"/>
                <a:gd name="T21" fmla="*/ 605 h 778"/>
                <a:gd name="T22" fmla="*/ 218 w 785"/>
                <a:gd name="T23" fmla="*/ 589 h 778"/>
                <a:gd name="T24" fmla="*/ 189 w 785"/>
                <a:gd name="T25" fmla="*/ 572 h 778"/>
                <a:gd name="T26" fmla="*/ 147 w 785"/>
                <a:gd name="T27" fmla="*/ 551 h 778"/>
                <a:gd name="T28" fmla="*/ 104 w 785"/>
                <a:gd name="T29" fmla="*/ 515 h 778"/>
                <a:gd name="T30" fmla="*/ 50 w 785"/>
                <a:gd name="T31" fmla="*/ 423 h 778"/>
                <a:gd name="T32" fmla="*/ 17 w 785"/>
                <a:gd name="T33" fmla="*/ 383 h 778"/>
                <a:gd name="T34" fmla="*/ 17 w 785"/>
                <a:gd name="T35" fmla="*/ 345 h 778"/>
                <a:gd name="T36" fmla="*/ 0 w 785"/>
                <a:gd name="T37" fmla="*/ 251 h 778"/>
                <a:gd name="T38" fmla="*/ 50 w 785"/>
                <a:gd name="T39" fmla="*/ 234 h 778"/>
                <a:gd name="T40" fmla="*/ 71 w 785"/>
                <a:gd name="T41" fmla="*/ 201 h 778"/>
                <a:gd name="T42" fmla="*/ 104 w 785"/>
                <a:gd name="T43" fmla="*/ 161 h 778"/>
                <a:gd name="T44" fmla="*/ 88 w 785"/>
                <a:gd name="T45" fmla="*/ 140 h 778"/>
                <a:gd name="T46" fmla="*/ 81 w 785"/>
                <a:gd name="T47" fmla="*/ 140 h 778"/>
                <a:gd name="T48" fmla="*/ 104 w 785"/>
                <a:gd name="T49" fmla="*/ 100 h 778"/>
                <a:gd name="T50" fmla="*/ 104 w 785"/>
                <a:gd name="T51" fmla="*/ 67 h 778"/>
                <a:gd name="T52" fmla="*/ 92 w 785"/>
                <a:gd name="T53" fmla="*/ 34 h 778"/>
                <a:gd name="T54" fmla="*/ 81 w 785"/>
                <a:gd name="T55" fmla="*/ 0 h 778"/>
                <a:gd name="T56" fmla="*/ 248 w 785"/>
                <a:gd name="T57" fmla="*/ 0 h 778"/>
                <a:gd name="T58" fmla="*/ 579 w 785"/>
                <a:gd name="T59" fmla="*/ 145 h 778"/>
                <a:gd name="T60" fmla="*/ 579 w 785"/>
                <a:gd name="T61" fmla="*/ 178 h 778"/>
                <a:gd name="T62" fmla="*/ 700 w 785"/>
                <a:gd name="T63" fmla="*/ 277 h 778"/>
                <a:gd name="T64" fmla="*/ 688 w 785"/>
                <a:gd name="T65" fmla="*/ 277 h 778"/>
                <a:gd name="T66" fmla="*/ 678 w 785"/>
                <a:gd name="T67" fmla="*/ 388 h 778"/>
                <a:gd name="T68" fmla="*/ 721 w 785"/>
                <a:gd name="T69" fmla="*/ 433 h 778"/>
                <a:gd name="T70" fmla="*/ 700 w 785"/>
                <a:gd name="T71" fmla="*/ 489 h 778"/>
                <a:gd name="T72" fmla="*/ 716 w 785"/>
                <a:gd name="T73" fmla="*/ 499 h 778"/>
                <a:gd name="T74" fmla="*/ 704 w 785"/>
                <a:gd name="T75" fmla="*/ 556 h 778"/>
                <a:gd name="T76" fmla="*/ 704 w 785"/>
                <a:gd name="T77" fmla="*/ 572 h 778"/>
                <a:gd name="T78" fmla="*/ 737 w 785"/>
                <a:gd name="T79" fmla="*/ 655 h 778"/>
                <a:gd name="T80" fmla="*/ 754 w 785"/>
                <a:gd name="T81" fmla="*/ 662 h 778"/>
                <a:gd name="T82" fmla="*/ 770 w 785"/>
                <a:gd name="T83" fmla="*/ 667 h 778"/>
                <a:gd name="T84" fmla="*/ 700 w 785"/>
                <a:gd name="T85" fmla="*/ 737 h 778"/>
                <a:gd name="T86" fmla="*/ 645 w 785"/>
                <a:gd name="T87" fmla="*/ 754 h 778"/>
                <a:gd name="T88" fmla="*/ 645 w 785"/>
                <a:gd name="T89" fmla="*/ 754 h 778"/>
                <a:gd name="T90" fmla="*/ 733 w 785"/>
                <a:gd name="T91" fmla="*/ 277 h 778"/>
                <a:gd name="T92" fmla="*/ 737 w 785"/>
                <a:gd name="T93" fmla="*/ 305 h 778"/>
                <a:gd name="T94" fmla="*/ 721 w 785"/>
                <a:gd name="T95" fmla="*/ 322 h 778"/>
                <a:gd name="T96" fmla="*/ 733 w 785"/>
                <a:gd name="T97" fmla="*/ 305 h 778"/>
                <a:gd name="T98" fmla="*/ 704 w 785"/>
                <a:gd name="T99" fmla="*/ 362 h 778"/>
                <a:gd name="T100" fmla="*/ 716 w 785"/>
                <a:gd name="T101" fmla="*/ 367 h 778"/>
                <a:gd name="T102" fmla="*/ 721 w 785"/>
                <a:gd name="T103" fmla="*/ 388 h 778"/>
                <a:gd name="T104" fmla="*/ 688 w 785"/>
                <a:gd name="T105" fmla="*/ 378 h 778"/>
                <a:gd name="T106" fmla="*/ 700 w 785"/>
                <a:gd name="T107" fmla="*/ 345 h 778"/>
                <a:gd name="T108" fmla="*/ 704 w 785"/>
                <a:gd name="T109" fmla="*/ 362 h 778"/>
                <a:gd name="T110" fmla="*/ 721 w 785"/>
                <a:gd name="T111" fmla="*/ 499 h 778"/>
                <a:gd name="T112" fmla="*/ 742 w 785"/>
                <a:gd name="T113" fmla="*/ 478 h 778"/>
                <a:gd name="T114" fmla="*/ 721 w 785"/>
                <a:gd name="T115" fmla="*/ 499 h 778"/>
                <a:gd name="T116" fmla="*/ 721 w 785"/>
                <a:gd name="T117" fmla="*/ 499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5" h="778">
                  <a:moveTo>
                    <a:pt x="645" y="754"/>
                  </a:moveTo>
                  <a:lnTo>
                    <a:pt x="612" y="737"/>
                  </a:lnTo>
                  <a:lnTo>
                    <a:pt x="607" y="749"/>
                  </a:lnTo>
                  <a:lnTo>
                    <a:pt x="596" y="766"/>
                  </a:lnTo>
                  <a:lnTo>
                    <a:pt x="574" y="778"/>
                  </a:lnTo>
                  <a:lnTo>
                    <a:pt x="525" y="766"/>
                  </a:lnTo>
                  <a:lnTo>
                    <a:pt x="503" y="778"/>
                  </a:lnTo>
                  <a:lnTo>
                    <a:pt x="482" y="778"/>
                  </a:lnTo>
                  <a:lnTo>
                    <a:pt x="482" y="766"/>
                  </a:lnTo>
                  <a:lnTo>
                    <a:pt x="461" y="754"/>
                  </a:lnTo>
                  <a:lnTo>
                    <a:pt x="433" y="771"/>
                  </a:lnTo>
                  <a:lnTo>
                    <a:pt x="395" y="766"/>
                  </a:lnTo>
                  <a:lnTo>
                    <a:pt x="374" y="733"/>
                  </a:lnTo>
                  <a:lnTo>
                    <a:pt x="374" y="712"/>
                  </a:lnTo>
                  <a:lnTo>
                    <a:pt x="364" y="655"/>
                  </a:lnTo>
                  <a:lnTo>
                    <a:pt x="352" y="626"/>
                  </a:lnTo>
                  <a:lnTo>
                    <a:pt x="326" y="610"/>
                  </a:lnTo>
                  <a:lnTo>
                    <a:pt x="319" y="626"/>
                  </a:lnTo>
                  <a:lnTo>
                    <a:pt x="310" y="622"/>
                  </a:lnTo>
                  <a:lnTo>
                    <a:pt x="288" y="622"/>
                  </a:lnTo>
                  <a:lnTo>
                    <a:pt x="281" y="610"/>
                  </a:lnTo>
                  <a:lnTo>
                    <a:pt x="248" y="605"/>
                  </a:lnTo>
                  <a:lnTo>
                    <a:pt x="227" y="600"/>
                  </a:lnTo>
                  <a:lnTo>
                    <a:pt x="218" y="589"/>
                  </a:lnTo>
                  <a:lnTo>
                    <a:pt x="189" y="584"/>
                  </a:lnTo>
                  <a:lnTo>
                    <a:pt x="189" y="572"/>
                  </a:lnTo>
                  <a:lnTo>
                    <a:pt x="163" y="572"/>
                  </a:lnTo>
                  <a:lnTo>
                    <a:pt x="147" y="551"/>
                  </a:lnTo>
                  <a:lnTo>
                    <a:pt x="118" y="551"/>
                  </a:lnTo>
                  <a:lnTo>
                    <a:pt x="104" y="515"/>
                  </a:lnTo>
                  <a:lnTo>
                    <a:pt x="71" y="445"/>
                  </a:lnTo>
                  <a:lnTo>
                    <a:pt x="50" y="423"/>
                  </a:lnTo>
                  <a:lnTo>
                    <a:pt x="26" y="404"/>
                  </a:lnTo>
                  <a:lnTo>
                    <a:pt x="17" y="383"/>
                  </a:lnTo>
                  <a:lnTo>
                    <a:pt x="12" y="362"/>
                  </a:lnTo>
                  <a:lnTo>
                    <a:pt x="17" y="345"/>
                  </a:lnTo>
                  <a:lnTo>
                    <a:pt x="0" y="289"/>
                  </a:lnTo>
                  <a:lnTo>
                    <a:pt x="0" y="251"/>
                  </a:lnTo>
                  <a:lnTo>
                    <a:pt x="33" y="251"/>
                  </a:lnTo>
                  <a:lnTo>
                    <a:pt x="50" y="234"/>
                  </a:lnTo>
                  <a:lnTo>
                    <a:pt x="71" y="201"/>
                  </a:lnTo>
                  <a:lnTo>
                    <a:pt x="71" y="201"/>
                  </a:lnTo>
                  <a:lnTo>
                    <a:pt x="81" y="185"/>
                  </a:lnTo>
                  <a:lnTo>
                    <a:pt x="104" y="161"/>
                  </a:lnTo>
                  <a:lnTo>
                    <a:pt x="104" y="145"/>
                  </a:lnTo>
                  <a:lnTo>
                    <a:pt x="88" y="140"/>
                  </a:lnTo>
                  <a:lnTo>
                    <a:pt x="81" y="140"/>
                  </a:lnTo>
                  <a:lnTo>
                    <a:pt x="81" y="140"/>
                  </a:lnTo>
                  <a:lnTo>
                    <a:pt x="88" y="100"/>
                  </a:lnTo>
                  <a:lnTo>
                    <a:pt x="104" y="100"/>
                  </a:lnTo>
                  <a:lnTo>
                    <a:pt x="109" y="74"/>
                  </a:lnTo>
                  <a:lnTo>
                    <a:pt x="104" y="67"/>
                  </a:lnTo>
                  <a:lnTo>
                    <a:pt x="104" y="50"/>
                  </a:lnTo>
                  <a:lnTo>
                    <a:pt x="92" y="34"/>
                  </a:lnTo>
                  <a:lnTo>
                    <a:pt x="88" y="29"/>
                  </a:lnTo>
                  <a:lnTo>
                    <a:pt x="81" y="0"/>
                  </a:lnTo>
                  <a:lnTo>
                    <a:pt x="104" y="0"/>
                  </a:lnTo>
                  <a:lnTo>
                    <a:pt x="248" y="0"/>
                  </a:lnTo>
                  <a:lnTo>
                    <a:pt x="319" y="0"/>
                  </a:lnTo>
                  <a:lnTo>
                    <a:pt x="579" y="145"/>
                  </a:lnTo>
                  <a:lnTo>
                    <a:pt x="591" y="166"/>
                  </a:lnTo>
                  <a:lnTo>
                    <a:pt x="579" y="178"/>
                  </a:lnTo>
                  <a:lnTo>
                    <a:pt x="688" y="267"/>
                  </a:lnTo>
                  <a:lnTo>
                    <a:pt x="700" y="277"/>
                  </a:lnTo>
                  <a:lnTo>
                    <a:pt x="688" y="289"/>
                  </a:lnTo>
                  <a:lnTo>
                    <a:pt x="688" y="277"/>
                  </a:lnTo>
                  <a:lnTo>
                    <a:pt x="666" y="367"/>
                  </a:lnTo>
                  <a:lnTo>
                    <a:pt x="678" y="388"/>
                  </a:lnTo>
                  <a:lnTo>
                    <a:pt x="683" y="400"/>
                  </a:lnTo>
                  <a:lnTo>
                    <a:pt x="721" y="433"/>
                  </a:lnTo>
                  <a:lnTo>
                    <a:pt x="700" y="478"/>
                  </a:lnTo>
                  <a:lnTo>
                    <a:pt x="700" y="489"/>
                  </a:lnTo>
                  <a:lnTo>
                    <a:pt x="716" y="494"/>
                  </a:lnTo>
                  <a:lnTo>
                    <a:pt x="716" y="499"/>
                  </a:lnTo>
                  <a:lnTo>
                    <a:pt x="700" y="527"/>
                  </a:lnTo>
                  <a:lnTo>
                    <a:pt x="704" y="556"/>
                  </a:lnTo>
                  <a:lnTo>
                    <a:pt x="716" y="572"/>
                  </a:lnTo>
                  <a:lnTo>
                    <a:pt x="704" y="572"/>
                  </a:lnTo>
                  <a:lnTo>
                    <a:pt x="721" y="589"/>
                  </a:lnTo>
                  <a:lnTo>
                    <a:pt x="737" y="655"/>
                  </a:lnTo>
                  <a:lnTo>
                    <a:pt x="754" y="667"/>
                  </a:lnTo>
                  <a:lnTo>
                    <a:pt x="754" y="662"/>
                  </a:lnTo>
                  <a:lnTo>
                    <a:pt x="770" y="678"/>
                  </a:lnTo>
                  <a:lnTo>
                    <a:pt x="770" y="667"/>
                  </a:lnTo>
                  <a:lnTo>
                    <a:pt x="785" y="683"/>
                  </a:lnTo>
                  <a:lnTo>
                    <a:pt x="700" y="737"/>
                  </a:lnTo>
                  <a:lnTo>
                    <a:pt x="678" y="737"/>
                  </a:lnTo>
                  <a:lnTo>
                    <a:pt x="645" y="754"/>
                  </a:lnTo>
                  <a:lnTo>
                    <a:pt x="645" y="754"/>
                  </a:lnTo>
                  <a:lnTo>
                    <a:pt x="645" y="754"/>
                  </a:lnTo>
                  <a:close/>
                  <a:moveTo>
                    <a:pt x="733" y="305"/>
                  </a:moveTo>
                  <a:lnTo>
                    <a:pt x="733" y="277"/>
                  </a:lnTo>
                  <a:lnTo>
                    <a:pt x="737" y="277"/>
                  </a:lnTo>
                  <a:lnTo>
                    <a:pt x="737" y="305"/>
                  </a:lnTo>
                  <a:lnTo>
                    <a:pt x="733" y="322"/>
                  </a:lnTo>
                  <a:lnTo>
                    <a:pt x="721" y="322"/>
                  </a:lnTo>
                  <a:lnTo>
                    <a:pt x="733" y="305"/>
                  </a:lnTo>
                  <a:lnTo>
                    <a:pt x="733" y="305"/>
                  </a:lnTo>
                  <a:lnTo>
                    <a:pt x="733" y="305"/>
                  </a:lnTo>
                  <a:close/>
                  <a:moveTo>
                    <a:pt x="704" y="362"/>
                  </a:moveTo>
                  <a:lnTo>
                    <a:pt x="716" y="378"/>
                  </a:lnTo>
                  <a:lnTo>
                    <a:pt x="716" y="367"/>
                  </a:lnTo>
                  <a:lnTo>
                    <a:pt x="716" y="378"/>
                  </a:lnTo>
                  <a:lnTo>
                    <a:pt x="721" y="388"/>
                  </a:lnTo>
                  <a:lnTo>
                    <a:pt x="716" y="400"/>
                  </a:lnTo>
                  <a:lnTo>
                    <a:pt x="688" y="378"/>
                  </a:lnTo>
                  <a:lnTo>
                    <a:pt x="688" y="362"/>
                  </a:lnTo>
                  <a:lnTo>
                    <a:pt x="700" y="345"/>
                  </a:lnTo>
                  <a:lnTo>
                    <a:pt x="704" y="362"/>
                  </a:lnTo>
                  <a:lnTo>
                    <a:pt x="704" y="362"/>
                  </a:lnTo>
                  <a:lnTo>
                    <a:pt x="704" y="362"/>
                  </a:lnTo>
                  <a:close/>
                  <a:moveTo>
                    <a:pt x="721" y="499"/>
                  </a:moveTo>
                  <a:lnTo>
                    <a:pt x="721" y="499"/>
                  </a:lnTo>
                  <a:lnTo>
                    <a:pt x="742" y="478"/>
                  </a:lnTo>
                  <a:lnTo>
                    <a:pt x="737" y="499"/>
                  </a:lnTo>
                  <a:lnTo>
                    <a:pt x="721" y="499"/>
                  </a:lnTo>
                  <a:lnTo>
                    <a:pt x="721" y="499"/>
                  </a:lnTo>
                  <a:lnTo>
                    <a:pt x="721" y="49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7" name="Freeform 579">
              <a:extLst>
                <a:ext uri="{FF2B5EF4-FFF2-40B4-BE49-F238E27FC236}">
                  <a16:creationId xmlns:a16="http://schemas.microsoft.com/office/drawing/2014/main" id="{6EFD6683-D91B-4A61-B570-931D60ADB75C}"/>
                </a:ext>
              </a:extLst>
            </p:cNvPr>
            <p:cNvSpPr>
              <a:spLocks/>
            </p:cNvSpPr>
            <p:nvPr/>
          </p:nvSpPr>
          <p:spPr bwMode="gray">
            <a:xfrm>
              <a:off x="14423306" y="4014908"/>
              <a:ext cx="123718" cy="133537"/>
            </a:xfrm>
            <a:custGeom>
              <a:avLst/>
              <a:gdLst>
                <a:gd name="T0" fmla="*/ 231 w 378"/>
                <a:gd name="T1" fmla="*/ 375 h 408"/>
                <a:gd name="T2" fmla="*/ 87 w 378"/>
                <a:gd name="T3" fmla="*/ 375 h 408"/>
                <a:gd name="T4" fmla="*/ 66 w 378"/>
                <a:gd name="T5" fmla="*/ 375 h 408"/>
                <a:gd name="T6" fmla="*/ 54 w 378"/>
                <a:gd name="T7" fmla="*/ 375 h 408"/>
                <a:gd name="T8" fmla="*/ 33 w 378"/>
                <a:gd name="T9" fmla="*/ 408 h 408"/>
                <a:gd name="T10" fmla="*/ 16 w 378"/>
                <a:gd name="T11" fmla="*/ 401 h 408"/>
                <a:gd name="T12" fmla="*/ 0 w 378"/>
                <a:gd name="T13" fmla="*/ 401 h 408"/>
                <a:gd name="T14" fmla="*/ 0 w 378"/>
                <a:gd name="T15" fmla="*/ 368 h 408"/>
                <a:gd name="T16" fmla="*/ 12 w 378"/>
                <a:gd name="T17" fmla="*/ 297 h 408"/>
                <a:gd name="T18" fmla="*/ 21 w 378"/>
                <a:gd name="T19" fmla="*/ 264 h 408"/>
                <a:gd name="T20" fmla="*/ 21 w 378"/>
                <a:gd name="T21" fmla="*/ 243 h 408"/>
                <a:gd name="T22" fmla="*/ 38 w 378"/>
                <a:gd name="T23" fmla="*/ 236 h 408"/>
                <a:gd name="T24" fmla="*/ 49 w 378"/>
                <a:gd name="T25" fmla="*/ 219 h 408"/>
                <a:gd name="T26" fmla="*/ 66 w 378"/>
                <a:gd name="T27" fmla="*/ 219 h 408"/>
                <a:gd name="T28" fmla="*/ 125 w 378"/>
                <a:gd name="T29" fmla="*/ 148 h 408"/>
                <a:gd name="T30" fmla="*/ 104 w 378"/>
                <a:gd name="T31" fmla="*/ 132 h 408"/>
                <a:gd name="T32" fmla="*/ 92 w 378"/>
                <a:gd name="T33" fmla="*/ 132 h 408"/>
                <a:gd name="T34" fmla="*/ 75 w 378"/>
                <a:gd name="T35" fmla="*/ 127 h 408"/>
                <a:gd name="T36" fmla="*/ 92 w 378"/>
                <a:gd name="T37" fmla="*/ 99 h 408"/>
                <a:gd name="T38" fmla="*/ 87 w 378"/>
                <a:gd name="T39" fmla="*/ 82 h 408"/>
                <a:gd name="T40" fmla="*/ 92 w 378"/>
                <a:gd name="T41" fmla="*/ 61 h 408"/>
                <a:gd name="T42" fmla="*/ 92 w 378"/>
                <a:gd name="T43" fmla="*/ 54 h 408"/>
                <a:gd name="T44" fmla="*/ 92 w 378"/>
                <a:gd name="T45" fmla="*/ 54 h 408"/>
                <a:gd name="T46" fmla="*/ 104 w 378"/>
                <a:gd name="T47" fmla="*/ 37 h 408"/>
                <a:gd name="T48" fmla="*/ 108 w 378"/>
                <a:gd name="T49" fmla="*/ 28 h 408"/>
                <a:gd name="T50" fmla="*/ 142 w 378"/>
                <a:gd name="T51" fmla="*/ 37 h 408"/>
                <a:gd name="T52" fmla="*/ 156 w 378"/>
                <a:gd name="T53" fmla="*/ 28 h 408"/>
                <a:gd name="T54" fmla="*/ 163 w 378"/>
                <a:gd name="T55" fmla="*/ 44 h 408"/>
                <a:gd name="T56" fmla="*/ 184 w 378"/>
                <a:gd name="T57" fmla="*/ 54 h 408"/>
                <a:gd name="T58" fmla="*/ 184 w 378"/>
                <a:gd name="T59" fmla="*/ 44 h 408"/>
                <a:gd name="T60" fmla="*/ 201 w 378"/>
                <a:gd name="T61" fmla="*/ 37 h 408"/>
                <a:gd name="T62" fmla="*/ 217 w 378"/>
                <a:gd name="T63" fmla="*/ 28 h 408"/>
                <a:gd name="T64" fmla="*/ 238 w 378"/>
                <a:gd name="T65" fmla="*/ 21 h 408"/>
                <a:gd name="T66" fmla="*/ 255 w 378"/>
                <a:gd name="T67" fmla="*/ 28 h 408"/>
                <a:gd name="T68" fmla="*/ 281 w 378"/>
                <a:gd name="T69" fmla="*/ 28 h 408"/>
                <a:gd name="T70" fmla="*/ 307 w 378"/>
                <a:gd name="T71" fmla="*/ 0 h 408"/>
                <a:gd name="T72" fmla="*/ 323 w 378"/>
                <a:gd name="T73" fmla="*/ 28 h 408"/>
                <a:gd name="T74" fmla="*/ 340 w 378"/>
                <a:gd name="T75" fmla="*/ 37 h 408"/>
                <a:gd name="T76" fmla="*/ 340 w 378"/>
                <a:gd name="T77" fmla="*/ 61 h 408"/>
                <a:gd name="T78" fmla="*/ 345 w 378"/>
                <a:gd name="T79" fmla="*/ 94 h 408"/>
                <a:gd name="T80" fmla="*/ 361 w 378"/>
                <a:gd name="T81" fmla="*/ 99 h 408"/>
                <a:gd name="T82" fmla="*/ 373 w 378"/>
                <a:gd name="T83" fmla="*/ 127 h 408"/>
                <a:gd name="T84" fmla="*/ 378 w 378"/>
                <a:gd name="T85" fmla="*/ 165 h 408"/>
                <a:gd name="T86" fmla="*/ 378 w 378"/>
                <a:gd name="T87" fmla="*/ 181 h 408"/>
                <a:gd name="T88" fmla="*/ 361 w 378"/>
                <a:gd name="T89" fmla="*/ 203 h 408"/>
                <a:gd name="T90" fmla="*/ 373 w 378"/>
                <a:gd name="T91" fmla="*/ 210 h 408"/>
                <a:gd name="T92" fmla="*/ 345 w 378"/>
                <a:gd name="T93" fmla="*/ 219 h 408"/>
                <a:gd name="T94" fmla="*/ 340 w 378"/>
                <a:gd name="T95" fmla="*/ 243 h 408"/>
                <a:gd name="T96" fmla="*/ 323 w 378"/>
                <a:gd name="T97" fmla="*/ 259 h 408"/>
                <a:gd name="T98" fmla="*/ 302 w 378"/>
                <a:gd name="T99" fmla="*/ 297 h 408"/>
                <a:gd name="T100" fmla="*/ 307 w 378"/>
                <a:gd name="T101" fmla="*/ 314 h 408"/>
                <a:gd name="T102" fmla="*/ 302 w 378"/>
                <a:gd name="T103" fmla="*/ 375 h 408"/>
                <a:gd name="T104" fmla="*/ 231 w 378"/>
                <a:gd name="T105" fmla="*/ 375 h 408"/>
                <a:gd name="T106" fmla="*/ 231 w 378"/>
                <a:gd name="T107" fmla="*/ 375 h 408"/>
                <a:gd name="T108" fmla="*/ 231 w 378"/>
                <a:gd name="T109" fmla="*/ 375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8" h="408">
                  <a:moveTo>
                    <a:pt x="231" y="375"/>
                  </a:moveTo>
                  <a:lnTo>
                    <a:pt x="87" y="375"/>
                  </a:lnTo>
                  <a:lnTo>
                    <a:pt x="66" y="375"/>
                  </a:lnTo>
                  <a:lnTo>
                    <a:pt x="54" y="375"/>
                  </a:lnTo>
                  <a:lnTo>
                    <a:pt x="33" y="408"/>
                  </a:lnTo>
                  <a:lnTo>
                    <a:pt x="16" y="401"/>
                  </a:lnTo>
                  <a:lnTo>
                    <a:pt x="0" y="401"/>
                  </a:lnTo>
                  <a:lnTo>
                    <a:pt x="0" y="368"/>
                  </a:lnTo>
                  <a:lnTo>
                    <a:pt x="12" y="297"/>
                  </a:lnTo>
                  <a:lnTo>
                    <a:pt x="21" y="264"/>
                  </a:lnTo>
                  <a:lnTo>
                    <a:pt x="21" y="243"/>
                  </a:lnTo>
                  <a:lnTo>
                    <a:pt x="38" y="236"/>
                  </a:lnTo>
                  <a:lnTo>
                    <a:pt x="49" y="219"/>
                  </a:lnTo>
                  <a:lnTo>
                    <a:pt x="66" y="219"/>
                  </a:lnTo>
                  <a:lnTo>
                    <a:pt x="125" y="148"/>
                  </a:lnTo>
                  <a:lnTo>
                    <a:pt x="104" y="132"/>
                  </a:lnTo>
                  <a:lnTo>
                    <a:pt x="92" y="132"/>
                  </a:lnTo>
                  <a:lnTo>
                    <a:pt x="75" y="127"/>
                  </a:lnTo>
                  <a:lnTo>
                    <a:pt x="92" y="99"/>
                  </a:lnTo>
                  <a:lnTo>
                    <a:pt x="87" y="82"/>
                  </a:lnTo>
                  <a:lnTo>
                    <a:pt x="92" y="61"/>
                  </a:lnTo>
                  <a:lnTo>
                    <a:pt x="92" y="54"/>
                  </a:lnTo>
                  <a:lnTo>
                    <a:pt x="92" y="54"/>
                  </a:lnTo>
                  <a:lnTo>
                    <a:pt x="104" y="37"/>
                  </a:lnTo>
                  <a:lnTo>
                    <a:pt x="108" y="28"/>
                  </a:lnTo>
                  <a:lnTo>
                    <a:pt x="142" y="37"/>
                  </a:lnTo>
                  <a:lnTo>
                    <a:pt x="156" y="28"/>
                  </a:lnTo>
                  <a:lnTo>
                    <a:pt x="163" y="44"/>
                  </a:lnTo>
                  <a:lnTo>
                    <a:pt x="184" y="54"/>
                  </a:lnTo>
                  <a:lnTo>
                    <a:pt x="184" y="44"/>
                  </a:lnTo>
                  <a:lnTo>
                    <a:pt x="201" y="37"/>
                  </a:lnTo>
                  <a:lnTo>
                    <a:pt x="217" y="28"/>
                  </a:lnTo>
                  <a:lnTo>
                    <a:pt x="238" y="21"/>
                  </a:lnTo>
                  <a:lnTo>
                    <a:pt x="255" y="28"/>
                  </a:lnTo>
                  <a:lnTo>
                    <a:pt x="281" y="28"/>
                  </a:lnTo>
                  <a:lnTo>
                    <a:pt x="307" y="0"/>
                  </a:lnTo>
                  <a:lnTo>
                    <a:pt x="323" y="28"/>
                  </a:lnTo>
                  <a:lnTo>
                    <a:pt x="340" y="37"/>
                  </a:lnTo>
                  <a:lnTo>
                    <a:pt x="340" y="61"/>
                  </a:lnTo>
                  <a:lnTo>
                    <a:pt x="345" y="94"/>
                  </a:lnTo>
                  <a:lnTo>
                    <a:pt x="361" y="99"/>
                  </a:lnTo>
                  <a:lnTo>
                    <a:pt x="373" y="127"/>
                  </a:lnTo>
                  <a:lnTo>
                    <a:pt x="378" y="165"/>
                  </a:lnTo>
                  <a:lnTo>
                    <a:pt x="378" y="181"/>
                  </a:lnTo>
                  <a:lnTo>
                    <a:pt x="361" y="203"/>
                  </a:lnTo>
                  <a:lnTo>
                    <a:pt x="373" y="210"/>
                  </a:lnTo>
                  <a:lnTo>
                    <a:pt x="345" y="219"/>
                  </a:lnTo>
                  <a:lnTo>
                    <a:pt x="340" y="243"/>
                  </a:lnTo>
                  <a:lnTo>
                    <a:pt x="323" y="259"/>
                  </a:lnTo>
                  <a:lnTo>
                    <a:pt x="302" y="297"/>
                  </a:lnTo>
                  <a:lnTo>
                    <a:pt x="307" y="314"/>
                  </a:lnTo>
                  <a:lnTo>
                    <a:pt x="302" y="375"/>
                  </a:lnTo>
                  <a:lnTo>
                    <a:pt x="231" y="375"/>
                  </a:lnTo>
                  <a:lnTo>
                    <a:pt x="231" y="375"/>
                  </a:lnTo>
                  <a:lnTo>
                    <a:pt x="231" y="375"/>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8" name="Freeform 580">
              <a:extLst>
                <a:ext uri="{FF2B5EF4-FFF2-40B4-BE49-F238E27FC236}">
                  <a16:creationId xmlns:a16="http://schemas.microsoft.com/office/drawing/2014/main" id="{40A6C34A-3D85-4083-8FB9-E9FC9310BBBC}"/>
                </a:ext>
              </a:extLst>
            </p:cNvPr>
            <p:cNvSpPr>
              <a:spLocks noEditPoints="1"/>
            </p:cNvSpPr>
            <p:nvPr/>
          </p:nvSpPr>
          <p:spPr bwMode="gray">
            <a:xfrm>
              <a:off x="13556625" y="2468431"/>
              <a:ext cx="229435" cy="356426"/>
            </a:xfrm>
            <a:custGeom>
              <a:avLst/>
              <a:gdLst>
                <a:gd name="T0" fmla="*/ 494 w 701"/>
                <a:gd name="T1" fmla="*/ 38 h 1089"/>
                <a:gd name="T2" fmla="*/ 494 w 701"/>
                <a:gd name="T3" fmla="*/ 71 h 1089"/>
                <a:gd name="T4" fmla="*/ 472 w 701"/>
                <a:gd name="T5" fmla="*/ 71 h 1089"/>
                <a:gd name="T6" fmla="*/ 489 w 701"/>
                <a:gd name="T7" fmla="*/ 62 h 1089"/>
                <a:gd name="T8" fmla="*/ 375 w 701"/>
                <a:gd name="T9" fmla="*/ 206 h 1089"/>
                <a:gd name="T10" fmla="*/ 347 w 701"/>
                <a:gd name="T11" fmla="*/ 222 h 1089"/>
                <a:gd name="T12" fmla="*/ 375 w 701"/>
                <a:gd name="T13" fmla="*/ 215 h 1089"/>
                <a:gd name="T14" fmla="*/ 201 w 701"/>
                <a:gd name="T15" fmla="*/ 907 h 1089"/>
                <a:gd name="T16" fmla="*/ 342 w 701"/>
                <a:gd name="T17" fmla="*/ 770 h 1089"/>
                <a:gd name="T18" fmla="*/ 375 w 701"/>
                <a:gd name="T19" fmla="*/ 737 h 1089"/>
                <a:gd name="T20" fmla="*/ 359 w 701"/>
                <a:gd name="T21" fmla="*/ 610 h 1089"/>
                <a:gd name="T22" fmla="*/ 234 w 701"/>
                <a:gd name="T23" fmla="*/ 643 h 1089"/>
                <a:gd name="T24" fmla="*/ 234 w 701"/>
                <a:gd name="T25" fmla="*/ 503 h 1089"/>
                <a:gd name="T26" fmla="*/ 217 w 701"/>
                <a:gd name="T27" fmla="*/ 482 h 1089"/>
                <a:gd name="T28" fmla="*/ 179 w 701"/>
                <a:gd name="T29" fmla="*/ 499 h 1089"/>
                <a:gd name="T30" fmla="*/ 196 w 701"/>
                <a:gd name="T31" fmla="*/ 459 h 1089"/>
                <a:gd name="T32" fmla="*/ 163 w 701"/>
                <a:gd name="T33" fmla="*/ 425 h 1089"/>
                <a:gd name="T34" fmla="*/ 170 w 701"/>
                <a:gd name="T35" fmla="*/ 392 h 1089"/>
                <a:gd name="T36" fmla="*/ 163 w 701"/>
                <a:gd name="T37" fmla="*/ 350 h 1089"/>
                <a:gd name="T38" fmla="*/ 184 w 701"/>
                <a:gd name="T39" fmla="*/ 293 h 1089"/>
                <a:gd name="T40" fmla="*/ 250 w 701"/>
                <a:gd name="T41" fmla="*/ 239 h 1089"/>
                <a:gd name="T42" fmla="*/ 288 w 701"/>
                <a:gd name="T43" fmla="*/ 317 h 1089"/>
                <a:gd name="T44" fmla="*/ 430 w 701"/>
                <a:gd name="T45" fmla="*/ 333 h 1089"/>
                <a:gd name="T46" fmla="*/ 375 w 701"/>
                <a:gd name="T47" fmla="*/ 459 h 1089"/>
                <a:gd name="T48" fmla="*/ 456 w 701"/>
                <a:gd name="T49" fmla="*/ 548 h 1089"/>
                <a:gd name="T50" fmla="*/ 581 w 701"/>
                <a:gd name="T51" fmla="*/ 754 h 1089"/>
                <a:gd name="T52" fmla="*/ 614 w 701"/>
                <a:gd name="T53" fmla="*/ 808 h 1089"/>
                <a:gd name="T54" fmla="*/ 668 w 701"/>
                <a:gd name="T55" fmla="*/ 907 h 1089"/>
                <a:gd name="T56" fmla="*/ 614 w 701"/>
                <a:gd name="T57" fmla="*/ 957 h 1089"/>
                <a:gd name="T58" fmla="*/ 522 w 701"/>
                <a:gd name="T59" fmla="*/ 1018 h 1089"/>
                <a:gd name="T60" fmla="*/ 364 w 701"/>
                <a:gd name="T61" fmla="*/ 1018 h 1089"/>
                <a:gd name="T62" fmla="*/ 212 w 701"/>
                <a:gd name="T63" fmla="*/ 1089 h 1089"/>
                <a:gd name="T64" fmla="*/ 255 w 701"/>
                <a:gd name="T65" fmla="*/ 1018 h 1089"/>
                <a:gd name="T66" fmla="*/ 342 w 701"/>
                <a:gd name="T67" fmla="*/ 957 h 1089"/>
                <a:gd name="T68" fmla="*/ 217 w 701"/>
                <a:gd name="T69" fmla="*/ 936 h 1089"/>
                <a:gd name="T70" fmla="*/ 104 w 701"/>
                <a:gd name="T71" fmla="*/ 317 h 1089"/>
                <a:gd name="T72" fmla="*/ 87 w 701"/>
                <a:gd name="T73" fmla="*/ 277 h 1089"/>
                <a:gd name="T74" fmla="*/ 142 w 701"/>
                <a:gd name="T75" fmla="*/ 277 h 1089"/>
                <a:gd name="T76" fmla="*/ 38 w 701"/>
                <a:gd name="T77" fmla="*/ 338 h 1089"/>
                <a:gd name="T78" fmla="*/ 146 w 701"/>
                <a:gd name="T79" fmla="*/ 388 h 1089"/>
                <a:gd name="T80" fmla="*/ 108 w 701"/>
                <a:gd name="T81" fmla="*/ 338 h 1089"/>
                <a:gd name="T82" fmla="*/ 163 w 701"/>
                <a:gd name="T83" fmla="*/ 392 h 1089"/>
                <a:gd name="T84" fmla="*/ 61 w 701"/>
                <a:gd name="T85" fmla="*/ 392 h 1089"/>
                <a:gd name="T86" fmla="*/ 49 w 701"/>
                <a:gd name="T87" fmla="*/ 409 h 1089"/>
                <a:gd name="T88" fmla="*/ 116 w 701"/>
                <a:gd name="T89" fmla="*/ 404 h 1089"/>
                <a:gd name="T90" fmla="*/ 142 w 701"/>
                <a:gd name="T91" fmla="*/ 421 h 1089"/>
                <a:gd name="T92" fmla="*/ 146 w 701"/>
                <a:gd name="T93" fmla="*/ 466 h 1089"/>
                <a:gd name="T94" fmla="*/ 78 w 701"/>
                <a:gd name="T95" fmla="*/ 459 h 1089"/>
                <a:gd name="T96" fmla="*/ 170 w 701"/>
                <a:gd name="T97" fmla="*/ 492 h 1089"/>
                <a:gd name="T98" fmla="*/ 142 w 701"/>
                <a:gd name="T99" fmla="*/ 503 h 1089"/>
                <a:gd name="T100" fmla="*/ 130 w 701"/>
                <a:gd name="T101" fmla="*/ 548 h 1089"/>
                <a:gd name="T102" fmla="*/ 217 w 701"/>
                <a:gd name="T103" fmla="*/ 536 h 1089"/>
                <a:gd name="T104" fmla="*/ 212 w 701"/>
                <a:gd name="T105" fmla="*/ 560 h 1089"/>
                <a:gd name="T106" fmla="*/ 38 w 701"/>
                <a:gd name="T107" fmla="*/ 631 h 1089"/>
                <a:gd name="T108" fmla="*/ 158 w 701"/>
                <a:gd name="T109" fmla="*/ 647 h 1089"/>
                <a:gd name="T110" fmla="*/ 158 w 701"/>
                <a:gd name="T111" fmla="*/ 697 h 1089"/>
                <a:gd name="T112" fmla="*/ 250 w 701"/>
                <a:gd name="T113" fmla="*/ 770 h 1089"/>
                <a:gd name="T114" fmla="*/ 635 w 701"/>
                <a:gd name="T115" fmla="*/ 957 h 1089"/>
                <a:gd name="T116" fmla="*/ 484 w 701"/>
                <a:gd name="T117" fmla="*/ 1035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1" h="1089">
                  <a:moveTo>
                    <a:pt x="510" y="17"/>
                  </a:moveTo>
                  <a:lnTo>
                    <a:pt x="505" y="17"/>
                  </a:lnTo>
                  <a:lnTo>
                    <a:pt x="510" y="0"/>
                  </a:lnTo>
                  <a:lnTo>
                    <a:pt x="522" y="0"/>
                  </a:lnTo>
                  <a:lnTo>
                    <a:pt x="510" y="17"/>
                  </a:lnTo>
                  <a:lnTo>
                    <a:pt x="510" y="17"/>
                  </a:lnTo>
                  <a:lnTo>
                    <a:pt x="510" y="17"/>
                  </a:lnTo>
                  <a:close/>
                  <a:moveTo>
                    <a:pt x="494" y="38"/>
                  </a:moveTo>
                  <a:lnTo>
                    <a:pt x="489" y="22"/>
                  </a:lnTo>
                  <a:lnTo>
                    <a:pt x="505" y="5"/>
                  </a:lnTo>
                  <a:lnTo>
                    <a:pt x="505" y="33"/>
                  </a:lnTo>
                  <a:lnTo>
                    <a:pt x="494" y="38"/>
                  </a:lnTo>
                  <a:lnTo>
                    <a:pt x="494" y="38"/>
                  </a:lnTo>
                  <a:lnTo>
                    <a:pt x="494" y="38"/>
                  </a:lnTo>
                  <a:close/>
                  <a:moveTo>
                    <a:pt x="489" y="62"/>
                  </a:moveTo>
                  <a:lnTo>
                    <a:pt x="494" y="71"/>
                  </a:lnTo>
                  <a:lnTo>
                    <a:pt x="489" y="78"/>
                  </a:lnTo>
                  <a:lnTo>
                    <a:pt x="484" y="99"/>
                  </a:lnTo>
                  <a:lnTo>
                    <a:pt x="472" y="99"/>
                  </a:lnTo>
                  <a:lnTo>
                    <a:pt x="489" y="78"/>
                  </a:lnTo>
                  <a:lnTo>
                    <a:pt x="484" y="62"/>
                  </a:lnTo>
                  <a:lnTo>
                    <a:pt x="472" y="62"/>
                  </a:lnTo>
                  <a:lnTo>
                    <a:pt x="484" y="71"/>
                  </a:lnTo>
                  <a:lnTo>
                    <a:pt x="472" y="71"/>
                  </a:lnTo>
                  <a:lnTo>
                    <a:pt x="456" y="55"/>
                  </a:lnTo>
                  <a:lnTo>
                    <a:pt x="484" y="45"/>
                  </a:lnTo>
                  <a:lnTo>
                    <a:pt x="456" y="38"/>
                  </a:lnTo>
                  <a:lnTo>
                    <a:pt x="484" y="22"/>
                  </a:lnTo>
                  <a:lnTo>
                    <a:pt x="484" y="38"/>
                  </a:lnTo>
                  <a:lnTo>
                    <a:pt x="505" y="38"/>
                  </a:lnTo>
                  <a:lnTo>
                    <a:pt x="489" y="62"/>
                  </a:lnTo>
                  <a:lnTo>
                    <a:pt x="489" y="62"/>
                  </a:lnTo>
                  <a:lnTo>
                    <a:pt x="489" y="62"/>
                  </a:lnTo>
                  <a:close/>
                  <a:moveTo>
                    <a:pt x="385" y="173"/>
                  </a:moveTo>
                  <a:lnTo>
                    <a:pt x="385" y="166"/>
                  </a:lnTo>
                  <a:lnTo>
                    <a:pt x="401" y="166"/>
                  </a:lnTo>
                  <a:lnTo>
                    <a:pt x="385" y="173"/>
                  </a:lnTo>
                  <a:lnTo>
                    <a:pt x="385" y="173"/>
                  </a:lnTo>
                  <a:lnTo>
                    <a:pt x="385" y="173"/>
                  </a:lnTo>
                  <a:close/>
                  <a:moveTo>
                    <a:pt x="375" y="206"/>
                  </a:moveTo>
                  <a:lnTo>
                    <a:pt x="342" y="199"/>
                  </a:lnTo>
                  <a:lnTo>
                    <a:pt x="342" y="182"/>
                  </a:lnTo>
                  <a:lnTo>
                    <a:pt x="359" y="182"/>
                  </a:lnTo>
                  <a:lnTo>
                    <a:pt x="380" y="206"/>
                  </a:lnTo>
                  <a:lnTo>
                    <a:pt x="375" y="206"/>
                  </a:lnTo>
                  <a:lnTo>
                    <a:pt x="375" y="206"/>
                  </a:lnTo>
                  <a:lnTo>
                    <a:pt x="375" y="206"/>
                  </a:lnTo>
                  <a:close/>
                  <a:moveTo>
                    <a:pt x="347" y="222"/>
                  </a:moveTo>
                  <a:lnTo>
                    <a:pt x="331" y="206"/>
                  </a:lnTo>
                  <a:lnTo>
                    <a:pt x="347" y="215"/>
                  </a:lnTo>
                  <a:lnTo>
                    <a:pt x="347" y="222"/>
                  </a:lnTo>
                  <a:lnTo>
                    <a:pt x="347" y="222"/>
                  </a:lnTo>
                  <a:lnTo>
                    <a:pt x="347" y="222"/>
                  </a:lnTo>
                  <a:close/>
                  <a:moveTo>
                    <a:pt x="364" y="222"/>
                  </a:moveTo>
                  <a:lnTo>
                    <a:pt x="359" y="215"/>
                  </a:lnTo>
                  <a:lnTo>
                    <a:pt x="375" y="215"/>
                  </a:lnTo>
                  <a:lnTo>
                    <a:pt x="364" y="222"/>
                  </a:lnTo>
                  <a:lnTo>
                    <a:pt x="364" y="222"/>
                  </a:lnTo>
                  <a:lnTo>
                    <a:pt x="364" y="222"/>
                  </a:lnTo>
                  <a:close/>
                  <a:moveTo>
                    <a:pt x="217" y="936"/>
                  </a:moveTo>
                  <a:lnTo>
                    <a:pt x="234" y="924"/>
                  </a:lnTo>
                  <a:lnTo>
                    <a:pt x="201" y="924"/>
                  </a:lnTo>
                  <a:lnTo>
                    <a:pt x="217" y="924"/>
                  </a:lnTo>
                  <a:lnTo>
                    <a:pt x="201" y="907"/>
                  </a:lnTo>
                  <a:lnTo>
                    <a:pt x="276" y="879"/>
                  </a:lnTo>
                  <a:lnTo>
                    <a:pt x="288" y="853"/>
                  </a:lnTo>
                  <a:lnTo>
                    <a:pt x="276" y="813"/>
                  </a:lnTo>
                  <a:lnTo>
                    <a:pt x="255" y="825"/>
                  </a:lnTo>
                  <a:lnTo>
                    <a:pt x="238" y="825"/>
                  </a:lnTo>
                  <a:lnTo>
                    <a:pt x="238" y="825"/>
                  </a:lnTo>
                  <a:lnTo>
                    <a:pt x="276" y="780"/>
                  </a:lnTo>
                  <a:lnTo>
                    <a:pt x="342" y="770"/>
                  </a:lnTo>
                  <a:lnTo>
                    <a:pt x="359" y="780"/>
                  </a:lnTo>
                  <a:lnTo>
                    <a:pt x="347" y="770"/>
                  </a:lnTo>
                  <a:lnTo>
                    <a:pt x="359" y="770"/>
                  </a:lnTo>
                  <a:lnTo>
                    <a:pt x="375" y="775"/>
                  </a:lnTo>
                  <a:lnTo>
                    <a:pt x="380" y="770"/>
                  </a:lnTo>
                  <a:lnTo>
                    <a:pt x="364" y="770"/>
                  </a:lnTo>
                  <a:lnTo>
                    <a:pt x="359" y="754"/>
                  </a:lnTo>
                  <a:lnTo>
                    <a:pt x="375" y="737"/>
                  </a:lnTo>
                  <a:lnTo>
                    <a:pt x="359" y="725"/>
                  </a:lnTo>
                  <a:lnTo>
                    <a:pt x="359" y="714"/>
                  </a:lnTo>
                  <a:lnTo>
                    <a:pt x="364" y="714"/>
                  </a:lnTo>
                  <a:lnTo>
                    <a:pt x="375" y="681"/>
                  </a:lnTo>
                  <a:lnTo>
                    <a:pt x="347" y="697"/>
                  </a:lnTo>
                  <a:lnTo>
                    <a:pt x="321" y="659"/>
                  </a:lnTo>
                  <a:lnTo>
                    <a:pt x="331" y="614"/>
                  </a:lnTo>
                  <a:lnTo>
                    <a:pt x="359" y="610"/>
                  </a:lnTo>
                  <a:lnTo>
                    <a:pt x="326" y="610"/>
                  </a:lnTo>
                  <a:lnTo>
                    <a:pt x="321" y="614"/>
                  </a:lnTo>
                  <a:lnTo>
                    <a:pt x="293" y="631"/>
                  </a:lnTo>
                  <a:lnTo>
                    <a:pt x="267" y="614"/>
                  </a:lnTo>
                  <a:lnTo>
                    <a:pt x="267" y="643"/>
                  </a:lnTo>
                  <a:lnTo>
                    <a:pt x="234" y="614"/>
                  </a:lnTo>
                  <a:lnTo>
                    <a:pt x="222" y="626"/>
                  </a:lnTo>
                  <a:lnTo>
                    <a:pt x="234" y="643"/>
                  </a:lnTo>
                  <a:lnTo>
                    <a:pt x="222" y="643"/>
                  </a:lnTo>
                  <a:lnTo>
                    <a:pt x="212" y="614"/>
                  </a:lnTo>
                  <a:lnTo>
                    <a:pt x="212" y="610"/>
                  </a:lnTo>
                  <a:lnTo>
                    <a:pt x="250" y="553"/>
                  </a:lnTo>
                  <a:lnTo>
                    <a:pt x="222" y="536"/>
                  </a:lnTo>
                  <a:lnTo>
                    <a:pt x="234" y="515"/>
                  </a:lnTo>
                  <a:lnTo>
                    <a:pt x="255" y="515"/>
                  </a:lnTo>
                  <a:lnTo>
                    <a:pt x="234" y="503"/>
                  </a:lnTo>
                  <a:lnTo>
                    <a:pt x="234" y="492"/>
                  </a:lnTo>
                  <a:lnTo>
                    <a:pt x="222" y="520"/>
                  </a:lnTo>
                  <a:lnTo>
                    <a:pt x="212" y="515"/>
                  </a:lnTo>
                  <a:lnTo>
                    <a:pt x="212" y="520"/>
                  </a:lnTo>
                  <a:lnTo>
                    <a:pt x="201" y="520"/>
                  </a:lnTo>
                  <a:lnTo>
                    <a:pt x="201" y="503"/>
                  </a:lnTo>
                  <a:lnTo>
                    <a:pt x="222" y="482"/>
                  </a:lnTo>
                  <a:lnTo>
                    <a:pt x="217" y="482"/>
                  </a:lnTo>
                  <a:lnTo>
                    <a:pt x="196" y="503"/>
                  </a:lnTo>
                  <a:lnTo>
                    <a:pt x="196" y="532"/>
                  </a:lnTo>
                  <a:lnTo>
                    <a:pt x="184" y="548"/>
                  </a:lnTo>
                  <a:lnTo>
                    <a:pt x="184" y="570"/>
                  </a:lnTo>
                  <a:lnTo>
                    <a:pt x="163" y="577"/>
                  </a:lnTo>
                  <a:lnTo>
                    <a:pt x="179" y="532"/>
                  </a:lnTo>
                  <a:lnTo>
                    <a:pt x="170" y="515"/>
                  </a:lnTo>
                  <a:lnTo>
                    <a:pt x="179" y="499"/>
                  </a:lnTo>
                  <a:lnTo>
                    <a:pt x="170" y="503"/>
                  </a:lnTo>
                  <a:lnTo>
                    <a:pt x="184" y="492"/>
                  </a:lnTo>
                  <a:lnTo>
                    <a:pt x="179" y="492"/>
                  </a:lnTo>
                  <a:lnTo>
                    <a:pt x="179" y="475"/>
                  </a:lnTo>
                  <a:lnTo>
                    <a:pt x="217" y="449"/>
                  </a:lnTo>
                  <a:lnTo>
                    <a:pt x="217" y="449"/>
                  </a:lnTo>
                  <a:lnTo>
                    <a:pt x="212" y="459"/>
                  </a:lnTo>
                  <a:lnTo>
                    <a:pt x="196" y="459"/>
                  </a:lnTo>
                  <a:lnTo>
                    <a:pt x="201" y="449"/>
                  </a:lnTo>
                  <a:lnTo>
                    <a:pt x="196" y="442"/>
                  </a:lnTo>
                  <a:lnTo>
                    <a:pt x="212" y="421"/>
                  </a:lnTo>
                  <a:lnTo>
                    <a:pt x="170" y="459"/>
                  </a:lnTo>
                  <a:lnTo>
                    <a:pt x="146" y="442"/>
                  </a:lnTo>
                  <a:lnTo>
                    <a:pt x="184" y="437"/>
                  </a:lnTo>
                  <a:lnTo>
                    <a:pt x="130" y="437"/>
                  </a:lnTo>
                  <a:lnTo>
                    <a:pt x="163" y="425"/>
                  </a:lnTo>
                  <a:lnTo>
                    <a:pt x="163" y="425"/>
                  </a:lnTo>
                  <a:lnTo>
                    <a:pt x="163" y="421"/>
                  </a:lnTo>
                  <a:lnTo>
                    <a:pt x="179" y="421"/>
                  </a:lnTo>
                  <a:lnTo>
                    <a:pt x="158" y="409"/>
                  </a:lnTo>
                  <a:lnTo>
                    <a:pt x="163" y="404"/>
                  </a:lnTo>
                  <a:lnTo>
                    <a:pt x="184" y="404"/>
                  </a:lnTo>
                  <a:lnTo>
                    <a:pt x="163" y="392"/>
                  </a:lnTo>
                  <a:lnTo>
                    <a:pt x="170" y="392"/>
                  </a:lnTo>
                  <a:lnTo>
                    <a:pt x="196" y="392"/>
                  </a:lnTo>
                  <a:lnTo>
                    <a:pt x="179" y="388"/>
                  </a:lnTo>
                  <a:lnTo>
                    <a:pt x="179" y="383"/>
                  </a:lnTo>
                  <a:lnTo>
                    <a:pt x="196" y="383"/>
                  </a:lnTo>
                  <a:lnTo>
                    <a:pt x="179" y="371"/>
                  </a:lnTo>
                  <a:lnTo>
                    <a:pt x="184" y="366"/>
                  </a:lnTo>
                  <a:lnTo>
                    <a:pt x="163" y="366"/>
                  </a:lnTo>
                  <a:lnTo>
                    <a:pt x="163" y="350"/>
                  </a:lnTo>
                  <a:lnTo>
                    <a:pt x="184" y="350"/>
                  </a:lnTo>
                  <a:lnTo>
                    <a:pt x="163" y="338"/>
                  </a:lnTo>
                  <a:lnTo>
                    <a:pt x="163" y="317"/>
                  </a:lnTo>
                  <a:lnTo>
                    <a:pt x="170" y="317"/>
                  </a:lnTo>
                  <a:lnTo>
                    <a:pt x="179" y="326"/>
                  </a:lnTo>
                  <a:lnTo>
                    <a:pt x="179" y="310"/>
                  </a:lnTo>
                  <a:lnTo>
                    <a:pt x="217" y="317"/>
                  </a:lnTo>
                  <a:lnTo>
                    <a:pt x="184" y="293"/>
                  </a:lnTo>
                  <a:lnTo>
                    <a:pt x="201" y="293"/>
                  </a:lnTo>
                  <a:lnTo>
                    <a:pt x="196" y="277"/>
                  </a:lnTo>
                  <a:lnTo>
                    <a:pt x="217" y="277"/>
                  </a:lnTo>
                  <a:lnTo>
                    <a:pt x="212" y="260"/>
                  </a:lnTo>
                  <a:lnTo>
                    <a:pt x="222" y="239"/>
                  </a:lnTo>
                  <a:lnTo>
                    <a:pt x="238" y="244"/>
                  </a:lnTo>
                  <a:lnTo>
                    <a:pt x="238" y="255"/>
                  </a:lnTo>
                  <a:lnTo>
                    <a:pt x="250" y="239"/>
                  </a:lnTo>
                  <a:lnTo>
                    <a:pt x="271" y="244"/>
                  </a:lnTo>
                  <a:lnTo>
                    <a:pt x="359" y="227"/>
                  </a:lnTo>
                  <a:lnTo>
                    <a:pt x="359" y="255"/>
                  </a:lnTo>
                  <a:lnTo>
                    <a:pt x="347" y="272"/>
                  </a:lnTo>
                  <a:lnTo>
                    <a:pt x="293" y="310"/>
                  </a:lnTo>
                  <a:lnTo>
                    <a:pt x="288" y="317"/>
                  </a:lnTo>
                  <a:lnTo>
                    <a:pt x="267" y="310"/>
                  </a:lnTo>
                  <a:lnTo>
                    <a:pt x="288" y="317"/>
                  </a:lnTo>
                  <a:lnTo>
                    <a:pt x="309" y="317"/>
                  </a:lnTo>
                  <a:lnTo>
                    <a:pt x="293" y="333"/>
                  </a:lnTo>
                  <a:lnTo>
                    <a:pt x="271" y="333"/>
                  </a:lnTo>
                  <a:lnTo>
                    <a:pt x="267" y="350"/>
                  </a:lnTo>
                  <a:lnTo>
                    <a:pt x="288" y="338"/>
                  </a:lnTo>
                  <a:lnTo>
                    <a:pt x="276" y="355"/>
                  </a:lnTo>
                  <a:lnTo>
                    <a:pt x="326" y="333"/>
                  </a:lnTo>
                  <a:lnTo>
                    <a:pt x="430" y="333"/>
                  </a:lnTo>
                  <a:lnTo>
                    <a:pt x="439" y="333"/>
                  </a:lnTo>
                  <a:lnTo>
                    <a:pt x="451" y="355"/>
                  </a:lnTo>
                  <a:lnTo>
                    <a:pt x="434" y="371"/>
                  </a:lnTo>
                  <a:lnTo>
                    <a:pt x="418" y="421"/>
                  </a:lnTo>
                  <a:lnTo>
                    <a:pt x="397" y="437"/>
                  </a:lnTo>
                  <a:lnTo>
                    <a:pt x="397" y="449"/>
                  </a:lnTo>
                  <a:lnTo>
                    <a:pt x="342" y="466"/>
                  </a:lnTo>
                  <a:lnTo>
                    <a:pt x="375" y="459"/>
                  </a:lnTo>
                  <a:lnTo>
                    <a:pt x="397" y="482"/>
                  </a:lnTo>
                  <a:lnTo>
                    <a:pt x="331" y="503"/>
                  </a:lnTo>
                  <a:lnTo>
                    <a:pt x="309" y="503"/>
                  </a:lnTo>
                  <a:lnTo>
                    <a:pt x="359" y="515"/>
                  </a:lnTo>
                  <a:lnTo>
                    <a:pt x="385" y="499"/>
                  </a:lnTo>
                  <a:lnTo>
                    <a:pt x="430" y="520"/>
                  </a:lnTo>
                  <a:lnTo>
                    <a:pt x="439" y="548"/>
                  </a:lnTo>
                  <a:lnTo>
                    <a:pt x="456" y="548"/>
                  </a:lnTo>
                  <a:lnTo>
                    <a:pt x="484" y="631"/>
                  </a:lnTo>
                  <a:lnTo>
                    <a:pt x="489" y="643"/>
                  </a:lnTo>
                  <a:lnTo>
                    <a:pt x="538" y="659"/>
                  </a:lnTo>
                  <a:lnTo>
                    <a:pt x="548" y="681"/>
                  </a:lnTo>
                  <a:lnTo>
                    <a:pt x="564" y="697"/>
                  </a:lnTo>
                  <a:lnTo>
                    <a:pt x="560" y="702"/>
                  </a:lnTo>
                  <a:lnTo>
                    <a:pt x="581" y="742"/>
                  </a:lnTo>
                  <a:lnTo>
                    <a:pt x="581" y="754"/>
                  </a:lnTo>
                  <a:lnTo>
                    <a:pt x="560" y="737"/>
                  </a:lnTo>
                  <a:lnTo>
                    <a:pt x="522" y="737"/>
                  </a:lnTo>
                  <a:lnTo>
                    <a:pt x="548" y="737"/>
                  </a:lnTo>
                  <a:lnTo>
                    <a:pt x="593" y="770"/>
                  </a:lnTo>
                  <a:lnTo>
                    <a:pt x="597" y="792"/>
                  </a:lnTo>
                  <a:lnTo>
                    <a:pt x="576" y="813"/>
                  </a:lnTo>
                  <a:lnTo>
                    <a:pt x="597" y="825"/>
                  </a:lnTo>
                  <a:lnTo>
                    <a:pt x="614" y="808"/>
                  </a:lnTo>
                  <a:lnTo>
                    <a:pt x="635" y="808"/>
                  </a:lnTo>
                  <a:lnTo>
                    <a:pt x="668" y="813"/>
                  </a:lnTo>
                  <a:lnTo>
                    <a:pt x="690" y="829"/>
                  </a:lnTo>
                  <a:lnTo>
                    <a:pt x="701" y="853"/>
                  </a:lnTo>
                  <a:lnTo>
                    <a:pt x="685" y="891"/>
                  </a:lnTo>
                  <a:lnTo>
                    <a:pt x="668" y="907"/>
                  </a:lnTo>
                  <a:lnTo>
                    <a:pt x="657" y="903"/>
                  </a:lnTo>
                  <a:lnTo>
                    <a:pt x="668" y="907"/>
                  </a:lnTo>
                  <a:lnTo>
                    <a:pt x="657" y="919"/>
                  </a:lnTo>
                  <a:lnTo>
                    <a:pt x="647" y="919"/>
                  </a:lnTo>
                  <a:lnTo>
                    <a:pt x="619" y="924"/>
                  </a:lnTo>
                  <a:lnTo>
                    <a:pt x="635" y="924"/>
                  </a:lnTo>
                  <a:lnTo>
                    <a:pt x="647" y="940"/>
                  </a:lnTo>
                  <a:lnTo>
                    <a:pt x="597" y="957"/>
                  </a:lnTo>
                  <a:lnTo>
                    <a:pt x="619" y="947"/>
                  </a:lnTo>
                  <a:lnTo>
                    <a:pt x="614" y="957"/>
                  </a:lnTo>
                  <a:lnTo>
                    <a:pt x="635" y="964"/>
                  </a:lnTo>
                  <a:lnTo>
                    <a:pt x="673" y="957"/>
                  </a:lnTo>
                  <a:lnTo>
                    <a:pt x="673" y="981"/>
                  </a:lnTo>
                  <a:lnTo>
                    <a:pt x="647" y="990"/>
                  </a:lnTo>
                  <a:lnTo>
                    <a:pt x="647" y="1002"/>
                  </a:lnTo>
                  <a:lnTo>
                    <a:pt x="593" y="1018"/>
                  </a:lnTo>
                  <a:lnTo>
                    <a:pt x="560" y="1014"/>
                  </a:lnTo>
                  <a:lnTo>
                    <a:pt x="522" y="1018"/>
                  </a:lnTo>
                  <a:lnTo>
                    <a:pt x="510" y="1014"/>
                  </a:lnTo>
                  <a:lnTo>
                    <a:pt x="494" y="1014"/>
                  </a:lnTo>
                  <a:lnTo>
                    <a:pt x="494" y="1018"/>
                  </a:lnTo>
                  <a:lnTo>
                    <a:pt x="430" y="1018"/>
                  </a:lnTo>
                  <a:lnTo>
                    <a:pt x="434" y="1035"/>
                  </a:lnTo>
                  <a:lnTo>
                    <a:pt x="401" y="1030"/>
                  </a:lnTo>
                  <a:lnTo>
                    <a:pt x="401" y="1035"/>
                  </a:lnTo>
                  <a:lnTo>
                    <a:pt x="364" y="1018"/>
                  </a:lnTo>
                  <a:lnTo>
                    <a:pt x="331" y="1035"/>
                  </a:lnTo>
                  <a:lnTo>
                    <a:pt x="309" y="1068"/>
                  </a:lnTo>
                  <a:lnTo>
                    <a:pt x="276" y="1051"/>
                  </a:lnTo>
                  <a:lnTo>
                    <a:pt x="267" y="1056"/>
                  </a:lnTo>
                  <a:lnTo>
                    <a:pt x="238" y="1056"/>
                  </a:lnTo>
                  <a:lnTo>
                    <a:pt x="217" y="1073"/>
                  </a:lnTo>
                  <a:lnTo>
                    <a:pt x="217" y="1084"/>
                  </a:lnTo>
                  <a:lnTo>
                    <a:pt x="212" y="1089"/>
                  </a:lnTo>
                  <a:lnTo>
                    <a:pt x="184" y="1073"/>
                  </a:lnTo>
                  <a:lnTo>
                    <a:pt x="170" y="1084"/>
                  </a:lnTo>
                  <a:lnTo>
                    <a:pt x="170" y="1073"/>
                  </a:lnTo>
                  <a:lnTo>
                    <a:pt x="196" y="1073"/>
                  </a:lnTo>
                  <a:lnTo>
                    <a:pt x="217" y="1051"/>
                  </a:lnTo>
                  <a:lnTo>
                    <a:pt x="217" y="1035"/>
                  </a:lnTo>
                  <a:lnTo>
                    <a:pt x="238" y="1035"/>
                  </a:lnTo>
                  <a:lnTo>
                    <a:pt x="255" y="1018"/>
                  </a:lnTo>
                  <a:lnTo>
                    <a:pt x="255" y="997"/>
                  </a:lnTo>
                  <a:lnTo>
                    <a:pt x="271" y="997"/>
                  </a:lnTo>
                  <a:lnTo>
                    <a:pt x="276" y="990"/>
                  </a:lnTo>
                  <a:lnTo>
                    <a:pt x="276" y="981"/>
                  </a:lnTo>
                  <a:lnTo>
                    <a:pt x="359" y="973"/>
                  </a:lnTo>
                  <a:lnTo>
                    <a:pt x="364" y="957"/>
                  </a:lnTo>
                  <a:lnTo>
                    <a:pt x="401" y="924"/>
                  </a:lnTo>
                  <a:lnTo>
                    <a:pt x="342" y="957"/>
                  </a:lnTo>
                  <a:lnTo>
                    <a:pt x="326" y="957"/>
                  </a:lnTo>
                  <a:lnTo>
                    <a:pt x="305" y="936"/>
                  </a:lnTo>
                  <a:lnTo>
                    <a:pt x="276" y="947"/>
                  </a:lnTo>
                  <a:lnTo>
                    <a:pt x="271" y="940"/>
                  </a:lnTo>
                  <a:lnTo>
                    <a:pt x="288" y="936"/>
                  </a:lnTo>
                  <a:lnTo>
                    <a:pt x="267" y="924"/>
                  </a:lnTo>
                  <a:lnTo>
                    <a:pt x="217" y="936"/>
                  </a:lnTo>
                  <a:lnTo>
                    <a:pt x="217" y="936"/>
                  </a:lnTo>
                  <a:lnTo>
                    <a:pt x="217" y="936"/>
                  </a:lnTo>
                  <a:close/>
                  <a:moveTo>
                    <a:pt x="116" y="310"/>
                  </a:moveTo>
                  <a:lnTo>
                    <a:pt x="104" y="310"/>
                  </a:lnTo>
                  <a:lnTo>
                    <a:pt x="104" y="298"/>
                  </a:lnTo>
                  <a:lnTo>
                    <a:pt x="108" y="293"/>
                  </a:lnTo>
                  <a:lnTo>
                    <a:pt x="104" y="293"/>
                  </a:lnTo>
                  <a:lnTo>
                    <a:pt x="104" y="298"/>
                  </a:lnTo>
                  <a:lnTo>
                    <a:pt x="104" y="317"/>
                  </a:lnTo>
                  <a:lnTo>
                    <a:pt x="87" y="333"/>
                  </a:lnTo>
                  <a:lnTo>
                    <a:pt x="71" y="317"/>
                  </a:lnTo>
                  <a:lnTo>
                    <a:pt x="92" y="310"/>
                  </a:lnTo>
                  <a:lnTo>
                    <a:pt x="71" y="298"/>
                  </a:lnTo>
                  <a:lnTo>
                    <a:pt x="78" y="298"/>
                  </a:lnTo>
                  <a:lnTo>
                    <a:pt x="71" y="281"/>
                  </a:lnTo>
                  <a:lnTo>
                    <a:pt x="78" y="277"/>
                  </a:lnTo>
                  <a:lnTo>
                    <a:pt x="87" y="277"/>
                  </a:lnTo>
                  <a:lnTo>
                    <a:pt x="92" y="293"/>
                  </a:lnTo>
                  <a:lnTo>
                    <a:pt x="92" y="281"/>
                  </a:lnTo>
                  <a:lnTo>
                    <a:pt x="104" y="277"/>
                  </a:lnTo>
                  <a:lnTo>
                    <a:pt x="92" y="272"/>
                  </a:lnTo>
                  <a:lnTo>
                    <a:pt x="130" y="244"/>
                  </a:lnTo>
                  <a:lnTo>
                    <a:pt x="142" y="255"/>
                  </a:lnTo>
                  <a:lnTo>
                    <a:pt x="125" y="277"/>
                  </a:lnTo>
                  <a:lnTo>
                    <a:pt x="142" y="277"/>
                  </a:lnTo>
                  <a:lnTo>
                    <a:pt x="108" y="293"/>
                  </a:lnTo>
                  <a:lnTo>
                    <a:pt x="125" y="293"/>
                  </a:lnTo>
                  <a:lnTo>
                    <a:pt x="125" y="298"/>
                  </a:lnTo>
                  <a:lnTo>
                    <a:pt x="116" y="310"/>
                  </a:lnTo>
                  <a:lnTo>
                    <a:pt x="116" y="310"/>
                  </a:lnTo>
                  <a:lnTo>
                    <a:pt x="116" y="310"/>
                  </a:lnTo>
                  <a:close/>
                  <a:moveTo>
                    <a:pt x="61" y="350"/>
                  </a:moveTo>
                  <a:lnTo>
                    <a:pt x="38" y="338"/>
                  </a:lnTo>
                  <a:lnTo>
                    <a:pt x="71" y="333"/>
                  </a:lnTo>
                  <a:lnTo>
                    <a:pt x="78" y="338"/>
                  </a:lnTo>
                  <a:lnTo>
                    <a:pt x="61" y="350"/>
                  </a:lnTo>
                  <a:lnTo>
                    <a:pt x="61" y="350"/>
                  </a:lnTo>
                  <a:lnTo>
                    <a:pt x="61" y="350"/>
                  </a:lnTo>
                  <a:close/>
                  <a:moveTo>
                    <a:pt x="163" y="392"/>
                  </a:moveTo>
                  <a:lnTo>
                    <a:pt x="146" y="404"/>
                  </a:lnTo>
                  <a:lnTo>
                    <a:pt x="146" y="388"/>
                  </a:lnTo>
                  <a:lnTo>
                    <a:pt x="130" y="388"/>
                  </a:lnTo>
                  <a:lnTo>
                    <a:pt x="116" y="371"/>
                  </a:lnTo>
                  <a:lnTo>
                    <a:pt x="130" y="371"/>
                  </a:lnTo>
                  <a:lnTo>
                    <a:pt x="116" y="366"/>
                  </a:lnTo>
                  <a:lnTo>
                    <a:pt x="108" y="371"/>
                  </a:lnTo>
                  <a:lnTo>
                    <a:pt x="104" y="366"/>
                  </a:lnTo>
                  <a:lnTo>
                    <a:pt x="92" y="355"/>
                  </a:lnTo>
                  <a:lnTo>
                    <a:pt x="108" y="338"/>
                  </a:lnTo>
                  <a:lnTo>
                    <a:pt x="125" y="350"/>
                  </a:lnTo>
                  <a:lnTo>
                    <a:pt x="125" y="338"/>
                  </a:lnTo>
                  <a:lnTo>
                    <a:pt x="130" y="333"/>
                  </a:lnTo>
                  <a:lnTo>
                    <a:pt x="142" y="350"/>
                  </a:lnTo>
                  <a:lnTo>
                    <a:pt x="142" y="371"/>
                  </a:lnTo>
                  <a:lnTo>
                    <a:pt x="179" y="383"/>
                  </a:lnTo>
                  <a:lnTo>
                    <a:pt x="163" y="392"/>
                  </a:lnTo>
                  <a:lnTo>
                    <a:pt x="163" y="392"/>
                  </a:lnTo>
                  <a:lnTo>
                    <a:pt x="163" y="392"/>
                  </a:lnTo>
                  <a:close/>
                  <a:moveTo>
                    <a:pt x="61" y="366"/>
                  </a:moveTo>
                  <a:lnTo>
                    <a:pt x="54" y="355"/>
                  </a:lnTo>
                  <a:lnTo>
                    <a:pt x="61" y="355"/>
                  </a:lnTo>
                  <a:lnTo>
                    <a:pt x="61" y="366"/>
                  </a:lnTo>
                  <a:lnTo>
                    <a:pt x="61" y="366"/>
                  </a:lnTo>
                  <a:lnTo>
                    <a:pt x="61" y="366"/>
                  </a:lnTo>
                  <a:close/>
                  <a:moveTo>
                    <a:pt x="61" y="392"/>
                  </a:moveTo>
                  <a:lnTo>
                    <a:pt x="54" y="392"/>
                  </a:lnTo>
                  <a:lnTo>
                    <a:pt x="54" y="366"/>
                  </a:lnTo>
                  <a:lnTo>
                    <a:pt x="61" y="371"/>
                  </a:lnTo>
                  <a:lnTo>
                    <a:pt x="61" y="371"/>
                  </a:lnTo>
                  <a:lnTo>
                    <a:pt x="61" y="392"/>
                  </a:lnTo>
                  <a:lnTo>
                    <a:pt x="61" y="392"/>
                  </a:lnTo>
                  <a:lnTo>
                    <a:pt x="61" y="392"/>
                  </a:lnTo>
                  <a:close/>
                  <a:moveTo>
                    <a:pt x="49" y="409"/>
                  </a:moveTo>
                  <a:lnTo>
                    <a:pt x="38" y="409"/>
                  </a:lnTo>
                  <a:lnTo>
                    <a:pt x="49" y="392"/>
                  </a:lnTo>
                  <a:lnTo>
                    <a:pt x="54" y="404"/>
                  </a:lnTo>
                  <a:lnTo>
                    <a:pt x="49" y="409"/>
                  </a:lnTo>
                  <a:lnTo>
                    <a:pt x="49" y="409"/>
                  </a:lnTo>
                  <a:lnTo>
                    <a:pt x="49" y="409"/>
                  </a:lnTo>
                  <a:close/>
                  <a:moveTo>
                    <a:pt x="130" y="409"/>
                  </a:moveTo>
                  <a:lnTo>
                    <a:pt x="116" y="404"/>
                  </a:lnTo>
                  <a:lnTo>
                    <a:pt x="130" y="404"/>
                  </a:lnTo>
                  <a:lnTo>
                    <a:pt x="130" y="409"/>
                  </a:lnTo>
                  <a:lnTo>
                    <a:pt x="130" y="409"/>
                  </a:lnTo>
                  <a:lnTo>
                    <a:pt x="130" y="409"/>
                  </a:lnTo>
                  <a:close/>
                  <a:moveTo>
                    <a:pt x="142" y="421"/>
                  </a:moveTo>
                  <a:lnTo>
                    <a:pt x="142" y="409"/>
                  </a:lnTo>
                  <a:lnTo>
                    <a:pt x="142" y="409"/>
                  </a:lnTo>
                  <a:lnTo>
                    <a:pt x="142" y="421"/>
                  </a:lnTo>
                  <a:lnTo>
                    <a:pt x="142" y="421"/>
                  </a:lnTo>
                  <a:lnTo>
                    <a:pt x="142" y="421"/>
                  </a:lnTo>
                  <a:close/>
                  <a:moveTo>
                    <a:pt x="142" y="442"/>
                  </a:moveTo>
                  <a:lnTo>
                    <a:pt x="179" y="466"/>
                  </a:lnTo>
                  <a:lnTo>
                    <a:pt x="163" y="475"/>
                  </a:lnTo>
                  <a:lnTo>
                    <a:pt x="130" y="482"/>
                  </a:lnTo>
                  <a:lnTo>
                    <a:pt x="125" y="475"/>
                  </a:lnTo>
                  <a:lnTo>
                    <a:pt x="146" y="466"/>
                  </a:lnTo>
                  <a:lnTo>
                    <a:pt x="142" y="466"/>
                  </a:lnTo>
                  <a:lnTo>
                    <a:pt x="146" y="459"/>
                  </a:lnTo>
                  <a:lnTo>
                    <a:pt x="125" y="449"/>
                  </a:lnTo>
                  <a:lnTo>
                    <a:pt x="142" y="442"/>
                  </a:lnTo>
                  <a:lnTo>
                    <a:pt x="142" y="442"/>
                  </a:lnTo>
                  <a:lnTo>
                    <a:pt x="142" y="442"/>
                  </a:lnTo>
                  <a:close/>
                  <a:moveTo>
                    <a:pt x="87" y="459"/>
                  </a:moveTo>
                  <a:lnTo>
                    <a:pt x="78" y="459"/>
                  </a:lnTo>
                  <a:lnTo>
                    <a:pt x="104" y="449"/>
                  </a:lnTo>
                  <a:lnTo>
                    <a:pt x="87" y="459"/>
                  </a:lnTo>
                  <a:lnTo>
                    <a:pt x="87" y="459"/>
                  </a:lnTo>
                  <a:lnTo>
                    <a:pt x="87" y="459"/>
                  </a:lnTo>
                  <a:close/>
                  <a:moveTo>
                    <a:pt x="158" y="532"/>
                  </a:moveTo>
                  <a:lnTo>
                    <a:pt x="146" y="520"/>
                  </a:lnTo>
                  <a:lnTo>
                    <a:pt x="146" y="515"/>
                  </a:lnTo>
                  <a:lnTo>
                    <a:pt x="170" y="492"/>
                  </a:lnTo>
                  <a:lnTo>
                    <a:pt x="158" y="532"/>
                  </a:lnTo>
                  <a:lnTo>
                    <a:pt x="158" y="532"/>
                  </a:lnTo>
                  <a:lnTo>
                    <a:pt x="158" y="532"/>
                  </a:lnTo>
                  <a:close/>
                  <a:moveTo>
                    <a:pt x="142" y="503"/>
                  </a:moveTo>
                  <a:lnTo>
                    <a:pt x="130" y="499"/>
                  </a:lnTo>
                  <a:lnTo>
                    <a:pt x="142" y="492"/>
                  </a:lnTo>
                  <a:lnTo>
                    <a:pt x="142" y="503"/>
                  </a:lnTo>
                  <a:lnTo>
                    <a:pt x="142" y="503"/>
                  </a:lnTo>
                  <a:lnTo>
                    <a:pt x="142" y="503"/>
                  </a:lnTo>
                  <a:close/>
                  <a:moveTo>
                    <a:pt x="130" y="548"/>
                  </a:moveTo>
                  <a:lnTo>
                    <a:pt x="130" y="532"/>
                  </a:lnTo>
                  <a:lnTo>
                    <a:pt x="116" y="536"/>
                  </a:lnTo>
                  <a:lnTo>
                    <a:pt x="116" y="520"/>
                  </a:lnTo>
                  <a:lnTo>
                    <a:pt x="142" y="515"/>
                  </a:lnTo>
                  <a:lnTo>
                    <a:pt x="146" y="536"/>
                  </a:lnTo>
                  <a:lnTo>
                    <a:pt x="130" y="548"/>
                  </a:lnTo>
                  <a:lnTo>
                    <a:pt x="130" y="548"/>
                  </a:lnTo>
                  <a:lnTo>
                    <a:pt x="130" y="548"/>
                  </a:lnTo>
                  <a:close/>
                  <a:moveTo>
                    <a:pt x="217" y="536"/>
                  </a:moveTo>
                  <a:lnTo>
                    <a:pt x="212" y="515"/>
                  </a:lnTo>
                  <a:lnTo>
                    <a:pt x="217" y="520"/>
                  </a:lnTo>
                  <a:lnTo>
                    <a:pt x="217" y="536"/>
                  </a:lnTo>
                  <a:lnTo>
                    <a:pt x="217" y="536"/>
                  </a:lnTo>
                  <a:lnTo>
                    <a:pt x="217" y="536"/>
                  </a:lnTo>
                  <a:close/>
                  <a:moveTo>
                    <a:pt x="212" y="560"/>
                  </a:moveTo>
                  <a:lnTo>
                    <a:pt x="196" y="560"/>
                  </a:lnTo>
                  <a:lnTo>
                    <a:pt x="196" y="536"/>
                  </a:lnTo>
                  <a:lnTo>
                    <a:pt x="212" y="536"/>
                  </a:lnTo>
                  <a:lnTo>
                    <a:pt x="217" y="560"/>
                  </a:lnTo>
                  <a:lnTo>
                    <a:pt x="212" y="560"/>
                  </a:lnTo>
                  <a:lnTo>
                    <a:pt x="212" y="560"/>
                  </a:lnTo>
                  <a:lnTo>
                    <a:pt x="212" y="560"/>
                  </a:lnTo>
                  <a:close/>
                  <a:moveTo>
                    <a:pt x="108" y="702"/>
                  </a:moveTo>
                  <a:lnTo>
                    <a:pt x="78" y="664"/>
                  </a:lnTo>
                  <a:lnTo>
                    <a:pt x="61" y="697"/>
                  </a:lnTo>
                  <a:lnTo>
                    <a:pt x="23" y="685"/>
                  </a:lnTo>
                  <a:lnTo>
                    <a:pt x="0" y="664"/>
                  </a:lnTo>
                  <a:lnTo>
                    <a:pt x="33" y="647"/>
                  </a:lnTo>
                  <a:lnTo>
                    <a:pt x="16" y="643"/>
                  </a:lnTo>
                  <a:lnTo>
                    <a:pt x="38" y="631"/>
                  </a:lnTo>
                  <a:lnTo>
                    <a:pt x="61" y="603"/>
                  </a:lnTo>
                  <a:lnTo>
                    <a:pt x="78" y="603"/>
                  </a:lnTo>
                  <a:lnTo>
                    <a:pt x="87" y="593"/>
                  </a:lnTo>
                  <a:lnTo>
                    <a:pt x="116" y="586"/>
                  </a:lnTo>
                  <a:lnTo>
                    <a:pt x="146" y="586"/>
                  </a:lnTo>
                  <a:lnTo>
                    <a:pt x="146" y="603"/>
                  </a:lnTo>
                  <a:lnTo>
                    <a:pt x="170" y="626"/>
                  </a:lnTo>
                  <a:lnTo>
                    <a:pt x="158" y="647"/>
                  </a:lnTo>
                  <a:lnTo>
                    <a:pt x="179" y="643"/>
                  </a:lnTo>
                  <a:lnTo>
                    <a:pt x="196" y="659"/>
                  </a:lnTo>
                  <a:lnTo>
                    <a:pt x="184" y="669"/>
                  </a:lnTo>
                  <a:lnTo>
                    <a:pt x="179" y="659"/>
                  </a:lnTo>
                  <a:lnTo>
                    <a:pt x="170" y="647"/>
                  </a:lnTo>
                  <a:lnTo>
                    <a:pt x="179" y="681"/>
                  </a:lnTo>
                  <a:lnTo>
                    <a:pt x="163" y="681"/>
                  </a:lnTo>
                  <a:lnTo>
                    <a:pt x="158" y="697"/>
                  </a:lnTo>
                  <a:lnTo>
                    <a:pt x="146" y="702"/>
                  </a:lnTo>
                  <a:lnTo>
                    <a:pt x="130" y="697"/>
                  </a:lnTo>
                  <a:lnTo>
                    <a:pt x="108" y="702"/>
                  </a:lnTo>
                  <a:lnTo>
                    <a:pt x="108" y="702"/>
                  </a:lnTo>
                  <a:lnTo>
                    <a:pt x="108" y="702"/>
                  </a:lnTo>
                  <a:close/>
                  <a:moveTo>
                    <a:pt x="267" y="792"/>
                  </a:moveTo>
                  <a:lnTo>
                    <a:pt x="250" y="775"/>
                  </a:lnTo>
                  <a:lnTo>
                    <a:pt x="250" y="770"/>
                  </a:lnTo>
                  <a:lnTo>
                    <a:pt x="271" y="770"/>
                  </a:lnTo>
                  <a:lnTo>
                    <a:pt x="288" y="775"/>
                  </a:lnTo>
                  <a:lnTo>
                    <a:pt x="267" y="792"/>
                  </a:lnTo>
                  <a:lnTo>
                    <a:pt x="267" y="792"/>
                  </a:lnTo>
                  <a:lnTo>
                    <a:pt x="267" y="792"/>
                  </a:lnTo>
                  <a:close/>
                  <a:moveTo>
                    <a:pt x="635" y="964"/>
                  </a:moveTo>
                  <a:lnTo>
                    <a:pt x="631" y="957"/>
                  </a:lnTo>
                  <a:lnTo>
                    <a:pt x="635" y="957"/>
                  </a:lnTo>
                  <a:lnTo>
                    <a:pt x="635" y="964"/>
                  </a:lnTo>
                  <a:lnTo>
                    <a:pt x="635" y="964"/>
                  </a:lnTo>
                  <a:lnTo>
                    <a:pt x="635" y="964"/>
                  </a:lnTo>
                  <a:close/>
                  <a:moveTo>
                    <a:pt x="484" y="1035"/>
                  </a:moveTo>
                  <a:lnTo>
                    <a:pt x="468" y="1030"/>
                  </a:lnTo>
                  <a:lnTo>
                    <a:pt x="484" y="1018"/>
                  </a:lnTo>
                  <a:lnTo>
                    <a:pt x="494" y="1030"/>
                  </a:lnTo>
                  <a:lnTo>
                    <a:pt x="484" y="1035"/>
                  </a:lnTo>
                  <a:lnTo>
                    <a:pt x="484" y="1035"/>
                  </a:lnTo>
                  <a:lnTo>
                    <a:pt x="484" y="1035"/>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9" name="Freeform 581">
              <a:extLst>
                <a:ext uri="{FF2B5EF4-FFF2-40B4-BE49-F238E27FC236}">
                  <a16:creationId xmlns:a16="http://schemas.microsoft.com/office/drawing/2014/main" id="{E2A65B76-246A-455A-8EF8-393B4F1873D9}"/>
                </a:ext>
              </a:extLst>
            </p:cNvPr>
            <p:cNvSpPr>
              <a:spLocks noEditPoints="1"/>
            </p:cNvSpPr>
            <p:nvPr/>
          </p:nvSpPr>
          <p:spPr bwMode="gray">
            <a:xfrm>
              <a:off x="14252457" y="2750561"/>
              <a:ext cx="412721" cy="244491"/>
            </a:xfrm>
            <a:custGeom>
              <a:avLst/>
              <a:gdLst>
                <a:gd name="T0" fmla="*/ 463 w 1261"/>
                <a:gd name="T1" fmla="*/ 669 h 747"/>
                <a:gd name="T2" fmla="*/ 446 w 1261"/>
                <a:gd name="T3" fmla="*/ 641 h 747"/>
                <a:gd name="T4" fmla="*/ 479 w 1261"/>
                <a:gd name="T5" fmla="*/ 598 h 747"/>
                <a:gd name="T6" fmla="*/ 489 w 1261"/>
                <a:gd name="T7" fmla="*/ 546 h 747"/>
                <a:gd name="T8" fmla="*/ 534 w 1261"/>
                <a:gd name="T9" fmla="*/ 558 h 747"/>
                <a:gd name="T10" fmla="*/ 543 w 1261"/>
                <a:gd name="T11" fmla="*/ 546 h 747"/>
                <a:gd name="T12" fmla="*/ 505 w 1261"/>
                <a:gd name="T13" fmla="*/ 485 h 747"/>
                <a:gd name="T14" fmla="*/ 489 w 1261"/>
                <a:gd name="T15" fmla="*/ 419 h 747"/>
                <a:gd name="T16" fmla="*/ 413 w 1261"/>
                <a:gd name="T17" fmla="*/ 390 h 747"/>
                <a:gd name="T18" fmla="*/ 290 w 1261"/>
                <a:gd name="T19" fmla="*/ 397 h 747"/>
                <a:gd name="T20" fmla="*/ 165 w 1261"/>
                <a:gd name="T21" fmla="*/ 419 h 747"/>
                <a:gd name="T22" fmla="*/ 52 w 1261"/>
                <a:gd name="T23" fmla="*/ 419 h 747"/>
                <a:gd name="T24" fmla="*/ 0 w 1261"/>
                <a:gd name="T25" fmla="*/ 381 h 747"/>
                <a:gd name="T26" fmla="*/ 52 w 1261"/>
                <a:gd name="T27" fmla="*/ 324 h 747"/>
                <a:gd name="T28" fmla="*/ 38 w 1261"/>
                <a:gd name="T29" fmla="*/ 267 h 747"/>
                <a:gd name="T30" fmla="*/ 139 w 1261"/>
                <a:gd name="T31" fmla="*/ 173 h 747"/>
                <a:gd name="T32" fmla="*/ 106 w 1261"/>
                <a:gd name="T33" fmla="*/ 85 h 747"/>
                <a:gd name="T34" fmla="*/ 253 w 1261"/>
                <a:gd name="T35" fmla="*/ 45 h 747"/>
                <a:gd name="T36" fmla="*/ 392 w 1261"/>
                <a:gd name="T37" fmla="*/ 85 h 747"/>
                <a:gd name="T38" fmla="*/ 430 w 1261"/>
                <a:gd name="T39" fmla="*/ 74 h 747"/>
                <a:gd name="T40" fmla="*/ 468 w 1261"/>
                <a:gd name="T41" fmla="*/ 78 h 747"/>
                <a:gd name="T42" fmla="*/ 538 w 1261"/>
                <a:gd name="T43" fmla="*/ 95 h 747"/>
                <a:gd name="T44" fmla="*/ 593 w 1261"/>
                <a:gd name="T45" fmla="*/ 74 h 747"/>
                <a:gd name="T46" fmla="*/ 678 w 1261"/>
                <a:gd name="T47" fmla="*/ 29 h 747"/>
                <a:gd name="T48" fmla="*/ 775 w 1261"/>
                <a:gd name="T49" fmla="*/ 0 h 747"/>
                <a:gd name="T50" fmla="*/ 862 w 1261"/>
                <a:gd name="T51" fmla="*/ 57 h 747"/>
                <a:gd name="T52" fmla="*/ 883 w 1261"/>
                <a:gd name="T53" fmla="*/ 119 h 747"/>
                <a:gd name="T54" fmla="*/ 921 w 1261"/>
                <a:gd name="T55" fmla="*/ 135 h 747"/>
                <a:gd name="T56" fmla="*/ 985 w 1261"/>
                <a:gd name="T57" fmla="*/ 189 h 747"/>
                <a:gd name="T58" fmla="*/ 1093 w 1261"/>
                <a:gd name="T59" fmla="*/ 225 h 747"/>
                <a:gd name="T60" fmla="*/ 1179 w 1261"/>
                <a:gd name="T61" fmla="*/ 246 h 747"/>
                <a:gd name="T62" fmla="*/ 1240 w 1261"/>
                <a:gd name="T63" fmla="*/ 267 h 747"/>
                <a:gd name="T64" fmla="*/ 1245 w 1261"/>
                <a:gd name="T65" fmla="*/ 319 h 747"/>
                <a:gd name="T66" fmla="*/ 1254 w 1261"/>
                <a:gd name="T67" fmla="*/ 341 h 747"/>
                <a:gd name="T68" fmla="*/ 1254 w 1261"/>
                <a:gd name="T69" fmla="*/ 390 h 747"/>
                <a:gd name="T70" fmla="*/ 1164 w 1261"/>
                <a:gd name="T71" fmla="*/ 447 h 747"/>
                <a:gd name="T72" fmla="*/ 1060 w 1261"/>
                <a:gd name="T73" fmla="*/ 520 h 747"/>
                <a:gd name="T74" fmla="*/ 900 w 1261"/>
                <a:gd name="T75" fmla="*/ 586 h 747"/>
                <a:gd name="T76" fmla="*/ 879 w 1261"/>
                <a:gd name="T77" fmla="*/ 579 h 747"/>
                <a:gd name="T78" fmla="*/ 867 w 1261"/>
                <a:gd name="T79" fmla="*/ 579 h 747"/>
                <a:gd name="T80" fmla="*/ 829 w 1261"/>
                <a:gd name="T81" fmla="*/ 579 h 747"/>
                <a:gd name="T82" fmla="*/ 824 w 1261"/>
                <a:gd name="T83" fmla="*/ 598 h 747"/>
                <a:gd name="T84" fmla="*/ 857 w 1261"/>
                <a:gd name="T85" fmla="*/ 598 h 747"/>
                <a:gd name="T86" fmla="*/ 862 w 1261"/>
                <a:gd name="T87" fmla="*/ 619 h 747"/>
                <a:gd name="T88" fmla="*/ 900 w 1261"/>
                <a:gd name="T89" fmla="*/ 652 h 747"/>
                <a:gd name="T90" fmla="*/ 895 w 1261"/>
                <a:gd name="T91" fmla="*/ 598 h 747"/>
                <a:gd name="T92" fmla="*/ 968 w 1261"/>
                <a:gd name="T93" fmla="*/ 659 h 747"/>
                <a:gd name="T94" fmla="*/ 1001 w 1261"/>
                <a:gd name="T95" fmla="*/ 685 h 747"/>
                <a:gd name="T96" fmla="*/ 900 w 1261"/>
                <a:gd name="T97" fmla="*/ 697 h 747"/>
                <a:gd name="T98" fmla="*/ 808 w 1261"/>
                <a:gd name="T99" fmla="*/ 742 h 747"/>
                <a:gd name="T100" fmla="*/ 808 w 1261"/>
                <a:gd name="T101" fmla="*/ 697 h 747"/>
                <a:gd name="T102" fmla="*/ 732 w 1261"/>
                <a:gd name="T103" fmla="*/ 659 h 747"/>
                <a:gd name="T104" fmla="*/ 808 w 1261"/>
                <a:gd name="T105" fmla="*/ 598 h 747"/>
                <a:gd name="T106" fmla="*/ 732 w 1261"/>
                <a:gd name="T107" fmla="*/ 586 h 747"/>
                <a:gd name="T108" fmla="*/ 652 w 1261"/>
                <a:gd name="T109" fmla="*/ 546 h 747"/>
                <a:gd name="T110" fmla="*/ 694 w 1261"/>
                <a:gd name="T111" fmla="*/ 541 h 747"/>
                <a:gd name="T112" fmla="*/ 685 w 1261"/>
                <a:gd name="T113" fmla="*/ 501 h 747"/>
                <a:gd name="T114" fmla="*/ 685 w 1261"/>
                <a:gd name="T115" fmla="*/ 541 h 747"/>
                <a:gd name="T116" fmla="*/ 609 w 1261"/>
                <a:gd name="T117" fmla="*/ 546 h 747"/>
                <a:gd name="T118" fmla="*/ 534 w 1261"/>
                <a:gd name="T119" fmla="*/ 636 h 747"/>
                <a:gd name="T120" fmla="*/ 534 w 1261"/>
                <a:gd name="T121" fmla="*/ 669 h 747"/>
                <a:gd name="T122" fmla="*/ 699 w 1261"/>
                <a:gd name="T123" fmla="*/ 586 h 747"/>
                <a:gd name="T124" fmla="*/ 699 w 1261"/>
                <a:gd name="T125" fmla="*/ 586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1" h="747">
                  <a:moveTo>
                    <a:pt x="534" y="669"/>
                  </a:moveTo>
                  <a:lnTo>
                    <a:pt x="522" y="659"/>
                  </a:lnTo>
                  <a:lnTo>
                    <a:pt x="505" y="652"/>
                  </a:lnTo>
                  <a:lnTo>
                    <a:pt x="463" y="669"/>
                  </a:lnTo>
                  <a:lnTo>
                    <a:pt x="437" y="659"/>
                  </a:lnTo>
                  <a:lnTo>
                    <a:pt x="425" y="652"/>
                  </a:lnTo>
                  <a:lnTo>
                    <a:pt x="430" y="641"/>
                  </a:lnTo>
                  <a:lnTo>
                    <a:pt x="446" y="641"/>
                  </a:lnTo>
                  <a:lnTo>
                    <a:pt x="446" y="631"/>
                  </a:lnTo>
                  <a:lnTo>
                    <a:pt x="463" y="615"/>
                  </a:lnTo>
                  <a:lnTo>
                    <a:pt x="463" y="603"/>
                  </a:lnTo>
                  <a:lnTo>
                    <a:pt x="479" y="598"/>
                  </a:lnTo>
                  <a:lnTo>
                    <a:pt x="484" y="579"/>
                  </a:lnTo>
                  <a:lnTo>
                    <a:pt x="479" y="574"/>
                  </a:lnTo>
                  <a:lnTo>
                    <a:pt x="484" y="558"/>
                  </a:lnTo>
                  <a:lnTo>
                    <a:pt x="489" y="546"/>
                  </a:lnTo>
                  <a:lnTo>
                    <a:pt x="501" y="563"/>
                  </a:lnTo>
                  <a:lnTo>
                    <a:pt x="517" y="558"/>
                  </a:lnTo>
                  <a:lnTo>
                    <a:pt x="522" y="563"/>
                  </a:lnTo>
                  <a:lnTo>
                    <a:pt x="534" y="558"/>
                  </a:lnTo>
                  <a:lnTo>
                    <a:pt x="543" y="563"/>
                  </a:lnTo>
                  <a:lnTo>
                    <a:pt x="560" y="563"/>
                  </a:lnTo>
                  <a:lnTo>
                    <a:pt x="543" y="546"/>
                  </a:lnTo>
                  <a:lnTo>
                    <a:pt x="543" y="546"/>
                  </a:lnTo>
                  <a:lnTo>
                    <a:pt x="543" y="525"/>
                  </a:lnTo>
                  <a:lnTo>
                    <a:pt x="522" y="520"/>
                  </a:lnTo>
                  <a:lnTo>
                    <a:pt x="522" y="475"/>
                  </a:lnTo>
                  <a:lnTo>
                    <a:pt x="505" y="485"/>
                  </a:lnTo>
                  <a:lnTo>
                    <a:pt x="489" y="468"/>
                  </a:lnTo>
                  <a:lnTo>
                    <a:pt x="489" y="463"/>
                  </a:lnTo>
                  <a:lnTo>
                    <a:pt x="501" y="435"/>
                  </a:lnTo>
                  <a:lnTo>
                    <a:pt x="489" y="419"/>
                  </a:lnTo>
                  <a:lnTo>
                    <a:pt x="484" y="419"/>
                  </a:lnTo>
                  <a:lnTo>
                    <a:pt x="468" y="407"/>
                  </a:lnTo>
                  <a:lnTo>
                    <a:pt x="413" y="397"/>
                  </a:lnTo>
                  <a:lnTo>
                    <a:pt x="413" y="390"/>
                  </a:lnTo>
                  <a:lnTo>
                    <a:pt x="392" y="374"/>
                  </a:lnTo>
                  <a:lnTo>
                    <a:pt x="323" y="381"/>
                  </a:lnTo>
                  <a:lnTo>
                    <a:pt x="316" y="390"/>
                  </a:lnTo>
                  <a:lnTo>
                    <a:pt x="290" y="397"/>
                  </a:lnTo>
                  <a:lnTo>
                    <a:pt x="286" y="419"/>
                  </a:lnTo>
                  <a:lnTo>
                    <a:pt x="219" y="419"/>
                  </a:lnTo>
                  <a:lnTo>
                    <a:pt x="198" y="447"/>
                  </a:lnTo>
                  <a:lnTo>
                    <a:pt x="165" y="419"/>
                  </a:lnTo>
                  <a:lnTo>
                    <a:pt x="144" y="419"/>
                  </a:lnTo>
                  <a:lnTo>
                    <a:pt x="90" y="419"/>
                  </a:lnTo>
                  <a:lnTo>
                    <a:pt x="75" y="407"/>
                  </a:lnTo>
                  <a:lnTo>
                    <a:pt x="52" y="419"/>
                  </a:lnTo>
                  <a:lnTo>
                    <a:pt x="47" y="407"/>
                  </a:lnTo>
                  <a:lnTo>
                    <a:pt x="38" y="407"/>
                  </a:lnTo>
                  <a:lnTo>
                    <a:pt x="5" y="381"/>
                  </a:lnTo>
                  <a:lnTo>
                    <a:pt x="0" y="381"/>
                  </a:lnTo>
                  <a:lnTo>
                    <a:pt x="0" y="362"/>
                  </a:lnTo>
                  <a:lnTo>
                    <a:pt x="14" y="352"/>
                  </a:lnTo>
                  <a:lnTo>
                    <a:pt x="31" y="319"/>
                  </a:lnTo>
                  <a:lnTo>
                    <a:pt x="52" y="324"/>
                  </a:lnTo>
                  <a:lnTo>
                    <a:pt x="52" y="319"/>
                  </a:lnTo>
                  <a:lnTo>
                    <a:pt x="38" y="308"/>
                  </a:lnTo>
                  <a:lnTo>
                    <a:pt x="47" y="296"/>
                  </a:lnTo>
                  <a:lnTo>
                    <a:pt x="38" y="267"/>
                  </a:lnTo>
                  <a:lnTo>
                    <a:pt x="85" y="225"/>
                  </a:lnTo>
                  <a:lnTo>
                    <a:pt x="113" y="189"/>
                  </a:lnTo>
                  <a:lnTo>
                    <a:pt x="127" y="189"/>
                  </a:lnTo>
                  <a:lnTo>
                    <a:pt x="139" y="173"/>
                  </a:lnTo>
                  <a:lnTo>
                    <a:pt x="127" y="152"/>
                  </a:lnTo>
                  <a:lnTo>
                    <a:pt x="139" y="152"/>
                  </a:lnTo>
                  <a:lnTo>
                    <a:pt x="113" y="111"/>
                  </a:lnTo>
                  <a:lnTo>
                    <a:pt x="106" y="85"/>
                  </a:lnTo>
                  <a:lnTo>
                    <a:pt x="106" y="74"/>
                  </a:lnTo>
                  <a:lnTo>
                    <a:pt x="139" y="78"/>
                  </a:lnTo>
                  <a:lnTo>
                    <a:pt x="160" y="45"/>
                  </a:lnTo>
                  <a:lnTo>
                    <a:pt x="253" y="45"/>
                  </a:lnTo>
                  <a:lnTo>
                    <a:pt x="354" y="62"/>
                  </a:lnTo>
                  <a:lnTo>
                    <a:pt x="361" y="78"/>
                  </a:lnTo>
                  <a:lnTo>
                    <a:pt x="392" y="78"/>
                  </a:lnTo>
                  <a:lnTo>
                    <a:pt x="392" y="85"/>
                  </a:lnTo>
                  <a:lnTo>
                    <a:pt x="392" y="85"/>
                  </a:lnTo>
                  <a:lnTo>
                    <a:pt x="399" y="74"/>
                  </a:lnTo>
                  <a:lnTo>
                    <a:pt x="413" y="78"/>
                  </a:lnTo>
                  <a:lnTo>
                    <a:pt x="430" y="74"/>
                  </a:lnTo>
                  <a:lnTo>
                    <a:pt x="430" y="78"/>
                  </a:lnTo>
                  <a:lnTo>
                    <a:pt x="451" y="78"/>
                  </a:lnTo>
                  <a:lnTo>
                    <a:pt x="463" y="95"/>
                  </a:lnTo>
                  <a:lnTo>
                    <a:pt x="468" y="78"/>
                  </a:lnTo>
                  <a:lnTo>
                    <a:pt x="489" y="74"/>
                  </a:lnTo>
                  <a:lnTo>
                    <a:pt x="505" y="95"/>
                  </a:lnTo>
                  <a:lnTo>
                    <a:pt x="534" y="85"/>
                  </a:lnTo>
                  <a:lnTo>
                    <a:pt x="538" y="95"/>
                  </a:lnTo>
                  <a:lnTo>
                    <a:pt x="560" y="85"/>
                  </a:lnTo>
                  <a:lnTo>
                    <a:pt x="593" y="111"/>
                  </a:lnTo>
                  <a:lnTo>
                    <a:pt x="597" y="102"/>
                  </a:lnTo>
                  <a:lnTo>
                    <a:pt x="593" y="74"/>
                  </a:lnTo>
                  <a:lnTo>
                    <a:pt x="597" y="57"/>
                  </a:lnTo>
                  <a:lnTo>
                    <a:pt x="614" y="41"/>
                  </a:lnTo>
                  <a:lnTo>
                    <a:pt x="614" y="29"/>
                  </a:lnTo>
                  <a:lnTo>
                    <a:pt x="678" y="29"/>
                  </a:lnTo>
                  <a:lnTo>
                    <a:pt x="706" y="29"/>
                  </a:lnTo>
                  <a:lnTo>
                    <a:pt x="716" y="8"/>
                  </a:lnTo>
                  <a:lnTo>
                    <a:pt x="753" y="17"/>
                  </a:lnTo>
                  <a:lnTo>
                    <a:pt x="775" y="0"/>
                  </a:lnTo>
                  <a:lnTo>
                    <a:pt x="824" y="0"/>
                  </a:lnTo>
                  <a:lnTo>
                    <a:pt x="841" y="24"/>
                  </a:lnTo>
                  <a:lnTo>
                    <a:pt x="841" y="41"/>
                  </a:lnTo>
                  <a:lnTo>
                    <a:pt x="862" y="57"/>
                  </a:lnTo>
                  <a:lnTo>
                    <a:pt x="862" y="62"/>
                  </a:lnTo>
                  <a:lnTo>
                    <a:pt x="841" y="74"/>
                  </a:lnTo>
                  <a:lnTo>
                    <a:pt x="862" y="111"/>
                  </a:lnTo>
                  <a:lnTo>
                    <a:pt x="883" y="119"/>
                  </a:lnTo>
                  <a:lnTo>
                    <a:pt x="909" y="111"/>
                  </a:lnTo>
                  <a:lnTo>
                    <a:pt x="916" y="128"/>
                  </a:lnTo>
                  <a:lnTo>
                    <a:pt x="933" y="128"/>
                  </a:lnTo>
                  <a:lnTo>
                    <a:pt x="921" y="135"/>
                  </a:lnTo>
                  <a:lnTo>
                    <a:pt x="938" y="168"/>
                  </a:lnTo>
                  <a:lnTo>
                    <a:pt x="933" y="168"/>
                  </a:lnTo>
                  <a:lnTo>
                    <a:pt x="947" y="189"/>
                  </a:lnTo>
                  <a:lnTo>
                    <a:pt x="985" y="189"/>
                  </a:lnTo>
                  <a:lnTo>
                    <a:pt x="992" y="197"/>
                  </a:lnTo>
                  <a:lnTo>
                    <a:pt x="1018" y="206"/>
                  </a:lnTo>
                  <a:lnTo>
                    <a:pt x="1077" y="189"/>
                  </a:lnTo>
                  <a:lnTo>
                    <a:pt x="1093" y="225"/>
                  </a:lnTo>
                  <a:lnTo>
                    <a:pt x="1115" y="241"/>
                  </a:lnTo>
                  <a:lnTo>
                    <a:pt x="1127" y="225"/>
                  </a:lnTo>
                  <a:lnTo>
                    <a:pt x="1131" y="225"/>
                  </a:lnTo>
                  <a:lnTo>
                    <a:pt x="1179" y="246"/>
                  </a:lnTo>
                  <a:lnTo>
                    <a:pt x="1190" y="241"/>
                  </a:lnTo>
                  <a:lnTo>
                    <a:pt x="1202" y="251"/>
                  </a:lnTo>
                  <a:lnTo>
                    <a:pt x="1223" y="251"/>
                  </a:lnTo>
                  <a:lnTo>
                    <a:pt x="1240" y="267"/>
                  </a:lnTo>
                  <a:lnTo>
                    <a:pt x="1261" y="267"/>
                  </a:lnTo>
                  <a:lnTo>
                    <a:pt x="1254" y="279"/>
                  </a:lnTo>
                  <a:lnTo>
                    <a:pt x="1261" y="303"/>
                  </a:lnTo>
                  <a:lnTo>
                    <a:pt x="1245" y="319"/>
                  </a:lnTo>
                  <a:lnTo>
                    <a:pt x="1233" y="324"/>
                  </a:lnTo>
                  <a:lnTo>
                    <a:pt x="1240" y="336"/>
                  </a:lnTo>
                  <a:lnTo>
                    <a:pt x="1254" y="336"/>
                  </a:lnTo>
                  <a:lnTo>
                    <a:pt x="1254" y="341"/>
                  </a:lnTo>
                  <a:lnTo>
                    <a:pt x="1240" y="341"/>
                  </a:lnTo>
                  <a:lnTo>
                    <a:pt x="1233" y="357"/>
                  </a:lnTo>
                  <a:lnTo>
                    <a:pt x="1240" y="362"/>
                  </a:lnTo>
                  <a:lnTo>
                    <a:pt x="1254" y="390"/>
                  </a:lnTo>
                  <a:lnTo>
                    <a:pt x="1240" y="414"/>
                  </a:lnTo>
                  <a:lnTo>
                    <a:pt x="1240" y="430"/>
                  </a:lnTo>
                  <a:lnTo>
                    <a:pt x="1169" y="430"/>
                  </a:lnTo>
                  <a:lnTo>
                    <a:pt x="1164" y="447"/>
                  </a:lnTo>
                  <a:lnTo>
                    <a:pt x="1131" y="452"/>
                  </a:lnTo>
                  <a:lnTo>
                    <a:pt x="1131" y="501"/>
                  </a:lnTo>
                  <a:lnTo>
                    <a:pt x="1077" y="501"/>
                  </a:lnTo>
                  <a:lnTo>
                    <a:pt x="1060" y="520"/>
                  </a:lnTo>
                  <a:lnTo>
                    <a:pt x="1056" y="520"/>
                  </a:lnTo>
                  <a:lnTo>
                    <a:pt x="985" y="541"/>
                  </a:lnTo>
                  <a:lnTo>
                    <a:pt x="964" y="541"/>
                  </a:lnTo>
                  <a:lnTo>
                    <a:pt x="900" y="586"/>
                  </a:lnTo>
                  <a:lnTo>
                    <a:pt x="921" y="574"/>
                  </a:lnTo>
                  <a:lnTo>
                    <a:pt x="916" y="558"/>
                  </a:lnTo>
                  <a:lnTo>
                    <a:pt x="909" y="574"/>
                  </a:lnTo>
                  <a:lnTo>
                    <a:pt x="879" y="579"/>
                  </a:lnTo>
                  <a:lnTo>
                    <a:pt x="867" y="598"/>
                  </a:lnTo>
                  <a:lnTo>
                    <a:pt x="862" y="598"/>
                  </a:lnTo>
                  <a:lnTo>
                    <a:pt x="867" y="586"/>
                  </a:lnTo>
                  <a:lnTo>
                    <a:pt x="867" y="579"/>
                  </a:lnTo>
                  <a:lnTo>
                    <a:pt x="857" y="579"/>
                  </a:lnTo>
                  <a:lnTo>
                    <a:pt x="845" y="574"/>
                  </a:lnTo>
                  <a:lnTo>
                    <a:pt x="841" y="586"/>
                  </a:lnTo>
                  <a:lnTo>
                    <a:pt x="829" y="579"/>
                  </a:lnTo>
                  <a:lnTo>
                    <a:pt x="808" y="579"/>
                  </a:lnTo>
                  <a:lnTo>
                    <a:pt x="812" y="586"/>
                  </a:lnTo>
                  <a:lnTo>
                    <a:pt x="824" y="579"/>
                  </a:lnTo>
                  <a:lnTo>
                    <a:pt x="824" y="598"/>
                  </a:lnTo>
                  <a:lnTo>
                    <a:pt x="829" y="586"/>
                  </a:lnTo>
                  <a:lnTo>
                    <a:pt x="841" y="603"/>
                  </a:lnTo>
                  <a:lnTo>
                    <a:pt x="845" y="598"/>
                  </a:lnTo>
                  <a:lnTo>
                    <a:pt x="857" y="598"/>
                  </a:lnTo>
                  <a:lnTo>
                    <a:pt x="862" y="603"/>
                  </a:lnTo>
                  <a:lnTo>
                    <a:pt x="857" y="615"/>
                  </a:lnTo>
                  <a:lnTo>
                    <a:pt x="879" y="603"/>
                  </a:lnTo>
                  <a:lnTo>
                    <a:pt x="862" y="619"/>
                  </a:lnTo>
                  <a:lnTo>
                    <a:pt x="879" y="619"/>
                  </a:lnTo>
                  <a:lnTo>
                    <a:pt x="900" y="631"/>
                  </a:lnTo>
                  <a:lnTo>
                    <a:pt x="909" y="641"/>
                  </a:lnTo>
                  <a:lnTo>
                    <a:pt x="900" y="652"/>
                  </a:lnTo>
                  <a:lnTo>
                    <a:pt x="909" y="659"/>
                  </a:lnTo>
                  <a:lnTo>
                    <a:pt x="921" y="659"/>
                  </a:lnTo>
                  <a:lnTo>
                    <a:pt x="879" y="586"/>
                  </a:lnTo>
                  <a:lnTo>
                    <a:pt x="895" y="598"/>
                  </a:lnTo>
                  <a:lnTo>
                    <a:pt x="909" y="631"/>
                  </a:lnTo>
                  <a:lnTo>
                    <a:pt x="938" y="659"/>
                  </a:lnTo>
                  <a:lnTo>
                    <a:pt x="964" y="652"/>
                  </a:lnTo>
                  <a:lnTo>
                    <a:pt x="968" y="659"/>
                  </a:lnTo>
                  <a:lnTo>
                    <a:pt x="985" y="641"/>
                  </a:lnTo>
                  <a:lnTo>
                    <a:pt x="1018" y="652"/>
                  </a:lnTo>
                  <a:lnTo>
                    <a:pt x="1001" y="659"/>
                  </a:lnTo>
                  <a:lnTo>
                    <a:pt x="1001" y="685"/>
                  </a:lnTo>
                  <a:lnTo>
                    <a:pt x="964" y="693"/>
                  </a:lnTo>
                  <a:lnTo>
                    <a:pt x="938" y="676"/>
                  </a:lnTo>
                  <a:lnTo>
                    <a:pt x="909" y="709"/>
                  </a:lnTo>
                  <a:lnTo>
                    <a:pt x="900" y="697"/>
                  </a:lnTo>
                  <a:lnTo>
                    <a:pt x="867" y="709"/>
                  </a:lnTo>
                  <a:lnTo>
                    <a:pt x="857" y="730"/>
                  </a:lnTo>
                  <a:lnTo>
                    <a:pt x="829" y="747"/>
                  </a:lnTo>
                  <a:lnTo>
                    <a:pt x="808" y="742"/>
                  </a:lnTo>
                  <a:lnTo>
                    <a:pt x="786" y="726"/>
                  </a:lnTo>
                  <a:lnTo>
                    <a:pt x="803" y="726"/>
                  </a:lnTo>
                  <a:lnTo>
                    <a:pt x="803" y="709"/>
                  </a:lnTo>
                  <a:lnTo>
                    <a:pt x="808" y="697"/>
                  </a:lnTo>
                  <a:lnTo>
                    <a:pt x="803" y="676"/>
                  </a:lnTo>
                  <a:lnTo>
                    <a:pt x="775" y="676"/>
                  </a:lnTo>
                  <a:lnTo>
                    <a:pt x="753" y="659"/>
                  </a:lnTo>
                  <a:lnTo>
                    <a:pt x="732" y="659"/>
                  </a:lnTo>
                  <a:lnTo>
                    <a:pt x="720" y="652"/>
                  </a:lnTo>
                  <a:lnTo>
                    <a:pt x="753" y="631"/>
                  </a:lnTo>
                  <a:lnTo>
                    <a:pt x="812" y="603"/>
                  </a:lnTo>
                  <a:lnTo>
                    <a:pt x="808" y="598"/>
                  </a:lnTo>
                  <a:lnTo>
                    <a:pt x="808" y="586"/>
                  </a:lnTo>
                  <a:lnTo>
                    <a:pt x="791" y="598"/>
                  </a:lnTo>
                  <a:lnTo>
                    <a:pt x="775" y="579"/>
                  </a:lnTo>
                  <a:lnTo>
                    <a:pt x="732" y="586"/>
                  </a:lnTo>
                  <a:lnTo>
                    <a:pt x="678" y="574"/>
                  </a:lnTo>
                  <a:lnTo>
                    <a:pt x="694" y="563"/>
                  </a:lnTo>
                  <a:lnTo>
                    <a:pt x="668" y="558"/>
                  </a:lnTo>
                  <a:lnTo>
                    <a:pt x="652" y="546"/>
                  </a:lnTo>
                  <a:lnTo>
                    <a:pt x="716" y="558"/>
                  </a:lnTo>
                  <a:lnTo>
                    <a:pt x="737" y="541"/>
                  </a:lnTo>
                  <a:lnTo>
                    <a:pt x="716" y="546"/>
                  </a:lnTo>
                  <a:lnTo>
                    <a:pt x="694" y="541"/>
                  </a:lnTo>
                  <a:lnTo>
                    <a:pt x="685" y="530"/>
                  </a:lnTo>
                  <a:lnTo>
                    <a:pt x="694" y="508"/>
                  </a:lnTo>
                  <a:lnTo>
                    <a:pt x="678" y="485"/>
                  </a:lnTo>
                  <a:lnTo>
                    <a:pt x="685" y="501"/>
                  </a:lnTo>
                  <a:lnTo>
                    <a:pt x="685" y="508"/>
                  </a:lnTo>
                  <a:lnTo>
                    <a:pt x="694" y="520"/>
                  </a:lnTo>
                  <a:lnTo>
                    <a:pt x="685" y="525"/>
                  </a:lnTo>
                  <a:lnTo>
                    <a:pt x="685" y="541"/>
                  </a:lnTo>
                  <a:lnTo>
                    <a:pt x="652" y="541"/>
                  </a:lnTo>
                  <a:lnTo>
                    <a:pt x="661" y="525"/>
                  </a:lnTo>
                  <a:lnTo>
                    <a:pt x="652" y="541"/>
                  </a:lnTo>
                  <a:lnTo>
                    <a:pt x="609" y="546"/>
                  </a:lnTo>
                  <a:lnTo>
                    <a:pt x="609" y="563"/>
                  </a:lnTo>
                  <a:lnTo>
                    <a:pt x="571" y="615"/>
                  </a:lnTo>
                  <a:lnTo>
                    <a:pt x="543" y="615"/>
                  </a:lnTo>
                  <a:lnTo>
                    <a:pt x="534" y="636"/>
                  </a:lnTo>
                  <a:lnTo>
                    <a:pt x="522" y="615"/>
                  </a:lnTo>
                  <a:lnTo>
                    <a:pt x="522" y="636"/>
                  </a:lnTo>
                  <a:lnTo>
                    <a:pt x="538" y="652"/>
                  </a:lnTo>
                  <a:lnTo>
                    <a:pt x="534" y="669"/>
                  </a:lnTo>
                  <a:lnTo>
                    <a:pt x="534" y="669"/>
                  </a:lnTo>
                  <a:lnTo>
                    <a:pt x="534" y="669"/>
                  </a:lnTo>
                  <a:lnTo>
                    <a:pt x="534" y="669"/>
                  </a:lnTo>
                  <a:close/>
                  <a:moveTo>
                    <a:pt x="699" y="586"/>
                  </a:moveTo>
                  <a:lnTo>
                    <a:pt x="661" y="574"/>
                  </a:lnTo>
                  <a:lnTo>
                    <a:pt x="652" y="563"/>
                  </a:lnTo>
                  <a:lnTo>
                    <a:pt x="661" y="574"/>
                  </a:lnTo>
                  <a:lnTo>
                    <a:pt x="699" y="586"/>
                  </a:lnTo>
                  <a:lnTo>
                    <a:pt x="699" y="586"/>
                  </a:lnTo>
                  <a:lnTo>
                    <a:pt x="699" y="586"/>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0" name="Freeform 582">
              <a:extLst>
                <a:ext uri="{FF2B5EF4-FFF2-40B4-BE49-F238E27FC236}">
                  <a16:creationId xmlns:a16="http://schemas.microsoft.com/office/drawing/2014/main" id="{66734188-265A-4051-8DB6-508F346FCB95}"/>
                </a:ext>
              </a:extLst>
            </p:cNvPr>
            <p:cNvSpPr>
              <a:spLocks noEditPoints="1"/>
            </p:cNvSpPr>
            <p:nvPr/>
          </p:nvSpPr>
          <p:spPr bwMode="gray">
            <a:xfrm>
              <a:off x="9635283" y="2057347"/>
              <a:ext cx="8236093" cy="1606372"/>
            </a:xfrm>
            <a:custGeom>
              <a:avLst/>
              <a:gdLst>
                <a:gd name="T0" fmla="*/ 3387 w 25164"/>
                <a:gd name="T1" fmla="*/ 1889 h 4908"/>
                <a:gd name="T2" fmla="*/ 3186 w 25164"/>
                <a:gd name="T3" fmla="*/ 1606 h 4908"/>
                <a:gd name="T4" fmla="*/ 2948 w 25164"/>
                <a:gd name="T5" fmla="*/ 1462 h 4908"/>
                <a:gd name="T6" fmla="*/ 2615 w 25164"/>
                <a:gd name="T7" fmla="*/ 1351 h 4908"/>
                <a:gd name="T8" fmla="*/ 2154 w 25164"/>
                <a:gd name="T9" fmla="*/ 1263 h 4908"/>
                <a:gd name="T10" fmla="*/ 1939 w 25164"/>
                <a:gd name="T11" fmla="*/ 1301 h 4908"/>
                <a:gd name="T12" fmla="*/ 1734 w 25164"/>
                <a:gd name="T13" fmla="*/ 1445 h 4908"/>
                <a:gd name="T14" fmla="*/ 1427 w 25164"/>
                <a:gd name="T15" fmla="*/ 1755 h 4908"/>
                <a:gd name="T16" fmla="*/ 1103 w 25164"/>
                <a:gd name="T17" fmla="*/ 1866 h 4908"/>
                <a:gd name="T18" fmla="*/ 1420 w 25164"/>
                <a:gd name="T19" fmla="*/ 1462 h 4908"/>
                <a:gd name="T20" fmla="*/ 978 w 25164"/>
                <a:gd name="T21" fmla="*/ 1289 h 4908"/>
                <a:gd name="T22" fmla="*/ 935 w 25164"/>
                <a:gd name="T23" fmla="*/ 1145 h 4908"/>
                <a:gd name="T24" fmla="*/ 1117 w 25164"/>
                <a:gd name="T25" fmla="*/ 848 h 4908"/>
                <a:gd name="T26" fmla="*/ 1205 w 25164"/>
                <a:gd name="T27" fmla="*/ 670 h 4908"/>
                <a:gd name="T28" fmla="*/ 1103 w 25164"/>
                <a:gd name="T29" fmla="*/ 243 h 4908"/>
                <a:gd name="T30" fmla="*/ 1696 w 25164"/>
                <a:gd name="T31" fmla="*/ 26 h 4908"/>
                <a:gd name="T32" fmla="*/ 520 w 25164"/>
                <a:gd name="T33" fmla="*/ 980 h 4908"/>
                <a:gd name="T34" fmla="*/ 2183 w 25164"/>
                <a:gd name="T35" fmla="*/ 1263 h 4908"/>
                <a:gd name="T36" fmla="*/ 2268 w 25164"/>
                <a:gd name="T37" fmla="*/ 1296 h 4908"/>
                <a:gd name="T38" fmla="*/ 2154 w 25164"/>
                <a:gd name="T39" fmla="*/ 1346 h 4908"/>
                <a:gd name="T40" fmla="*/ 1868 w 25164"/>
                <a:gd name="T41" fmla="*/ 1533 h 4908"/>
                <a:gd name="T42" fmla="*/ 3061 w 25164"/>
                <a:gd name="T43" fmla="*/ 1589 h 4908"/>
                <a:gd name="T44" fmla="*/ 2993 w 25164"/>
                <a:gd name="T45" fmla="*/ 1556 h 4908"/>
                <a:gd name="T46" fmla="*/ 1724 w 25164"/>
                <a:gd name="T47" fmla="*/ 1651 h 4908"/>
                <a:gd name="T48" fmla="*/ 3085 w 25164"/>
                <a:gd name="T49" fmla="*/ 1622 h 4908"/>
                <a:gd name="T50" fmla="*/ 3182 w 25164"/>
                <a:gd name="T51" fmla="*/ 1677 h 4908"/>
                <a:gd name="T52" fmla="*/ 3241 w 25164"/>
                <a:gd name="T53" fmla="*/ 1684 h 4908"/>
                <a:gd name="T54" fmla="*/ 3262 w 25164"/>
                <a:gd name="T55" fmla="*/ 1722 h 4908"/>
                <a:gd name="T56" fmla="*/ 3203 w 25164"/>
                <a:gd name="T57" fmla="*/ 1804 h 4908"/>
                <a:gd name="T58" fmla="*/ 3342 w 25164"/>
                <a:gd name="T59" fmla="*/ 1833 h 4908"/>
                <a:gd name="T60" fmla="*/ 3203 w 25164"/>
                <a:gd name="T61" fmla="*/ 1811 h 4908"/>
                <a:gd name="T62" fmla="*/ 1301 w 25164"/>
                <a:gd name="T63" fmla="*/ 1828 h 4908"/>
                <a:gd name="T64" fmla="*/ 3246 w 25164"/>
                <a:gd name="T65" fmla="*/ 1861 h 4908"/>
                <a:gd name="T66" fmla="*/ 3349 w 25164"/>
                <a:gd name="T67" fmla="*/ 1866 h 4908"/>
                <a:gd name="T68" fmla="*/ 957 w 25164"/>
                <a:gd name="T69" fmla="*/ 1960 h 4908"/>
                <a:gd name="T70" fmla="*/ 789 w 25164"/>
                <a:gd name="T71" fmla="*/ 2017 h 4908"/>
                <a:gd name="T72" fmla="*/ 324 w 25164"/>
                <a:gd name="T73" fmla="*/ 2149 h 4908"/>
                <a:gd name="T74" fmla="*/ 201 w 25164"/>
                <a:gd name="T75" fmla="*/ 2161 h 4908"/>
                <a:gd name="T76" fmla="*/ 75 w 25164"/>
                <a:gd name="T77" fmla="*/ 2199 h 4908"/>
                <a:gd name="T78" fmla="*/ 5882 w 25164"/>
                <a:gd name="T79" fmla="*/ 2404 h 4908"/>
                <a:gd name="T80" fmla="*/ 7004 w 25164"/>
                <a:gd name="T81" fmla="*/ 2974 h 4908"/>
                <a:gd name="T82" fmla="*/ 7743 w 25164"/>
                <a:gd name="T83" fmla="*/ 2863 h 4908"/>
                <a:gd name="T84" fmla="*/ 7561 w 25164"/>
                <a:gd name="T85" fmla="*/ 3118 h 4908"/>
                <a:gd name="T86" fmla="*/ 7231 w 25164"/>
                <a:gd name="T87" fmla="*/ 3413 h 4908"/>
                <a:gd name="T88" fmla="*/ 7150 w 25164"/>
                <a:gd name="T89" fmla="*/ 3373 h 4908"/>
                <a:gd name="T90" fmla="*/ 7200 w 25164"/>
                <a:gd name="T91" fmla="*/ 3562 h 4908"/>
                <a:gd name="T92" fmla="*/ 7086 w 25164"/>
                <a:gd name="T93" fmla="*/ 3727 h 4908"/>
                <a:gd name="T94" fmla="*/ 6890 w 25164"/>
                <a:gd name="T95" fmla="*/ 4155 h 4908"/>
                <a:gd name="T96" fmla="*/ 6638 w 25164"/>
                <a:gd name="T97" fmla="*/ 4065 h 4908"/>
                <a:gd name="T98" fmla="*/ 6281 w 25164"/>
                <a:gd name="T99" fmla="*/ 4077 h 4908"/>
                <a:gd name="T100" fmla="*/ 5908 w 25164"/>
                <a:gd name="T101" fmla="*/ 4077 h 4908"/>
                <a:gd name="T102" fmla="*/ 5530 w 25164"/>
                <a:gd name="T103" fmla="*/ 4204 h 4908"/>
                <a:gd name="T104" fmla="*/ 4013 w 25164"/>
                <a:gd name="T105" fmla="*/ 3496 h 4908"/>
                <a:gd name="T106" fmla="*/ 3841 w 25164"/>
                <a:gd name="T107" fmla="*/ 2940 h 4908"/>
                <a:gd name="T108" fmla="*/ 3947 w 25164"/>
                <a:gd name="T109" fmla="*/ 2581 h 4908"/>
                <a:gd name="T110" fmla="*/ 3938 w 25164"/>
                <a:gd name="T111" fmla="*/ 2492 h 4908"/>
                <a:gd name="T112" fmla="*/ 7738 w 25164"/>
                <a:gd name="T113" fmla="*/ 2870 h 4908"/>
                <a:gd name="T114" fmla="*/ 7344 w 25164"/>
                <a:gd name="T115" fmla="*/ 3196 h 4908"/>
                <a:gd name="T116" fmla="*/ 4245 w 25164"/>
                <a:gd name="T117" fmla="*/ 3784 h 4908"/>
                <a:gd name="T118" fmla="*/ 5903 w 25164"/>
                <a:gd name="T119" fmla="*/ 4117 h 4908"/>
                <a:gd name="T120" fmla="*/ 1356 w 25164"/>
                <a:gd name="T121" fmla="*/ 4653 h 4908"/>
                <a:gd name="T122" fmla="*/ 1549 w 25164"/>
                <a:gd name="T123" fmla="*/ 4764 h 4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164" h="4908">
                  <a:moveTo>
                    <a:pt x="2662" y="222"/>
                  </a:moveTo>
                  <a:lnTo>
                    <a:pt x="2662" y="1313"/>
                  </a:lnTo>
                  <a:lnTo>
                    <a:pt x="2700" y="1318"/>
                  </a:lnTo>
                  <a:lnTo>
                    <a:pt x="2700" y="1313"/>
                  </a:lnTo>
                  <a:lnTo>
                    <a:pt x="2733" y="1329"/>
                  </a:lnTo>
                  <a:lnTo>
                    <a:pt x="2754" y="1313"/>
                  </a:lnTo>
                  <a:lnTo>
                    <a:pt x="2804" y="1301"/>
                  </a:lnTo>
                  <a:lnTo>
                    <a:pt x="2792" y="1334"/>
                  </a:lnTo>
                  <a:lnTo>
                    <a:pt x="2825" y="1351"/>
                  </a:lnTo>
                  <a:lnTo>
                    <a:pt x="2830" y="1367"/>
                  </a:lnTo>
                  <a:lnTo>
                    <a:pt x="2901" y="1424"/>
                  </a:lnTo>
                  <a:lnTo>
                    <a:pt x="2910" y="1462"/>
                  </a:lnTo>
                  <a:lnTo>
                    <a:pt x="2955" y="1429"/>
                  </a:lnTo>
                  <a:lnTo>
                    <a:pt x="2972" y="1429"/>
                  </a:lnTo>
                  <a:lnTo>
                    <a:pt x="2976" y="1424"/>
                  </a:lnTo>
                  <a:lnTo>
                    <a:pt x="2976" y="1400"/>
                  </a:lnTo>
                  <a:lnTo>
                    <a:pt x="2993" y="1400"/>
                  </a:lnTo>
                  <a:lnTo>
                    <a:pt x="2986" y="1389"/>
                  </a:lnTo>
                  <a:lnTo>
                    <a:pt x="3047" y="1367"/>
                  </a:lnTo>
                  <a:lnTo>
                    <a:pt x="3085" y="1389"/>
                  </a:lnTo>
                  <a:lnTo>
                    <a:pt x="3078" y="1407"/>
                  </a:lnTo>
                  <a:lnTo>
                    <a:pt x="3085" y="1424"/>
                  </a:lnTo>
                  <a:lnTo>
                    <a:pt x="3127" y="1441"/>
                  </a:lnTo>
                  <a:lnTo>
                    <a:pt x="3137" y="1474"/>
                  </a:lnTo>
                  <a:lnTo>
                    <a:pt x="3165" y="1478"/>
                  </a:lnTo>
                  <a:lnTo>
                    <a:pt x="3191" y="1511"/>
                  </a:lnTo>
                  <a:lnTo>
                    <a:pt x="3203" y="1528"/>
                  </a:lnTo>
                  <a:lnTo>
                    <a:pt x="3279" y="1639"/>
                  </a:lnTo>
                  <a:lnTo>
                    <a:pt x="3274" y="1651"/>
                  </a:lnTo>
                  <a:lnTo>
                    <a:pt x="3295" y="1660"/>
                  </a:lnTo>
                  <a:lnTo>
                    <a:pt x="3288" y="1677"/>
                  </a:lnTo>
                  <a:lnTo>
                    <a:pt x="3300" y="1684"/>
                  </a:lnTo>
                  <a:lnTo>
                    <a:pt x="3312" y="1700"/>
                  </a:lnTo>
                  <a:lnTo>
                    <a:pt x="3326" y="1700"/>
                  </a:lnTo>
                  <a:lnTo>
                    <a:pt x="3380" y="1722"/>
                  </a:lnTo>
                  <a:lnTo>
                    <a:pt x="3409" y="1750"/>
                  </a:lnTo>
                  <a:lnTo>
                    <a:pt x="3425" y="1750"/>
                  </a:lnTo>
                  <a:lnTo>
                    <a:pt x="3434" y="1771"/>
                  </a:lnTo>
                  <a:lnTo>
                    <a:pt x="3425" y="1788"/>
                  </a:lnTo>
                  <a:lnTo>
                    <a:pt x="3434" y="1833"/>
                  </a:lnTo>
                  <a:lnTo>
                    <a:pt x="3409" y="1873"/>
                  </a:lnTo>
                  <a:lnTo>
                    <a:pt x="3387" y="1889"/>
                  </a:lnTo>
                  <a:lnTo>
                    <a:pt x="3380" y="1866"/>
                  </a:lnTo>
                  <a:lnTo>
                    <a:pt x="3380" y="1882"/>
                  </a:lnTo>
                  <a:lnTo>
                    <a:pt x="3371" y="1889"/>
                  </a:lnTo>
                  <a:lnTo>
                    <a:pt x="3364" y="1866"/>
                  </a:lnTo>
                  <a:lnTo>
                    <a:pt x="3387" y="1849"/>
                  </a:lnTo>
                  <a:lnTo>
                    <a:pt x="3401" y="1833"/>
                  </a:lnTo>
                  <a:lnTo>
                    <a:pt x="3387" y="1849"/>
                  </a:lnTo>
                  <a:lnTo>
                    <a:pt x="3364" y="1849"/>
                  </a:lnTo>
                  <a:lnTo>
                    <a:pt x="3371" y="1833"/>
                  </a:lnTo>
                  <a:lnTo>
                    <a:pt x="3397" y="1833"/>
                  </a:lnTo>
                  <a:lnTo>
                    <a:pt x="3371" y="1833"/>
                  </a:lnTo>
                  <a:lnTo>
                    <a:pt x="3371" y="1795"/>
                  </a:lnTo>
                  <a:lnTo>
                    <a:pt x="3354" y="1771"/>
                  </a:lnTo>
                  <a:lnTo>
                    <a:pt x="3364" y="1755"/>
                  </a:lnTo>
                  <a:lnTo>
                    <a:pt x="3300" y="1778"/>
                  </a:lnTo>
                  <a:lnTo>
                    <a:pt x="3312" y="1778"/>
                  </a:lnTo>
                  <a:lnTo>
                    <a:pt x="3295" y="1811"/>
                  </a:lnTo>
                  <a:lnTo>
                    <a:pt x="3288" y="1804"/>
                  </a:lnTo>
                  <a:lnTo>
                    <a:pt x="3279" y="1788"/>
                  </a:lnTo>
                  <a:lnTo>
                    <a:pt x="3295" y="1762"/>
                  </a:lnTo>
                  <a:lnTo>
                    <a:pt x="3295" y="1750"/>
                  </a:lnTo>
                  <a:lnTo>
                    <a:pt x="3312" y="1738"/>
                  </a:lnTo>
                  <a:lnTo>
                    <a:pt x="3274" y="1705"/>
                  </a:lnTo>
                  <a:lnTo>
                    <a:pt x="3274" y="1700"/>
                  </a:lnTo>
                  <a:lnTo>
                    <a:pt x="3257" y="1700"/>
                  </a:lnTo>
                  <a:lnTo>
                    <a:pt x="3274" y="1677"/>
                  </a:lnTo>
                  <a:lnTo>
                    <a:pt x="3257" y="1684"/>
                  </a:lnTo>
                  <a:lnTo>
                    <a:pt x="3241" y="1677"/>
                  </a:lnTo>
                  <a:lnTo>
                    <a:pt x="3236" y="1667"/>
                  </a:lnTo>
                  <a:lnTo>
                    <a:pt x="3241" y="1660"/>
                  </a:lnTo>
                  <a:lnTo>
                    <a:pt x="3241" y="1651"/>
                  </a:lnTo>
                  <a:lnTo>
                    <a:pt x="3236" y="1660"/>
                  </a:lnTo>
                  <a:lnTo>
                    <a:pt x="3220" y="1651"/>
                  </a:lnTo>
                  <a:lnTo>
                    <a:pt x="3208" y="1644"/>
                  </a:lnTo>
                  <a:lnTo>
                    <a:pt x="3203" y="1651"/>
                  </a:lnTo>
                  <a:lnTo>
                    <a:pt x="3186" y="1644"/>
                  </a:lnTo>
                  <a:lnTo>
                    <a:pt x="3191" y="1627"/>
                  </a:lnTo>
                  <a:lnTo>
                    <a:pt x="3220" y="1622"/>
                  </a:lnTo>
                  <a:lnTo>
                    <a:pt x="3191" y="1627"/>
                  </a:lnTo>
                  <a:lnTo>
                    <a:pt x="3186" y="1611"/>
                  </a:lnTo>
                  <a:lnTo>
                    <a:pt x="3203" y="1594"/>
                  </a:lnTo>
                  <a:lnTo>
                    <a:pt x="3186" y="1606"/>
                  </a:lnTo>
                  <a:lnTo>
                    <a:pt x="3182" y="1589"/>
                  </a:lnTo>
                  <a:lnTo>
                    <a:pt x="3224" y="1606"/>
                  </a:lnTo>
                  <a:lnTo>
                    <a:pt x="3186" y="1585"/>
                  </a:lnTo>
                  <a:lnTo>
                    <a:pt x="3186" y="1568"/>
                  </a:lnTo>
                  <a:lnTo>
                    <a:pt x="3220" y="1573"/>
                  </a:lnTo>
                  <a:lnTo>
                    <a:pt x="3186" y="1568"/>
                  </a:lnTo>
                  <a:lnTo>
                    <a:pt x="3182" y="1585"/>
                  </a:lnTo>
                  <a:lnTo>
                    <a:pt x="3170" y="1556"/>
                  </a:lnTo>
                  <a:lnTo>
                    <a:pt x="3182" y="1540"/>
                  </a:lnTo>
                  <a:lnTo>
                    <a:pt x="3165" y="1556"/>
                  </a:lnTo>
                  <a:lnTo>
                    <a:pt x="3149" y="1552"/>
                  </a:lnTo>
                  <a:lnTo>
                    <a:pt x="3153" y="1516"/>
                  </a:lnTo>
                  <a:lnTo>
                    <a:pt x="3170" y="1500"/>
                  </a:lnTo>
                  <a:lnTo>
                    <a:pt x="3153" y="1500"/>
                  </a:lnTo>
                  <a:lnTo>
                    <a:pt x="3137" y="1533"/>
                  </a:lnTo>
                  <a:lnTo>
                    <a:pt x="3099" y="1516"/>
                  </a:lnTo>
                  <a:lnTo>
                    <a:pt x="3085" y="1483"/>
                  </a:lnTo>
                  <a:lnTo>
                    <a:pt x="3085" y="1474"/>
                  </a:lnTo>
                  <a:lnTo>
                    <a:pt x="3078" y="1478"/>
                  </a:lnTo>
                  <a:lnTo>
                    <a:pt x="3073" y="1474"/>
                  </a:lnTo>
                  <a:lnTo>
                    <a:pt x="3057" y="1424"/>
                  </a:lnTo>
                  <a:lnTo>
                    <a:pt x="3061" y="1400"/>
                  </a:lnTo>
                  <a:lnTo>
                    <a:pt x="3057" y="1424"/>
                  </a:lnTo>
                  <a:lnTo>
                    <a:pt x="3061" y="1445"/>
                  </a:lnTo>
                  <a:lnTo>
                    <a:pt x="3047" y="1429"/>
                  </a:lnTo>
                  <a:lnTo>
                    <a:pt x="3073" y="1483"/>
                  </a:lnTo>
                  <a:lnTo>
                    <a:pt x="3078" y="1516"/>
                  </a:lnTo>
                  <a:lnTo>
                    <a:pt x="3078" y="1533"/>
                  </a:lnTo>
                  <a:lnTo>
                    <a:pt x="3061" y="1533"/>
                  </a:lnTo>
                  <a:lnTo>
                    <a:pt x="3047" y="1511"/>
                  </a:lnTo>
                  <a:lnTo>
                    <a:pt x="3019" y="1516"/>
                  </a:lnTo>
                  <a:lnTo>
                    <a:pt x="3023" y="1500"/>
                  </a:lnTo>
                  <a:lnTo>
                    <a:pt x="3009" y="1474"/>
                  </a:lnTo>
                  <a:lnTo>
                    <a:pt x="3031" y="1462"/>
                  </a:lnTo>
                  <a:lnTo>
                    <a:pt x="3009" y="1462"/>
                  </a:lnTo>
                  <a:lnTo>
                    <a:pt x="3002" y="1445"/>
                  </a:lnTo>
                  <a:lnTo>
                    <a:pt x="3009" y="1474"/>
                  </a:lnTo>
                  <a:lnTo>
                    <a:pt x="2993" y="1478"/>
                  </a:lnTo>
                  <a:lnTo>
                    <a:pt x="2972" y="1457"/>
                  </a:lnTo>
                  <a:lnTo>
                    <a:pt x="2964" y="1462"/>
                  </a:lnTo>
                  <a:lnTo>
                    <a:pt x="2938" y="1445"/>
                  </a:lnTo>
                  <a:lnTo>
                    <a:pt x="2948" y="1462"/>
                  </a:lnTo>
                  <a:lnTo>
                    <a:pt x="2934" y="1474"/>
                  </a:lnTo>
                  <a:lnTo>
                    <a:pt x="2948" y="1462"/>
                  </a:lnTo>
                  <a:lnTo>
                    <a:pt x="2972" y="1474"/>
                  </a:lnTo>
                  <a:lnTo>
                    <a:pt x="2976" y="1474"/>
                  </a:lnTo>
                  <a:lnTo>
                    <a:pt x="2972" y="1474"/>
                  </a:lnTo>
                  <a:lnTo>
                    <a:pt x="2993" y="1483"/>
                  </a:lnTo>
                  <a:lnTo>
                    <a:pt x="2976" y="1495"/>
                  </a:lnTo>
                  <a:lnTo>
                    <a:pt x="2993" y="1483"/>
                  </a:lnTo>
                  <a:lnTo>
                    <a:pt x="3009" y="1516"/>
                  </a:lnTo>
                  <a:lnTo>
                    <a:pt x="2993" y="1528"/>
                  </a:lnTo>
                  <a:lnTo>
                    <a:pt x="2976" y="1511"/>
                  </a:lnTo>
                  <a:lnTo>
                    <a:pt x="2976" y="1516"/>
                  </a:lnTo>
                  <a:lnTo>
                    <a:pt x="2986" y="1528"/>
                  </a:lnTo>
                  <a:lnTo>
                    <a:pt x="2972" y="1516"/>
                  </a:lnTo>
                  <a:lnTo>
                    <a:pt x="2976" y="1528"/>
                  </a:lnTo>
                  <a:lnTo>
                    <a:pt x="2972" y="1533"/>
                  </a:lnTo>
                  <a:lnTo>
                    <a:pt x="2955" y="1516"/>
                  </a:lnTo>
                  <a:lnTo>
                    <a:pt x="2901" y="1495"/>
                  </a:lnTo>
                  <a:lnTo>
                    <a:pt x="2910" y="1483"/>
                  </a:lnTo>
                  <a:lnTo>
                    <a:pt x="2896" y="1483"/>
                  </a:lnTo>
                  <a:lnTo>
                    <a:pt x="2863" y="1445"/>
                  </a:lnTo>
                  <a:lnTo>
                    <a:pt x="2830" y="1441"/>
                  </a:lnTo>
                  <a:lnTo>
                    <a:pt x="2842" y="1429"/>
                  </a:lnTo>
                  <a:lnTo>
                    <a:pt x="2830" y="1441"/>
                  </a:lnTo>
                  <a:lnTo>
                    <a:pt x="2754" y="1400"/>
                  </a:lnTo>
                  <a:lnTo>
                    <a:pt x="2771" y="1384"/>
                  </a:lnTo>
                  <a:lnTo>
                    <a:pt x="2759" y="1355"/>
                  </a:lnTo>
                  <a:lnTo>
                    <a:pt x="2771" y="1346"/>
                  </a:lnTo>
                  <a:lnTo>
                    <a:pt x="2775" y="1355"/>
                  </a:lnTo>
                  <a:lnTo>
                    <a:pt x="2787" y="1389"/>
                  </a:lnTo>
                  <a:lnTo>
                    <a:pt x="2787" y="1384"/>
                  </a:lnTo>
                  <a:lnTo>
                    <a:pt x="2787" y="1367"/>
                  </a:lnTo>
                  <a:lnTo>
                    <a:pt x="2809" y="1367"/>
                  </a:lnTo>
                  <a:lnTo>
                    <a:pt x="2771" y="1346"/>
                  </a:lnTo>
                  <a:lnTo>
                    <a:pt x="2738" y="1367"/>
                  </a:lnTo>
                  <a:lnTo>
                    <a:pt x="2707" y="1372"/>
                  </a:lnTo>
                  <a:lnTo>
                    <a:pt x="2641" y="1355"/>
                  </a:lnTo>
                  <a:lnTo>
                    <a:pt x="2646" y="1346"/>
                  </a:lnTo>
                  <a:lnTo>
                    <a:pt x="2641" y="1329"/>
                  </a:lnTo>
                  <a:lnTo>
                    <a:pt x="2631" y="1334"/>
                  </a:lnTo>
                  <a:lnTo>
                    <a:pt x="2641" y="1346"/>
                  </a:lnTo>
                  <a:lnTo>
                    <a:pt x="2615" y="1351"/>
                  </a:lnTo>
                  <a:lnTo>
                    <a:pt x="2544" y="1334"/>
                  </a:lnTo>
                  <a:lnTo>
                    <a:pt x="2464" y="1346"/>
                  </a:lnTo>
                  <a:lnTo>
                    <a:pt x="2435" y="1329"/>
                  </a:lnTo>
                  <a:lnTo>
                    <a:pt x="2414" y="1329"/>
                  </a:lnTo>
                  <a:lnTo>
                    <a:pt x="2381" y="1313"/>
                  </a:lnTo>
                  <a:lnTo>
                    <a:pt x="2398" y="1280"/>
                  </a:lnTo>
                  <a:lnTo>
                    <a:pt x="2409" y="1263"/>
                  </a:lnTo>
                  <a:lnTo>
                    <a:pt x="2360" y="1301"/>
                  </a:lnTo>
                  <a:lnTo>
                    <a:pt x="2322" y="1289"/>
                  </a:lnTo>
                  <a:lnTo>
                    <a:pt x="2338" y="1273"/>
                  </a:lnTo>
                  <a:lnTo>
                    <a:pt x="2291" y="1273"/>
                  </a:lnTo>
                  <a:lnTo>
                    <a:pt x="2317" y="1263"/>
                  </a:lnTo>
                  <a:lnTo>
                    <a:pt x="2305" y="1256"/>
                  </a:lnTo>
                  <a:lnTo>
                    <a:pt x="2268" y="1273"/>
                  </a:lnTo>
                  <a:lnTo>
                    <a:pt x="2263" y="1263"/>
                  </a:lnTo>
                  <a:lnTo>
                    <a:pt x="2305" y="1256"/>
                  </a:lnTo>
                  <a:lnTo>
                    <a:pt x="2301" y="1244"/>
                  </a:lnTo>
                  <a:lnTo>
                    <a:pt x="2275" y="1256"/>
                  </a:lnTo>
                  <a:lnTo>
                    <a:pt x="2263" y="1240"/>
                  </a:lnTo>
                  <a:lnTo>
                    <a:pt x="2268" y="1223"/>
                  </a:lnTo>
                  <a:lnTo>
                    <a:pt x="2301" y="1223"/>
                  </a:lnTo>
                  <a:lnTo>
                    <a:pt x="2291" y="1223"/>
                  </a:lnTo>
                  <a:lnTo>
                    <a:pt x="2268" y="1223"/>
                  </a:lnTo>
                  <a:lnTo>
                    <a:pt x="2246" y="1240"/>
                  </a:lnTo>
                  <a:lnTo>
                    <a:pt x="2237" y="1235"/>
                  </a:lnTo>
                  <a:lnTo>
                    <a:pt x="2216" y="1244"/>
                  </a:lnTo>
                  <a:lnTo>
                    <a:pt x="2209" y="1244"/>
                  </a:lnTo>
                  <a:lnTo>
                    <a:pt x="2209" y="1218"/>
                  </a:lnTo>
                  <a:lnTo>
                    <a:pt x="2199" y="1244"/>
                  </a:lnTo>
                  <a:lnTo>
                    <a:pt x="2183" y="1256"/>
                  </a:lnTo>
                  <a:lnTo>
                    <a:pt x="2166" y="1240"/>
                  </a:lnTo>
                  <a:lnTo>
                    <a:pt x="2192" y="1207"/>
                  </a:lnTo>
                  <a:lnTo>
                    <a:pt x="2166" y="1235"/>
                  </a:lnTo>
                  <a:lnTo>
                    <a:pt x="2161" y="1223"/>
                  </a:lnTo>
                  <a:lnTo>
                    <a:pt x="2145" y="1235"/>
                  </a:lnTo>
                  <a:lnTo>
                    <a:pt x="2140" y="1240"/>
                  </a:lnTo>
                  <a:lnTo>
                    <a:pt x="2161" y="1235"/>
                  </a:lnTo>
                  <a:lnTo>
                    <a:pt x="2145" y="1256"/>
                  </a:lnTo>
                  <a:lnTo>
                    <a:pt x="2123" y="1256"/>
                  </a:lnTo>
                  <a:lnTo>
                    <a:pt x="2140" y="1256"/>
                  </a:lnTo>
                  <a:lnTo>
                    <a:pt x="2123" y="1273"/>
                  </a:lnTo>
                  <a:lnTo>
                    <a:pt x="2154" y="1263"/>
                  </a:lnTo>
                  <a:lnTo>
                    <a:pt x="2161" y="1280"/>
                  </a:lnTo>
                  <a:lnTo>
                    <a:pt x="2123" y="1296"/>
                  </a:lnTo>
                  <a:lnTo>
                    <a:pt x="2140" y="1289"/>
                  </a:lnTo>
                  <a:lnTo>
                    <a:pt x="2154" y="1296"/>
                  </a:lnTo>
                  <a:lnTo>
                    <a:pt x="2166" y="1280"/>
                  </a:lnTo>
                  <a:lnTo>
                    <a:pt x="2178" y="1296"/>
                  </a:lnTo>
                  <a:lnTo>
                    <a:pt x="2145" y="1329"/>
                  </a:lnTo>
                  <a:lnTo>
                    <a:pt x="2166" y="1318"/>
                  </a:lnTo>
                  <a:lnTo>
                    <a:pt x="2154" y="1334"/>
                  </a:lnTo>
                  <a:lnTo>
                    <a:pt x="2154" y="1329"/>
                  </a:lnTo>
                  <a:lnTo>
                    <a:pt x="2145" y="1351"/>
                  </a:lnTo>
                  <a:lnTo>
                    <a:pt x="2102" y="1351"/>
                  </a:lnTo>
                  <a:lnTo>
                    <a:pt x="2102" y="1334"/>
                  </a:lnTo>
                  <a:lnTo>
                    <a:pt x="2086" y="1355"/>
                  </a:lnTo>
                  <a:lnTo>
                    <a:pt x="2086" y="1346"/>
                  </a:lnTo>
                  <a:lnTo>
                    <a:pt x="2074" y="1334"/>
                  </a:lnTo>
                  <a:lnTo>
                    <a:pt x="2057" y="1367"/>
                  </a:lnTo>
                  <a:lnTo>
                    <a:pt x="2069" y="1372"/>
                  </a:lnTo>
                  <a:lnTo>
                    <a:pt x="2053" y="1351"/>
                  </a:lnTo>
                  <a:lnTo>
                    <a:pt x="2053" y="1384"/>
                  </a:lnTo>
                  <a:lnTo>
                    <a:pt x="2031" y="1367"/>
                  </a:lnTo>
                  <a:lnTo>
                    <a:pt x="2036" y="1372"/>
                  </a:lnTo>
                  <a:lnTo>
                    <a:pt x="2031" y="1384"/>
                  </a:lnTo>
                  <a:lnTo>
                    <a:pt x="2003" y="1400"/>
                  </a:lnTo>
                  <a:lnTo>
                    <a:pt x="2015" y="1372"/>
                  </a:lnTo>
                  <a:lnTo>
                    <a:pt x="1998" y="1400"/>
                  </a:lnTo>
                  <a:lnTo>
                    <a:pt x="1994" y="1389"/>
                  </a:lnTo>
                  <a:lnTo>
                    <a:pt x="1994" y="1400"/>
                  </a:lnTo>
                  <a:lnTo>
                    <a:pt x="1994" y="1407"/>
                  </a:lnTo>
                  <a:lnTo>
                    <a:pt x="1965" y="1424"/>
                  </a:lnTo>
                  <a:lnTo>
                    <a:pt x="1951" y="1424"/>
                  </a:lnTo>
                  <a:lnTo>
                    <a:pt x="1951" y="1429"/>
                  </a:lnTo>
                  <a:lnTo>
                    <a:pt x="1927" y="1424"/>
                  </a:lnTo>
                  <a:lnTo>
                    <a:pt x="1913" y="1441"/>
                  </a:lnTo>
                  <a:lnTo>
                    <a:pt x="1890" y="1424"/>
                  </a:lnTo>
                  <a:lnTo>
                    <a:pt x="1897" y="1407"/>
                  </a:lnTo>
                  <a:lnTo>
                    <a:pt x="1927" y="1400"/>
                  </a:lnTo>
                  <a:lnTo>
                    <a:pt x="1961" y="1367"/>
                  </a:lnTo>
                  <a:lnTo>
                    <a:pt x="1927" y="1384"/>
                  </a:lnTo>
                  <a:lnTo>
                    <a:pt x="1897" y="1372"/>
                  </a:lnTo>
                  <a:lnTo>
                    <a:pt x="1913" y="1346"/>
                  </a:lnTo>
                  <a:lnTo>
                    <a:pt x="1939" y="1301"/>
                  </a:lnTo>
                  <a:lnTo>
                    <a:pt x="1944" y="1289"/>
                  </a:lnTo>
                  <a:lnTo>
                    <a:pt x="1939" y="1263"/>
                  </a:lnTo>
                  <a:lnTo>
                    <a:pt x="2003" y="1235"/>
                  </a:lnTo>
                  <a:lnTo>
                    <a:pt x="2015" y="1240"/>
                  </a:lnTo>
                  <a:lnTo>
                    <a:pt x="2048" y="1240"/>
                  </a:lnTo>
                  <a:lnTo>
                    <a:pt x="2102" y="1256"/>
                  </a:lnTo>
                  <a:lnTo>
                    <a:pt x="2090" y="1240"/>
                  </a:lnTo>
                  <a:lnTo>
                    <a:pt x="2057" y="1240"/>
                  </a:lnTo>
                  <a:lnTo>
                    <a:pt x="2031" y="1218"/>
                  </a:lnTo>
                  <a:lnTo>
                    <a:pt x="2053" y="1190"/>
                  </a:lnTo>
                  <a:lnTo>
                    <a:pt x="2086" y="1185"/>
                  </a:lnTo>
                  <a:lnTo>
                    <a:pt x="2074" y="1178"/>
                  </a:lnTo>
                  <a:lnTo>
                    <a:pt x="2053" y="1185"/>
                  </a:lnTo>
                  <a:lnTo>
                    <a:pt x="2031" y="1207"/>
                  </a:lnTo>
                  <a:lnTo>
                    <a:pt x="1994" y="1207"/>
                  </a:lnTo>
                  <a:lnTo>
                    <a:pt x="1961" y="1218"/>
                  </a:lnTo>
                  <a:lnTo>
                    <a:pt x="1951" y="1235"/>
                  </a:lnTo>
                  <a:lnTo>
                    <a:pt x="1923" y="1240"/>
                  </a:lnTo>
                  <a:lnTo>
                    <a:pt x="1906" y="1256"/>
                  </a:lnTo>
                  <a:lnTo>
                    <a:pt x="1913" y="1263"/>
                  </a:lnTo>
                  <a:lnTo>
                    <a:pt x="1897" y="1263"/>
                  </a:lnTo>
                  <a:lnTo>
                    <a:pt x="1875" y="1289"/>
                  </a:lnTo>
                  <a:lnTo>
                    <a:pt x="1859" y="1313"/>
                  </a:lnTo>
                  <a:lnTo>
                    <a:pt x="1842" y="1318"/>
                  </a:lnTo>
                  <a:lnTo>
                    <a:pt x="1814" y="1313"/>
                  </a:lnTo>
                  <a:lnTo>
                    <a:pt x="1831" y="1313"/>
                  </a:lnTo>
                  <a:lnTo>
                    <a:pt x="1852" y="1334"/>
                  </a:lnTo>
                  <a:lnTo>
                    <a:pt x="1842" y="1351"/>
                  </a:lnTo>
                  <a:lnTo>
                    <a:pt x="1805" y="1367"/>
                  </a:lnTo>
                  <a:lnTo>
                    <a:pt x="1821" y="1367"/>
                  </a:lnTo>
                  <a:lnTo>
                    <a:pt x="1821" y="1372"/>
                  </a:lnTo>
                  <a:lnTo>
                    <a:pt x="1800" y="1384"/>
                  </a:lnTo>
                  <a:lnTo>
                    <a:pt x="1788" y="1384"/>
                  </a:lnTo>
                  <a:lnTo>
                    <a:pt x="1800" y="1372"/>
                  </a:lnTo>
                  <a:lnTo>
                    <a:pt x="1788" y="1367"/>
                  </a:lnTo>
                  <a:lnTo>
                    <a:pt x="1783" y="1389"/>
                  </a:lnTo>
                  <a:lnTo>
                    <a:pt x="1767" y="1400"/>
                  </a:lnTo>
                  <a:lnTo>
                    <a:pt x="1767" y="1407"/>
                  </a:lnTo>
                  <a:lnTo>
                    <a:pt x="1746" y="1412"/>
                  </a:lnTo>
                  <a:lnTo>
                    <a:pt x="1750" y="1412"/>
                  </a:lnTo>
                  <a:lnTo>
                    <a:pt x="1734" y="1441"/>
                  </a:lnTo>
                  <a:lnTo>
                    <a:pt x="1734" y="1445"/>
                  </a:lnTo>
                  <a:lnTo>
                    <a:pt x="1776" y="1445"/>
                  </a:lnTo>
                  <a:lnTo>
                    <a:pt x="1805" y="1474"/>
                  </a:lnTo>
                  <a:lnTo>
                    <a:pt x="1783" y="1495"/>
                  </a:lnTo>
                  <a:lnTo>
                    <a:pt x="1746" y="1511"/>
                  </a:lnTo>
                  <a:lnTo>
                    <a:pt x="1750" y="1516"/>
                  </a:lnTo>
                  <a:lnTo>
                    <a:pt x="1729" y="1528"/>
                  </a:lnTo>
                  <a:lnTo>
                    <a:pt x="1746" y="1528"/>
                  </a:lnTo>
                  <a:lnTo>
                    <a:pt x="1734" y="1540"/>
                  </a:lnTo>
                  <a:lnTo>
                    <a:pt x="1724" y="1540"/>
                  </a:lnTo>
                  <a:lnTo>
                    <a:pt x="1712" y="1556"/>
                  </a:lnTo>
                  <a:lnTo>
                    <a:pt x="1679" y="1556"/>
                  </a:lnTo>
                  <a:lnTo>
                    <a:pt x="1675" y="1568"/>
                  </a:lnTo>
                  <a:lnTo>
                    <a:pt x="1658" y="1585"/>
                  </a:lnTo>
                  <a:lnTo>
                    <a:pt x="1637" y="1585"/>
                  </a:lnTo>
                  <a:lnTo>
                    <a:pt x="1625" y="1606"/>
                  </a:lnTo>
                  <a:lnTo>
                    <a:pt x="1604" y="1606"/>
                  </a:lnTo>
                  <a:lnTo>
                    <a:pt x="1604" y="1611"/>
                  </a:lnTo>
                  <a:lnTo>
                    <a:pt x="1599" y="1611"/>
                  </a:lnTo>
                  <a:lnTo>
                    <a:pt x="1571" y="1627"/>
                  </a:lnTo>
                  <a:lnTo>
                    <a:pt x="1587" y="1627"/>
                  </a:lnTo>
                  <a:lnTo>
                    <a:pt x="1587" y="1644"/>
                  </a:lnTo>
                  <a:lnTo>
                    <a:pt x="1571" y="1660"/>
                  </a:lnTo>
                  <a:lnTo>
                    <a:pt x="1545" y="1660"/>
                  </a:lnTo>
                  <a:lnTo>
                    <a:pt x="1528" y="1684"/>
                  </a:lnTo>
                  <a:lnTo>
                    <a:pt x="1512" y="1677"/>
                  </a:lnTo>
                  <a:lnTo>
                    <a:pt x="1495" y="1693"/>
                  </a:lnTo>
                  <a:lnTo>
                    <a:pt x="1502" y="1700"/>
                  </a:lnTo>
                  <a:lnTo>
                    <a:pt x="1490" y="1693"/>
                  </a:lnTo>
                  <a:lnTo>
                    <a:pt x="1457" y="1705"/>
                  </a:lnTo>
                  <a:lnTo>
                    <a:pt x="1481" y="1705"/>
                  </a:lnTo>
                  <a:lnTo>
                    <a:pt x="1481" y="1717"/>
                  </a:lnTo>
                  <a:lnTo>
                    <a:pt x="1457" y="1705"/>
                  </a:lnTo>
                  <a:lnTo>
                    <a:pt x="1443" y="1717"/>
                  </a:lnTo>
                  <a:lnTo>
                    <a:pt x="1427" y="1738"/>
                  </a:lnTo>
                  <a:lnTo>
                    <a:pt x="1436" y="1738"/>
                  </a:lnTo>
                  <a:lnTo>
                    <a:pt x="1443" y="1733"/>
                  </a:lnTo>
                  <a:lnTo>
                    <a:pt x="1457" y="1733"/>
                  </a:lnTo>
                  <a:lnTo>
                    <a:pt x="1448" y="1750"/>
                  </a:lnTo>
                  <a:lnTo>
                    <a:pt x="1464" y="1738"/>
                  </a:lnTo>
                  <a:lnTo>
                    <a:pt x="1443" y="1750"/>
                  </a:lnTo>
                  <a:lnTo>
                    <a:pt x="1436" y="1762"/>
                  </a:lnTo>
                  <a:lnTo>
                    <a:pt x="1427" y="1755"/>
                  </a:lnTo>
                  <a:lnTo>
                    <a:pt x="1436" y="1750"/>
                  </a:lnTo>
                  <a:lnTo>
                    <a:pt x="1427" y="1750"/>
                  </a:lnTo>
                  <a:lnTo>
                    <a:pt x="1427" y="1771"/>
                  </a:lnTo>
                  <a:lnTo>
                    <a:pt x="1410" y="1762"/>
                  </a:lnTo>
                  <a:lnTo>
                    <a:pt x="1405" y="1771"/>
                  </a:lnTo>
                  <a:lnTo>
                    <a:pt x="1372" y="1778"/>
                  </a:lnTo>
                  <a:lnTo>
                    <a:pt x="1351" y="1804"/>
                  </a:lnTo>
                  <a:lnTo>
                    <a:pt x="1356" y="1778"/>
                  </a:lnTo>
                  <a:lnTo>
                    <a:pt x="1339" y="1778"/>
                  </a:lnTo>
                  <a:lnTo>
                    <a:pt x="1318" y="1795"/>
                  </a:lnTo>
                  <a:lnTo>
                    <a:pt x="1301" y="1804"/>
                  </a:lnTo>
                  <a:lnTo>
                    <a:pt x="1297" y="1816"/>
                  </a:lnTo>
                  <a:lnTo>
                    <a:pt x="1285" y="1811"/>
                  </a:lnTo>
                  <a:lnTo>
                    <a:pt x="1280" y="1811"/>
                  </a:lnTo>
                  <a:lnTo>
                    <a:pt x="1280" y="1816"/>
                  </a:lnTo>
                  <a:lnTo>
                    <a:pt x="1264" y="1811"/>
                  </a:lnTo>
                  <a:lnTo>
                    <a:pt x="1242" y="1828"/>
                  </a:lnTo>
                  <a:lnTo>
                    <a:pt x="1226" y="1828"/>
                  </a:lnTo>
                  <a:lnTo>
                    <a:pt x="1226" y="1816"/>
                  </a:lnTo>
                  <a:lnTo>
                    <a:pt x="1231" y="1804"/>
                  </a:lnTo>
                  <a:lnTo>
                    <a:pt x="1247" y="1811"/>
                  </a:lnTo>
                  <a:lnTo>
                    <a:pt x="1221" y="1804"/>
                  </a:lnTo>
                  <a:lnTo>
                    <a:pt x="1205" y="1833"/>
                  </a:lnTo>
                  <a:lnTo>
                    <a:pt x="1188" y="1844"/>
                  </a:lnTo>
                  <a:lnTo>
                    <a:pt x="1193" y="1849"/>
                  </a:lnTo>
                  <a:lnTo>
                    <a:pt x="1179" y="1861"/>
                  </a:lnTo>
                  <a:lnTo>
                    <a:pt x="1179" y="1849"/>
                  </a:lnTo>
                  <a:lnTo>
                    <a:pt x="1172" y="1849"/>
                  </a:lnTo>
                  <a:lnTo>
                    <a:pt x="1172" y="1861"/>
                  </a:lnTo>
                  <a:lnTo>
                    <a:pt x="1155" y="1861"/>
                  </a:lnTo>
                  <a:lnTo>
                    <a:pt x="1150" y="1833"/>
                  </a:lnTo>
                  <a:lnTo>
                    <a:pt x="1141" y="1844"/>
                  </a:lnTo>
                  <a:lnTo>
                    <a:pt x="1150" y="1849"/>
                  </a:lnTo>
                  <a:lnTo>
                    <a:pt x="1150" y="1866"/>
                  </a:lnTo>
                  <a:lnTo>
                    <a:pt x="1141" y="1866"/>
                  </a:lnTo>
                  <a:lnTo>
                    <a:pt x="1124" y="1873"/>
                  </a:lnTo>
                  <a:lnTo>
                    <a:pt x="1103" y="1849"/>
                  </a:lnTo>
                  <a:lnTo>
                    <a:pt x="1103" y="1861"/>
                  </a:lnTo>
                  <a:lnTo>
                    <a:pt x="1117" y="1866"/>
                  </a:lnTo>
                  <a:lnTo>
                    <a:pt x="1096" y="1882"/>
                  </a:lnTo>
                  <a:lnTo>
                    <a:pt x="1096" y="1873"/>
                  </a:lnTo>
                  <a:lnTo>
                    <a:pt x="1103" y="1866"/>
                  </a:lnTo>
                  <a:lnTo>
                    <a:pt x="1096" y="1849"/>
                  </a:lnTo>
                  <a:lnTo>
                    <a:pt x="1117" y="1849"/>
                  </a:lnTo>
                  <a:lnTo>
                    <a:pt x="1124" y="1833"/>
                  </a:lnTo>
                  <a:lnTo>
                    <a:pt x="1150" y="1828"/>
                  </a:lnTo>
                  <a:lnTo>
                    <a:pt x="1155" y="1828"/>
                  </a:lnTo>
                  <a:lnTo>
                    <a:pt x="1150" y="1816"/>
                  </a:lnTo>
                  <a:lnTo>
                    <a:pt x="1172" y="1795"/>
                  </a:lnTo>
                  <a:lnTo>
                    <a:pt x="1205" y="1771"/>
                  </a:lnTo>
                  <a:lnTo>
                    <a:pt x="1259" y="1771"/>
                  </a:lnTo>
                  <a:lnTo>
                    <a:pt x="1280" y="1795"/>
                  </a:lnTo>
                  <a:lnTo>
                    <a:pt x="1275" y="1778"/>
                  </a:lnTo>
                  <a:lnTo>
                    <a:pt x="1313" y="1788"/>
                  </a:lnTo>
                  <a:lnTo>
                    <a:pt x="1313" y="1778"/>
                  </a:lnTo>
                  <a:lnTo>
                    <a:pt x="1285" y="1762"/>
                  </a:lnTo>
                  <a:lnTo>
                    <a:pt x="1301" y="1733"/>
                  </a:lnTo>
                  <a:lnTo>
                    <a:pt x="1394" y="1684"/>
                  </a:lnTo>
                  <a:lnTo>
                    <a:pt x="1427" y="1684"/>
                  </a:lnTo>
                  <a:lnTo>
                    <a:pt x="1427" y="1651"/>
                  </a:lnTo>
                  <a:lnTo>
                    <a:pt x="1474" y="1611"/>
                  </a:lnTo>
                  <a:lnTo>
                    <a:pt x="1490" y="1606"/>
                  </a:lnTo>
                  <a:lnTo>
                    <a:pt x="1495" y="1611"/>
                  </a:lnTo>
                  <a:lnTo>
                    <a:pt x="1512" y="1611"/>
                  </a:lnTo>
                  <a:lnTo>
                    <a:pt x="1512" y="1606"/>
                  </a:lnTo>
                  <a:lnTo>
                    <a:pt x="1502" y="1611"/>
                  </a:lnTo>
                  <a:lnTo>
                    <a:pt x="1490" y="1594"/>
                  </a:lnTo>
                  <a:lnTo>
                    <a:pt x="1495" y="1552"/>
                  </a:lnTo>
                  <a:lnTo>
                    <a:pt x="1512" y="1533"/>
                  </a:lnTo>
                  <a:lnTo>
                    <a:pt x="1528" y="1540"/>
                  </a:lnTo>
                  <a:lnTo>
                    <a:pt x="1502" y="1533"/>
                  </a:lnTo>
                  <a:lnTo>
                    <a:pt x="1502" y="1516"/>
                  </a:lnTo>
                  <a:lnTo>
                    <a:pt x="1533" y="1478"/>
                  </a:lnTo>
                  <a:lnTo>
                    <a:pt x="1557" y="1441"/>
                  </a:lnTo>
                  <a:lnTo>
                    <a:pt x="1533" y="1462"/>
                  </a:lnTo>
                  <a:lnTo>
                    <a:pt x="1457" y="1495"/>
                  </a:lnTo>
                  <a:lnTo>
                    <a:pt x="1427" y="1474"/>
                  </a:lnTo>
                  <a:lnTo>
                    <a:pt x="1436" y="1457"/>
                  </a:lnTo>
                  <a:lnTo>
                    <a:pt x="1457" y="1457"/>
                  </a:lnTo>
                  <a:lnTo>
                    <a:pt x="1474" y="1462"/>
                  </a:lnTo>
                  <a:lnTo>
                    <a:pt x="1436" y="1429"/>
                  </a:lnTo>
                  <a:lnTo>
                    <a:pt x="1436" y="1445"/>
                  </a:lnTo>
                  <a:lnTo>
                    <a:pt x="1427" y="1462"/>
                  </a:lnTo>
                  <a:lnTo>
                    <a:pt x="1420" y="1462"/>
                  </a:lnTo>
                  <a:lnTo>
                    <a:pt x="1420" y="1457"/>
                  </a:lnTo>
                  <a:lnTo>
                    <a:pt x="1410" y="1457"/>
                  </a:lnTo>
                  <a:lnTo>
                    <a:pt x="1420" y="1478"/>
                  </a:lnTo>
                  <a:lnTo>
                    <a:pt x="1410" y="1478"/>
                  </a:lnTo>
                  <a:lnTo>
                    <a:pt x="1410" y="1474"/>
                  </a:lnTo>
                  <a:lnTo>
                    <a:pt x="1405" y="1478"/>
                  </a:lnTo>
                  <a:lnTo>
                    <a:pt x="1420" y="1500"/>
                  </a:lnTo>
                  <a:lnTo>
                    <a:pt x="1405" y="1516"/>
                  </a:lnTo>
                  <a:lnTo>
                    <a:pt x="1394" y="1511"/>
                  </a:lnTo>
                  <a:lnTo>
                    <a:pt x="1356" y="1457"/>
                  </a:lnTo>
                  <a:lnTo>
                    <a:pt x="1335" y="1478"/>
                  </a:lnTo>
                  <a:lnTo>
                    <a:pt x="1313" y="1457"/>
                  </a:lnTo>
                  <a:lnTo>
                    <a:pt x="1301" y="1445"/>
                  </a:lnTo>
                  <a:lnTo>
                    <a:pt x="1221" y="1495"/>
                  </a:lnTo>
                  <a:lnTo>
                    <a:pt x="1179" y="1483"/>
                  </a:lnTo>
                  <a:lnTo>
                    <a:pt x="1193" y="1483"/>
                  </a:lnTo>
                  <a:lnTo>
                    <a:pt x="1209" y="1478"/>
                  </a:lnTo>
                  <a:lnTo>
                    <a:pt x="1205" y="1462"/>
                  </a:lnTo>
                  <a:lnTo>
                    <a:pt x="1205" y="1445"/>
                  </a:lnTo>
                  <a:lnTo>
                    <a:pt x="1221" y="1441"/>
                  </a:lnTo>
                  <a:lnTo>
                    <a:pt x="1193" y="1445"/>
                  </a:lnTo>
                  <a:lnTo>
                    <a:pt x="1188" y="1441"/>
                  </a:lnTo>
                  <a:lnTo>
                    <a:pt x="1193" y="1412"/>
                  </a:lnTo>
                  <a:lnTo>
                    <a:pt x="1209" y="1400"/>
                  </a:lnTo>
                  <a:lnTo>
                    <a:pt x="1172" y="1334"/>
                  </a:lnTo>
                  <a:lnTo>
                    <a:pt x="1179" y="1318"/>
                  </a:lnTo>
                  <a:lnTo>
                    <a:pt x="1167" y="1329"/>
                  </a:lnTo>
                  <a:lnTo>
                    <a:pt x="1167" y="1313"/>
                  </a:lnTo>
                  <a:lnTo>
                    <a:pt x="1172" y="1280"/>
                  </a:lnTo>
                  <a:lnTo>
                    <a:pt x="1193" y="1273"/>
                  </a:lnTo>
                  <a:lnTo>
                    <a:pt x="1172" y="1280"/>
                  </a:lnTo>
                  <a:lnTo>
                    <a:pt x="1150" y="1313"/>
                  </a:lnTo>
                  <a:lnTo>
                    <a:pt x="1155" y="1329"/>
                  </a:lnTo>
                  <a:lnTo>
                    <a:pt x="1155" y="1346"/>
                  </a:lnTo>
                  <a:lnTo>
                    <a:pt x="1096" y="1367"/>
                  </a:lnTo>
                  <a:lnTo>
                    <a:pt x="1042" y="1367"/>
                  </a:lnTo>
                  <a:lnTo>
                    <a:pt x="1032" y="1351"/>
                  </a:lnTo>
                  <a:lnTo>
                    <a:pt x="1042" y="1346"/>
                  </a:lnTo>
                  <a:lnTo>
                    <a:pt x="1016" y="1334"/>
                  </a:lnTo>
                  <a:lnTo>
                    <a:pt x="1004" y="1313"/>
                  </a:lnTo>
                  <a:lnTo>
                    <a:pt x="973" y="1296"/>
                  </a:lnTo>
                  <a:lnTo>
                    <a:pt x="978" y="1289"/>
                  </a:lnTo>
                  <a:lnTo>
                    <a:pt x="952" y="1289"/>
                  </a:lnTo>
                  <a:lnTo>
                    <a:pt x="1004" y="1244"/>
                  </a:lnTo>
                  <a:lnTo>
                    <a:pt x="1004" y="1256"/>
                  </a:lnTo>
                  <a:lnTo>
                    <a:pt x="1032" y="1263"/>
                  </a:lnTo>
                  <a:lnTo>
                    <a:pt x="1032" y="1273"/>
                  </a:lnTo>
                  <a:lnTo>
                    <a:pt x="1016" y="1289"/>
                  </a:lnTo>
                  <a:lnTo>
                    <a:pt x="1049" y="1263"/>
                  </a:lnTo>
                  <a:lnTo>
                    <a:pt x="1065" y="1263"/>
                  </a:lnTo>
                  <a:lnTo>
                    <a:pt x="1065" y="1280"/>
                  </a:lnTo>
                  <a:lnTo>
                    <a:pt x="1070" y="1280"/>
                  </a:lnTo>
                  <a:lnTo>
                    <a:pt x="1086" y="1263"/>
                  </a:lnTo>
                  <a:lnTo>
                    <a:pt x="1058" y="1256"/>
                  </a:lnTo>
                  <a:lnTo>
                    <a:pt x="1079" y="1244"/>
                  </a:lnTo>
                  <a:lnTo>
                    <a:pt x="1065" y="1240"/>
                  </a:lnTo>
                  <a:lnTo>
                    <a:pt x="1049" y="1256"/>
                  </a:lnTo>
                  <a:lnTo>
                    <a:pt x="973" y="1244"/>
                  </a:lnTo>
                  <a:lnTo>
                    <a:pt x="961" y="1240"/>
                  </a:lnTo>
                  <a:lnTo>
                    <a:pt x="994" y="1223"/>
                  </a:lnTo>
                  <a:lnTo>
                    <a:pt x="973" y="1223"/>
                  </a:lnTo>
                  <a:lnTo>
                    <a:pt x="973" y="1207"/>
                  </a:lnTo>
                  <a:lnTo>
                    <a:pt x="961" y="1218"/>
                  </a:lnTo>
                  <a:lnTo>
                    <a:pt x="957" y="1218"/>
                  </a:lnTo>
                  <a:lnTo>
                    <a:pt x="973" y="1190"/>
                  </a:lnTo>
                  <a:lnTo>
                    <a:pt x="990" y="1185"/>
                  </a:lnTo>
                  <a:lnTo>
                    <a:pt x="1004" y="1169"/>
                  </a:lnTo>
                  <a:lnTo>
                    <a:pt x="957" y="1202"/>
                  </a:lnTo>
                  <a:lnTo>
                    <a:pt x="952" y="1218"/>
                  </a:lnTo>
                  <a:lnTo>
                    <a:pt x="957" y="1218"/>
                  </a:lnTo>
                  <a:lnTo>
                    <a:pt x="952" y="1235"/>
                  </a:lnTo>
                  <a:lnTo>
                    <a:pt x="935" y="1223"/>
                  </a:lnTo>
                  <a:lnTo>
                    <a:pt x="935" y="1207"/>
                  </a:lnTo>
                  <a:lnTo>
                    <a:pt x="919" y="1202"/>
                  </a:lnTo>
                  <a:lnTo>
                    <a:pt x="919" y="1190"/>
                  </a:lnTo>
                  <a:lnTo>
                    <a:pt x="924" y="1185"/>
                  </a:lnTo>
                  <a:lnTo>
                    <a:pt x="924" y="1178"/>
                  </a:lnTo>
                  <a:lnTo>
                    <a:pt x="902" y="1185"/>
                  </a:lnTo>
                  <a:lnTo>
                    <a:pt x="898" y="1169"/>
                  </a:lnTo>
                  <a:lnTo>
                    <a:pt x="898" y="1162"/>
                  </a:lnTo>
                  <a:lnTo>
                    <a:pt x="902" y="1169"/>
                  </a:lnTo>
                  <a:lnTo>
                    <a:pt x="924" y="1162"/>
                  </a:lnTo>
                  <a:lnTo>
                    <a:pt x="902" y="1145"/>
                  </a:lnTo>
                  <a:lnTo>
                    <a:pt x="935" y="1145"/>
                  </a:lnTo>
                  <a:lnTo>
                    <a:pt x="924" y="1129"/>
                  </a:lnTo>
                  <a:lnTo>
                    <a:pt x="935" y="1112"/>
                  </a:lnTo>
                  <a:lnTo>
                    <a:pt x="961" y="1074"/>
                  </a:lnTo>
                  <a:lnTo>
                    <a:pt x="978" y="1067"/>
                  </a:lnTo>
                  <a:lnTo>
                    <a:pt x="1004" y="1079"/>
                  </a:lnTo>
                  <a:lnTo>
                    <a:pt x="990" y="1067"/>
                  </a:lnTo>
                  <a:lnTo>
                    <a:pt x="1016" y="1041"/>
                  </a:lnTo>
                  <a:lnTo>
                    <a:pt x="994" y="1051"/>
                  </a:lnTo>
                  <a:lnTo>
                    <a:pt x="990" y="1034"/>
                  </a:lnTo>
                  <a:lnTo>
                    <a:pt x="1004" y="1013"/>
                  </a:lnTo>
                  <a:lnTo>
                    <a:pt x="1027" y="1013"/>
                  </a:lnTo>
                  <a:lnTo>
                    <a:pt x="1011" y="1001"/>
                  </a:lnTo>
                  <a:lnTo>
                    <a:pt x="1016" y="985"/>
                  </a:lnTo>
                  <a:lnTo>
                    <a:pt x="1049" y="985"/>
                  </a:lnTo>
                  <a:lnTo>
                    <a:pt x="1096" y="1013"/>
                  </a:lnTo>
                  <a:lnTo>
                    <a:pt x="1112" y="1013"/>
                  </a:lnTo>
                  <a:lnTo>
                    <a:pt x="1150" y="985"/>
                  </a:lnTo>
                  <a:lnTo>
                    <a:pt x="1167" y="959"/>
                  </a:lnTo>
                  <a:lnTo>
                    <a:pt x="1188" y="959"/>
                  </a:lnTo>
                  <a:lnTo>
                    <a:pt x="1179" y="963"/>
                  </a:lnTo>
                  <a:lnTo>
                    <a:pt x="1247" y="959"/>
                  </a:lnTo>
                  <a:lnTo>
                    <a:pt x="1275" y="930"/>
                  </a:lnTo>
                  <a:lnTo>
                    <a:pt x="1275" y="914"/>
                  </a:lnTo>
                  <a:lnTo>
                    <a:pt x="1264" y="874"/>
                  </a:lnTo>
                  <a:lnTo>
                    <a:pt x="1247" y="852"/>
                  </a:lnTo>
                  <a:lnTo>
                    <a:pt x="1226" y="852"/>
                  </a:lnTo>
                  <a:lnTo>
                    <a:pt x="1231" y="836"/>
                  </a:lnTo>
                  <a:lnTo>
                    <a:pt x="1259" y="848"/>
                  </a:lnTo>
                  <a:lnTo>
                    <a:pt x="1275" y="831"/>
                  </a:lnTo>
                  <a:lnTo>
                    <a:pt x="1275" y="819"/>
                  </a:lnTo>
                  <a:lnTo>
                    <a:pt x="1247" y="796"/>
                  </a:lnTo>
                  <a:lnTo>
                    <a:pt x="1259" y="791"/>
                  </a:lnTo>
                  <a:lnTo>
                    <a:pt x="1247" y="791"/>
                  </a:lnTo>
                  <a:lnTo>
                    <a:pt x="1226" y="815"/>
                  </a:lnTo>
                  <a:lnTo>
                    <a:pt x="1179" y="819"/>
                  </a:lnTo>
                  <a:lnTo>
                    <a:pt x="1150" y="848"/>
                  </a:lnTo>
                  <a:lnTo>
                    <a:pt x="1150" y="852"/>
                  </a:lnTo>
                  <a:lnTo>
                    <a:pt x="1134" y="857"/>
                  </a:lnTo>
                  <a:lnTo>
                    <a:pt x="1124" y="848"/>
                  </a:lnTo>
                  <a:lnTo>
                    <a:pt x="1112" y="819"/>
                  </a:lnTo>
                  <a:lnTo>
                    <a:pt x="1096" y="836"/>
                  </a:lnTo>
                  <a:lnTo>
                    <a:pt x="1117" y="848"/>
                  </a:lnTo>
                  <a:lnTo>
                    <a:pt x="1112" y="852"/>
                  </a:lnTo>
                  <a:lnTo>
                    <a:pt x="1086" y="836"/>
                  </a:lnTo>
                  <a:lnTo>
                    <a:pt x="1065" y="831"/>
                  </a:lnTo>
                  <a:lnTo>
                    <a:pt x="990" y="836"/>
                  </a:lnTo>
                  <a:lnTo>
                    <a:pt x="990" y="848"/>
                  </a:lnTo>
                  <a:lnTo>
                    <a:pt x="994" y="848"/>
                  </a:lnTo>
                  <a:lnTo>
                    <a:pt x="978" y="852"/>
                  </a:lnTo>
                  <a:lnTo>
                    <a:pt x="902" y="836"/>
                  </a:lnTo>
                  <a:lnTo>
                    <a:pt x="881" y="819"/>
                  </a:lnTo>
                  <a:lnTo>
                    <a:pt x="869" y="815"/>
                  </a:lnTo>
                  <a:lnTo>
                    <a:pt x="881" y="796"/>
                  </a:lnTo>
                  <a:lnTo>
                    <a:pt x="843" y="763"/>
                  </a:lnTo>
                  <a:lnTo>
                    <a:pt x="848" y="746"/>
                  </a:lnTo>
                  <a:lnTo>
                    <a:pt x="843" y="763"/>
                  </a:lnTo>
                  <a:lnTo>
                    <a:pt x="864" y="774"/>
                  </a:lnTo>
                  <a:lnTo>
                    <a:pt x="881" y="746"/>
                  </a:lnTo>
                  <a:lnTo>
                    <a:pt x="902" y="758"/>
                  </a:lnTo>
                  <a:lnTo>
                    <a:pt x="810" y="737"/>
                  </a:lnTo>
                  <a:lnTo>
                    <a:pt x="756" y="708"/>
                  </a:lnTo>
                  <a:lnTo>
                    <a:pt x="777" y="692"/>
                  </a:lnTo>
                  <a:lnTo>
                    <a:pt x="763" y="708"/>
                  </a:lnTo>
                  <a:lnTo>
                    <a:pt x="801" y="704"/>
                  </a:lnTo>
                  <a:lnTo>
                    <a:pt x="801" y="692"/>
                  </a:lnTo>
                  <a:lnTo>
                    <a:pt x="801" y="687"/>
                  </a:lnTo>
                  <a:lnTo>
                    <a:pt x="831" y="680"/>
                  </a:lnTo>
                  <a:lnTo>
                    <a:pt x="848" y="680"/>
                  </a:lnTo>
                  <a:lnTo>
                    <a:pt x="843" y="670"/>
                  </a:lnTo>
                  <a:lnTo>
                    <a:pt x="886" y="647"/>
                  </a:lnTo>
                  <a:lnTo>
                    <a:pt x="924" y="654"/>
                  </a:lnTo>
                  <a:lnTo>
                    <a:pt x="940" y="647"/>
                  </a:lnTo>
                  <a:lnTo>
                    <a:pt x="919" y="635"/>
                  </a:lnTo>
                  <a:lnTo>
                    <a:pt x="935" y="626"/>
                  </a:lnTo>
                  <a:lnTo>
                    <a:pt x="1027" y="597"/>
                  </a:lnTo>
                  <a:lnTo>
                    <a:pt x="1070" y="597"/>
                  </a:lnTo>
                  <a:lnTo>
                    <a:pt x="1058" y="597"/>
                  </a:lnTo>
                  <a:lnTo>
                    <a:pt x="1065" y="609"/>
                  </a:lnTo>
                  <a:lnTo>
                    <a:pt x="1058" y="626"/>
                  </a:lnTo>
                  <a:lnTo>
                    <a:pt x="1058" y="630"/>
                  </a:lnTo>
                  <a:lnTo>
                    <a:pt x="1032" y="647"/>
                  </a:lnTo>
                  <a:lnTo>
                    <a:pt x="1070" y="663"/>
                  </a:lnTo>
                  <a:lnTo>
                    <a:pt x="1188" y="663"/>
                  </a:lnTo>
                  <a:lnTo>
                    <a:pt x="1205" y="670"/>
                  </a:lnTo>
                  <a:lnTo>
                    <a:pt x="1226" y="635"/>
                  </a:lnTo>
                  <a:lnTo>
                    <a:pt x="1259" y="635"/>
                  </a:lnTo>
                  <a:lnTo>
                    <a:pt x="1247" y="654"/>
                  </a:lnTo>
                  <a:lnTo>
                    <a:pt x="1259" y="635"/>
                  </a:lnTo>
                  <a:lnTo>
                    <a:pt x="1247" y="626"/>
                  </a:lnTo>
                  <a:lnTo>
                    <a:pt x="1226" y="614"/>
                  </a:lnTo>
                  <a:lnTo>
                    <a:pt x="1193" y="626"/>
                  </a:lnTo>
                  <a:lnTo>
                    <a:pt x="1193" y="630"/>
                  </a:lnTo>
                  <a:lnTo>
                    <a:pt x="1193" y="597"/>
                  </a:lnTo>
                  <a:lnTo>
                    <a:pt x="1172" y="581"/>
                  </a:lnTo>
                  <a:lnTo>
                    <a:pt x="1155" y="576"/>
                  </a:lnTo>
                  <a:lnTo>
                    <a:pt x="1141" y="559"/>
                  </a:lnTo>
                  <a:lnTo>
                    <a:pt x="1167" y="552"/>
                  </a:lnTo>
                  <a:lnTo>
                    <a:pt x="1179" y="569"/>
                  </a:lnTo>
                  <a:lnTo>
                    <a:pt x="1188" y="593"/>
                  </a:lnTo>
                  <a:lnTo>
                    <a:pt x="1221" y="614"/>
                  </a:lnTo>
                  <a:lnTo>
                    <a:pt x="1247" y="597"/>
                  </a:lnTo>
                  <a:lnTo>
                    <a:pt x="1275" y="626"/>
                  </a:lnTo>
                  <a:lnTo>
                    <a:pt x="1313" y="626"/>
                  </a:lnTo>
                  <a:lnTo>
                    <a:pt x="1313" y="593"/>
                  </a:lnTo>
                  <a:lnTo>
                    <a:pt x="1285" y="597"/>
                  </a:lnTo>
                  <a:lnTo>
                    <a:pt x="1247" y="593"/>
                  </a:lnTo>
                  <a:lnTo>
                    <a:pt x="1242" y="597"/>
                  </a:lnTo>
                  <a:lnTo>
                    <a:pt x="1226" y="597"/>
                  </a:lnTo>
                  <a:lnTo>
                    <a:pt x="1193" y="581"/>
                  </a:lnTo>
                  <a:lnTo>
                    <a:pt x="1209" y="552"/>
                  </a:lnTo>
                  <a:lnTo>
                    <a:pt x="1226" y="552"/>
                  </a:lnTo>
                  <a:lnTo>
                    <a:pt x="1193" y="543"/>
                  </a:lnTo>
                  <a:lnTo>
                    <a:pt x="1155" y="543"/>
                  </a:lnTo>
                  <a:lnTo>
                    <a:pt x="1167" y="526"/>
                  </a:lnTo>
                  <a:lnTo>
                    <a:pt x="1150" y="543"/>
                  </a:lnTo>
                  <a:lnTo>
                    <a:pt x="1065" y="536"/>
                  </a:lnTo>
                  <a:lnTo>
                    <a:pt x="1065" y="503"/>
                  </a:lnTo>
                  <a:lnTo>
                    <a:pt x="1042" y="470"/>
                  </a:lnTo>
                  <a:lnTo>
                    <a:pt x="952" y="415"/>
                  </a:lnTo>
                  <a:lnTo>
                    <a:pt x="848" y="375"/>
                  </a:lnTo>
                  <a:lnTo>
                    <a:pt x="886" y="370"/>
                  </a:lnTo>
                  <a:lnTo>
                    <a:pt x="898" y="354"/>
                  </a:lnTo>
                  <a:lnTo>
                    <a:pt x="898" y="314"/>
                  </a:lnTo>
                  <a:lnTo>
                    <a:pt x="1027" y="304"/>
                  </a:lnTo>
                  <a:lnTo>
                    <a:pt x="1070" y="281"/>
                  </a:lnTo>
                  <a:lnTo>
                    <a:pt x="1103" y="243"/>
                  </a:lnTo>
                  <a:lnTo>
                    <a:pt x="1103" y="259"/>
                  </a:lnTo>
                  <a:lnTo>
                    <a:pt x="1112" y="248"/>
                  </a:lnTo>
                  <a:lnTo>
                    <a:pt x="1124" y="210"/>
                  </a:lnTo>
                  <a:lnTo>
                    <a:pt x="1117" y="205"/>
                  </a:lnTo>
                  <a:lnTo>
                    <a:pt x="1193" y="132"/>
                  </a:lnTo>
                  <a:lnTo>
                    <a:pt x="1205" y="137"/>
                  </a:lnTo>
                  <a:lnTo>
                    <a:pt x="1179" y="153"/>
                  </a:lnTo>
                  <a:lnTo>
                    <a:pt x="1247" y="137"/>
                  </a:lnTo>
                  <a:lnTo>
                    <a:pt x="1335" y="94"/>
                  </a:lnTo>
                  <a:lnTo>
                    <a:pt x="1335" y="111"/>
                  </a:lnTo>
                  <a:lnTo>
                    <a:pt x="1318" y="111"/>
                  </a:lnTo>
                  <a:lnTo>
                    <a:pt x="1330" y="111"/>
                  </a:lnTo>
                  <a:lnTo>
                    <a:pt x="1339" y="137"/>
                  </a:lnTo>
                  <a:lnTo>
                    <a:pt x="1335" y="127"/>
                  </a:lnTo>
                  <a:lnTo>
                    <a:pt x="1339" y="111"/>
                  </a:lnTo>
                  <a:lnTo>
                    <a:pt x="1382" y="99"/>
                  </a:lnTo>
                  <a:lnTo>
                    <a:pt x="1351" y="111"/>
                  </a:lnTo>
                  <a:lnTo>
                    <a:pt x="1335" y="94"/>
                  </a:lnTo>
                  <a:lnTo>
                    <a:pt x="1318" y="94"/>
                  </a:lnTo>
                  <a:lnTo>
                    <a:pt x="1389" y="61"/>
                  </a:lnTo>
                  <a:lnTo>
                    <a:pt x="1372" y="61"/>
                  </a:lnTo>
                  <a:lnTo>
                    <a:pt x="1389" y="61"/>
                  </a:lnTo>
                  <a:lnTo>
                    <a:pt x="1368" y="70"/>
                  </a:lnTo>
                  <a:lnTo>
                    <a:pt x="1382" y="78"/>
                  </a:lnTo>
                  <a:lnTo>
                    <a:pt x="1405" y="70"/>
                  </a:lnTo>
                  <a:lnTo>
                    <a:pt x="1481" y="61"/>
                  </a:lnTo>
                  <a:lnTo>
                    <a:pt x="1566" y="0"/>
                  </a:lnTo>
                  <a:lnTo>
                    <a:pt x="1583" y="4"/>
                  </a:lnTo>
                  <a:lnTo>
                    <a:pt x="1637" y="21"/>
                  </a:lnTo>
                  <a:lnTo>
                    <a:pt x="1642" y="26"/>
                  </a:lnTo>
                  <a:lnTo>
                    <a:pt x="1625" y="42"/>
                  </a:lnTo>
                  <a:lnTo>
                    <a:pt x="1599" y="54"/>
                  </a:lnTo>
                  <a:lnTo>
                    <a:pt x="1611" y="54"/>
                  </a:lnTo>
                  <a:lnTo>
                    <a:pt x="1611" y="78"/>
                  </a:lnTo>
                  <a:lnTo>
                    <a:pt x="1637" y="61"/>
                  </a:lnTo>
                  <a:lnTo>
                    <a:pt x="1653" y="42"/>
                  </a:lnTo>
                  <a:lnTo>
                    <a:pt x="1670" y="42"/>
                  </a:lnTo>
                  <a:lnTo>
                    <a:pt x="1658" y="26"/>
                  </a:lnTo>
                  <a:lnTo>
                    <a:pt x="1675" y="21"/>
                  </a:lnTo>
                  <a:lnTo>
                    <a:pt x="1675" y="37"/>
                  </a:lnTo>
                  <a:lnTo>
                    <a:pt x="1679" y="26"/>
                  </a:lnTo>
                  <a:lnTo>
                    <a:pt x="1696" y="26"/>
                  </a:lnTo>
                  <a:lnTo>
                    <a:pt x="1712" y="42"/>
                  </a:lnTo>
                  <a:lnTo>
                    <a:pt x="1708" y="54"/>
                  </a:lnTo>
                  <a:lnTo>
                    <a:pt x="1708" y="61"/>
                  </a:lnTo>
                  <a:lnTo>
                    <a:pt x="1734" y="70"/>
                  </a:lnTo>
                  <a:lnTo>
                    <a:pt x="1762" y="54"/>
                  </a:lnTo>
                  <a:lnTo>
                    <a:pt x="1805" y="54"/>
                  </a:lnTo>
                  <a:lnTo>
                    <a:pt x="1875" y="61"/>
                  </a:lnTo>
                  <a:lnTo>
                    <a:pt x="1859" y="82"/>
                  </a:lnTo>
                  <a:lnTo>
                    <a:pt x="1885" y="99"/>
                  </a:lnTo>
                  <a:lnTo>
                    <a:pt x="1842" y="99"/>
                  </a:lnTo>
                  <a:lnTo>
                    <a:pt x="1913" y="99"/>
                  </a:lnTo>
                  <a:lnTo>
                    <a:pt x="1890" y="115"/>
                  </a:lnTo>
                  <a:lnTo>
                    <a:pt x="1944" y="127"/>
                  </a:lnTo>
                  <a:lnTo>
                    <a:pt x="1951" y="115"/>
                  </a:lnTo>
                  <a:lnTo>
                    <a:pt x="1977" y="111"/>
                  </a:lnTo>
                  <a:lnTo>
                    <a:pt x="2003" y="111"/>
                  </a:lnTo>
                  <a:lnTo>
                    <a:pt x="2003" y="115"/>
                  </a:lnTo>
                  <a:lnTo>
                    <a:pt x="2036" y="111"/>
                  </a:lnTo>
                  <a:lnTo>
                    <a:pt x="2090" y="111"/>
                  </a:lnTo>
                  <a:lnTo>
                    <a:pt x="2140" y="132"/>
                  </a:lnTo>
                  <a:lnTo>
                    <a:pt x="2161" y="127"/>
                  </a:lnTo>
                  <a:lnTo>
                    <a:pt x="2192" y="148"/>
                  </a:lnTo>
                  <a:lnTo>
                    <a:pt x="2322" y="153"/>
                  </a:lnTo>
                  <a:lnTo>
                    <a:pt x="2381" y="181"/>
                  </a:lnTo>
                  <a:lnTo>
                    <a:pt x="2501" y="153"/>
                  </a:lnTo>
                  <a:lnTo>
                    <a:pt x="2544" y="170"/>
                  </a:lnTo>
                  <a:lnTo>
                    <a:pt x="2641" y="222"/>
                  </a:lnTo>
                  <a:lnTo>
                    <a:pt x="2662" y="222"/>
                  </a:lnTo>
                  <a:lnTo>
                    <a:pt x="2662" y="222"/>
                  </a:lnTo>
                  <a:lnTo>
                    <a:pt x="2662" y="222"/>
                  </a:lnTo>
                  <a:close/>
                  <a:moveTo>
                    <a:pt x="709" y="996"/>
                  </a:moveTo>
                  <a:lnTo>
                    <a:pt x="680" y="996"/>
                  </a:lnTo>
                  <a:lnTo>
                    <a:pt x="654" y="1018"/>
                  </a:lnTo>
                  <a:lnTo>
                    <a:pt x="649" y="1018"/>
                  </a:lnTo>
                  <a:lnTo>
                    <a:pt x="638" y="1001"/>
                  </a:lnTo>
                  <a:lnTo>
                    <a:pt x="612" y="996"/>
                  </a:lnTo>
                  <a:lnTo>
                    <a:pt x="612" y="980"/>
                  </a:lnTo>
                  <a:lnTo>
                    <a:pt x="595" y="968"/>
                  </a:lnTo>
                  <a:lnTo>
                    <a:pt x="557" y="963"/>
                  </a:lnTo>
                  <a:lnTo>
                    <a:pt x="612" y="985"/>
                  </a:lnTo>
                  <a:lnTo>
                    <a:pt x="562" y="963"/>
                  </a:lnTo>
                  <a:lnTo>
                    <a:pt x="520" y="980"/>
                  </a:lnTo>
                  <a:lnTo>
                    <a:pt x="503" y="968"/>
                  </a:lnTo>
                  <a:lnTo>
                    <a:pt x="503" y="959"/>
                  </a:lnTo>
                  <a:lnTo>
                    <a:pt x="508" y="923"/>
                  </a:lnTo>
                  <a:lnTo>
                    <a:pt x="524" y="947"/>
                  </a:lnTo>
                  <a:lnTo>
                    <a:pt x="562" y="947"/>
                  </a:lnTo>
                  <a:lnTo>
                    <a:pt x="612" y="930"/>
                  </a:lnTo>
                  <a:lnTo>
                    <a:pt x="664" y="968"/>
                  </a:lnTo>
                  <a:lnTo>
                    <a:pt x="718" y="980"/>
                  </a:lnTo>
                  <a:lnTo>
                    <a:pt x="709" y="996"/>
                  </a:lnTo>
                  <a:lnTo>
                    <a:pt x="709" y="996"/>
                  </a:lnTo>
                  <a:lnTo>
                    <a:pt x="709" y="996"/>
                  </a:lnTo>
                  <a:close/>
                  <a:moveTo>
                    <a:pt x="1167" y="947"/>
                  </a:moveTo>
                  <a:lnTo>
                    <a:pt x="1141" y="947"/>
                  </a:lnTo>
                  <a:lnTo>
                    <a:pt x="1150" y="940"/>
                  </a:lnTo>
                  <a:lnTo>
                    <a:pt x="1167" y="947"/>
                  </a:lnTo>
                  <a:lnTo>
                    <a:pt x="1167" y="947"/>
                  </a:lnTo>
                  <a:lnTo>
                    <a:pt x="1167" y="947"/>
                  </a:lnTo>
                  <a:close/>
                  <a:moveTo>
                    <a:pt x="2166" y="1244"/>
                  </a:moveTo>
                  <a:lnTo>
                    <a:pt x="2178" y="1256"/>
                  </a:lnTo>
                  <a:lnTo>
                    <a:pt x="2161" y="1256"/>
                  </a:lnTo>
                  <a:lnTo>
                    <a:pt x="2166" y="1244"/>
                  </a:lnTo>
                  <a:lnTo>
                    <a:pt x="2166" y="1244"/>
                  </a:lnTo>
                  <a:lnTo>
                    <a:pt x="2166" y="1244"/>
                  </a:lnTo>
                  <a:close/>
                  <a:moveTo>
                    <a:pt x="2263" y="1244"/>
                  </a:moveTo>
                  <a:lnTo>
                    <a:pt x="2263" y="1256"/>
                  </a:lnTo>
                  <a:lnTo>
                    <a:pt x="2253" y="1256"/>
                  </a:lnTo>
                  <a:lnTo>
                    <a:pt x="2263" y="1244"/>
                  </a:lnTo>
                  <a:lnTo>
                    <a:pt x="2263" y="1244"/>
                  </a:lnTo>
                  <a:lnTo>
                    <a:pt x="2263" y="1244"/>
                  </a:lnTo>
                  <a:close/>
                  <a:moveTo>
                    <a:pt x="978" y="1244"/>
                  </a:moveTo>
                  <a:lnTo>
                    <a:pt x="990" y="1256"/>
                  </a:lnTo>
                  <a:lnTo>
                    <a:pt x="978" y="1256"/>
                  </a:lnTo>
                  <a:lnTo>
                    <a:pt x="978" y="1244"/>
                  </a:lnTo>
                  <a:lnTo>
                    <a:pt x="978" y="1244"/>
                  </a:lnTo>
                  <a:lnTo>
                    <a:pt x="978" y="1244"/>
                  </a:lnTo>
                  <a:close/>
                  <a:moveTo>
                    <a:pt x="2161" y="1263"/>
                  </a:moveTo>
                  <a:lnTo>
                    <a:pt x="2161" y="1273"/>
                  </a:lnTo>
                  <a:lnTo>
                    <a:pt x="2154" y="1263"/>
                  </a:lnTo>
                  <a:lnTo>
                    <a:pt x="2161" y="1263"/>
                  </a:lnTo>
                  <a:lnTo>
                    <a:pt x="2161" y="1263"/>
                  </a:lnTo>
                  <a:lnTo>
                    <a:pt x="2161" y="1263"/>
                  </a:lnTo>
                  <a:close/>
                  <a:moveTo>
                    <a:pt x="2183" y="1263"/>
                  </a:moveTo>
                  <a:lnTo>
                    <a:pt x="2183" y="1273"/>
                  </a:lnTo>
                  <a:lnTo>
                    <a:pt x="2178" y="1273"/>
                  </a:lnTo>
                  <a:lnTo>
                    <a:pt x="2166" y="1263"/>
                  </a:lnTo>
                  <a:lnTo>
                    <a:pt x="2183" y="1263"/>
                  </a:lnTo>
                  <a:lnTo>
                    <a:pt x="2183" y="1263"/>
                  </a:lnTo>
                  <a:lnTo>
                    <a:pt x="2183" y="1263"/>
                  </a:lnTo>
                  <a:close/>
                  <a:moveTo>
                    <a:pt x="2216" y="1273"/>
                  </a:moveTo>
                  <a:lnTo>
                    <a:pt x="2220" y="1273"/>
                  </a:lnTo>
                  <a:lnTo>
                    <a:pt x="2209" y="1280"/>
                  </a:lnTo>
                  <a:lnTo>
                    <a:pt x="2216" y="1273"/>
                  </a:lnTo>
                  <a:lnTo>
                    <a:pt x="2216" y="1273"/>
                  </a:lnTo>
                  <a:lnTo>
                    <a:pt x="2216" y="1273"/>
                  </a:lnTo>
                  <a:close/>
                  <a:moveTo>
                    <a:pt x="470" y="1313"/>
                  </a:moveTo>
                  <a:lnTo>
                    <a:pt x="449" y="1313"/>
                  </a:lnTo>
                  <a:lnTo>
                    <a:pt x="416" y="1289"/>
                  </a:lnTo>
                  <a:lnTo>
                    <a:pt x="423" y="1280"/>
                  </a:lnTo>
                  <a:lnTo>
                    <a:pt x="432" y="1296"/>
                  </a:lnTo>
                  <a:lnTo>
                    <a:pt x="470" y="1313"/>
                  </a:lnTo>
                  <a:lnTo>
                    <a:pt x="470" y="1313"/>
                  </a:lnTo>
                  <a:lnTo>
                    <a:pt x="470" y="1313"/>
                  </a:lnTo>
                  <a:close/>
                  <a:moveTo>
                    <a:pt x="1897" y="1296"/>
                  </a:moveTo>
                  <a:lnTo>
                    <a:pt x="1890" y="1301"/>
                  </a:lnTo>
                  <a:lnTo>
                    <a:pt x="1897" y="1289"/>
                  </a:lnTo>
                  <a:lnTo>
                    <a:pt x="1897" y="1296"/>
                  </a:lnTo>
                  <a:lnTo>
                    <a:pt x="1897" y="1296"/>
                  </a:lnTo>
                  <a:lnTo>
                    <a:pt x="1897" y="1296"/>
                  </a:lnTo>
                  <a:close/>
                  <a:moveTo>
                    <a:pt x="2199" y="1296"/>
                  </a:moveTo>
                  <a:lnTo>
                    <a:pt x="2192" y="1301"/>
                  </a:lnTo>
                  <a:lnTo>
                    <a:pt x="2199" y="1301"/>
                  </a:lnTo>
                  <a:lnTo>
                    <a:pt x="2192" y="1329"/>
                  </a:lnTo>
                  <a:lnTo>
                    <a:pt x="2178" y="1318"/>
                  </a:lnTo>
                  <a:lnTo>
                    <a:pt x="2192" y="1296"/>
                  </a:lnTo>
                  <a:lnTo>
                    <a:pt x="2192" y="1289"/>
                  </a:lnTo>
                  <a:lnTo>
                    <a:pt x="2199" y="1296"/>
                  </a:lnTo>
                  <a:lnTo>
                    <a:pt x="2199" y="1296"/>
                  </a:lnTo>
                  <a:lnTo>
                    <a:pt x="2199" y="1296"/>
                  </a:lnTo>
                  <a:close/>
                  <a:moveTo>
                    <a:pt x="2305" y="1301"/>
                  </a:moveTo>
                  <a:lnTo>
                    <a:pt x="2268" y="1318"/>
                  </a:lnTo>
                  <a:lnTo>
                    <a:pt x="2268" y="1313"/>
                  </a:lnTo>
                  <a:lnTo>
                    <a:pt x="2275" y="1301"/>
                  </a:lnTo>
                  <a:lnTo>
                    <a:pt x="2263" y="1301"/>
                  </a:lnTo>
                  <a:lnTo>
                    <a:pt x="2268" y="1296"/>
                  </a:lnTo>
                  <a:lnTo>
                    <a:pt x="2305" y="1301"/>
                  </a:lnTo>
                  <a:lnTo>
                    <a:pt x="2305" y="1301"/>
                  </a:lnTo>
                  <a:lnTo>
                    <a:pt x="2305" y="1301"/>
                  </a:lnTo>
                  <a:close/>
                  <a:moveTo>
                    <a:pt x="902" y="1301"/>
                  </a:moveTo>
                  <a:lnTo>
                    <a:pt x="902" y="1313"/>
                  </a:lnTo>
                  <a:lnTo>
                    <a:pt x="935" y="1313"/>
                  </a:lnTo>
                  <a:lnTo>
                    <a:pt x="935" y="1334"/>
                  </a:lnTo>
                  <a:lnTo>
                    <a:pt x="940" y="1351"/>
                  </a:lnTo>
                  <a:lnTo>
                    <a:pt x="898" y="1355"/>
                  </a:lnTo>
                  <a:lnTo>
                    <a:pt x="902" y="1367"/>
                  </a:lnTo>
                  <a:lnTo>
                    <a:pt x="898" y="1372"/>
                  </a:lnTo>
                  <a:lnTo>
                    <a:pt x="831" y="1346"/>
                  </a:lnTo>
                  <a:lnTo>
                    <a:pt x="810" y="1329"/>
                  </a:lnTo>
                  <a:lnTo>
                    <a:pt x="848" y="1318"/>
                  </a:lnTo>
                  <a:lnTo>
                    <a:pt x="869" y="1301"/>
                  </a:lnTo>
                  <a:lnTo>
                    <a:pt x="902" y="1301"/>
                  </a:lnTo>
                  <a:lnTo>
                    <a:pt x="902" y="1301"/>
                  </a:lnTo>
                  <a:lnTo>
                    <a:pt x="902" y="1301"/>
                  </a:lnTo>
                  <a:close/>
                  <a:moveTo>
                    <a:pt x="2376" y="1301"/>
                  </a:moveTo>
                  <a:lnTo>
                    <a:pt x="2376" y="1313"/>
                  </a:lnTo>
                  <a:lnTo>
                    <a:pt x="2360" y="1313"/>
                  </a:lnTo>
                  <a:lnTo>
                    <a:pt x="2376" y="1301"/>
                  </a:lnTo>
                  <a:lnTo>
                    <a:pt x="2376" y="1301"/>
                  </a:lnTo>
                  <a:lnTo>
                    <a:pt x="2376" y="1301"/>
                  </a:lnTo>
                  <a:close/>
                  <a:moveTo>
                    <a:pt x="2178" y="1301"/>
                  </a:moveTo>
                  <a:lnTo>
                    <a:pt x="2166" y="1313"/>
                  </a:lnTo>
                  <a:lnTo>
                    <a:pt x="2161" y="1313"/>
                  </a:lnTo>
                  <a:lnTo>
                    <a:pt x="2178" y="1301"/>
                  </a:lnTo>
                  <a:lnTo>
                    <a:pt x="2178" y="1301"/>
                  </a:lnTo>
                  <a:lnTo>
                    <a:pt x="2178" y="1301"/>
                  </a:lnTo>
                  <a:close/>
                  <a:moveTo>
                    <a:pt x="2246" y="1313"/>
                  </a:moveTo>
                  <a:lnTo>
                    <a:pt x="2209" y="1355"/>
                  </a:lnTo>
                  <a:lnTo>
                    <a:pt x="2178" y="1367"/>
                  </a:lnTo>
                  <a:lnTo>
                    <a:pt x="2183" y="1351"/>
                  </a:lnTo>
                  <a:lnTo>
                    <a:pt x="2216" y="1334"/>
                  </a:lnTo>
                  <a:lnTo>
                    <a:pt x="2230" y="1301"/>
                  </a:lnTo>
                  <a:lnTo>
                    <a:pt x="2246" y="1313"/>
                  </a:lnTo>
                  <a:lnTo>
                    <a:pt x="2246" y="1313"/>
                  </a:lnTo>
                  <a:lnTo>
                    <a:pt x="2246" y="1313"/>
                  </a:lnTo>
                  <a:close/>
                  <a:moveTo>
                    <a:pt x="2166" y="1329"/>
                  </a:moveTo>
                  <a:lnTo>
                    <a:pt x="2161" y="1346"/>
                  </a:lnTo>
                  <a:lnTo>
                    <a:pt x="2154" y="1346"/>
                  </a:lnTo>
                  <a:lnTo>
                    <a:pt x="2166" y="1329"/>
                  </a:lnTo>
                  <a:lnTo>
                    <a:pt x="2166" y="1329"/>
                  </a:lnTo>
                  <a:lnTo>
                    <a:pt x="2166" y="1329"/>
                  </a:lnTo>
                  <a:close/>
                  <a:moveTo>
                    <a:pt x="2183" y="1334"/>
                  </a:moveTo>
                  <a:lnTo>
                    <a:pt x="2161" y="1346"/>
                  </a:lnTo>
                  <a:lnTo>
                    <a:pt x="2178" y="1329"/>
                  </a:lnTo>
                  <a:lnTo>
                    <a:pt x="2183" y="1334"/>
                  </a:lnTo>
                  <a:lnTo>
                    <a:pt x="2183" y="1334"/>
                  </a:lnTo>
                  <a:lnTo>
                    <a:pt x="2183" y="1334"/>
                  </a:lnTo>
                  <a:close/>
                  <a:moveTo>
                    <a:pt x="1788" y="1407"/>
                  </a:moveTo>
                  <a:lnTo>
                    <a:pt x="1800" y="1412"/>
                  </a:lnTo>
                  <a:lnTo>
                    <a:pt x="1783" y="1412"/>
                  </a:lnTo>
                  <a:lnTo>
                    <a:pt x="1788" y="1407"/>
                  </a:lnTo>
                  <a:lnTo>
                    <a:pt x="1788" y="1407"/>
                  </a:lnTo>
                  <a:lnTo>
                    <a:pt x="1788" y="1407"/>
                  </a:lnTo>
                  <a:close/>
                  <a:moveTo>
                    <a:pt x="1247" y="1483"/>
                  </a:moveTo>
                  <a:lnTo>
                    <a:pt x="1280" y="1474"/>
                  </a:lnTo>
                  <a:lnTo>
                    <a:pt x="1264" y="1495"/>
                  </a:lnTo>
                  <a:lnTo>
                    <a:pt x="1259" y="1500"/>
                  </a:lnTo>
                  <a:lnTo>
                    <a:pt x="1247" y="1483"/>
                  </a:lnTo>
                  <a:lnTo>
                    <a:pt x="1247" y="1483"/>
                  </a:lnTo>
                  <a:lnTo>
                    <a:pt x="1247" y="1483"/>
                  </a:lnTo>
                  <a:close/>
                  <a:moveTo>
                    <a:pt x="1868" y="1495"/>
                  </a:moveTo>
                  <a:lnTo>
                    <a:pt x="1859" y="1511"/>
                  </a:lnTo>
                  <a:lnTo>
                    <a:pt x="1842" y="1500"/>
                  </a:lnTo>
                  <a:lnTo>
                    <a:pt x="1868" y="1495"/>
                  </a:lnTo>
                  <a:lnTo>
                    <a:pt x="1868" y="1495"/>
                  </a:lnTo>
                  <a:lnTo>
                    <a:pt x="1868" y="1495"/>
                  </a:lnTo>
                  <a:close/>
                  <a:moveTo>
                    <a:pt x="1842" y="1552"/>
                  </a:moveTo>
                  <a:lnTo>
                    <a:pt x="1831" y="1556"/>
                  </a:lnTo>
                  <a:lnTo>
                    <a:pt x="1805" y="1540"/>
                  </a:lnTo>
                  <a:lnTo>
                    <a:pt x="1831" y="1540"/>
                  </a:lnTo>
                  <a:lnTo>
                    <a:pt x="1814" y="1533"/>
                  </a:lnTo>
                  <a:lnTo>
                    <a:pt x="1838" y="1528"/>
                  </a:lnTo>
                  <a:lnTo>
                    <a:pt x="1838" y="1516"/>
                  </a:lnTo>
                  <a:lnTo>
                    <a:pt x="1842" y="1511"/>
                  </a:lnTo>
                  <a:lnTo>
                    <a:pt x="1859" y="1516"/>
                  </a:lnTo>
                  <a:lnTo>
                    <a:pt x="1868" y="1511"/>
                  </a:lnTo>
                  <a:lnTo>
                    <a:pt x="1890" y="1528"/>
                  </a:lnTo>
                  <a:lnTo>
                    <a:pt x="1885" y="1540"/>
                  </a:lnTo>
                  <a:lnTo>
                    <a:pt x="1875" y="1528"/>
                  </a:lnTo>
                  <a:lnTo>
                    <a:pt x="1868" y="1533"/>
                  </a:lnTo>
                  <a:lnTo>
                    <a:pt x="1875" y="1540"/>
                  </a:lnTo>
                  <a:lnTo>
                    <a:pt x="1852" y="1540"/>
                  </a:lnTo>
                  <a:lnTo>
                    <a:pt x="1842" y="1552"/>
                  </a:lnTo>
                  <a:lnTo>
                    <a:pt x="1842" y="1552"/>
                  </a:lnTo>
                  <a:lnTo>
                    <a:pt x="1842" y="1552"/>
                  </a:lnTo>
                  <a:close/>
                  <a:moveTo>
                    <a:pt x="3116" y="1606"/>
                  </a:moveTo>
                  <a:lnTo>
                    <a:pt x="3085" y="1516"/>
                  </a:lnTo>
                  <a:lnTo>
                    <a:pt x="3111" y="1540"/>
                  </a:lnTo>
                  <a:lnTo>
                    <a:pt x="3137" y="1540"/>
                  </a:lnTo>
                  <a:lnTo>
                    <a:pt x="3165" y="1589"/>
                  </a:lnTo>
                  <a:lnTo>
                    <a:pt x="3132" y="1552"/>
                  </a:lnTo>
                  <a:lnTo>
                    <a:pt x="3132" y="1573"/>
                  </a:lnTo>
                  <a:lnTo>
                    <a:pt x="3165" y="1611"/>
                  </a:lnTo>
                  <a:lnTo>
                    <a:pt x="3149" y="1611"/>
                  </a:lnTo>
                  <a:lnTo>
                    <a:pt x="3165" y="1622"/>
                  </a:lnTo>
                  <a:lnTo>
                    <a:pt x="3153" y="1627"/>
                  </a:lnTo>
                  <a:lnTo>
                    <a:pt x="3137" y="1622"/>
                  </a:lnTo>
                  <a:lnTo>
                    <a:pt x="3149" y="1639"/>
                  </a:lnTo>
                  <a:lnTo>
                    <a:pt x="3116" y="1660"/>
                  </a:lnTo>
                  <a:lnTo>
                    <a:pt x="3111" y="1639"/>
                  </a:lnTo>
                  <a:lnTo>
                    <a:pt x="3116" y="1622"/>
                  </a:lnTo>
                  <a:lnTo>
                    <a:pt x="3132" y="1627"/>
                  </a:lnTo>
                  <a:lnTo>
                    <a:pt x="3116" y="1611"/>
                  </a:lnTo>
                  <a:lnTo>
                    <a:pt x="3132" y="1606"/>
                  </a:lnTo>
                  <a:lnTo>
                    <a:pt x="3116" y="1606"/>
                  </a:lnTo>
                  <a:lnTo>
                    <a:pt x="3116" y="1606"/>
                  </a:lnTo>
                  <a:lnTo>
                    <a:pt x="3116" y="1606"/>
                  </a:lnTo>
                  <a:close/>
                  <a:moveTo>
                    <a:pt x="3040" y="1516"/>
                  </a:moveTo>
                  <a:lnTo>
                    <a:pt x="3047" y="1516"/>
                  </a:lnTo>
                  <a:lnTo>
                    <a:pt x="3031" y="1516"/>
                  </a:lnTo>
                  <a:lnTo>
                    <a:pt x="3040" y="1516"/>
                  </a:lnTo>
                  <a:lnTo>
                    <a:pt x="3040" y="1516"/>
                  </a:lnTo>
                  <a:lnTo>
                    <a:pt x="3040" y="1516"/>
                  </a:lnTo>
                  <a:close/>
                  <a:moveTo>
                    <a:pt x="3116" y="1516"/>
                  </a:moveTo>
                  <a:lnTo>
                    <a:pt x="3132" y="1533"/>
                  </a:lnTo>
                  <a:lnTo>
                    <a:pt x="3111" y="1528"/>
                  </a:lnTo>
                  <a:lnTo>
                    <a:pt x="3116" y="1516"/>
                  </a:lnTo>
                  <a:lnTo>
                    <a:pt x="3116" y="1516"/>
                  </a:lnTo>
                  <a:lnTo>
                    <a:pt x="3116" y="1516"/>
                  </a:lnTo>
                  <a:close/>
                  <a:moveTo>
                    <a:pt x="3078" y="1585"/>
                  </a:moveTo>
                  <a:lnTo>
                    <a:pt x="3023" y="1556"/>
                  </a:lnTo>
                  <a:lnTo>
                    <a:pt x="3061" y="1589"/>
                  </a:lnTo>
                  <a:lnTo>
                    <a:pt x="3085" y="1585"/>
                  </a:lnTo>
                  <a:lnTo>
                    <a:pt x="3094" y="1594"/>
                  </a:lnTo>
                  <a:lnTo>
                    <a:pt x="3094" y="1611"/>
                  </a:lnTo>
                  <a:lnTo>
                    <a:pt x="3078" y="1611"/>
                  </a:lnTo>
                  <a:lnTo>
                    <a:pt x="3023" y="1585"/>
                  </a:lnTo>
                  <a:lnTo>
                    <a:pt x="3047" y="1594"/>
                  </a:lnTo>
                  <a:lnTo>
                    <a:pt x="3047" y="1611"/>
                  </a:lnTo>
                  <a:lnTo>
                    <a:pt x="3031" y="1622"/>
                  </a:lnTo>
                  <a:lnTo>
                    <a:pt x="3023" y="1622"/>
                  </a:lnTo>
                  <a:lnTo>
                    <a:pt x="3019" y="1606"/>
                  </a:lnTo>
                  <a:lnTo>
                    <a:pt x="3031" y="1611"/>
                  </a:lnTo>
                  <a:lnTo>
                    <a:pt x="3009" y="1594"/>
                  </a:lnTo>
                  <a:lnTo>
                    <a:pt x="3019" y="1594"/>
                  </a:lnTo>
                  <a:lnTo>
                    <a:pt x="2986" y="1573"/>
                  </a:lnTo>
                  <a:lnTo>
                    <a:pt x="2993" y="1556"/>
                  </a:lnTo>
                  <a:lnTo>
                    <a:pt x="3009" y="1573"/>
                  </a:lnTo>
                  <a:lnTo>
                    <a:pt x="2986" y="1540"/>
                  </a:lnTo>
                  <a:lnTo>
                    <a:pt x="2986" y="1533"/>
                  </a:lnTo>
                  <a:lnTo>
                    <a:pt x="3002" y="1552"/>
                  </a:lnTo>
                  <a:lnTo>
                    <a:pt x="3002" y="1533"/>
                  </a:lnTo>
                  <a:lnTo>
                    <a:pt x="3031" y="1528"/>
                  </a:lnTo>
                  <a:lnTo>
                    <a:pt x="3047" y="1540"/>
                  </a:lnTo>
                  <a:lnTo>
                    <a:pt x="3040" y="1552"/>
                  </a:lnTo>
                  <a:lnTo>
                    <a:pt x="3031" y="1552"/>
                  </a:lnTo>
                  <a:lnTo>
                    <a:pt x="3031" y="1556"/>
                  </a:lnTo>
                  <a:lnTo>
                    <a:pt x="3040" y="1556"/>
                  </a:lnTo>
                  <a:lnTo>
                    <a:pt x="3057" y="1540"/>
                  </a:lnTo>
                  <a:lnTo>
                    <a:pt x="3085" y="1556"/>
                  </a:lnTo>
                  <a:lnTo>
                    <a:pt x="3085" y="1573"/>
                  </a:lnTo>
                  <a:lnTo>
                    <a:pt x="3073" y="1568"/>
                  </a:lnTo>
                  <a:lnTo>
                    <a:pt x="3085" y="1573"/>
                  </a:lnTo>
                  <a:lnTo>
                    <a:pt x="3078" y="1585"/>
                  </a:lnTo>
                  <a:lnTo>
                    <a:pt x="3078" y="1585"/>
                  </a:lnTo>
                  <a:lnTo>
                    <a:pt x="3078" y="1585"/>
                  </a:lnTo>
                  <a:close/>
                  <a:moveTo>
                    <a:pt x="1805" y="1540"/>
                  </a:moveTo>
                  <a:lnTo>
                    <a:pt x="1831" y="1556"/>
                  </a:lnTo>
                  <a:lnTo>
                    <a:pt x="1788" y="1552"/>
                  </a:lnTo>
                  <a:lnTo>
                    <a:pt x="1805" y="1540"/>
                  </a:lnTo>
                  <a:lnTo>
                    <a:pt x="1805" y="1540"/>
                  </a:lnTo>
                  <a:lnTo>
                    <a:pt x="1805" y="1540"/>
                  </a:lnTo>
                  <a:close/>
                  <a:moveTo>
                    <a:pt x="2976" y="1552"/>
                  </a:moveTo>
                  <a:lnTo>
                    <a:pt x="2993" y="1556"/>
                  </a:lnTo>
                  <a:lnTo>
                    <a:pt x="2986" y="1573"/>
                  </a:lnTo>
                  <a:lnTo>
                    <a:pt x="2976" y="1556"/>
                  </a:lnTo>
                  <a:lnTo>
                    <a:pt x="2976" y="1552"/>
                  </a:lnTo>
                  <a:lnTo>
                    <a:pt x="2976" y="1552"/>
                  </a:lnTo>
                  <a:lnTo>
                    <a:pt x="2976" y="1552"/>
                  </a:lnTo>
                  <a:close/>
                  <a:moveTo>
                    <a:pt x="1783" y="1594"/>
                  </a:moveTo>
                  <a:lnTo>
                    <a:pt x="1762" y="1589"/>
                  </a:lnTo>
                  <a:lnTo>
                    <a:pt x="1762" y="1573"/>
                  </a:lnTo>
                  <a:lnTo>
                    <a:pt x="1767" y="1568"/>
                  </a:lnTo>
                  <a:lnTo>
                    <a:pt x="1783" y="1573"/>
                  </a:lnTo>
                  <a:lnTo>
                    <a:pt x="1788" y="1594"/>
                  </a:lnTo>
                  <a:lnTo>
                    <a:pt x="1800" y="1589"/>
                  </a:lnTo>
                  <a:lnTo>
                    <a:pt x="1788" y="1573"/>
                  </a:lnTo>
                  <a:lnTo>
                    <a:pt x="1821" y="1573"/>
                  </a:lnTo>
                  <a:lnTo>
                    <a:pt x="1805" y="1556"/>
                  </a:lnTo>
                  <a:lnTo>
                    <a:pt x="1838" y="1568"/>
                  </a:lnTo>
                  <a:lnTo>
                    <a:pt x="1831" y="1573"/>
                  </a:lnTo>
                  <a:lnTo>
                    <a:pt x="1831" y="1589"/>
                  </a:lnTo>
                  <a:lnTo>
                    <a:pt x="1838" y="1573"/>
                  </a:lnTo>
                  <a:lnTo>
                    <a:pt x="1859" y="1568"/>
                  </a:lnTo>
                  <a:lnTo>
                    <a:pt x="1868" y="1573"/>
                  </a:lnTo>
                  <a:lnTo>
                    <a:pt x="1852" y="1589"/>
                  </a:lnTo>
                  <a:lnTo>
                    <a:pt x="1859" y="1594"/>
                  </a:lnTo>
                  <a:lnTo>
                    <a:pt x="1885" y="1594"/>
                  </a:lnTo>
                  <a:lnTo>
                    <a:pt x="1868" y="1622"/>
                  </a:lnTo>
                  <a:lnTo>
                    <a:pt x="1838" y="1606"/>
                  </a:lnTo>
                  <a:lnTo>
                    <a:pt x="1821" y="1611"/>
                  </a:lnTo>
                  <a:lnTo>
                    <a:pt x="1852" y="1622"/>
                  </a:lnTo>
                  <a:lnTo>
                    <a:pt x="1842" y="1627"/>
                  </a:lnTo>
                  <a:lnTo>
                    <a:pt x="1814" y="1627"/>
                  </a:lnTo>
                  <a:lnTo>
                    <a:pt x="1821" y="1639"/>
                  </a:lnTo>
                  <a:lnTo>
                    <a:pt x="1767" y="1651"/>
                  </a:lnTo>
                  <a:lnTo>
                    <a:pt x="1783" y="1660"/>
                  </a:lnTo>
                  <a:lnTo>
                    <a:pt x="1750" y="1684"/>
                  </a:lnTo>
                  <a:lnTo>
                    <a:pt x="1746" y="1684"/>
                  </a:lnTo>
                  <a:lnTo>
                    <a:pt x="1767" y="1660"/>
                  </a:lnTo>
                  <a:lnTo>
                    <a:pt x="1750" y="1667"/>
                  </a:lnTo>
                  <a:lnTo>
                    <a:pt x="1767" y="1644"/>
                  </a:lnTo>
                  <a:lnTo>
                    <a:pt x="1746" y="1667"/>
                  </a:lnTo>
                  <a:lnTo>
                    <a:pt x="1750" y="1651"/>
                  </a:lnTo>
                  <a:lnTo>
                    <a:pt x="1724" y="1644"/>
                  </a:lnTo>
                  <a:lnTo>
                    <a:pt x="1724" y="1651"/>
                  </a:lnTo>
                  <a:lnTo>
                    <a:pt x="1746" y="1651"/>
                  </a:lnTo>
                  <a:lnTo>
                    <a:pt x="1729" y="1677"/>
                  </a:lnTo>
                  <a:lnTo>
                    <a:pt x="1712" y="1660"/>
                  </a:lnTo>
                  <a:lnTo>
                    <a:pt x="1708" y="1639"/>
                  </a:lnTo>
                  <a:lnTo>
                    <a:pt x="1696" y="1627"/>
                  </a:lnTo>
                  <a:lnTo>
                    <a:pt x="1708" y="1606"/>
                  </a:lnTo>
                  <a:lnTo>
                    <a:pt x="1734" y="1589"/>
                  </a:lnTo>
                  <a:lnTo>
                    <a:pt x="1750" y="1594"/>
                  </a:lnTo>
                  <a:lnTo>
                    <a:pt x="1762" y="1622"/>
                  </a:lnTo>
                  <a:lnTo>
                    <a:pt x="1776" y="1639"/>
                  </a:lnTo>
                  <a:lnTo>
                    <a:pt x="1767" y="1622"/>
                  </a:lnTo>
                  <a:lnTo>
                    <a:pt x="1762" y="1594"/>
                  </a:lnTo>
                  <a:lnTo>
                    <a:pt x="1783" y="1594"/>
                  </a:lnTo>
                  <a:lnTo>
                    <a:pt x="1783" y="1594"/>
                  </a:lnTo>
                  <a:lnTo>
                    <a:pt x="1783" y="1594"/>
                  </a:lnTo>
                  <a:close/>
                  <a:moveTo>
                    <a:pt x="1868" y="1568"/>
                  </a:moveTo>
                  <a:lnTo>
                    <a:pt x="1859" y="1568"/>
                  </a:lnTo>
                  <a:lnTo>
                    <a:pt x="1868" y="1568"/>
                  </a:lnTo>
                  <a:lnTo>
                    <a:pt x="1868" y="1568"/>
                  </a:lnTo>
                  <a:lnTo>
                    <a:pt x="1868" y="1568"/>
                  </a:lnTo>
                  <a:close/>
                  <a:moveTo>
                    <a:pt x="1788" y="1556"/>
                  </a:moveTo>
                  <a:lnTo>
                    <a:pt x="1805" y="1573"/>
                  </a:lnTo>
                  <a:lnTo>
                    <a:pt x="1783" y="1568"/>
                  </a:lnTo>
                  <a:lnTo>
                    <a:pt x="1788" y="1556"/>
                  </a:lnTo>
                  <a:lnTo>
                    <a:pt x="1788" y="1556"/>
                  </a:lnTo>
                  <a:lnTo>
                    <a:pt x="1788" y="1556"/>
                  </a:lnTo>
                  <a:close/>
                  <a:moveTo>
                    <a:pt x="3111" y="1705"/>
                  </a:moveTo>
                  <a:lnTo>
                    <a:pt x="3111" y="1750"/>
                  </a:lnTo>
                  <a:lnTo>
                    <a:pt x="3078" y="1705"/>
                  </a:lnTo>
                  <a:lnTo>
                    <a:pt x="3094" y="1693"/>
                  </a:lnTo>
                  <a:lnTo>
                    <a:pt x="3078" y="1700"/>
                  </a:lnTo>
                  <a:lnTo>
                    <a:pt x="3073" y="1693"/>
                  </a:lnTo>
                  <a:lnTo>
                    <a:pt x="3078" y="1677"/>
                  </a:lnTo>
                  <a:lnTo>
                    <a:pt x="3057" y="1677"/>
                  </a:lnTo>
                  <a:lnTo>
                    <a:pt x="3057" y="1644"/>
                  </a:lnTo>
                  <a:lnTo>
                    <a:pt x="3061" y="1639"/>
                  </a:lnTo>
                  <a:lnTo>
                    <a:pt x="3047" y="1639"/>
                  </a:lnTo>
                  <a:lnTo>
                    <a:pt x="3040" y="1622"/>
                  </a:lnTo>
                  <a:lnTo>
                    <a:pt x="3047" y="1622"/>
                  </a:lnTo>
                  <a:lnTo>
                    <a:pt x="3047" y="1606"/>
                  </a:lnTo>
                  <a:lnTo>
                    <a:pt x="3057" y="1606"/>
                  </a:lnTo>
                  <a:lnTo>
                    <a:pt x="3085" y="1622"/>
                  </a:lnTo>
                  <a:lnTo>
                    <a:pt x="3099" y="1644"/>
                  </a:lnTo>
                  <a:lnTo>
                    <a:pt x="3111" y="1705"/>
                  </a:lnTo>
                  <a:lnTo>
                    <a:pt x="3111" y="1705"/>
                  </a:lnTo>
                  <a:lnTo>
                    <a:pt x="3111" y="1705"/>
                  </a:lnTo>
                  <a:close/>
                  <a:moveTo>
                    <a:pt x="3094" y="1622"/>
                  </a:moveTo>
                  <a:lnTo>
                    <a:pt x="3099" y="1627"/>
                  </a:lnTo>
                  <a:lnTo>
                    <a:pt x="3085" y="1622"/>
                  </a:lnTo>
                  <a:lnTo>
                    <a:pt x="3094" y="1622"/>
                  </a:lnTo>
                  <a:lnTo>
                    <a:pt x="3094" y="1622"/>
                  </a:lnTo>
                  <a:lnTo>
                    <a:pt x="3094" y="1622"/>
                  </a:lnTo>
                  <a:close/>
                  <a:moveTo>
                    <a:pt x="3031" y="1627"/>
                  </a:moveTo>
                  <a:lnTo>
                    <a:pt x="3047" y="1639"/>
                  </a:lnTo>
                  <a:lnTo>
                    <a:pt x="3047" y="1644"/>
                  </a:lnTo>
                  <a:lnTo>
                    <a:pt x="3040" y="1660"/>
                  </a:lnTo>
                  <a:lnTo>
                    <a:pt x="3023" y="1660"/>
                  </a:lnTo>
                  <a:lnTo>
                    <a:pt x="3031" y="1644"/>
                  </a:lnTo>
                  <a:lnTo>
                    <a:pt x="3023" y="1644"/>
                  </a:lnTo>
                  <a:lnTo>
                    <a:pt x="3023" y="1627"/>
                  </a:lnTo>
                  <a:lnTo>
                    <a:pt x="3031" y="1627"/>
                  </a:lnTo>
                  <a:lnTo>
                    <a:pt x="3031" y="1627"/>
                  </a:lnTo>
                  <a:lnTo>
                    <a:pt x="3031" y="1627"/>
                  </a:lnTo>
                  <a:close/>
                  <a:moveTo>
                    <a:pt x="612" y="1651"/>
                  </a:moveTo>
                  <a:lnTo>
                    <a:pt x="600" y="1644"/>
                  </a:lnTo>
                  <a:lnTo>
                    <a:pt x="616" y="1639"/>
                  </a:lnTo>
                  <a:lnTo>
                    <a:pt x="612" y="1651"/>
                  </a:lnTo>
                  <a:lnTo>
                    <a:pt x="612" y="1651"/>
                  </a:lnTo>
                  <a:lnTo>
                    <a:pt x="612" y="1651"/>
                  </a:lnTo>
                  <a:close/>
                  <a:moveTo>
                    <a:pt x="1831" y="1644"/>
                  </a:moveTo>
                  <a:lnTo>
                    <a:pt x="1800" y="1660"/>
                  </a:lnTo>
                  <a:lnTo>
                    <a:pt x="1788" y="1651"/>
                  </a:lnTo>
                  <a:lnTo>
                    <a:pt x="1805" y="1639"/>
                  </a:lnTo>
                  <a:lnTo>
                    <a:pt x="1831" y="1644"/>
                  </a:lnTo>
                  <a:lnTo>
                    <a:pt x="1831" y="1644"/>
                  </a:lnTo>
                  <a:lnTo>
                    <a:pt x="1831" y="1644"/>
                  </a:lnTo>
                  <a:close/>
                  <a:moveTo>
                    <a:pt x="3220" y="1660"/>
                  </a:moveTo>
                  <a:lnTo>
                    <a:pt x="3236" y="1677"/>
                  </a:lnTo>
                  <a:lnTo>
                    <a:pt x="3224" y="1700"/>
                  </a:lnTo>
                  <a:lnTo>
                    <a:pt x="3203" y="1677"/>
                  </a:lnTo>
                  <a:lnTo>
                    <a:pt x="3220" y="1705"/>
                  </a:lnTo>
                  <a:lnTo>
                    <a:pt x="3186" y="1717"/>
                  </a:lnTo>
                  <a:lnTo>
                    <a:pt x="3182" y="1717"/>
                  </a:lnTo>
                  <a:lnTo>
                    <a:pt x="3182" y="1677"/>
                  </a:lnTo>
                  <a:lnTo>
                    <a:pt x="3165" y="1667"/>
                  </a:lnTo>
                  <a:lnTo>
                    <a:pt x="3170" y="1667"/>
                  </a:lnTo>
                  <a:lnTo>
                    <a:pt x="3153" y="1660"/>
                  </a:lnTo>
                  <a:lnTo>
                    <a:pt x="3165" y="1651"/>
                  </a:lnTo>
                  <a:lnTo>
                    <a:pt x="3220" y="1660"/>
                  </a:lnTo>
                  <a:lnTo>
                    <a:pt x="3220" y="1660"/>
                  </a:lnTo>
                  <a:lnTo>
                    <a:pt x="3220" y="1660"/>
                  </a:lnTo>
                  <a:close/>
                  <a:moveTo>
                    <a:pt x="3137" y="1733"/>
                  </a:moveTo>
                  <a:lnTo>
                    <a:pt x="3132" y="1722"/>
                  </a:lnTo>
                  <a:lnTo>
                    <a:pt x="3137" y="1722"/>
                  </a:lnTo>
                  <a:lnTo>
                    <a:pt x="3149" y="1722"/>
                  </a:lnTo>
                  <a:lnTo>
                    <a:pt x="3149" y="1705"/>
                  </a:lnTo>
                  <a:lnTo>
                    <a:pt x="3132" y="1705"/>
                  </a:lnTo>
                  <a:lnTo>
                    <a:pt x="3127" y="1677"/>
                  </a:lnTo>
                  <a:lnTo>
                    <a:pt x="3149" y="1677"/>
                  </a:lnTo>
                  <a:lnTo>
                    <a:pt x="3132" y="1667"/>
                  </a:lnTo>
                  <a:lnTo>
                    <a:pt x="3153" y="1677"/>
                  </a:lnTo>
                  <a:lnTo>
                    <a:pt x="3165" y="1684"/>
                  </a:lnTo>
                  <a:lnTo>
                    <a:pt x="3153" y="1700"/>
                  </a:lnTo>
                  <a:lnTo>
                    <a:pt x="3165" y="1684"/>
                  </a:lnTo>
                  <a:lnTo>
                    <a:pt x="3170" y="1684"/>
                  </a:lnTo>
                  <a:lnTo>
                    <a:pt x="3182" y="1700"/>
                  </a:lnTo>
                  <a:lnTo>
                    <a:pt x="3165" y="1700"/>
                  </a:lnTo>
                  <a:lnTo>
                    <a:pt x="3165" y="1733"/>
                  </a:lnTo>
                  <a:lnTo>
                    <a:pt x="3153" y="1722"/>
                  </a:lnTo>
                  <a:lnTo>
                    <a:pt x="3153" y="1738"/>
                  </a:lnTo>
                  <a:lnTo>
                    <a:pt x="3165" y="1738"/>
                  </a:lnTo>
                  <a:lnTo>
                    <a:pt x="3153" y="1755"/>
                  </a:lnTo>
                  <a:lnTo>
                    <a:pt x="3149" y="1755"/>
                  </a:lnTo>
                  <a:lnTo>
                    <a:pt x="3149" y="1733"/>
                  </a:lnTo>
                  <a:lnTo>
                    <a:pt x="3149" y="1762"/>
                  </a:lnTo>
                  <a:lnTo>
                    <a:pt x="3137" y="1762"/>
                  </a:lnTo>
                  <a:lnTo>
                    <a:pt x="3137" y="1733"/>
                  </a:lnTo>
                  <a:lnTo>
                    <a:pt x="3137" y="1733"/>
                  </a:lnTo>
                  <a:lnTo>
                    <a:pt x="3137" y="1733"/>
                  </a:lnTo>
                  <a:close/>
                  <a:moveTo>
                    <a:pt x="3241" y="1684"/>
                  </a:moveTo>
                  <a:lnTo>
                    <a:pt x="3257" y="1705"/>
                  </a:lnTo>
                  <a:lnTo>
                    <a:pt x="3224" y="1705"/>
                  </a:lnTo>
                  <a:lnTo>
                    <a:pt x="3236" y="1684"/>
                  </a:lnTo>
                  <a:lnTo>
                    <a:pt x="3241" y="1684"/>
                  </a:lnTo>
                  <a:lnTo>
                    <a:pt x="3241" y="1684"/>
                  </a:lnTo>
                  <a:lnTo>
                    <a:pt x="3241" y="1684"/>
                  </a:lnTo>
                  <a:close/>
                  <a:moveTo>
                    <a:pt x="654" y="1705"/>
                  </a:moveTo>
                  <a:lnTo>
                    <a:pt x="638" y="1700"/>
                  </a:lnTo>
                  <a:lnTo>
                    <a:pt x="664" y="1700"/>
                  </a:lnTo>
                  <a:lnTo>
                    <a:pt x="654" y="1705"/>
                  </a:lnTo>
                  <a:lnTo>
                    <a:pt x="654" y="1705"/>
                  </a:lnTo>
                  <a:lnTo>
                    <a:pt x="654" y="1705"/>
                  </a:lnTo>
                  <a:close/>
                  <a:moveTo>
                    <a:pt x="1746" y="1700"/>
                  </a:moveTo>
                  <a:lnTo>
                    <a:pt x="1734" y="1717"/>
                  </a:lnTo>
                  <a:lnTo>
                    <a:pt x="1729" y="1705"/>
                  </a:lnTo>
                  <a:lnTo>
                    <a:pt x="1746" y="1700"/>
                  </a:lnTo>
                  <a:lnTo>
                    <a:pt x="1746" y="1700"/>
                  </a:lnTo>
                  <a:lnTo>
                    <a:pt x="1746" y="1700"/>
                  </a:lnTo>
                  <a:close/>
                  <a:moveTo>
                    <a:pt x="1724" y="1700"/>
                  </a:moveTo>
                  <a:lnTo>
                    <a:pt x="1696" y="1722"/>
                  </a:lnTo>
                  <a:lnTo>
                    <a:pt x="1696" y="1705"/>
                  </a:lnTo>
                  <a:lnTo>
                    <a:pt x="1724" y="1700"/>
                  </a:lnTo>
                  <a:lnTo>
                    <a:pt x="1724" y="1700"/>
                  </a:lnTo>
                  <a:lnTo>
                    <a:pt x="1724" y="1700"/>
                  </a:lnTo>
                  <a:close/>
                  <a:moveTo>
                    <a:pt x="1528" y="1700"/>
                  </a:moveTo>
                  <a:lnTo>
                    <a:pt x="1545" y="1705"/>
                  </a:lnTo>
                  <a:lnTo>
                    <a:pt x="1519" y="1705"/>
                  </a:lnTo>
                  <a:lnTo>
                    <a:pt x="1528" y="1700"/>
                  </a:lnTo>
                  <a:lnTo>
                    <a:pt x="1528" y="1700"/>
                  </a:lnTo>
                  <a:lnTo>
                    <a:pt x="1528" y="1700"/>
                  </a:lnTo>
                  <a:close/>
                  <a:moveTo>
                    <a:pt x="3288" y="1755"/>
                  </a:moveTo>
                  <a:lnTo>
                    <a:pt x="3274" y="1733"/>
                  </a:lnTo>
                  <a:lnTo>
                    <a:pt x="3274" y="1717"/>
                  </a:lnTo>
                  <a:lnTo>
                    <a:pt x="3295" y="1733"/>
                  </a:lnTo>
                  <a:lnTo>
                    <a:pt x="3295" y="1738"/>
                  </a:lnTo>
                  <a:lnTo>
                    <a:pt x="3288" y="1755"/>
                  </a:lnTo>
                  <a:lnTo>
                    <a:pt x="3288" y="1755"/>
                  </a:lnTo>
                  <a:lnTo>
                    <a:pt x="3288" y="1755"/>
                  </a:lnTo>
                  <a:close/>
                  <a:moveTo>
                    <a:pt x="3236" y="1738"/>
                  </a:moveTo>
                  <a:lnTo>
                    <a:pt x="3220" y="1733"/>
                  </a:lnTo>
                  <a:lnTo>
                    <a:pt x="3236" y="1717"/>
                  </a:lnTo>
                  <a:lnTo>
                    <a:pt x="3246" y="1717"/>
                  </a:lnTo>
                  <a:lnTo>
                    <a:pt x="3246" y="1733"/>
                  </a:lnTo>
                  <a:lnTo>
                    <a:pt x="3236" y="1738"/>
                  </a:lnTo>
                  <a:lnTo>
                    <a:pt x="3236" y="1738"/>
                  </a:lnTo>
                  <a:lnTo>
                    <a:pt x="3236" y="1738"/>
                  </a:lnTo>
                  <a:close/>
                  <a:moveTo>
                    <a:pt x="3262" y="1717"/>
                  </a:moveTo>
                  <a:lnTo>
                    <a:pt x="3262" y="1722"/>
                  </a:lnTo>
                  <a:lnTo>
                    <a:pt x="3257" y="1722"/>
                  </a:lnTo>
                  <a:lnTo>
                    <a:pt x="3262" y="1717"/>
                  </a:lnTo>
                  <a:lnTo>
                    <a:pt x="3262" y="1717"/>
                  </a:lnTo>
                  <a:lnTo>
                    <a:pt x="3262" y="1717"/>
                  </a:lnTo>
                  <a:close/>
                  <a:moveTo>
                    <a:pt x="3274" y="1771"/>
                  </a:moveTo>
                  <a:lnTo>
                    <a:pt x="3262" y="1755"/>
                  </a:lnTo>
                  <a:lnTo>
                    <a:pt x="3246" y="1755"/>
                  </a:lnTo>
                  <a:lnTo>
                    <a:pt x="3246" y="1738"/>
                  </a:lnTo>
                  <a:lnTo>
                    <a:pt x="3262" y="1722"/>
                  </a:lnTo>
                  <a:lnTo>
                    <a:pt x="3262" y="1738"/>
                  </a:lnTo>
                  <a:lnTo>
                    <a:pt x="3288" y="1755"/>
                  </a:lnTo>
                  <a:lnTo>
                    <a:pt x="3288" y="1771"/>
                  </a:lnTo>
                  <a:lnTo>
                    <a:pt x="3274" y="1771"/>
                  </a:lnTo>
                  <a:lnTo>
                    <a:pt x="3274" y="1771"/>
                  </a:lnTo>
                  <a:lnTo>
                    <a:pt x="3274" y="1771"/>
                  </a:lnTo>
                  <a:close/>
                  <a:moveTo>
                    <a:pt x="3288" y="1816"/>
                  </a:moveTo>
                  <a:lnTo>
                    <a:pt x="3257" y="1804"/>
                  </a:lnTo>
                  <a:lnTo>
                    <a:pt x="3257" y="1811"/>
                  </a:lnTo>
                  <a:lnTo>
                    <a:pt x="3279" y="1816"/>
                  </a:lnTo>
                  <a:lnTo>
                    <a:pt x="3288" y="1833"/>
                  </a:lnTo>
                  <a:lnTo>
                    <a:pt x="3279" y="1844"/>
                  </a:lnTo>
                  <a:lnTo>
                    <a:pt x="3295" y="1833"/>
                  </a:lnTo>
                  <a:lnTo>
                    <a:pt x="3295" y="1849"/>
                  </a:lnTo>
                  <a:lnTo>
                    <a:pt x="3279" y="1866"/>
                  </a:lnTo>
                  <a:lnTo>
                    <a:pt x="3295" y="1861"/>
                  </a:lnTo>
                  <a:lnTo>
                    <a:pt x="3295" y="1899"/>
                  </a:lnTo>
                  <a:lnTo>
                    <a:pt x="3274" y="1889"/>
                  </a:lnTo>
                  <a:lnTo>
                    <a:pt x="3279" y="1882"/>
                  </a:lnTo>
                  <a:lnTo>
                    <a:pt x="3262" y="1866"/>
                  </a:lnTo>
                  <a:lnTo>
                    <a:pt x="3257" y="1866"/>
                  </a:lnTo>
                  <a:lnTo>
                    <a:pt x="3257" y="1849"/>
                  </a:lnTo>
                  <a:lnTo>
                    <a:pt x="3246" y="1833"/>
                  </a:lnTo>
                  <a:lnTo>
                    <a:pt x="3246" y="1849"/>
                  </a:lnTo>
                  <a:lnTo>
                    <a:pt x="3241" y="1844"/>
                  </a:lnTo>
                  <a:lnTo>
                    <a:pt x="3224" y="1844"/>
                  </a:lnTo>
                  <a:lnTo>
                    <a:pt x="3236" y="1833"/>
                  </a:lnTo>
                  <a:lnTo>
                    <a:pt x="3208" y="1833"/>
                  </a:lnTo>
                  <a:lnTo>
                    <a:pt x="3208" y="1828"/>
                  </a:lnTo>
                  <a:lnTo>
                    <a:pt x="3236" y="1828"/>
                  </a:lnTo>
                  <a:lnTo>
                    <a:pt x="3220" y="1811"/>
                  </a:lnTo>
                  <a:lnTo>
                    <a:pt x="3236" y="1804"/>
                  </a:lnTo>
                  <a:lnTo>
                    <a:pt x="3203" y="1804"/>
                  </a:lnTo>
                  <a:lnTo>
                    <a:pt x="3203" y="1788"/>
                  </a:lnTo>
                  <a:lnTo>
                    <a:pt x="3208" y="1788"/>
                  </a:lnTo>
                  <a:lnTo>
                    <a:pt x="3220" y="1771"/>
                  </a:lnTo>
                  <a:lnTo>
                    <a:pt x="3208" y="1771"/>
                  </a:lnTo>
                  <a:lnTo>
                    <a:pt x="3208" y="1750"/>
                  </a:lnTo>
                  <a:lnTo>
                    <a:pt x="3182" y="1738"/>
                  </a:lnTo>
                  <a:lnTo>
                    <a:pt x="3182" y="1733"/>
                  </a:lnTo>
                  <a:lnTo>
                    <a:pt x="3208" y="1733"/>
                  </a:lnTo>
                  <a:lnTo>
                    <a:pt x="3224" y="1750"/>
                  </a:lnTo>
                  <a:lnTo>
                    <a:pt x="3220" y="1750"/>
                  </a:lnTo>
                  <a:lnTo>
                    <a:pt x="3220" y="1755"/>
                  </a:lnTo>
                  <a:lnTo>
                    <a:pt x="3246" y="1771"/>
                  </a:lnTo>
                  <a:lnTo>
                    <a:pt x="3288" y="1816"/>
                  </a:lnTo>
                  <a:lnTo>
                    <a:pt x="3288" y="1816"/>
                  </a:lnTo>
                  <a:lnTo>
                    <a:pt x="3288" y="1816"/>
                  </a:lnTo>
                  <a:close/>
                  <a:moveTo>
                    <a:pt x="3203" y="1750"/>
                  </a:moveTo>
                  <a:lnTo>
                    <a:pt x="3203" y="1762"/>
                  </a:lnTo>
                  <a:lnTo>
                    <a:pt x="3170" y="1771"/>
                  </a:lnTo>
                  <a:lnTo>
                    <a:pt x="3186" y="1750"/>
                  </a:lnTo>
                  <a:lnTo>
                    <a:pt x="3203" y="1750"/>
                  </a:lnTo>
                  <a:lnTo>
                    <a:pt x="3203" y="1750"/>
                  </a:lnTo>
                  <a:lnTo>
                    <a:pt x="3203" y="1750"/>
                  </a:lnTo>
                  <a:close/>
                  <a:moveTo>
                    <a:pt x="3342" y="1833"/>
                  </a:moveTo>
                  <a:lnTo>
                    <a:pt x="3333" y="1833"/>
                  </a:lnTo>
                  <a:lnTo>
                    <a:pt x="3349" y="1816"/>
                  </a:lnTo>
                  <a:lnTo>
                    <a:pt x="3342" y="1804"/>
                  </a:lnTo>
                  <a:lnTo>
                    <a:pt x="3342" y="1816"/>
                  </a:lnTo>
                  <a:lnTo>
                    <a:pt x="3333" y="1833"/>
                  </a:lnTo>
                  <a:lnTo>
                    <a:pt x="3333" y="1811"/>
                  </a:lnTo>
                  <a:lnTo>
                    <a:pt x="3326" y="1833"/>
                  </a:lnTo>
                  <a:lnTo>
                    <a:pt x="3312" y="1816"/>
                  </a:lnTo>
                  <a:lnTo>
                    <a:pt x="3316" y="1811"/>
                  </a:lnTo>
                  <a:lnTo>
                    <a:pt x="3316" y="1788"/>
                  </a:lnTo>
                  <a:lnTo>
                    <a:pt x="3316" y="1778"/>
                  </a:lnTo>
                  <a:lnTo>
                    <a:pt x="3349" y="1762"/>
                  </a:lnTo>
                  <a:lnTo>
                    <a:pt x="3371" y="1804"/>
                  </a:lnTo>
                  <a:lnTo>
                    <a:pt x="3364" y="1828"/>
                  </a:lnTo>
                  <a:lnTo>
                    <a:pt x="3354" y="1844"/>
                  </a:lnTo>
                  <a:lnTo>
                    <a:pt x="3349" y="1844"/>
                  </a:lnTo>
                  <a:lnTo>
                    <a:pt x="3349" y="1828"/>
                  </a:lnTo>
                  <a:lnTo>
                    <a:pt x="3342" y="1833"/>
                  </a:lnTo>
                  <a:lnTo>
                    <a:pt x="3342" y="1833"/>
                  </a:lnTo>
                  <a:lnTo>
                    <a:pt x="3342" y="1833"/>
                  </a:lnTo>
                  <a:close/>
                  <a:moveTo>
                    <a:pt x="3165" y="1771"/>
                  </a:moveTo>
                  <a:lnTo>
                    <a:pt x="3165" y="1778"/>
                  </a:lnTo>
                  <a:lnTo>
                    <a:pt x="3153" y="1778"/>
                  </a:lnTo>
                  <a:lnTo>
                    <a:pt x="3165" y="1771"/>
                  </a:lnTo>
                  <a:lnTo>
                    <a:pt x="3165" y="1771"/>
                  </a:lnTo>
                  <a:lnTo>
                    <a:pt x="3165" y="1771"/>
                  </a:lnTo>
                  <a:close/>
                  <a:moveTo>
                    <a:pt x="3149" y="1771"/>
                  </a:moveTo>
                  <a:lnTo>
                    <a:pt x="3132" y="1778"/>
                  </a:lnTo>
                  <a:lnTo>
                    <a:pt x="3132" y="1771"/>
                  </a:lnTo>
                  <a:lnTo>
                    <a:pt x="3149" y="1771"/>
                  </a:lnTo>
                  <a:lnTo>
                    <a:pt x="3149" y="1771"/>
                  </a:lnTo>
                  <a:lnTo>
                    <a:pt x="3149" y="1771"/>
                  </a:lnTo>
                  <a:close/>
                  <a:moveTo>
                    <a:pt x="1642" y="1771"/>
                  </a:moveTo>
                  <a:lnTo>
                    <a:pt x="1642" y="1788"/>
                  </a:lnTo>
                  <a:lnTo>
                    <a:pt x="1625" y="1788"/>
                  </a:lnTo>
                  <a:lnTo>
                    <a:pt x="1642" y="1771"/>
                  </a:lnTo>
                  <a:lnTo>
                    <a:pt x="1642" y="1771"/>
                  </a:lnTo>
                  <a:lnTo>
                    <a:pt x="1642" y="1771"/>
                  </a:lnTo>
                  <a:close/>
                  <a:moveTo>
                    <a:pt x="3208" y="1778"/>
                  </a:moveTo>
                  <a:lnTo>
                    <a:pt x="3208" y="1788"/>
                  </a:lnTo>
                  <a:lnTo>
                    <a:pt x="3203" y="1778"/>
                  </a:lnTo>
                  <a:lnTo>
                    <a:pt x="3208" y="1778"/>
                  </a:lnTo>
                  <a:lnTo>
                    <a:pt x="3208" y="1778"/>
                  </a:lnTo>
                  <a:lnTo>
                    <a:pt x="3208" y="1778"/>
                  </a:lnTo>
                  <a:close/>
                  <a:moveTo>
                    <a:pt x="1410" y="1771"/>
                  </a:moveTo>
                  <a:lnTo>
                    <a:pt x="1420" y="1778"/>
                  </a:lnTo>
                  <a:lnTo>
                    <a:pt x="1405" y="1778"/>
                  </a:lnTo>
                  <a:lnTo>
                    <a:pt x="1410" y="1771"/>
                  </a:lnTo>
                  <a:lnTo>
                    <a:pt x="1410" y="1771"/>
                  </a:lnTo>
                  <a:lnTo>
                    <a:pt x="1410" y="1771"/>
                  </a:lnTo>
                  <a:close/>
                  <a:moveTo>
                    <a:pt x="3203" y="1788"/>
                  </a:moveTo>
                  <a:lnTo>
                    <a:pt x="3186" y="1795"/>
                  </a:lnTo>
                  <a:lnTo>
                    <a:pt x="3182" y="1788"/>
                  </a:lnTo>
                  <a:lnTo>
                    <a:pt x="3203" y="1788"/>
                  </a:lnTo>
                  <a:lnTo>
                    <a:pt x="3203" y="1788"/>
                  </a:lnTo>
                  <a:lnTo>
                    <a:pt x="3203" y="1788"/>
                  </a:lnTo>
                  <a:close/>
                  <a:moveTo>
                    <a:pt x="3203" y="1811"/>
                  </a:moveTo>
                  <a:lnTo>
                    <a:pt x="3203" y="1816"/>
                  </a:lnTo>
                  <a:lnTo>
                    <a:pt x="3191" y="1811"/>
                  </a:lnTo>
                  <a:lnTo>
                    <a:pt x="3203" y="1811"/>
                  </a:lnTo>
                  <a:lnTo>
                    <a:pt x="3203" y="1811"/>
                  </a:lnTo>
                  <a:lnTo>
                    <a:pt x="3203" y="1811"/>
                  </a:lnTo>
                  <a:close/>
                  <a:moveTo>
                    <a:pt x="3182" y="1816"/>
                  </a:moveTo>
                  <a:lnTo>
                    <a:pt x="3170" y="1816"/>
                  </a:lnTo>
                  <a:lnTo>
                    <a:pt x="3170" y="1811"/>
                  </a:lnTo>
                  <a:lnTo>
                    <a:pt x="3186" y="1811"/>
                  </a:lnTo>
                  <a:lnTo>
                    <a:pt x="3182" y="1816"/>
                  </a:lnTo>
                  <a:lnTo>
                    <a:pt x="3182" y="1816"/>
                  </a:lnTo>
                  <a:lnTo>
                    <a:pt x="3182" y="1816"/>
                  </a:lnTo>
                  <a:close/>
                  <a:moveTo>
                    <a:pt x="3191" y="1811"/>
                  </a:moveTo>
                  <a:lnTo>
                    <a:pt x="3191" y="1816"/>
                  </a:lnTo>
                  <a:lnTo>
                    <a:pt x="3182" y="1816"/>
                  </a:lnTo>
                  <a:lnTo>
                    <a:pt x="3191" y="1811"/>
                  </a:lnTo>
                  <a:lnTo>
                    <a:pt x="3191" y="1811"/>
                  </a:lnTo>
                  <a:lnTo>
                    <a:pt x="3191" y="1811"/>
                  </a:lnTo>
                  <a:close/>
                  <a:moveTo>
                    <a:pt x="3312" y="1816"/>
                  </a:moveTo>
                  <a:lnTo>
                    <a:pt x="3316" y="1833"/>
                  </a:lnTo>
                  <a:lnTo>
                    <a:pt x="3312" y="1849"/>
                  </a:lnTo>
                  <a:lnTo>
                    <a:pt x="3312" y="1844"/>
                  </a:lnTo>
                  <a:lnTo>
                    <a:pt x="3312" y="1816"/>
                  </a:lnTo>
                  <a:lnTo>
                    <a:pt x="3312" y="1816"/>
                  </a:lnTo>
                  <a:lnTo>
                    <a:pt x="3312" y="1816"/>
                  </a:lnTo>
                  <a:close/>
                  <a:moveTo>
                    <a:pt x="3191" y="1828"/>
                  </a:moveTo>
                  <a:lnTo>
                    <a:pt x="3182" y="1844"/>
                  </a:lnTo>
                  <a:lnTo>
                    <a:pt x="3182" y="1833"/>
                  </a:lnTo>
                  <a:lnTo>
                    <a:pt x="3186" y="1816"/>
                  </a:lnTo>
                  <a:lnTo>
                    <a:pt x="3191" y="1828"/>
                  </a:lnTo>
                  <a:lnTo>
                    <a:pt x="3191" y="1828"/>
                  </a:lnTo>
                  <a:lnTo>
                    <a:pt x="3191" y="1828"/>
                  </a:lnTo>
                  <a:close/>
                  <a:moveTo>
                    <a:pt x="1280" y="1828"/>
                  </a:moveTo>
                  <a:lnTo>
                    <a:pt x="1285" y="1828"/>
                  </a:lnTo>
                  <a:lnTo>
                    <a:pt x="1285" y="1844"/>
                  </a:lnTo>
                  <a:lnTo>
                    <a:pt x="1297" y="1844"/>
                  </a:lnTo>
                  <a:lnTo>
                    <a:pt x="1275" y="1849"/>
                  </a:lnTo>
                  <a:lnTo>
                    <a:pt x="1275" y="1833"/>
                  </a:lnTo>
                  <a:lnTo>
                    <a:pt x="1280" y="1828"/>
                  </a:lnTo>
                  <a:lnTo>
                    <a:pt x="1280" y="1828"/>
                  </a:lnTo>
                  <a:lnTo>
                    <a:pt x="1280" y="1828"/>
                  </a:lnTo>
                  <a:close/>
                  <a:moveTo>
                    <a:pt x="1301" y="1828"/>
                  </a:moveTo>
                  <a:lnTo>
                    <a:pt x="1301" y="1844"/>
                  </a:lnTo>
                  <a:lnTo>
                    <a:pt x="1297" y="1833"/>
                  </a:lnTo>
                  <a:lnTo>
                    <a:pt x="1301" y="1828"/>
                  </a:lnTo>
                  <a:lnTo>
                    <a:pt x="1301" y="1828"/>
                  </a:lnTo>
                  <a:lnTo>
                    <a:pt x="1301" y="1828"/>
                  </a:lnTo>
                  <a:close/>
                  <a:moveTo>
                    <a:pt x="3203" y="1833"/>
                  </a:moveTo>
                  <a:lnTo>
                    <a:pt x="3208" y="1844"/>
                  </a:lnTo>
                  <a:lnTo>
                    <a:pt x="3191" y="1844"/>
                  </a:lnTo>
                  <a:lnTo>
                    <a:pt x="3191" y="1833"/>
                  </a:lnTo>
                  <a:lnTo>
                    <a:pt x="3203" y="1833"/>
                  </a:lnTo>
                  <a:lnTo>
                    <a:pt x="3203" y="1833"/>
                  </a:lnTo>
                  <a:lnTo>
                    <a:pt x="3203" y="1833"/>
                  </a:lnTo>
                  <a:close/>
                  <a:moveTo>
                    <a:pt x="1339" y="1833"/>
                  </a:moveTo>
                  <a:lnTo>
                    <a:pt x="1339" y="1849"/>
                  </a:lnTo>
                  <a:lnTo>
                    <a:pt x="1313" y="1873"/>
                  </a:lnTo>
                  <a:lnTo>
                    <a:pt x="1318" y="1861"/>
                  </a:lnTo>
                  <a:lnTo>
                    <a:pt x="1318" y="1849"/>
                  </a:lnTo>
                  <a:lnTo>
                    <a:pt x="1330" y="1849"/>
                  </a:lnTo>
                  <a:lnTo>
                    <a:pt x="1339" y="1833"/>
                  </a:lnTo>
                  <a:lnTo>
                    <a:pt x="1339" y="1833"/>
                  </a:lnTo>
                  <a:lnTo>
                    <a:pt x="1339" y="1833"/>
                  </a:lnTo>
                  <a:close/>
                  <a:moveTo>
                    <a:pt x="3333" y="1844"/>
                  </a:moveTo>
                  <a:lnTo>
                    <a:pt x="3342" y="1844"/>
                  </a:lnTo>
                  <a:lnTo>
                    <a:pt x="3342" y="1861"/>
                  </a:lnTo>
                  <a:lnTo>
                    <a:pt x="3326" y="1866"/>
                  </a:lnTo>
                  <a:lnTo>
                    <a:pt x="3326" y="1833"/>
                  </a:lnTo>
                  <a:lnTo>
                    <a:pt x="3333" y="1844"/>
                  </a:lnTo>
                  <a:lnTo>
                    <a:pt x="3333" y="1844"/>
                  </a:lnTo>
                  <a:lnTo>
                    <a:pt x="3333" y="1844"/>
                  </a:lnTo>
                  <a:close/>
                  <a:moveTo>
                    <a:pt x="3220" y="1844"/>
                  </a:moveTo>
                  <a:lnTo>
                    <a:pt x="3246" y="1899"/>
                  </a:lnTo>
                  <a:lnTo>
                    <a:pt x="3236" y="1899"/>
                  </a:lnTo>
                  <a:lnTo>
                    <a:pt x="3220" y="1866"/>
                  </a:lnTo>
                  <a:lnTo>
                    <a:pt x="3208" y="1861"/>
                  </a:lnTo>
                  <a:lnTo>
                    <a:pt x="3208" y="1844"/>
                  </a:lnTo>
                  <a:lnTo>
                    <a:pt x="3220" y="1844"/>
                  </a:lnTo>
                  <a:lnTo>
                    <a:pt x="3220" y="1844"/>
                  </a:lnTo>
                  <a:lnTo>
                    <a:pt x="3220" y="1844"/>
                  </a:lnTo>
                  <a:close/>
                  <a:moveTo>
                    <a:pt x="1368" y="1844"/>
                  </a:moveTo>
                  <a:lnTo>
                    <a:pt x="1368" y="1861"/>
                  </a:lnTo>
                  <a:lnTo>
                    <a:pt x="1356" y="1861"/>
                  </a:lnTo>
                  <a:lnTo>
                    <a:pt x="1368" y="1844"/>
                  </a:lnTo>
                  <a:lnTo>
                    <a:pt x="1368" y="1844"/>
                  </a:lnTo>
                  <a:lnTo>
                    <a:pt x="1368" y="1844"/>
                  </a:lnTo>
                  <a:close/>
                  <a:moveTo>
                    <a:pt x="3241" y="1844"/>
                  </a:moveTo>
                  <a:lnTo>
                    <a:pt x="3246" y="1861"/>
                  </a:lnTo>
                  <a:lnTo>
                    <a:pt x="3236" y="1861"/>
                  </a:lnTo>
                  <a:lnTo>
                    <a:pt x="3241" y="1844"/>
                  </a:lnTo>
                  <a:lnTo>
                    <a:pt x="3241" y="1844"/>
                  </a:lnTo>
                  <a:lnTo>
                    <a:pt x="3241" y="1844"/>
                  </a:lnTo>
                  <a:close/>
                  <a:moveTo>
                    <a:pt x="1209" y="1849"/>
                  </a:moveTo>
                  <a:lnTo>
                    <a:pt x="1221" y="1849"/>
                  </a:lnTo>
                  <a:lnTo>
                    <a:pt x="1205" y="1861"/>
                  </a:lnTo>
                  <a:lnTo>
                    <a:pt x="1193" y="1849"/>
                  </a:lnTo>
                  <a:lnTo>
                    <a:pt x="1209" y="1849"/>
                  </a:lnTo>
                  <a:lnTo>
                    <a:pt x="1209" y="1849"/>
                  </a:lnTo>
                  <a:lnTo>
                    <a:pt x="1209" y="1849"/>
                  </a:lnTo>
                  <a:close/>
                  <a:moveTo>
                    <a:pt x="1032" y="1906"/>
                  </a:moveTo>
                  <a:lnTo>
                    <a:pt x="1027" y="1922"/>
                  </a:lnTo>
                  <a:lnTo>
                    <a:pt x="1004" y="1922"/>
                  </a:lnTo>
                  <a:lnTo>
                    <a:pt x="990" y="1922"/>
                  </a:lnTo>
                  <a:lnTo>
                    <a:pt x="978" y="1906"/>
                  </a:lnTo>
                  <a:lnTo>
                    <a:pt x="1004" y="1899"/>
                  </a:lnTo>
                  <a:lnTo>
                    <a:pt x="1016" y="1873"/>
                  </a:lnTo>
                  <a:lnTo>
                    <a:pt x="1032" y="1873"/>
                  </a:lnTo>
                  <a:lnTo>
                    <a:pt x="1065" y="1861"/>
                  </a:lnTo>
                  <a:lnTo>
                    <a:pt x="1079" y="1861"/>
                  </a:lnTo>
                  <a:lnTo>
                    <a:pt x="1096" y="1882"/>
                  </a:lnTo>
                  <a:lnTo>
                    <a:pt x="1112" y="1889"/>
                  </a:lnTo>
                  <a:lnTo>
                    <a:pt x="1117" y="1899"/>
                  </a:lnTo>
                  <a:lnTo>
                    <a:pt x="1096" y="1889"/>
                  </a:lnTo>
                  <a:lnTo>
                    <a:pt x="1079" y="1906"/>
                  </a:lnTo>
                  <a:lnTo>
                    <a:pt x="1032" y="1906"/>
                  </a:lnTo>
                  <a:lnTo>
                    <a:pt x="1032" y="1906"/>
                  </a:lnTo>
                  <a:lnTo>
                    <a:pt x="1032" y="1906"/>
                  </a:lnTo>
                  <a:close/>
                  <a:moveTo>
                    <a:pt x="1372" y="1861"/>
                  </a:moveTo>
                  <a:lnTo>
                    <a:pt x="1372" y="1866"/>
                  </a:lnTo>
                  <a:lnTo>
                    <a:pt x="1368" y="1866"/>
                  </a:lnTo>
                  <a:lnTo>
                    <a:pt x="1368" y="1861"/>
                  </a:lnTo>
                  <a:lnTo>
                    <a:pt x="1372" y="1861"/>
                  </a:lnTo>
                  <a:lnTo>
                    <a:pt x="1372" y="1861"/>
                  </a:lnTo>
                  <a:lnTo>
                    <a:pt x="1372" y="1861"/>
                  </a:lnTo>
                  <a:close/>
                  <a:moveTo>
                    <a:pt x="3349" y="1866"/>
                  </a:moveTo>
                  <a:lnTo>
                    <a:pt x="3349" y="1873"/>
                  </a:lnTo>
                  <a:lnTo>
                    <a:pt x="3333" y="1873"/>
                  </a:lnTo>
                  <a:lnTo>
                    <a:pt x="3349" y="1866"/>
                  </a:lnTo>
                  <a:lnTo>
                    <a:pt x="3349" y="1866"/>
                  </a:lnTo>
                  <a:lnTo>
                    <a:pt x="3349" y="1866"/>
                  </a:lnTo>
                  <a:close/>
                  <a:moveTo>
                    <a:pt x="1172" y="1866"/>
                  </a:moveTo>
                  <a:lnTo>
                    <a:pt x="1167" y="1882"/>
                  </a:lnTo>
                  <a:lnTo>
                    <a:pt x="1155" y="1873"/>
                  </a:lnTo>
                  <a:lnTo>
                    <a:pt x="1172" y="1866"/>
                  </a:lnTo>
                  <a:lnTo>
                    <a:pt x="1172" y="1866"/>
                  </a:lnTo>
                  <a:lnTo>
                    <a:pt x="1172" y="1866"/>
                  </a:lnTo>
                  <a:close/>
                  <a:moveTo>
                    <a:pt x="1382" y="1866"/>
                  </a:moveTo>
                  <a:lnTo>
                    <a:pt x="1389" y="1873"/>
                  </a:lnTo>
                  <a:lnTo>
                    <a:pt x="1382" y="1873"/>
                  </a:lnTo>
                  <a:lnTo>
                    <a:pt x="1382" y="1866"/>
                  </a:lnTo>
                  <a:lnTo>
                    <a:pt x="1382" y="1866"/>
                  </a:lnTo>
                  <a:lnTo>
                    <a:pt x="1382" y="1866"/>
                  </a:lnTo>
                  <a:close/>
                  <a:moveTo>
                    <a:pt x="3246" y="1873"/>
                  </a:moveTo>
                  <a:lnTo>
                    <a:pt x="3246" y="1889"/>
                  </a:lnTo>
                  <a:lnTo>
                    <a:pt x="3241" y="1873"/>
                  </a:lnTo>
                  <a:lnTo>
                    <a:pt x="3246" y="1873"/>
                  </a:lnTo>
                  <a:lnTo>
                    <a:pt x="3246" y="1873"/>
                  </a:lnTo>
                  <a:lnTo>
                    <a:pt x="3246" y="1873"/>
                  </a:lnTo>
                  <a:close/>
                  <a:moveTo>
                    <a:pt x="1134" y="1915"/>
                  </a:moveTo>
                  <a:lnTo>
                    <a:pt x="1150" y="1927"/>
                  </a:lnTo>
                  <a:lnTo>
                    <a:pt x="1134" y="1922"/>
                  </a:lnTo>
                  <a:lnTo>
                    <a:pt x="1134" y="1915"/>
                  </a:lnTo>
                  <a:lnTo>
                    <a:pt x="1134" y="1915"/>
                  </a:lnTo>
                  <a:lnTo>
                    <a:pt x="1134" y="1915"/>
                  </a:lnTo>
                  <a:close/>
                  <a:moveTo>
                    <a:pt x="940" y="1955"/>
                  </a:moveTo>
                  <a:lnTo>
                    <a:pt x="935" y="1939"/>
                  </a:lnTo>
                  <a:lnTo>
                    <a:pt x="952" y="1939"/>
                  </a:lnTo>
                  <a:lnTo>
                    <a:pt x="940" y="1955"/>
                  </a:lnTo>
                  <a:lnTo>
                    <a:pt x="940" y="1955"/>
                  </a:lnTo>
                  <a:lnTo>
                    <a:pt x="940" y="1955"/>
                  </a:lnTo>
                  <a:close/>
                  <a:moveTo>
                    <a:pt x="919" y="1960"/>
                  </a:moveTo>
                  <a:lnTo>
                    <a:pt x="902" y="1955"/>
                  </a:lnTo>
                  <a:lnTo>
                    <a:pt x="907" y="1939"/>
                  </a:lnTo>
                  <a:lnTo>
                    <a:pt x="935" y="1955"/>
                  </a:lnTo>
                  <a:lnTo>
                    <a:pt x="919" y="1960"/>
                  </a:lnTo>
                  <a:lnTo>
                    <a:pt x="919" y="1960"/>
                  </a:lnTo>
                  <a:lnTo>
                    <a:pt x="919" y="1960"/>
                  </a:lnTo>
                  <a:close/>
                  <a:moveTo>
                    <a:pt x="957" y="1960"/>
                  </a:moveTo>
                  <a:lnTo>
                    <a:pt x="952" y="1955"/>
                  </a:lnTo>
                  <a:lnTo>
                    <a:pt x="961" y="1955"/>
                  </a:lnTo>
                  <a:lnTo>
                    <a:pt x="957" y="1960"/>
                  </a:lnTo>
                  <a:lnTo>
                    <a:pt x="957" y="1960"/>
                  </a:lnTo>
                  <a:lnTo>
                    <a:pt x="957" y="1960"/>
                  </a:lnTo>
                  <a:close/>
                  <a:moveTo>
                    <a:pt x="831" y="2000"/>
                  </a:moveTo>
                  <a:lnTo>
                    <a:pt x="843" y="1993"/>
                  </a:lnTo>
                  <a:lnTo>
                    <a:pt x="853" y="1993"/>
                  </a:lnTo>
                  <a:lnTo>
                    <a:pt x="827" y="1981"/>
                  </a:lnTo>
                  <a:lnTo>
                    <a:pt x="843" y="1972"/>
                  </a:lnTo>
                  <a:lnTo>
                    <a:pt x="864" y="1960"/>
                  </a:lnTo>
                  <a:lnTo>
                    <a:pt x="864" y="1977"/>
                  </a:lnTo>
                  <a:lnTo>
                    <a:pt x="886" y="1960"/>
                  </a:lnTo>
                  <a:lnTo>
                    <a:pt x="898" y="1972"/>
                  </a:lnTo>
                  <a:lnTo>
                    <a:pt x="869" y="1993"/>
                  </a:lnTo>
                  <a:lnTo>
                    <a:pt x="886" y="1981"/>
                  </a:lnTo>
                  <a:lnTo>
                    <a:pt x="886" y="1993"/>
                  </a:lnTo>
                  <a:lnTo>
                    <a:pt x="869" y="2000"/>
                  </a:lnTo>
                  <a:lnTo>
                    <a:pt x="853" y="2017"/>
                  </a:lnTo>
                  <a:lnTo>
                    <a:pt x="794" y="2038"/>
                  </a:lnTo>
                  <a:lnTo>
                    <a:pt x="777" y="2033"/>
                  </a:lnTo>
                  <a:lnTo>
                    <a:pt x="827" y="2017"/>
                  </a:lnTo>
                  <a:lnTo>
                    <a:pt x="831" y="2010"/>
                  </a:lnTo>
                  <a:lnTo>
                    <a:pt x="827" y="2000"/>
                  </a:lnTo>
                  <a:lnTo>
                    <a:pt x="831" y="2000"/>
                  </a:lnTo>
                  <a:lnTo>
                    <a:pt x="831" y="2000"/>
                  </a:lnTo>
                  <a:lnTo>
                    <a:pt x="831" y="2000"/>
                  </a:lnTo>
                  <a:close/>
                  <a:moveTo>
                    <a:pt x="898" y="1993"/>
                  </a:moveTo>
                  <a:lnTo>
                    <a:pt x="886" y="1981"/>
                  </a:lnTo>
                  <a:lnTo>
                    <a:pt x="902" y="1977"/>
                  </a:lnTo>
                  <a:lnTo>
                    <a:pt x="898" y="1993"/>
                  </a:lnTo>
                  <a:lnTo>
                    <a:pt x="898" y="1993"/>
                  </a:lnTo>
                  <a:lnTo>
                    <a:pt x="898" y="1993"/>
                  </a:lnTo>
                  <a:close/>
                  <a:moveTo>
                    <a:pt x="789" y="2017"/>
                  </a:moveTo>
                  <a:lnTo>
                    <a:pt x="777" y="2026"/>
                  </a:lnTo>
                  <a:lnTo>
                    <a:pt x="746" y="2038"/>
                  </a:lnTo>
                  <a:lnTo>
                    <a:pt x="735" y="2055"/>
                  </a:lnTo>
                  <a:lnTo>
                    <a:pt x="692" y="2083"/>
                  </a:lnTo>
                  <a:lnTo>
                    <a:pt x="709" y="2066"/>
                  </a:lnTo>
                  <a:lnTo>
                    <a:pt x="709" y="2050"/>
                  </a:lnTo>
                  <a:lnTo>
                    <a:pt x="725" y="2033"/>
                  </a:lnTo>
                  <a:lnTo>
                    <a:pt x="739" y="2033"/>
                  </a:lnTo>
                  <a:lnTo>
                    <a:pt x="739" y="2026"/>
                  </a:lnTo>
                  <a:lnTo>
                    <a:pt x="739" y="2017"/>
                  </a:lnTo>
                  <a:lnTo>
                    <a:pt x="772" y="2010"/>
                  </a:lnTo>
                  <a:lnTo>
                    <a:pt x="789" y="2017"/>
                  </a:lnTo>
                  <a:lnTo>
                    <a:pt x="789" y="2017"/>
                  </a:lnTo>
                  <a:lnTo>
                    <a:pt x="789" y="2017"/>
                  </a:lnTo>
                  <a:close/>
                  <a:moveTo>
                    <a:pt x="649" y="2066"/>
                  </a:moveTo>
                  <a:lnTo>
                    <a:pt x="649" y="2055"/>
                  </a:lnTo>
                  <a:lnTo>
                    <a:pt x="649" y="2066"/>
                  </a:lnTo>
                  <a:lnTo>
                    <a:pt x="649" y="2066"/>
                  </a:lnTo>
                  <a:lnTo>
                    <a:pt x="649" y="2066"/>
                  </a:lnTo>
                  <a:close/>
                  <a:moveTo>
                    <a:pt x="24685" y="2088"/>
                  </a:moveTo>
                  <a:lnTo>
                    <a:pt x="24678" y="2071"/>
                  </a:lnTo>
                  <a:lnTo>
                    <a:pt x="24652" y="2071"/>
                  </a:lnTo>
                  <a:lnTo>
                    <a:pt x="24668" y="2066"/>
                  </a:lnTo>
                  <a:lnTo>
                    <a:pt x="24701" y="2066"/>
                  </a:lnTo>
                  <a:lnTo>
                    <a:pt x="24722" y="2071"/>
                  </a:lnTo>
                  <a:lnTo>
                    <a:pt x="24685" y="2088"/>
                  </a:lnTo>
                  <a:lnTo>
                    <a:pt x="24685" y="2088"/>
                  </a:lnTo>
                  <a:lnTo>
                    <a:pt x="24685" y="2088"/>
                  </a:lnTo>
                  <a:close/>
                  <a:moveTo>
                    <a:pt x="633" y="2083"/>
                  </a:moveTo>
                  <a:lnTo>
                    <a:pt x="649" y="2071"/>
                  </a:lnTo>
                  <a:lnTo>
                    <a:pt x="649" y="2083"/>
                  </a:lnTo>
                  <a:lnTo>
                    <a:pt x="633" y="2083"/>
                  </a:lnTo>
                  <a:lnTo>
                    <a:pt x="633" y="2083"/>
                  </a:lnTo>
                  <a:lnTo>
                    <a:pt x="633" y="2083"/>
                  </a:lnTo>
                  <a:close/>
                  <a:moveTo>
                    <a:pt x="616" y="2088"/>
                  </a:moveTo>
                  <a:lnTo>
                    <a:pt x="616" y="2083"/>
                  </a:lnTo>
                  <a:lnTo>
                    <a:pt x="626" y="2088"/>
                  </a:lnTo>
                  <a:lnTo>
                    <a:pt x="616" y="2088"/>
                  </a:lnTo>
                  <a:lnTo>
                    <a:pt x="616" y="2088"/>
                  </a:lnTo>
                  <a:lnTo>
                    <a:pt x="616" y="2088"/>
                  </a:lnTo>
                  <a:close/>
                  <a:moveTo>
                    <a:pt x="574" y="2104"/>
                  </a:moveTo>
                  <a:lnTo>
                    <a:pt x="579" y="2092"/>
                  </a:lnTo>
                  <a:lnTo>
                    <a:pt x="583" y="2092"/>
                  </a:lnTo>
                  <a:lnTo>
                    <a:pt x="574" y="2104"/>
                  </a:lnTo>
                  <a:lnTo>
                    <a:pt x="574" y="2104"/>
                  </a:lnTo>
                  <a:lnTo>
                    <a:pt x="574" y="2104"/>
                  </a:lnTo>
                  <a:close/>
                  <a:moveTo>
                    <a:pt x="24739" y="2126"/>
                  </a:moveTo>
                  <a:lnTo>
                    <a:pt x="24715" y="2121"/>
                  </a:lnTo>
                  <a:lnTo>
                    <a:pt x="24744" y="2109"/>
                  </a:lnTo>
                  <a:lnTo>
                    <a:pt x="24744" y="2126"/>
                  </a:lnTo>
                  <a:lnTo>
                    <a:pt x="24739" y="2126"/>
                  </a:lnTo>
                  <a:lnTo>
                    <a:pt x="24739" y="2126"/>
                  </a:lnTo>
                  <a:lnTo>
                    <a:pt x="24739" y="2126"/>
                  </a:lnTo>
                  <a:close/>
                  <a:moveTo>
                    <a:pt x="324" y="2149"/>
                  </a:moveTo>
                  <a:lnTo>
                    <a:pt x="255" y="2161"/>
                  </a:lnTo>
                  <a:lnTo>
                    <a:pt x="331" y="2137"/>
                  </a:lnTo>
                  <a:lnTo>
                    <a:pt x="314" y="2126"/>
                  </a:lnTo>
                  <a:lnTo>
                    <a:pt x="331" y="2121"/>
                  </a:lnTo>
                  <a:lnTo>
                    <a:pt x="347" y="2126"/>
                  </a:lnTo>
                  <a:lnTo>
                    <a:pt x="340" y="2142"/>
                  </a:lnTo>
                  <a:lnTo>
                    <a:pt x="324" y="2149"/>
                  </a:lnTo>
                  <a:lnTo>
                    <a:pt x="324" y="2149"/>
                  </a:lnTo>
                  <a:lnTo>
                    <a:pt x="324" y="2149"/>
                  </a:lnTo>
                  <a:close/>
                  <a:moveTo>
                    <a:pt x="453" y="2137"/>
                  </a:moveTo>
                  <a:lnTo>
                    <a:pt x="449" y="2137"/>
                  </a:lnTo>
                  <a:lnTo>
                    <a:pt x="453" y="2121"/>
                  </a:lnTo>
                  <a:lnTo>
                    <a:pt x="470" y="2126"/>
                  </a:lnTo>
                  <a:lnTo>
                    <a:pt x="453" y="2137"/>
                  </a:lnTo>
                  <a:lnTo>
                    <a:pt x="453" y="2137"/>
                  </a:lnTo>
                  <a:lnTo>
                    <a:pt x="453" y="2137"/>
                  </a:lnTo>
                  <a:close/>
                  <a:moveTo>
                    <a:pt x="24895" y="2126"/>
                  </a:moveTo>
                  <a:lnTo>
                    <a:pt x="24895" y="2121"/>
                  </a:lnTo>
                  <a:lnTo>
                    <a:pt x="24900" y="2126"/>
                  </a:lnTo>
                  <a:lnTo>
                    <a:pt x="24895" y="2126"/>
                  </a:lnTo>
                  <a:lnTo>
                    <a:pt x="24895" y="2126"/>
                  </a:lnTo>
                  <a:lnTo>
                    <a:pt x="24895" y="2126"/>
                  </a:lnTo>
                  <a:close/>
                  <a:moveTo>
                    <a:pt x="385" y="2161"/>
                  </a:moveTo>
                  <a:lnTo>
                    <a:pt x="347" y="2142"/>
                  </a:lnTo>
                  <a:lnTo>
                    <a:pt x="423" y="2149"/>
                  </a:lnTo>
                  <a:lnTo>
                    <a:pt x="385" y="2161"/>
                  </a:lnTo>
                  <a:lnTo>
                    <a:pt x="385" y="2161"/>
                  </a:lnTo>
                  <a:lnTo>
                    <a:pt x="385" y="2161"/>
                  </a:lnTo>
                  <a:close/>
                  <a:moveTo>
                    <a:pt x="24992" y="2178"/>
                  </a:moveTo>
                  <a:lnTo>
                    <a:pt x="24987" y="2166"/>
                  </a:lnTo>
                  <a:lnTo>
                    <a:pt x="25008" y="2149"/>
                  </a:lnTo>
                  <a:lnTo>
                    <a:pt x="25013" y="2149"/>
                  </a:lnTo>
                  <a:lnTo>
                    <a:pt x="25013" y="2166"/>
                  </a:lnTo>
                  <a:lnTo>
                    <a:pt x="25003" y="2166"/>
                  </a:lnTo>
                  <a:lnTo>
                    <a:pt x="24992" y="2178"/>
                  </a:lnTo>
                  <a:lnTo>
                    <a:pt x="24992" y="2178"/>
                  </a:lnTo>
                  <a:lnTo>
                    <a:pt x="24992" y="2178"/>
                  </a:lnTo>
                  <a:close/>
                  <a:moveTo>
                    <a:pt x="201" y="2161"/>
                  </a:moveTo>
                  <a:lnTo>
                    <a:pt x="196" y="2161"/>
                  </a:lnTo>
                  <a:lnTo>
                    <a:pt x="201" y="2149"/>
                  </a:lnTo>
                  <a:lnTo>
                    <a:pt x="205" y="2149"/>
                  </a:lnTo>
                  <a:lnTo>
                    <a:pt x="201" y="2161"/>
                  </a:lnTo>
                  <a:lnTo>
                    <a:pt x="201" y="2161"/>
                  </a:lnTo>
                  <a:lnTo>
                    <a:pt x="201" y="2161"/>
                  </a:lnTo>
                  <a:close/>
                  <a:moveTo>
                    <a:pt x="25155" y="2166"/>
                  </a:moveTo>
                  <a:lnTo>
                    <a:pt x="25148" y="2161"/>
                  </a:lnTo>
                  <a:lnTo>
                    <a:pt x="25155" y="2161"/>
                  </a:lnTo>
                  <a:lnTo>
                    <a:pt x="25164" y="2161"/>
                  </a:lnTo>
                  <a:lnTo>
                    <a:pt x="25155" y="2166"/>
                  </a:lnTo>
                  <a:lnTo>
                    <a:pt x="25155" y="2166"/>
                  </a:lnTo>
                  <a:lnTo>
                    <a:pt x="25155" y="2166"/>
                  </a:lnTo>
                  <a:close/>
                  <a:moveTo>
                    <a:pt x="217" y="2161"/>
                  </a:moveTo>
                  <a:lnTo>
                    <a:pt x="205" y="2161"/>
                  </a:lnTo>
                  <a:lnTo>
                    <a:pt x="222" y="2161"/>
                  </a:lnTo>
                  <a:lnTo>
                    <a:pt x="217" y="2161"/>
                  </a:lnTo>
                  <a:lnTo>
                    <a:pt x="217" y="2161"/>
                  </a:lnTo>
                  <a:lnTo>
                    <a:pt x="217" y="2161"/>
                  </a:lnTo>
                  <a:close/>
                  <a:moveTo>
                    <a:pt x="25079" y="2166"/>
                  </a:moveTo>
                  <a:lnTo>
                    <a:pt x="25067" y="2161"/>
                  </a:lnTo>
                  <a:lnTo>
                    <a:pt x="25084" y="2166"/>
                  </a:lnTo>
                  <a:lnTo>
                    <a:pt x="25079" y="2166"/>
                  </a:lnTo>
                  <a:lnTo>
                    <a:pt x="25079" y="2166"/>
                  </a:lnTo>
                  <a:lnTo>
                    <a:pt x="25079" y="2166"/>
                  </a:lnTo>
                  <a:close/>
                  <a:moveTo>
                    <a:pt x="142" y="2199"/>
                  </a:moveTo>
                  <a:lnTo>
                    <a:pt x="142" y="2194"/>
                  </a:lnTo>
                  <a:lnTo>
                    <a:pt x="151" y="2178"/>
                  </a:lnTo>
                  <a:lnTo>
                    <a:pt x="151" y="2166"/>
                  </a:lnTo>
                  <a:lnTo>
                    <a:pt x="168" y="2161"/>
                  </a:lnTo>
                  <a:lnTo>
                    <a:pt x="163" y="2178"/>
                  </a:lnTo>
                  <a:lnTo>
                    <a:pt x="179" y="2178"/>
                  </a:lnTo>
                  <a:lnTo>
                    <a:pt x="179" y="2182"/>
                  </a:lnTo>
                  <a:lnTo>
                    <a:pt x="142" y="2199"/>
                  </a:lnTo>
                  <a:lnTo>
                    <a:pt x="142" y="2199"/>
                  </a:lnTo>
                  <a:lnTo>
                    <a:pt x="142" y="2199"/>
                  </a:lnTo>
                  <a:close/>
                  <a:moveTo>
                    <a:pt x="92" y="2194"/>
                  </a:moveTo>
                  <a:lnTo>
                    <a:pt x="87" y="2194"/>
                  </a:lnTo>
                  <a:lnTo>
                    <a:pt x="125" y="2178"/>
                  </a:lnTo>
                  <a:lnTo>
                    <a:pt x="125" y="2166"/>
                  </a:lnTo>
                  <a:lnTo>
                    <a:pt x="130" y="2166"/>
                  </a:lnTo>
                  <a:lnTo>
                    <a:pt x="125" y="2194"/>
                  </a:lnTo>
                  <a:lnTo>
                    <a:pt x="92" y="2194"/>
                  </a:lnTo>
                  <a:lnTo>
                    <a:pt x="92" y="2194"/>
                  </a:lnTo>
                  <a:lnTo>
                    <a:pt x="92" y="2194"/>
                  </a:lnTo>
                  <a:close/>
                  <a:moveTo>
                    <a:pt x="75" y="2199"/>
                  </a:moveTo>
                  <a:lnTo>
                    <a:pt x="59" y="2194"/>
                  </a:lnTo>
                  <a:lnTo>
                    <a:pt x="71" y="2182"/>
                  </a:lnTo>
                  <a:lnTo>
                    <a:pt x="54" y="2166"/>
                  </a:lnTo>
                  <a:lnTo>
                    <a:pt x="71" y="2166"/>
                  </a:lnTo>
                  <a:lnTo>
                    <a:pt x="75" y="2178"/>
                  </a:lnTo>
                  <a:lnTo>
                    <a:pt x="75" y="2199"/>
                  </a:lnTo>
                  <a:lnTo>
                    <a:pt x="75" y="2199"/>
                  </a:lnTo>
                  <a:lnTo>
                    <a:pt x="75" y="2199"/>
                  </a:lnTo>
                  <a:close/>
                  <a:moveTo>
                    <a:pt x="201" y="2182"/>
                  </a:moveTo>
                  <a:lnTo>
                    <a:pt x="196" y="2166"/>
                  </a:lnTo>
                  <a:lnTo>
                    <a:pt x="205" y="2178"/>
                  </a:lnTo>
                  <a:lnTo>
                    <a:pt x="201" y="2182"/>
                  </a:lnTo>
                  <a:lnTo>
                    <a:pt x="201" y="2182"/>
                  </a:lnTo>
                  <a:lnTo>
                    <a:pt x="201" y="2182"/>
                  </a:lnTo>
                  <a:close/>
                  <a:moveTo>
                    <a:pt x="184" y="2182"/>
                  </a:moveTo>
                  <a:lnTo>
                    <a:pt x="179" y="2178"/>
                  </a:lnTo>
                  <a:lnTo>
                    <a:pt x="184" y="2178"/>
                  </a:lnTo>
                  <a:lnTo>
                    <a:pt x="184" y="2182"/>
                  </a:lnTo>
                  <a:lnTo>
                    <a:pt x="184" y="2182"/>
                  </a:lnTo>
                  <a:lnTo>
                    <a:pt x="184" y="2182"/>
                  </a:lnTo>
                  <a:close/>
                  <a:moveTo>
                    <a:pt x="16" y="2182"/>
                  </a:moveTo>
                  <a:lnTo>
                    <a:pt x="7" y="2178"/>
                  </a:lnTo>
                  <a:lnTo>
                    <a:pt x="16" y="2182"/>
                  </a:lnTo>
                  <a:lnTo>
                    <a:pt x="16" y="2182"/>
                  </a:lnTo>
                  <a:lnTo>
                    <a:pt x="16" y="2182"/>
                  </a:lnTo>
                  <a:close/>
                  <a:moveTo>
                    <a:pt x="25131" y="2220"/>
                  </a:moveTo>
                  <a:lnTo>
                    <a:pt x="25084" y="2194"/>
                  </a:lnTo>
                  <a:lnTo>
                    <a:pt x="25100" y="2199"/>
                  </a:lnTo>
                  <a:lnTo>
                    <a:pt x="25131" y="2215"/>
                  </a:lnTo>
                  <a:lnTo>
                    <a:pt x="25148" y="2215"/>
                  </a:lnTo>
                  <a:lnTo>
                    <a:pt x="25131" y="2220"/>
                  </a:lnTo>
                  <a:lnTo>
                    <a:pt x="25131" y="2220"/>
                  </a:lnTo>
                  <a:lnTo>
                    <a:pt x="25131" y="2220"/>
                  </a:lnTo>
                  <a:close/>
                  <a:moveTo>
                    <a:pt x="0" y="2220"/>
                  </a:moveTo>
                  <a:lnTo>
                    <a:pt x="0" y="2215"/>
                  </a:lnTo>
                  <a:lnTo>
                    <a:pt x="7" y="2220"/>
                  </a:lnTo>
                  <a:lnTo>
                    <a:pt x="0" y="2220"/>
                  </a:lnTo>
                  <a:lnTo>
                    <a:pt x="0" y="2220"/>
                  </a:lnTo>
                  <a:lnTo>
                    <a:pt x="0" y="2220"/>
                  </a:lnTo>
                  <a:close/>
                  <a:moveTo>
                    <a:pt x="3942" y="2442"/>
                  </a:moveTo>
                  <a:lnTo>
                    <a:pt x="5882" y="2442"/>
                  </a:lnTo>
                  <a:lnTo>
                    <a:pt x="5882" y="2404"/>
                  </a:lnTo>
                  <a:lnTo>
                    <a:pt x="5903" y="2414"/>
                  </a:lnTo>
                  <a:lnTo>
                    <a:pt x="5908" y="2459"/>
                  </a:lnTo>
                  <a:lnTo>
                    <a:pt x="5920" y="2470"/>
                  </a:lnTo>
                  <a:lnTo>
                    <a:pt x="5974" y="2475"/>
                  </a:lnTo>
                  <a:lnTo>
                    <a:pt x="5974" y="2482"/>
                  </a:lnTo>
                  <a:lnTo>
                    <a:pt x="6012" y="2475"/>
                  </a:lnTo>
                  <a:lnTo>
                    <a:pt x="6033" y="2475"/>
                  </a:lnTo>
                  <a:lnTo>
                    <a:pt x="6071" y="2499"/>
                  </a:lnTo>
                  <a:lnTo>
                    <a:pt x="6071" y="2515"/>
                  </a:lnTo>
                  <a:lnTo>
                    <a:pt x="6080" y="2499"/>
                  </a:lnTo>
                  <a:lnTo>
                    <a:pt x="6097" y="2499"/>
                  </a:lnTo>
                  <a:lnTo>
                    <a:pt x="6101" y="2515"/>
                  </a:lnTo>
                  <a:lnTo>
                    <a:pt x="6139" y="2532"/>
                  </a:lnTo>
                  <a:lnTo>
                    <a:pt x="6177" y="2515"/>
                  </a:lnTo>
                  <a:lnTo>
                    <a:pt x="6189" y="2525"/>
                  </a:lnTo>
                  <a:lnTo>
                    <a:pt x="6227" y="2525"/>
                  </a:lnTo>
                  <a:lnTo>
                    <a:pt x="6248" y="2532"/>
                  </a:lnTo>
                  <a:lnTo>
                    <a:pt x="6286" y="2537"/>
                  </a:lnTo>
                  <a:lnTo>
                    <a:pt x="6357" y="2508"/>
                  </a:lnTo>
                  <a:lnTo>
                    <a:pt x="6605" y="2636"/>
                  </a:lnTo>
                  <a:lnTo>
                    <a:pt x="6605" y="2659"/>
                  </a:lnTo>
                  <a:lnTo>
                    <a:pt x="6621" y="2676"/>
                  </a:lnTo>
                  <a:lnTo>
                    <a:pt x="6654" y="2664"/>
                  </a:lnTo>
                  <a:lnTo>
                    <a:pt x="6654" y="2692"/>
                  </a:lnTo>
                  <a:lnTo>
                    <a:pt x="6664" y="2702"/>
                  </a:lnTo>
                  <a:lnTo>
                    <a:pt x="6692" y="2702"/>
                  </a:lnTo>
                  <a:lnTo>
                    <a:pt x="6697" y="2714"/>
                  </a:lnTo>
                  <a:lnTo>
                    <a:pt x="6692" y="2730"/>
                  </a:lnTo>
                  <a:lnTo>
                    <a:pt x="6768" y="2775"/>
                  </a:lnTo>
                  <a:lnTo>
                    <a:pt x="6789" y="2924"/>
                  </a:lnTo>
                  <a:lnTo>
                    <a:pt x="6772" y="2981"/>
                  </a:lnTo>
                  <a:lnTo>
                    <a:pt x="6768" y="3014"/>
                  </a:lnTo>
                  <a:lnTo>
                    <a:pt x="6730" y="3047"/>
                  </a:lnTo>
                  <a:lnTo>
                    <a:pt x="6718" y="3063"/>
                  </a:lnTo>
                  <a:lnTo>
                    <a:pt x="6730" y="3080"/>
                  </a:lnTo>
                  <a:lnTo>
                    <a:pt x="6751" y="3096"/>
                  </a:lnTo>
                  <a:lnTo>
                    <a:pt x="6772" y="3096"/>
                  </a:lnTo>
                  <a:lnTo>
                    <a:pt x="6853" y="3047"/>
                  </a:lnTo>
                  <a:lnTo>
                    <a:pt x="6935" y="3030"/>
                  </a:lnTo>
                  <a:lnTo>
                    <a:pt x="7016" y="2997"/>
                  </a:lnTo>
                  <a:lnTo>
                    <a:pt x="7020" y="2990"/>
                  </a:lnTo>
                  <a:lnTo>
                    <a:pt x="7004" y="2974"/>
                  </a:lnTo>
                  <a:lnTo>
                    <a:pt x="7004" y="2957"/>
                  </a:lnTo>
                  <a:lnTo>
                    <a:pt x="6999" y="2940"/>
                  </a:lnTo>
                  <a:lnTo>
                    <a:pt x="7032" y="2924"/>
                  </a:lnTo>
                  <a:lnTo>
                    <a:pt x="7167" y="2924"/>
                  </a:lnTo>
                  <a:lnTo>
                    <a:pt x="7193" y="2886"/>
                  </a:lnTo>
                  <a:lnTo>
                    <a:pt x="7290" y="2808"/>
                  </a:lnTo>
                  <a:lnTo>
                    <a:pt x="7540" y="2803"/>
                  </a:lnTo>
                  <a:lnTo>
                    <a:pt x="7545" y="2787"/>
                  </a:lnTo>
                  <a:lnTo>
                    <a:pt x="7554" y="2775"/>
                  </a:lnTo>
                  <a:lnTo>
                    <a:pt x="7561" y="2787"/>
                  </a:lnTo>
                  <a:lnTo>
                    <a:pt x="7571" y="2775"/>
                  </a:lnTo>
                  <a:lnTo>
                    <a:pt x="7582" y="2787"/>
                  </a:lnTo>
                  <a:lnTo>
                    <a:pt x="7592" y="2759"/>
                  </a:lnTo>
                  <a:lnTo>
                    <a:pt x="7592" y="2754"/>
                  </a:lnTo>
                  <a:lnTo>
                    <a:pt x="7625" y="2718"/>
                  </a:lnTo>
                  <a:lnTo>
                    <a:pt x="7625" y="2697"/>
                  </a:lnTo>
                  <a:lnTo>
                    <a:pt x="7637" y="2676"/>
                  </a:lnTo>
                  <a:lnTo>
                    <a:pt x="7646" y="2648"/>
                  </a:lnTo>
                  <a:lnTo>
                    <a:pt x="7701" y="2581"/>
                  </a:lnTo>
                  <a:lnTo>
                    <a:pt x="7705" y="2586"/>
                  </a:lnTo>
                  <a:lnTo>
                    <a:pt x="7705" y="2603"/>
                  </a:lnTo>
                  <a:lnTo>
                    <a:pt x="7722" y="2610"/>
                  </a:lnTo>
                  <a:lnTo>
                    <a:pt x="7760" y="2591"/>
                  </a:lnTo>
                  <a:lnTo>
                    <a:pt x="7805" y="2619"/>
                  </a:lnTo>
                  <a:lnTo>
                    <a:pt x="7805" y="2747"/>
                  </a:lnTo>
                  <a:lnTo>
                    <a:pt x="7826" y="2754"/>
                  </a:lnTo>
                  <a:lnTo>
                    <a:pt x="7814" y="2759"/>
                  </a:lnTo>
                  <a:lnTo>
                    <a:pt x="7826" y="2775"/>
                  </a:lnTo>
                  <a:lnTo>
                    <a:pt x="7831" y="2792"/>
                  </a:lnTo>
                  <a:lnTo>
                    <a:pt x="7842" y="2792"/>
                  </a:lnTo>
                  <a:lnTo>
                    <a:pt x="7856" y="2808"/>
                  </a:lnTo>
                  <a:lnTo>
                    <a:pt x="7842" y="2813"/>
                  </a:lnTo>
                  <a:lnTo>
                    <a:pt x="7856" y="2813"/>
                  </a:lnTo>
                  <a:lnTo>
                    <a:pt x="7842" y="2829"/>
                  </a:lnTo>
                  <a:lnTo>
                    <a:pt x="7814" y="2829"/>
                  </a:lnTo>
                  <a:lnTo>
                    <a:pt x="7814" y="2846"/>
                  </a:lnTo>
                  <a:lnTo>
                    <a:pt x="7805" y="2846"/>
                  </a:lnTo>
                  <a:lnTo>
                    <a:pt x="7776" y="2863"/>
                  </a:lnTo>
                  <a:lnTo>
                    <a:pt x="7776" y="2858"/>
                  </a:lnTo>
                  <a:lnTo>
                    <a:pt x="7760" y="2858"/>
                  </a:lnTo>
                  <a:lnTo>
                    <a:pt x="7743" y="2858"/>
                  </a:lnTo>
                  <a:lnTo>
                    <a:pt x="7743" y="2863"/>
                  </a:lnTo>
                  <a:lnTo>
                    <a:pt x="7738" y="2863"/>
                  </a:lnTo>
                  <a:lnTo>
                    <a:pt x="7722" y="2863"/>
                  </a:lnTo>
                  <a:lnTo>
                    <a:pt x="7734" y="2841"/>
                  </a:lnTo>
                  <a:lnTo>
                    <a:pt x="7717" y="2858"/>
                  </a:lnTo>
                  <a:lnTo>
                    <a:pt x="7705" y="2886"/>
                  </a:lnTo>
                  <a:lnTo>
                    <a:pt x="7691" y="2898"/>
                  </a:lnTo>
                  <a:lnTo>
                    <a:pt x="7684" y="2886"/>
                  </a:lnTo>
                  <a:lnTo>
                    <a:pt x="7679" y="2903"/>
                  </a:lnTo>
                  <a:lnTo>
                    <a:pt x="7679" y="2886"/>
                  </a:lnTo>
                  <a:lnTo>
                    <a:pt x="7668" y="2903"/>
                  </a:lnTo>
                  <a:lnTo>
                    <a:pt x="7668" y="2886"/>
                  </a:lnTo>
                  <a:lnTo>
                    <a:pt x="7663" y="2914"/>
                  </a:lnTo>
                  <a:lnTo>
                    <a:pt x="7663" y="2886"/>
                  </a:lnTo>
                  <a:lnTo>
                    <a:pt x="7653" y="2898"/>
                  </a:lnTo>
                  <a:lnTo>
                    <a:pt x="7653" y="2919"/>
                  </a:lnTo>
                  <a:lnTo>
                    <a:pt x="7646" y="2903"/>
                  </a:lnTo>
                  <a:lnTo>
                    <a:pt x="7630" y="2914"/>
                  </a:lnTo>
                  <a:lnTo>
                    <a:pt x="7625" y="2924"/>
                  </a:lnTo>
                  <a:lnTo>
                    <a:pt x="7630" y="2936"/>
                  </a:lnTo>
                  <a:lnTo>
                    <a:pt x="7608" y="2952"/>
                  </a:lnTo>
                  <a:lnTo>
                    <a:pt x="7599" y="2974"/>
                  </a:lnTo>
                  <a:lnTo>
                    <a:pt x="7592" y="2969"/>
                  </a:lnTo>
                  <a:lnTo>
                    <a:pt x="7582" y="3007"/>
                  </a:lnTo>
                  <a:lnTo>
                    <a:pt x="7599" y="3014"/>
                  </a:lnTo>
                  <a:lnTo>
                    <a:pt x="7582" y="3023"/>
                  </a:lnTo>
                  <a:lnTo>
                    <a:pt x="7571" y="3035"/>
                  </a:lnTo>
                  <a:lnTo>
                    <a:pt x="7592" y="3047"/>
                  </a:lnTo>
                  <a:lnTo>
                    <a:pt x="7592" y="3068"/>
                  </a:lnTo>
                  <a:lnTo>
                    <a:pt x="7608" y="3080"/>
                  </a:lnTo>
                  <a:lnTo>
                    <a:pt x="7608" y="3085"/>
                  </a:lnTo>
                  <a:lnTo>
                    <a:pt x="7625" y="3096"/>
                  </a:lnTo>
                  <a:lnTo>
                    <a:pt x="7646" y="3085"/>
                  </a:lnTo>
                  <a:lnTo>
                    <a:pt x="7646" y="3080"/>
                  </a:lnTo>
                  <a:lnTo>
                    <a:pt x="7625" y="3063"/>
                  </a:lnTo>
                  <a:lnTo>
                    <a:pt x="7637" y="3063"/>
                  </a:lnTo>
                  <a:lnTo>
                    <a:pt x="7646" y="3080"/>
                  </a:lnTo>
                  <a:lnTo>
                    <a:pt x="7646" y="3096"/>
                  </a:lnTo>
                  <a:lnTo>
                    <a:pt x="7616" y="3101"/>
                  </a:lnTo>
                  <a:lnTo>
                    <a:pt x="7599" y="3108"/>
                  </a:lnTo>
                  <a:lnTo>
                    <a:pt x="7599" y="3096"/>
                  </a:lnTo>
                  <a:lnTo>
                    <a:pt x="7592" y="3096"/>
                  </a:lnTo>
                  <a:lnTo>
                    <a:pt x="7561" y="3118"/>
                  </a:lnTo>
                  <a:lnTo>
                    <a:pt x="7561" y="3101"/>
                  </a:lnTo>
                  <a:lnTo>
                    <a:pt x="7571" y="3085"/>
                  </a:lnTo>
                  <a:lnTo>
                    <a:pt x="7554" y="3101"/>
                  </a:lnTo>
                  <a:lnTo>
                    <a:pt x="7545" y="3085"/>
                  </a:lnTo>
                  <a:lnTo>
                    <a:pt x="7540" y="3125"/>
                  </a:lnTo>
                  <a:lnTo>
                    <a:pt x="7436" y="3134"/>
                  </a:lnTo>
                  <a:lnTo>
                    <a:pt x="7393" y="3158"/>
                  </a:lnTo>
                  <a:lnTo>
                    <a:pt x="7360" y="3179"/>
                  </a:lnTo>
                  <a:lnTo>
                    <a:pt x="7377" y="3151"/>
                  </a:lnTo>
                  <a:lnTo>
                    <a:pt x="7365" y="3125"/>
                  </a:lnTo>
                  <a:lnTo>
                    <a:pt x="7365" y="3158"/>
                  </a:lnTo>
                  <a:lnTo>
                    <a:pt x="7344" y="3196"/>
                  </a:lnTo>
                  <a:lnTo>
                    <a:pt x="7360" y="3196"/>
                  </a:lnTo>
                  <a:lnTo>
                    <a:pt x="7365" y="3212"/>
                  </a:lnTo>
                  <a:lnTo>
                    <a:pt x="7360" y="3262"/>
                  </a:lnTo>
                  <a:lnTo>
                    <a:pt x="7360" y="3236"/>
                  </a:lnTo>
                  <a:lnTo>
                    <a:pt x="7356" y="3269"/>
                  </a:lnTo>
                  <a:lnTo>
                    <a:pt x="7339" y="3285"/>
                  </a:lnTo>
                  <a:lnTo>
                    <a:pt x="7327" y="3290"/>
                  </a:lnTo>
                  <a:lnTo>
                    <a:pt x="7313" y="3302"/>
                  </a:lnTo>
                  <a:lnTo>
                    <a:pt x="7323" y="3302"/>
                  </a:lnTo>
                  <a:lnTo>
                    <a:pt x="7313" y="3318"/>
                  </a:lnTo>
                  <a:lnTo>
                    <a:pt x="7301" y="3328"/>
                  </a:lnTo>
                  <a:lnTo>
                    <a:pt x="7301" y="3307"/>
                  </a:lnTo>
                  <a:lnTo>
                    <a:pt x="7259" y="3290"/>
                  </a:lnTo>
                  <a:lnTo>
                    <a:pt x="7252" y="3274"/>
                  </a:lnTo>
                  <a:lnTo>
                    <a:pt x="7290" y="3236"/>
                  </a:lnTo>
                  <a:lnTo>
                    <a:pt x="7252" y="3269"/>
                  </a:lnTo>
                  <a:lnTo>
                    <a:pt x="7252" y="3285"/>
                  </a:lnTo>
                  <a:lnTo>
                    <a:pt x="7285" y="3347"/>
                  </a:lnTo>
                  <a:lnTo>
                    <a:pt x="7275" y="3356"/>
                  </a:lnTo>
                  <a:lnTo>
                    <a:pt x="7290" y="3363"/>
                  </a:lnTo>
                  <a:lnTo>
                    <a:pt x="7290" y="3373"/>
                  </a:lnTo>
                  <a:lnTo>
                    <a:pt x="7268" y="3401"/>
                  </a:lnTo>
                  <a:lnTo>
                    <a:pt x="7252" y="3439"/>
                  </a:lnTo>
                  <a:lnTo>
                    <a:pt x="7247" y="3451"/>
                  </a:lnTo>
                  <a:lnTo>
                    <a:pt x="7221" y="3484"/>
                  </a:lnTo>
                  <a:lnTo>
                    <a:pt x="7221" y="3467"/>
                  </a:lnTo>
                  <a:lnTo>
                    <a:pt x="7231" y="3439"/>
                  </a:lnTo>
                  <a:lnTo>
                    <a:pt x="7247" y="3418"/>
                  </a:lnTo>
                  <a:lnTo>
                    <a:pt x="7247" y="3413"/>
                  </a:lnTo>
                  <a:lnTo>
                    <a:pt x="7231" y="3413"/>
                  </a:lnTo>
                  <a:lnTo>
                    <a:pt x="7238" y="3373"/>
                  </a:lnTo>
                  <a:lnTo>
                    <a:pt x="7221" y="3385"/>
                  </a:lnTo>
                  <a:lnTo>
                    <a:pt x="7205" y="3380"/>
                  </a:lnTo>
                  <a:lnTo>
                    <a:pt x="7200" y="3373"/>
                  </a:lnTo>
                  <a:lnTo>
                    <a:pt x="7214" y="3363"/>
                  </a:lnTo>
                  <a:lnTo>
                    <a:pt x="7205" y="3363"/>
                  </a:lnTo>
                  <a:lnTo>
                    <a:pt x="7205" y="3356"/>
                  </a:lnTo>
                  <a:lnTo>
                    <a:pt x="7221" y="3363"/>
                  </a:lnTo>
                  <a:lnTo>
                    <a:pt x="7221" y="3356"/>
                  </a:lnTo>
                  <a:lnTo>
                    <a:pt x="7205" y="3347"/>
                  </a:lnTo>
                  <a:lnTo>
                    <a:pt x="7200" y="3347"/>
                  </a:lnTo>
                  <a:lnTo>
                    <a:pt x="7205" y="3340"/>
                  </a:lnTo>
                  <a:lnTo>
                    <a:pt x="7214" y="3340"/>
                  </a:lnTo>
                  <a:lnTo>
                    <a:pt x="7205" y="3323"/>
                  </a:lnTo>
                  <a:lnTo>
                    <a:pt x="7200" y="3340"/>
                  </a:lnTo>
                  <a:lnTo>
                    <a:pt x="7200" y="3323"/>
                  </a:lnTo>
                  <a:lnTo>
                    <a:pt x="7205" y="3323"/>
                  </a:lnTo>
                  <a:lnTo>
                    <a:pt x="7221" y="3318"/>
                  </a:lnTo>
                  <a:lnTo>
                    <a:pt x="7205" y="3323"/>
                  </a:lnTo>
                  <a:lnTo>
                    <a:pt x="7205" y="3307"/>
                  </a:lnTo>
                  <a:lnTo>
                    <a:pt x="7214" y="3302"/>
                  </a:lnTo>
                  <a:lnTo>
                    <a:pt x="7221" y="3290"/>
                  </a:lnTo>
                  <a:lnTo>
                    <a:pt x="7238" y="3274"/>
                  </a:lnTo>
                  <a:lnTo>
                    <a:pt x="7214" y="3274"/>
                  </a:lnTo>
                  <a:lnTo>
                    <a:pt x="7221" y="3285"/>
                  </a:lnTo>
                  <a:lnTo>
                    <a:pt x="7205" y="3290"/>
                  </a:lnTo>
                  <a:lnTo>
                    <a:pt x="7205" y="3285"/>
                  </a:lnTo>
                  <a:lnTo>
                    <a:pt x="7200" y="3290"/>
                  </a:lnTo>
                  <a:lnTo>
                    <a:pt x="7193" y="3302"/>
                  </a:lnTo>
                  <a:lnTo>
                    <a:pt x="7193" y="3307"/>
                  </a:lnTo>
                  <a:lnTo>
                    <a:pt x="7176" y="3302"/>
                  </a:lnTo>
                  <a:lnTo>
                    <a:pt x="7193" y="3323"/>
                  </a:lnTo>
                  <a:lnTo>
                    <a:pt x="7183" y="3347"/>
                  </a:lnTo>
                  <a:lnTo>
                    <a:pt x="7200" y="3380"/>
                  </a:lnTo>
                  <a:lnTo>
                    <a:pt x="7176" y="3373"/>
                  </a:lnTo>
                  <a:lnTo>
                    <a:pt x="7176" y="3356"/>
                  </a:lnTo>
                  <a:lnTo>
                    <a:pt x="7176" y="3373"/>
                  </a:lnTo>
                  <a:lnTo>
                    <a:pt x="7200" y="3385"/>
                  </a:lnTo>
                  <a:lnTo>
                    <a:pt x="7200" y="3401"/>
                  </a:lnTo>
                  <a:lnTo>
                    <a:pt x="7183" y="3385"/>
                  </a:lnTo>
                  <a:lnTo>
                    <a:pt x="7162" y="3385"/>
                  </a:lnTo>
                  <a:lnTo>
                    <a:pt x="7150" y="3373"/>
                  </a:lnTo>
                  <a:lnTo>
                    <a:pt x="7138" y="3373"/>
                  </a:lnTo>
                  <a:lnTo>
                    <a:pt x="7138" y="3363"/>
                  </a:lnTo>
                  <a:lnTo>
                    <a:pt x="7150" y="3347"/>
                  </a:lnTo>
                  <a:lnTo>
                    <a:pt x="7145" y="3328"/>
                  </a:lnTo>
                  <a:lnTo>
                    <a:pt x="7150" y="3347"/>
                  </a:lnTo>
                  <a:lnTo>
                    <a:pt x="7138" y="3356"/>
                  </a:lnTo>
                  <a:lnTo>
                    <a:pt x="7129" y="3380"/>
                  </a:lnTo>
                  <a:lnTo>
                    <a:pt x="7145" y="3380"/>
                  </a:lnTo>
                  <a:lnTo>
                    <a:pt x="7162" y="3396"/>
                  </a:lnTo>
                  <a:lnTo>
                    <a:pt x="7183" y="3396"/>
                  </a:lnTo>
                  <a:lnTo>
                    <a:pt x="7205" y="3418"/>
                  </a:lnTo>
                  <a:lnTo>
                    <a:pt x="7200" y="3439"/>
                  </a:lnTo>
                  <a:lnTo>
                    <a:pt x="7145" y="3396"/>
                  </a:lnTo>
                  <a:lnTo>
                    <a:pt x="7162" y="3401"/>
                  </a:lnTo>
                  <a:lnTo>
                    <a:pt x="7183" y="3439"/>
                  </a:lnTo>
                  <a:lnTo>
                    <a:pt x="7200" y="3439"/>
                  </a:lnTo>
                  <a:lnTo>
                    <a:pt x="7205" y="3455"/>
                  </a:lnTo>
                  <a:lnTo>
                    <a:pt x="7200" y="3455"/>
                  </a:lnTo>
                  <a:lnTo>
                    <a:pt x="7200" y="3467"/>
                  </a:lnTo>
                  <a:lnTo>
                    <a:pt x="7176" y="3455"/>
                  </a:lnTo>
                  <a:lnTo>
                    <a:pt x="7205" y="3484"/>
                  </a:lnTo>
                  <a:lnTo>
                    <a:pt x="7200" y="3496"/>
                  </a:lnTo>
                  <a:lnTo>
                    <a:pt x="7176" y="3472"/>
                  </a:lnTo>
                  <a:lnTo>
                    <a:pt x="7138" y="3467"/>
                  </a:lnTo>
                  <a:lnTo>
                    <a:pt x="7176" y="3484"/>
                  </a:lnTo>
                  <a:lnTo>
                    <a:pt x="7193" y="3496"/>
                  </a:lnTo>
                  <a:lnTo>
                    <a:pt x="7200" y="3507"/>
                  </a:lnTo>
                  <a:lnTo>
                    <a:pt x="7200" y="3496"/>
                  </a:lnTo>
                  <a:lnTo>
                    <a:pt x="7221" y="3496"/>
                  </a:lnTo>
                  <a:lnTo>
                    <a:pt x="7252" y="3595"/>
                  </a:lnTo>
                  <a:lnTo>
                    <a:pt x="7247" y="3566"/>
                  </a:lnTo>
                  <a:lnTo>
                    <a:pt x="7231" y="3512"/>
                  </a:lnTo>
                  <a:lnTo>
                    <a:pt x="7221" y="3529"/>
                  </a:lnTo>
                  <a:lnTo>
                    <a:pt x="7231" y="3540"/>
                  </a:lnTo>
                  <a:lnTo>
                    <a:pt x="7221" y="3529"/>
                  </a:lnTo>
                  <a:lnTo>
                    <a:pt x="7238" y="3566"/>
                  </a:lnTo>
                  <a:lnTo>
                    <a:pt x="7221" y="3545"/>
                  </a:lnTo>
                  <a:lnTo>
                    <a:pt x="7231" y="3562"/>
                  </a:lnTo>
                  <a:lnTo>
                    <a:pt x="7205" y="3545"/>
                  </a:lnTo>
                  <a:lnTo>
                    <a:pt x="7221" y="3562"/>
                  </a:lnTo>
                  <a:lnTo>
                    <a:pt x="7205" y="3566"/>
                  </a:lnTo>
                  <a:lnTo>
                    <a:pt x="7200" y="3562"/>
                  </a:lnTo>
                  <a:lnTo>
                    <a:pt x="7193" y="3578"/>
                  </a:lnTo>
                  <a:lnTo>
                    <a:pt x="7176" y="3566"/>
                  </a:lnTo>
                  <a:lnTo>
                    <a:pt x="7176" y="3550"/>
                  </a:lnTo>
                  <a:lnTo>
                    <a:pt x="7167" y="3578"/>
                  </a:lnTo>
                  <a:lnTo>
                    <a:pt x="7193" y="3578"/>
                  </a:lnTo>
                  <a:lnTo>
                    <a:pt x="7205" y="3578"/>
                  </a:lnTo>
                  <a:lnTo>
                    <a:pt x="7214" y="3578"/>
                  </a:lnTo>
                  <a:lnTo>
                    <a:pt x="7221" y="3600"/>
                  </a:lnTo>
                  <a:lnTo>
                    <a:pt x="7214" y="3600"/>
                  </a:lnTo>
                  <a:lnTo>
                    <a:pt x="7221" y="3600"/>
                  </a:lnTo>
                  <a:lnTo>
                    <a:pt x="7221" y="3583"/>
                  </a:lnTo>
                  <a:lnTo>
                    <a:pt x="7231" y="3578"/>
                  </a:lnTo>
                  <a:lnTo>
                    <a:pt x="7247" y="3595"/>
                  </a:lnTo>
                  <a:lnTo>
                    <a:pt x="7238" y="3607"/>
                  </a:lnTo>
                  <a:lnTo>
                    <a:pt x="7221" y="3616"/>
                  </a:lnTo>
                  <a:lnTo>
                    <a:pt x="7214" y="3623"/>
                  </a:lnTo>
                  <a:lnTo>
                    <a:pt x="7193" y="3623"/>
                  </a:lnTo>
                  <a:lnTo>
                    <a:pt x="7183" y="3607"/>
                  </a:lnTo>
                  <a:lnTo>
                    <a:pt x="7176" y="3623"/>
                  </a:lnTo>
                  <a:lnTo>
                    <a:pt x="7150" y="3607"/>
                  </a:lnTo>
                  <a:lnTo>
                    <a:pt x="7193" y="3633"/>
                  </a:lnTo>
                  <a:lnTo>
                    <a:pt x="7176" y="3640"/>
                  </a:lnTo>
                  <a:lnTo>
                    <a:pt x="7183" y="3651"/>
                  </a:lnTo>
                  <a:lnTo>
                    <a:pt x="7167" y="3656"/>
                  </a:lnTo>
                  <a:lnTo>
                    <a:pt x="7145" y="3640"/>
                  </a:lnTo>
                  <a:lnTo>
                    <a:pt x="7150" y="3656"/>
                  </a:lnTo>
                  <a:lnTo>
                    <a:pt x="7167" y="3661"/>
                  </a:lnTo>
                  <a:lnTo>
                    <a:pt x="7193" y="3651"/>
                  </a:lnTo>
                  <a:lnTo>
                    <a:pt x="7193" y="3661"/>
                  </a:lnTo>
                  <a:lnTo>
                    <a:pt x="7200" y="3656"/>
                  </a:lnTo>
                  <a:lnTo>
                    <a:pt x="7205" y="3656"/>
                  </a:lnTo>
                  <a:lnTo>
                    <a:pt x="7200" y="3661"/>
                  </a:lnTo>
                  <a:lnTo>
                    <a:pt x="7183" y="3677"/>
                  </a:lnTo>
                  <a:lnTo>
                    <a:pt x="7176" y="3677"/>
                  </a:lnTo>
                  <a:lnTo>
                    <a:pt x="7176" y="3673"/>
                  </a:lnTo>
                  <a:lnTo>
                    <a:pt x="7145" y="3677"/>
                  </a:lnTo>
                  <a:lnTo>
                    <a:pt x="7129" y="3689"/>
                  </a:lnTo>
                  <a:lnTo>
                    <a:pt x="7124" y="3677"/>
                  </a:lnTo>
                  <a:lnTo>
                    <a:pt x="7129" y="3694"/>
                  </a:lnTo>
                  <a:lnTo>
                    <a:pt x="7108" y="3711"/>
                  </a:lnTo>
                  <a:lnTo>
                    <a:pt x="7091" y="3744"/>
                  </a:lnTo>
                  <a:lnTo>
                    <a:pt x="7086" y="3727"/>
                  </a:lnTo>
                  <a:lnTo>
                    <a:pt x="7086" y="3744"/>
                  </a:lnTo>
                  <a:lnTo>
                    <a:pt x="7042" y="3744"/>
                  </a:lnTo>
                  <a:lnTo>
                    <a:pt x="7020" y="3760"/>
                  </a:lnTo>
                  <a:lnTo>
                    <a:pt x="6999" y="3800"/>
                  </a:lnTo>
                  <a:lnTo>
                    <a:pt x="6987" y="3788"/>
                  </a:lnTo>
                  <a:lnTo>
                    <a:pt x="6999" y="3784"/>
                  </a:lnTo>
                  <a:lnTo>
                    <a:pt x="6987" y="3788"/>
                  </a:lnTo>
                  <a:lnTo>
                    <a:pt x="6999" y="3805"/>
                  </a:lnTo>
                  <a:lnTo>
                    <a:pt x="6982" y="3817"/>
                  </a:lnTo>
                  <a:lnTo>
                    <a:pt x="6978" y="3817"/>
                  </a:lnTo>
                  <a:lnTo>
                    <a:pt x="6949" y="3838"/>
                  </a:lnTo>
                  <a:lnTo>
                    <a:pt x="6945" y="3829"/>
                  </a:lnTo>
                  <a:lnTo>
                    <a:pt x="6949" y="3845"/>
                  </a:lnTo>
                  <a:lnTo>
                    <a:pt x="6923" y="3862"/>
                  </a:lnTo>
                  <a:lnTo>
                    <a:pt x="6897" y="3855"/>
                  </a:lnTo>
                  <a:lnTo>
                    <a:pt x="6907" y="3862"/>
                  </a:lnTo>
                  <a:lnTo>
                    <a:pt x="6907" y="3871"/>
                  </a:lnTo>
                  <a:lnTo>
                    <a:pt x="6897" y="3878"/>
                  </a:lnTo>
                  <a:lnTo>
                    <a:pt x="6897" y="3862"/>
                  </a:lnTo>
                  <a:lnTo>
                    <a:pt x="6890" y="3871"/>
                  </a:lnTo>
                  <a:lnTo>
                    <a:pt x="6881" y="3855"/>
                  </a:lnTo>
                  <a:lnTo>
                    <a:pt x="6897" y="3878"/>
                  </a:lnTo>
                  <a:lnTo>
                    <a:pt x="6881" y="3883"/>
                  </a:lnTo>
                  <a:lnTo>
                    <a:pt x="6881" y="3895"/>
                  </a:lnTo>
                  <a:lnTo>
                    <a:pt x="6881" y="3900"/>
                  </a:lnTo>
                  <a:lnTo>
                    <a:pt x="6869" y="3916"/>
                  </a:lnTo>
                  <a:lnTo>
                    <a:pt x="6860" y="3933"/>
                  </a:lnTo>
                  <a:lnTo>
                    <a:pt x="6853" y="3933"/>
                  </a:lnTo>
                  <a:lnTo>
                    <a:pt x="6860" y="3937"/>
                  </a:lnTo>
                  <a:lnTo>
                    <a:pt x="6853" y="3956"/>
                  </a:lnTo>
                  <a:lnTo>
                    <a:pt x="6836" y="3966"/>
                  </a:lnTo>
                  <a:lnTo>
                    <a:pt x="6843" y="3973"/>
                  </a:lnTo>
                  <a:lnTo>
                    <a:pt x="6836" y="3989"/>
                  </a:lnTo>
                  <a:lnTo>
                    <a:pt x="6853" y="4077"/>
                  </a:lnTo>
                  <a:lnTo>
                    <a:pt x="6874" y="4122"/>
                  </a:lnTo>
                  <a:lnTo>
                    <a:pt x="6907" y="4171"/>
                  </a:lnTo>
                  <a:lnTo>
                    <a:pt x="6897" y="4192"/>
                  </a:lnTo>
                  <a:lnTo>
                    <a:pt x="6912" y="4225"/>
                  </a:lnTo>
                  <a:lnTo>
                    <a:pt x="6897" y="4192"/>
                  </a:lnTo>
                  <a:lnTo>
                    <a:pt x="6897" y="4159"/>
                  </a:lnTo>
                  <a:lnTo>
                    <a:pt x="6890" y="4159"/>
                  </a:lnTo>
                  <a:lnTo>
                    <a:pt x="6890" y="4155"/>
                  </a:lnTo>
                  <a:lnTo>
                    <a:pt x="6881" y="4155"/>
                  </a:lnTo>
                  <a:lnTo>
                    <a:pt x="6890" y="4176"/>
                  </a:lnTo>
                  <a:lnTo>
                    <a:pt x="6935" y="4303"/>
                  </a:lnTo>
                  <a:lnTo>
                    <a:pt x="6928" y="4377"/>
                  </a:lnTo>
                  <a:lnTo>
                    <a:pt x="6923" y="4398"/>
                  </a:lnTo>
                  <a:lnTo>
                    <a:pt x="6912" y="4431"/>
                  </a:lnTo>
                  <a:lnTo>
                    <a:pt x="6907" y="4426"/>
                  </a:lnTo>
                  <a:lnTo>
                    <a:pt x="6869" y="4431"/>
                  </a:lnTo>
                  <a:lnTo>
                    <a:pt x="6860" y="4426"/>
                  </a:lnTo>
                  <a:lnTo>
                    <a:pt x="6874" y="4431"/>
                  </a:lnTo>
                  <a:lnTo>
                    <a:pt x="6874" y="4426"/>
                  </a:lnTo>
                  <a:lnTo>
                    <a:pt x="6860" y="4414"/>
                  </a:lnTo>
                  <a:lnTo>
                    <a:pt x="6853" y="4381"/>
                  </a:lnTo>
                  <a:lnTo>
                    <a:pt x="6822" y="4370"/>
                  </a:lnTo>
                  <a:lnTo>
                    <a:pt x="6815" y="4327"/>
                  </a:lnTo>
                  <a:lnTo>
                    <a:pt x="6805" y="4327"/>
                  </a:lnTo>
                  <a:lnTo>
                    <a:pt x="6822" y="4315"/>
                  </a:lnTo>
                  <a:lnTo>
                    <a:pt x="6805" y="4327"/>
                  </a:lnTo>
                  <a:lnTo>
                    <a:pt x="6798" y="4327"/>
                  </a:lnTo>
                  <a:lnTo>
                    <a:pt x="6798" y="4299"/>
                  </a:lnTo>
                  <a:lnTo>
                    <a:pt x="6789" y="4299"/>
                  </a:lnTo>
                  <a:lnTo>
                    <a:pt x="6789" y="4303"/>
                  </a:lnTo>
                  <a:lnTo>
                    <a:pt x="6784" y="4303"/>
                  </a:lnTo>
                  <a:lnTo>
                    <a:pt x="6760" y="4261"/>
                  </a:lnTo>
                  <a:lnTo>
                    <a:pt x="6772" y="4225"/>
                  </a:lnTo>
                  <a:lnTo>
                    <a:pt x="6772" y="4216"/>
                  </a:lnTo>
                  <a:lnTo>
                    <a:pt x="6751" y="4209"/>
                  </a:lnTo>
                  <a:lnTo>
                    <a:pt x="6751" y="4216"/>
                  </a:lnTo>
                  <a:lnTo>
                    <a:pt x="6760" y="4225"/>
                  </a:lnTo>
                  <a:lnTo>
                    <a:pt x="6751" y="4244"/>
                  </a:lnTo>
                  <a:lnTo>
                    <a:pt x="6746" y="4225"/>
                  </a:lnTo>
                  <a:lnTo>
                    <a:pt x="6760" y="4176"/>
                  </a:lnTo>
                  <a:lnTo>
                    <a:pt x="6760" y="4150"/>
                  </a:lnTo>
                  <a:lnTo>
                    <a:pt x="6746" y="4122"/>
                  </a:lnTo>
                  <a:lnTo>
                    <a:pt x="6730" y="4117"/>
                  </a:lnTo>
                  <a:lnTo>
                    <a:pt x="6708" y="4093"/>
                  </a:lnTo>
                  <a:lnTo>
                    <a:pt x="6708" y="4081"/>
                  </a:lnTo>
                  <a:lnTo>
                    <a:pt x="6680" y="4060"/>
                  </a:lnTo>
                  <a:lnTo>
                    <a:pt x="6659" y="4048"/>
                  </a:lnTo>
                  <a:lnTo>
                    <a:pt x="6642" y="4048"/>
                  </a:lnTo>
                  <a:lnTo>
                    <a:pt x="6626" y="4060"/>
                  </a:lnTo>
                  <a:lnTo>
                    <a:pt x="6638" y="4065"/>
                  </a:lnTo>
                  <a:lnTo>
                    <a:pt x="6626" y="4060"/>
                  </a:lnTo>
                  <a:lnTo>
                    <a:pt x="6600" y="4077"/>
                  </a:lnTo>
                  <a:lnTo>
                    <a:pt x="6567" y="4081"/>
                  </a:lnTo>
                  <a:lnTo>
                    <a:pt x="6567" y="4065"/>
                  </a:lnTo>
                  <a:lnTo>
                    <a:pt x="6567" y="4081"/>
                  </a:lnTo>
                  <a:lnTo>
                    <a:pt x="6567" y="4065"/>
                  </a:lnTo>
                  <a:lnTo>
                    <a:pt x="6545" y="4048"/>
                  </a:lnTo>
                  <a:lnTo>
                    <a:pt x="6567" y="4048"/>
                  </a:lnTo>
                  <a:lnTo>
                    <a:pt x="6545" y="4044"/>
                  </a:lnTo>
                  <a:lnTo>
                    <a:pt x="6534" y="4039"/>
                  </a:lnTo>
                  <a:lnTo>
                    <a:pt x="6545" y="4044"/>
                  </a:lnTo>
                  <a:lnTo>
                    <a:pt x="6496" y="4027"/>
                  </a:lnTo>
                  <a:lnTo>
                    <a:pt x="6512" y="4027"/>
                  </a:lnTo>
                  <a:lnTo>
                    <a:pt x="6503" y="4022"/>
                  </a:lnTo>
                  <a:lnTo>
                    <a:pt x="6437" y="4027"/>
                  </a:lnTo>
                  <a:lnTo>
                    <a:pt x="6458" y="4022"/>
                  </a:lnTo>
                  <a:lnTo>
                    <a:pt x="6442" y="4011"/>
                  </a:lnTo>
                  <a:lnTo>
                    <a:pt x="6427" y="4027"/>
                  </a:lnTo>
                  <a:lnTo>
                    <a:pt x="6411" y="4039"/>
                  </a:lnTo>
                  <a:lnTo>
                    <a:pt x="6427" y="4022"/>
                  </a:lnTo>
                  <a:lnTo>
                    <a:pt x="6420" y="4022"/>
                  </a:lnTo>
                  <a:lnTo>
                    <a:pt x="6411" y="4039"/>
                  </a:lnTo>
                  <a:lnTo>
                    <a:pt x="6382" y="4039"/>
                  </a:lnTo>
                  <a:lnTo>
                    <a:pt x="6394" y="4039"/>
                  </a:lnTo>
                  <a:lnTo>
                    <a:pt x="6390" y="4022"/>
                  </a:lnTo>
                  <a:lnTo>
                    <a:pt x="6390" y="4006"/>
                  </a:lnTo>
                  <a:lnTo>
                    <a:pt x="6382" y="4006"/>
                  </a:lnTo>
                  <a:lnTo>
                    <a:pt x="6373" y="4027"/>
                  </a:lnTo>
                  <a:lnTo>
                    <a:pt x="6357" y="4027"/>
                  </a:lnTo>
                  <a:lnTo>
                    <a:pt x="6352" y="4027"/>
                  </a:lnTo>
                  <a:lnTo>
                    <a:pt x="6314" y="4022"/>
                  </a:lnTo>
                  <a:lnTo>
                    <a:pt x="6276" y="4044"/>
                  </a:lnTo>
                  <a:lnTo>
                    <a:pt x="6227" y="4027"/>
                  </a:lnTo>
                  <a:lnTo>
                    <a:pt x="6210" y="4044"/>
                  </a:lnTo>
                  <a:lnTo>
                    <a:pt x="6210" y="4048"/>
                  </a:lnTo>
                  <a:lnTo>
                    <a:pt x="6227" y="4048"/>
                  </a:lnTo>
                  <a:lnTo>
                    <a:pt x="6264" y="4044"/>
                  </a:lnTo>
                  <a:lnTo>
                    <a:pt x="6248" y="4048"/>
                  </a:lnTo>
                  <a:lnTo>
                    <a:pt x="6264" y="4065"/>
                  </a:lnTo>
                  <a:lnTo>
                    <a:pt x="6281" y="4048"/>
                  </a:lnTo>
                  <a:lnTo>
                    <a:pt x="6286" y="4065"/>
                  </a:lnTo>
                  <a:lnTo>
                    <a:pt x="6281" y="4077"/>
                  </a:lnTo>
                  <a:lnTo>
                    <a:pt x="6281" y="4065"/>
                  </a:lnTo>
                  <a:lnTo>
                    <a:pt x="6260" y="4081"/>
                  </a:lnTo>
                  <a:lnTo>
                    <a:pt x="6314" y="4122"/>
                  </a:lnTo>
                  <a:lnTo>
                    <a:pt x="6302" y="4133"/>
                  </a:lnTo>
                  <a:lnTo>
                    <a:pt x="6297" y="4133"/>
                  </a:lnTo>
                  <a:lnTo>
                    <a:pt x="6281" y="4138"/>
                  </a:lnTo>
                  <a:lnTo>
                    <a:pt x="6286" y="4122"/>
                  </a:lnTo>
                  <a:lnTo>
                    <a:pt x="6281" y="4133"/>
                  </a:lnTo>
                  <a:lnTo>
                    <a:pt x="6281" y="4117"/>
                  </a:lnTo>
                  <a:lnTo>
                    <a:pt x="6260" y="4105"/>
                  </a:lnTo>
                  <a:lnTo>
                    <a:pt x="6260" y="4100"/>
                  </a:lnTo>
                  <a:lnTo>
                    <a:pt x="6227" y="4093"/>
                  </a:lnTo>
                  <a:lnTo>
                    <a:pt x="6227" y="4100"/>
                  </a:lnTo>
                  <a:lnTo>
                    <a:pt x="6243" y="4100"/>
                  </a:lnTo>
                  <a:lnTo>
                    <a:pt x="6231" y="4122"/>
                  </a:lnTo>
                  <a:lnTo>
                    <a:pt x="6227" y="4133"/>
                  </a:lnTo>
                  <a:lnTo>
                    <a:pt x="6222" y="4117"/>
                  </a:lnTo>
                  <a:lnTo>
                    <a:pt x="6210" y="4105"/>
                  </a:lnTo>
                  <a:lnTo>
                    <a:pt x="6189" y="4122"/>
                  </a:lnTo>
                  <a:lnTo>
                    <a:pt x="6151" y="4117"/>
                  </a:lnTo>
                  <a:lnTo>
                    <a:pt x="6151" y="4105"/>
                  </a:lnTo>
                  <a:lnTo>
                    <a:pt x="6156" y="4105"/>
                  </a:lnTo>
                  <a:lnTo>
                    <a:pt x="6156" y="4117"/>
                  </a:lnTo>
                  <a:lnTo>
                    <a:pt x="6168" y="4105"/>
                  </a:lnTo>
                  <a:lnTo>
                    <a:pt x="6134" y="4093"/>
                  </a:lnTo>
                  <a:lnTo>
                    <a:pt x="6125" y="4077"/>
                  </a:lnTo>
                  <a:lnTo>
                    <a:pt x="6113" y="4065"/>
                  </a:lnTo>
                  <a:lnTo>
                    <a:pt x="6087" y="4077"/>
                  </a:lnTo>
                  <a:lnTo>
                    <a:pt x="6097" y="4081"/>
                  </a:lnTo>
                  <a:lnTo>
                    <a:pt x="6080" y="4093"/>
                  </a:lnTo>
                  <a:lnTo>
                    <a:pt x="6012" y="4077"/>
                  </a:lnTo>
                  <a:lnTo>
                    <a:pt x="5974" y="4077"/>
                  </a:lnTo>
                  <a:lnTo>
                    <a:pt x="5962" y="4065"/>
                  </a:lnTo>
                  <a:lnTo>
                    <a:pt x="5979" y="4060"/>
                  </a:lnTo>
                  <a:lnTo>
                    <a:pt x="5974" y="4060"/>
                  </a:lnTo>
                  <a:lnTo>
                    <a:pt x="5962" y="4065"/>
                  </a:lnTo>
                  <a:lnTo>
                    <a:pt x="5974" y="4081"/>
                  </a:lnTo>
                  <a:lnTo>
                    <a:pt x="5950" y="4081"/>
                  </a:lnTo>
                  <a:lnTo>
                    <a:pt x="5903" y="4105"/>
                  </a:lnTo>
                  <a:lnTo>
                    <a:pt x="5924" y="4093"/>
                  </a:lnTo>
                  <a:lnTo>
                    <a:pt x="5903" y="4093"/>
                  </a:lnTo>
                  <a:lnTo>
                    <a:pt x="5908" y="4077"/>
                  </a:lnTo>
                  <a:lnTo>
                    <a:pt x="5886" y="4077"/>
                  </a:lnTo>
                  <a:lnTo>
                    <a:pt x="5898" y="4105"/>
                  </a:lnTo>
                  <a:lnTo>
                    <a:pt x="5882" y="4133"/>
                  </a:lnTo>
                  <a:lnTo>
                    <a:pt x="5799" y="4176"/>
                  </a:lnTo>
                  <a:lnTo>
                    <a:pt x="5816" y="4159"/>
                  </a:lnTo>
                  <a:lnTo>
                    <a:pt x="5799" y="4171"/>
                  </a:lnTo>
                  <a:lnTo>
                    <a:pt x="5811" y="4159"/>
                  </a:lnTo>
                  <a:lnTo>
                    <a:pt x="5790" y="4155"/>
                  </a:lnTo>
                  <a:lnTo>
                    <a:pt x="5794" y="4159"/>
                  </a:lnTo>
                  <a:lnTo>
                    <a:pt x="5790" y="4159"/>
                  </a:lnTo>
                  <a:lnTo>
                    <a:pt x="5773" y="4155"/>
                  </a:lnTo>
                  <a:lnTo>
                    <a:pt x="5778" y="4171"/>
                  </a:lnTo>
                  <a:lnTo>
                    <a:pt x="5794" y="4176"/>
                  </a:lnTo>
                  <a:lnTo>
                    <a:pt x="5773" y="4188"/>
                  </a:lnTo>
                  <a:lnTo>
                    <a:pt x="5761" y="4176"/>
                  </a:lnTo>
                  <a:lnTo>
                    <a:pt x="5761" y="4192"/>
                  </a:lnTo>
                  <a:lnTo>
                    <a:pt x="5757" y="4204"/>
                  </a:lnTo>
                  <a:lnTo>
                    <a:pt x="5740" y="4204"/>
                  </a:lnTo>
                  <a:lnTo>
                    <a:pt x="5735" y="4209"/>
                  </a:lnTo>
                  <a:lnTo>
                    <a:pt x="5747" y="4209"/>
                  </a:lnTo>
                  <a:lnTo>
                    <a:pt x="5740" y="4225"/>
                  </a:lnTo>
                  <a:lnTo>
                    <a:pt x="5709" y="4225"/>
                  </a:lnTo>
                  <a:lnTo>
                    <a:pt x="5735" y="4244"/>
                  </a:lnTo>
                  <a:lnTo>
                    <a:pt x="5719" y="4266"/>
                  </a:lnTo>
                  <a:lnTo>
                    <a:pt x="5709" y="4266"/>
                  </a:lnTo>
                  <a:lnTo>
                    <a:pt x="5693" y="4261"/>
                  </a:lnTo>
                  <a:lnTo>
                    <a:pt x="5702" y="4270"/>
                  </a:lnTo>
                  <a:lnTo>
                    <a:pt x="5719" y="4266"/>
                  </a:lnTo>
                  <a:lnTo>
                    <a:pt x="5709" y="4303"/>
                  </a:lnTo>
                  <a:lnTo>
                    <a:pt x="5735" y="4370"/>
                  </a:lnTo>
                  <a:lnTo>
                    <a:pt x="5740" y="4360"/>
                  </a:lnTo>
                  <a:lnTo>
                    <a:pt x="5740" y="4370"/>
                  </a:lnTo>
                  <a:lnTo>
                    <a:pt x="5719" y="4377"/>
                  </a:lnTo>
                  <a:lnTo>
                    <a:pt x="5702" y="4370"/>
                  </a:lnTo>
                  <a:lnTo>
                    <a:pt x="5664" y="4360"/>
                  </a:lnTo>
                  <a:lnTo>
                    <a:pt x="5648" y="4353"/>
                  </a:lnTo>
                  <a:lnTo>
                    <a:pt x="5601" y="4337"/>
                  </a:lnTo>
                  <a:lnTo>
                    <a:pt x="5596" y="4303"/>
                  </a:lnTo>
                  <a:lnTo>
                    <a:pt x="5579" y="4287"/>
                  </a:lnTo>
                  <a:lnTo>
                    <a:pt x="5572" y="4249"/>
                  </a:lnTo>
                  <a:lnTo>
                    <a:pt x="5546" y="4233"/>
                  </a:lnTo>
                  <a:lnTo>
                    <a:pt x="5530" y="4204"/>
                  </a:lnTo>
                  <a:lnTo>
                    <a:pt x="5520" y="4192"/>
                  </a:lnTo>
                  <a:lnTo>
                    <a:pt x="5492" y="4122"/>
                  </a:lnTo>
                  <a:lnTo>
                    <a:pt x="5449" y="4081"/>
                  </a:lnTo>
                  <a:lnTo>
                    <a:pt x="5438" y="4077"/>
                  </a:lnTo>
                  <a:lnTo>
                    <a:pt x="5395" y="4077"/>
                  </a:lnTo>
                  <a:lnTo>
                    <a:pt x="5379" y="4065"/>
                  </a:lnTo>
                  <a:lnTo>
                    <a:pt x="5357" y="4077"/>
                  </a:lnTo>
                  <a:lnTo>
                    <a:pt x="5341" y="4117"/>
                  </a:lnTo>
                  <a:lnTo>
                    <a:pt x="5315" y="4138"/>
                  </a:lnTo>
                  <a:lnTo>
                    <a:pt x="5303" y="4133"/>
                  </a:lnTo>
                  <a:lnTo>
                    <a:pt x="5256" y="4105"/>
                  </a:lnTo>
                  <a:lnTo>
                    <a:pt x="5223" y="4081"/>
                  </a:lnTo>
                  <a:lnTo>
                    <a:pt x="5206" y="4060"/>
                  </a:lnTo>
                  <a:lnTo>
                    <a:pt x="5206" y="4044"/>
                  </a:lnTo>
                  <a:lnTo>
                    <a:pt x="5194" y="4011"/>
                  </a:lnTo>
                  <a:lnTo>
                    <a:pt x="5097" y="3937"/>
                  </a:lnTo>
                  <a:lnTo>
                    <a:pt x="5093" y="3916"/>
                  </a:lnTo>
                  <a:lnTo>
                    <a:pt x="4963" y="3916"/>
                  </a:lnTo>
                  <a:lnTo>
                    <a:pt x="4963" y="3949"/>
                  </a:lnTo>
                  <a:lnTo>
                    <a:pt x="4764" y="3949"/>
                  </a:lnTo>
                  <a:lnTo>
                    <a:pt x="4500" y="3855"/>
                  </a:lnTo>
                  <a:lnTo>
                    <a:pt x="4505" y="3838"/>
                  </a:lnTo>
                  <a:lnTo>
                    <a:pt x="4337" y="3855"/>
                  </a:lnTo>
                  <a:lnTo>
                    <a:pt x="4325" y="3838"/>
                  </a:lnTo>
                  <a:lnTo>
                    <a:pt x="4337" y="3845"/>
                  </a:lnTo>
                  <a:lnTo>
                    <a:pt x="4325" y="3845"/>
                  </a:lnTo>
                  <a:lnTo>
                    <a:pt x="4325" y="3822"/>
                  </a:lnTo>
                  <a:lnTo>
                    <a:pt x="4316" y="3788"/>
                  </a:lnTo>
                  <a:lnTo>
                    <a:pt x="4266" y="3760"/>
                  </a:lnTo>
                  <a:lnTo>
                    <a:pt x="4249" y="3760"/>
                  </a:lnTo>
                  <a:lnTo>
                    <a:pt x="4235" y="3734"/>
                  </a:lnTo>
                  <a:lnTo>
                    <a:pt x="4197" y="3727"/>
                  </a:lnTo>
                  <a:lnTo>
                    <a:pt x="4164" y="3706"/>
                  </a:lnTo>
                  <a:lnTo>
                    <a:pt x="4105" y="3706"/>
                  </a:lnTo>
                  <a:lnTo>
                    <a:pt x="4089" y="3689"/>
                  </a:lnTo>
                  <a:lnTo>
                    <a:pt x="4098" y="3651"/>
                  </a:lnTo>
                  <a:lnTo>
                    <a:pt x="4072" y="3640"/>
                  </a:lnTo>
                  <a:lnTo>
                    <a:pt x="4072" y="3616"/>
                  </a:lnTo>
                  <a:lnTo>
                    <a:pt x="4001" y="3545"/>
                  </a:lnTo>
                  <a:lnTo>
                    <a:pt x="3997" y="3524"/>
                  </a:lnTo>
                  <a:lnTo>
                    <a:pt x="4013" y="3524"/>
                  </a:lnTo>
                  <a:lnTo>
                    <a:pt x="4013" y="3496"/>
                  </a:lnTo>
                  <a:lnTo>
                    <a:pt x="4001" y="3488"/>
                  </a:lnTo>
                  <a:lnTo>
                    <a:pt x="3980" y="3488"/>
                  </a:lnTo>
                  <a:lnTo>
                    <a:pt x="3964" y="3472"/>
                  </a:lnTo>
                  <a:lnTo>
                    <a:pt x="3964" y="3455"/>
                  </a:lnTo>
                  <a:lnTo>
                    <a:pt x="3959" y="3451"/>
                  </a:lnTo>
                  <a:lnTo>
                    <a:pt x="3959" y="3429"/>
                  </a:lnTo>
                  <a:lnTo>
                    <a:pt x="3964" y="3429"/>
                  </a:lnTo>
                  <a:lnTo>
                    <a:pt x="3975" y="3439"/>
                  </a:lnTo>
                  <a:lnTo>
                    <a:pt x="3997" y="3451"/>
                  </a:lnTo>
                  <a:lnTo>
                    <a:pt x="3964" y="3413"/>
                  </a:lnTo>
                  <a:lnTo>
                    <a:pt x="3980" y="3401"/>
                  </a:lnTo>
                  <a:lnTo>
                    <a:pt x="4018" y="3413"/>
                  </a:lnTo>
                  <a:lnTo>
                    <a:pt x="4030" y="3401"/>
                  </a:lnTo>
                  <a:lnTo>
                    <a:pt x="4034" y="3413"/>
                  </a:lnTo>
                  <a:lnTo>
                    <a:pt x="4030" y="3401"/>
                  </a:lnTo>
                  <a:lnTo>
                    <a:pt x="4013" y="3401"/>
                  </a:lnTo>
                  <a:lnTo>
                    <a:pt x="3997" y="3396"/>
                  </a:lnTo>
                  <a:lnTo>
                    <a:pt x="3992" y="3401"/>
                  </a:lnTo>
                  <a:lnTo>
                    <a:pt x="3975" y="3396"/>
                  </a:lnTo>
                  <a:lnTo>
                    <a:pt x="3964" y="3396"/>
                  </a:lnTo>
                  <a:lnTo>
                    <a:pt x="3964" y="3418"/>
                  </a:lnTo>
                  <a:lnTo>
                    <a:pt x="3959" y="3429"/>
                  </a:lnTo>
                  <a:lnTo>
                    <a:pt x="3938" y="3401"/>
                  </a:lnTo>
                  <a:lnTo>
                    <a:pt x="3926" y="3413"/>
                  </a:lnTo>
                  <a:lnTo>
                    <a:pt x="3926" y="3385"/>
                  </a:lnTo>
                  <a:lnTo>
                    <a:pt x="3942" y="3401"/>
                  </a:lnTo>
                  <a:lnTo>
                    <a:pt x="3921" y="3373"/>
                  </a:lnTo>
                  <a:lnTo>
                    <a:pt x="3871" y="3328"/>
                  </a:lnTo>
                  <a:lnTo>
                    <a:pt x="3871" y="3262"/>
                  </a:lnTo>
                  <a:lnTo>
                    <a:pt x="3850" y="3229"/>
                  </a:lnTo>
                  <a:lnTo>
                    <a:pt x="3834" y="3219"/>
                  </a:lnTo>
                  <a:lnTo>
                    <a:pt x="3829" y="3207"/>
                  </a:lnTo>
                  <a:lnTo>
                    <a:pt x="3841" y="3174"/>
                  </a:lnTo>
                  <a:lnTo>
                    <a:pt x="3850" y="3118"/>
                  </a:lnTo>
                  <a:lnTo>
                    <a:pt x="3841" y="3085"/>
                  </a:lnTo>
                  <a:lnTo>
                    <a:pt x="3841" y="3068"/>
                  </a:lnTo>
                  <a:lnTo>
                    <a:pt x="3829" y="3047"/>
                  </a:lnTo>
                  <a:lnTo>
                    <a:pt x="3829" y="3014"/>
                  </a:lnTo>
                  <a:lnTo>
                    <a:pt x="3817" y="2990"/>
                  </a:lnTo>
                  <a:lnTo>
                    <a:pt x="3829" y="2952"/>
                  </a:lnTo>
                  <a:lnTo>
                    <a:pt x="3841" y="2952"/>
                  </a:lnTo>
                  <a:lnTo>
                    <a:pt x="3841" y="2940"/>
                  </a:lnTo>
                  <a:lnTo>
                    <a:pt x="3834" y="2940"/>
                  </a:lnTo>
                  <a:lnTo>
                    <a:pt x="3850" y="2919"/>
                  </a:lnTo>
                  <a:lnTo>
                    <a:pt x="3850" y="2813"/>
                  </a:lnTo>
                  <a:lnTo>
                    <a:pt x="3855" y="2792"/>
                  </a:lnTo>
                  <a:lnTo>
                    <a:pt x="3855" y="2759"/>
                  </a:lnTo>
                  <a:lnTo>
                    <a:pt x="3867" y="2759"/>
                  </a:lnTo>
                  <a:lnTo>
                    <a:pt x="3855" y="2697"/>
                  </a:lnTo>
                  <a:lnTo>
                    <a:pt x="3888" y="2692"/>
                  </a:lnTo>
                  <a:lnTo>
                    <a:pt x="3905" y="2702"/>
                  </a:lnTo>
                  <a:lnTo>
                    <a:pt x="3909" y="2697"/>
                  </a:lnTo>
                  <a:lnTo>
                    <a:pt x="3855" y="2692"/>
                  </a:lnTo>
                  <a:lnTo>
                    <a:pt x="3850" y="2659"/>
                  </a:lnTo>
                  <a:lnTo>
                    <a:pt x="3855" y="2681"/>
                  </a:lnTo>
                  <a:lnTo>
                    <a:pt x="3867" y="2664"/>
                  </a:lnTo>
                  <a:lnTo>
                    <a:pt x="3855" y="2659"/>
                  </a:lnTo>
                  <a:lnTo>
                    <a:pt x="3871" y="2648"/>
                  </a:lnTo>
                  <a:lnTo>
                    <a:pt x="3850" y="2648"/>
                  </a:lnTo>
                  <a:lnTo>
                    <a:pt x="3850" y="2643"/>
                  </a:lnTo>
                  <a:lnTo>
                    <a:pt x="3871" y="2626"/>
                  </a:lnTo>
                  <a:lnTo>
                    <a:pt x="3850" y="2619"/>
                  </a:lnTo>
                  <a:lnTo>
                    <a:pt x="3841" y="2636"/>
                  </a:lnTo>
                  <a:lnTo>
                    <a:pt x="3829" y="2565"/>
                  </a:lnTo>
                  <a:lnTo>
                    <a:pt x="3812" y="2532"/>
                  </a:lnTo>
                  <a:lnTo>
                    <a:pt x="3803" y="2499"/>
                  </a:lnTo>
                  <a:lnTo>
                    <a:pt x="3855" y="2515"/>
                  </a:lnTo>
                  <a:lnTo>
                    <a:pt x="3905" y="2525"/>
                  </a:lnTo>
                  <a:lnTo>
                    <a:pt x="3921" y="2515"/>
                  </a:lnTo>
                  <a:lnTo>
                    <a:pt x="3938" y="2525"/>
                  </a:lnTo>
                  <a:lnTo>
                    <a:pt x="3942" y="2515"/>
                  </a:lnTo>
                  <a:lnTo>
                    <a:pt x="3942" y="2525"/>
                  </a:lnTo>
                  <a:lnTo>
                    <a:pt x="3947" y="2537"/>
                  </a:lnTo>
                  <a:lnTo>
                    <a:pt x="3942" y="2553"/>
                  </a:lnTo>
                  <a:lnTo>
                    <a:pt x="3938" y="2548"/>
                  </a:lnTo>
                  <a:lnTo>
                    <a:pt x="3909" y="2591"/>
                  </a:lnTo>
                  <a:lnTo>
                    <a:pt x="3938" y="2586"/>
                  </a:lnTo>
                  <a:lnTo>
                    <a:pt x="3921" y="2586"/>
                  </a:lnTo>
                  <a:lnTo>
                    <a:pt x="3959" y="2537"/>
                  </a:lnTo>
                  <a:lnTo>
                    <a:pt x="3964" y="2553"/>
                  </a:lnTo>
                  <a:lnTo>
                    <a:pt x="3947" y="2565"/>
                  </a:lnTo>
                  <a:lnTo>
                    <a:pt x="3947" y="2570"/>
                  </a:lnTo>
                  <a:lnTo>
                    <a:pt x="3947" y="2565"/>
                  </a:lnTo>
                  <a:lnTo>
                    <a:pt x="3947" y="2581"/>
                  </a:lnTo>
                  <a:lnTo>
                    <a:pt x="3959" y="2570"/>
                  </a:lnTo>
                  <a:lnTo>
                    <a:pt x="3959" y="2603"/>
                  </a:lnTo>
                  <a:lnTo>
                    <a:pt x="3947" y="2591"/>
                  </a:lnTo>
                  <a:lnTo>
                    <a:pt x="3947" y="2586"/>
                  </a:lnTo>
                  <a:lnTo>
                    <a:pt x="3942" y="2610"/>
                  </a:lnTo>
                  <a:lnTo>
                    <a:pt x="3942" y="2586"/>
                  </a:lnTo>
                  <a:lnTo>
                    <a:pt x="3921" y="2610"/>
                  </a:lnTo>
                  <a:lnTo>
                    <a:pt x="3938" y="2619"/>
                  </a:lnTo>
                  <a:lnTo>
                    <a:pt x="3938" y="2610"/>
                  </a:lnTo>
                  <a:lnTo>
                    <a:pt x="3942" y="2619"/>
                  </a:lnTo>
                  <a:lnTo>
                    <a:pt x="3975" y="2586"/>
                  </a:lnTo>
                  <a:lnTo>
                    <a:pt x="3964" y="2565"/>
                  </a:lnTo>
                  <a:lnTo>
                    <a:pt x="3975" y="2537"/>
                  </a:lnTo>
                  <a:lnTo>
                    <a:pt x="3975" y="2532"/>
                  </a:lnTo>
                  <a:lnTo>
                    <a:pt x="3964" y="2515"/>
                  </a:lnTo>
                  <a:lnTo>
                    <a:pt x="3964" y="2525"/>
                  </a:lnTo>
                  <a:lnTo>
                    <a:pt x="3959" y="2515"/>
                  </a:lnTo>
                  <a:lnTo>
                    <a:pt x="3964" y="2508"/>
                  </a:lnTo>
                  <a:lnTo>
                    <a:pt x="3942" y="2492"/>
                  </a:lnTo>
                  <a:lnTo>
                    <a:pt x="3959" y="2492"/>
                  </a:lnTo>
                  <a:lnTo>
                    <a:pt x="3964" y="2475"/>
                  </a:lnTo>
                  <a:lnTo>
                    <a:pt x="3959" y="2470"/>
                  </a:lnTo>
                  <a:lnTo>
                    <a:pt x="3947" y="2459"/>
                  </a:lnTo>
                  <a:lnTo>
                    <a:pt x="3942" y="2454"/>
                  </a:lnTo>
                  <a:lnTo>
                    <a:pt x="3942" y="2442"/>
                  </a:lnTo>
                  <a:lnTo>
                    <a:pt x="3942" y="2442"/>
                  </a:lnTo>
                  <a:lnTo>
                    <a:pt x="3942" y="2442"/>
                  </a:lnTo>
                  <a:close/>
                  <a:moveTo>
                    <a:pt x="3938" y="2470"/>
                  </a:moveTo>
                  <a:lnTo>
                    <a:pt x="3942" y="2475"/>
                  </a:lnTo>
                  <a:lnTo>
                    <a:pt x="3926" y="2475"/>
                  </a:lnTo>
                  <a:lnTo>
                    <a:pt x="3938" y="2470"/>
                  </a:lnTo>
                  <a:lnTo>
                    <a:pt x="3938" y="2470"/>
                  </a:lnTo>
                  <a:lnTo>
                    <a:pt x="3938" y="2470"/>
                  </a:lnTo>
                  <a:close/>
                  <a:moveTo>
                    <a:pt x="3921" y="2475"/>
                  </a:moveTo>
                  <a:lnTo>
                    <a:pt x="3926" y="2492"/>
                  </a:lnTo>
                  <a:lnTo>
                    <a:pt x="3909" y="2492"/>
                  </a:lnTo>
                  <a:lnTo>
                    <a:pt x="3909" y="2475"/>
                  </a:lnTo>
                  <a:lnTo>
                    <a:pt x="3921" y="2475"/>
                  </a:lnTo>
                  <a:lnTo>
                    <a:pt x="3921" y="2475"/>
                  </a:lnTo>
                  <a:lnTo>
                    <a:pt x="3921" y="2475"/>
                  </a:lnTo>
                  <a:close/>
                  <a:moveTo>
                    <a:pt x="3938" y="2482"/>
                  </a:moveTo>
                  <a:lnTo>
                    <a:pt x="3938" y="2492"/>
                  </a:lnTo>
                  <a:lnTo>
                    <a:pt x="3926" y="2492"/>
                  </a:lnTo>
                  <a:lnTo>
                    <a:pt x="3938" y="2482"/>
                  </a:lnTo>
                  <a:lnTo>
                    <a:pt x="3938" y="2482"/>
                  </a:lnTo>
                  <a:lnTo>
                    <a:pt x="3938" y="2482"/>
                  </a:lnTo>
                  <a:close/>
                  <a:moveTo>
                    <a:pt x="3959" y="2499"/>
                  </a:moveTo>
                  <a:lnTo>
                    <a:pt x="3959" y="2508"/>
                  </a:lnTo>
                  <a:lnTo>
                    <a:pt x="3947" y="2515"/>
                  </a:lnTo>
                  <a:lnTo>
                    <a:pt x="3975" y="2532"/>
                  </a:lnTo>
                  <a:lnTo>
                    <a:pt x="3964" y="2537"/>
                  </a:lnTo>
                  <a:lnTo>
                    <a:pt x="3942" y="2515"/>
                  </a:lnTo>
                  <a:lnTo>
                    <a:pt x="3959" y="2499"/>
                  </a:lnTo>
                  <a:lnTo>
                    <a:pt x="3959" y="2499"/>
                  </a:lnTo>
                  <a:lnTo>
                    <a:pt x="3959" y="2499"/>
                  </a:lnTo>
                  <a:close/>
                  <a:moveTo>
                    <a:pt x="3959" y="2565"/>
                  </a:moveTo>
                  <a:lnTo>
                    <a:pt x="3959" y="2570"/>
                  </a:lnTo>
                  <a:lnTo>
                    <a:pt x="3959" y="2565"/>
                  </a:lnTo>
                  <a:lnTo>
                    <a:pt x="3959" y="2565"/>
                  </a:lnTo>
                  <a:lnTo>
                    <a:pt x="3959" y="2565"/>
                  </a:lnTo>
                  <a:close/>
                  <a:moveTo>
                    <a:pt x="3964" y="2586"/>
                  </a:moveTo>
                  <a:lnTo>
                    <a:pt x="3959" y="2591"/>
                  </a:lnTo>
                  <a:lnTo>
                    <a:pt x="3964" y="2581"/>
                  </a:lnTo>
                  <a:lnTo>
                    <a:pt x="3964" y="2586"/>
                  </a:lnTo>
                  <a:lnTo>
                    <a:pt x="3964" y="2586"/>
                  </a:lnTo>
                  <a:lnTo>
                    <a:pt x="3964" y="2586"/>
                  </a:lnTo>
                  <a:close/>
                  <a:moveTo>
                    <a:pt x="3938" y="2603"/>
                  </a:moveTo>
                  <a:lnTo>
                    <a:pt x="3938" y="2610"/>
                  </a:lnTo>
                  <a:lnTo>
                    <a:pt x="3938" y="2603"/>
                  </a:lnTo>
                  <a:lnTo>
                    <a:pt x="3938" y="2603"/>
                  </a:lnTo>
                  <a:lnTo>
                    <a:pt x="3938" y="2603"/>
                  </a:lnTo>
                  <a:close/>
                  <a:moveTo>
                    <a:pt x="7771" y="2858"/>
                  </a:moveTo>
                  <a:lnTo>
                    <a:pt x="7771" y="2863"/>
                  </a:lnTo>
                  <a:lnTo>
                    <a:pt x="7760" y="2870"/>
                  </a:lnTo>
                  <a:lnTo>
                    <a:pt x="7755" y="2870"/>
                  </a:lnTo>
                  <a:lnTo>
                    <a:pt x="7755" y="2858"/>
                  </a:lnTo>
                  <a:lnTo>
                    <a:pt x="7771" y="2858"/>
                  </a:lnTo>
                  <a:lnTo>
                    <a:pt x="7771" y="2858"/>
                  </a:lnTo>
                  <a:lnTo>
                    <a:pt x="7771" y="2858"/>
                  </a:lnTo>
                  <a:close/>
                  <a:moveTo>
                    <a:pt x="7738" y="2870"/>
                  </a:moveTo>
                  <a:lnTo>
                    <a:pt x="7738" y="2879"/>
                  </a:lnTo>
                  <a:lnTo>
                    <a:pt x="7734" y="2879"/>
                  </a:lnTo>
                  <a:lnTo>
                    <a:pt x="7738" y="2870"/>
                  </a:lnTo>
                  <a:lnTo>
                    <a:pt x="7738" y="2870"/>
                  </a:lnTo>
                  <a:lnTo>
                    <a:pt x="7738" y="2870"/>
                  </a:lnTo>
                  <a:close/>
                  <a:moveTo>
                    <a:pt x="7734" y="2886"/>
                  </a:moveTo>
                  <a:lnTo>
                    <a:pt x="7722" y="2886"/>
                  </a:lnTo>
                  <a:lnTo>
                    <a:pt x="7722" y="2879"/>
                  </a:lnTo>
                  <a:lnTo>
                    <a:pt x="7734" y="2886"/>
                  </a:lnTo>
                  <a:lnTo>
                    <a:pt x="7734" y="2886"/>
                  </a:lnTo>
                  <a:lnTo>
                    <a:pt x="7734" y="2886"/>
                  </a:lnTo>
                  <a:close/>
                  <a:moveTo>
                    <a:pt x="7561" y="3101"/>
                  </a:moveTo>
                  <a:lnTo>
                    <a:pt x="7554" y="3108"/>
                  </a:lnTo>
                  <a:lnTo>
                    <a:pt x="7545" y="3118"/>
                  </a:lnTo>
                  <a:lnTo>
                    <a:pt x="7561" y="3101"/>
                  </a:lnTo>
                  <a:lnTo>
                    <a:pt x="7561" y="3101"/>
                  </a:lnTo>
                  <a:lnTo>
                    <a:pt x="7561" y="3101"/>
                  </a:lnTo>
                  <a:close/>
                  <a:moveTo>
                    <a:pt x="7608" y="3118"/>
                  </a:moveTo>
                  <a:lnTo>
                    <a:pt x="7608" y="3125"/>
                  </a:lnTo>
                  <a:lnTo>
                    <a:pt x="7582" y="3125"/>
                  </a:lnTo>
                  <a:lnTo>
                    <a:pt x="7608" y="3118"/>
                  </a:lnTo>
                  <a:lnTo>
                    <a:pt x="7608" y="3118"/>
                  </a:lnTo>
                  <a:lnTo>
                    <a:pt x="7608" y="3118"/>
                  </a:lnTo>
                  <a:close/>
                  <a:moveTo>
                    <a:pt x="7637" y="3125"/>
                  </a:moveTo>
                  <a:lnTo>
                    <a:pt x="7646" y="3134"/>
                  </a:lnTo>
                  <a:lnTo>
                    <a:pt x="7630" y="3134"/>
                  </a:lnTo>
                  <a:lnTo>
                    <a:pt x="7637" y="3125"/>
                  </a:lnTo>
                  <a:lnTo>
                    <a:pt x="7637" y="3125"/>
                  </a:lnTo>
                  <a:lnTo>
                    <a:pt x="7637" y="3125"/>
                  </a:lnTo>
                  <a:close/>
                  <a:moveTo>
                    <a:pt x="7448" y="3174"/>
                  </a:moveTo>
                  <a:lnTo>
                    <a:pt x="7382" y="3191"/>
                  </a:lnTo>
                  <a:lnTo>
                    <a:pt x="7393" y="3191"/>
                  </a:lnTo>
                  <a:lnTo>
                    <a:pt x="7365" y="3191"/>
                  </a:lnTo>
                  <a:lnTo>
                    <a:pt x="7377" y="3191"/>
                  </a:lnTo>
                  <a:lnTo>
                    <a:pt x="7360" y="3191"/>
                  </a:lnTo>
                  <a:lnTo>
                    <a:pt x="7365" y="3174"/>
                  </a:lnTo>
                  <a:lnTo>
                    <a:pt x="7393" y="3163"/>
                  </a:lnTo>
                  <a:lnTo>
                    <a:pt x="7464" y="3158"/>
                  </a:lnTo>
                  <a:lnTo>
                    <a:pt x="7486" y="3141"/>
                  </a:lnTo>
                  <a:lnTo>
                    <a:pt x="7464" y="3163"/>
                  </a:lnTo>
                  <a:lnTo>
                    <a:pt x="7516" y="3151"/>
                  </a:lnTo>
                  <a:lnTo>
                    <a:pt x="7448" y="3174"/>
                  </a:lnTo>
                  <a:lnTo>
                    <a:pt x="7448" y="3174"/>
                  </a:lnTo>
                  <a:lnTo>
                    <a:pt x="7448" y="3174"/>
                  </a:lnTo>
                  <a:close/>
                  <a:moveTo>
                    <a:pt x="7360" y="3191"/>
                  </a:moveTo>
                  <a:lnTo>
                    <a:pt x="7344" y="3196"/>
                  </a:lnTo>
                  <a:lnTo>
                    <a:pt x="7356" y="3191"/>
                  </a:lnTo>
                  <a:lnTo>
                    <a:pt x="7360" y="3191"/>
                  </a:lnTo>
                  <a:lnTo>
                    <a:pt x="7360" y="3191"/>
                  </a:lnTo>
                  <a:lnTo>
                    <a:pt x="7360" y="3191"/>
                  </a:lnTo>
                  <a:close/>
                  <a:moveTo>
                    <a:pt x="7339" y="3290"/>
                  </a:moveTo>
                  <a:lnTo>
                    <a:pt x="7327" y="3290"/>
                  </a:lnTo>
                  <a:lnTo>
                    <a:pt x="7344" y="3285"/>
                  </a:lnTo>
                  <a:lnTo>
                    <a:pt x="7339" y="3290"/>
                  </a:lnTo>
                  <a:lnTo>
                    <a:pt x="7339" y="3290"/>
                  </a:lnTo>
                  <a:lnTo>
                    <a:pt x="7339" y="3290"/>
                  </a:lnTo>
                  <a:close/>
                  <a:moveTo>
                    <a:pt x="7275" y="3401"/>
                  </a:moveTo>
                  <a:lnTo>
                    <a:pt x="7268" y="3418"/>
                  </a:lnTo>
                  <a:lnTo>
                    <a:pt x="7285" y="3385"/>
                  </a:lnTo>
                  <a:lnTo>
                    <a:pt x="7275" y="3401"/>
                  </a:lnTo>
                  <a:lnTo>
                    <a:pt x="7275" y="3401"/>
                  </a:lnTo>
                  <a:lnTo>
                    <a:pt x="7275" y="3401"/>
                  </a:lnTo>
                  <a:close/>
                  <a:moveTo>
                    <a:pt x="7252" y="3640"/>
                  </a:moveTo>
                  <a:lnTo>
                    <a:pt x="7247" y="3640"/>
                  </a:lnTo>
                  <a:lnTo>
                    <a:pt x="7259" y="3633"/>
                  </a:lnTo>
                  <a:lnTo>
                    <a:pt x="7259" y="3595"/>
                  </a:lnTo>
                  <a:lnTo>
                    <a:pt x="7259" y="3607"/>
                  </a:lnTo>
                  <a:lnTo>
                    <a:pt x="7252" y="3640"/>
                  </a:lnTo>
                  <a:lnTo>
                    <a:pt x="7252" y="3640"/>
                  </a:lnTo>
                  <a:lnTo>
                    <a:pt x="7252" y="3640"/>
                  </a:lnTo>
                  <a:close/>
                  <a:moveTo>
                    <a:pt x="4143" y="3727"/>
                  </a:moveTo>
                  <a:lnTo>
                    <a:pt x="4174" y="3734"/>
                  </a:lnTo>
                  <a:lnTo>
                    <a:pt x="4153" y="3744"/>
                  </a:lnTo>
                  <a:lnTo>
                    <a:pt x="4143" y="3734"/>
                  </a:lnTo>
                  <a:lnTo>
                    <a:pt x="4143" y="3727"/>
                  </a:lnTo>
                  <a:lnTo>
                    <a:pt x="4143" y="3727"/>
                  </a:lnTo>
                  <a:lnTo>
                    <a:pt x="4143" y="3727"/>
                  </a:lnTo>
                  <a:close/>
                  <a:moveTo>
                    <a:pt x="4136" y="3734"/>
                  </a:moveTo>
                  <a:lnTo>
                    <a:pt x="4127" y="3744"/>
                  </a:lnTo>
                  <a:lnTo>
                    <a:pt x="4122" y="3734"/>
                  </a:lnTo>
                  <a:lnTo>
                    <a:pt x="4136" y="3734"/>
                  </a:lnTo>
                  <a:lnTo>
                    <a:pt x="4136" y="3734"/>
                  </a:lnTo>
                  <a:lnTo>
                    <a:pt x="4136" y="3734"/>
                  </a:lnTo>
                  <a:close/>
                  <a:moveTo>
                    <a:pt x="4245" y="3784"/>
                  </a:moveTo>
                  <a:lnTo>
                    <a:pt x="4261" y="3788"/>
                  </a:lnTo>
                  <a:lnTo>
                    <a:pt x="4245" y="3788"/>
                  </a:lnTo>
                  <a:lnTo>
                    <a:pt x="4235" y="3772"/>
                  </a:lnTo>
                  <a:lnTo>
                    <a:pt x="4245" y="3784"/>
                  </a:lnTo>
                  <a:lnTo>
                    <a:pt x="4245" y="3784"/>
                  </a:lnTo>
                  <a:lnTo>
                    <a:pt x="4245" y="3784"/>
                  </a:lnTo>
                  <a:close/>
                  <a:moveTo>
                    <a:pt x="4174" y="3800"/>
                  </a:moveTo>
                  <a:lnTo>
                    <a:pt x="4164" y="3800"/>
                  </a:lnTo>
                  <a:lnTo>
                    <a:pt x="4174" y="3800"/>
                  </a:lnTo>
                  <a:lnTo>
                    <a:pt x="4174" y="3800"/>
                  </a:lnTo>
                  <a:lnTo>
                    <a:pt x="4174" y="3800"/>
                  </a:lnTo>
                  <a:close/>
                  <a:moveTo>
                    <a:pt x="4235" y="3817"/>
                  </a:moveTo>
                  <a:lnTo>
                    <a:pt x="4249" y="3829"/>
                  </a:lnTo>
                  <a:lnTo>
                    <a:pt x="4245" y="3829"/>
                  </a:lnTo>
                  <a:lnTo>
                    <a:pt x="4235" y="3817"/>
                  </a:lnTo>
                  <a:lnTo>
                    <a:pt x="4235" y="3817"/>
                  </a:lnTo>
                  <a:lnTo>
                    <a:pt x="4235" y="3817"/>
                  </a:lnTo>
                  <a:close/>
                  <a:moveTo>
                    <a:pt x="6843" y="3982"/>
                  </a:moveTo>
                  <a:lnTo>
                    <a:pt x="6836" y="3994"/>
                  </a:lnTo>
                  <a:lnTo>
                    <a:pt x="6836" y="3989"/>
                  </a:lnTo>
                  <a:lnTo>
                    <a:pt x="6843" y="3982"/>
                  </a:lnTo>
                  <a:lnTo>
                    <a:pt x="6843" y="3982"/>
                  </a:lnTo>
                  <a:lnTo>
                    <a:pt x="6843" y="3982"/>
                  </a:lnTo>
                  <a:close/>
                  <a:moveTo>
                    <a:pt x="6297" y="4044"/>
                  </a:moveTo>
                  <a:lnTo>
                    <a:pt x="6286" y="4048"/>
                  </a:lnTo>
                  <a:lnTo>
                    <a:pt x="6297" y="4044"/>
                  </a:lnTo>
                  <a:lnTo>
                    <a:pt x="6297" y="4044"/>
                  </a:lnTo>
                  <a:lnTo>
                    <a:pt x="6297" y="4044"/>
                  </a:lnTo>
                  <a:close/>
                  <a:moveTo>
                    <a:pt x="6319" y="4077"/>
                  </a:moveTo>
                  <a:lnTo>
                    <a:pt x="6319" y="4048"/>
                  </a:lnTo>
                  <a:lnTo>
                    <a:pt x="6328" y="4060"/>
                  </a:lnTo>
                  <a:lnTo>
                    <a:pt x="6319" y="4077"/>
                  </a:lnTo>
                  <a:lnTo>
                    <a:pt x="6319" y="4077"/>
                  </a:lnTo>
                  <a:lnTo>
                    <a:pt x="6319" y="4077"/>
                  </a:lnTo>
                  <a:close/>
                  <a:moveTo>
                    <a:pt x="6118" y="4093"/>
                  </a:moveTo>
                  <a:lnTo>
                    <a:pt x="6113" y="4100"/>
                  </a:lnTo>
                  <a:lnTo>
                    <a:pt x="6097" y="4093"/>
                  </a:lnTo>
                  <a:lnTo>
                    <a:pt x="6101" y="4081"/>
                  </a:lnTo>
                  <a:lnTo>
                    <a:pt x="6118" y="4093"/>
                  </a:lnTo>
                  <a:lnTo>
                    <a:pt x="6118" y="4093"/>
                  </a:lnTo>
                  <a:lnTo>
                    <a:pt x="6118" y="4093"/>
                  </a:lnTo>
                  <a:close/>
                  <a:moveTo>
                    <a:pt x="5903" y="4117"/>
                  </a:moveTo>
                  <a:lnTo>
                    <a:pt x="5882" y="4122"/>
                  </a:lnTo>
                  <a:lnTo>
                    <a:pt x="5903" y="4105"/>
                  </a:lnTo>
                  <a:lnTo>
                    <a:pt x="5903" y="4117"/>
                  </a:lnTo>
                  <a:lnTo>
                    <a:pt x="5903" y="4117"/>
                  </a:lnTo>
                  <a:lnTo>
                    <a:pt x="5903" y="4117"/>
                  </a:lnTo>
                  <a:close/>
                  <a:moveTo>
                    <a:pt x="6897" y="4188"/>
                  </a:moveTo>
                  <a:lnTo>
                    <a:pt x="6897" y="4192"/>
                  </a:lnTo>
                  <a:lnTo>
                    <a:pt x="6890" y="4176"/>
                  </a:lnTo>
                  <a:lnTo>
                    <a:pt x="6897" y="4159"/>
                  </a:lnTo>
                  <a:lnTo>
                    <a:pt x="6897" y="4188"/>
                  </a:lnTo>
                  <a:lnTo>
                    <a:pt x="6897" y="4188"/>
                  </a:lnTo>
                  <a:lnTo>
                    <a:pt x="6897" y="4188"/>
                  </a:lnTo>
                  <a:close/>
                  <a:moveTo>
                    <a:pt x="5761" y="4192"/>
                  </a:moveTo>
                  <a:lnTo>
                    <a:pt x="5794" y="4176"/>
                  </a:lnTo>
                  <a:lnTo>
                    <a:pt x="5761" y="4204"/>
                  </a:lnTo>
                  <a:lnTo>
                    <a:pt x="5761" y="4192"/>
                  </a:lnTo>
                  <a:lnTo>
                    <a:pt x="5761" y="4192"/>
                  </a:lnTo>
                  <a:lnTo>
                    <a:pt x="5761" y="4192"/>
                  </a:lnTo>
                  <a:close/>
                  <a:moveTo>
                    <a:pt x="5735" y="4249"/>
                  </a:moveTo>
                  <a:lnTo>
                    <a:pt x="5723" y="4270"/>
                  </a:lnTo>
                  <a:lnTo>
                    <a:pt x="5723" y="4249"/>
                  </a:lnTo>
                  <a:lnTo>
                    <a:pt x="5747" y="4225"/>
                  </a:lnTo>
                  <a:lnTo>
                    <a:pt x="5735" y="4249"/>
                  </a:lnTo>
                  <a:lnTo>
                    <a:pt x="5735" y="4249"/>
                  </a:lnTo>
                  <a:lnTo>
                    <a:pt x="5735" y="4249"/>
                  </a:lnTo>
                  <a:close/>
                  <a:moveTo>
                    <a:pt x="5723" y="4315"/>
                  </a:moveTo>
                  <a:lnTo>
                    <a:pt x="5723" y="4270"/>
                  </a:lnTo>
                  <a:lnTo>
                    <a:pt x="5740" y="4360"/>
                  </a:lnTo>
                  <a:lnTo>
                    <a:pt x="5723" y="4315"/>
                  </a:lnTo>
                  <a:lnTo>
                    <a:pt x="5723" y="4315"/>
                  </a:lnTo>
                  <a:lnTo>
                    <a:pt x="5723" y="4315"/>
                  </a:lnTo>
                  <a:close/>
                  <a:moveTo>
                    <a:pt x="6912" y="4431"/>
                  </a:moveTo>
                  <a:lnTo>
                    <a:pt x="6923" y="4414"/>
                  </a:lnTo>
                  <a:lnTo>
                    <a:pt x="6897" y="4448"/>
                  </a:lnTo>
                  <a:lnTo>
                    <a:pt x="6912" y="4431"/>
                  </a:lnTo>
                  <a:lnTo>
                    <a:pt x="6912" y="4431"/>
                  </a:lnTo>
                  <a:lnTo>
                    <a:pt x="6912" y="4431"/>
                  </a:lnTo>
                  <a:close/>
                  <a:moveTo>
                    <a:pt x="6836" y="4471"/>
                  </a:moveTo>
                  <a:lnTo>
                    <a:pt x="6827" y="4481"/>
                  </a:lnTo>
                  <a:lnTo>
                    <a:pt x="6836" y="4471"/>
                  </a:lnTo>
                  <a:lnTo>
                    <a:pt x="6836" y="4471"/>
                  </a:lnTo>
                  <a:lnTo>
                    <a:pt x="6836" y="4471"/>
                  </a:lnTo>
                  <a:close/>
                  <a:moveTo>
                    <a:pt x="1368" y="4686"/>
                  </a:moveTo>
                  <a:lnTo>
                    <a:pt x="1351" y="4674"/>
                  </a:lnTo>
                  <a:lnTo>
                    <a:pt x="1351" y="4665"/>
                  </a:lnTo>
                  <a:lnTo>
                    <a:pt x="1356" y="4653"/>
                  </a:lnTo>
                  <a:lnTo>
                    <a:pt x="1382" y="4653"/>
                  </a:lnTo>
                  <a:lnTo>
                    <a:pt x="1372" y="4674"/>
                  </a:lnTo>
                  <a:lnTo>
                    <a:pt x="1368" y="4686"/>
                  </a:lnTo>
                  <a:lnTo>
                    <a:pt x="1368" y="4686"/>
                  </a:lnTo>
                  <a:lnTo>
                    <a:pt x="1368" y="4686"/>
                  </a:lnTo>
                  <a:close/>
                  <a:moveTo>
                    <a:pt x="1318" y="4686"/>
                  </a:moveTo>
                  <a:lnTo>
                    <a:pt x="1313" y="4674"/>
                  </a:lnTo>
                  <a:lnTo>
                    <a:pt x="1330" y="4670"/>
                  </a:lnTo>
                  <a:lnTo>
                    <a:pt x="1318" y="4686"/>
                  </a:lnTo>
                  <a:lnTo>
                    <a:pt x="1318" y="4686"/>
                  </a:lnTo>
                  <a:lnTo>
                    <a:pt x="1318" y="4686"/>
                  </a:lnTo>
                  <a:close/>
                  <a:moveTo>
                    <a:pt x="1481" y="4726"/>
                  </a:moveTo>
                  <a:lnTo>
                    <a:pt x="1464" y="4726"/>
                  </a:lnTo>
                  <a:lnTo>
                    <a:pt x="1448" y="4703"/>
                  </a:lnTo>
                  <a:lnTo>
                    <a:pt x="1474" y="4693"/>
                  </a:lnTo>
                  <a:lnTo>
                    <a:pt x="1495" y="4726"/>
                  </a:lnTo>
                  <a:lnTo>
                    <a:pt x="1481" y="4726"/>
                  </a:lnTo>
                  <a:lnTo>
                    <a:pt x="1481" y="4726"/>
                  </a:lnTo>
                  <a:lnTo>
                    <a:pt x="1481" y="4726"/>
                  </a:lnTo>
                  <a:close/>
                  <a:moveTo>
                    <a:pt x="1549" y="4743"/>
                  </a:moveTo>
                  <a:lnTo>
                    <a:pt x="1519" y="4743"/>
                  </a:lnTo>
                  <a:lnTo>
                    <a:pt x="1528" y="4731"/>
                  </a:lnTo>
                  <a:lnTo>
                    <a:pt x="1557" y="4731"/>
                  </a:lnTo>
                  <a:lnTo>
                    <a:pt x="1549" y="4743"/>
                  </a:lnTo>
                  <a:lnTo>
                    <a:pt x="1549" y="4743"/>
                  </a:lnTo>
                  <a:lnTo>
                    <a:pt x="1549" y="4743"/>
                  </a:lnTo>
                  <a:close/>
                  <a:moveTo>
                    <a:pt x="1583" y="4781"/>
                  </a:moveTo>
                  <a:lnTo>
                    <a:pt x="1571" y="4764"/>
                  </a:lnTo>
                  <a:lnTo>
                    <a:pt x="1566" y="4759"/>
                  </a:lnTo>
                  <a:lnTo>
                    <a:pt x="1566" y="4743"/>
                  </a:lnTo>
                  <a:lnTo>
                    <a:pt x="1583" y="4759"/>
                  </a:lnTo>
                  <a:lnTo>
                    <a:pt x="1599" y="4748"/>
                  </a:lnTo>
                  <a:lnTo>
                    <a:pt x="1611" y="4764"/>
                  </a:lnTo>
                  <a:lnTo>
                    <a:pt x="1604" y="4776"/>
                  </a:lnTo>
                  <a:lnTo>
                    <a:pt x="1583" y="4781"/>
                  </a:lnTo>
                  <a:lnTo>
                    <a:pt x="1583" y="4781"/>
                  </a:lnTo>
                  <a:lnTo>
                    <a:pt x="1583" y="4781"/>
                  </a:lnTo>
                  <a:close/>
                  <a:moveTo>
                    <a:pt x="1549" y="4764"/>
                  </a:moveTo>
                  <a:lnTo>
                    <a:pt x="1533" y="4759"/>
                  </a:lnTo>
                  <a:lnTo>
                    <a:pt x="1549" y="4759"/>
                  </a:lnTo>
                  <a:lnTo>
                    <a:pt x="1549" y="4764"/>
                  </a:lnTo>
                  <a:lnTo>
                    <a:pt x="1549" y="4764"/>
                  </a:lnTo>
                  <a:lnTo>
                    <a:pt x="1549" y="4764"/>
                  </a:lnTo>
                  <a:close/>
                  <a:moveTo>
                    <a:pt x="1566" y="4785"/>
                  </a:moveTo>
                  <a:lnTo>
                    <a:pt x="1571" y="4781"/>
                  </a:lnTo>
                  <a:lnTo>
                    <a:pt x="1566" y="4785"/>
                  </a:lnTo>
                  <a:lnTo>
                    <a:pt x="1566" y="4785"/>
                  </a:lnTo>
                  <a:lnTo>
                    <a:pt x="1566" y="4785"/>
                  </a:lnTo>
                  <a:close/>
                  <a:moveTo>
                    <a:pt x="1620" y="4802"/>
                  </a:moveTo>
                  <a:lnTo>
                    <a:pt x="1670" y="4818"/>
                  </a:lnTo>
                  <a:lnTo>
                    <a:pt x="1679" y="4854"/>
                  </a:lnTo>
                  <a:lnTo>
                    <a:pt x="1696" y="4859"/>
                  </a:lnTo>
                  <a:lnTo>
                    <a:pt x="1679" y="4875"/>
                  </a:lnTo>
                  <a:lnTo>
                    <a:pt x="1658" y="4875"/>
                  </a:lnTo>
                  <a:lnTo>
                    <a:pt x="1642" y="4892"/>
                  </a:lnTo>
                  <a:lnTo>
                    <a:pt x="1637" y="4908"/>
                  </a:lnTo>
                  <a:lnTo>
                    <a:pt x="1620" y="4892"/>
                  </a:lnTo>
                  <a:lnTo>
                    <a:pt x="1620" y="4870"/>
                  </a:lnTo>
                  <a:lnTo>
                    <a:pt x="1604" y="4842"/>
                  </a:lnTo>
                  <a:lnTo>
                    <a:pt x="1620" y="4818"/>
                  </a:lnTo>
                  <a:lnTo>
                    <a:pt x="1620" y="4814"/>
                  </a:lnTo>
                  <a:lnTo>
                    <a:pt x="1620" y="4802"/>
                  </a:lnTo>
                  <a:lnTo>
                    <a:pt x="1620" y="4802"/>
                  </a:lnTo>
                  <a:lnTo>
                    <a:pt x="1620" y="4802"/>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1" name="Freeform 583">
              <a:extLst>
                <a:ext uri="{FF2B5EF4-FFF2-40B4-BE49-F238E27FC236}">
                  <a16:creationId xmlns:a16="http://schemas.microsoft.com/office/drawing/2014/main" id="{B67F347B-6156-4D83-9BAD-DBF2044AB0E5}"/>
                </a:ext>
              </a:extLst>
            </p:cNvPr>
            <p:cNvSpPr>
              <a:spLocks/>
            </p:cNvSpPr>
            <p:nvPr/>
          </p:nvSpPr>
          <p:spPr bwMode="gray">
            <a:xfrm>
              <a:off x="13617502" y="3756671"/>
              <a:ext cx="182632" cy="135828"/>
            </a:xfrm>
            <a:custGeom>
              <a:avLst/>
              <a:gdLst>
                <a:gd name="T0" fmla="*/ 428 w 558"/>
                <a:gd name="T1" fmla="*/ 304 h 415"/>
                <a:gd name="T2" fmla="*/ 378 w 558"/>
                <a:gd name="T3" fmla="*/ 288 h 415"/>
                <a:gd name="T4" fmla="*/ 341 w 558"/>
                <a:gd name="T5" fmla="*/ 304 h 415"/>
                <a:gd name="T6" fmla="*/ 319 w 558"/>
                <a:gd name="T7" fmla="*/ 293 h 415"/>
                <a:gd name="T8" fmla="*/ 178 w 558"/>
                <a:gd name="T9" fmla="*/ 316 h 415"/>
                <a:gd name="T10" fmla="*/ 194 w 558"/>
                <a:gd name="T11" fmla="*/ 399 h 415"/>
                <a:gd name="T12" fmla="*/ 194 w 558"/>
                <a:gd name="T13" fmla="*/ 415 h 415"/>
                <a:gd name="T14" fmla="*/ 135 w 558"/>
                <a:gd name="T15" fmla="*/ 370 h 415"/>
                <a:gd name="T16" fmla="*/ 85 w 558"/>
                <a:gd name="T17" fmla="*/ 399 h 415"/>
                <a:gd name="T18" fmla="*/ 38 w 558"/>
                <a:gd name="T19" fmla="*/ 370 h 415"/>
                <a:gd name="T20" fmla="*/ 10 w 558"/>
                <a:gd name="T21" fmla="*/ 349 h 415"/>
                <a:gd name="T22" fmla="*/ 10 w 558"/>
                <a:gd name="T23" fmla="*/ 309 h 415"/>
                <a:gd name="T24" fmla="*/ 15 w 558"/>
                <a:gd name="T25" fmla="*/ 288 h 415"/>
                <a:gd name="T26" fmla="*/ 15 w 558"/>
                <a:gd name="T27" fmla="*/ 233 h 415"/>
                <a:gd name="T28" fmla="*/ 64 w 558"/>
                <a:gd name="T29" fmla="*/ 217 h 415"/>
                <a:gd name="T30" fmla="*/ 81 w 558"/>
                <a:gd name="T31" fmla="*/ 181 h 415"/>
                <a:gd name="T32" fmla="*/ 85 w 558"/>
                <a:gd name="T33" fmla="*/ 165 h 415"/>
                <a:gd name="T34" fmla="*/ 85 w 558"/>
                <a:gd name="T35" fmla="*/ 144 h 415"/>
                <a:gd name="T36" fmla="*/ 145 w 558"/>
                <a:gd name="T37" fmla="*/ 139 h 415"/>
                <a:gd name="T38" fmla="*/ 161 w 558"/>
                <a:gd name="T39" fmla="*/ 127 h 415"/>
                <a:gd name="T40" fmla="*/ 189 w 558"/>
                <a:gd name="T41" fmla="*/ 106 h 415"/>
                <a:gd name="T42" fmla="*/ 215 w 558"/>
                <a:gd name="T43" fmla="*/ 54 h 415"/>
                <a:gd name="T44" fmla="*/ 248 w 558"/>
                <a:gd name="T45" fmla="*/ 66 h 415"/>
                <a:gd name="T46" fmla="*/ 270 w 558"/>
                <a:gd name="T47" fmla="*/ 37 h 415"/>
                <a:gd name="T48" fmla="*/ 308 w 558"/>
                <a:gd name="T49" fmla="*/ 16 h 415"/>
                <a:gd name="T50" fmla="*/ 357 w 558"/>
                <a:gd name="T51" fmla="*/ 0 h 415"/>
                <a:gd name="T52" fmla="*/ 374 w 558"/>
                <a:gd name="T53" fmla="*/ 0 h 415"/>
                <a:gd name="T54" fmla="*/ 395 w 558"/>
                <a:gd name="T55" fmla="*/ 37 h 415"/>
                <a:gd name="T56" fmla="*/ 411 w 558"/>
                <a:gd name="T57" fmla="*/ 66 h 415"/>
                <a:gd name="T58" fmla="*/ 459 w 558"/>
                <a:gd name="T59" fmla="*/ 111 h 415"/>
                <a:gd name="T60" fmla="*/ 482 w 558"/>
                <a:gd name="T61" fmla="*/ 127 h 415"/>
                <a:gd name="T62" fmla="*/ 459 w 558"/>
                <a:gd name="T63" fmla="*/ 144 h 415"/>
                <a:gd name="T64" fmla="*/ 534 w 558"/>
                <a:gd name="T65" fmla="*/ 177 h 415"/>
                <a:gd name="T66" fmla="*/ 534 w 558"/>
                <a:gd name="T67" fmla="*/ 198 h 415"/>
                <a:gd name="T68" fmla="*/ 551 w 558"/>
                <a:gd name="T69" fmla="*/ 250 h 415"/>
                <a:gd name="T70" fmla="*/ 504 w 558"/>
                <a:gd name="T71" fmla="*/ 271 h 415"/>
                <a:gd name="T72" fmla="*/ 482 w 558"/>
                <a:gd name="T73" fmla="*/ 271 h 415"/>
                <a:gd name="T74" fmla="*/ 449 w 558"/>
                <a:gd name="T75" fmla="*/ 293 h 415"/>
                <a:gd name="T76" fmla="*/ 449 w 558"/>
                <a:gd name="T77" fmla="*/ 293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8" h="415">
                  <a:moveTo>
                    <a:pt x="449" y="293"/>
                  </a:moveTo>
                  <a:lnTo>
                    <a:pt x="428" y="304"/>
                  </a:lnTo>
                  <a:lnTo>
                    <a:pt x="428" y="293"/>
                  </a:lnTo>
                  <a:lnTo>
                    <a:pt x="378" y="288"/>
                  </a:lnTo>
                  <a:lnTo>
                    <a:pt x="362" y="288"/>
                  </a:lnTo>
                  <a:lnTo>
                    <a:pt x="341" y="304"/>
                  </a:lnTo>
                  <a:lnTo>
                    <a:pt x="341" y="293"/>
                  </a:lnTo>
                  <a:lnTo>
                    <a:pt x="319" y="293"/>
                  </a:lnTo>
                  <a:lnTo>
                    <a:pt x="189" y="293"/>
                  </a:lnTo>
                  <a:lnTo>
                    <a:pt x="178" y="316"/>
                  </a:lnTo>
                  <a:lnTo>
                    <a:pt x="194" y="349"/>
                  </a:lnTo>
                  <a:lnTo>
                    <a:pt x="194" y="399"/>
                  </a:lnTo>
                  <a:lnTo>
                    <a:pt x="199" y="404"/>
                  </a:lnTo>
                  <a:lnTo>
                    <a:pt x="194" y="415"/>
                  </a:lnTo>
                  <a:lnTo>
                    <a:pt x="161" y="370"/>
                  </a:lnTo>
                  <a:lnTo>
                    <a:pt x="135" y="370"/>
                  </a:lnTo>
                  <a:lnTo>
                    <a:pt x="90" y="382"/>
                  </a:lnTo>
                  <a:lnTo>
                    <a:pt x="85" y="399"/>
                  </a:lnTo>
                  <a:lnTo>
                    <a:pt x="52" y="387"/>
                  </a:lnTo>
                  <a:lnTo>
                    <a:pt x="38" y="370"/>
                  </a:lnTo>
                  <a:lnTo>
                    <a:pt x="26" y="349"/>
                  </a:lnTo>
                  <a:lnTo>
                    <a:pt x="10" y="349"/>
                  </a:lnTo>
                  <a:lnTo>
                    <a:pt x="0" y="333"/>
                  </a:lnTo>
                  <a:lnTo>
                    <a:pt x="10" y="309"/>
                  </a:lnTo>
                  <a:lnTo>
                    <a:pt x="0" y="293"/>
                  </a:lnTo>
                  <a:lnTo>
                    <a:pt x="15" y="288"/>
                  </a:lnTo>
                  <a:lnTo>
                    <a:pt x="26" y="259"/>
                  </a:lnTo>
                  <a:lnTo>
                    <a:pt x="15" y="233"/>
                  </a:lnTo>
                  <a:lnTo>
                    <a:pt x="26" y="222"/>
                  </a:lnTo>
                  <a:lnTo>
                    <a:pt x="64" y="217"/>
                  </a:lnTo>
                  <a:lnTo>
                    <a:pt x="81" y="198"/>
                  </a:lnTo>
                  <a:lnTo>
                    <a:pt x="81" y="181"/>
                  </a:lnTo>
                  <a:lnTo>
                    <a:pt x="69" y="165"/>
                  </a:lnTo>
                  <a:lnTo>
                    <a:pt x="85" y="165"/>
                  </a:lnTo>
                  <a:lnTo>
                    <a:pt x="90" y="160"/>
                  </a:lnTo>
                  <a:lnTo>
                    <a:pt x="85" y="144"/>
                  </a:lnTo>
                  <a:lnTo>
                    <a:pt x="107" y="111"/>
                  </a:lnTo>
                  <a:lnTo>
                    <a:pt x="145" y="139"/>
                  </a:lnTo>
                  <a:lnTo>
                    <a:pt x="145" y="127"/>
                  </a:lnTo>
                  <a:lnTo>
                    <a:pt x="161" y="127"/>
                  </a:lnTo>
                  <a:lnTo>
                    <a:pt x="156" y="94"/>
                  </a:lnTo>
                  <a:lnTo>
                    <a:pt x="189" y="106"/>
                  </a:lnTo>
                  <a:lnTo>
                    <a:pt x="189" y="70"/>
                  </a:lnTo>
                  <a:lnTo>
                    <a:pt x="215" y="54"/>
                  </a:lnTo>
                  <a:lnTo>
                    <a:pt x="244" y="66"/>
                  </a:lnTo>
                  <a:lnTo>
                    <a:pt x="248" y="66"/>
                  </a:lnTo>
                  <a:lnTo>
                    <a:pt x="248" y="37"/>
                  </a:lnTo>
                  <a:lnTo>
                    <a:pt x="270" y="37"/>
                  </a:lnTo>
                  <a:lnTo>
                    <a:pt x="298" y="28"/>
                  </a:lnTo>
                  <a:lnTo>
                    <a:pt x="308" y="16"/>
                  </a:lnTo>
                  <a:lnTo>
                    <a:pt x="336" y="0"/>
                  </a:lnTo>
                  <a:lnTo>
                    <a:pt x="357" y="0"/>
                  </a:lnTo>
                  <a:lnTo>
                    <a:pt x="362" y="0"/>
                  </a:lnTo>
                  <a:lnTo>
                    <a:pt x="374" y="0"/>
                  </a:lnTo>
                  <a:lnTo>
                    <a:pt x="404" y="11"/>
                  </a:lnTo>
                  <a:lnTo>
                    <a:pt x="395" y="37"/>
                  </a:lnTo>
                  <a:lnTo>
                    <a:pt x="416" y="54"/>
                  </a:lnTo>
                  <a:lnTo>
                    <a:pt x="411" y="66"/>
                  </a:lnTo>
                  <a:lnTo>
                    <a:pt x="428" y="94"/>
                  </a:lnTo>
                  <a:lnTo>
                    <a:pt x="459" y="111"/>
                  </a:lnTo>
                  <a:lnTo>
                    <a:pt x="459" y="111"/>
                  </a:lnTo>
                  <a:lnTo>
                    <a:pt x="482" y="127"/>
                  </a:lnTo>
                  <a:lnTo>
                    <a:pt x="459" y="122"/>
                  </a:lnTo>
                  <a:lnTo>
                    <a:pt x="459" y="144"/>
                  </a:lnTo>
                  <a:lnTo>
                    <a:pt x="497" y="177"/>
                  </a:lnTo>
                  <a:lnTo>
                    <a:pt x="534" y="177"/>
                  </a:lnTo>
                  <a:lnTo>
                    <a:pt x="541" y="193"/>
                  </a:lnTo>
                  <a:lnTo>
                    <a:pt x="534" y="198"/>
                  </a:lnTo>
                  <a:lnTo>
                    <a:pt x="558" y="233"/>
                  </a:lnTo>
                  <a:lnTo>
                    <a:pt x="551" y="250"/>
                  </a:lnTo>
                  <a:lnTo>
                    <a:pt x="525" y="259"/>
                  </a:lnTo>
                  <a:lnTo>
                    <a:pt x="504" y="271"/>
                  </a:lnTo>
                  <a:lnTo>
                    <a:pt x="487" y="259"/>
                  </a:lnTo>
                  <a:lnTo>
                    <a:pt x="482" y="271"/>
                  </a:lnTo>
                  <a:lnTo>
                    <a:pt x="471" y="276"/>
                  </a:lnTo>
                  <a:lnTo>
                    <a:pt x="449" y="293"/>
                  </a:lnTo>
                  <a:lnTo>
                    <a:pt x="449" y="293"/>
                  </a:lnTo>
                  <a:lnTo>
                    <a:pt x="449" y="293"/>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2" name="Freeform 584">
              <a:extLst>
                <a:ext uri="{FF2B5EF4-FFF2-40B4-BE49-F238E27FC236}">
                  <a16:creationId xmlns:a16="http://schemas.microsoft.com/office/drawing/2014/main" id="{FAD453B8-F9DF-4C3B-89DA-416C3AE4A28E}"/>
                </a:ext>
              </a:extLst>
            </p:cNvPr>
            <p:cNvSpPr>
              <a:spLocks/>
            </p:cNvSpPr>
            <p:nvPr/>
          </p:nvSpPr>
          <p:spPr bwMode="gray">
            <a:xfrm>
              <a:off x="12403886" y="4847550"/>
              <a:ext cx="122082" cy="126664"/>
            </a:xfrm>
            <a:custGeom>
              <a:avLst/>
              <a:gdLst>
                <a:gd name="T0" fmla="*/ 16 w 373"/>
                <a:gd name="T1" fmla="*/ 177 h 387"/>
                <a:gd name="T2" fmla="*/ 21 w 373"/>
                <a:gd name="T3" fmla="*/ 172 h 387"/>
                <a:gd name="T4" fmla="*/ 16 w 373"/>
                <a:gd name="T5" fmla="*/ 139 h 387"/>
                <a:gd name="T6" fmla="*/ 21 w 373"/>
                <a:gd name="T7" fmla="*/ 122 h 387"/>
                <a:gd name="T8" fmla="*/ 33 w 373"/>
                <a:gd name="T9" fmla="*/ 111 h 387"/>
                <a:gd name="T10" fmla="*/ 21 w 373"/>
                <a:gd name="T11" fmla="*/ 99 h 387"/>
                <a:gd name="T12" fmla="*/ 33 w 373"/>
                <a:gd name="T13" fmla="*/ 82 h 387"/>
                <a:gd name="T14" fmla="*/ 49 w 373"/>
                <a:gd name="T15" fmla="*/ 56 h 387"/>
                <a:gd name="T16" fmla="*/ 38 w 373"/>
                <a:gd name="T17" fmla="*/ 28 h 387"/>
                <a:gd name="T18" fmla="*/ 54 w 373"/>
                <a:gd name="T19" fmla="*/ 11 h 387"/>
                <a:gd name="T20" fmla="*/ 54 w 373"/>
                <a:gd name="T21" fmla="*/ 7 h 387"/>
                <a:gd name="T22" fmla="*/ 59 w 373"/>
                <a:gd name="T23" fmla="*/ 7 h 387"/>
                <a:gd name="T24" fmla="*/ 87 w 373"/>
                <a:gd name="T25" fmla="*/ 11 h 387"/>
                <a:gd name="T26" fmla="*/ 92 w 373"/>
                <a:gd name="T27" fmla="*/ 0 h 387"/>
                <a:gd name="T28" fmla="*/ 113 w 373"/>
                <a:gd name="T29" fmla="*/ 0 h 387"/>
                <a:gd name="T30" fmla="*/ 168 w 373"/>
                <a:gd name="T31" fmla="*/ 56 h 387"/>
                <a:gd name="T32" fmla="*/ 168 w 373"/>
                <a:gd name="T33" fmla="*/ 66 h 387"/>
                <a:gd name="T34" fmla="*/ 177 w 373"/>
                <a:gd name="T35" fmla="*/ 66 h 387"/>
                <a:gd name="T36" fmla="*/ 201 w 373"/>
                <a:gd name="T37" fmla="*/ 56 h 387"/>
                <a:gd name="T38" fmla="*/ 222 w 373"/>
                <a:gd name="T39" fmla="*/ 82 h 387"/>
                <a:gd name="T40" fmla="*/ 269 w 373"/>
                <a:gd name="T41" fmla="*/ 99 h 387"/>
                <a:gd name="T42" fmla="*/ 286 w 373"/>
                <a:gd name="T43" fmla="*/ 132 h 387"/>
                <a:gd name="T44" fmla="*/ 319 w 373"/>
                <a:gd name="T45" fmla="*/ 139 h 387"/>
                <a:gd name="T46" fmla="*/ 340 w 373"/>
                <a:gd name="T47" fmla="*/ 177 h 387"/>
                <a:gd name="T48" fmla="*/ 373 w 373"/>
                <a:gd name="T49" fmla="*/ 205 h 387"/>
                <a:gd name="T50" fmla="*/ 340 w 373"/>
                <a:gd name="T51" fmla="*/ 233 h 387"/>
                <a:gd name="T52" fmla="*/ 340 w 373"/>
                <a:gd name="T53" fmla="*/ 283 h 387"/>
                <a:gd name="T54" fmla="*/ 357 w 373"/>
                <a:gd name="T55" fmla="*/ 283 h 387"/>
                <a:gd name="T56" fmla="*/ 340 w 373"/>
                <a:gd name="T57" fmla="*/ 316 h 387"/>
                <a:gd name="T58" fmla="*/ 302 w 373"/>
                <a:gd name="T59" fmla="*/ 359 h 387"/>
                <a:gd name="T60" fmla="*/ 286 w 373"/>
                <a:gd name="T61" fmla="*/ 354 h 387"/>
                <a:gd name="T62" fmla="*/ 286 w 373"/>
                <a:gd name="T63" fmla="*/ 359 h 387"/>
                <a:gd name="T64" fmla="*/ 248 w 373"/>
                <a:gd name="T65" fmla="*/ 387 h 387"/>
                <a:gd name="T66" fmla="*/ 194 w 373"/>
                <a:gd name="T67" fmla="*/ 370 h 387"/>
                <a:gd name="T68" fmla="*/ 146 w 373"/>
                <a:gd name="T69" fmla="*/ 375 h 387"/>
                <a:gd name="T70" fmla="*/ 139 w 373"/>
                <a:gd name="T71" fmla="*/ 375 h 387"/>
                <a:gd name="T72" fmla="*/ 146 w 373"/>
                <a:gd name="T73" fmla="*/ 370 h 387"/>
                <a:gd name="T74" fmla="*/ 108 w 373"/>
                <a:gd name="T75" fmla="*/ 359 h 387"/>
                <a:gd name="T76" fmla="*/ 92 w 373"/>
                <a:gd name="T77" fmla="*/ 342 h 387"/>
                <a:gd name="T78" fmla="*/ 38 w 373"/>
                <a:gd name="T79" fmla="*/ 342 h 387"/>
                <a:gd name="T80" fmla="*/ 0 w 373"/>
                <a:gd name="T81" fmla="*/ 300 h 387"/>
                <a:gd name="T82" fmla="*/ 0 w 373"/>
                <a:gd name="T83" fmla="*/ 267 h 387"/>
                <a:gd name="T84" fmla="*/ 0 w 373"/>
                <a:gd name="T85" fmla="*/ 233 h 387"/>
                <a:gd name="T86" fmla="*/ 16 w 373"/>
                <a:gd name="T87" fmla="*/ 233 h 387"/>
                <a:gd name="T88" fmla="*/ 21 w 373"/>
                <a:gd name="T89" fmla="*/ 222 h 387"/>
                <a:gd name="T90" fmla="*/ 16 w 373"/>
                <a:gd name="T91" fmla="*/ 177 h 387"/>
                <a:gd name="T92" fmla="*/ 16 w 373"/>
                <a:gd name="T93" fmla="*/ 177 h 387"/>
                <a:gd name="T94" fmla="*/ 16 w 373"/>
                <a:gd name="T95" fmla="*/ 17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87">
                  <a:moveTo>
                    <a:pt x="16" y="177"/>
                  </a:moveTo>
                  <a:lnTo>
                    <a:pt x="21" y="172"/>
                  </a:lnTo>
                  <a:lnTo>
                    <a:pt x="16" y="139"/>
                  </a:lnTo>
                  <a:lnTo>
                    <a:pt x="21" y="122"/>
                  </a:lnTo>
                  <a:lnTo>
                    <a:pt x="33" y="111"/>
                  </a:lnTo>
                  <a:lnTo>
                    <a:pt x="21" y="99"/>
                  </a:lnTo>
                  <a:lnTo>
                    <a:pt x="33" y="82"/>
                  </a:lnTo>
                  <a:lnTo>
                    <a:pt x="49" y="56"/>
                  </a:lnTo>
                  <a:lnTo>
                    <a:pt x="38" y="28"/>
                  </a:lnTo>
                  <a:lnTo>
                    <a:pt x="54" y="11"/>
                  </a:lnTo>
                  <a:lnTo>
                    <a:pt x="54" y="7"/>
                  </a:lnTo>
                  <a:lnTo>
                    <a:pt x="59" y="7"/>
                  </a:lnTo>
                  <a:lnTo>
                    <a:pt x="87" y="11"/>
                  </a:lnTo>
                  <a:lnTo>
                    <a:pt x="92" y="0"/>
                  </a:lnTo>
                  <a:lnTo>
                    <a:pt x="113" y="0"/>
                  </a:lnTo>
                  <a:lnTo>
                    <a:pt x="168" y="56"/>
                  </a:lnTo>
                  <a:lnTo>
                    <a:pt x="168" y="66"/>
                  </a:lnTo>
                  <a:lnTo>
                    <a:pt x="177" y="66"/>
                  </a:lnTo>
                  <a:lnTo>
                    <a:pt x="201" y="56"/>
                  </a:lnTo>
                  <a:lnTo>
                    <a:pt x="222" y="82"/>
                  </a:lnTo>
                  <a:lnTo>
                    <a:pt x="269" y="99"/>
                  </a:lnTo>
                  <a:lnTo>
                    <a:pt x="286" y="132"/>
                  </a:lnTo>
                  <a:lnTo>
                    <a:pt x="319" y="139"/>
                  </a:lnTo>
                  <a:lnTo>
                    <a:pt x="340" y="177"/>
                  </a:lnTo>
                  <a:lnTo>
                    <a:pt x="373" y="205"/>
                  </a:lnTo>
                  <a:lnTo>
                    <a:pt x="340" y="233"/>
                  </a:lnTo>
                  <a:lnTo>
                    <a:pt x="340" y="283"/>
                  </a:lnTo>
                  <a:lnTo>
                    <a:pt x="357" y="283"/>
                  </a:lnTo>
                  <a:lnTo>
                    <a:pt x="340" y="316"/>
                  </a:lnTo>
                  <a:lnTo>
                    <a:pt x="302" y="359"/>
                  </a:lnTo>
                  <a:lnTo>
                    <a:pt x="286" y="354"/>
                  </a:lnTo>
                  <a:lnTo>
                    <a:pt x="286" y="359"/>
                  </a:lnTo>
                  <a:lnTo>
                    <a:pt x="248" y="387"/>
                  </a:lnTo>
                  <a:lnTo>
                    <a:pt x="194" y="370"/>
                  </a:lnTo>
                  <a:lnTo>
                    <a:pt x="146" y="375"/>
                  </a:lnTo>
                  <a:lnTo>
                    <a:pt x="139" y="375"/>
                  </a:lnTo>
                  <a:lnTo>
                    <a:pt x="146" y="370"/>
                  </a:lnTo>
                  <a:lnTo>
                    <a:pt x="108" y="359"/>
                  </a:lnTo>
                  <a:lnTo>
                    <a:pt x="92" y="342"/>
                  </a:lnTo>
                  <a:lnTo>
                    <a:pt x="38" y="342"/>
                  </a:lnTo>
                  <a:lnTo>
                    <a:pt x="0" y="300"/>
                  </a:lnTo>
                  <a:lnTo>
                    <a:pt x="0" y="267"/>
                  </a:lnTo>
                  <a:lnTo>
                    <a:pt x="0" y="233"/>
                  </a:lnTo>
                  <a:lnTo>
                    <a:pt x="16" y="233"/>
                  </a:lnTo>
                  <a:lnTo>
                    <a:pt x="21" y="222"/>
                  </a:lnTo>
                  <a:lnTo>
                    <a:pt x="16" y="177"/>
                  </a:lnTo>
                  <a:lnTo>
                    <a:pt x="16" y="177"/>
                  </a:lnTo>
                  <a:lnTo>
                    <a:pt x="16" y="17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3" name="Freeform 585">
              <a:extLst>
                <a:ext uri="{FF2B5EF4-FFF2-40B4-BE49-F238E27FC236}">
                  <a16:creationId xmlns:a16="http://schemas.microsoft.com/office/drawing/2014/main" id="{A3089DB8-350F-4979-B40C-76C782B61DC4}"/>
                </a:ext>
              </a:extLst>
            </p:cNvPr>
            <p:cNvSpPr>
              <a:spLocks/>
            </p:cNvSpPr>
            <p:nvPr/>
          </p:nvSpPr>
          <p:spPr bwMode="gray">
            <a:xfrm>
              <a:off x="15028477" y="2958721"/>
              <a:ext cx="395047" cy="235654"/>
            </a:xfrm>
            <a:custGeom>
              <a:avLst/>
              <a:gdLst>
                <a:gd name="T0" fmla="*/ 827 w 1207"/>
                <a:gd name="T1" fmla="*/ 515 h 720"/>
                <a:gd name="T2" fmla="*/ 806 w 1207"/>
                <a:gd name="T3" fmla="*/ 555 h 720"/>
                <a:gd name="T4" fmla="*/ 851 w 1207"/>
                <a:gd name="T5" fmla="*/ 572 h 720"/>
                <a:gd name="T6" fmla="*/ 851 w 1207"/>
                <a:gd name="T7" fmla="*/ 609 h 720"/>
                <a:gd name="T8" fmla="*/ 860 w 1207"/>
                <a:gd name="T9" fmla="*/ 659 h 720"/>
                <a:gd name="T10" fmla="*/ 813 w 1207"/>
                <a:gd name="T11" fmla="*/ 716 h 720"/>
                <a:gd name="T12" fmla="*/ 742 w 1207"/>
                <a:gd name="T13" fmla="*/ 704 h 720"/>
                <a:gd name="T14" fmla="*/ 700 w 1207"/>
                <a:gd name="T15" fmla="*/ 633 h 720"/>
                <a:gd name="T16" fmla="*/ 574 w 1207"/>
                <a:gd name="T17" fmla="*/ 576 h 720"/>
                <a:gd name="T18" fmla="*/ 456 w 1207"/>
                <a:gd name="T19" fmla="*/ 482 h 720"/>
                <a:gd name="T20" fmla="*/ 419 w 1207"/>
                <a:gd name="T21" fmla="*/ 387 h 720"/>
                <a:gd name="T22" fmla="*/ 348 w 1207"/>
                <a:gd name="T23" fmla="*/ 383 h 720"/>
                <a:gd name="T24" fmla="*/ 289 w 1207"/>
                <a:gd name="T25" fmla="*/ 366 h 720"/>
                <a:gd name="T26" fmla="*/ 303 w 1207"/>
                <a:gd name="T27" fmla="*/ 333 h 720"/>
                <a:gd name="T28" fmla="*/ 272 w 1207"/>
                <a:gd name="T29" fmla="*/ 283 h 720"/>
                <a:gd name="T30" fmla="*/ 213 w 1207"/>
                <a:gd name="T31" fmla="*/ 272 h 720"/>
                <a:gd name="T32" fmla="*/ 163 w 1207"/>
                <a:gd name="T33" fmla="*/ 255 h 720"/>
                <a:gd name="T34" fmla="*/ 168 w 1207"/>
                <a:gd name="T35" fmla="*/ 293 h 720"/>
                <a:gd name="T36" fmla="*/ 130 w 1207"/>
                <a:gd name="T37" fmla="*/ 300 h 720"/>
                <a:gd name="T38" fmla="*/ 71 w 1207"/>
                <a:gd name="T39" fmla="*/ 345 h 720"/>
                <a:gd name="T40" fmla="*/ 0 w 1207"/>
                <a:gd name="T41" fmla="*/ 371 h 720"/>
                <a:gd name="T42" fmla="*/ 364 w 1207"/>
                <a:gd name="T43" fmla="*/ 116 h 720"/>
                <a:gd name="T44" fmla="*/ 596 w 1207"/>
                <a:gd name="T45" fmla="*/ 182 h 720"/>
                <a:gd name="T46" fmla="*/ 671 w 1207"/>
                <a:gd name="T47" fmla="*/ 201 h 720"/>
                <a:gd name="T48" fmla="*/ 704 w 1207"/>
                <a:gd name="T49" fmla="*/ 316 h 720"/>
                <a:gd name="T50" fmla="*/ 844 w 1207"/>
                <a:gd name="T51" fmla="*/ 387 h 720"/>
                <a:gd name="T52" fmla="*/ 877 w 1207"/>
                <a:gd name="T53" fmla="*/ 437 h 720"/>
                <a:gd name="T54" fmla="*/ 919 w 1207"/>
                <a:gd name="T55" fmla="*/ 383 h 720"/>
                <a:gd name="T56" fmla="*/ 985 w 1207"/>
                <a:gd name="T57" fmla="*/ 345 h 720"/>
                <a:gd name="T58" fmla="*/ 1040 w 1207"/>
                <a:gd name="T59" fmla="*/ 300 h 720"/>
                <a:gd name="T60" fmla="*/ 1078 w 1207"/>
                <a:gd name="T61" fmla="*/ 300 h 720"/>
                <a:gd name="T62" fmla="*/ 1040 w 1207"/>
                <a:gd name="T63" fmla="*/ 328 h 720"/>
                <a:gd name="T64" fmla="*/ 1040 w 1207"/>
                <a:gd name="T65" fmla="*/ 366 h 720"/>
                <a:gd name="T66" fmla="*/ 1082 w 1207"/>
                <a:gd name="T67" fmla="*/ 371 h 720"/>
                <a:gd name="T68" fmla="*/ 1120 w 1207"/>
                <a:gd name="T69" fmla="*/ 371 h 720"/>
                <a:gd name="T70" fmla="*/ 1137 w 1207"/>
                <a:gd name="T71" fmla="*/ 404 h 720"/>
                <a:gd name="T72" fmla="*/ 1207 w 1207"/>
                <a:gd name="T73" fmla="*/ 420 h 720"/>
                <a:gd name="T74" fmla="*/ 1153 w 1207"/>
                <a:gd name="T75" fmla="*/ 437 h 720"/>
                <a:gd name="T76" fmla="*/ 1132 w 1207"/>
                <a:gd name="T77" fmla="*/ 460 h 720"/>
                <a:gd name="T78" fmla="*/ 1082 w 1207"/>
                <a:gd name="T79" fmla="*/ 460 h 720"/>
                <a:gd name="T80" fmla="*/ 1011 w 1207"/>
                <a:gd name="T81" fmla="*/ 456 h 720"/>
                <a:gd name="T82" fmla="*/ 1011 w 1207"/>
                <a:gd name="T83" fmla="*/ 399 h 720"/>
                <a:gd name="T84" fmla="*/ 943 w 1207"/>
                <a:gd name="T85" fmla="*/ 420 h 720"/>
                <a:gd name="T86" fmla="*/ 936 w 1207"/>
                <a:gd name="T87" fmla="*/ 465 h 720"/>
                <a:gd name="T88" fmla="*/ 898 w 1207"/>
                <a:gd name="T89" fmla="*/ 482 h 720"/>
                <a:gd name="T90" fmla="*/ 889 w 1207"/>
                <a:gd name="T91" fmla="*/ 49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07" h="720">
                  <a:moveTo>
                    <a:pt x="889" y="498"/>
                  </a:moveTo>
                  <a:lnTo>
                    <a:pt x="882" y="522"/>
                  </a:lnTo>
                  <a:lnTo>
                    <a:pt x="827" y="515"/>
                  </a:lnTo>
                  <a:lnTo>
                    <a:pt x="806" y="531"/>
                  </a:lnTo>
                  <a:lnTo>
                    <a:pt x="796" y="548"/>
                  </a:lnTo>
                  <a:lnTo>
                    <a:pt x="806" y="555"/>
                  </a:lnTo>
                  <a:lnTo>
                    <a:pt x="822" y="564"/>
                  </a:lnTo>
                  <a:lnTo>
                    <a:pt x="827" y="572"/>
                  </a:lnTo>
                  <a:lnTo>
                    <a:pt x="851" y="572"/>
                  </a:lnTo>
                  <a:lnTo>
                    <a:pt x="860" y="588"/>
                  </a:lnTo>
                  <a:lnTo>
                    <a:pt x="851" y="588"/>
                  </a:lnTo>
                  <a:lnTo>
                    <a:pt x="851" y="609"/>
                  </a:lnTo>
                  <a:lnTo>
                    <a:pt x="877" y="642"/>
                  </a:lnTo>
                  <a:lnTo>
                    <a:pt x="867" y="659"/>
                  </a:lnTo>
                  <a:lnTo>
                    <a:pt x="860" y="659"/>
                  </a:lnTo>
                  <a:lnTo>
                    <a:pt x="834" y="699"/>
                  </a:lnTo>
                  <a:lnTo>
                    <a:pt x="827" y="720"/>
                  </a:lnTo>
                  <a:lnTo>
                    <a:pt x="813" y="716"/>
                  </a:lnTo>
                  <a:lnTo>
                    <a:pt x="789" y="720"/>
                  </a:lnTo>
                  <a:lnTo>
                    <a:pt x="775" y="704"/>
                  </a:lnTo>
                  <a:lnTo>
                    <a:pt x="742" y="704"/>
                  </a:lnTo>
                  <a:lnTo>
                    <a:pt x="742" y="675"/>
                  </a:lnTo>
                  <a:lnTo>
                    <a:pt x="752" y="659"/>
                  </a:lnTo>
                  <a:lnTo>
                    <a:pt x="700" y="633"/>
                  </a:lnTo>
                  <a:lnTo>
                    <a:pt x="671" y="633"/>
                  </a:lnTo>
                  <a:lnTo>
                    <a:pt x="591" y="572"/>
                  </a:lnTo>
                  <a:lnTo>
                    <a:pt x="574" y="576"/>
                  </a:lnTo>
                  <a:lnTo>
                    <a:pt x="541" y="555"/>
                  </a:lnTo>
                  <a:lnTo>
                    <a:pt x="537" y="538"/>
                  </a:lnTo>
                  <a:lnTo>
                    <a:pt x="456" y="482"/>
                  </a:lnTo>
                  <a:lnTo>
                    <a:pt x="449" y="456"/>
                  </a:lnTo>
                  <a:lnTo>
                    <a:pt x="433" y="437"/>
                  </a:lnTo>
                  <a:lnTo>
                    <a:pt x="419" y="387"/>
                  </a:lnTo>
                  <a:lnTo>
                    <a:pt x="385" y="371"/>
                  </a:lnTo>
                  <a:lnTo>
                    <a:pt x="374" y="387"/>
                  </a:lnTo>
                  <a:lnTo>
                    <a:pt x="348" y="383"/>
                  </a:lnTo>
                  <a:lnTo>
                    <a:pt x="319" y="383"/>
                  </a:lnTo>
                  <a:lnTo>
                    <a:pt x="293" y="371"/>
                  </a:lnTo>
                  <a:lnTo>
                    <a:pt x="289" y="366"/>
                  </a:lnTo>
                  <a:lnTo>
                    <a:pt x="293" y="349"/>
                  </a:lnTo>
                  <a:lnTo>
                    <a:pt x="289" y="333"/>
                  </a:lnTo>
                  <a:lnTo>
                    <a:pt x="303" y="333"/>
                  </a:lnTo>
                  <a:lnTo>
                    <a:pt x="289" y="309"/>
                  </a:lnTo>
                  <a:lnTo>
                    <a:pt x="289" y="293"/>
                  </a:lnTo>
                  <a:lnTo>
                    <a:pt x="272" y="283"/>
                  </a:lnTo>
                  <a:lnTo>
                    <a:pt x="234" y="283"/>
                  </a:lnTo>
                  <a:lnTo>
                    <a:pt x="222" y="272"/>
                  </a:lnTo>
                  <a:lnTo>
                    <a:pt x="213" y="272"/>
                  </a:lnTo>
                  <a:lnTo>
                    <a:pt x="185" y="243"/>
                  </a:lnTo>
                  <a:lnTo>
                    <a:pt x="180" y="260"/>
                  </a:lnTo>
                  <a:lnTo>
                    <a:pt x="163" y="255"/>
                  </a:lnTo>
                  <a:lnTo>
                    <a:pt x="159" y="260"/>
                  </a:lnTo>
                  <a:lnTo>
                    <a:pt x="180" y="293"/>
                  </a:lnTo>
                  <a:lnTo>
                    <a:pt x="168" y="293"/>
                  </a:lnTo>
                  <a:lnTo>
                    <a:pt x="163" y="276"/>
                  </a:lnTo>
                  <a:lnTo>
                    <a:pt x="147" y="272"/>
                  </a:lnTo>
                  <a:lnTo>
                    <a:pt x="130" y="300"/>
                  </a:lnTo>
                  <a:lnTo>
                    <a:pt x="104" y="300"/>
                  </a:lnTo>
                  <a:lnTo>
                    <a:pt x="71" y="328"/>
                  </a:lnTo>
                  <a:lnTo>
                    <a:pt x="71" y="345"/>
                  </a:lnTo>
                  <a:lnTo>
                    <a:pt x="76" y="371"/>
                  </a:lnTo>
                  <a:lnTo>
                    <a:pt x="76" y="383"/>
                  </a:lnTo>
                  <a:lnTo>
                    <a:pt x="0" y="371"/>
                  </a:lnTo>
                  <a:lnTo>
                    <a:pt x="0" y="54"/>
                  </a:lnTo>
                  <a:lnTo>
                    <a:pt x="180" y="0"/>
                  </a:lnTo>
                  <a:lnTo>
                    <a:pt x="364" y="116"/>
                  </a:lnTo>
                  <a:lnTo>
                    <a:pt x="428" y="182"/>
                  </a:lnTo>
                  <a:lnTo>
                    <a:pt x="508" y="172"/>
                  </a:lnTo>
                  <a:lnTo>
                    <a:pt x="596" y="182"/>
                  </a:lnTo>
                  <a:lnTo>
                    <a:pt x="629" y="165"/>
                  </a:lnTo>
                  <a:lnTo>
                    <a:pt x="650" y="189"/>
                  </a:lnTo>
                  <a:lnTo>
                    <a:pt x="671" y="201"/>
                  </a:lnTo>
                  <a:lnTo>
                    <a:pt x="688" y="238"/>
                  </a:lnTo>
                  <a:lnTo>
                    <a:pt x="714" y="227"/>
                  </a:lnTo>
                  <a:lnTo>
                    <a:pt x="704" y="316"/>
                  </a:lnTo>
                  <a:lnTo>
                    <a:pt x="742" y="316"/>
                  </a:lnTo>
                  <a:lnTo>
                    <a:pt x="759" y="387"/>
                  </a:lnTo>
                  <a:lnTo>
                    <a:pt x="844" y="387"/>
                  </a:lnTo>
                  <a:lnTo>
                    <a:pt x="860" y="399"/>
                  </a:lnTo>
                  <a:lnTo>
                    <a:pt x="851" y="420"/>
                  </a:lnTo>
                  <a:lnTo>
                    <a:pt x="877" y="437"/>
                  </a:lnTo>
                  <a:lnTo>
                    <a:pt x="889" y="437"/>
                  </a:lnTo>
                  <a:lnTo>
                    <a:pt x="889" y="411"/>
                  </a:lnTo>
                  <a:lnTo>
                    <a:pt x="919" y="383"/>
                  </a:lnTo>
                  <a:lnTo>
                    <a:pt x="919" y="371"/>
                  </a:lnTo>
                  <a:lnTo>
                    <a:pt x="957" y="345"/>
                  </a:lnTo>
                  <a:lnTo>
                    <a:pt x="985" y="345"/>
                  </a:lnTo>
                  <a:lnTo>
                    <a:pt x="1011" y="309"/>
                  </a:lnTo>
                  <a:lnTo>
                    <a:pt x="1028" y="316"/>
                  </a:lnTo>
                  <a:lnTo>
                    <a:pt x="1040" y="300"/>
                  </a:lnTo>
                  <a:lnTo>
                    <a:pt x="1049" y="293"/>
                  </a:lnTo>
                  <a:lnTo>
                    <a:pt x="1061" y="283"/>
                  </a:lnTo>
                  <a:lnTo>
                    <a:pt x="1078" y="300"/>
                  </a:lnTo>
                  <a:lnTo>
                    <a:pt x="1044" y="309"/>
                  </a:lnTo>
                  <a:lnTo>
                    <a:pt x="1044" y="328"/>
                  </a:lnTo>
                  <a:lnTo>
                    <a:pt x="1040" y="328"/>
                  </a:lnTo>
                  <a:lnTo>
                    <a:pt x="995" y="354"/>
                  </a:lnTo>
                  <a:lnTo>
                    <a:pt x="1023" y="366"/>
                  </a:lnTo>
                  <a:lnTo>
                    <a:pt x="1040" y="366"/>
                  </a:lnTo>
                  <a:lnTo>
                    <a:pt x="1044" y="383"/>
                  </a:lnTo>
                  <a:lnTo>
                    <a:pt x="1082" y="387"/>
                  </a:lnTo>
                  <a:lnTo>
                    <a:pt x="1082" y="371"/>
                  </a:lnTo>
                  <a:lnTo>
                    <a:pt x="1099" y="371"/>
                  </a:lnTo>
                  <a:lnTo>
                    <a:pt x="1104" y="354"/>
                  </a:lnTo>
                  <a:lnTo>
                    <a:pt x="1120" y="371"/>
                  </a:lnTo>
                  <a:lnTo>
                    <a:pt x="1120" y="387"/>
                  </a:lnTo>
                  <a:lnTo>
                    <a:pt x="1137" y="387"/>
                  </a:lnTo>
                  <a:lnTo>
                    <a:pt x="1137" y="404"/>
                  </a:lnTo>
                  <a:lnTo>
                    <a:pt x="1153" y="399"/>
                  </a:lnTo>
                  <a:lnTo>
                    <a:pt x="1170" y="411"/>
                  </a:lnTo>
                  <a:lnTo>
                    <a:pt x="1207" y="420"/>
                  </a:lnTo>
                  <a:lnTo>
                    <a:pt x="1186" y="427"/>
                  </a:lnTo>
                  <a:lnTo>
                    <a:pt x="1170" y="444"/>
                  </a:lnTo>
                  <a:lnTo>
                    <a:pt x="1153" y="437"/>
                  </a:lnTo>
                  <a:lnTo>
                    <a:pt x="1153" y="456"/>
                  </a:lnTo>
                  <a:lnTo>
                    <a:pt x="1137" y="456"/>
                  </a:lnTo>
                  <a:lnTo>
                    <a:pt x="1132" y="460"/>
                  </a:lnTo>
                  <a:lnTo>
                    <a:pt x="1132" y="465"/>
                  </a:lnTo>
                  <a:lnTo>
                    <a:pt x="1104" y="477"/>
                  </a:lnTo>
                  <a:lnTo>
                    <a:pt x="1082" y="460"/>
                  </a:lnTo>
                  <a:lnTo>
                    <a:pt x="1049" y="465"/>
                  </a:lnTo>
                  <a:lnTo>
                    <a:pt x="1028" y="465"/>
                  </a:lnTo>
                  <a:lnTo>
                    <a:pt x="1011" y="456"/>
                  </a:lnTo>
                  <a:lnTo>
                    <a:pt x="1011" y="456"/>
                  </a:lnTo>
                  <a:lnTo>
                    <a:pt x="1044" y="427"/>
                  </a:lnTo>
                  <a:lnTo>
                    <a:pt x="1011" y="399"/>
                  </a:lnTo>
                  <a:lnTo>
                    <a:pt x="1007" y="411"/>
                  </a:lnTo>
                  <a:lnTo>
                    <a:pt x="969" y="437"/>
                  </a:lnTo>
                  <a:lnTo>
                    <a:pt x="943" y="420"/>
                  </a:lnTo>
                  <a:lnTo>
                    <a:pt x="943" y="420"/>
                  </a:lnTo>
                  <a:lnTo>
                    <a:pt x="936" y="444"/>
                  </a:lnTo>
                  <a:lnTo>
                    <a:pt x="936" y="465"/>
                  </a:lnTo>
                  <a:lnTo>
                    <a:pt x="889" y="477"/>
                  </a:lnTo>
                  <a:lnTo>
                    <a:pt x="915" y="477"/>
                  </a:lnTo>
                  <a:lnTo>
                    <a:pt x="898" y="482"/>
                  </a:lnTo>
                  <a:lnTo>
                    <a:pt x="905" y="498"/>
                  </a:lnTo>
                  <a:lnTo>
                    <a:pt x="889" y="498"/>
                  </a:lnTo>
                  <a:lnTo>
                    <a:pt x="889" y="498"/>
                  </a:lnTo>
                  <a:lnTo>
                    <a:pt x="889" y="498"/>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4" name="Freeform 586">
              <a:extLst>
                <a:ext uri="{FF2B5EF4-FFF2-40B4-BE49-F238E27FC236}">
                  <a16:creationId xmlns:a16="http://schemas.microsoft.com/office/drawing/2014/main" id="{D301722F-3DF0-4CA4-991B-30AE2741E3D0}"/>
                </a:ext>
              </a:extLst>
            </p:cNvPr>
            <p:cNvSpPr>
              <a:spLocks/>
            </p:cNvSpPr>
            <p:nvPr/>
          </p:nvSpPr>
          <p:spPr bwMode="gray">
            <a:xfrm>
              <a:off x="12338099" y="3797583"/>
              <a:ext cx="655" cy="6873"/>
            </a:xfrm>
            <a:custGeom>
              <a:avLst/>
              <a:gdLst>
                <a:gd name="T0" fmla="*/ 2 w 2"/>
                <a:gd name="T1" fmla="*/ 21 h 21"/>
                <a:gd name="T2" fmla="*/ 0 w 2"/>
                <a:gd name="T3" fmla="*/ 14 h 21"/>
                <a:gd name="T4" fmla="*/ 2 w 2"/>
                <a:gd name="T5" fmla="*/ 0 h 21"/>
                <a:gd name="T6" fmla="*/ 2 w 2"/>
                <a:gd name="T7" fmla="*/ 5 h 21"/>
                <a:gd name="T8" fmla="*/ 2 w 2"/>
                <a:gd name="T9" fmla="*/ 21 h 21"/>
                <a:gd name="T10" fmla="*/ 2 w 2"/>
                <a:gd name="T11" fmla="*/ 21 h 21"/>
                <a:gd name="T12" fmla="*/ 2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2" y="21"/>
                  </a:moveTo>
                  <a:lnTo>
                    <a:pt x="0" y="14"/>
                  </a:lnTo>
                  <a:lnTo>
                    <a:pt x="2" y="0"/>
                  </a:lnTo>
                  <a:lnTo>
                    <a:pt x="2" y="5"/>
                  </a:lnTo>
                  <a:lnTo>
                    <a:pt x="2" y="21"/>
                  </a:lnTo>
                  <a:lnTo>
                    <a:pt x="2" y="21"/>
                  </a:lnTo>
                  <a:lnTo>
                    <a:pt x="2" y="21"/>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5" name="Freeform 587">
              <a:extLst>
                <a:ext uri="{FF2B5EF4-FFF2-40B4-BE49-F238E27FC236}">
                  <a16:creationId xmlns:a16="http://schemas.microsoft.com/office/drawing/2014/main" id="{E073A62F-D116-43B9-8166-792F8B5E765F}"/>
                </a:ext>
              </a:extLst>
            </p:cNvPr>
            <p:cNvSpPr>
              <a:spLocks noEditPoints="1"/>
            </p:cNvSpPr>
            <p:nvPr/>
          </p:nvSpPr>
          <p:spPr bwMode="gray">
            <a:xfrm>
              <a:off x="12061206" y="3823767"/>
              <a:ext cx="308641" cy="276893"/>
            </a:xfrm>
            <a:custGeom>
              <a:avLst/>
              <a:gdLst>
                <a:gd name="T0" fmla="*/ 900 w 943"/>
                <a:gd name="T1" fmla="*/ 324 h 846"/>
                <a:gd name="T2" fmla="*/ 905 w 943"/>
                <a:gd name="T3" fmla="*/ 366 h 846"/>
                <a:gd name="T4" fmla="*/ 851 w 943"/>
                <a:gd name="T5" fmla="*/ 439 h 846"/>
                <a:gd name="T6" fmla="*/ 879 w 943"/>
                <a:gd name="T7" fmla="*/ 550 h 846"/>
                <a:gd name="T8" fmla="*/ 813 w 943"/>
                <a:gd name="T9" fmla="*/ 584 h 846"/>
                <a:gd name="T10" fmla="*/ 744 w 943"/>
                <a:gd name="T11" fmla="*/ 600 h 846"/>
                <a:gd name="T12" fmla="*/ 669 w 943"/>
                <a:gd name="T13" fmla="*/ 607 h 846"/>
                <a:gd name="T14" fmla="*/ 610 w 943"/>
                <a:gd name="T15" fmla="*/ 600 h 846"/>
                <a:gd name="T16" fmla="*/ 702 w 943"/>
                <a:gd name="T17" fmla="*/ 718 h 846"/>
                <a:gd name="T18" fmla="*/ 631 w 943"/>
                <a:gd name="T19" fmla="*/ 780 h 846"/>
                <a:gd name="T20" fmla="*/ 560 w 943"/>
                <a:gd name="T21" fmla="*/ 824 h 846"/>
                <a:gd name="T22" fmla="*/ 527 w 943"/>
                <a:gd name="T23" fmla="*/ 824 h 846"/>
                <a:gd name="T24" fmla="*/ 430 w 943"/>
                <a:gd name="T25" fmla="*/ 718 h 846"/>
                <a:gd name="T26" fmla="*/ 400 w 943"/>
                <a:gd name="T27" fmla="*/ 612 h 846"/>
                <a:gd name="T28" fmla="*/ 414 w 943"/>
                <a:gd name="T29" fmla="*/ 456 h 846"/>
                <a:gd name="T30" fmla="*/ 296 w 943"/>
                <a:gd name="T31" fmla="*/ 439 h 846"/>
                <a:gd name="T32" fmla="*/ 215 w 943"/>
                <a:gd name="T33" fmla="*/ 385 h 846"/>
                <a:gd name="T34" fmla="*/ 81 w 943"/>
                <a:gd name="T35" fmla="*/ 362 h 846"/>
                <a:gd name="T36" fmla="*/ 43 w 943"/>
                <a:gd name="T37" fmla="*/ 267 h 846"/>
                <a:gd name="T38" fmla="*/ 22 w 943"/>
                <a:gd name="T39" fmla="*/ 184 h 846"/>
                <a:gd name="T40" fmla="*/ 144 w 943"/>
                <a:gd name="T41" fmla="*/ 28 h 846"/>
                <a:gd name="T42" fmla="*/ 81 w 943"/>
                <a:gd name="T43" fmla="*/ 177 h 846"/>
                <a:gd name="T44" fmla="*/ 161 w 943"/>
                <a:gd name="T45" fmla="*/ 213 h 846"/>
                <a:gd name="T46" fmla="*/ 199 w 943"/>
                <a:gd name="T47" fmla="*/ 73 h 846"/>
                <a:gd name="T48" fmla="*/ 241 w 943"/>
                <a:gd name="T49" fmla="*/ 45 h 846"/>
                <a:gd name="T50" fmla="*/ 241 w 943"/>
                <a:gd name="T51" fmla="*/ 12 h 846"/>
                <a:gd name="T52" fmla="*/ 362 w 943"/>
                <a:gd name="T53" fmla="*/ 99 h 846"/>
                <a:gd name="T54" fmla="*/ 506 w 943"/>
                <a:gd name="T55" fmla="*/ 123 h 846"/>
                <a:gd name="T56" fmla="*/ 636 w 943"/>
                <a:gd name="T57" fmla="*/ 128 h 846"/>
                <a:gd name="T58" fmla="*/ 685 w 943"/>
                <a:gd name="T59" fmla="*/ 123 h 846"/>
                <a:gd name="T60" fmla="*/ 770 w 943"/>
                <a:gd name="T61" fmla="*/ 128 h 846"/>
                <a:gd name="T62" fmla="*/ 723 w 943"/>
                <a:gd name="T63" fmla="*/ 139 h 846"/>
                <a:gd name="T64" fmla="*/ 754 w 943"/>
                <a:gd name="T65" fmla="*/ 156 h 846"/>
                <a:gd name="T66" fmla="*/ 770 w 943"/>
                <a:gd name="T67" fmla="*/ 184 h 846"/>
                <a:gd name="T68" fmla="*/ 792 w 943"/>
                <a:gd name="T69" fmla="*/ 177 h 846"/>
                <a:gd name="T70" fmla="*/ 808 w 943"/>
                <a:gd name="T71" fmla="*/ 177 h 846"/>
                <a:gd name="T72" fmla="*/ 879 w 943"/>
                <a:gd name="T73" fmla="*/ 213 h 846"/>
                <a:gd name="T74" fmla="*/ 851 w 943"/>
                <a:gd name="T75" fmla="*/ 267 h 846"/>
                <a:gd name="T76" fmla="*/ 863 w 943"/>
                <a:gd name="T77" fmla="*/ 279 h 846"/>
                <a:gd name="T78" fmla="*/ 938 w 943"/>
                <a:gd name="T79" fmla="*/ 272 h 846"/>
                <a:gd name="T80" fmla="*/ 506 w 943"/>
                <a:gd name="T81" fmla="*/ 33 h 846"/>
                <a:gd name="T82" fmla="*/ 648 w 943"/>
                <a:gd name="T83" fmla="*/ 99 h 846"/>
                <a:gd name="T84" fmla="*/ 664 w 943"/>
                <a:gd name="T85" fmla="*/ 83 h 846"/>
                <a:gd name="T86" fmla="*/ 565 w 943"/>
                <a:gd name="T87" fmla="*/ 99 h 846"/>
                <a:gd name="T88" fmla="*/ 565 w 943"/>
                <a:gd name="T89" fmla="*/ 99 h 846"/>
                <a:gd name="T90" fmla="*/ 879 w 943"/>
                <a:gd name="T91" fmla="*/ 234 h 846"/>
                <a:gd name="T92" fmla="*/ 867 w 943"/>
                <a:gd name="T93" fmla="*/ 250 h 846"/>
                <a:gd name="T94" fmla="*/ 879 w 943"/>
                <a:gd name="T95" fmla="*/ 250 h 846"/>
                <a:gd name="T96" fmla="*/ 867 w 943"/>
                <a:gd name="T97" fmla="*/ 267 h 846"/>
                <a:gd name="T98" fmla="*/ 867 w 943"/>
                <a:gd name="T99" fmla="*/ 267 h 846"/>
                <a:gd name="T100" fmla="*/ 863 w 943"/>
                <a:gd name="T101" fmla="*/ 267 h 846"/>
                <a:gd name="T102" fmla="*/ 851 w 943"/>
                <a:gd name="T103" fmla="*/ 272 h 846"/>
                <a:gd name="T104" fmla="*/ 867 w 943"/>
                <a:gd name="T105" fmla="*/ 267 h 846"/>
                <a:gd name="T106" fmla="*/ 825 w 943"/>
                <a:gd name="T107" fmla="*/ 272 h 846"/>
                <a:gd name="T108" fmla="*/ 846 w 943"/>
                <a:gd name="T109" fmla="*/ 272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3" h="846">
                  <a:moveTo>
                    <a:pt x="938" y="272"/>
                  </a:moveTo>
                  <a:lnTo>
                    <a:pt x="943" y="295"/>
                  </a:lnTo>
                  <a:lnTo>
                    <a:pt x="938" y="295"/>
                  </a:lnTo>
                  <a:lnTo>
                    <a:pt x="933" y="307"/>
                  </a:lnTo>
                  <a:lnTo>
                    <a:pt x="900" y="324"/>
                  </a:lnTo>
                  <a:lnTo>
                    <a:pt x="884" y="345"/>
                  </a:lnTo>
                  <a:lnTo>
                    <a:pt x="889" y="362"/>
                  </a:lnTo>
                  <a:lnTo>
                    <a:pt x="889" y="366"/>
                  </a:lnTo>
                  <a:lnTo>
                    <a:pt x="900" y="378"/>
                  </a:lnTo>
                  <a:lnTo>
                    <a:pt x="905" y="366"/>
                  </a:lnTo>
                  <a:lnTo>
                    <a:pt x="917" y="378"/>
                  </a:lnTo>
                  <a:lnTo>
                    <a:pt x="884" y="402"/>
                  </a:lnTo>
                  <a:lnTo>
                    <a:pt x="851" y="402"/>
                  </a:lnTo>
                  <a:lnTo>
                    <a:pt x="851" y="418"/>
                  </a:lnTo>
                  <a:lnTo>
                    <a:pt x="851" y="439"/>
                  </a:lnTo>
                  <a:lnTo>
                    <a:pt x="837" y="463"/>
                  </a:lnTo>
                  <a:lnTo>
                    <a:pt x="884" y="513"/>
                  </a:lnTo>
                  <a:lnTo>
                    <a:pt x="889" y="517"/>
                  </a:lnTo>
                  <a:lnTo>
                    <a:pt x="889" y="534"/>
                  </a:lnTo>
                  <a:lnTo>
                    <a:pt x="879" y="550"/>
                  </a:lnTo>
                  <a:lnTo>
                    <a:pt x="867" y="558"/>
                  </a:lnTo>
                  <a:lnTo>
                    <a:pt x="846" y="567"/>
                  </a:lnTo>
                  <a:lnTo>
                    <a:pt x="830" y="574"/>
                  </a:lnTo>
                  <a:lnTo>
                    <a:pt x="825" y="584"/>
                  </a:lnTo>
                  <a:lnTo>
                    <a:pt x="813" y="584"/>
                  </a:lnTo>
                  <a:lnTo>
                    <a:pt x="808" y="591"/>
                  </a:lnTo>
                  <a:lnTo>
                    <a:pt x="782" y="591"/>
                  </a:lnTo>
                  <a:lnTo>
                    <a:pt x="761" y="591"/>
                  </a:lnTo>
                  <a:lnTo>
                    <a:pt x="754" y="600"/>
                  </a:lnTo>
                  <a:lnTo>
                    <a:pt x="744" y="600"/>
                  </a:lnTo>
                  <a:lnTo>
                    <a:pt x="744" y="624"/>
                  </a:lnTo>
                  <a:lnTo>
                    <a:pt x="728" y="628"/>
                  </a:lnTo>
                  <a:lnTo>
                    <a:pt x="702" y="607"/>
                  </a:lnTo>
                  <a:lnTo>
                    <a:pt x="690" y="612"/>
                  </a:lnTo>
                  <a:lnTo>
                    <a:pt x="669" y="607"/>
                  </a:lnTo>
                  <a:lnTo>
                    <a:pt x="652" y="607"/>
                  </a:lnTo>
                  <a:lnTo>
                    <a:pt x="648" y="591"/>
                  </a:lnTo>
                  <a:lnTo>
                    <a:pt x="615" y="591"/>
                  </a:lnTo>
                  <a:lnTo>
                    <a:pt x="598" y="584"/>
                  </a:lnTo>
                  <a:lnTo>
                    <a:pt x="610" y="600"/>
                  </a:lnTo>
                  <a:lnTo>
                    <a:pt x="636" y="628"/>
                  </a:lnTo>
                  <a:lnTo>
                    <a:pt x="636" y="662"/>
                  </a:lnTo>
                  <a:lnTo>
                    <a:pt x="652" y="695"/>
                  </a:lnTo>
                  <a:lnTo>
                    <a:pt x="652" y="711"/>
                  </a:lnTo>
                  <a:lnTo>
                    <a:pt x="702" y="718"/>
                  </a:lnTo>
                  <a:lnTo>
                    <a:pt x="702" y="735"/>
                  </a:lnTo>
                  <a:lnTo>
                    <a:pt x="652" y="751"/>
                  </a:lnTo>
                  <a:lnTo>
                    <a:pt x="648" y="773"/>
                  </a:lnTo>
                  <a:lnTo>
                    <a:pt x="636" y="780"/>
                  </a:lnTo>
                  <a:lnTo>
                    <a:pt x="631" y="780"/>
                  </a:lnTo>
                  <a:lnTo>
                    <a:pt x="610" y="796"/>
                  </a:lnTo>
                  <a:lnTo>
                    <a:pt x="598" y="796"/>
                  </a:lnTo>
                  <a:lnTo>
                    <a:pt x="577" y="806"/>
                  </a:lnTo>
                  <a:lnTo>
                    <a:pt x="565" y="824"/>
                  </a:lnTo>
                  <a:lnTo>
                    <a:pt x="560" y="824"/>
                  </a:lnTo>
                  <a:lnTo>
                    <a:pt x="544" y="846"/>
                  </a:lnTo>
                  <a:lnTo>
                    <a:pt x="544" y="841"/>
                  </a:lnTo>
                  <a:lnTo>
                    <a:pt x="544" y="824"/>
                  </a:lnTo>
                  <a:lnTo>
                    <a:pt x="544" y="824"/>
                  </a:lnTo>
                  <a:lnTo>
                    <a:pt x="527" y="824"/>
                  </a:lnTo>
                  <a:lnTo>
                    <a:pt x="506" y="841"/>
                  </a:lnTo>
                  <a:lnTo>
                    <a:pt x="489" y="841"/>
                  </a:lnTo>
                  <a:lnTo>
                    <a:pt x="452" y="806"/>
                  </a:lnTo>
                  <a:lnTo>
                    <a:pt x="430" y="723"/>
                  </a:lnTo>
                  <a:lnTo>
                    <a:pt x="430" y="718"/>
                  </a:lnTo>
                  <a:lnTo>
                    <a:pt x="400" y="685"/>
                  </a:lnTo>
                  <a:lnTo>
                    <a:pt x="383" y="685"/>
                  </a:lnTo>
                  <a:lnTo>
                    <a:pt x="421" y="645"/>
                  </a:lnTo>
                  <a:lnTo>
                    <a:pt x="404" y="624"/>
                  </a:lnTo>
                  <a:lnTo>
                    <a:pt x="400" y="612"/>
                  </a:lnTo>
                  <a:lnTo>
                    <a:pt x="383" y="558"/>
                  </a:lnTo>
                  <a:lnTo>
                    <a:pt x="383" y="501"/>
                  </a:lnTo>
                  <a:lnTo>
                    <a:pt x="400" y="489"/>
                  </a:lnTo>
                  <a:lnTo>
                    <a:pt x="400" y="473"/>
                  </a:lnTo>
                  <a:lnTo>
                    <a:pt x="414" y="456"/>
                  </a:lnTo>
                  <a:lnTo>
                    <a:pt x="414" y="439"/>
                  </a:lnTo>
                  <a:lnTo>
                    <a:pt x="383" y="435"/>
                  </a:lnTo>
                  <a:lnTo>
                    <a:pt x="378" y="439"/>
                  </a:lnTo>
                  <a:lnTo>
                    <a:pt x="329" y="444"/>
                  </a:lnTo>
                  <a:lnTo>
                    <a:pt x="296" y="439"/>
                  </a:lnTo>
                  <a:lnTo>
                    <a:pt x="291" y="444"/>
                  </a:lnTo>
                  <a:lnTo>
                    <a:pt x="279" y="444"/>
                  </a:lnTo>
                  <a:lnTo>
                    <a:pt x="274" y="444"/>
                  </a:lnTo>
                  <a:lnTo>
                    <a:pt x="227" y="385"/>
                  </a:lnTo>
                  <a:lnTo>
                    <a:pt x="215" y="385"/>
                  </a:lnTo>
                  <a:lnTo>
                    <a:pt x="182" y="378"/>
                  </a:lnTo>
                  <a:lnTo>
                    <a:pt x="152" y="385"/>
                  </a:lnTo>
                  <a:lnTo>
                    <a:pt x="119" y="378"/>
                  </a:lnTo>
                  <a:lnTo>
                    <a:pt x="90" y="385"/>
                  </a:lnTo>
                  <a:lnTo>
                    <a:pt x="81" y="362"/>
                  </a:lnTo>
                  <a:lnTo>
                    <a:pt x="59" y="345"/>
                  </a:lnTo>
                  <a:lnTo>
                    <a:pt x="59" y="312"/>
                  </a:lnTo>
                  <a:lnTo>
                    <a:pt x="64" y="307"/>
                  </a:lnTo>
                  <a:lnTo>
                    <a:pt x="64" y="279"/>
                  </a:lnTo>
                  <a:lnTo>
                    <a:pt x="43" y="267"/>
                  </a:lnTo>
                  <a:lnTo>
                    <a:pt x="38" y="234"/>
                  </a:lnTo>
                  <a:lnTo>
                    <a:pt x="26" y="222"/>
                  </a:lnTo>
                  <a:lnTo>
                    <a:pt x="22" y="217"/>
                  </a:lnTo>
                  <a:lnTo>
                    <a:pt x="0" y="222"/>
                  </a:lnTo>
                  <a:lnTo>
                    <a:pt x="22" y="184"/>
                  </a:lnTo>
                  <a:lnTo>
                    <a:pt x="26" y="128"/>
                  </a:lnTo>
                  <a:lnTo>
                    <a:pt x="59" y="83"/>
                  </a:lnTo>
                  <a:lnTo>
                    <a:pt x="81" y="73"/>
                  </a:lnTo>
                  <a:lnTo>
                    <a:pt x="97" y="45"/>
                  </a:lnTo>
                  <a:lnTo>
                    <a:pt x="144" y="28"/>
                  </a:lnTo>
                  <a:lnTo>
                    <a:pt x="135" y="33"/>
                  </a:lnTo>
                  <a:lnTo>
                    <a:pt x="97" y="50"/>
                  </a:lnTo>
                  <a:lnTo>
                    <a:pt x="119" y="111"/>
                  </a:lnTo>
                  <a:lnTo>
                    <a:pt x="119" y="128"/>
                  </a:lnTo>
                  <a:lnTo>
                    <a:pt x="81" y="177"/>
                  </a:lnTo>
                  <a:lnTo>
                    <a:pt x="114" y="213"/>
                  </a:lnTo>
                  <a:lnTo>
                    <a:pt x="114" y="222"/>
                  </a:lnTo>
                  <a:lnTo>
                    <a:pt x="119" y="234"/>
                  </a:lnTo>
                  <a:lnTo>
                    <a:pt x="144" y="222"/>
                  </a:lnTo>
                  <a:lnTo>
                    <a:pt x="161" y="213"/>
                  </a:lnTo>
                  <a:lnTo>
                    <a:pt x="161" y="177"/>
                  </a:lnTo>
                  <a:lnTo>
                    <a:pt x="128" y="123"/>
                  </a:lnTo>
                  <a:lnTo>
                    <a:pt x="128" y="106"/>
                  </a:lnTo>
                  <a:lnTo>
                    <a:pt x="128" y="99"/>
                  </a:lnTo>
                  <a:lnTo>
                    <a:pt x="199" y="73"/>
                  </a:lnTo>
                  <a:lnTo>
                    <a:pt x="227" y="57"/>
                  </a:lnTo>
                  <a:lnTo>
                    <a:pt x="227" y="50"/>
                  </a:lnTo>
                  <a:lnTo>
                    <a:pt x="241" y="57"/>
                  </a:lnTo>
                  <a:lnTo>
                    <a:pt x="253" y="57"/>
                  </a:lnTo>
                  <a:lnTo>
                    <a:pt x="241" y="45"/>
                  </a:lnTo>
                  <a:lnTo>
                    <a:pt x="215" y="45"/>
                  </a:lnTo>
                  <a:lnTo>
                    <a:pt x="215" y="28"/>
                  </a:lnTo>
                  <a:lnTo>
                    <a:pt x="220" y="12"/>
                  </a:lnTo>
                  <a:lnTo>
                    <a:pt x="237" y="0"/>
                  </a:lnTo>
                  <a:lnTo>
                    <a:pt x="241" y="12"/>
                  </a:lnTo>
                  <a:lnTo>
                    <a:pt x="258" y="57"/>
                  </a:lnTo>
                  <a:lnTo>
                    <a:pt x="279" y="50"/>
                  </a:lnTo>
                  <a:lnTo>
                    <a:pt x="312" y="57"/>
                  </a:lnTo>
                  <a:lnTo>
                    <a:pt x="345" y="83"/>
                  </a:lnTo>
                  <a:lnTo>
                    <a:pt x="362" y="99"/>
                  </a:lnTo>
                  <a:lnTo>
                    <a:pt x="350" y="106"/>
                  </a:lnTo>
                  <a:lnTo>
                    <a:pt x="350" y="123"/>
                  </a:lnTo>
                  <a:lnTo>
                    <a:pt x="367" y="128"/>
                  </a:lnTo>
                  <a:lnTo>
                    <a:pt x="501" y="123"/>
                  </a:lnTo>
                  <a:lnTo>
                    <a:pt x="506" y="123"/>
                  </a:lnTo>
                  <a:lnTo>
                    <a:pt x="506" y="128"/>
                  </a:lnTo>
                  <a:lnTo>
                    <a:pt x="527" y="144"/>
                  </a:lnTo>
                  <a:lnTo>
                    <a:pt x="577" y="161"/>
                  </a:lnTo>
                  <a:lnTo>
                    <a:pt x="598" y="161"/>
                  </a:lnTo>
                  <a:lnTo>
                    <a:pt x="636" y="128"/>
                  </a:lnTo>
                  <a:lnTo>
                    <a:pt x="674" y="128"/>
                  </a:lnTo>
                  <a:lnTo>
                    <a:pt x="652" y="123"/>
                  </a:lnTo>
                  <a:lnTo>
                    <a:pt x="636" y="128"/>
                  </a:lnTo>
                  <a:lnTo>
                    <a:pt x="636" y="111"/>
                  </a:lnTo>
                  <a:lnTo>
                    <a:pt x="685" y="123"/>
                  </a:lnTo>
                  <a:lnTo>
                    <a:pt x="716" y="111"/>
                  </a:lnTo>
                  <a:lnTo>
                    <a:pt x="799" y="111"/>
                  </a:lnTo>
                  <a:lnTo>
                    <a:pt x="799" y="111"/>
                  </a:lnTo>
                  <a:lnTo>
                    <a:pt x="778" y="123"/>
                  </a:lnTo>
                  <a:lnTo>
                    <a:pt x="770" y="128"/>
                  </a:lnTo>
                  <a:lnTo>
                    <a:pt x="728" y="128"/>
                  </a:lnTo>
                  <a:lnTo>
                    <a:pt x="723" y="128"/>
                  </a:lnTo>
                  <a:lnTo>
                    <a:pt x="740" y="128"/>
                  </a:lnTo>
                  <a:lnTo>
                    <a:pt x="740" y="139"/>
                  </a:lnTo>
                  <a:lnTo>
                    <a:pt x="723" y="139"/>
                  </a:lnTo>
                  <a:lnTo>
                    <a:pt x="723" y="144"/>
                  </a:lnTo>
                  <a:lnTo>
                    <a:pt x="728" y="144"/>
                  </a:lnTo>
                  <a:lnTo>
                    <a:pt x="728" y="139"/>
                  </a:lnTo>
                  <a:lnTo>
                    <a:pt x="740" y="139"/>
                  </a:lnTo>
                  <a:lnTo>
                    <a:pt x="754" y="156"/>
                  </a:lnTo>
                  <a:lnTo>
                    <a:pt x="723" y="161"/>
                  </a:lnTo>
                  <a:lnTo>
                    <a:pt x="740" y="161"/>
                  </a:lnTo>
                  <a:lnTo>
                    <a:pt x="754" y="161"/>
                  </a:lnTo>
                  <a:lnTo>
                    <a:pt x="754" y="144"/>
                  </a:lnTo>
                  <a:lnTo>
                    <a:pt x="770" y="184"/>
                  </a:lnTo>
                  <a:lnTo>
                    <a:pt x="778" y="168"/>
                  </a:lnTo>
                  <a:lnTo>
                    <a:pt x="778" y="168"/>
                  </a:lnTo>
                  <a:lnTo>
                    <a:pt x="778" y="194"/>
                  </a:lnTo>
                  <a:lnTo>
                    <a:pt x="782" y="177"/>
                  </a:lnTo>
                  <a:lnTo>
                    <a:pt x="792" y="177"/>
                  </a:lnTo>
                  <a:lnTo>
                    <a:pt x="778" y="168"/>
                  </a:lnTo>
                  <a:lnTo>
                    <a:pt x="782" y="161"/>
                  </a:lnTo>
                  <a:lnTo>
                    <a:pt x="799" y="168"/>
                  </a:lnTo>
                  <a:lnTo>
                    <a:pt x="813" y="194"/>
                  </a:lnTo>
                  <a:lnTo>
                    <a:pt x="808" y="177"/>
                  </a:lnTo>
                  <a:lnTo>
                    <a:pt x="825" y="177"/>
                  </a:lnTo>
                  <a:lnTo>
                    <a:pt x="825" y="168"/>
                  </a:lnTo>
                  <a:lnTo>
                    <a:pt x="846" y="194"/>
                  </a:lnTo>
                  <a:lnTo>
                    <a:pt x="863" y="194"/>
                  </a:lnTo>
                  <a:lnTo>
                    <a:pt x="879" y="213"/>
                  </a:lnTo>
                  <a:lnTo>
                    <a:pt x="879" y="217"/>
                  </a:lnTo>
                  <a:lnTo>
                    <a:pt x="863" y="234"/>
                  </a:lnTo>
                  <a:lnTo>
                    <a:pt x="863" y="234"/>
                  </a:lnTo>
                  <a:lnTo>
                    <a:pt x="867" y="222"/>
                  </a:lnTo>
                  <a:lnTo>
                    <a:pt x="851" y="267"/>
                  </a:lnTo>
                  <a:lnTo>
                    <a:pt x="825" y="267"/>
                  </a:lnTo>
                  <a:lnTo>
                    <a:pt x="825" y="272"/>
                  </a:lnTo>
                  <a:lnTo>
                    <a:pt x="837" y="279"/>
                  </a:lnTo>
                  <a:lnTo>
                    <a:pt x="863" y="272"/>
                  </a:lnTo>
                  <a:lnTo>
                    <a:pt x="863" y="279"/>
                  </a:lnTo>
                  <a:lnTo>
                    <a:pt x="867" y="267"/>
                  </a:lnTo>
                  <a:lnTo>
                    <a:pt x="900" y="272"/>
                  </a:lnTo>
                  <a:lnTo>
                    <a:pt x="905" y="267"/>
                  </a:lnTo>
                  <a:lnTo>
                    <a:pt x="917" y="267"/>
                  </a:lnTo>
                  <a:lnTo>
                    <a:pt x="938" y="272"/>
                  </a:lnTo>
                  <a:lnTo>
                    <a:pt x="938" y="272"/>
                  </a:lnTo>
                  <a:lnTo>
                    <a:pt x="938" y="272"/>
                  </a:lnTo>
                  <a:close/>
                  <a:moveTo>
                    <a:pt x="506" y="33"/>
                  </a:moveTo>
                  <a:lnTo>
                    <a:pt x="501" y="33"/>
                  </a:lnTo>
                  <a:lnTo>
                    <a:pt x="506" y="33"/>
                  </a:lnTo>
                  <a:lnTo>
                    <a:pt x="506" y="33"/>
                  </a:lnTo>
                  <a:lnTo>
                    <a:pt x="506" y="33"/>
                  </a:lnTo>
                  <a:lnTo>
                    <a:pt x="506" y="33"/>
                  </a:lnTo>
                  <a:close/>
                  <a:moveTo>
                    <a:pt x="652" y="106"/>
                  </a:moveTo>
                  <a:lnTo>
                    <a:pt x="648" y="99"/>
                  </a:lnTo>
                  <a:lnTo>
                    <a:pt x="631" y="99"/>
                  </a:lnTo>
                  <a:lnTo>
                    <a:pt x="631" y="90"/>
                  </a:lnTo>
                  <a:lnTo>
                    <a:pt x="636" y="83"/>
                  </a:lnTo>
                  <a:lnTo>
                    <a:pt x="652" y="90"/>
                  </a:lnTo>
                  <a:lnTo>
                    <a:pt x="664" y="83"/>
                  </a:lnTo>
                  <a:lnTo>
                    <a:pt x="669" y="90"/>
                  </a:lnTo>
                  <a:lnTo>
                    <a:pt x="652" y="106"/>
                  </a:lnTo>
                  <a:lnTo>
                    <a:pt x="652" y="106"/>
                  </a:lnTo>
                  <a:lnTo>
                    <a:pt x="652" y="106"/>
                  </a:lnTo>
                  <a:close/>
                  <a:moveTo>
                    <a:pt x="565" y="99"/>
                  </a:moveTo>
                  <a:lnTo>
                    <a:pt x="556" y="99"/>
                  </a:lnTo>
                  <a:lnTo>
                    <a:pt x="565" y="99"/>
                  </a:lnTo>
                  <a:lnTo>
                    <a:pt x="565" y="99"/>
                  </a:lnTo>
                  <a:lnTo>
                    <a:pt x="565" y="99"/>
                  </a:lnTo>
                  <a:lnTo>
                    <a:pt x="565" y="99"/>
                  </a:lnTo>
                  <a:close/>
                  <a:moveTo>
                    <a:pt x="879" y="234"/>
                  </a:moveTo>
                  <a:lnTo>
                    <a:pt x="867" y="234"/>
                  </a:lnTo>
                  <a:lnTo>
                    <a:pt x="879" y="222"/>
                  </a:lnTo>
                  <a:lnTo>
                    <a:pt x="879" y="234"/>
                  </a:lnTo>
                  <a:lnTo>
                    <a:pt x="879" y="234"/>
                  </a:lnTo>
                  <a:lnTo>
                    <a:pt x="879" y="234"/>
                  </a:lnTo>
                  <a:close/>
                  <a:moveTo>
                    <a:pt x="867" y="250"/>
                  </a:moveTo>
                  <a:lnTo>
                    <a:pt x="863" y="250"/>
                  </a:lnTo>
                  <a:lnTo>
                    <a:pt x="879" y="234"/>
                  </a:lnTo>
                  <a:lnTo>
                    <a:pt x="867" y="250"/>
                  </a:lnTo>
                  <a:lnTo>
                    <a:pt x="867" y="250"/>
                  </a:lnTo>
                  <a:lnTo>
                    <a:pt x="867" y="250"/>
                  </a:lnTo>
                  <a:close/>
                  <a:moveTo>
                    <a:pt x="851" y="255"/>
                  </a:moveTo>
                  <a:lnTo>
                    <a:pt x="863" y="250"/>
                  </a:lnTo>
                  <a:lnTo>
                    <a:pt x="879" y="250"/>
                  </a:lnTo>
                  <a:lnTo>
                    <a:pt x="867" y="255"/>
                  </a:lnTo>
                  <a:lnTo>
                    <a:pt x="851" y="255"/>
                  </a:lnTo>
                  <a:lnTo>
                    <a:pt x="851" y="255"/>
                  </a:lnTo>
                  <a:lnTo>
                    <a:pt x="851" y="255"/>
                  </a:lnTo>
                  <a:close/>
                  <a:moveTo>
                    <a:pt x="867" y="267"/>
                  </a:moveTo>
                  <a:lnTo>
                    <a:pt x="867" y="267"/>
                  </a:lnTo>
                  <a:lnTo>
                    <a:pt x="879" y="255"/>
                  </a:lnTo>
                  <a:lnTo>
                    <a:pt x="867" y="267"/>
                  </a:lnTo>
                  <a:lnTo>
                    <a:pt x="867" y="267"/>
                  </a:lnTo>
                  <a:lnTo>
                    <a:pt x="867" y="267"/>
                  </a:lnTo>
                  <a:close/>
                  <a:moveTo>
                    <a:pt x="863" y="267"/>
                  </a:moveTo>
                  <a:lnTo>
                    <a:pt x="851" y="267"/>
                  </a:lnTo>
                  <a:lnTo>
                    <a:pt x="867" y="255"/>
                  </a:lnTo>
                  <a:lnTo>
                    <a:pt x="863" y="267"/>
                  </a:lnTo>
                  <a:lnTo>
                    <a:pt x="863" y="267"/>
                  </a:lnTo>
                  <a:lnTo>
                    <a:pt x="863" y="267"/>
                  </a:lnTo>
                  <a:close/>
                  <a:moveTo>
                    <a:pt x="851" y="272"/>
                  </a:moveTo>
                  <a:lnTo>
                    <a:pt x="851" y="267"/>
                  </a:lnTo>
                  <a:lnTo>
                    <a:pt x="863" y="267"/>
                  </a:lnTo>
                  <a:lnTo>
                    <a:pt x="851" y="272"/>
                  </a:lnTo>
                  <a:lnTo>
                    <a:pt x="851" y="272"/>
                  </a:lnTo>
                  <a:lnTo>
                    <a:pt x="851" y="272"/>
                  </a:lnTo>
                  <a:close/>
                  <a:moveTo>
                    <a:pt x="851" y="272"/>
                  </a:moveTo>
                  <a:lnTo>
                    <a:pt x="846" y="272"/>
                  </a:lnTo>
                  <a:lnTo>
                    <a:pt x="867" y="267"/>
                  </a:lnTo>
                  <a:lnTo>
                    <a:pt x="851" y="272"/>
                  </a:lnTo>
                  <a:lnTo>
                    <a:pt x="851" y="272"/>
                  </a:lnTo>
                  <a:lnTo>
                    <a:pt x="851" y="272"/>
                  </a:lnTo>
                  <a:close/>
                  <a:moveTo>
                    <a:pt x="846" y="272"/>
                  </a:moveTo>
                  <a:lnTo>
                    <a:pt x="825" y="272"/>
                  </a:lnTo>
                  <a:lnTo>
                    <a:pt x="846" y="272"/>
                  </a:lnTo>
                  <a:lnTo>
                    <a:pt x="851" y="272"/>
                  </a:lnTo>
                  <a:lnTo>
                    <a:pt x="846" y="272"/>
                  </a:lnTo>
                  <a:lnTo>
                    <a:pt x="846" y="272"/>
                  </a:lnTo>
                  <a:lnTo>
                    <a:pt x="846" y="272"/>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6" name="Freeform 588">
              <a:extLst>
                <a:ext uri="{FF2B5EF4-FFF2-40B4-BE49-F238E27FC236}">
                  <a16:creationId xmlns:a16="http://schemas.microsoft.com/office/drawing/2014/main" id="{3C948BCA-A8AF-427B-BDE4-3E9FED90A1F1}"/>
                </a:ext>
              </a:extLst>
            </p:cNvPr>
            <p:cNvSpPr>
              <a:spLocks noEditPoints="1"/>
            </p:cNvSpPr>
            <p:nvPr/>
          </p:nvSpPr>
          <p:spPr bwMode="gray">
            <a:xfrm>
              <a:off x="16089246" y="3555383"/>
              <a:ext cx="168558" cy="355772"/>
            </a:xfrm>
            <a:custGeom>
              <a:avLst/>
              <a:gdLst>
                <a:gd name="T0" fmla="*/ 374 w 515"/>
                <a:gd name="T1" fmla="*/ 615 h 1087"/>
                <a:gd name="T2" fmla="*/ 364 w 515"/>
                <a:gd name="T3" fmla="*/ 556 h 1087"/>
                <a:gd name="T4" fmla="*/ 340 w 515"/>
                <a:gd name="T5" fmla="*/ 522 h 1087"/>
                <a:gd name="T6" fmla="*/ 310 w 515"/>
                <a:gd name="T7" fmla="*/ 499 h 1087"/>
                <a:gd name="T8" fmla="*/ 248 w 515"/>
                <a:gd name="T9" fmla="*/ 421 h 1087"/>
                <a:gd name="T10" fmla="*/ 211 w 515"/>
                <a:gd name="T11" fmla="*/ 367 h 1087"/>
                <a:gd name="T12" fmla="*/ 118 w 515"/>
                <a:gd name="T13" fmla="*/ 300 h 1087"/>
                <a:gd name="T14" fmla="*/ 185 w 515"/>
                <a:gd name="T15" fmla="*/ 260 h 1087"/>
                <a:gd name="T16" fmla="*/ 173 w 515"/>
                <a:gd name="T17" fmla="*/ 211 h 1087"/>
                <a:gd name="T18" fmla="*/ 118 w 515"/>
                <a:gd name="T19" fmla="*/ 182 h 1087"/>
                <a:gd name="T20" fmla="*/ 55 w 515"/>
                <a:gd name="T21" fmla="*/ 116 h 1087"/>
                <a:gd name="T22" fmla="*/ 22 w 515"/>
                <a:gd name="T23" fmla="*/ 41 h 1087"/>
                <a:gd name="T24" fmla="*/ 102 w 515"/>
                <a:gd name="T25" fmla="*/ 41 h 1087"/>
                <a:gd name="T26" fmla="*/ 147 w 515"/>
                <a:gd name="T27" fmla="*/ 41 h 1087"/>
                <a:gd name="T28" fmla="*/ 194 w 515"/>
                <a:gd name="T29" fmla="*/ 5 h 1087"/>
                <a:gd name="T30" fmla="*/ 281 w 515"/>
                <a:gd name="T31" fmla="*/ 22 h 1087"/>
                <a:gd name="T32" fmla="*/ 326 w 515"/>
                <a:gd name="T33" fmla="*/ 41 h 1087"/>
                <a:gd name="T34" fmla="*/ 340 w 515"/>
                <a:gd name="T35" fmla="*/ 100 h 1087"/>
                <a:gd name="T36" fmla="*/ 395 w 515"/>
                <a:gd name="T37" fmla="*/ 128 h 1087"/>
                <a:gd name="T38" fmla="*/ 395 w 515"/>
                <a:gd name="T39" fmla="*/ 133 h 1087"/>
                <a:gd name="T40" fmla="*/ 348 w 515"/>
                <a:gd name="T41" fmla="*/ 182 h 1087"/>
                <a:gd name="T42" fmla="*/ 336 w 515"/>
                <a:gd name="T43" fmla="*/ 173 h 1087"/>
                <a:gd name="T44" fmla="*/ 310 w 515"/>
                <a:gd name="T45" fmla="*/ 173 h 1087"/>
                <a:gd name="T46" fmla="*/ 310 w 515"/>
                <a:gd name="T47" fmla="*/ 201 h 1087"/>
                <a:gd name="T48" fmla="*/ 265 w 515"/>
                <a:gd name="T49" fmla="*/ 256 h 1087"/>
                <a:gd name="T50" fmla="*/ 265 w 515"/>
                <a:gd name="T51" fmla="*/ 367 h 1087"/>
                <a:gd name="T52" fmla="*/ 348 w 515"/>
                <a:gd name="T53" fmla="*/ 466 h 1087"/>
                <a:gd name="T54" fmla="*/ 390 w 515"/>
                <a:gd name="T55" fmla="*/ 504 h 1087"/>
                <a:gd name="T56" fmla="*/ 418 w 515"/>
                <a:gd name="T57" fmla="*/ 539 h 1087"/>
                <a:gd name="T58" fmla="*/ 428 w 515"/>
                <a:gd name="T59" fmla="*/ 539 h 1087"/>
                <a:gd name="T60" fmla="*/ 503 w 515"/>
                <a:gd name="T61" fmla="*/ 704 h 1087"/>
                <a:gd name="T62" fmla="*/ 499 w 515"/>
                <a:gd name="T63" fmla="*/ 737 h 1087"/>
                <a:gd name="T64" fmla="*/ 487 w 515"/>
                <a:gd name="T65" fmla="*/ 808 h 1087"/>
                <a:gd name="T66" fmla="*/ 487 w 515"/>
                <a:gd name="T67" fmla="*/ 848 h 1087"/>
                <a:gd name="T68" fmla="*/ 482 w 515"/>
                <a:gd name="T69" fmla="*/ 886 h 1087"/>
                <a:gd name="T70" fmla="*/ 395 w 515"/>
                <a:gd name="T71" fmla="*/ 931 h 1087"/>
                <a:gd name="T72" fmla="*/ 336 w 515"/>
                <a:gd name="T73" fmla="*/ 948 h 1087"/>
                <a:gd name="T74" fmla="*/ 310 w 515"/>
                <a:gd name="T75" fmla="*/ 948 h 1087"/>
                <a:gd name="T76" fmla="*/ 326 w 515"/>
                <a:gd name="T77" fmla="*/ 976 h 1087"/>
                <a:gd name="T78" fmla="*/ 319 w 515"/>
                <a:gd name="T79" fmla="*/ 988 h 1087"/>
                <a:gd name="T80" fmla="*/ 310 w 515"/>
                <a:gd name="T81" fmla="*/ 1014 h 1087"/>
                <a:gd name="T82" fmla="*/ 281 w 515"/>
                <a:gd name="T83" fmla="*/ 1030 h 1087"/>
                <a:gd name="T84" fmla="*/ 180 w 515"/>
                <a:gd name="T85" fmla="*/ 1087 h 1087"/>
                <a:gd name="T86" fmla="*/ 201 w 515"/>
                <a:gd name="T87" fmla="*/ 988 h 1087"/>
                <a:gd name="T88" fmla="*/ 173 w 515"/>
                <a:gd name="T89" fmla="*/ 976 h 1087"/>
                <a:gd name="T90" fmla="*/ 201 w 515"/>
                <a:gd name="T91" fmla="*/ 931 h 1087"/>
                <a:gd name="T92" fmla="*/ 234 w 515"/>
                <a:gd name="T93" fmla="*/ 919 h 1087"/>
                <a:gd name="T94" fmla="*/ 255 w 515"/>
                <a:gd name="T95" fmla="*/ 893 h 1087"/>
                <a:gd name="T96" fmla="*/ 303 w 515"/>
                <a:gd name="T97" fmla="*/ 865 h 1087"/>
                <a:gd name="T98" fmla="*/ 364 w 515"/>
                <a:gd name="T99" fmla="*/ 815 h 1087"/>
                <a:gd name="T100" fmla="*/ 374 w 515"/>
                <a:gd name="T101" fmla="*/ 766 h 1087"/>
                <a:gd name="T102" fmla="*/ 374 w 515"/>
                <a:gd name="T103" fmla="*/ 700 h 1087"/>
                <a:gd name="T104" fmla="*/ 364 w 515"/>
                <a:gd name="T105" fmla="*/ 166 h 1087"/>
                <a:gd name="T106" fmla="*/ 378 w 515"/>
                <a:gd name="T107" fmla="*/ 173 h 1087"/>
                <a:gd name="T108" fmla="*/ 378 w 515"/>
                <a:gd name="T109" fmla="*/ 173 h 1087"/>
                <a:gd name="T110" fmla="*/ 336 w 515"/>
                <a:gd name="T111" fmla="*/ 189 h 1087"/>
                <a:gd name="T112" fmla="*/ 336 w 515"/>
                <a:gd name="T113" fmla="*/ 182 h 1087"/>
                <a:gd name="T114" fmla="*/ 336 w 515"/>
                <a:gd name="T115" fmla="*/ 182 h 1087"/>
                <a:gd name="T116" fmla="*/ 326 w 515"/>
                <a:gd name="T117" fmla="*/ 959 h 1087"/>
                <a:gd name="T118" fmla="*/ 326 w 515"/>
                <a:gd name="T119" fmla="*/ 931 h 1087"/>
                <a:gd name="T120" fmla="*/ 336 w 515"/>
                <a:gd name="T121" fmla="*/ 948 h 1087"/>
                <a:gd name="T122" fmla="*/ 130 w 515"/>
                <a:gd name="T123" fmla="*/ 959 h 1087"/>
                <a:gd name="T124" fmla="*/ 130 w 515"/>
                <a:gd name="T125" fmla="*/ 948 h 1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5" h="1087">
                  <a:moveTo>
                    <a:pt x="374" y="700"/>
                  </a:moveTo>
                  <a:lnTo>
                    <a:pt x="364" y="683"/>
                  </a:lnTo>
                  <a:lnTo>
                    <a:pt x="378" y="643"/>
                  </a:lnTo>
                  <a:lnTo>
                    <a:pt x="374" y="615"/>
                  </a:lnTo>
                  <a:lnTo>
                    <a:pt x="378" y="615"/>
                  </a:lnTo>
                  <a:lnTo>
                    <a:pt x="390" y="598"/>
                  </a:lnTo>
                  <a:lnTo>
                    <a:pt x="348" y="560"/>
                  </a:lnTo>
                  <a:lnTo>
                    <a:pt x="364" y="556"/>
                  </a:lnTo>
                  <a:lnTo>
                    <a:pt x="374" y="539"/>
                  </a:lnTo>
                  <a:lnTo>
                    <a:pt x="364" y="539"/>
                  </a:lnTo>
                  <a:lnTo>
                    <a:pt x="348" y="522"/>
                  </a:lnTo>
                  <a:lnTo>
                    <a:pt x="340" y="522"/>
                  </a:lnTo>
                  <a:lnTo>
                    <a:pt x="336" y="504"/>
                  </a:lnTo>
                  <a:lnTo>
                    <a:pt x="326" y="515"/>
                  </a:lnTo>
                  <a:lnTo>
                    <a:pt x="319" y="515"/>
                  </a:lnTo>
                  <a:lnTo>
                    <a:pt x="310" y="499"/>
                  </a:lnTo>
                  <a:lnTo>
                    <a:pt x="310" y="478"/>
                  </a:lnTo>
                  <a:lnTo>
                    <a:pt x="303" y="478"/>
                  </a:lnTo>
                  <a:lnTo>
                    <a:pt x="293" y="461"/>
                  </a:lnTo>
                  <a:lnTo>
                    <a:pt x="248" y="421"/>
                  </a:lnTo>
                  <a:lnTo>
                    <a:pt x="234" y="388"/>
                  </a:lnTo>
                  <a:lnTo>
                    <a:pt x="227" y="388"/>
                  </a:lnTo>
                  <a:lnTo>
                    <a:pt x="211" y="371"/>
                  </a:lnTo>
                  <a:lnTo>
                    <a:pt x="211" y="367"/>
                  </a:lnTo>
                  <a:lnTo>
                    <a:pt x="211" y="350"/>
                  </a:lnTo>
                  <a:lnTo>
                    <a:pt x="180" y="338"/>
                  </a:lnTo>
                  <a:lnTo>
                    <a:pt x="140" y="310"/>
                  </a:lnTo>
                  <a:lnTo>
                    <a:pt x="118" y="300"/>
                  </a:lnTo>
                  <a:lnTo>
                    <a:pt x="130" y="284"/>
                  </a:lnTo>
                  <a:lnTo>
                    <a:pt x="130" y="267"/>
                  </a:lnTo>
                  <a:lnTo>
                    <a:pt x="173" y="277"/>
                  </a:lnTo>
                  <a:lnTo>
                    <a:pt x="185" y="260"/>
                  </a:lnTo>
                  <a:lnTo>
                    <a:pt x="185" y="256"/>
                  </a:lnTo>
                  <a:lnTo>
                    <a:pt x="194" y="244"/>
                  </a:lnTo>
                  <a:lnTo>
                    <a:pt x="194" y="239"/>
                  </a:lnTo>
                  <a:lnTo>
                    <a:pt x="173" y="211"/>
                  </a:lnTo>
                  <a:lnTo>
                    <a:pt x="156" y="211"/>
                  </a:lnTo>
                  <a:lnTo>
                    <a:pt x="173" y="201"/>
                  </a:lnTo>
                  <a:lnTo>
                    <a:pt x="130" y="173"/>
                  </a:lnTo>
                  <a:lnTo>
                    <a:pt x="118" y="182"/>
                  </a:lnTo>
                  <a:lnTo>
                    <a:pt x="109" y="201"/>
                  </a:lnTo>
                  <a:lnTo>
                    <a:pt x="71" y="182"/>
                  </a:lnTo>
                  <a:lnTo>
                    <a:pt x="48" y="149"/>
                  </a:lnTo>
                  <a:lnTo>
                    <a:pt x="55" y="116"/>
                  </a:lnTo>
                  <a:lnTo>
                    <a:pt x="33" y="128"/>
                  </a:lnTo>
                  <a:lnTo>
                    <a:pt x="33" y="100"/>
                  </a:lnTo>
                  <a:lnTo>
                    <a:pt x="0" y="74"/>
                  </a:lnTo>
                  <a:lnTo>
                    <a:pt x="22" y="41"/>
                  </a:lnTo>
                  <a:lnTo>
                    <a:pt x="64" y="62"/>
                  </a:lnTo>
                  <a:lnTo>
                    <a:pt x="76" y="41"/>
                  </a:lnTo>
                  <a:lnTo>
                    <a:pt x="92" y="57"/>
                  </a:lnTo>
                  <a:lnTo>
                    <a:pt x="102" y="41"/>
                  </a:lnTo>
                  <a:lnTo>
                    <a:pt x="126" y="62"/>
                  </a:lnTo>
                  <a:lnTo>
                    <a:pt x="130" y="41"/>
                  </a:lnTo>
                  <a:lnTo>
                    <a:pt x="147" y="29"/>
                  </a:lnTo>
                  <a:lnTo>
                    <a:pt x="147" y="41"/>
                  </a:lnTo>
                  <a:lnTo>
                    <a:pt x="156" y="45"/>
                  </a:lnTo>
                  <a:lnTo>
                    <a:pt x="173" y="29"/>
                  </a:lnTo>
                  <a:lnTo>
                    <a:pt x="180" y="41"/>
                  </a:lnTo>
                  <a:lnTo>
                    <a:pt x="194" y="5"/>
                  </a:lnTo>
                  <a:lnTo>
                    <a:pt x="227" y="0"/>
                  </a:lnTo>
                  <a:lnTo>
                    <a:pt x="239" y="17"/>
                  </a:lnTo>
                  <a:lnTo>
                    <a:pt x="255" y="29"/>
                  </a:lnTo>
                  <a:lnTo>
                    <a:pt x="281" y="22"/>
                  </a:lnTo>
                  <a:lnTo>
                    <a:pt x="286" y="29"/>
                  </a:lnTo>
                  <a:lnTo>
                    <a:pt x="303" y="22"/>
                  </a:lnTo>
                  <a:lnTo>
                    <a:pt x="319" y="29"/>
                  </a:lnTo>
                  <a:lnTo>
                    <a:pt x="326" y="41"/>
                  </a:lnTo>
                  <a:lnTo>
                    <a:pt x="310" y="62"/>
                  </a:lnTo>
                  <a:lnTo>
                    <a:pt x="319" y="78"/>
                  </a:lnTo>
                  <a:lnTo>
                    <a:pt x="319" y="95"/>
                  </a:lnTo>
                  <a:lnTo>
                    <a:pt x="340" y="100"/>
                  </a:lnTo>
                  <a:lnTo>
                    <a:pt x="340" y="111"/>
                  </a:lnTo>
                  <a:lnTo>
                    <a:pt x="357" y="116"/>
                  </a:lnTo>
                  <a:lnTo>
                    <a:pt x="364" y="128"/>
                  </a:lnTo>
                  <a:lnTo>
                    <a:pt x="395" y="128"/>
                  </a:lnTo>
                  <a:lnTo>
                    <a:pt x="411" y="133"/>
                  </a:lnTo>
                  <a:lnTo>
                    <a:pt x="411" y="133"/>
                  </a:lnTo>
                  <a:lnTo>
                    <a:pt x="407" y="145"/>
                  </a:lnTo>
                  <a:lnTo>
                    <a:pt x="395" y="133"/>
                  </a:lnTo>
                  <a:lnTo>
                    <a:pt x="378" y="149"/>
                  </a:lnTo>
                  <a:lnTo>
                    <a:pt x="374" y="149"/>
                  </a:lnTo>
                  <a:lnTo>
                    <a:pt x="364" y="173"/>
                  </a:lnTo>
                  <a:lnTo>
                    <a:pt x="348" y="182"/>
                  </a:lnTo>
                  <a:lnTo>
                    <a:pt x="340" y="173"/>
                  </a:lnTo>
                  <a:lnTo>
                    <a:pt x="348" y="173"/>
                  </a:lnTo>
                  <a:lnTo>
                    <a:pt x="340" y="173"/>
                  </a:lnTo>
                  <a:lnTo>
                    <a:pt x="336" y="173"/>
                  </a:lnTo>
                  <a:lnTo>
                    <a:pt x="336" y="182"/>
                  </a:lnTo>
                  <a:lnTo>
                    <a:pt x="326" y="182"/>
                  </a:lnTo>
                  <a:lnTo>
                    <a:pt x="326" y="173"/>
                  </a:lnTo>
                  <a:lnTo>
                    <a:pt x="310" y="173"/>
                  </a:lnTo>
                  <a:lnTo>
                    <a:pt x="326" y="182"/>
                  </a:lnTo>
                  <a:lnTo>
                    <a:pt x="319" y="182"/>
                  </a:lnTo>
                  <a:lnTo>
                    <a:pt x="326" y="201"/>
                  </a:lnTo>
                  <a:lnTo>
                    <a:pt x="310" y="201"/>
                  </a:lnTo>
                  <a:lnTo>
                    <a:pt x="310" y="227"/>
                  </a:lnTo>
                  <a:lnTo>
                    <a:pt x="303" y="227"/>
                  </a:lnTo>
                  <a:lnTo>
                    <a:pt x="310" y="227"/>
                  </a:lnTo>
                  <a:lnTo>
                    <a:pt x="265" y="256"/>
                  </a:lnTo>
                  <a:lnTo>
                    <a:pt x="255" y="277"/>
                  </a:lnTo>
                  <a:lnTo>
                    <a:pt x="255" y="300"/>
                  </a:lnTo>
                  <a:lnTo>
                    <a:pt x="239" y="322"/>
                  </a:lnTo>
                  <a:lnTo>
                    <a:pt x="265" y="367"/>
                  </a:lnTo>
                  <a:lnTo>
                    <a:pt x="303" y="404"/>
                  </a:lnTo>
                  <a:lnTo>
                    <a:pt x="293" y="421"/>
                  </a:lnTo>
                  <a:lnTo>
                    <a:pt x="319" y="445"/>
                  </a:lnTo>
                  <a:lnTo>
                    <a:pt x="348" y="466"/>
                  </a:lnTo>
                  <a:lnTo>
                    <a:pt x="348" y="482"/>
                  </a:lnTo>
                  <a:lnTo>
                    <a:pt x="378" y="499"/>
                  </a:lnTo>
                  <a:lnTo>
                    <a:pt x="374" y="499"/>
                  </a:lnTo>
                  <a:lnTo>
                    <a:pt x="390" y="504"/>
                  </a:lnTo>
                  <a:lnTo>
                    <a:pt x="395" y="522"/>
                  </a:lnTo>
                  <a:lnTo>
                    <a:pt x="411" y="522"/>
                  </a:lnTo>
                  <a:lnTo>
                    <a:pt x="428" y="532"/>
                  </a:lnTo>
                  <a:lnTo>
                    <a:pt x="418" y="539"/>
                  </a:lnTo>
                  <a:lnTo>
                    <a:pt x="428" y="544"/>
                  </a:lnTo>
                  <a:lnTo>
                    <a:pt x="428" y="532"/>
                  </a:lnTo>
                  <a:lnTo>
                    <a:pt x="433" y="539"/>
                  </a:lnTo>
                  <a:lnTo>
                    <a:pt x="428" y="539"/>
                  </a:lnTo>
                  <a:lnTo>
                    <a:pt x="433" y="544"/>
                  </a:lnTo>
                  <a:lnTo>
                    <a:pt x="461" y="589"/>
                  </a:lnTo>
                  <a:lnTo>
                    <a:pt x="466" y="589"/>
                  </a:lnTo>
                  <a:lnTo>
                    <a:pt x="503" y="704"/>
                  </a:lnTo>
                  <a:lnTo>
                    <a:pt x="503" y="709"/>
                  </a:lnTo>
                  <a:lnTo>
                    <a:pt x="499" y="704"/>
                  </a:lnTo>
                  <a:lnTo>
                    <a:pt x="499" y="704"/>
                  </a:lnTo>
                  <a:lnTo>
                    <a:pt x="499" y="737"/>
                  </a:lnTo>
                  <a:lnTo>
                    <a:pt x="515" y="775"/>
                  </a:lnTo>
                  <a:lnTo>
                    <a:pt x="499" y="792"/>
                  </a:lnTo>
                  <a:lnTo>
                    <a:pt x="503" y="815"/>
                  </a:lnTo>
                  <a:lnTo>
                    <a:pt x="487" y="808"/>
                  </a:lnTo>
                  <a:lnTo>
                    <a:pt x="499" y="848"/>
                  </a:lnTo>
                  <a:lnTo>
                    <a:pt x="499" y="832"/>
                  </a:lnTo>
                  <a:lnTo>
                    <a:pt x="499" y="837"/>
                  </a:lnTo>
                  <a:lnTo>
                    <a:pt x="487" y="848"/>
                  </a:lnTo>
                  <a:lnTo>
                    <a:pt x="499" y="853"/>
                  </a:lnTo>
                  <a:lnTo>
                    <a:pt x="487" y="870"/>
                  </a:lnTo>
                  <a:lnTo>
                    <a:pt x="482" y="870"/>
                  </a:lnTo>
                  <a:lnTo>
                    <a:pt x="482" y="886"/>
                  </a:lnTo>
                  <a:lnTo>
                    <a:pt x="466" y="886"/>
                  </a:lnTo>
                  <a:lnTo>
                    <a:pt x="418" y="919"/>
                  </a:lnTo>
                  <a:lnTo>
                    <a:pt x="411" y="931"/>
                  </a:lnTo>
                  <a:lnTo>
                    <a:pt x="395" y="931"/>
                  </a:lnTo>
                  <a:lnTo>
                    <a:pt x="357" y="959"/>
                  </a:lnTo>
                  <a:lnTo>
                    <a:pt x="340" y="948"/>
                  </a:lnTo>
                  <a:lnTo>
                    <a:pt x="340" y="931"/>
                  </a:lnTo>
                  <a:lnTo>
                    <a:pt x="336" y="948"/>
                  </a:lnTo>
                  <a:lnTo>
                    <a:pt x="336" y="943"/>
                  </a:lnTo>
                  <a:lnTo>
                    <a:pt x="319" y="931"/>
                  </a:lnTo>
                  <a:lnTo>
                    <a:pt x="319" y="948"/>
                  </a:lnTo>
                  <a:lnTo>
                    <a:pt x="310" y="948"/>
                  </a:lnTo>
                  <a:lnTo>
                    <a:pt x="319" y="948"/>
                  </a:lnTo>
                  <a:lnTo>
                    <a:pt x="326" y="964"/>
                  </a:lnTo>
                  <a:lnTo>
                    <a:pt x="293" y="964"/>
                  </a:lnTo>
                  <a:lnTo>
                    <a:pt x="326" y="976"/>
                  </a:lnTo>
                  <a:lnTo>
                    <a:pt x="326" y="981"/>
                  </a:lnTo>
                  <a:lnTo>
                    <a:pt x="310" y="988"/>
                  </a:lnTo>
                  <a:lnTo>
                    <a:pt x="286" y="964"/>
                  </a:lnTo>
                  <a:lnTo>
                    <a:pt x="319" y="988"/>
                  </a:lnTo>
                  <a:lnTo>
                    <a:pt x="310" y="997"/>
                  </a:lnTo>
                  <a:lnTo>
                    <a:pt x="281" y="964"/>
                  </a:lnTo>
                  <a:lnTo>
                    <a:pt x="310" y="1004"/>
                  </a:lnTo>
                  <a:lnTo>
                    <a:pt x="310" y="1014"/>
                  </a:lnTo>
                  <a:lnTo>
                    <a:pt x="293" y="1021"/>
                  </a:lnTo>
                  <a:lnTo>
                    <a:pt x="255" y="981"/>
                  </a:lnTo>
                  <a:lnTo>
                    <a:pt x="281" y="1014"/>
                  </a:lnTo>
                  <a:lnTo>
                    <a:pt x="281" y="1030"/>
                  </a:lnTo>
                  <a:lnTo>
                    <a:pt x="234" y="1042"/>
                  </a:lnTo>
                  <a:lnTo>
                    <a:pt x="218" y="1075"/>
                  </a:lnTo>
                  <a:lnTo>
                    <a:pt x="201" y="1087"/>
                  </a:lnTo>
                  <a:lnTo>
                    <a:pt x="180" y="1087"/>
                  </a:lnTo>
                  <a:lnTo>
                    <a:pt x="194" y="1075"/>
                  </a:lnTo>
                  <a:lnTo>
                    <a:pt x="185" y="1070"/>
                  </a:lnTo>
                  <a:lnTo>
                    <a:pt x="185" y="1004"/>
                  </a:lnTo>
                  <a:lnTo>
                    <a:pt x="201" y="988"/>
                  </a:lnTo>
                  <a:lnTo>
                    <a:pt x="211" y="997"/>
                  </a:lnTo>
                  <a:lnTo>
                    <a:pt x="211" y="988"/>
                  </a:lnTo>
                  <a:lnTo>
                    <a:pt x="185" y="964"/>
                  </a:lnTo>
                  <a:lnTo>
                    <a:pt x="173" y="976"/>
                  </a:lnTo>
                  <a:lnTo>
                    <a:pt x="163" y="959"/>
                  </a:lnTo>
                  <a:lnTo>
                    <a:pt x="173" y="948"/>
                  </a:lnTo>
                  <a:lnTo>
                    <a:pt x="194" y="943"/>
                  </a:lnTo>
                  <a:lnTo>
                    <a:pt x="201" y="931"/>
                  </a:lnTo>
                  <a:lnTo>
                    <a:pt x="201" y="919"/>
                  </a:lnTo>
                  <a:lnTo>
                    <a:pt x="211" y="919"/>
                  </a:lnTo>
                  <a:lnTo>
                    <a:pt x="227" y="919"/>
                  </a:lnTo>
                  <a:lnTo>
                    <a:pt x="234" y="919"/>
                  </a:lnTo>
                  <a:lnTo>
                    <a:pt x="255" y="910"/>
                  </a:lnTo>
                  <a:lnTo>
                    <a:pt x="281" y="926"/>
                  </a:lnTo>
                  <a:lnTo>
                    <a:pt x="281" y="910"/>
                  </a:lnTo>
                  <a:lnTo>
                    <a:pt x="255" y="893"/>
                  </a:lnTo>
                  <a:lnTo>
                    <a:pt x="255" y="870"/>
                  </a:lnTo>
                  <a:lnTo>
                    <a:pt x="265" y="865"/>
                  </a:lnTo>
                  <a:lnTo>
                    <a:pt x="272" y="853"/>
                  </a:lnTo>
                  <a:lnTo>
                    <a:pt x="303" y="865"/>
                  </a:lnTo>
                  <a:lnTo>
                    <a:pt x="293" y="837"/>
                  </a:lnTo>
                  <a:lnTo>
                    <a:pt x="319" y="837"/>
                  </a:lnTo>
                  <a:lnTo>
                    <a:pt x="348" y="815"/>
                  </a:lnTo>
                  <a:lnTo>
                    <a:pt x="364" y="815"/>
                  </a:lnTo>
                  <a:lnTo>
                    <a:pt x="374" y="820"/>
                  </a:lnTo>
                  <a:lnTo>
                    <a:pt x="378" y="815"/>
                  </a:lnTo>
                  <a:lnTo>
                    <a:pt x="378" y="792"/>
                  </a:lnTo>
                  <a:lnTo>
                    <a:pt x="374" y="766"/>
                  </a:lnTo>
                  <a:lnTo>
                    <a:pt x="378" y="726"/>
                  </a:lnTo>
                  <a:lnTo>
                    <a:pt x="374" y="704"/>
                  </a:lnTo>
                  <a:lnTo>
                    <a:pt x="374" y="700"/>
                  </a:lnTo>
                  <a:lnTo>
                    <a:pt x="374" y="700"/>
                  </a:lnTo>
                  <a:lnTo>
                    <a:pt x="374" y="700"/>
                  </a:lnTo>
                  <a:close/>
                  <a:moveTo>
                    <a:pt x="374" y="149"/>
                  </a:moveTo>
                  <a:lnTo>
                    <a:pt x="378" y="156"/>
                  </a:lnTo>
                  <a:lnTo>
                    <a:pt x="364" y="166"/>
                  </a:lnTo>
                  <a:lnTo>
                    <a:pt x="374" y="149"/>
                  </a:lnTo>
                  <a:lnTo>
                    <a:pt x="374" y="149"/>
                  </a:lnTo>
                  <a:lnTo>
                    <a:pt x="374" y="149"/>
                  </a:lnTo>
                  <a:close/>
                  <a:moveTo>
                    <a:pt x="378" y="173"/>
                  </a:moveTo>
                  <a:lnTo>
                    <a:pt x="374" y="182"/>
                  </a:lnTo>
                  <a:lnTo>
                    <a:pt x="364" y="182"/>
                  </a:lnTo>
                  <a:lnTo>
                    <a:pt x="378" y="173"/>
                  </a:lnTo>
                  <a:lnTo>
                    <a:pt x="378" y="173"/>
                  </a:lnTo>
                  <a:lnTo>
                    <a:pt x="378" y="173"/>
                  </a:lnTo>
                  <a:close/>
                  <a:moveTo>
                    <a:pt x="326" y="182"/>
                  </a:moveTo>
                  <a:lnTo>
                    <a:pt x="326" y="182"/>
                  </a:lnTo>
                  <a:lnTo>
                    <a:pt x="336" y="189"/>
                  </a:lnTo>
                  <a:lnTo>
                    <a:pt x="326" y="182"/>
                  </a:lnTo>
                  <a:lnTo>
                    <a:pt x="326" y="182"/>
                  </a:lnTo>
                  <a:lnTo>
                    <a:pt x="326" y="182"/>
                  </a:lnTo>
                  <a:close/>
                  <a:moveTo>
                    <a:pt x="336" y="182"/>
                  </a:moveTo>
                  <a:lnTo>
                    <a:pt x="348" y="189"/>
                  </a:lnTo>
                  <a:lnTo>
                    <a:pt x="340" y="201"/>
                  </a:lnTo>
                  <a:lnTo>
                    <a:pt x="336" y="182"/>
                  </a:lnTo>
                  <a:lnTo>
                    <a:pt x="336" y="182"/>
                  </a:lnTo>
                  <a:lnTo>
                    <a:pt x="336" y="182"/>
                  </a:lnTo>
                  <a:close/>
                  <a:moveTo>
                    <a:pt x="326" y="931"/>
                  </a:moveTo>
                  <a:lnTo>
                    <a:pt x="326" y="943"/>
                  </a:lnTo>
                  <a:lnTo>
                    <a:pt x="326" y="959"/>
                  </a:lnTo>
                  <a:lnTo>
                    <a:pt x="326" y="948"/>
                  </a:lnTo>
                  <a:lnTo>
                    <a:pt x="326" y="931"/>
                  </a:lnTo>
                  <a:lnTo>
                    <a:pt x="326" y="931"/>
                  </a:lnTo>
                  <a:lnTo>
                    <a:pt x="326" y="931"/>
                  </a:lnTo>
                  <a:close/>
                  <a:moveTo>
                    <a:pt x="336" y="948"/>
                  </a:moveTo>
                  <a:lnTo>
                    <a:pt x="340" y="959"/>
                  </a:lnTo>
                  <a:lnTo>
                    <a:pt x="336" y="959"/>
                  </a:lnTo>
                  <a:lnTo>
                    <a:pt x="336" y="948"/>
                  </a:lnTo>
                  <a:lnTo>
                    <a:pt x="336" y="948"/>
                  </a:lnTo>
                  <a:lnTo>
                    <a:pt x="336" y="948"/>
                  </a:lnTo>
                  <a:close/>
                  <a:moveTo>
                    <a:pt x="130" y="948"/>
                  </a:moveTo>
                  <a:lnTo>
                    <a:pt x="130" y="959"/>
                  </a:lnTo>
                  <a:lnTo>
                    <a:pt x="130" y="981"/>
                  </a:lnTo>
                  <a:lnTo>
                    <a:pt x="118" y="959"/>
                  </a:lnTo>
                  <a:lnTo>
                    <a:pt x="130" y="948"/>
                  </a:lnTo>
                  <a:lnTo>
                    <a:pt x="130" y="948"/>
                  </a:lnTo>
                  <a:lnTo>
                    <a:pt x="130" y="948"/>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7" name="Freeform 589">
              <a:extLst>
                <a:ext uri="{FF2B5EF4-FFF2-40B4-BE49-F238E27FC236}">
                  <a16:creationId xmlns:a16="http://schemas.microsoft.com/office/drawing/2014/main" id="{EC7640CA-BB1A-4D80-8803-8EDEBC93A902}"/>
                </a:ext>
              </a:extLst>
            </p:cNvPr>
            <p:cNvSpPr>
              <a:spLocks noEditPoints="1"/>
            </p:cNvSpPr>
            <p:nvPr/>
          </p:nvSpPr>
          <p:spPr bwMode="gray">
            <a:xfrm>
              <a:off x="12254638" y="3676156"/>
              <a:ext cx="6873" cy="17019"/>
            </a:xfrm>
            <a:custGeom>
              <a:avLst/>
              <a:gdLst>
                <a:gd name="T0" fmla="*/ 16 w 21"/>
                <a:gd name="T1" fmla="*/ 0 h 52"/>
                <a:gd name="T2" fmla="*/ 7 w 21"/>
                <a:gd name="T3" fmla="*/ 0 h 52"/>
                <a:gd name="T4" fmla="*/ 16 w 21"/>
                <a:gd name="T5" fmla="*/ 0 h 52"/>
                <a:gd name="T6" fmla="*/ 16 w 21"/>
                <a:gd name="T7" fmla="*/ 0 h 52"/>
                <a:gd name="T8" fmla="*/ 16 w 21"/>
                <a:gd name="T9" fmla="*/ 0 h 52"/>
                <a:gd name="T10" fmla="*/ 16 w 21"/>
                <a:gd name="T11" fmla="*/ 0 h 52"/>
                <a:gd name="T12" fmla="*/ 0 w 21"/>
                <a:gd name="T13" fmla="*/ 52 h 52"/>
                <a:gd name="T14" fmla="*/ 0 w 21"/>
                <a:gd name="T15" fmla="*/ 40 h 52"/>
                <a:gd name="T16" fmla="*/ 21 w 21"/>
                <a:gd name="T17" fmla="*/ 52 h 52"/>
                <a:gd name="T18" fmla="*/ 0 w 21"/>
                <a:gd name="T19" fmla="*/ 52 h 52"/>
                <a:gd name="T20" fmla="*/ 0 w 21"/>
                <a:gd name="T21" fmla="*/ 52 h 52"/>
                <a:gd name="T22" fmla="*/ 0 w 21"/>
                <a:gd name="T23"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2">
                  <a:moveTo>
                    <a:pt x="16" y="0"/>
                  </a:moveTo>
                  <a:lnTo>
                    <a:pt x="7" y="0"/>
                  </a:lnTo>
                  <a:lnTo>
                    <a:pt x="16" y="0"/>
                  </a:lnTo>
                  <a:lnTo>
                    <a:pt x="16" y="0"/>
                  </a:lnTo>
                  <a:lnTo>
                    <a:pt x="16" y="0"/>
                  </a:lnTo>
                  <a:lnTo>
                    <a:pt x="16" y="0"/>
                  </a:lnTo>
                  <a:close/>
                  <a:moveTo>
                    <a:pt x="0" y="52"/>
                  </a:moveTo>
                  <a:lnTo>
                    <a:pt x="0" y="40"/>
                  </a:lnTo>
                  <a:lnTo>
                    <a:pt x="21" y="52"/>
                  </a:lnTo>
                  <a:lnTo>
                    <a:pt x="0" y="52"/>
                  </a:lnTo>
                  <a:lnTo>
                    <a:pt x="0" y="52"/>
                  </a:lnTo>
                  <a:lnTo>
                    <a:pt x="0" y="52"/>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8" name="Freeform 590">
              <a:extLst>
                <a:ext uri="{FF2B5EF4-FFF2-40B4-BE49-F238E27FC236}">
                  <a16:creationId xmlns:a16="http://schemas.microsoft.com/office/drawing/2014/main" id="{8DA6B6AC-FF12-4E19-9FC3-9D925489D7A8}"/>
                </a:ext>
              </a:extLst>
            </p:cNvPr>
            <p:cNvSpPr>
              <a:spLocks/>
            </p:cNvSpPr>
            <p:nvPr/>
          </p:nvSpPr>
          <p:spPr bwMode="gray">
            <a:xfrm>
              <a:off x="14015167" y="4517963"/>
              <a:ext cx="308313" cy="297840"/>
            </a:xfrm>
            <a:custGeom>
              <a:avLst/>
              <a:gdLst>
                <a:gd name="T0" fmla="*/ 21 w 942"/>
                <a:gd name="T1" fmla="*/ 17 h 910"/>
                <a:gd name="T2" fmla="*/ 96 w 942"/>
                <a:gd name="T3" fmla="*/ 0 h 910"/>
                <a:gd name="T4" fmla="*/ 151 w 942"/>
                <a:gd name="T5" fmla="*/ 38 h 910"/>
                <a:gd name="T6" fmla="*/ 474 w 942"/>
                <a:gd name="T7" fmla="*/ 55 h 910"/>
                <a:gd name="T8" fmla="*/ 597 w 942"/>
                <a:gd name="T9" fmla="*/ 71 h 910"/>
                <a:gd name="T10" fmla="*/ 635 w 942"/>
                <a:gd name="T11" fmla="*/ 76 h 910"/>
                <a:gd name="T12" fmla="*/ 668 w 942"/>
                <a:gd name="T13" fmla="*/ 76 h 910"/>
                <a:gd name="T14" fmla="*/ 867 w 942"/>
                <a:gd name="T15" fmla="*/ 38 h 910"/>
                <a:gd name="T16" fmla="*/ 921 w 942"/>
                <a:gd name="T17" fmla="*/ 50 h 910"/>
                <a:gd name="T18" fmla="*/ 916 w 942"/>
                <a:gd name="T19" fmla="*/ 59 h 910"/>
                <a:gd name="T20" fmla="*/ 878 w 942"/>
                <a:gd name="T21" fmla="*/ 76 h 910"/>
                <a:gd name="T22" fmla="*/ 807 w 942"/>
                <a:gd name="T23" fmla="*/ 76 h 910"/>
                <a:gd name="T24" fmla="*/ 647 w 942"/>
                <a:gd name="T25" fmla="*/ 383 h 910"/>
                <a:gd name="T26" fmla="*/ 576 w 942"/>
                <a:gd name="T27" fmla="*/ 586 h 910"/>
                <a:gd name="T28" fmla="*/ 543 w 942"/>
                <a:gd name="T29" fmla="*/ 881 h 910"/>
                <a:gd name="T30" fmla="*/ 522 w 942"/>
                <a:gd name="T31" fmla="*/ 898 h 910"/>
                <a:gd name="T32" fmla="*/ 512 w 942"/>
                <a:gd name="T33" fmla="*/ 910 h 910"/>
                <a:gd name="T34" fmla="*/ 441 w 942"/>
                <a:gd name="T35" fmla="*/ 910 h 910"/>
                <a:gd name="T36" fmla="*/ 404 w 942"/>
                <a:gd name="T37" fmla="*/ 903 h 910"/>
                <a:gd name="T38" fmla="*/ 387 w 942"/>
                <a:gd name="T39" fmla="*/ 898 h 910"/>
                <a:gd name="T40" fmla="*/ 382 w 942"/>
                <a:gd name="T41" fmla="*/ 853 h 910"/>
                <a:gd name="T42" fmla="*/ 349 w 942"/>
                <a:gd name="T43" fmla="*/ 848 h 910"/>
                <a:gd name="T44" fmla="*/ 328 w 942"/>
                <a:gd name="T45" fmla="*/ 886 h 910"/>
                <a:gd name="T46" fmla="*/ 274 w 942"/>
                <a:gd name="T47" fmla="*/ 841 h 910"/>
                <a:gd name="T48" fmla="*/ 236 w 942"/>
                <a:gd name="T49" fmla="*/ 759 h 910"/>
                <a:gd name="T50" fmla="*/ 236 w 942"/>
                <a:gd name="T51" fmla="*/ 730 h 910"/>
                <a:gd name="T52" fmla="*/ 219 w 942"/>
                <a:gd name="T53" fmla="*/ 714 h 910"/>
                <a:gd name="T54" fmla="*/ 215 w 942"/>
                <a:gd name="T55" fmla="*/ 664 h 910"/>
                <a:gd name="T56" fmla="*/ 181 w 942"/>
                <a:gd name="T57" fmla="*/ 537 h 910"/>
                <a:gd name="T58" fmla="*/ 203 w 942"/>
                <a:gd name="T59" fmla="*/ 466 h 910"/>
                <a:gd name="T60" fmla="*/ 189 w 942"/>
                <a:gd name="T61" fmla="*/ 425 h 910"/>
                <a:gd name="T62" fmla="*/ 151 w 942"/>
                <a:gd name="T63" fmla="*/ 366 h 910"/>
                <a:gd name="T64" fmla="*/ 113 w 942"/>
                <a:gd name="T65" fmla="*/ 293 h 910"/>
                <a:gd name="T66" fmla="*/ 42 w 942"/>
                <a:gd name="T67" fmla="*/ 149 h 910"/>
                <a:gd name="T68" fmla="*/ 0 w 942"/>
                <a:gd name="T69" fmla="*/ 88 h 910"/>
                <a:gd name="T70" fmla="*/ 0 w 942"/>
                <a:gd name="T71" fmla="*/ 22 h 910"/>
                <a:gd name="T72" fmla="*/ 0 w 942"/>
                <a:gd name="T73" fmla="*/ 22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2" h="910">
                  <a:moveTo>
                    <a:pt x="0" y="22"/>
                  </a:moveTo>
                  <a:lnTo>
                    <a:pt x="21" y="17"/>
                  </a:lnTo>
                  <a:lnTo>
                    <a:pt x="52" y="22"/>
                  </a:lnTo>
                  <a:lnTo>
                    <a:pt x="96" y="0"/>
                  </a:lnTo>
                  <a:lnTo>
                    <a:pt x="118" y="5"/>
                  </a:lnTo>
                  <a:lnTo>
                    <a:pt x="151" y="38"/>
                  </a:lnTo>
                  <a:lnTo>
                    <a:pt x="467" y="33"/>
                  </a:lnTo>
                  <a:lnTo>
                    <a:pt x="474" y="55"/>
                  </a:lnTo>
                  <a:lnTo>
                    <a:pt x="496" y="59"/>
                  </a:lnTo>
                  <a:lnTo>
                    <a:pt x="597" y="71"/>
                  </a:lnTo>
                  <a:lnTo>
                    <a:pt x="614" y="76"/>
                  </a:lnTo>
                  <a:lnTo>
                    <a:pt x="635" y="76"/>
                  </a:lnTo>
                  <a:lnTo>
                    <a:pt x="652" y="71"/>
                  </a:lnTo>
                  <a:lnTo>
                    <a:pt x="668" y="76"/>
                  </a:lnTo>
                  <a:lnTo>
                    <a:pt x="812" y="55"/>
                  </a:lnTo>
                  <a:lnTo>
                    <a:pt x="867" y="38"/>
                  </a:lnTo>
                  <a:lnTo>
                    <a:pt x="900" y="38"/>
                  </a:lnTo>
                  <a:lnTo>
                    <a:pt x="921" y="50"/>
                  </a:lnTo>
                  <a:lnTo>
                    <a:pt x="942" y="59"/>
                  </a:lnTo>
                  <a:lnTo>
                    <a:pt x="916" y="59"/>
                  </a:lnTo>
                  <a:lnTo>
                    <a:pt x="888" y="88"/>
                  </a:lnTo>
                  <a:lnTo>
                    <a:pt x="878" y="76"/>
                  </a:lnTo>
                  <a:lnTo>
                    <a:pt x="829" y="116"/>
                  </a:lnTo>
                  <a:lnTo>
                    <a:pt x="807" y="76"/>
                  </a:lnTo>
                  <a:lnTo>
                    <a:pt x="647" y="104"/>
                  </a:lnTo>
                  <a:lnTo>
                    <a:pt x="647" y="383"/>
                  </a:lnTo>
                  <a:lnTo>
                    <a:pt x="576" y="383"/>
                  </a:lnTo>
                  <a:lnTo>
                    <a:pt x="576" y="586"/>
                  </a:lnTo>
                  <a:lnTo>
                    <a:pt x="576" y="870"/>
                  </a:lnTo>
                  <a:lnTo>
                    <a:pt x="543" y="881"/>
                  </a:lnTo>
                  <a:lnTo>
                    <a:pt x="538" y="898"/>
                  </a:lnTo>
                  <a:lnTo>
                    <a:pt x="522" y="898"/>
                  </a:lnTo>
                  <a:lnTo>
                    <a:pt x="522" y="910"/>
                  </a:lnTo>
                  <a:lnTo>
                    <a:pt x="512" y="910"/>
                  </a:lnTo>
                  <a:lnTo>
                    <a:pt x="484" y="903"/>
                  </a:lnTo>
                  <a:lnTo>
                    <a:pt x="441" y="910"/>
                  </a:lnTo>
                  <a:lnTo>
                    <a:pt x="430" y="903"/>
                  </a:lnTo>
                  <a:lnTo>
                    <a:pt x="404" y="903"/>
                  </a:lnTo>
                  <a:lnTo>
                    <a:pt x="404" y="898"/>
                  </a:lnTo>
                  <a:lnTo>
                    <a:pt x="387" y="898"/>
                  </a:lnTo>
                  <a:lnTo>
                    <a:pt x="387" y="853"/>
                  </a:lnTo>
                  <a:lnTo>
                    <a:pt x="382" y="853"/>
                  </a:lnTo>
                  <a:lnTo>
                    <a:pt x="366" y="841"/>
                  </a:lnTo>
                  <a:lnTo>
                    <a:pt x="349" y="848"/>
                  </a:lnTo>
                  <a:lnTo>
                    <a:pt x="344" y="881"/>
                  </a:lnTo>
                  <a:lnTo>
                    <a:pt x="328" y="886"/>
                  </a:lnTo>
                  <a:lnTo>
                    <a:pt x="323" y="881"/>
                  </a:lnTo>
                  <a:lnTo>
                    <a:pt x="274" y="841"/>
                  </a:lnTo>
                  <a:lnTo>
                    <a:pt x="241" y="787"/>
                  </a:lnTo>
                  <a:lnTo>
                    <a:pt x="236" y="759"/>
                  </a:lnTo>
                  <a:lnTo>
                    <a:pt x="226" y="737"/>
                  </a:lnTo>
                  <a:lnTo>
                    <a:pt x="236" y="730"/>
                  </a:lnTo>
                  <a:lnTo>
                    <a:pt x="226" y="714"/>
                  </a:lnTo>
                  <a:lnTo>
                    <a:pt x="219" y="714"/>
                  </a:lnTo>
                  <a:lnTo>
                    <a:pt x="219" y="688"/>
                  </a:lnTo>
                  <a:lnTo>
                    <a:pt x="215" y="664"/>
                  </a:lnTo>
                  <a:lnTo>
                    <a:pt x="215" y="610"/>
                  </a:lnTo>
                  <a:lnTo>
                    <a:pt x="181" y="537"/>
                  </a:lnTo>
                  <a:lnTo>
                    <a:pt x="181" y="466"/>
                  </a:lnTo>
                  <a:lnTo>
                    <a:pt x="203" y="466"/>
                  </a:lnTo>
                  <a:lnTo>
                    <a:pt x="198" y="425"/>
                  </a:lnTo>
                  <a:lnTo>
                    <a:pt x="189" y="425"/>
                  </a:lnTo>
                  <a:lnTo>
                    <a:pt x="181" y="404"/>
                  </a:lnTo>
                  <a:lnTo>
                    <a:pt x="151" y="366"/>
                  </a:lnTo>
                  <a:lnTo>
                    <a:pt x="144" y="343"/>
                  </a:lnTo>
                  <a:lnTo>
                    <a:pt x="113" y="293"/>
                  </a:lnTo>
                  <a:lnTo>
                    <a:pt x="96" y="244"/>
                  </a:lnTo>
                  <a:lnTo>
                    <a:pt x="42" y="149"/>
                  </a:lnTo>
                  <a:lnTo>
                    <a:pt x="9" y="109"/>
                  </a:lnTo>
                  <a:lnTo>
                    <a:pt x="0" y="88"/>
                  </a:lnTo>
                  <a:lnTo>
                    <a:pt x="0" y="50"/>
                  </a:lnTo>
                  <a:lnTo>
                    <a:pt x="0" y="22"/>
                  </a:lnTo>
                  <a:lnTo>
                    <a:pt x="0" y="22"/>
                  </a:lnTo>
                  <a:lnTo>
                    <a:pt x="0" y="22"/>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9" name="Freeform 591">
              <a:extLst>
                <a:ext uri="{FF2B5EF4-FFF2-40B4-BE49-F238E27FC236}">
                  <a16:creationId xmlns:a16="http://schemas.microsoft.com/office/drawing/2014/main" id="{392B6BBA-624A-4BF4-81F3-C8A5460DB14E}"/>
                </a:ext>
              </a:extLst>
            </p:cNvPr>
            <p:cNvSpPr>
              <a:spLocks/>
            </p:cNvSpPr>
            <p:nvPr/>
          </p:nvSpPr>
          <p:spPr bwMode="gray">
            <a:xfrm>
              <a:off x="14545388" y="3319730"/>
              <a:ext cx="14074" cy="30766"/>
            </a:xfrm>
            <a:custGeom>
              <a:avLst/>
              <a:gdLst>
                <a:gd name="T0" fmla="*/ 43 w 43"/>
                <a:gd name="T1" fmla="*/ 21 h 94"/>
                <a:gd name="T2" fmla="*/ 43 w 43"/>
                <a:gd name="T3" fmla="*/ 83 h 94"/>
                <a:gd name="T4" fmla="*/ 17 w 43"/>
                <a:gd name="T5" fmla="*/ 94 h 94"/>
                <a:gd name="T6" fmla="*/ 0 w 43"/>
                <a:gd name="T7" fmla="*/ 94 h 94"/>
                <a:gd name="T8" fmla="*/ 7 w 43"/>
                <a:gd name="T9" fmla="*/ 71 h 94"/>
                <a:gd name="T10" fmla="*/ 21 w 43"/>
                <a:gd name="T11" fmla="*/ 61 h 94"/>
                <a:gd name="T12" fmla="*/ 7 w 43"/>
                <a:gd name="T13" fmla="*/ 54 h 94"/>
                <a:gd name="T14" fmla="*/ 17 w 43"/>
                <a:gd name="T15" fmla="*/ 5 h 94"/>
                <a:gd name="T16" fmla="*/ 21 w 43"/>
                <a:gd name="T17" fmla="*/ 0 h 94"/>
                <a:gd name="T18" fmla="*/ 43 w 43"/>
                <a:gd name="T19" fmla="*/ 17 h 94"/>
                <a:gd name="T20" fmla="*/ 43 w 43"/>
                <a:gd name="T21" fmla="*/ 21 h 94"/>
                <a:gd name="T22" fmla="*/ 43 w 43"/>
                <a:gd name="T23" fmla="*/ 21 h 94"/>
                <a:gd name="T24" fmla="*/ 43 w 43"/>
                <a:gd name="T25" fmla="*/ 2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94">
                  <a:moveTo>
                    <a:pt x="43" y="21"/>
                  </a:moveTo>
                  <a:lnTo>
                    <a:pt x="43" y="83"/>
                  </a:lnTo>
                  <a:lnTo>
                    <a:pt x="17" y="94"/>
                  </a:lnTo>
                  <a:lnTo>
                    <a:pt x="0" y="94"/>
                  </a:lnTo>
                  <a:lnTo>
                    <a:pt x="7" y="71"/>
                  </a:lnTo>
                  <a:lnTo>
                    <a:pt x="21" y="61"/>
                  </a:lnTo>
                  <a:lnTo>
                    <a:pt x="7" y="54"/>
                  </a:lnTo>
                  <a:lnTo>
                    <a:pt x="17" y="5"/>
                  </a:lnTo>
                  <a:lnTo>
                    <a:pt x="21" y="0"/>
                  </a:lnTo>
                  <a:lnTo>
                    <a:pt x="43" y="17"/>
                  </a:lnTo>
                  <a:lnTo>
                    <a:pt x="43" y="21"/>
                  </a:lnTo>
                  <a:lnTo>
                    <a:pt x="43" y="21"/>
                  </a:lnTo>
                  <a:lnTo>
                    <a:pt x="43" y="21"/>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0" name="Freeform 592">
              <a:extLst>
                <a:ext uri="{FF2B5EF4-FFF2-40B4-BE49-F238E27FC236}">
                  <a16:creationId xmlns:a16="http://schemas.microsoft.com/office/drawing/2014/main" id="{BF92C1AF-0FEB-4284-85D1-F0E0148B6840}"/>
                </a:ext>
              </a:extLst>
            </p:cNvPr>
            <p:cNvSpPr>
              <a:spLocks/>
            </p:cNvSpPr>
            <p:nvPr/>
          </p:nvSpPr>
          <p:spPr bwMode="gray">
            <a:xfrm>
              <a:off x="13351737" y="3445739"/>
              <a:ext cx="194087" cy="171503"/>
            </a:xfrm>
            <a:custGeom>
              <a:avLst/>
              <a:gdLst>
                <a:gd name="T0" fmla="*/ 196 w 593"/>
                <a:gd name="T1" fmla="*/ 487 h 524"/>
                <a:gd name="T2" fmla="*/ 12 w 593"/>
                <a:gd name="T3" fmla="*/ 487 h 524"/>
                <a:gd name="T4" fmla="*/ 0 w 593"/>
                <a:gd name="T5" fmla="*/ 524 h 524"/>
                <a:gd name="T6" fmla="*/ 0 w 593"/>
                <a:gd name="T7" fmla="*/ 508 h 524"/>
                <a:gd name="T8" fmla="*/ 12 w 593"/>
                <a:gd name="T9" fmla="*/ 435 h 524"/>
                <a:gd name="T10" fmla="*/ 28 w 593"/>
                <a:gd name="T11" fmla="*/ 413 h 524"/>
                <a:gd name="T12" fmla="*/ 38 w 593"/>
                <a:gd name="T13" fmla="*/ 409 h 524"/>
                <a:gd name="T14" fmla="*/ 71 w 593"/>
                <a:gd name="T15" fmla="*/ 335 h 524"/>
                <a:gd name="T16" fmla="*/ 92 w 593"/>
                <a:gd name="T17" fmla="*/ 295 h 524"/>
                <a:gd name="T18" fmla="*/ 92 w 593"/>
                <a:gd name="T19" fmla="*/ 286 h 524"/>
                <a:gd name="T20" fmla="*/ 71 w 593"/>
                <a:gd name="T21" fmla="*/ 302 h 524"/>
                <a:gd name="T22" fmla="*/ 158 w 593"/>
                <a:gd name="T23" fmla="*/ 229 h 524"/>
                <a:gd name="T24" fmla="*/ 163 w 593"/>
                <a:gd name="T25" fmla="*/ 168 h 524"/>
                <a:gd name="T26" fmla="*/ 179 w 593"/>
                <a:gd name="T27" fmla="*/ 135 h 524"/>
                <a:gd name="T28" fmla="*/ 179 w 593"/>
                <a:gd name="T29" fmla="*/ 113 h 524"/>
                <a:gd name="T30" fmla="*/ 250 w 593"/>
                <a:gd name="T31" fmla="*/ 73 h 524"/>
                <a:gd name="T32" fmla="*/ 272 w 593"/>
                <a:gd name="T33" fmla="*/ 0 h 524"/>
                <a:gd name="T34" fmla="*/ 593 w 593"/>
                <a:gd name="T35" fmla="*/ 0 h 524"/>
                <a:gd name="T36" fmla="*/ 593 w 593"/>
                <a:gd name="T37" fmla="*/ 24 h 524"/>
                <a:gd name="T38" fmla="*/ 593 w 593"/>
                <a:gd name="T39" fmla="*/ 130 h 524"/>
                <a:gd name="T40" fmla="*/ 359 w 593"/>
                <a:gd name="T41" fmla="*/ 130 h 524"/>
                <a:gd name="T42" fmla="*/ 359 w 593"/>
                <a:gd name="T43" fmla="*/ 324 h 524"/>
                <a:gd name="T44" fmla="*/ 321 w 593"/>
                <a:gd name="T45" fmla="*/ 335 h 524"/>
                <a:gd name="T46" fmla="*/ 283 w 593"/>
                <a:gd name="T47" fmla="*/ 364 h 524"/>
                <a:gd name="T48" fmla="*/ 288 w 593"/>
                <a:gd name="T49" fmla="*/ 487 h 524"/>
                <a:gd name="T50" fmla="*/ 196 w 593"/>
                <a:gd name="T51" fmla="*/ 487 h 524"/>
                <a:gd name="T52" fmla="*/ 196 w 593"/>
                <a:gd name="T53" fmla="*/ 487 h 524"/>
                <a:gd name="T54" fmla="*/ 196 w 593"/>
                <a:gd name="T55" fmla="*/ 48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93" h="524">
                  <a:moveTo>
                    <a:pt x="196" y="487"/>
                  </a:moveTo>
                  <a:lnTo>
                    <a:pt x="12" y="487"/>
                  </a:lnTo>
                  <a:lnTo>
                    <a:pt x="0" y="524"/>
                  </a:lnTo>
                  <a:lnTo>
                    <a:pt x="0" y="508"/>
                  </a:lnTo>
                  <a:lnTo>
                    <a:pt x="12" y="435"/>
                  </a:lnTo>
                  <a:lnTo>
                    <a:pt x="28" y="413"/>
                  </a:lnTo>
                  <a:lnTo>
                    <a:pt x="38" y="409"/>
                  </a:lnTo>
                  <a:lnTo>
                    <a:pt x="71" y="335"/>
                  </a:lnTo>
                  <a:lnTo>
                    <a:pt x="92" y="295"/>
                  </a:lnTo>
                  <a:lnTo>
                    <a:pt x="92" y="286"/>
                  </a:lnTo>
                  <a:lnTo>
                    <a:pt x="71" y="302"/>
                  </a:lnTo>
                  <a:lnTo>
                    <a:pt x="158" y="229"/>
                  </a:lnTo>
                  <a:lnTo>
                    <a:pt x="163" y="168"/>
                  </a:lnTo>
                  <a:lnTo>
                    <a:pt x="179" y="135"/>
                  </a:lnTo>
                  <a:lnTo>
                    <a:pt x="179" y="113"/>
                  </a:lnTo>
                  <a:lnTo>
                    <a:pt x="250" y="73"/>
                  </a:lnTo>
                  <a:lnTo>
                    <a:pt x="272" y="0"/>
                  </a:lnTo>
                  <a:lnTo>
                    <a:pt x="593" y="0"/>
                  </a:lnTo>
                  <a:lnTo>
                    <a:pt x="593" y="24"/>
                  </a:lnTo>
                  <a:lnTo>
                    <a:pt x="593" y="130"/>
                  </a:lnTo>
                  <a:lnTo>
                    <a:pt x="359" y="130"/>
                  </a:lnTo>
                  <a:lnTo>
                    <a:pt x="359" y="324"/>
                  </a:lnTo>
                  <a:lnTo>
                    <a:pt x="321" y="335"/>
                  </a:lnTo>
                  <a:lnTo>
                    <a:pt x="283" y="364"/>
                  </a:lnTo>
                  <a:lnTo>
                    <a:pt x="288" y="487"/>
                  </a:lnTo>
                  <a:lnTo>
                    <a:pt x="196" y="487"/>
                  </a:lnTo>
                  <a:lnTo>
                    <a:pt x="196" y="487"/>
                  </a:lnTo>
                  <a:lnTo>
                    <a:pt x="196" y="48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1" name="Freeform 593">
              <a:extLst>
                <a:ext uri="{FF2B5EF4-FFF2-40B4-BE49-F238E27FC236}">
                  <a16:creationId xmlns:a16="http://schemas.microsoft.com/office/drawing/2014/main" id="{E7F86BE8-BD18-4764-B7F5-D462E19188A7}"/>
                </a:ext>
              </a:extLst>
            </p:cNvPr>
            <p:cNvSpPr>
              <a:spLocks noEditPoints="1"/>
            </p:cNvSpPr>
            <p:nvPr/>
          </p:nvSpPr>
          <p:spPr bwMode="gray">
            <a:xfrm>
              <a:off x="9777658" y="4433847"/>
              <a:ext cx="29129" cy="12437"/>
            </a:xfrm>
            <a:custGeom>
              <a:avLst/>
              <a:gdLst>
                <a:gd name="T0" fmla="*/ 14 w 89"/>
                <a:gd name="T1" fmla="*/ 0 h 38"/>
                <a:gd name="T2" fmla="*/ 35 w 89"/>
                <a:gd name="T3" fmla="*/ 0 h 38"/>
                <a:gd name="T4" fmla="*/ 42 w 89"/>
                <a:gd name="T5" fmla="*/ 16 h 38"/>
                <a:gd name="T6" fmla="*/ 35 w 89"/>
                <a:gd name="T7" fmla="*/ 26 h 38"/>
                <a:gd name="T8" fmla="*/ 14 w 89"/>
                <a:gd name="T9" fmla="*/ 26 h 38"/>
                <a:gd name="T10" fmla="*/ 0 w 89"/>
                <a:gd name="T11" fmla="*/ 0 h 38"/>
                <a:gd name="T12" fmla="*/ 14 w 89"/>
                <a:gd name="T13" fmla="*/ 0 h 38"/>
                <a:gd name="T14" fmla="*/ 14 w 89"/>
                <a:gd name="T15" fmla="*/ 0 h 38"/>
                <a:gd name="T16" fmla="*/ 14 w 89"/>
                <a:gd name="T17" fmla="*/ 0 h 38"/>
                <a:gd name="T18" fmla="*/ 89 w 89"/>
                <a:gd name="T19" fmla="*/ 38 h 38"/>
                <a:gd name="T20" fmla="*/ 56 w 89"/>
                <a:gd name="T21" fmla="*/ 38 h 38"/>
                <a:gd name="T22" fmla="*/ 52 w 89"/>
                <a:gd name="T23" fmla="*/ 33 h 38"/>
                <a:gd name="T24" fmla="*/ 68 w 89"/>
                <a:gd name="T25" fmla="*/ 26 h 38"/>
                <a:gd name="T26" fmla="*/ 89 w 89"/>
                <a:gd name="T27" fmla="*/ 38 h 38"/>
                <a:gd name="T28" fmla="*/ 89 w 89"/>
                <a:gd name="T29" fmla="*/ 38 h 38"/>
                <a:gd name="T30" fmla="*/ 89 w 89"/>
                <a:gd name="T31" fmla="*/ 38 h 38"/>
                <a:gd name="T32" fmla="*/ 89 w 89"/>
                <a:gd name="T3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38">
                  <a:moveTo>
                    <a:pt x="14" y="0"/>
                  </a:moveTo>
                  <a:lnTo>
                    <a:pt x="35" y="0"/>
                  </a:lnTo>
                  <a:lnTo>
                    <a:pt x="42" y="16"/>
                  </a:lnTo>
                  <a:lnTo>
                    <a:pt x="35" y="26"/>
                  </a:lnTo>
                  <a:lnTo>
                    <a:pt x="14" y="26"/>
                  </a:lnTo>
                  <a:lnTo>
                    <a:pt x="0" y="0"/>
                  </a:lnTo>
                  <a:lnTo>
                    <a:pt x="14" y="0"/>
                  </a:lnTo>
                  <a:lnTo>
                    <a:pt x="14" y="0"/>
                  </a:lnTo>
                  <a:lnTo>
                    <a:pt x="14" y="0"/>
                  </a:lnTo>
                  <a:close/>
                  <a:moveTo>
                    <a:pt x="89" y="38"/>
                  </a:moveTo>
                  <a:lnTo>
                    <a:pt x="56" y="38"/>
                  </a:lnTo>
                  <a:lnTo>
                    <a:pt x="52" y="33"/>
                  </a:lnTo>
                  <a:lnTo>
                    <a:pt x="68" y="26"/>
                  </a:lnTo>
                  <a:lnTo>
                    <a:pt x="89" y="38"/>
                  </a:lnTo>
                  <a:lnTo>
                    <a:pt x="89" y="38"/>
                  </a:lnTo>
                  <a:lnTo>
                    <a:pt x="89" y="38"/>
                  </a:lnTo>
                  <a:lnTo>
                    <a:pt x="89" y="38"/>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2" name="Freeform 594">
              <a:extLst>
                <a:ext uri="{FF2B5EF4-FFF2-40B4-BE49-F238E27FC236}">
                  <a16:creationId xmlns:a16="http://schemas.microsoft.com/office/drawing/2014/main" id="{1747C5D2-42A2-4A87-81E2-6A950F602B5F}"/>
                </a:ext>
              </a:extLst>
            </p:cNvPr>
            <p:cNvSpPr>
              <a:spLocks/>
            </p:cNvSpPr>
            <p:nvPr/>
          </p:nvSpPr>
          <p:spPr bwMode="gray">
            <a:xfrm>
              <a:off x="14451781" y="4735288"/>
              <a:ext cx="29457" cy="39603"/>
            </a:xfrm>
            <a:custGeom>
              <a:avLst/>
              <a:gdLst>
                <a:gd name="T0" fmla="*/ 5 w 90"/>
                <a:gd name="T1" fmla="*/ 76 h 121"/>
                <a:gd name="T2" fmla="*/ 0 w 90"/>
                <a:gd name="T3" fmla="*/ 76 h 121"/>
                <a:gd name="T4" fmla="*/ 0 w 90"/>
                <a:gd name="T5" fmla="*/ 50 h 121"/>
                <a:gd name="T6" fmla="*/ 21 w 90"/>
                <a:gd name="T7" fmla="*/ 17 h 121"/>
                <a:gd name="T8" fmla="*/ 36 w 90"/>
                <a:gd name="T9" fmla="*/ 0 h 121"/>
                <a:gd name="T10" fmla="*/ 43 w 90"/>
                <a:gd name="T11" fmla="*/ 0 h 121"/>
                <a:gd name="T12" fmla="*/ 73 w 90"/>
                <a:gd name="T13" fmla="*/ 17 h 121"/>
                <a:gd name="T14" fmla="*/ 85 w 90"/>
                <a:gd name="T15" fmla="*/ 17 h 121"/>
                <a:gd name="T16" fmla="*/ 90 w 90"/>
                <a:gd name="T17" fmla="*/ 33 h 121"/>
                <a:gd name="T18" fmla="*/ 90 w 90"/>
                <a:gd name="T19" fmla="*/ 87 h 121"/>
                <a:gd name="T20" fmla="*/ 85 w 90"/>
                <a:gd name="T21" fmla="*/ 76 h 121"/>
                <a:gd name="T22" fmla="*/ 85 w 90"/>
                <a:gd name="T23" fmla="*/ 121 h 121"/>
                <a:gd name="T24" fmla="*/ 52 w 90"/>
                <a:gd name="T25" fmla="*/ 121 h 121"/>
                <a:gd name="T26" fmla="*/ 21 w 90"/>
                <a:gd name="T27" fmla="*/ 109 h 121"/>
                <a:gd name="T28" fmla="*/ 5 w 90"/>
                <a:gd name="T29" fmla="*/ 76 h 121"/>
                <a:gd name="T30" fmla="*/ 5 w 90"/>
                <a:gd name="T31" fmla="*/ 76 h 121"/>
                <a:gd name="T32" fmla="*/ 5 w 90"/>
                <a:gd name="T33" fmla="*/ 7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21">
                  <a:moveTo>
                    <a:pt x="5" y="76"/>
                  </a:moveTo>
                  <a:lnTo>
                    <a:pt x="0" y="76"/>
                  </a:lnTo>
                  <a:lnTo>
                    <a:pt x="0" y="50"/>
                  </a:lnTo>
                  <a:lnTo>
                    <a:pt x="21" y="17"/>
                  </a:lnTo>
                  <a:lnTo>
                    <a:pt x="36" y="0"/>
                  </a:lnTo>
                  <a:lnTo>
                    <a:pt x="43" y="0"/>
                  </a:lnTo>
                  <a:lnTo>
                    <a:pt x="73" y="17"/>
                  </a:lnTo>
                  <a:lnTo>
                    <a:pt x="85" y="17"/>
                  </a:lnTo>
                  <a:lnTo>
                    <a:pt x="90" y="33"/>
                  </a:lnTo>
                  <a:lnTo>
                    <a:pt x="90" y="87"/>
                  </a:lnTo>
                  <a:lnTo>
                    <a:pt x="85" y="76"/>
                  </a:lnTo>
                  <a:lnTo>
                    <a:pt x="85" y="121"/>
                  </a:lnTo>
                  <a:lnTo>
                    <a:pt x="52" y="121"/>
                  </a:lnTo>
                  <a:lnTo>
                    <a:pt x="21" y="109"/>
                  </a:lnTo>
                  <a:lnTo>
                    <a:pt x="5" y="76"/>
                  </a:lnTo>
                  <a:lnTo>
                    <a:pt x="5" y="76"/>
                  </a:lnTo>
                  <a:lnTo>
                    <a:pt x="5" y="76"/>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3" name="Freeform 595">
              <a:extLst>
                <a:ext uri="{FF2B5EF4-FFF2-40B4-BE49-F238E27FC236}">
                  <a16:creationId xmlns:a16="http://schemas.microsoft.com/office/drawing/2014/main" id="{06C8A191-1C52-4C1B-947C-4F751A0FBDBB}"/>
                </a:ext>
              </a:extLst>
            </p:cNvPr>
            <p:cNvSpPr>
              <a:spLocks noEditPoints="1"/>
            </p:cNvSpPr>
            <p:nvPr/>
          </p:nvSpPr>
          <p:spPr bwMode="gray">
            <a:xfrm>
              <a:off x="14724092" y="3660773"/>
              <a:ext cx="269692" cy="167576"/>
            </a:xfrm>
            <a:custGeom>
              <a:avLst/>
              <a:gdLst>
                <a:gd name="T0" fmla="*/ 21 w 824"/>
                <a:gd name="T1" fmla="*/ 184 h 512"/>
                <a:gd name="T2" fmla="*/ 38 w 824"/>
                <a:gd name="T3" fmla="*/ 179 h 512"/>
                <a:gd name="T4" fmla="*/ 38 w 824"/>
                <a:gd name="T5" fmla="*/ 123 h 512"/>
                <a:gd name="T6" fmla="*/ 63 w 824"/>
                <a:gd name="T7" fmla="*/ 111 h 512"/>
                <a:gd name="T8" fmla="*/ 123 w 824"/>
                <a:gd name="T9" fmla="*/ 123 h 512"/>
                <a:gd name="T10" fmla="*/ 252 w 824"/>
                <a:gd name="T11" fmla="*/ 250 h 512"/>
                <a:gd name="T12" fmla="*/ 656 w 824"/>
                <a:gd name="T13" fmla="*/ 0 h 512"/>
                <a:gd name="T14" fmla="*/ 694 w 824"/>
                <a:gd name="T15" fmla="*/ 196 h 512"/>
                <a:gd name="T16" fmla="*/ 661 w 824"/>
                <a:gd name="T17" fmla="*/ 222 h 512"/>
                <a:gd name="T18" fmla="*/ 602 w 824"/>
                <a:gd name="T19" fmla="*/ 278 h 512"/>
                <a:gd name="T20" fmla="*/ 522 w 824"/>
                <a:gd name="T21" fmla="*/ 311 h 512"/>
                <a:gd name="T22" fmla="*/ 446 w 824"/>
                <a:gd name="T23" fmla="*/ 333 h 512"/>
                <a:gd name="T24" fmla="*/ 425 w 824"/>
                <a:gd name="T25" fmla="*/ 366 h 512"/>
                <a:gd name="T26" fmla="*/ 371 w 824"/>
                <a:gd name="T27" fmla="*/ 366 h 512"/>
                <a:gd name="T28" fmla="*/ 281 w 824"/>
                <a:gd name="T29" fmla="*/ 418 h 512"/>
                <a:gd name="T30" fmla="*/ 193 w 824"/>
                <a:gd name="T31" fmla="*/ 439 h 512"/>
                <a:gd name="T32" fmla="*/ 172 w 824"/>
                <a:gd name="T33" fmla="*/ 460 h 512"/>
                <a:gd name="T34" fmla="*/ 160 w 824"/>
                <a:gd name="T35" fmla="*/ 456 h 512"/>
                <a:gd name="T36" fmla="*/ 156 w 824"/>
                <a:gd name="T37" fmla="*/ 460 h 512"/>
                <a:gd name="T38" fmla="*/ 118 w 824"/>
                <a:gd name="T39" fmla="*/ 472 h 512"/>
                <a:gd name="T40" fmla="*/ 63 w 824"/>
                <a:gd name="T41" fmla="*/ 460 h 512"/>
                <a:gd name="T42" fmla="*/ 54 w 824"/>
                <a:gd name="T43" fmla="*/ 456 h 512"/>
                <a:gd name="T44" fmla="*/ 38 w 824"/>
                <a:gd name="T45" fmla="*/ 389 h 512"/>
                <a:gd name="T46" fmla="*/ 16 w 824"/>
                <a:gd name="T47" fmla="*/ 307 h 512"/>
                <a:gd name="T48" fmla="*/ 0 w 824"/>
                <a:gd name="T49" fmla="*/ 278 h 512"/>
                <a:gd name="T50" fmla="*/ 12 w 824"/>
                <a:gd name="T51" fmla="*/ 278 h 512"/>
                <a:gd name="T52" fmla="*/ 12 w 824"/>
                <a:gd name="T53" fmla="*/ 234 h 512"/>
                <a:gd name="T54" fmla="*/ 12 w 824"/>
                <a:gd name="T55" fmla="*/ 196 h 512"/>
                <a:gd name="T56" fmla="*/ 12 w 824"/>
                <a:gd name="T57" fmla="*/ 378 h 512"/>
                <a:gd name="T58" fmla="*/ 12 w 824"/>
                <a:gd name="T59" fmla="*/ 366 h 512"/>
                <a:gd name="T60" fmla="*/ 12 w 824"/>
                <a:gd name="T61" fmla="*/ 378 h 512"/>
                <a:gd name="T62" fmla="*/ 808 w 824"/>
                <a:gd name="T63" fmla="*/ 472 h 512"/>
                <a:gd name="T64" fmla="*/ 803 w 824"/>
                <a:gd name="T65" fmla="*/ 493 h 512"/>
                <a:gd name="T66" fmla="*/ 749 w 824"/>
                <a:gd name="T67" fmla="*/ 477 h 512"/>
                <a:gd name="T68" fmla="*/ 775 w 824"/>
                <a:gd name="T69" fmla="*/ 472 h 512"/>
                <a:gd name="T70" fmla="*/ 808 w 824"/>
                <a:gd name="T71" fmla="*/ 472 h 512"/>
                <a:gd name="T72" fmla="*/ 808 w 824"/>
                <a:gd name="T73" fmla="*/ 472 h 512"/>
                <a:gd name="T74" fmla="*/ 656 w 824"/>
                <a:gd name="T75" fmla="*/ 500 h 512"/>
                <a:gd name="T76" fmla="*/ 678 w 824"/>
                <a:gd name="T77" fmla="*/ 512 h 512"/>
                <a:gd name="T78" fmla="*/ 678 w 824"/>
                <a:gd name="T79"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24" h="512">
                  <a:moveTo>
                    <a:pt x="12" y="196"/>
                  </a:moveTo>
                  <a:lnTo>
                    <a:pt x="21" y="184"/>
                  </a:lnTo>
                  <a:lnTo>
                    <a:pt x="33" y="179"/>
                  </a:lnTo>
                  <a:lnTo>
                    <a:pt x="38" y="179"/>
                  </a:lnTo>
                  <a:lnTo>
                    <a:pt x="33" y="156"/>
                  </a:lnTo>
                  <a:lnTo>
                    <a:pt x="38" y="123"/>
                  </a:lnTo>
                  <a:lnTo>
                    <a:pt x="49" y="111"/>
                  </a:lnTo>
                  <a:lnTo>
                    <a:pt x="63" y="111"/>
                  </a:lnTo>
                  <a:lnTo>
                    <a:pt x="87" y="127"/>
                  </a:lnTo>
                  <a:lnTo>
                    <a:pt x="123" y="123"/>
                  </a:lnTo>
                  <a:lnTo>
                    <a:pt x="252" y="179"/>
                  </a:lnTo>
                  <a:lnTo>
                    <a:pt x="252" y="250"/>
                  </a:lnTo>
                  <a:lnTo>
                    <a:pt x="425" y="56"/>
                  </a:lnTo>
                  <a:lnTo>
                    <a:pt x="656" y="0"/>
                  </a:lnTo>
                  <a:lnTo>
                    <a:pt x="732" y="179"/>
                  </a:lnTo>
                  <a:lnTo>
                    <a:pt x="694" y="196"/>
                  </a:lnTo>
                  <a:lnTo>
                    <a:pt x="668" y="200"/>
                  </a:lnTo>
                  <a:lnTo>
                    <a:pt x="661" y="222"/>
                  </a:lnTo>
                  <a:lnTo>
                    <a:pt x="661" y="255"/>
                  </a:lnTo>
                  <a:lnTo>
                    <a:pt x="602" y="278"/>
                  </a:lnTo>
                  <a:lnTo>
                    <a:pt x="550" y="295"/>
                  </a:lnTo>
                  <a:lnTo>
                    <a:pt x="522" y="311"/>
                  </a:lnTo>
                  <a:lnTo>
                    <a:pt x="505" y="311"/>
                  </a:lnTo>
                  <a:lnTo>
                    <a:pt x="446" y="333"/>
                  </a:lnTo>
                  <a:lnTo>
                    <a:pt x="441" y="349"/>
                  </a:lnTo>
                  <a:lnTo>
                    <a:pt x="425" y="366"/>
                  </a:lnTo>
                  <a:lnTo>
                    <a:pt x="392" y="378"/>
                  </a:lnTo>
                  <a:lnTo>
                    <a:pt x="371" y="366"/>
                  </a:lnTo>
                  <a:lnTo>
                    <a:pt x="333" y="401"/>
                  </a:lnTo>
                  <a:lnTo>
                    <a:pt x="281" y="418"/>
                  </a:lnTo>
                  <a:lnTo>
                    <a:pt x="210" y="423"/>
                  </a:lnTo>
                  <a:lnTo>
                    <a:pt x="193" y="439"/>
                  </a:lnTo>
                  <a:lnTo>
                    <a:pt x="172" y="444"/>
                  </a:lnTo>
                  <a:lnTo>
                    <a:pt x="172" y="460"/>
                  </a:lnTo>
                  <a:lnTo>
                    <a:pt x="160" y="460"/>
                  </a:lnTo>
                  <a:lnTo>
                    <a:pt x="160" y="456"/>
                  </a:lnTo>
                  <a:lnTo>
                    <a:pt x="156" y="460"/>
                  </a:lnTo>
                  <a:lnTo>
                    <a:pt x="156" y="460"/>
                  </a:lnTo>
                  <a:lnTo>
                    <a:pt x="130" y="456"/>
                  </a:lnTo>
                  <a:lnTo>
                    <a:pt x="118" y="472"/>
                  </a:lnTo>
                  <a:lnTo>
                    <a:pt x="92" y="477"/>
                  </a:lnTo>
                  <a:lnTo>
                    <a:pt x="63" y="460"/>
                  </a:lnTo>
                  <a:lnTo>
                    <a:pt x="54" y="472"/>
                  </a:lnTo>
                  <a:lnTo>
                    <a:pt x="54" y="456"/>
                  </a:lnTo>
                  <a:lnTo>
                    <a:pt x="38" y="434"/>
                  </a:lnTo>
                  <a:lnTo>
                    <a:pt x="38" y="389"/>
                  </a:lnTo>
                  <a:lnTo>
                    <a:pt x="33" y="378"/>
                  </a:lnTo>
                  <a:lnTo>
                    <a:pt x="16" y="307"/>
                  </a:lnTo>
                  <a:lnTo>
                    <a:pt x="16" y="290"/>
                  </a:lnTo>
                  <a:lnTo>
                    <a:pt x="0" y="278"/>
                  </a:lnTo>
                  <a:lnTo>
                    <a:pt x="0" y="271"/>
                  </a:lnTo>
                  <a:lnTo>
                    <a:pt x="12" y="278"/>
                  </a:lnTo>
                  <a:lnTo>
                    <a:pt x="0" y="250"/>
                  </a:lnTo>
                  <a:lnTo>
                    <a:pt x="12" y="234"/>
                  </a:lnTo>
                  <a:lnTo>
                    <a:pt x="12" y="196"/>
                  </a:lnTo>
                  <a:lnTo>
                    <a:pt x="12" y="196"/>
                  </a:lnTo>
                  <a:lnTo>
                    <a:pt x="12" y="196"/>
                  </a:lnTo>
                  <a:close/>
                  <a:moveTo>
                    <a:pt x="12" y="378"/>
                  </a:moveTo>
                  <a:lnTo>
                    <a:pt x="0" y="366"/>
                  </a:lnTo>
                  <a:lnTo>
                    <a:pt x="12" y="366"/>
                  </a:lnTo>
                  <a:lnTo>
                    <a:pt x="12" y="378"/>
                  </a:lnTo>
                  <a:lnTo>
                    <a:pt x="12" y="378"/>
                  </a:lnTo>
                  <a:lnTo>
                    <a:pt x="12" y="378"/>
                  </a:lnTo>
                  <a:close/>
                  <a:moveTo>
                    <a:pt x="808" y="472"/>
                  </a:moveTo>
                  <a:lnTo>
                    <a:pt x="824" y="477"/>
                  </a:lnTo>
                  <a:lnTo>
                    <a:pt x="803" y="493"/>
                  </a:lnTo>
                  <a:lnTo>
                    <a:pt x="770" y="493"/>
                  </a:lnTo>
                  <a:lnTo>
                    <a:pt x="749" y="477"/>
                  </a:lnTo>
                  <a:lnTo>
                    <a:pt x="753" y="460"/>
                  </a:lnTo>
                  <a:lnTo>
                    <a:pt x="775" y="472"/>
                  </a:lnTo>
                  <a:lnTo>
                    <a:pt x="803" y="472"/>
                  </a:lnTo>
                  <a:lnTo>
                    <a:pt x="808" y="472"/>
                  </a:lnTo>
                  <a:lnTo>
                    <a:pt x="808" y="472"/>
                  </a:lnTo>
                  <a:lnTo>
                    <a:pt x="808" y="472"/>
                  </a:lnTo>
                  <a:close/>
                  <a:moveTo>
                    <a:pt x="678" y="512"/>
                  </a:moveTo>
                  <a:lnTo>
                    <a:pt x="656" y="500"/>
                  </a:lnTo>
                  <a:lnTo>
                    <a:pt x="678" y="500"/>
                  </a:lnTo>
                  <a:lnTo>
                    <a:pt x="678" y="512"/>
                  </a:lnTo>
                  <a:lnTo>
                    <a:pt x="678" y="512"/>
                  </a:lnTo>
                  <a:lnTo>
                    <a:pt x="678" y="512"/>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4" name="Freeform 596">
              <a:extLst>
                <a:ext uri="{FF2B5EF4-FFF2-40B4-BE49-F238E27FC236}">
                  <a16:creationId xmlns:a16="http://schemas.microsoft.com/office/drawing/2014/main" id="{FFEE57CE-63CD-4577-8E7E-B0DD219753D8}"/>
                </a:ext>
              </a:extLst>
            </p:cNvPr>
            <p:cNvSpPr>
              <a:spLocks/>
            </p:cNvSpPr>
            <p:nvPr/>
          </p:nvSpPr>
          <p:spPr bwMode="gray">
            <a:xfrm>
              <a:off x="14250821" y="4306856"/>
              <a:ext cx="266747" cy="238927"/>
            </a:xfrm>
            <a:custGeom>
              <a:avLst/>
              <a:gdLst>
                <a:gd name="T0" fmla="*/ 593 w 815"/>
                <a:gd name="T1" fmla="*/ 548 h 730"/>
                <a:gd name="T2" fmla="*/ 487 w 815"/>
                <a:gd name="T3" fmla="*/ 570 h 730"/>
                <a:gd name="T4" fmla="*/ 404 w 815"/>
                <a:gd name="T5" fmla="*/ 641 h 730"/>
                <a:gd name="T6" fmla="*/ 350 w 815"/>
                <a:gd name="T7" fmla="*/ 719 h 730"/>
                <a:gd name="T8" fmla="*/ 291 w 815"/>
                <a:gd name="T9" fmla="*/ 714 h 730"/>
                <a:gd name="T10" fmla="*/ 260 w 815"/>
                <a:gd name="T11" fmla="*/ 702 h 730"/>
                <a:gd name="T12" fmla="*/ 227 w 815"/>
                <a:gd name="T13" fmla="*/ 702 h 730"/>
                <a:gd name="T14" fmla="*/ 184 w 815"/>
                <a:gd name="T15" fmla="*/ 681 h 730"/>
                <a:gd name="T16" fmla="*/ 97 w 815"/>
                <a:gd name="T17" fmla="*/ 697 h 730"/>
                <a:gd name="T18" fmla="*/ 5 w 815"/>
                <a:gd name="T19" fmla="*/ 608 h 730"/>
                <a:gd name="T20" fmla="*/ 0 w 815"/>
                <a:gd name="T21" fmla="*/ 348 h 730"/>
                <a:gd name="T22" fmla="*/ 130 w 815"/>
                <a:gd name="T23" fmla="*/ 331 h 730"/>
                <a:gd name="T24" fmla="*/ 135 w 815"/>
                <a:gd name="T25" fmla="*/ 293 h 730"/>
                <a:gd name="T26" fmla="*/ 147 w 815"/>
                <a:gd name="T27" fmla="*/ 239 h 730"/>
                <a:gd name="T28" fmla="*/ 168 w 815"/>
                <a:gd name="T29" fmla="*/ 215 h 730"/>
                <a:gd name="T30" fmla="*/ 168 w 815"/>
                <a:gd name="T31" fmla="*/ 239 h 730"/>
                <a:gd name="T32" fmla="*/ 227 w 815"/>
                <a:gd name="T33" fmla="*/ 222 h 730"/>
                <a:gd name="T34" fmla="*/ 236 w 815"/>
                <a:gd name="T35" fmla="*/ 256 h 730"/>
                <a:gd name="T36" fmla="*/ 335 w 815"/>
                <a:gd name="T37" fmla="*/ 277 h 730"/>
                <a:gd name="T38" fmla="*/ 350 w 815"/>
                <a:gd name="T39" fmla="*/ 256 h 730"/>
                <a:gd name="T40" fmla="*/ 366 w 815"/>
                <a:gd name="T41" fmla="*/ 260 h 730"/>
                <a:gd name="T42" fmla="*/ 387 w 815"/>
                <a:gd name="T43" fmla="*/ 305 h 730"/>
                <a:gd name="T44" fmla="*/ 454 w 815"/>
                <a:gd name="T45" fmla="*/ 315 h 730"/>
                <a:gd name="T46" fmla="*/ 470 w 815"/>
                <a:gd name="T47" fmla="*/ 348 h 730"/>
                <a:gd name="T48" fmla="*/ 496 w 815"/>
                <a:gd name="T49" fmla="*/ 381 h 730"/>
                <a:gd name="T50" fmla="*/ 539 w 815"/>
                <a:gd name="T51" fmla="*/ 371 h 730"/>
                <a:gd name="T52" fmla="*/ 546 w 815"/>
                <a:gd name="T53" fmla="*/ 388 h 730"/>
                <a:gd name="T54" fmla="*/ 524 w 815"/>
                <a:gd name="T55" fmla="*/ 293 h 730"/>
                <a:gd name="T56" fmla="*/ 508 w 815"/>
                <a:gd name="T57" fmla="*/ 310 h 730"/>
                <a:gd name="T58" fmla="*/ 475 w 815"/>
                <a:gd name="T59" fmla="*/ 289 h 730"/>
                <a:gd name="T60" fmla="*/ 442 w 815"/>
                <a:gd name="T61" fmla="*/ 248 h 730"/>
                <a:gd name="T62" fmla="*/ 470 w 815"/>
                <a:gd name="T63" fmla="*/ 182 h 730"/>
                <a:gd name="T64" fmla="*/ 470 w 815"/>
                <a:gd name="T65" fmla="*/ 121 h 730"/>
                <a:gd name="T66" fmla="*/ 442 w 815"/>
                <a:gd name="T67" fmla="*/ 83 h 730"/>
                <a:gd name="T68" fmla="*/ 487 w 815"/>
                <a:gd name="T69" fmla="*/ 38 h 730"/>
                <a:gd name="T70" fmla="*/ 614 w 815"/>
                <a:gd name="T71" fmla="*/ 0 h 730"/>
                <a:gd name="T72" fmla="*/ 659 w 815"/>
                <a:gd name="T73" fmla="*/ 34 h 730"/>
                <a:gd name="T74" fmla="*/ 702 w 815"/>
                <a:gd name="T75" fmla="*/ 55 h 730"/>
                <a:gd name="T76" fmla="*/ 728 w 815"/>
                <a:gd name="T77" fmla="*/ 71 h 730"/>
                <a:gd name="T78" fmla="*/ 761 w 815"/>
                <a:gd name="T79" fmla="*/ 88 h 730"/>
                <a:gd name="T80" fmla="*/ 782 w 815"/>
                <a:gd name="T81" fmla="*/ 104 h 730"/>
                <a:gd name="T82" fmla="*/ 794 w 815"/>
                <a:gd name="T83" fmla="*/ 140 h 730"/>
                <a:gd name="T84" fmla="*/ 810 w 815"/>
                <a:gd name="T85" fmla="*/ 161 h 730"/>
                <a:gd name="T86" fmla="*/ 810 w 815"/>
                <a:gd name="T87" fmla="*/ 194 h 730"/>
                <a:gd name="T88" fmla="*/ 798 w 815"/>
                <a:gd name="T89" fmla="*/ 215 h 730"/>
                <a:gd name="T90" fmla="*/ 794 w 815"/>
                <a:gd name="T91" fmla="*/ 260 h 730"/>
                <a:gd name="T92" fmla="*/ 794 w 815"/>
                <a:gd name="T93" fmla="*/ 305 h 730"/>
                <a:gd name="T94" fmla="*/ 794 w 815"/>
                <a:gd name="T95" fmla="*/ 315 h 730"/>
                <a:gd name="T96" fmla="*/ 765 w 815"/>
                <a:gd name="T97" fmla="*/ 331 h 730"/>
                <a:gd name="T98" fmla="*/ 761 w 815"/>
                <a:gd name="T99" fmla="*/ 381 h 730"/>
                <a:gd name="T100" fmla="*/ 765 w 815"/>
                <a:gd name="T101" fmla="*/ 421 h 730"/>
                <a:gd name="T102" fmla="*/ 777 w 815"/>
                <a:gd name="T103" fmla="*/ 421 h 730"/>
                <a:gd name="T104" fmla="*/ 576 w 815"/>
                <a:gd name="T105" fmla="*/ 499 h 730"/>
                <a:gd name="T106" fmla="*/ 576 w 815"/>
                <a:gd name="T107" fmla="*/ 499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5" h="730">
                  <a:moveTo>
                    <a:pt x="576" y="499"/>
                  </a:moveTo>
                  <a:lnTo>
                    <a:pt x="593" y="548"/>
                  </a:lnTo>
                  <a:lnTo>
                    <a:pt x="529" y="548"/>
                  </a:lnTo>
                  <a:lnTo>
                    <a:pt x="487" y="570"/>
                  </a:lnTo>
                  <a:lnTo>
                    <a:pt x="470" y="608"/>
                  </a:lnTo>
                  <a:lnTo>
                    <a:pt x="404" y="641"/>
                  </a:lnTo>
                  <a:lnTo>
                    <a:pt x="387" y="674"/>
                  </a:lnTo>
                  <a:lnTo>
                    <a:pt x="350" y="719"/>
                  </a:lnTo>
                  <a:lnTo>
                    <a:pt x="328" y="730"/>
                  </a:lnTo>
                  <a:lnTo>
                    <a:pt x="291" y="714"/>
                  </a:lnTo>
                  <a:lnTo>
                    <a:pt x="274" y="719"/>
                  </a:lnTo>
                  <a:lnTo>
                    <a:pt x="260" y="702"/>
                  </a:lnTo>
                  <a:lnTo>
                    <a:pt x="243" y="714"/>
                  </a:lnTo>
                  <a:lnTo>
                    <a:pt x="227" y="702"/>
                  </a:lnTo>
                  <a:lnTo>
                    <a:pt x="206" y="690"/>
                  </a:lnTo>
                  <a:lnTo>
                    <a:pt x="184" y="681"/>
                  </a:lnTo>
                  <a:lnTo>
                    <a:pt x="151" y="681"/>
                  </a:lnTo>
                  <a:lnTo>
                    <a:pt x="97" y="697"/>
                  </a:lnTo>
                  <a:lnTo>
                    <a:pt x="80" y="681"/>
                  </a:lnTo>
                  <a:lnTo>
                    <a:pt x="5" y="608"/>
                  </a:lnTo>
                  <a:lnTo>
                    <a:pt x="0" y="586"/>
                  </a:lnTo>
                  <a:lnTo>
                    <a:pt x="0" y="348"/>
                  </a:lnTo>
                  <a:lnTo>
                    <a:pt x="135" y="359"/>
                  </a:lnTo>
                  <a:lnTo>
                    <a:pt x="130" y="331"/>
                  </a:lnTo>
                  <a:lnTo>
                    <a:pt x="147" y="310"/>
                  </a:lnTo>
                  <a:lnTo>
                    <a:pt x="135" y="293"/>
                  </a:lnTo>
                  <a:lnTo>
                    <a:pt x="135" y="256"/>
                  </a:lnTo>
                  <a:lnTo>
                    <a:pt x="147" y="239"/>
                  </a:lnTo>
                  <a:lnTo>
                    <a:pt x="135" y="199"/>
                  </a:lnTo>
                  <a:lnTo>
                    <a:pt x="168" y="215"/>
                  </a:lnTo>
                  <a:lnTo>
                    <a:pt x="161" y="232"/>
                  </a:lnTo>
                  <a:lnTo>
                    <a:pt x="168" y="239"/>
                  </a:lnTo>
                  <a:lnTo>
                    <a:pt x="189" y="232"/>
                  </a:lnTo>
                  <a:lnTo>
                    <a:pt x="227" y="222"/>
                  </a:lnTo>
                  <a:lnTo>
                    <a:pt x="227" y="232"/>
                  </a:lnTo>
                  <a:lnTo>
                    <a:pt x="236" y="256"/>
                  </a:lnTo>
                  <a:lnTo>
                    <a:pt x="274" y="272"/>
                  </a:lnTo>
                  <a:lnTo>
                    <a:pt x="335" y="277"/>
                  </a:lnTo>
                  <a:lnTo>
                    <a:pt x="345" y="272"/>
                  </a:lnTo>
                  <a:lnTo>
                    <a:pt x="350" y="256"/>
                  </a:lnTo>
                  <a:lnTo>
                    <a:pt x="361" y="248"/>
                  </a:lnTo>
                  <a:lnTo>
                    <a:pt x="366" y="260"/>
                  </a:lnTo>
                  <a:lnTo>
                    <a:pt x="383" y="277"/>
                  </a:lnTo>
                  <a:lnTo>
                    <a:pt x="387" y="305"/>
                  </a:lnTo>
                  <a:lnTo>
                    <a:pt x="404" y="305"/>
                  </a:lnTo>
                  <a:lnTo>
                    <a:pt x="454" y="315"/>
                  </a:lnTo>
                  <a:lnTo>
                    <a:pt x="458" y="343"/>
                  </a:lnTo>
                  <a:lnTo>
                    <a:pt x="470" y="348"/>
                  </a:lnTo>
                  <a:lnTo>
                    <a:pt x="491" y="381"/>
                  </a:lnTo>
                  <a:lnTo>
                    <a:pt x="496" y="381"/>
                  </a:lnTo>
                  <a:lnTo>
                    <a:pt x="529" y="371"/>
                  </a:lnTo>
                  <a:lnTo>
                    <a:pt x="539" y="371"/>
                  </a:lnTo>
                  <a:lnTo>
                    <a:pt x="529" y="381"/>
                  </a:lnTo>
                  <a:lnTo>
                    <a:pt x="546" y="388"/>
                  </a:lnTo>
                  <a:lnTo>
                    <a:pt x="546" y="293"/>
                  </a:lnTo>
                  <a:lnTo>
                    <a:pt x="524" y="293"/>
                  </a:lnTo>
                  <a:lnTo>
                    <a:pt x="524" y="310"/>
                  </a:lnTo>
                  <a:lnTo>
                    <a:pt x="508" y="310"/>
                  </a:lnTo>
                  <a:lnTo>
                    <a:pt x="491" y="310"/>
                  </a:lnTo>
                  <a:lnTo>
                    <a:pt x="475" y="289"/>
                  </a:lnTo>
                  <a:lnTo>
                    <a:pt x="454" y="272"/>
                  </a:lnTo>
                  <a:lnTo>
                    <a:pt x="442" y="248"/>
                  </a:lnTo>
                  <a:lnTo>
                    <a:pt x="458" y="199"/>
                  </a:lnTo>
                  <a:lnTo>
                    <a:pt x="470" y="182"/>
                  </a:lnTo>
                  <a:lnTo>
                    <a:pt x="458" y="149"/>
                  </a:lnTo>
                  <a:lnTo>
                    <a:pt x="470" y="121"/>
                  </a:lnTo>
                  <a:lnTo>
                    <a:pt x="454" y="88"/>
                  </a:lnTo>
                  <a:lnTo>
                    <a:pt x="442" y="83"/>
                  </a:lnTo>
                  <a:lnTo>
                    <a:pt x="475" y="50"/>
                  </a:lnTo>
                  <a:lnTo>
                    <a:pt x="487" y="38"/>
                  </a:lnTo>
                  <a:lnTo>
                    <a:pt x="487" y="29"/>
                  </a:lnTo>
                  <a:lnTo>
                    <a:pt x="614" y="0"/>
                  </a:lnTo>
                  <a:lnTo>
                    <a:pt x="631" y="34"/>
                  </a:lnTo>
                  <a:lnTo>
                    <a:pt x="659" y="34"/>
                  </a:lnTo>
                  <a:lnTo>
                    <a:pt x="676" y="55"/>
                  </a:lnTo>
                  <a:lnTo>
                    <a:pt x="702" y="55"/>
                  </a:lnTo>
                  <a:lnTo>
                    <a:pt x="702" y="67"/>
                  </a:lnTo>
                  <a:lnTo>
                    <a:pt x="728" y="71"/>
                  </a:lnTo>
                  <a:lnTo>
                    <a:pt x="739" y="83"/>
                  </a:lnTo>
                  <a:lnTo>
                    <a:pt x="761" y="88"/>
                  </a:lnTo>
                  <a:lnTo>
                    <a:pt x="765" y="104"/>
                  </a:lnTo>
                  <a:lnTo>
                    <a:pt x="782" y="104"/>
                  </a:lnTo>
                  <a:lnTo>
                    <a:pt x="794" y="128"/>
                  </a:lnTo>
                  <a:lnTo>
                    <a:pt x="794" y="140"/>
                  </a:lnTo>
                  <a:lnTo>
                    <a:pt x="810" y="149"/>
                  </a:lnTo>
                  <a:lnTo>
                    <a:pt x="810" y="161"/>
                  </a:lnTo>
                  <a:lnTo>
                    <a:pt x="815" y="178"/>
                  </a:lnTo>
                  <a:lnTo>
                    <a:pt x="810" y="194"/>
                  </a:lnTo>
                  <a:lnTo>
                    <a:pt x="782" y="199"/>
                  </a:lnTo>
                  <a:lnTo>
                    <a:pt x="798" y="215"/>
                  </a:lnTo>
                  <a:lnTo>
                    <a:pt x="782" y="239"/>
                  </a:lnTo>
                  <a:lnTo>
                    <a:pt x="794" y="260"/>
                  </a:lnTo>
                  <a:lnTo>
                    <a:pt x="782" y="293"/>
                  </a:lnTo>
                  <a:lnTo>
                    <a:pt x="794" y="305"/>
                  </a:lnTo>
                  <a:lnTo>
                    <a:pt x="810" y="310"/>
                  </a:lnTo>
                  <a:lnTo>
                    <a:pt x="794" y="315"/>
                  </a:lnTo>
                  <a:lnTo>
                    <a:pt x="765" y="326"/>
                  </a:lnTo>
                  <a:lnTo>
                    <a:pt x="765" y="331"/>
                  </a:lnTo>
                  <a:lnTo>
                    <a:pt x="765" y="348"/>
                  </a:lnTo>
                  <a:lnTo>
                    <a:pt x="761" y="381"/>
                  </a:lnTo>
                  <a:lnTo>
                    <a:pt x="744" y="397"/>
                  </a:lnTo>
                  <a:lnTo>
                    <a:pt x="765" y="421"/>
                  </a:lnTo>
                  <a:lnTo>
                    <a:pt x="777" y="426"/>
                  </a:lnTo>
                  <a:lnTo>
                    <a:pt x="777" y="421"/>
                  </a:lnTo>
                  <a:lnTo>
                    <a:pt x="782" y="426"/>
                  </a:lnTo>
                  <a:lnTo>
                    <a:pt x="576" y="499"/>
                  </a:lnTo>
                  <a:lnTo>
                    <a:pt x="576" y="499"/>
                  </a:lnTo>
                  <a:lnTo>
                    <a:pt x="576" y="49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5" name="Freeform 597">
              <a:extLst>
                <a:ext uri="{FF2B5EF4-FFF2-40B4-BE49-F238E27FC236}">
                  <a16:creationId xmlns:a16="http://schemas.microsoft.com/office/drawing/2014/main" id="{65FA9528-7E83-4335-AA8D-2CF1028C335F}"/>
                </a:ext>
              </a:extLst>
            </p:cNvPr>
            <p:cNvSpPr>
              <a:spLocks/>
            </p:cNvSpPr>
            <p:nvPr/>
          </p:nvSpPr>
          <p:spPr bwMode="gray">
            <a:xfrm>
              <a:off x="14323480" y="4487197"/>
              <a:ext cx="181650" cy="163976"/>
            </a:xfrm>
            <a:custGeom>
              <a:avLst/>
              <a:gdLst>
                <a:gd name="T0" fmla="*/ 506 w 555"/>
                <a:gd name="T1" fmla="*/ 418 h 501"/>
                <a:gd name="T2" fmla="*/ 397 w 555"/>
                <a:gd name="T3" fmla="*/ 496 h 501"/>
                <a:gd name="T4" fmla="*/ 317 w 555"/>
                <a:gd name="T5" fmla="*/ 479 h 501"/>
                <a:gd name="T6" fmla="*/ 284 w 555"/>
                <a:gd name="T7" fmla="*/ 472 h 501"/>
                <a:gd name="T8" fmla="*/ 267 w 555"/>
                <a:gd name="T9" fmla="*/ 456 h 501"/>
                <a:gd name="T10" fmla="*/ 196 w 555"/>
                <a:gd name="T11" fmla="*/ 439 h 501"/>
                <a:gd name="T12" fmla="*/ 175 w 555"/>
                <a:gd name="T13" fmla="*/ 364 h 501"/>
                <a:gd name="T14" fmla="*/ 137 w 555"/>
                <a:gd name="T15" fmla="*/ 331 h 501"/>
                <a:gd name="T16" fmla="*/ 66 w 555"/>
                <a:gd name="T17" fmla="*/ 281 h 501"/>
                <a:gd name="T18" fmla="*/ 50 w 555"/>
                <a:gd name="T19" fmla="*/ 241 h 501"/>
                <a:gd name="T20" fmla="*/ 0 w 555"/>
                <a:gd name="T21" fmla="*/ 153 h 501"/>
                <a:gd name="T22" fmla="*/ 33 w 555"/>
                <a:gd name="T23" fmla="*/ 153 h 501"/>
                <a:gd name="T24" fmla="*/ 66 w 555"/>
                <a:gd name="T25" fmla="*/ 165 h 501"/>
                <a:gd name="T26" fmla="*/ 125 w 555"/>
                <a:gd name="T27" fmla="*/ 170 h 501"/>
                <a:gd name="T28" fmla="*/ 180 w 555"/>
                <a:gd name="T29" fmla="*/ 92 h 501"/>
                <a:gd name="T30" fmla="*/ 262 w 555"/>
                <a:gd name="T31" fmla="*/ 21 h 501"/>
                <a:gd name="T32" fmla="*/ 371 w 555"/>
                <a:gd name="T33" fmla="*/ 0 h 501"/>
                <a:gd name="T34" fmla="*/ 423 w 555"/>
                <a:gd name="T35" fmla="*/ 21 h 501"/>
                <a:gd name="T36" fmla="*/ 451 w 555"/>
                <a:gd name="T37" fmla="*/ 38 h 501"/>
                <a:gd name="T38" fmla="*/ 501 w 555"/>
                <a:gd name="T39" fmla="*/ 59 h 501"/>
                <a:gd name="T40" fmla="*/ 532 w 555"/>
                <a:gd name="T41" fmla="*/ 75 h 501"/>
                <a:gd name="T42" fmla="*/ 539 w 555"/>
                <a:gd name="T43" fmla="*/ 92 h 501"/>
                <a:gd name="T44" fmla="*/ 543 w 555"/>
                <a:gd name="T45" fmla="*/ 132 h 501"/>
                <a:gd name="T46" fmla="*/ 539 w 555"/>
                <a:gd name="T47" fmla="*/ 170 h 501"/>
                <a:gd name="T48" fmla="*/ 555 w 555"/>
                <a:gd name="T49" fmla="*/ 198 h 501"/>
                <a:gd name="T50" fmla="*/ 539 w 555"/>
                <a:gd name="T51" fmla="*/ 224 h 501"/>
                <a:gd name="T52" fmla="*/ 522 w 555"/>
                <a:gd name="T53" fmla="*/ 241 h 501"/>
                <a:gd name="T54" fmla="*/ 532 w 555"/>
                <a:gd name="T55" fmla="*/ 281 h 501"/>
                <a:gd name="T56" fmla="*/ 539 w 555"/>
                <a:gd name="T57" fmla="*/ 347 h 501"/>
                <a:gd name="T58" fmla="*/ 506 w 555"/>
                <a:gd name="T59" fmla="*/ 368 h 501"/>
                <a:gd name="T60" fmla="*/ 501 w 555"/>
                <a:gd name="T61" fmla="*/ 406 h 501"/>
                <a:gd name="T62" fmla="*/ 506 w 555"/>
                <a:gd name="T63" fmla="*/ 423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5" h="501">
                  <a:moveTo>
                    <a:pt x="506" y="423"/>
                  </a:moveTo>
                  <a:lnTo>
                    <a:pt x="506" y="418"/>
                  </a:lnTo>
                  <a:lnTo>
                    <a:pt x="430" y="501"/>
                  </a:lnTo>
                  <a:lnTo>
                    <a:pt x="397" y="496"/>
                  </a:lnTo>
                  <a:lnTo>
                    <a:pt x="359" y="496"/>
                  </a:lnTo>
                  <a:lnTo>
                    <a:pt x="317" y="479"/>
                  </a:lnTo>
                  <a:lnTo>
                    <a:pt x="288" y="489"/>
                  </a:lnTo>
                  <a:lnTo>
                    <a:pt x="284" y="472"/>
                  </a:lnTo>
                  <a:lnTo>
                    <a:pt x="267" y="472"/>
                  </a:lnTo>
                  <a:lnTo>
                    <a:pt x="267" y="456"/>
                  </a:lnTo>
                  <a:lnTo>
                    <a:pt x="234" y="439"/>
                  </a:lnTo>
                  <a:lnTo>
                    <a:pt x="196" y="439"/>
                  </a:lnTo>
                  <a:lnTo>
                    <a:pt x="175" y="401"/>
                  </a:lnTo>
                  <a:lnTo>
                    <a:pt x="175" y="364"/>
                  </a:lnTo>
                  <a:lnTo>
                    <a:pt x="142" y="364"/>
                  </a:lnTo>
                  <a:lnTo>
                    <a:pt x="137" y="331"/>
                  </a:lnTo>
                  <a:lnTo>
                    <a:pt x="104" y="314"/>
                  </a:lnTo>
                  <a:lnTo>
                    <a:pt x="66" y="281"/>
                  </a:lnTo>
                  <a:lnTo>
                    <a:pt x="50" y="253"/>
                  </a:lnTo>
                  <a:lnTo>
                    <a:pt x="50" y="241"/>
                  </a:lnTo>
                  <a:lnTo>
                    <a:pt x="0" y="182"/>
                  </a:lnTo>
                  <a:lnTo>
                    <a:pt x="0" y="153"/>
                  </a:lnTo>
                  <a:lnTo>
                    <a:pt x="17" y="165"/>
                  </a:lnTo>
                  <a:lnTo>
                    <a:pt x="33" y="153"/>
                  </a:lnTo>
                  <a:lnTo>
                    <a:pt x="50" y="170"/>
                  </a:lnTo>
                  <a:lnTo>
                    <a:pt x="66" y="165"/>
                  </a:lnTo>
                  <a:lnTo>
                    <a:pt x="104" y="182"/>
                  </a:lnTo>
                  <a:lnTo>
                    <a:pt x="125" y="170"/>
                  </a:lnTo>
                  <a:lnTo>
                    <a:pt x="163" y="125"/>
                  </a:lnTo>
                  <a:lnTo>
                    <a:pt x="180" y="92"/>
                  </a:lnTo>
                  <a:lnTo>
                    <a:pt x="246" y="59"/>
                  </a:lnTo>
                  <a:lnTo>
                    <a:pt x="262" y="21"/>
                  </a:lnTo>
                  <a:lnTo>
                    <a:pt x="305" y="0"/>
                  </a:lnTo>
                  <a:lnTo>
                    <a:pt x="371" y="0"/>
                  </a:lnTo>
                  <a:lnTo>
                    <a:pt x="371" y="21"/>
                  </a:lnTo>
                  <a:lnTo>
                    <a:pt x="423" y="21"/>
                  </a:lnTo>
                  <a:lnTo>
                    <a:pt x="435" y="38"/>
                  </a:lnTo>
                  <a:lnTo>
                    <a:pt x="451" y="38"/>
                  </a:lnTo>
                  <a:lnTo>
                    <a:pt x="468" y="54"/>
                  </a:lnTo>
                  <a:lnTo>
                    <a:pt x="501" y="59"/>
                  </a:lnTo>
                  <a:lnTo>
                    <a:pt x="522" y="71"/>
                  </a:lnTo>
                  <a:lnTo>
                    <a:pt x="532" y="75"/>
                  </a:lnTo>
                  <a:lnTo>
                    <a:pt x="543" y="75"/>
                  </a:lnTo>
                  <a:lnTo>
                    <a:pt x="539" y="92"/>
                  </a:lnTo>
                  <a:lnTo>
                    <a:pt x="543" y="125"/>
                  </a:lnTo>
                  <a:lnTo>
                    <a:pt x="543" y="132"/>
                  </a:lnTo>
                  <a:lnTo>
                    <a:pt x="543" y="142"/>
                  </a:lnTo>
                  <a:lnTo>
                    <a:pt x="539" y="170"/>
                  </a:lnTo>
                  <a:lnTo>
                    <a:pt x="543" y="186"/>
                  </a:lnTo>
                  <a:lnTo>
                    <a:pt x="555" y="198"/>
                  </a:lnTo>
                  <a:lnTo>
                    <a:pt x="539" y="208"/>
                  </a:lnTo>
                  <a:lnTo>
                    <a:pt x="539" y="224"/>
                  </a:lnTo>
                  <a:lnTo>
                    <a:pt x="522" y="236"/>
                  </a:lnTo>
                  <a:lnTo>
                    <a:pt x="522" y="241"/>
                  </a:lnTo>
                  <a:lnTo>
                    <a:pt x="539" y="253"/>
                  </a:lnTo>
                  <a:lnTo>
                    <a:pt x="532" y="281"/>
                  </a:lnTo>
                  <a:lnTo>
                    <a:pt x="555" y="307"/>
                  </a:lnTo>
                  <a:lnTo>
                    <a:pt x="539" y="347"/>
                  </a:lnTo>
                  <a:lnTo>
                    <a:pt x="522" y="364"/>
                  </a:lnTo>
                  <a:lnTo>
                    <a:pt x="506" y="368"/>
                  </a:lnTo>
                  <a:lnTo>
                    <a:pt x="517" y="385"/>
                  </a:lnTo>
                  <a:lnTo>
                    <a:pt x="501" y="406"/>
                  </a:lnTo>
                  <a:lnTo>
                    <a:pt x="506" y="423"/>
                  </a:lnTo>
                  <a:lnTo>
                    <a:pt x="506" y="423"/>
                  </a:lnTo>
                  <a:lnTo>
                    <a:pt x="506" y="423"/>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6" name="Freeform 598">
              <a:extLst>
                <a:ext uri="{FF2B5EF4-FFF2-40B4-BE49-F238E27FC236}">
                  <a16:creationId xmlns:a16="http://schemas.microsoft.com/office/drawing/2014/main" id="{E65A3272-5EDB-40B0-B2AB-E41835F1CE61}"/>
                </a:ext>
              </a:extLst>
            </p:cNvPr>
            <p:cNvSpPr>
              <a:spLocks/>
            </p:cNvSpPr>
            <p:nvPr/>
          </p:nvSpPr>
          <p:spPr bwMode="gray">
            <a:xfrm>
              <a:off x="14245584" y="3580912"/>
              <a:ext cx="384246" cy="327297"/>
            </a:xfrm>
            <a:custGeom>
              <a:avLst/>
              <a:gdLst>
                <a:gd name="T0" fmla="*/ 67 w 497"/>
                <a:gd name="T1" fmla="*/ 423 h 423"/>
                <a:gd name="T2" fmla="*/ 119 w 497"/>
                <a:gd name="T3" fmla="*/ 370 h 423"/>
                <a:gd name="T4" fmla="*/ 186 w 497"/>
                <a:gd name="T5" fmla="*/ 384 h 423"/>
                <a:gd name="T6" fmla="*/ 210 w 497"/>
                <a:gd name="T7" fmla="*/ 395 h 423"/>
                <a:gd name="T8" fmla="*/ 238 w 497"/>
                <a:gd name="T9" fmla="*/ 384 h 423"/>
                <a:gd name="T10" fmla="*/ 257 w 497"/>
                <a:gd name="T11" fmla="*/ 363 h 423"/>
                <a:gd name="T12" fmla="*/ 289 w 497"/>
                <a:gd name="T13" fmla="*/ 384 h 423"/>
                <a:gd name="T14" fmla="*/ 325 w 497"/>
                <a:gd name="T15" fmla="*/ 314 h 423"/>
                <a:gd name="T16" fmla="*/ 337 w 497"/>
                <a:gd name="T17" fmla="*/ 311 h 423"/>
                <a:gd name="T18" fmla="*/ 352 w 497"/>
                <a:gd name="T19" fmla="*/ 297 h 423"/>
                <a:gd name="T20" fmla="*/ 372 w 497"/>
                <a:gd name="T21" fmla="*/ 363 h 423"/>
                <a:gd name="T22" fmla="*/ 375 w 497"/>
                <a:gd name="T23" fmla="*/ 363 h 423"/>
                <a:gd name="T24" fmla="*/ 388 w 497"/>
                <a:gd name="T25" fmla="*/ 362 h 423"/>
                <a:gd name="T26" fmla="*/ 390 w 497"/>
                <a:gd name="T27" fmla="*/ 345 h 423"/>
                <a:gd name="T28" fmla="*/ 395 w 497"/>
                <a:gd name="T29" fmla="*/ 329 h 423"/>
                <a:gd name="T30" fmla="*/ 413 w 497"/>
                <a:gd name="T31" fmla="*/ 303 h 423"/>
                <a:gd name="T32" fmla="*/ 427 w 497"/>
                <a:gd name="T33" fmla="*/ 289 h 423"/>
                <a:gd name="T34" fmla="*/ 433 w 497"/>
                <a:gd name="T35" fmla="*/ 263 h 423"/>
                <a:gd name="T36" fmla="*/ 433 w 497"/>
                <a:gd name="T37" fmla="*/ 225 h 423"/>
                <a:gd name="T38" fmla="*/ 445 w 497"/>
                <a:gd name="T39" fmla="*/ 181 h 423"/>
                <a:gd name="T40" fmla="*/ 449 w 497"/>
                <a:gd name="T41" fmla="*/ 164 h 423"/>
                <a:gd name="T42" fmla="*/ 465 w 497"/>
                <a:gd name="T43" fmla="*/ 157 h 423"/>
                <a:gd name="T44" fmla="*/ 488 w 497"/>
                <a:gd name="T45" fmla="*/ 150 h 423"/>
                <a:gd name="T46" fmla="*/ 495 w 497"/>
                <a:gd name="T47" fmla="*/ 131 h 423"/>
                <a:gd name="T48" fmla="*/ 472 w 497"/>
                <a:gd name="T49" fmla="*/ 115 h 423"/>
                <a:gd name="T50" fmla="*/ 463 w 497"/>
                <a:gd name="T51" fmla="*/ 108 h 423"/>
                <a:gd name="T52" fmla="*/ 456 w 497"/>
                <a:gd name="T53" fmla="*/ 63 h 423"/>
                <a:gd name="T54" fmla="*/ 452 w 497"/>
                <a:gd name="T55" fmla="*/ 33 h 423"/>
                <a:gd name="T56" fmla="*/ 458 w 497"/>
                <a:gd name="T57" fmla="*/ 40 h 423"/>
                <a:gd name="T58" fmla="*/ 449 w 497"/>
                <a:gd name="T59" fmla="*/ 21 h 423"/>
                <a:gd name="T60" fmla="*/ 285 w 497"/>
                <a:gd name="T61" fmla="*/ 7 h 423"/>
                <a:gd name="T62" fmla="*/ 285 w 497"/>
                <a:gd name="T63" fmla="*/ 0 h 423"/>
                <a:gd name="T64" fmla="*/ 93 w 497"/>
                <a:gd name="T65" fmla="*/ 7 h 423"/>
                <a:gd name="T66" fmla="*/ 63 w 497"/>
                <a:gd name="T67" fmla="*/ 70 h 423"/>
                <a:gd name="T68" fmla="*/ 63 w 497"/>
                <a:gd name="T69" fmla="*/ 209 h 423"/>
                <a:gd name="T70" fmla="*/ 34 w 497"/>
                <a:gd name="T71" fmla="*/ 211 h 423"/>
                <a:gd name="T72" fmla="*/ 34 w 497"/>
                <a:gd name="T73" fmla="*/ 225 h 423"/>
                <a:gd name="T74" fmla="*/ 25 w 497"/>
                <a:gd name="T75" fmla="*/ 239 h 423"/>
                <a:gd name="T76" fmla="*/ 22 w 497"/>
                <a:gd name="T77" fmla="*/ 256 h 423"/>
                <a:gd name="T78" fmla="*/ 9 w 497"/>
                <a:gd name="T79" fmla="*/ 268 h 423"/>
                <a:gd name="T80" fmla="*/ 6 w 497"/>
                <a:gd name="T81" fmla="*/ 289 h 423"/>
                <a:gd name="T82" fmla="*/ 6 w 497"/>
                <a:gd name="T83" fmla="*/ 303 h 423"/>
                <a:gd name="T84" fmla="*/ 11 w 497"/>
                <a:gd name="T85" fmla="*/ 298 h 423"/>
                <a:gd name="T86" fmla="*/ 18 w 497"/>
                <a:gd name="T87" fmla="*/ 310 h 423"/>
                <a:gd name="T88" fmla="*/ 22 w 497"/>
                <a:gd name="T89" fmla="*/ 336 h 423"/>
                <a:gd name="T90" fmla="*/ 32 w 497"/>
                <a:gd name="T91" fmla="*/ 338 h 423"/>
                <a:gd name="T92" fmla="*/ 32 w 497"/>
                <a:gd name="T93" fmla="*/ 357 h 423"/>
                <a:gd name="T94" fmla="*/ 54 w 497"/>
                <a:gd name="T95" fmla="*/ 390 h 423"/>
                <a:gd name="T96" fmla="*/ 52 w 497"/>
                <a:gd name="T97" fmla="*/ 409 h 423"/>
                <a:gd name="T98" fmla="*/ 52 w 497"/>
                <a:gd name="T99" fmla="*/ 416 h 423"/>
                <a:gd name="T100" fmla="*/ 67 w 497"/>
                <a:gd name="T101"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7" h="423">
                  <a:moveTo>
                    <a:pt x="67" y="423"/>
                  </a:moveTo>
                  <a:cubicBezTo>
                    <a:pt x="67" y="423"/>
                    <a:pt x="67" y="423"/>
                    <a:pt x="67" y="423"/>
                  </a:cubicBezTo>
                  <a:cubicBezTo>
                    <a:pt x="67" y="423"/>
                    <a:pt x="67" y="423"/>
                    <a:pt x="95" y="367"/>
                  </a:cubicBezTo>
                  <a:cubicBezTo>
                    <a:pt x="95" y="367"/>
                    <a:pt x="95" y="367"/>
                    <a:pt x="119" y="370"/>
                  </a:cubicBezTo>
                  <a:cubicBezTo>
                    <a:pt x="119" y="370"/>
                    <a:pt x="119" y="370"/>
                    <a:pt x="135" y="391"/>
                  </a:cubicBezTo>
                  <a:cubicBezTo>
                    <a:pt x="135" y="391"/>
                    <a:pt x="135" y="391"/>
                    <a:pt x="186" y="384"/>
                  </a:cubicBezTo>
                  <a:cubicBezTo>
                    <a:pt x="186" y="384"/>
                    <a:pt x="186" y="384"/>
                    <a:pt x="186" y="395"/>
                  </a:cubicBezTo>
                  <a:cubicBezTo>
                    <a:pt x="186" y="395"/>
                    <a:pt x="186" y="395"/>
                    <a:pt x="210" y="395"/>
                  </a:cubicBezTo>
                  <a:cubicBezTo>
                    <a:pt x="210" y="395"/>
                    <a:pt x="210" y="395"/>
                    <a:pt x="222" y="384"/>
                  </a:cubicBezTo>
                  <a:cubicBezTo>
                    <a:pt x="222" y="384"/>
                    <a:pt x="222" y="384"/>
                    <a:pt x="238" y="384"/>
                  </a:cubicBezTo>
                  <a:cubicBezTo>
                    <a:pt x="238" y="384"/>
                    <a:pt x="238" y="384"/>
                    <a:pt x="238" y="370"/>
                  </a:cubicBezTo>
                  <a:cubicBezTo>
                    <a:pt x="238" y="370"/>
                    <a:pt x="238" y="370"/>
                    <a:pt x="257" y="363"/>
                  </a:cubicBezTo>
                  <a:cubicBezTo>
                    <a:pt x="257" y="363"/>
                    <a:pt x="257" y="363"/>
                    <a:pt x="281" y="384"/>
                  </a:cubicBezTo>
                  <a:cubicBezTo>
                    <a:pt x="281" y="384"/>
                    <a:pt x="281" y="384"/>
                    <a:pt x="289" y="384"/>
                  </a:cubicBezTo>
                  <a:cubicBezTo>
                    <a:pt x="289" y="384"/>
                    <a:pt x="289" y="384"/>
                    <a:pt x="325" y="342"/>
                  </a:cubicBezTo>
                  <a:cubicBezTo>
                    <a:pt x="325" y="342"/>
                    <a:pt x="325" y="342"/>
                    <a:pt x="325" y="314"/>
                  </a:cubicBezTo>
                  <a:cubicBezTo>
                    <a:pt x="325" y="314"/>
                    <a:pt x="325" y="314"/>
                    <a:pt x="321" y="314"/>
                  </a:cubicBezTo>
                  <a:cubicBezTo>
                    <a:pt x="321" y="314"/>
                    <a:pt x="321" y="314"/>
                    <a:pt x="337" y="311"/>
                  </a:cubicBezTo>
                  <a:cubicBezTo>
                    <a:pt x="337" y="311"/>
                    <a:pt x="337" y="311"/>
                    <a:pt x="337" y="297"/>
                  </a:cubicBezTo>
                  <a:cubicBezTo>
                    <a:pt x="337" y="297"/>
                    <a:pt x="337" y="297"/>
                    <a:pt x="352" y="297"/>
                  </a:cubicBezTo>
                  <a:cubicBezTo>
                    <a:pt x="352" y="297"/>
                    <a:pt x="352" y="297"/>
                    <a:pt x="352" y="360"/>
                  </a:cubicBezTo>
                  <a:cubicBezTo>
                    <a:pt x="372" y="363"/>
                    <a:pt x="372" y="363"/>
                    <a:pt x="372" y="363"/>
                  </a:cubicBezTo>
                  <a:cubicBezTo>
                    <a:pt x="372" y="363"/>
                    <a:pt x="372" y="363"/>
                    <a:pt x="372" y="364"/>
                  </a:cubicBezTo>
                  <a:cubicBezTo>
                    <a:pt x="375" y="363"/>
                    <a:pt x="375" y="363"/>
                    <a:pt x="375" y="363"/>
                  </a:cubicBezTo>
                  <a:cubicBezTo>
                    <a:pt x="381" y="357"/>
                    <a:pt x="381" y="357"/>
                    <a:pt x="381" y="357"/>
                  </a:cubicBezTo>
                  <a:cubicBezTo>
                    <a:pt x="388" y="362"/>
                    <a:pt x="388" y="362"/>
                    <a:pt x="388" y="362"/>
                  </a:cubicBezTo>
                  <a:cubicBezTo>
                    <a:pt x="390" y="357"/>
                    <a:pt x="390" y="357"/>
                    <a:pt x="390" y="357"/>
                  </a:cubicBezTo>
                  <a:cubicBezTo>
                    <a:pt x="390" y="345"/>
                    <a:pt x="390" y="345"/>
                    <a:pt x="390" y="345"/>
                  </a:cubicBezTo>
                  <a:cubicBezTo>
                    <a:pt x="395" y="336"/>
                    <a:pt x="395" y="336"/>
                    <a:pt x="395" y="336"/>
                  </a:cubicBezTo>
                  <a:cubicBezTo>
                    <a:pt x="395" y="329"/>
                    <a:pt x="395" y="329"/>
                    <a:pt x="395" y="329"/>
                  </a:cubicBezTo>
                  <a:cubicBezTo>
                    <a:pt x="399" y="326"/>
                    <a:pt x="399" y="326"/>
                    <a:pt x="399" y="326"/>
                  </a:cubicBezTo>
                  <a:cubicBezTo>
                    <a:pt x="413" y="303"/>
                    <a:pt x="413" y="303"/>
                    <a:pt x="413" y="303"/>
                  </a:cubicBezTo>
                  <a:cubicBezTo>
                    <a:pt x="427" y="298"/>
                    <a:pt x="427" y="298"/>
                    <a:pt x="427" y="298"/>
                  </a:cubicBezTo>
                  <a:cubicBezTo>
                    <a:pt x="427" y="289"/>
                    <a:pt x="427" y="289"/>
                    <a:pt x="427" y="289"/>
                  </a:cubicBezTo>
                  <a:cubicBezTo>
                    <a:pt x="436" y="265"/>
                    <a:pt x="436" y="265"/>
                    <a:pt x="436" y="265"/>
                  </a:cubicBezTo>
                  <a:cubicBezTo>
                    <a:pt x="433" y="263"/>
                    <a:pt x="433" y="263"/>
                    <a:pt x="433" y="263"/>
                  </a:cubicBezTo>
                  <a:cubicBezTo>
                    <a:pt x="436" y="251"/>
                    <a:pt x="436" y="251"/>
                    <a:pt x="436" y="251"/>
                  </a:cubicBezTo>
                  <a:cubicBezTo>
                    <a:pt x="433" y="225"/>
                    <a:pt x="433" y="225"/>
                    <a:pt x="433" y="225"/>
                  </a:cubicBezTo>
                  <a:cubicBezTo>
                    <a:pt x="449" y="188"/>
                    <a:pt x="449" y="188"/>
                    <a:pt x="449" y="188"/>
                  </a:cubicBezTo>
                  <a:cubicBezTo>
                    <a:pt x="445" y="181"/>
                    <a:pt x="445" y="181"/>
                    <a:pt x="445" y="181"/>
                  </a:cubicBezTo>
                  <a:cubicBezTo>
                    <a:pt x="449" y="174"/>
                    <a:pt x="449" y="174"/>
                    <a:pt x="449" y="174"/>
                  </a:cubicBezTo>
                  <a:cubicBezTo>
                    <a:pt x="449" y="164"/>
                    <a:pt x="449" y="164"/>
                    <a:pt x="449" y="164"/>
                  </a:cubicBezTo>
                  <a:cubicBezTo>
                    <a:pt x="463" y="164"/>
                    <a:pt x="463" y="164"/>
                    <a:pt x="463" y="164"/>
                  </a:cubicBezTo>
                  <a:cubicBezTo>
                    <a:pt x="465" y="157"/>
                    <a:pt x="465" y="157"/>
                    <a:pt x="465" y="157"/>
                  </a:cubicBezTo>
                  <a:cubicBezTo>
                    <a:pt x="481" y="148"/>
                    <a:pt x="481" y="148"/>
                    <a:pt x="481" y="148"/>
                  </a:cubicBezTo>
                  <a:cubicBezTo>
                    <a:pt x="488" y="150"/>
                    <a:pt x="488" y="150"/>
                    <a:pt x="488" y="150"/>
                  </a:cubicBezTo>
                  <a:cubicBezTo>
                    <a:pt x="497" y="134"/>
                    <a:pt x="497" y="134"/>
                    <a:pt x="497" y="134"/>
                  </a:cubicBezTo>
                  <a:cubicBezTo>
                    <a:pt x="495" y="131"/>
                    <a:pt x="495" y="131"/>
                    <a:pt x="495" y="131"/>
                  </a:cubicBezTo>
                  <a:cubicBezTo>
                    <a:pt x="481" y="124"/>
                    <a:pt x="481" y="124"/>
                    <a:pt x="481" y="124"/>
                  </a:cubicBezTo>
                  <a:cubicBezTo>
                    <a:pt x="472" y="115"/>
                    <a:pt x="472" y="115"/>
                    <a:pt x="472" y="115"/>
                  </a:cubicBezTo>
                  <a:cubicBezTo>
                    <a:pt x="465" y="110"/>
                    <a:pt x="465" y="110"/>
                    <a:pt x="465" y="110"/>
                  </a:cubicBezTo>
                  <a:cubicBezTo>
                    <a:pt x="463" y="108"/>
                    <a:pt x="463" y="108"/>
                    <a:pt x="463" y="108"/>
                  </a:cubicBezTo>
                  <a:cubicBezTo>
                    <a:pt x="458" y="84"/>
                    <a:pt x="458" y="84"/>
                    <a:pt x="458" y="84"/>
                  </a:cubicBezTo>
                  <a:cubicBezTo>
                    <a:pt x="456" y="63"/>
                    <a:pt x="456" y="63"/>
                    <a:pt x="456" y="63"/>
                  </a:cubicBezTo>
                  <a:cubicBezTo>
                    <a:pt x="456" y="54"/>
                    <a:pt x="456" y="54"/>
                    <a:pt x="456" y="54"/>
                  </a:cubicBezTo>
                  <a:cubicBezTo>
                    <a:pt x="452" y="33"/>
                    <a:pt x="452" y="33"/>
                    <a:pt x="452" y="33"/>
                  </a:cubicBezTo>
                  <a:cubicBezTo>
                    <a:pt x="456" y="37"/>
                    <a:pt x="456" y="37"/>
                    <a:pt x="456" y="37"/>
                  </a:cubicBezTo>
                  <a:cubicBezTo>
                    <a:pt x="458" y="40"/>
                    <a:pt x="458" y="40"/>
                    <a:pt x="458" y="40"/>
                  </a:cubicBezTo>
                  <a:cubicBezTo>
                    <a:pt x="458" y="37"/>
                    <a:pt x="458" y="37"/>
                    <a:pt x="458" y="37"/>
                  </a:cubicBezTo>
                  <a:cubicBezTo>
                    <a:pt x="449" y="21"/>
                    <a:pt x="449" y="21"/>
                    <a:pt x="449" y="21"/>
                  </a:cubicBezTo>
                  <a:cubicBezTo>
                    <a:pt x="445" y="7"/>
                    <a:pt x="445" y="7"/>
                    <a:pt x="445" y="7"/>
                  </a:cubicBezTo>
                  <a:cubicBezTo>
                    <a:pt x="285" y="7"/>
                    <a:pt x="285" y="7"/>
                    <a:pt x="285" y="7"/>
                  </a:cubicBezTo>
                  <a:cubicBezTo>
                    <a:pt x="290" y="4"/>
                    <a:pt x="290" y="4"/>
                    <a:pt x="290" y="4"/>
                  </a:cubicBezTo>
                  <a:cubicBezTo>
                    <a:pt x="285" y="0"/>
                    <a:pt x="285" y="0"/>
                    <a:pt x="285" y="0"/>
                  </a:cubicBezTo>
                  <a:cubicBezTo>
                    <a:pt x="280" y="7"/>
                    <a:pt x="280" y="7"/>
                    <a:pt x="280" y="7"/>
                  </a:cubicBezTo>
                  <a:cubicBezTo>
                    <a:pt x="93" y="7"/>
                    <a:pt x="93" y="7"/>
                    <a:pt x="93" y="7"/>
                  </a:cubicBezTo>
                  <a:cubicBezTo>
                    <a:pt x="93" y="70"/>
                    <a:pt x="93" y="70"/>
                    <a:pt x="93" y="70"/>
                  </a:cubicBezTo>
                  <a:cubicBezTo>
                    <a:pt x="63" y="70"/>
                    <a:pt x="63" y="70"/>
                    <a:pt x="63" y="70"/>
                  </a:cubicBezTo>
                  <a:cubicBezTo>
                    <a:pt x="63" y="87"/>
                    <a:pt x="63" y="87"/>
                    <a:pt x="63" y="87"/>
                  </a:cubicBezTo>
                  <a:cubicBezTo>
                    <a:pt x="63" y="209"/>
                    <a:pt x="63" y="209"/>
                    <a:pt x="63" y="209"/>
                  </a:cubicBezTo>
                  <a:cubicBezTo>
                    <a:pt x="38" y="209"/>
                    <a:pt x="38" y="209"/>
                    <a:pt x="38" y="209"/>
                  </a:cubicBezTo>
                  <a:cubicBezTo>
                    <a:pt x="34" y="211"/>
                    <a:pt x="34" y="211"/>
                    <a:pt x="34" y="211"/>
                  </a:cubicBezTo>
                  <a:cubicBezTo>
                    <a:pt x="34" y="218"/>
                    <a:pt x="34" y="218"/>
                    <a:pt x="34" y="218"/>
                  </a:cubicBezTo>
                  <a:cubicBezTo>
                    <a:pt x="34" y="225"/>
                    <a:pt x="34" y="225"/>
                    <a:pt x="34" y="225"/>
                  </a:cubicBezTo>
                  <a:cubicBezTo>
                    <a:pt x="25" y="235"/>
                    <a:pt x="25" y="235"/>
                    <a:pt x="25" y="235"/>
                  </a:cubicBezTo>
                  <a:cubicBezTo>
                    <a:pt x="25" y="239"/>
                    <a:pt x="25" y="239"/>
                    <a:pt x="25" y="239"/>
                  </a:cubicBezTo>
                  <a:cubicBezTo>
                    <a:pt x="18" y="242"/>
                    <a:pt x="18" y="242"/>
                    <a:pt x="18" y="242"/>
                  </a:cubicBezTo>
                  <a:cubicBezTo>
                    <a:pt x="22" y="256"/>
                    <a:pt x="22" y="256"/>
                    <a:pt x="22" y="256"/>
                  </a:cubicBezTo>
                  <a:cubicBezTo>
                    <a:pt x="11" y="263"/>
                    <a:pt x="11" y="263"/>
                    <a:pt x="11" y="263"/>
                  </a:cubicBezTo>
                  <a:cubicBezTo>
                    <a:pt x="9" y="268"/>
                    <a:pt x="9" y="268"/>
                    <a:pt x="9" y="268"/>
                  </a:cubicBezTo>
                  <a:cubicBezTo>
                    <a:pt x="16" y="279"/>
                    <a:pt x="16" y="279"/>
                    <a:pt x="16" y="279"/>
                  </a:cubicBezTo>
                  <a:cubicBezTo>
                    <a:pt x="6" y="289"/>
                    <a:pt x="6" y="289"/>
                    <a:pt x="6" y="289"/>
                  </a:cubicBezTo>
                  <a:cubicBezTo>
                    <a:pt x="0" y="298"/>
                    <a:pt x="0" y="298"/>
                    <a:pt x="0" y="298"/>
                  </a:cubicBezTo>
                  <a:cubicBezTo>
                    <a:pt x="6" y="303"/>
                    <a:pt x="6" y="303"/>
                    <a:pt x="6" y="303"/>
                  </a:cubicBezTo>
                  <a:cubicBezTo>
                    <a:pt x="9" y="303"/>
                    <a:pt x="9" y="303"/>
                    <a:pt x="9" y="303"/>
                  </a:cubicBezTo>
                  <a:cubicBezTo>
                    <a:pt x="11" y="298"/>
                    <a:pt x="11" y="298"/>
                    <a:pt x="11" y="298"/>
                  </a:cubicBezTo>
                  <a:cubicBezTo>
                    <a:pt x="18" y="303"/>
                    <a:pt x="18" y="303"/>
                    <a:pt x="18" y="303"/>
                  </a:cubicBezTo>
                  <a:cubicBezTo>
                    <a:pt x="18" y="310"/>
                    <a:pt x="18" y="310"/>
                    <a:pt x="18" y="310"/>
                  </a:cubicBezTo>
                  <a:cubicBezTo>
                    <a:pt x="25" y="322"/>
                    <a:pt x="25" y="322"/>
                    <a:pt x="25" y="322"/>
                  </a:cubicBezTo>
                  <a:cubicBezTo>
                    <a:pt x="22" y="336"/>
                    <a:pt x="22" y="336"/>
                    <a:pt x="22" y="336"/>
                  </a:cubicBezTo>
                  <a:cubicBezTo>
                    <a:pt x="29" y="338"/>
                    <a:pt x="29" y="338"/>
                    <a:pt x="29" y="338"/>
                  </a:cubicBezTo>
                  <a:cubicBezTo>
                    <a:pt x="32" y="338"/>
                    <a:pt x="32" y="338"/>
                    <a:pt x="32" y="338"/>
                  </a:cubicBezTo>
                  <a:cubicBezTo>
                    <a:pt x="34" y="345"/>
                    <a:pt x="34" y="345"/>
                    <a:pt x="34" y="345"/>
                  </a:cubicBezTo>
                  <a:cubicBezTo>
                    <a:pt x="32" y="357"/>
                    <a:pt x="32" y="357"/>
                    <a:pt x="32" y="357"/>
                  </a:cubicBezTo>
                  <a:cubicBezTo>
                    <a:pt x="45" y="369"/>
                    <a:pt x="45" y="369"/>
                    <a:pt x="45" y="369"/>
                  </a:cubicBezTo>
                  <a:cubicBezTo>
                    <a:pt x="54" y="390"/>
                    <a:pt x="54" y="390"/>
                    <a:pt x="54" y="390"/>
                  </a:cubicBezTo>
                  <a:cubicBezTo>
                    <a:pt x="54" y="406"/>
                    <a:pt x="54" y="406"/>
                    <a:pt x="54" y="406"/>
                  </a:cubicBezTo>
                  <a:cubicBezTo>
                    <a:pt x="52" y="409"/>
                    <a:pt x="52" y="409"/>
                    <a:pt x="52" y="409"/>
                  </a:cubicBezTo>
                  <a:cubicBezTo>
                    <a:pt x="47" y="413"/>
                    <a:pt x="47" y="413"/>
                    <a:pt x="47" y="413"/>
                  </a:cubicBezTo>
                  <a:cubicBezTo>
                    <a:pt x="52" y="416"/>
                    <a:pt x="52" y="416"/>
                    <a:pt x="52" y="416"/>
                  </a:cubicBezTo>
                  <a:cubicBezTo>
                    <a:pt x="52" y="423"/>
                    <a:pt x="52" y="423"/>
                    <a:pt x="52" y="423"/>
                  </a:cubicBezTo>
                  <a:lnTo>
                    <a:pt x="67" y="423"/>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7" name="Freeform 599">
              <a:extLst>
                <a:ext uri="{FF2B5EF4-FFF2-40B4-BE49-F238E27FC236}">
                  <a16:creationId xmlns:a16="http://schemas.microsoft.com/office/drawing/2014/main" id="{3FA0D174-838A-4DDA-9088-89366EC21C05}"/>
                </a:ext>
              </a:extLst>
            </p:cNvPr>
            <p:cNvSpPr>
              <a:spLocks/>
            </p:cNvSpPr>
            <p:nvPr/>
          </p:nvSpPr>
          <p:spPr bwMode="gray">
            <a:xfrm>
              <a:off x="14297297" y="3810675"/>
              <a:ext cx="272965" cy="222562"/>
            </a:xfrm>
            <a:custGeom>
              <a:avLst/>
              <a:gdLst>
                <a:gd name="T0" fmla="*/ 339 w 353"/>
                <a:gd name="T1" fmla="*/ 227 h 288"/>
                <a:gd name="T2" fmla="*/ 332 w 353"/>
                <a:gd name="T3" fmla="*/ 227 h 288"/>
                <a:gd name="T4" fmla="*/ 323 w 353"/>
                <a:gd name="T5" fmla="*/ 210 h 288"/>
                <a:gd name="T6" fmla="*/ 309 w 353"/>
                <a:gd name="T7" fmla="*/ 187 h 288"/>
                <a:gd name="T8" fmla="*/ 300 w 353"/>
                <a:gd name="T9" fmla="*/ 180 h 288"/>
                <a:gd name="T10" fmla="*/ 277 w 353"/>
                <a:gd name="T11" fmla="*/ 156 h 288"/>
                <a:gd name="T12" fmla="*/ 264 w 353"/>
                <a:gd name="T13" fmla="*/ 149 h 288"/>
                <a:gd name="T14" fmla="*/ 270 w 353"/>
                <a:gd name="T15" fmla="*/ 135 h 288"/>
                <a:gd name="T16" fmla="*/ 286 w 353"/>
                <a:gd name="T17" fmla="*/ 135 h 288"/>
                <a:gd name="T18" fmla="*/ 298 w 353"/>
                <a:gd name="T19" fmla="*/ 102 h 288"/>
                <a:gd name="T20" fmla="*/ 305 w 353"/>
                <a:gd name="T21" fmla="*/ 69 h 288"/>
                <a:gd name="T22" fmla="*/ 305 w 353"/>
                <a:gd name="T23" fmla="*/ 67 h 288"/>
                <a:gd name="T24" fmla="*/ 285 w 353"/>
                <a:gd name="T25" fmla="*/ 63 h 288"/>
                <a:gd name="T26" fmla="*/ 270 w 353"/>
                <a:gd name="T27" fmla="*/ 0 h 288"/>
                <a:gd name="T28" fmla="*/ 254 w 353"/>
                <a:gd name="T29" fmla="*/ 17 h 288"/>
                <a:gd name="T30" fmla="*/ 258 w 353"/>
                <a:gd name="T31" fmla="*/ 45 h 288"/>
                <a:gd name="T32" fmla="*/ 214 w 353"/>
                <a:gd name="T33" fmla="*/ 87 h 288"/>
                <a:gd name="T34" fmla="*/ 171 w 353"/>
                <a:gd name="T35" fmla="*/ 73 h 288"/>
                <a:gd name="T36" fmla="*/ 155 w 353"/>
                <a:gd name="T37" fmla="*/ 87 h 288"/>
                <a:gd name="T38" fmla="*/ 119 w 353"/>
                <a:gd name="T39" fmla="*/ 98 h 288"/>
                <a:gd name="T40" fmla="*/ 68 w 353"/>
                <a:gd name="T41" fmla="*/ 94 h 288"/>
                <a:gd name="T42" fmla="*/ 28 w 353"/>
                <a:gd name="T43" fmla="*/ 70 h 288"/>
                <a:gd name="T44" fmla="*/ 0 w 353"/>
                <a:gd name="T45" fmla="*/ 126 h 288"/>
                <a:gd name="T46" fmla="*/ 8 w 353"/>
                <a:gd name="T47" fmla="*/ 130 h 288"/>
                <a:gd name="T48" fmla="*/ 3 w 353"/>
                <a:gd name="T49" fmla="*/ 140 h 288"/>
                <a:gd name="T50" fmla="*/ 31 w 353"/>
                <a:gd name="T51" fmla="*/ 154 h 288"/>
                <a:gd name="T52" fmla="*/ 35 w 353"/>
                <a:gd name="T53" fmla="*/ 159 h 288"/>
                <a:gd name="T54" fmla="*/ 56 w 353"/>
                <a:gd name="T55" fmla="*/ 180 h 288"/>
                <a:gd name="T56" fmla="*/ 70 w 353"/>
                <a:gd name="T57" fmla="*/ 189 h 288"/>
                <a:gd name="T58" fmla="*/ 72 w 353"/>
                <a:gd name="T59" fmla="*/ 203 h 288"/>
                <a:gd name="T60" fmla="*/ 81 w 353"/>
                <a:gd name="T61" fmla="*/ 210 h 288"/>
                <a:gd name="T62" fmla="*/ 95 w 353"/>
                <a:gd name="T63" fmla="*/ 224 h 288"/>
                <a:gd name="T64" fmla="*/ 102 w 353"/>
                <a:gd name="T65" fmla="*/ 241 h 288"/>
                <a:gd name="T66" fmla="*/ 111 w 353"/>
                <a:gd name="T67" fmla="*/ 253 h 288"/>
                <a:gd name="T68" fmla="*/ 140 w 353"/>
                <a:gd name="T69" fmla="*/ 253 h 288"/>
                <a:gd name="T70" fmla="*/ 161 w 353"/>
                <a:gd name="T71" fmla="*/ 250 h 288"/>
                <a:gd name="T72" fmla="*/ 170 w 353"/>
                <a:gd name="T73" fmla="*/ 253 h 288"/>
                <a:gd name="T74" fmla="*/ 179 w 353"/>
                <a:gd name="T75" fmla="*/ 267 h 288"/>
                <a:gd name="T76" fmla="*/ 193 w 353"/>
                <a:gd name="T77" fmla="*/ 274 h 288"/>
                <a:gd name="T78" fmla="*/ 200 w 353"/>
                <a:gd name="T79" fmla="*/ 281 h 288"/>
                <a:gd name="T80" fmla="*/ 207 w 353"/>
                <a:gd name="T81" fmla="*/ 281 h 288"/>
                <a:gd name="T82" fmla="*/ 223 w 353"/>
                <a:gd name="T83" fmla="*/ 281 h 288"/>
                <a:gd name="T84" fmla="*/ 232 w 353"/>
                <a:gd name="T85" fmla="*/ 283 h 288"/>
                <a:gd name="T86" fmla="*/ 241 w 353"/>
                <a:gd name="T87" fmla="*/ 283 h 288"/>
                <a:gd name="T88" fmla="*/ 254 w 353"/>
                <a:gd name="T89" fmla="*/ 276 h 288"/>
                <a:gd name="T90" fmla="*/ 270 w 353"/>
                <a:gd name="T91" fmla="*/ 276 h 288"/>
                <a:gd name="T92" fmla="*/ 293 w 353"/>
                <a:gd name="T93" fmla="*/ 264 h 288"/>
                <a:gd name="T94" fmla="*/ 353 w 353"/>
                <a:gd name="T95" fmla="*/ 253 h 288"/>
                <a:gd name="T96" fmla="*/ 350 w 353"/>
                <a:gd name="T97" fmla="*/ 22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3" h="288">
                  <a:moveTo>
                    <a:pt x="350" y="229"/>
                  </a:moveTo>
                  <a:cubicBezTo>
                    <a:pt x="339" y="227"/>
                    <a:pt x="339" y="227"/>
                    <a:pt x="339" y="227"/>
                  </a:cubicBezTo>
                  <a:cubicBezTo>
                    <a:pt x="332" y="229"/>
                    <a:pt x="332" y="229"/>
                    <a:pt x="332" y="229"/>
                  </a:cubicBezTo>
                  <a:cubicBezTo>
                    <a:pt x="332" y="227"/>
                    <a:pt x="332" y="227"/>
                    <a:pt x="332" y="227"/>
                  </a:cubicBezTo>
                  <a:cubicBezTo>
                    <a:pt x="328" y="220"/>
                    <a:pt x="328" y="220"/>
                    <a:pt x="328" y="220"/>
                  </a:cubicBezTo>
                  <a:cubicBezTo>
                    <a:pt x="323" y="210"/>
                    <a:pt x="323" y="210"/>
                    <a:pt x="323" y="210"/>
                  </a:cubicBezTo>
                  <a:cubicBezTo>
                    <a:pt x="316" y="189"/>
                    <a:pt x="316" y="189"/>
                    <a:pt x="316" y="189"/>
                  </a:cubicBezTo>
                  <a:cubicBezTo>
                    <a:pt x="309" y="187"/>
                    <a:pt x="309" y="187"/>
                    <a:pt x="309" y="187"/>
                  </a:cubicBezTo>
                  <a:cubicBezTo>
                    <a:pt x="307" y="182"/>
                    <a:pt x="307" y="182"/>
                    <a:pt x="307" y="182"/>
                  </a:cubicBezTo>
                  <a:cubicBezTo>
                    <a:pt x="300" y="180"/>
                    <a:pt x="300" y="180"/>
                    <a:pt x="300" y="180"/>
                  </a:cubicBezTo>
                  <a:cubicBezTo>
                    <a:pt x="291" y="163"/>
                    <a:pt x="291" y="163"/>
                    <a:pt x="291" y="163"/>
                  </a:cubicBezTo>
                  <a:cubicBezTo>
                    <a:pt x="277" y="156"/>
                    <a:pt x="277" y="156"/>
                    <a:pt x="277" y="156"/>
                  </a:cubicBezTo>
                  <a:cubicBezTo>
                    <a:pt x="264" y="156"/>
                    <a:pt x="264" y="156"/>
                    <a:pt x="264" y="156"/>
                  </a:cubicBezTo>
                  <a:cubicBezTo>
                    <a:pt x="264" y="149"/>
                    <a:pt x="264" y="149"/>
                    <a:pt x="264" y="149"/>
                  </a:cubicBezTo>
                  <a:cubicBezTo>
                    <a:pt x="270" y="142"/>
                    <a:pt x="270" y="142"/>
                    <a:pt x="270" y="142"/>
                  </a:cubicBezTo>
                  <a:cubicBezTo>
                    <a:pt x="270" y="135"/>
                    <a:pt x="270" y="135"/>
                    <a:pt x="270" y="135"/>
                  </a:cubicBezTo>
                  <a:cubicBezTo>
                    <a:pt x="284" y="133"/>
                    <a:pt x="284" y="133"/>
                    <a:pt x="284" y="133"/>
                  </a:cubicBezTo>
                  <a:cubicBezTo>
                    <a:pt x="286" y="135"/>
                    <a:pt x="286" y="135"/>
                    <a:pt x="286" y="135"/>
                  </a:cubicBezTo>
                  <a:cubicBezTo>
                    <a:pt x="298" y="130"/>
                    <a:pt x="298" y="130"/>
                    <a:pt x="298" y="130"/>
                  </a:cubicBezTo>
                  <a:cubicBezTo>
                    <a:pt x="298" y="102"/>
                    <a:pt x="298" y="102"/>
                    <a:pt x="298" y="102"/>
                  </a:cubicBezTo>
                  <a:cubicBezTo>
                    <a:pt x="305" y="79"/>
                    <a:pt x="305" y="79"/>
                    <a:pt x="305" y="79"/>
                  </a:cubicBezTo>
                  <a:cubicBezTo>
                    <a:pt x="305" y="69"/>
                    <a:pt x="305" y="69"/>
                    <a:pt x="305" y="69"/>
                  </a:cubicBezTo>
                  <a:cubicBezTo>
                    <a:pt x="308" y="66"/>
                    <a:pt x="308" y="66"/>
                    <a:pt x="308" y="66"/>
                  </a:cubicBezTo>
                  <a:cubicBezTo>
                    <a:pt x="305" y="67"/>
                    <a:pt x="305" y="67"/>
                    <a:pt x="305" y="67"/>
                  </a:cubicBezTo>
                  <a:cubicBezTo>
                    <a:pt x="305" y="66"/>
                    <a:pt x="305" y="66"/>
                    <a:pt x="305" y="66"/>
                  </a:cubicBezTo>
                  <a:cubicBezTo>
                    <a:pt x="285" y="63"/>
                    <a:pt x="285" y="63"/>
                    <a:pt x="285" y="63"/>
                  </a:cubicBezTo>
                  <a:cubicBezTo>
                    <a:pt x="285" y="0"/>
                    <a:pt x="285" y="0"/>
                    <a:pt x="285" y="0"/>
                  </a:cubicBezTo>
                  <a:cubicBezTo>
                    <a:pt x="270" y="0"/>
                    <a:pt x="270" y="0"/>
                    <a:pt x="270" y="0"/>
                  </a:cubicBezTo>
                  <a:cubicBezTo>
                    <a:pt x="270" y="14"/>
                    <a:pt x="270" y="14"/>
                    <a:pt x="270" y="14"/>
                  </a:cubicBezTo>
                  <a:cubicBezTo>
                    <a:pt x="254" y="17"/>
                    <a:pt x="254" y="17"/>
                    <a:pt x="254" y="17"/>
                  </a:cubicBezTo>
                  <a:cubicBezTo>
                    <a:pt x="258" y="17"/>
                    <a:pt x="258" y="17"/>
                    <a:pt x="258" y="17"/>
                  </a:cubicBezTo>
                  <a:cubicBezTo>
                    <a:pt x="258" y="45"/>
                    <a:pt x="258" y="45"/>
                    <a:pt x="258" y="45"/>
                  </a:cubicBezTo>
                  <a:cubicBezTo>
                    <a:pt x="222" y="87"/>
                    <a:pt x="222" y="87"/>
                    <a:pt x="222" y="87"/>
                  </a:cubicBezTo>
                  <a:cubicBezTo>
                    <a:pt x="214" y="87"/>
                    <a:pt x="214" y="87"/>
                    <a:pt x="214" y="87"/>
                  </a:cubicBezTo>
                  <a:cubicBezTo>
                    <a:pt x="190" y="66"/>
                    <a:pt x="190" y="66"/>
                    <a:pt x="190" y="66"/>
                  </a:cubicBezTo>
                  <a:cubicBezTo>
                    <a:pt x="171" y="73"/>
                    <a:pt x="171" y="73"/>
                    <a:pt x="171" y="73"/>
                  </a:cubicBezTo>
                  <a:cubicBezTo>
                    <a:pt x="171" y="87"/>
                    <a:pt x="171" y="87"/>
                    <a:pt x="171" y="87"/>
                  </a:cubicBezTo>
                  <a:cubicBezTo>
                    <a:pt x="155" y="87"/>
                    <a:pt x="155" y="87"/>
                    <a:pt x="155" y="87"/>
                  </a:cubicBezTo>
                  <a:cubicBezTo>
                    <a:pt x="143" y="98"/>
                    <a:pt x="143" y="98"/>
                    <a:pt x="143" y="98"/>
                  </a:cubicBezTo>
                  <a:cubicBezTo>
                    <a:pt x="119" y="98"/>
                    <a:pt x="119" y="98"/>
                    <a:pt x="119" y="98"/>
                  </a:cubicBezTo>
                  <a:cubicBezTo>
                    <a:pt x="119" y="87"/>
                    <a:pt x="119" y="87"/>
                    <a:pt x="119" y="87"/>
                  </a:cubicBezTo>
                  <a:cubicBezTo>
                    <a:pt x="68" y="94"/>
                    <a:pt x="68" y="94"/>
                    <a:pt x="68" y="94"/>
                  </a:cubicBezTo>
                  <a:cubicBezTo>
                    <a:pt x="52" y="73"/>
                    <a:pt x="52" y="73"/>
                    <a:pt x="52" y="73"/>
                  </a:cubicBezTo>
                  <a:cubicBezTo>
                    <a:pt x="28" y="70"/>
                    <a:pt x="28" y="70"/>
                    <a:pt x="28" y="70"/>
                  </a:cubicBezTo>
                  <a:cubicBezTo>
                    <a:pt x="0" y="126"/>
                    <a:pt x="0" y="126"/>
                    <a:pt x="0" y="126"/>
                  </a:cubicBezTo>
                  <a:cubicBezTo>
                    <a:pt x="0" y="126"/>
                    <a:pt x="0" y="126"/>
                    <a:pt x="0" y="126"/>
                  </a:cubicBezTo>
                  <a:cubicBezTo>
                    <a:pt x="3" y="126"/>
                    <a:pt x="3" y="126"/>
                    <a:pt x="3" y="126"/>
                  </a:cubicBezTo>
                  <a:cubicBezTo>
                    <a:pt x="8" y="130"/>
                    <a:pt x="8" y="130"/>
                    <a:pt x="8" y="130"/>
                  </a:cubicBezTo>
                  <a:cubicBezTo>
                    <a:pt x="3" y="133"/>
                    <a:pt x="3" y="133"/>
                    <a:pt x="3" y="133"/>
                  </a:cubicBezTo>
                  <a:cubicBezTo>
                    <a:pt x="3" y="140"/>
                    <a:pt x="3" y="140"/>
                    <a:pt x="3" y="140"/>
                  </a:cubicBezTo>
                  <a:cubicBezTo>
                    <a:pt x="19" y="142"/>
                    <a:pt x="19" y="142"/>
                    <a:pt x="19" y="142"/>
                  </a:cubicBezTo>
                  <a:cubicBezTo>
                    <a:pt x="31" y="154"/>
                    <a:pt x="31" y="154"/>
                    <a:pt x="31" y="154"/>
                  </a:cubicBezTo>
                  <a:cubicBezTo>
                    <a:pt x="35" y="154"/>
                    <a:pt x="35" y="154"/>
                    <a:pt x="35" y="154"/>
                  </a:cubicBezTo>
                  <a:cubicBezTo>
                    <a:pt x="35" y="159"/>
                    <a:pt x="35" y="159"/>
                    <a:pt x="35" y="159"/>
                  </a:cubicBezTo>
                  <a:cubicBezTo>
                    <a:pt x="33" y="163"/>
                    <a:pt x="33" y="163"/>
                    <a:pt x="33" y="163"/>
                  </a:cubicBezTo>
                  <a:cubicBezTo>
                    <a:pt x="56" y="180"/>
                    <a:pt x="56" y="180"/>
                    <a:pt x="56" y="180"/>
                  </a:cubicBezTo>
                  <a:cubicBezTo>
                    <a:pt x="58" y="182"/>
                    <a:pt x="58" y="182"/>
                    <a:pt x="58" y="182"/>
                  </a:cubicBezTo>
                  <a:cubicBezTo>
                    <a:pt x="70" y="189"/>
                    <a:pt x="70" y="189"/>
                    <a:pt x="70" y="189"/>
                  </a:cubicBezTo>
                  <a:cubicBezTo>
                    <a:pt x="65" y="196"/>
                    <a:pt x="65" y="196"/>
                    <a:pt x="65" y="196"/>
                  </a:cubicBezTo>
                  <a:cubicBezTo>
                    <a:pt x="72" y="203"/>
                    <a:pt x="72" y="203"/>
                    <a:pt x="72" y="203"/>
                  </a:cubicBezTo>
                  <a:cubicBezTo>
                    <a:pt x="70" y="206"/>
                    <a:pt x="70" y="206"/>
                    <a:pt x="70" y="206"/>
                  </a:cubicBezTo>
                  <a:cubicBezTo>
                    <a:pt x="81" y="210"/>
                    <a:pt x="81" y="210"/>
                    <a:pt x="81" y="210"/>
                  </a:cubicBezTo>
                  <a:cubicBezTo>
                    <a:pt x="92" y="217"/>
                    <a:pt x="92" y="217"/>
                    <a:pt x="92" y="217"/>
                  </a:cubicBezTo>
                  <a:cubicBezTo>
                    <a:pt x="95" y="224"/>
                    <a:pt x="95" y="224"/>
                    <a:pt x="95" y="224"/>
                  </a:cubicBezTo>
                  <a:cubicBezTo>
                    <a:pt x="95" y="229"/>
                    <a:pt x="95" y="229"/>
                    <a:pt x="95" y="229"/>
                  </a:cubicBezTo>
                  <a:cubicBezTo>
                    <a:pt x="102" y="241"/>
                    <a:pt x="102" y="241"/>
                    <a:pt x="102" y="241"/>
                  </a:cubicBezTo>
                  <a:cubicBezTo>
                    <a:pt x="108" y="248"/>
                    <a:pt x="108" y="248"/>
                    <a:pt x="108" y="248"/>
                  </a:cubicBezTo>
                  <a:cubicBezTo>
                    <a:pt x="111" y="253"/>
                    <a:pt x="111" y="253"/>
                    <a:pt x="111" y="253"/>
                  </a:cubicBezTo>
                  <a:cubicBezTo>
                    <a:pt x="127" y="264"/>
                    <a:pt x="127" y="264"/>
                    <a:pt x="127" y="264"/>
                  </a:cubicBezTo>
                  <a:cubicBezTo>
                    <a:pt x="140" y="253"/>
                    <a:pt x="140" y="253"/>
                    <a:pt x="140" y="253"/>
                  </a:cubicBezTo>
                  <a:cubicBezTo>
                    <a:pt x="154" y="260"/>
                    <a:pt x="154" y="260"/>
                    <a:pt x="154" y="260"/>
                  </a:cubicBezTo>
                  <a:cubicBezTo>
                    <a:pt x="161" y="250"/>
                    <a:pt x="161" y="250"/>
                    <a:pt x="161" y="250"/>
                  </a:cubicBezTo>
                  <a:cubicBezTo>
                    <a:pt x="163" y="250"/>
                    <a:pt x="163" y="250"/>
                    <a:pt x="163" y="250"/>
                  </a:cubicBezTo>
                  <a:cubicBezTo>
                    <a:pt x="170" y="253"/>
                    <a:pt x="170" y="253"/>
                    <a:pt x="170" y="253"/>
                  </a:cubicBezTo>
                  <a:cubicBezTo>
                    <a:pt x="170" y="260"/>
                    <a:pt x="170" y="260"/>
                    <a:pt x="170" y="260"/>
                  </a:cubicBezTo>
                  <a:cubicBezTo>
                    <a:pt x="179" y="267"/>
                    <a:pt x="179" y="267"/>
                    <a:pt x="179" y="267"/>
                  </a:cubicBezTo>
                  <a:cubicBezTo>
                    <a:pt x="184" y="274"/>
                    <a:pt x="184" y="274"/>
                    <a:pt x="184" y="274"/>
                  </a:cubicBezTo>
                  <a:cubicBezTo>
                    <a:pt x="193" y="274"/>
                    <a:pt x="193" y="274"/>
                    <a:pt x="193" y="274"/>
                  </a:cubicBezTo>
                  <a:cubicBezTo>
                    <a:pt x="193" y="283"/>
                    <a:pt x="193" y="283"/>
                    <a:pt x="193" y="283"/>
                  </a:cubicBezTo>
                  <a:cubicBezTo>
                    <a:pt x="200" y="281"/>
                    <a:pt x="200" y="281"/>
                    <a:pt x="200" y="281"/>
                  </a:cubicBezTo>
                  <a:cubicBezTo>
                    <a:pt x="202" y="288"/>
                    <a:pt x="202" y="288"/>
                    <a:pt x="202" y="288"/>
                  </a:cubicBezTo>
                  <a:cubicBezTo>
                    <a:pt x="207" y="281"/>
                    <a:pt x="207" y="281"/>
                    <a:pt x="207" y="281"/>
                  </a:cubicBezTo>
                  <a:cubicBezTo>
                    <a:pt x="209" y="276"/>
                    <a:pt x="209" y="276"/>
                    <a:pt x="209" y="276"/>
                  </a:cubicBezTo>
                  <a:cubicBezTo>
                    <a:pt x="223" y="281"/>
                    <a:pt x="223" y="281"/>
                    <a:pt x="223" y="281"/>
                  </a:cubicBezTo>
                  <a:cubicBezTo>
                    <a:pt x="229" y="276"/>
                    <a:pt x="229" y="276"/>
                    <a:pt x="229" y="276"/>
                  </a:cubicBezTo>
                  <a:cubicBezTo>
                    <a:pt x="232" y="283"/>
                    <a:pt x="232" y="283"/>
                    <a:pt x="232" y="283"/>
                  </a:cubicBezTo>
                  <a:cubicBezTo>
                    <a:pt x="241" y="288"/>
                    <a:pt x="241" y="288"/>
                    <a:pt x="241" y="288"/>
                  </a:cubicBezTo>
                  <a:cubicBezTo>
                    <a:pt x="241" y="283"/>
                    <a:pt x="241" y="283"/>
                    <a:pt x="241" y="283"/>
                  </a:cubicBezTo>
                  <a:cubicBezTo>
                    <a:pt x="248" y="281"/>
                    <a:pt x="248" y="281"/>
                    <a:pt x="248" y="281"/>
                  </a:cubicBezTo>
                  <a:cubicBezTo>
                    <a:pt x="254" y="276"/>
                    <a:pt x="254" y="276"/>
                    <a:pt x="254" y="276"/>
                  </a:cubicBezTo>
                  <a:cubicBezTo>
                    <a:pt x="264" y="274"/>
                    <a:pt x="264" y="274"/>
                    <a:pt x="264" y="274"/>
                  </a:cubicBezTo>
                  <a:cubicBezTo>
                    <a:pt x="270" y="276"/>
                    <a:pt x="270" y="276"/>
                    <a:pt x="270" y="276"/>
                  </a:cubicBezTo>
                  <a:cubicBezTo>
                    <a:pt x="282" y="276"/>
                    <a:pt x="282" y="276"/>
                    <a:pt x="282" y="276"/>
                  </a:cubicBezTo>
                  <a:cubicBezTo>
                    <a:pt x="293" y="264"/>
                    <a:pt x="293" y="264"/>
                    <a:pt x="293" y="264"/>
                  </a:cubicBezTo>
                  <a:cubicBezTo>
                    <a:pt x="307" y="253"/>
                    <a:pt x="307" y="253"/>
                    <a:pt x="307" y="253"/>
                  </a:cubicBezTo>
                  <a:cubicBezTo>
                    <a:pt x="353" y="253"/>
                    <a:pt x="353" y="253"/>
                    <a:pt x="353" y="253"/>
                  </a:cubicBezTo>
                  <a:cubicBezTo>
                    <a:pt x="346" y="248"/>
                    <a:pt x="346" y="248"/>
                    <a:pt x="346" y="248"/>
                  </a:cubicBezTo>
                  <a:lnTo>
                    <a:pt x="350" y="22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grpSp>
    </p:spTree>
    <p:custDataLst>
      <p:tags r:id="rId1"/>
    </p:custDataLst>
    <p:extLst>
      <p:ext uri="{BB962C8B-B14F-4D97-AF65-F5344CB8AC3E}">
        <p14:creationId xmlns:p14="http://schemas.microsoft.com/office/powerpoint/2010/main" val="1068564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24250AD-A1E2-40BC-AA88-9E338F504BDB}"/>
              </a:ext>
            </a:extLst>
          </p:cNvPr>
          <p:cNvGraphicFramePr>
            <a:graphicFrameLocks noChangeAspect="1"/>
          </p:cNvGraphicFramePr>
          <p:nvPr>
            <p:custDataLst>
              <p:tags r:id="rId1"/>
            </p:custDataLst>
            <p:extLst>
              <p:ext uri="{D42A27DB-BD31-4B8C-83A1-F6EECF244321}">
                <p14:modId xmlns:p14="http://schemas.microsoft.com/office/powerpoint/2010/main" val="3705584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7" name="Objekt 6" hidden="1">
                        <a:extLst>
                          <a:ext uri="{FF2B5EF4-FFF2-40B4-BE49-F238E27FC236}">
                            <a16:creationId xmlns:a16="http://schemas.microsoft.com/office/drawing/2014/main" id="{724250AD-A1E2-40BC-AA88-9E338F504B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7C5DD46A-96A5-4B32-B7D1-E24CB516AEA6}"/>
              </a:ext>
            </a:extLst>
          </p:cNvPr>
          <p:cNvSpPr/>
          <p:nvPr>
            <p:custDataLst>
              <p:tags r:id="rId2"/>
            </p:custDataLst>
          </p:nvPr>
        </p:nvSpPr>
        <p:spPr bwMode="gray">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e-DE" sz="3000" dirty="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sym typeface="Open Sans Extrabold" panose="020B0906030804020204" pitchFamily="34" charset="0"/>
            </a:endParaRPr>
          </a:p>
        </p:txBody>
      </p:sp>
      <p:sp>
        <p:nvSpPr>
          <p:cNvPr id="36" name="Titel 35"/>
          <p:cNvSpPr>
            <a:spLocks noGrp="1"/>
          </p:cNvSpPr>
          <p:nvPr>
            <p:ph type="title"/>
            <p:custDataLst>
              <p:tags r:id="rId3"/>
            </p:custDataLst>
          </p:nvPr>
        </p:nvSpPr>
        <p:spPr bwMode="gray"/>
        <p:txBody>
          <a:bodyPr vert="horz"/>
          <a:lstStyle/>
          <a:p>
            <a:r>
              <a:rPr lang="de-DE" dirty="0"/>
              <a:t>Karte: Deutschland mit Bundesländern</a:t>
            </a:r>
          </a:p>
        </p:txBody>
      </p:sp>
      <p:sp>
        <p:nvSpPr>
          <p:cNvPr id="2" name="Datumsplatzhalter 1">
            <a:extLst>
              <a:ext uri="{FF2B5EF4-FFF2-40B4-BE49-F238E27FC236}">
                <a16:creationId xmlns:a16="http://schemas.microsoft.com/office/drawing/2014/main" id="{3C2CD77A-800A-4EF3-A4B0-16AB6ED2E01F}"/>
              </a:ext>
            </a:extLst>
          </p:cNvPr>
          <p:cNvSpPr>
            <a:spLocks noGrp="1"/>
          </p:cNvSpPr>
          <p:nvPr>
            <p:ph type="dt" sz="half" idx="10"/>
          </p:nvPr>
        </p:nvSpPr>
        <p:spPr bwMode="gray"/>
        <p:txBody>
          <a:bodyPr/>
          <a:lstStyle/>
          <a:p>
            <a:fld id="{D649A663-2660-4651-8F83-087B87228E04}" type="datetime1">
              <a:rPr lang="de-DE" smtClean="0"/>
              <a:t>29.09.25</a:t>
            </a:fld>
            <a:endParaRPr lang="de-DE" dirty="0"/>
          </a:p>
        </p:txBody>
      </p:sp>
      <p:sp>
        <p:nvSpPr>
          <p:cNvPr id="3" name="Fußzeilenplatzhalter 2">
            <a:extLst>
              <a:ext uri="{FF2B5EF4-FFF2-40B4-BE49-F238E27FC236}">
                <a16:creationId xmlns:a16="http://schemas.microsoft.com/office/drawing/2014/main" id="{7A02B861-A24E-4027-8831-B37203E787B3}"/>
              </a:ext>
            </a:extLst>
          </p:cNvPr>
          <p:cNvSpPr>
            <a:spLocks noGrp="1"/>
          </p:cNvSpPr>
          <p:nvPr>
            <p:ph type="ftr" sz="quarter" idx="11"/>
          </p:nvPr>
        </p:nvSpPr>
        <p:spPr bwMode="gray"/>
        <p:txBody>
          <a:bodyPr/>
          <a:lstStyle/>
          <a:p>
            <a:r>
              <a:rPr lang="de-DE" dirty="0"/>
              <a:t>TITEL DER PRÄSENTATION | TITEL VORNAME NAME</a:t>
            </a:r>
          </a:p>
        </p:txBody>
      </p:sp>
      <p:sp>
        <p:nvSpPr>
          <p:cNvPr id="4" name="Foliennummernplatzhalter 3">
            <a:extLst>
              <a:ext uri="{FF2B5EF4-FFF2-40B4-BE49-F238E27FC236}">
                <a16:creationId xmlns:a16="http://schemas.microsoft.com/office/drawing/2014/main" id="{BC66B55A-EBB9-4351-94DE-BBA8F6B510CB}"/>
              </a:ext>
            </a:extLst>
          </p:cNvPr>
          <p:cNvSpPr>
            <a:spLocks noGrp="1"/>
          </p:cNvSpPr>
          <p:nvPr>
            <p:ph type="sldNum" sz="quarter" idx="12"/>
          </p:nvPr>
        </p:nvSpPr>
        <p:spPr bwMode="gray"/>
        <p:txBody>
          <a:bodyPr/>
          <a:lstStyle/>
          <a:p>
            <a:fld id="{09E9C37E-8A19-4E30-BE2B-5A966AD23C7A}" type="slidenum">
              <a:rPr lang="de-DE" smtClean="0"/>
              <a:pPr/>
              <a:t>86</a:t>
            </a:fld>
            <a:endParaRPr lang="de-DE" dirty="0"/>
          </a:p>
        </p:txBody>
      </p:sp>
      <p:grpSp>
        <p:nvGrpSpPr>
          <p:cNvPr id="64" name="Group 56">
            <a:extLst>
              <a:ext uri="{FF2B5EF4-FFF2-40B4-BE49-F238E27FC236}">
                <a16:creationId xmlns:a16="http://schemas.microsoft.com/office/drawing/2014/main" id="{AC3EF999-8640-4E81-B98C-A41C8FD85369}"/>
              </a:ext>
            </a:extLst>
          </p:cNvPr>
          <p:cNvGrpSpPr>
            <a:grpSpLocks noChangeAspect="1"/>
          </p:cNvGrpSpPr>
          <p:nvPr/>
        </p:nvGrpSpPr>
        <p:grpSpPr bwMode="gray">
          <a:xfrm>
            <a:off x="4715080" y="1989000"/>
            <a:ext cx="2761840" cy="3744000"/>
            <a:chOff x="3567113" y="3175"/>
            <a:chExt cx="5057776" cy="6856413"/>
          </a:xfrm>
          <a:solidFill>
            <a:schemeClr val="bg2"/>
          </a:solidFill>
        </p:grpSpPr>
        <p:sp>
          <p:nvSpPr>
            <p:cNvPr id="65" name="Freeform 5">
              <a:extLst>
                <a:ext uri="{FF2B5EF4-FFF2-40B4-BE49-F238E27FC236}">
                  <a16:creationId xmlns:a16="http://schemas.microsoft.com/office/drawing/2014/main" id="{12D2616A-48D0-4F82-898C-43E7A4DF96BB}"/>
                </a:ext>
              </a:extLst>
            </p:cNvPr>
            <p:cNvSpPr>
              <a:spLocks/>
            </p:cNvSpPr>
            <p:nvPr/>
          </p:nvSpPr>
          <p:spPr bwMode="gray">
            <a:xfrm>
              <a:off x="5788026" y="3163888"/>
              <a:ext cx="1527175" cy="1249363"/>
            </a:xfrm>
            <a:custGeom>
              <a:avLst/>
              <a:gdLst>
                <a:gd name="T0" fmla="*/ 955 w 962"/>
                <a:gd name="T1" fmla="*/ 417 h 787"/>
                <a:gd name="T2" fmla="*/ 891 w 962"/>
                <a:gd name="T3" fmla="*/ 441 h 787"/>
                <a:gd name="T4" fmla="*/ 837 w 962"/>
                <a:gd name="T5" fmla="*/ 485 h 787"/>
                <a:gd name="T6" fmla="*/ 831 w 962"/>
                <a:gd name="T7" fmla="*/ 510 h 787"/>
                <a:gd name="T8" fmla="*/ 826 w 962"/>
                <a:gd name="T9" fmla="*/ 558 h 787"/>
                <a:gd name="T10" fmla="*/ 775 w 962"/>
                <a:gd name="T11" fmla="*/ 594 h 787"/>
                <a:gd name="T12" fmla="*/ 734 w 962"/>
                <a:gd name="T13" fmla="*/ 602 h 787"/>
                <a:gd name="T14" fmla="*/ 715 w 962"/>
                <a:gd name="T15" fmla="*/ 653 h 787"/>
                <a:gd name="T16" fmla="*/ 678 w 962"/>
                <a:gd name="T17" fmla="*/ 686 h 787"/>
                <a:gd name="T18" fmla="*/ 654 w 962"/>
                <a:gd name="T19" fmla="*/ 676 h 787"/>
                <a:gd name="T20" fmla="*/ 569 w 962"/>
                <a:gd name="T21" fmla="*/ 692 h 787"/>
                <a:gd name="T22" fmla="*/ 536 w 962"/>
                <a:gd name="T23" fmla="*/ 656 h 787"/>
                <a:gd name="T24" fmla="*/ 501 w 962"/>
                <a:gd name="T25" fmla="*/ 628 h 787"/>
                <a:gd name="T26" fmla="*/ 480 w 962"/>
                <a:gd name="T27" fmla="*/ 667 h 787"/>
                <a:gd name="T28" fmla="*/ 488 w 962"/>
                <a:gd name="T29" fmla="*/ 705 h 787"/>
                <a:gd name="T30" fmla="*/ 479 w 962"/>
                <a:gd name="T31" fmla="*/ 743 h 787"/>
                <a:gd name="T32" fmla="*/ 444 w 962"/>
                <a:gd name="T33" fmla="*/ 720 h 787"/>
                <a:gd name="T34" fmla="*/ 418 w 962"/>
                <a:gd name="T35" fmla="*/ 706 h 787"/>
                <a:gd name="T36" fmla="*/ 370 w 962"/>
                <a:gd name="T37" fmla="*/ 689 h 787"/>
                <a:gd name="T38" fmla="*/ 335 w 962"/>
                <a:gd name="T39" fmla="*/ 686 h 787"/>
                <a:gd name="T40" fmla="*/ 303 w 962"/>
                <a:gd name="T41" fmla="*/ 705 h 787"/>
                <a:gd name="T42" fmla="*/ 311 w 962"/>
                <a:gd name="T43" fmla="*/ 740 h 787"/>
                <a:gd name="T44" fmla="*/ 336 w 962"/>
                <a:gd name="T45" fmla="*/ 760 h 787"/>
                <a:gd name="T46" fmla="*/ 295 w 962"/>
                <a:gd name="T47" fmla="*/ 779 h 787"/>
                <a:gd name="T48" fmla="*/ 249 w 962"/>
                <a:gd name="T49" fmla="*/ 753 h 787"/>
                <a:gd name="T50" fmla="*/ 225 w 962"/>
                <a:gd name="T51" fmla="*/ 708 h 787"/>
                <a:gd name="T52" fmla="*/ 190 w 962"/>
                <a:gd name="T53" fmla="*/ 685 h 787"/>
                <a:gd name="T54" fmla="*/ 160 w 962"/>
                <a:gd name="T55" fmla="*/ 647 h 787"/>
                <a:gd name="T56" fmla="*/ 113 w 962"/>
                <a:gd name="T57" fmla="*/ 603 h 787"/>
                <a:gd name="T58" fmla="*/ 58 w 962"/>
                <a:gd name="T59" fmla="*/ 613 h 787"/>
                <a:gd name="T60" fmla="*/ 68 w 962"/>
                <a:gd name="T61" fmla="*/ 564 h 787"/>
                <a:gd name="T62" fmla="*/ 24 w 962"/>
                <a:gd name="T63" fmla="*/ 539 h 787"/>
                <a:gd name="T64" fmla="*/ 7 w 962"/>
                <a:gd name="T65" fmla="*/ 554 h 787"/>
                <a:gd name="T66" fmla="*/ 11 w 962"/>
                <a:gd name="T67" fmla="*/ 519 h 787"/>
                <a:gd name="T68" fmla="*/ 23 w 962"/>
                <a:gd name="T69" fmla="*/ 476 h 787"/>
                <a:gd name="T70" fmla="*/ 49 w 962"/>
                <a:gd name="T71" fmla="*/ 446 h 787"/>
                <a:gd name="T72" fmla="*/ 42 w 962"/>
                <a:gd name="T73" fmla="*/ 398 h 787"/>
                <a:gd name="T74" fmla="*/ 27 w 962"/>
                <a:gd name="T75" fmla="*/ 395 h 787"/>
                <a:gd name="T76" fmla="*/ 55 w 962"/>
                <a:gd name="T77" fmla="*/ 372 h 787"/>
                <a:gd name="T78" fmla="*/ 85 w 962"/>
                <a:gd name="T79" fmla="*/ 354 h 787"/>
                <a:gd name="T80" fmla="*/ 101 w 962"/>
                <a:gd name="T81" fmla="*/ 328 h 787"/>
                <a:gd name="T82" fmla="*/ 91 w 962"/>
                <a:gd name="T83" fmla="*/ 287 h 787"/>
                <a:gd name="T84" fmla="*/ 106 w 962"/>
                <a:gd name="T85" fmla="*/ 283 h 787"/>
                <a:gd name="T86" fmla="*/ 110 w 962"/>
                <a:gd name="T87" fmla="*/ 246 h 787"/>
                <a:gd name="T88" fmla="*/ 68 w 962"/>
                <a:gd name="T89" fmla="*/ 227 h 787"/>
                <a:gd name="T90" fmla="*/ 30 w 962"/>
                <a:gd name="T91" fmla="*/ 188 h 787"/>
                <a:gd name="T92" fmla="*/ 17 w 962"/>
                <a:gd name="T93" fmla="*/ 150 h 787"/>
                <a:gd name="T94" fmla="*/ 93 w 962"/>
                <a:gd name="T95" fmla="*/ 112 h 787"/>
                <a:gd name="T96" fmla="*/ 110 w 962"/>
                <a:gd name="T97" fmla="*/ 88 h 787"/>
                <a:gd name="T98" fmla="*/ 147 w 962"/>
                <a:gd name="T99" fmla="*/ 73 h 787"/>
                <a:gd name="T100" fmla="*/ 171 w 962"/>
                <a:gd name="T101" fmla="*/ 31 h 787"/>
                <a:gd name="T102" fmla="*/ 265 w 962"/>
                <a:gd name="T103" fmla="*/ 43 h 787"/>
                <a:gd name="T104" fmla="*/ 324 w 962"/>
                <a:gd name="T105" fmla="*/ 3 h 787"/>
                <a:gd name="T106" fmla="*/ 364 w 962"/>
                <a:gd name="T107" fmla="*/ 35 h 787"/>
                <a:gd name="T108" fmla="*/ 372 w 962"/>
                <a:gd name="T109" fmla="*/ 80 h 787"/>
                <a:gd name="T110" fmla="*/ 540 w 962"/>
                <a:gd name="T111" fmla="*/ 216 h 787"/>
                <a:gd name="T112" fmla="*/ 539 w 962"/>
                <a:gd name="T113" fmla="*/ 283 h 787"/>
                <a:gd name="T114" fmla="*/ 572 w 962"/>
                <a:gd name="T115" fmla="*/ 300 h 787"/>
                <a:gd name="T116" fmla="*/ 638 w 962"/>
                <a:gd name="T117" fmla="*/ 329 h 787"/>
                <a:gd name="T118" fmla="*/ 721 w 962"/>
                <a:gd name="T119" fmla="*/ 366 h 787"/>
                <a:gd name="T120" fmla="*/ 792 w 962"/>
                <a:gd name="T121" fmla="*/ 380 h 787"/>
                <a:gd name="T122" fmla="*/ 823 w 962"/>
                <a:gd name="T123" fmla="*/ 331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2" h="787">
                  <a:moveTo>
                    <a:pt x="828" y="308"/>
                  </a:moveTo>
                  <a:lnTo>
                    <a:pt x="852" y="305"/>
                  </a:lnTo>
                  <a:lnTo>
                    <a:pt x="906" y="322"/>
                  </a:lnTo>
                  <a:lnTo>
                    <a:pt x="909" y="338"/>
                  </a:lnTo>
                  <a:lnTo>
                    <a:pt x="909" y="340"/>
                  </a:lnTo>
                  <a:lnTo>
                    <a:pt x="919" y="357"/>
                  </a:lnTo>
                  <a:lnTo>
                    <a:pt x="922" y="364"/>
                  </a:lnTo>
                  <a:lnTo>
                    <a:pt x="927" y="370"/>
                  </a:lnTo>
                  <a:lnTo>
                    <a:pt x="932" y="372"/>
                  </a:lnTo>
                  <a:lnTo>
                    <a:pt x="936" y="375"/>
                  </a:lnTo>
                  <a:lnTo>
                    <a:pt x="946" y="380"/>
                  </a:lnTo>
                  <a:lnTo>
                    <a:pt x="955" y="393"/>
                  </a:lnTo>
                  <a:lnTo>
                    <a:pt x="962" y="408"/>
                  </a:lnTo>
                  <a:lnTo>
                    <a:pt x="962" y="411"/>
                  </a:lnTo>
                  <a:lnTo>
                    <a:pt x="962" y="412"/>
                  </a:lnTo>
                  <a:lnTo>
                    <a:pt x="958" y="414"/>
                  </a:lnTo>
                  <a:lnTo>
                    <a:pt x="957" y="415"/>
                  </a:lnTo>
                  <a:lnTo>
                    <a:pt x="955" y="417"/>
                  </a:lnTo>
                  <a:lnTo>
                    <a:pt x="952" y="423"/>
                  </a:lnTo>
                  <a:lnTo>
                    <a:pt x="949" y="425"/>
                  </a:lnTo>
                  <a:lnTo>
                    <a:pt x="948" y="425"/>
                  </a:lnTo>
                  <a:lnTo>
                    <a:pt x="948" y="424"/>
                  </a:lnTo>
                  <a:lnTo>
                    <a:pt x="946" y="421"/>
                  </a:lnTo>
                  <a:lnTo>
                    <a:pt x="945" y="421"/>
                  </a:lnTo>
                  <a:lnTo>
                    <a:pt x="944" y="421"/>
                  </a:lnTo>
                  <a:lnTo>
                    <a:pt x="941" y="421"/>
                  </a:lnTo>
                  <a:lnTo>
                    <a:pt x="939" y="423"/>
                  </a:lnTo>
                  <a:lnTo>
                    <a:pt x="927" y="421"/>
                  </a:lnTo>
                  <a:lnTo>
                    <a:pt x="920" y="421"/>
                  </a:lnTo>
                  <a:lnTo>
                    <a:pt x="919" y="421"/>
                  </a:lnTo>
                  <a:lnTo>
                    <a:pt x="913" y="418"/>
                  </a:lnTo>
                  <a:lnTo>
                    <a:pt x="913" y="424"/>
                  </a:lnTo>
                  <a:lnTo>
                    <a:pt x="911" y="424"/>
                  </a:lnTo>
                  <a:lnTo>
                    <a:pt x="911" y="425"/>
                  </a:lnTo>
                  <a:lnTo>
                    <a:pt x="898" y="433"/>
                  </a:lnTo>
                  <a:lnTo>
                    <a:pt x="891" y="441"/>
                  </a:lnTo>
                  <a:lnTo>
                    <a:pt x="885" y="450"/>
                  </a:lnTo>
                  <a:lnTo>
                    <a:pt x="884" y="450"/>
                  </a:lnTo>
                  <a:lnTo>
                    <a:pt x="882" y="450"/>
                  </a:lnTo>
                  <a:lnTo>
                    <a:pt x="882" y="449"/>
                  </a:lnTo>
                  <a:lnTo>
                    <a:pt x="881" y="449"/>
                  </a:lnTo>
                  <a:lnTo>
                    <a:pt x="878" y="447"/>
                  </a:lnTo>
                  <a:lnTo>
                    <a:pt x="868" y="449"/>
                  </a:lnTo>
                  <a:lnTo>
                    <a:pt x="866" y="449"/>
                  </a:lnTo>
                  <a:lnTo>
                    <a:pt x="863" y="450"/>
                  </a:lnTo>
                  <a:lnTo>
                    <a:pt x="855" y="458"/>
                  </a:lnTo>
                  <a:lnTo>
                    <a:pt x="852" y="460"/>
                  </a:lnTo>
                  <a:lnTo>
                    <a:pt x="827" y="468"/>
                  </a:lnTo>
                  <a:lnTo>
                    <a:pt x="827" y="474"/>
                  </a:lnTo>
                  <a:lnTo>
                    <a:pt x="830" y="478"/>
                  </a:lnTo>
                  <a:lnTo>
                    <a:pt x="836" y="481"/>
                  </a:lnTo>
                  <a:lnTo>
                    <a:pt x="837" y="482"/>
                  </a:lnTo>
                  <a:lnTo>
                    <a:pt x="837" y="484"/>
                  </a:lnTo>
                  <a:lnTo>
                    <a:pt x="837" y="485"/>
                  </a:lnTo>
                  <a:lnTo>
                    <a:pt x="834" y="488"/>
                  </a:lnTo>
                  <a:lnTo>
                    <a:pt x="831" y="491"/>
                  </a:lnTo>
                  <a:lnTo>
                    <a:pt x="831" y="491"/>
                  </a:lnTo>
                  <a:lnTo>
                    <a:pt x="830" y="491"/>
                  </a:lnTo>
                  <a:lnTo>
                    <a:pt x="830" y="492"/>
                  </a:lnTo>
                  <a:lnTo>
                    <a:pt x="827" y="492"/>
                  </a:lnTo>
                  <a:lnTo>
                    <a:pt x="826" y="492"/>
                  </a:lnTo>
                  <a:lnTo>
                    <a:pt x="824" y="495"/>
                  </a:lnTo>
                  <a:lnTo>
                    <a:pt x="821" y="501"/>
                  </a:lnTo>
                  <a:lnTo>
                    <a:pt x="821" y="504"/>
                  </a:lnTo>
                  <a:lnTo>
                    <a:pt x="821" y="506"/>
                  </a:lnTo>
                  <a:lnTo>
                    <a:pt x="823" y="507"/>
                  </a:lnTo>
                  <a:lnTo>
                    <a:pt x="824" y="506"/>
                  </a:lnTo>
                  <a:lnTo>
                    <a:pt x="826" y="506"/>
                  </a:lnTo>
                  <a:lnTo>
                    <a:pt x="827" y="506"/>
                  </a:lnTo>
                  <a:lnTo>
                    <a:pt x="828" y="506"/>
                  </a:lnTo>
                  <a:lnTo>
                    <a:pt x="830" y="508"/>
                  </a:lnTo>
                  <a:lnTo>
                    <a:pt x="831" y="510"/>
                  </a:lnTo>
                  <a:lnTo>
                    <a:pt x="831" y="511"/>
                  </a:lnTo>
                  <a:lnTo>
                    <a:pt x="830" y="514"/>
                  </a:lnTo>
                  <a:lnTo>
                    <a:pt x="830" y="517"/>
                  </a:lnTo>
                  <a:lnTo>
                    <a:pt x="830" y="520"/>
                  </a:lnTo>
                  <a:lnTo>
                    <a:pt x="831" y="526"/>
                  </a:lnTo>
                  <a:lnTo>
                    <a:pt x="833" y="527"/>
                  </a:lnTo>
                  <a:lnTo>
                    <a:pt x="834" y="529"/>
                  </a:lnTo>
                  <a:lnTo>
                    <a:pt x="836" y="530"/>
                  </a:lnTo>
                  <a:lnTo>
                    <a:pt x="836" y="530"/>
                  </a:lnTo>
                  <a:lnTo>
                    <a:pt x="837" y="532"/>
                  </a:lnTo>
                  <a:lnTo>
                    <a:pt x="842" y="532"/>
                  </a:lnTo>
                  <a:lnTo>
                    <a:pt x="846" y="530"/>
                  </a:lnTo>
                  <a:lnTo>
                    <a:pt x="849" y="532"/>
                  </a:lnTo>
                  <a:lnTo>
                    <a:pt x="842" y="545"/>
                  </a:lnTo>
                  <a:lnTo>
                    <a:pt x="840" y="546"/>
                  </a:lnTo>
                  <a:lnTo>
                    <a:pt x="837" y="549"/>
                  </a:lnTo>
                  <a:lnTo>
                    <a:pt x="827" y="558"/>
                  </a:lnTo>
                  <a:lnTo>
                    <a:pt x="826" y="558"/>
                  </a:lnTo>
                  <a:lnTo>
                    <a:pt x="817" y="559"/>
                  </a:lnTo>
                  <a:lnTo>
                    <a:pt x="809" y="558"/>
                  </a:lnTo>
                  <a:lnTo>
                    <a:pt x="804" y="558"/>
                  </a:lnTo>
                  <a:lnTo>
                    <a:pt x="802" y="558"/>
                  </a:lnTo>
                  <a:lnTo>
                    <a:pt x="801" y="559"/>
                  </a:lnTo>
                  <a:lnTo>
                    <a:pt x="799" y="562"/>
                  </a:lnTo>
                  <a:lnTo>
                    <a:pt x="792" y="571"/>
                  </a:lnTo>
                  <a:lnTo>
                    <a:pt x="793" y="581"/>
                  </a:lnTo>
                  <a:lnTo>
                    <a:pt x="792" y="586"/>
                  </a:lnTo>
                  <a:lnTo>
                    <a:pt x="791" y="590"/>
                  </a:lnTo>
                  <a:lnTo>
                    <a:pt x="789" y="591"/>
                  </a:lnTo>
                  <a:lnTo>
                    <a:pt x="788" y="593"/>
                  </a:lnTo>
                  <a:lnTo>
                    <a:pt x="785" y="594"/>
                  </a:lnTo>
                  <a:lnTo>
                    <a:pt x="780" y="596"/>
                  </a:lnTo>
                  <a:lnTo>
                    <a:pt x="779" y="596"/>
                  </a:lnTo>
                  <a:lnTo>
                    <a:pt x="777" y="596"/>
                  </a:lnTo>
                  <a:lnTo>
                    <a:pt x="776" y="596"/>
                  </a:lnTo>
                  <a:lnTo>
                    <a:pt x="775" y="594"/>
                  </a:lnTo>
                  <a:lnTo>
                    <a:pt x="773" y="594"/>
                  </a:lnTo>
                  <a:lnTo>
                    <a:pt x="770" y="593"/>
                  </a:lnTo>
                  <a:lnTo>
                    <a:pt x="766" y="594"/>
                  </a:lnTo>
                  <a:lnTo>
                    <a:pt x="757" y="607"/>
                  </a:lnTo>
                  <a:lnTo>
                    <a:pt x="754" y="610"/>
                  </a:lnTo>
                  <a:lnTo>
                    <a:pt x="753" y="610"/>
                  </a:lnTo>
                  <a:lnTo>
                    <a:pt x="751" y="610"/>
                  </a:lnTo>
                  <a:lnTo>
                    <a:pt x="750" y="610"/>
                  </a:lnTo>
                  <a:lnTo>
                    <a:pt x="748" y="609"/>
                  </a:lnTo>
                  <a:lnTo>
                    <a:pt x="747" y="609"/>
                  </a:lnTo>
                  <a:lnTo>
                    <a:pt x="745" y="607"/>
                  </a:lnTo>
                  <a:lnTo>
                    <a:pt x="745" y="607"/>
                  </a:lnTo>
                  <a:lnTo>
                    <a:pt x="744" y="603"/>
                  </a:lnTo>
                  <a:lnTo>
                    <a:pt x="742" y="603"/>
                  </a:lnTo>
                  <a:lnTo>
                    <a:pt x="741" y="602"/>
                  </a:lnTo>
                  <a:lnTo>
                    <a:pt x="738" y="602"/>
                  </a:lnTo>
                  <a:lnTo>
                    <a:pt x="735" y="602"/>
                  </a:lnTo>
                  <a:lnTo>
                    <a:pt x="734" y="602"/>
                  </a:lnTo>
                  <a:lnTo>
                    <a:pt x="732" y="603"/>
                  </a:lnTo>
                  <a:lnTo>
                    <a:pt x="732" y="605"/>
                  </a:lnTo>
                  <a:lnTo>
                    <a:pt x="731" y="606"/>
                  </a:lnTo>
                  <a:lnTo>
                    <a:pt x="731" y="607"/>
                  </a:lnTo>
                  <a:lnTo>
                    <a:pt x="726" y="612"/>
                  </a:lnTo>
                  <a:lnTo>
                    <a:pt x="718" y="619"/>
                  </a:lnTo>
                  <a:lnTo>
                    <a:pt x="715" y="623"/>
                  </a:lnTo>
                  <a:lnTo>
                    <a:pt x="712" y="629"/>
                  </a:lnTo>
                  <a:lnTo>
                    <a:pt x="712" y="632"/>
                  </a:lnTo>
                  <a:lnTo>
                    <a:pt x="712" y="634"/>
                  </a:lnTo>
                  <a:lnTo>
                    <a:pt x="712" y="635"/>
                  </a:lnTo>
                  <a:lnTo>
                    <a:pt x="713" y="637"/>
                  </a:lnTo>
                  <a:lnTo>
                    <a:pt x="718" y="640"/>
                  </a:lnTo>
                  <a:lnTo>
                    <a:pt x="718" y="641"/>
                  </a:lnTo>
                  <a:lnTo>
                    <a:pt x="719" y="642"/>
                  </a:lnTo>
                  <a:lnTo>
                    <a:pt x="719" y="648"/>
                  </a:lnTo>
                  <a:lnTo>
                    <a:pt x="718" y="650"/>
                  </a:lnTo>
                  <a:lnTo>
                    <a:pt x="715" y="653"/>
                  </a:lnTo>
                  <a:lnTo>
                    <a:pt x="715" y="654"/>
                  </a:lnTo>
                  <a:lnTo>
                    <a:pt x="715" y="657"/>
                  </a:lnTo>
                  <a:lnTo>
                    <a:pt x="715" y="658"/>
                  </a:lnTo>
                  <a:lnTo>
                    <a:pt x="713" y="660"/>
                  </a:lnTo>
                  <a:lnTo>
                    <a:pt x="708" y="661"/>
                  </a:lnTo>
                  <a:lnTo>
                    <a:pt x="706" y="663"/>
                  </a:lnTo>
                  <a:lnTo>
                    <a:pt x="705" y="664"/>
                  </a:lnTo>
                  <a:lnTo>
                    <a:pt x="702" y="666"/>
                  </a:lnTo>
                  <a:lnTo>
                    <a:pt x="702" y="667"/>
                  </a:lnTo>
                  <a:lnTo>
                    <a:pt x="702" y="669"/>
                  </a:lnTo>
                  <a:lnTo>
                    <a:pt x="705" y="673"/>
                  </a:lnTo>
                  <a:lnTo>
                    <a:pt x="696" y="677"/>
                  </a:lnTo>
                  <a:lnTo>
                    <a:pt x="693" y="680"/>
                  </a:lnTo>
                  <a:lnTo>
                    <a:pt x="691" y="682"/>
                  </a:lnTo>
                  <a:lnTo>
                    <a:pt x="684" y="683"/>
                  </a:lnTo>
                  <a:lnTo>
                    <a:pt x="681" y="685"/>
                  </a:lnTo>
                  <a:lnTo>
                    <a:pt x="680" y="685"/>
                  </a:lnTo>
                  <a:lnTo>
                    <a:pt x="678" y="686"/>
                  </a:lnTo>
                  <a:lnTo>
                    <a:pt x="677" y="686"/>
                  </a:lnTo>
                  <a:lnTo>
                    <a:pt x="675" y="686"/>
                  </a:lnTo>
                  <a:lnTo>
                    <a:pt x="675" y="685"/>
                  </a:lnTo>
                  <a:lnTo>
                    <a:pt x="675" y="683"/>
                  </a:lnTo>
                  <a:lnTo>
                    <a:pt x="675" y="682"/>
                  </a:lnTo>
                  <a:lnTo>
                    <a:pt x="675" y="682"/>
                  </a:lnTo>
                  <a:lnTo>
                    <a:pt x="674" y="680"/>
                  </a:lnTo>
                  <a:lnTo>
                    <a:pt x="671" y="679"/>
                  </a:lnTo>
                  <a:lnTo>
                    <a:pt x="670" y="677"/>
                  </a:lnTo>
                  <a:lnTo>
                    <a:pt x="668" y="677"/>
                  </a:lnTo>
                  <a:lnTo>
                    <a:pt x="668" y="676"/>
                  </a:lnTo>
                  <a:lnTo>
                    <a:pt x="667" y="676"/>
                  </a:lnTo>
                  <a:lnTo>
                    <a:pt x="667" y="674"/>
                  </a:lnTo>
                  <a:lnTo>
                    <a:pt x="667" y="674"/>
                  </a:lnTo>
                  <a:lnTo>
                    <a:pt x="665" y="674"/>
                  </a:lnTo>
                  <a:lnTo>
                    <a:pt x="662" y="674"/>
                  </a:lnTo>
                  <a:lnTo>
                    <a:pt x="657" y="674"/>
                  </a:lnTo>
                  <a:lnTo>
                    <a:pt x="654" y="676"/>
                  </a:lnTo>
                  <a:lnTo>
                    <a:pt x="654" y="677"/>
                  </a:lnTo>
                  <a:lnTo>
                    <a:pt x="654" y="677"/>
                  </a:lnTo>
                  <a:lnTo>
                    <a:pt x="652" y="679"/>
                  </a:lnTo>
                  <a:lnTo>
                    <a:pt x="646" y="680"/>
                  </a:lnTo>
                  <a:lnTo>
                    <a:pt x="606" y="689"/>
                  </a:lnTo>
                  <a:lnTo>
                    <a:pt x="595" y="685"/>
                  </a:lnTo>
                  <a:lnTo>
                    <a:pt x="591" y="685"/>
                  </a:lnTo>
                  <a:lnTo>
                    <a:pt x="588" y="685"/>
                  </a:lnTo>
                  <a:lnTo>
                    <a:pt x="587" y="685"/>
                  </a:lnTo>
                  <a:lnTo>
                    <a:pt x="585" y="686"/>
                  </a:lnTo>
                  <a:lnTo>
                    <a:pt x="585" y="689"/>
                  </a:lnTo>
                  <a:lnTo>
                    <a:pt x="584" y="690"/>
                  </a:lnTo>
                  <a:lnTo>
                    <a:pt x="582" y="692"/>
                  </a:lnTo>
                  <a:lnTo>
                    <a:pt x="582" y="692"/>
                  </a:lnTo>
                  <a:lnTo>
                    <a:pt x="576" y="692"/>
                  </a:lnTo>
                  <a:lnTo>
                    <a:pt x="575" y="693"/>
                  </a:lnTo>
                  <a:lnTo>
                    <a:pt x="572" y="693"/>
                  </a:lnTo>
                  <a:lnTo>
                    <a:pt x="569" y="692"/>
                  </a:lnTo>
                  <a:lnTo>
                    <a:pt x="565" y="688"/>
                  </a:lnTo>
                  <a:lnTo>
                    <a:pt x="560" y="685"/>
                  </a:lnTo>
                  <a:lnTo>
                    <a:pt x="559" y="683"/>
                  </a:lnTo>
                  <a:lnTo>
                    <a:pt x="557" y="682"/>
                  </a:lnTo>
                  <a:lnTo>
                    <a:pt x="557" y="674"/>
                  </a:lnTo>
                  <a:lnTo>
                    <a:pt x="557" y="670"/>
                  </a:lnTo>
                  <a:lnTo>
                    <a:pt x="556" y="669"/>
                  </a:lnTo>
                  <a:lnTo>
                    <a:pt x="556" y="667"/>
                  </a:lnTo>
                  <a:lnTo>
                    <a:pt x="553" y="666"/>
                  </a:lnTo>
                  <a:lnTo>
                    <a:pt x="552" y="666"/>
                  </a:lnTo>
                  <a:lnTo>
                    <a:pt x="550" y="666"/>
                  </a:lnTo>
                  <a:lnTo>
                    <a:pt x="549" y="667"/>
                  </a:lnTo>
                  <a:lnTo>
                    <a:pt x="547" y="667"/>
                  </a:lnTo>
                  <a:lnTo>
                    <a:pt x="546" y="666"/>
                  </a:lnTo>
                  <a:lnTo>
                    <a:pt x="543" y="663"/>
                  </a:lnTo>
                  <a:lnTo>
                    <a:pt x="540" y="660"/>
                  </a:lnTo>
                  <a:lnTo>
                    <a:pt x="536" y="658"/>
                  </a:lnTo>
                  <a:lnTo>
                    <a:pt x="536" y="656"/>
                  </a:lnTo>
                  <a:lnTo>
                    <a:pt x="536" y="654"/>
                  </a:lnTo>
                  <a:lnTo>
                    <a:pt x="536" y="635"/>
                  </a:lnTo>
                  <a:lnTo>
                    <a:pt x="539" y="634"/>
                  </a:lnTo>
                  <a:lnTo>
                    <a:pt x="541" y="631"/>
                  </a:lnTo>
                  <a:lnTo>
                    <a:pt x="541" y="631"/>
                  </a:lnTo>
                  <a:lnTo>
                    <a:pt x="541" y="629"/>
                  </a:lnTo>
                  <a:lnTo>
                    <a:pt x="541" y="628"/>
                  </a:lnTo>
                  <a:lnTo>
                    <a:pt x="541" y="628"/>
                  </a:lnTo>
                  <a:lnTo>
                    <a:pt x="541" y="626"/>
                  </a:lnTo>
                  <a:lnTo>
                    <a:pt x="539" y="621"/>
                  </a:lnTo>
                  <a:lnTo>
                    <a:pt x="533" y="618"/>
                  </a:lnTo>
                  <a:lnTo>
                    <a:pt x="509" y="618"/>
                  </a:lnTo>
                  <a:lnTo>
                    <a:pt x="506" y="621"/>
                  </a:lnTo>
                  <a:lnTo>
                    <a:pt x="505" y="622"/>
                  </a:lnTo>
                  <a:lnTo>
                    <a:pt x="502" y="623"/>
                  </a:lnTo>
                  <a:lnTo>
                    <a:pt x="501" y="625"/>
                  </a:lnTo>
                  <a:lnTo>
                    <a:pt x="501" y="626"/>
                  </a:lnTo>
                  <a:lnTo>
                    <a:pt x="501" y="628"/>
                  </a:lnTo>
                  <a:lnTo>
                    <a:pt x="501" y="628"/>
                  </a:lnTo>
                  <a:lnTo>
                    <a:pt x="501" y="629"/>
                  </a:lnTo>
                  <a:lnTo>
                    <a:pt x="501" y="629"/>
                  </a:lnTo>
                  <a:lnTo>
                    <a:pt x="499" y="631"/>
                  </a:lnTo>
                  <a:lnTo>
                    <a:pt x="492" y="637"/>
                  </a:lnTo>
                  <a:lnTo>
                    <a:pt x="486" y="638"/>
                  </a:lnTo>
                  <a:lnTo>
                    <a:pt x="476" y="642"/>
                  </a:lnTo>
                  <a:lnTo>
                    <a:pt x="477" y="648"/>
                  </a:lnTo>
                  <a:lnTo>
                    <a:pt x="479" y="651"/>
                  </a:lnTo>
                  <a:lnTo>
                    <a:pt x="479" y="653"/>
                  </a:lnTo>
                  <a:lnTo>
                    <a:pt x="479" y="653"/>
                  </a:lnTo>
                  <a:lnTo>
                    <a:pt x="477" y="656"/>
                  </a:lnTo>
                  <a:lnTo>
                    <a:pt x="479" y="657"/>
                  </a:lnTo>
                  <a:lnTo>
                    <a:pt x="479" y="660"/>
                  </a:lnTo>
                  <a:lnTo>
                    <a:pt x="480" y="661"/>
                  </a:lnTo>
                  <a:lnTo>
                    <a:pt x="480" y="663"/>
                  </a:lnTo>
                  <a:lnTo>
                    <a:pt x="480" y="666"/>
                  </a:lnTo>
                  <a:lnTo>
                    <a:pt x="480" y="667"/>
                  </a:lnTo>
                  <a:lnTo>
                    <a:pt x="480" y="669"/>
                  </a:lnTo>
                  <a:lnTo>
                    <a:pt x="480" y="677"/>
                  </a:lnTo>
                  <a:lnTo>
                    <a:pt x="480" y="680"/>
                  </a:lnTo>
                  <a:lnTo>
                    <a:pt x="480" y="682"/>
                  </a:lnTo>
                  <a:lnTo>
                    <a:pt x="482" y="683"/>
                  </a:lnTo>
                  <a:lnTo>
                    <a:pt x="482" y="685"/>
                  </a:lnTo>
                  <a:lnTo>
                    <a:pt x="482" y="688"/>
                  </a:lnTo>
                  <a:lnTo>
                    <a:pt x="482" y="689"/>
                  </a:lnTo>
                  <a:lnTo>
                    <a:pt x="482" y="690"/>
                  </a:lnTo>
                  <a:lnTo>
                    <a:pt x="485" y="693"/>
                  </a:lnTo>
                  <a:lnTo>
                    <a:pt x="486" y="695"/>
                  </a:lnTo>
                  <a:lnTo>
                    <a:pt x="486" y="696"/>
                  </a:lnTo>
                  <a:lnTo>
                    <a:pt x="486" y="698"/>
                  </a:lnTo>
                  <a:lnTo>
                    <a:pt x="486" y="699"/>
                  </a:lnTo>
                  <a:lnTo>
                    <a:pt x="486" y="701"/>
                  </a:lnTo>
                  <a:lnTo>
                    <a:pt x="486" y="702"/>
                  </a:lnTo>
                  <a:lnTo>
                    <a:pt x="488" y="704"/>
                  </a:lnTo>
                  <a:lnTo>
                    <a:pt x="488" y="705"/>
                  </a:lnTo>
                  <a:lnTo>
                    <a:pt x="486" y="706"/>
                  </a:lnTo>
                  <a:lnTo>
                    <a:pt x="483" y="706"/>
                  </a:lnTo>
                  <a:lnTo>
                    <a:pt x="483" y="708"/>
                  </a:lnTo>
                  <a:lnTo>
                    <a:pt x="483" y="708"/>
                  </a:lnTo>
                  <a:lnTo>
                    <a:pt x="483" y="711"/>
                  </a:lnTo>
                  <a:lnTo>
                    <a:pt x="483" y="712"/>
                  </a:lnTo>
                  <a:lnTo>
                    <a:pt x="483" y="714"/>
                  </a:lnTo>
                  <a:lnTo>
                    <a:pt x="483" y="715"/>
                  </a:lnTo>
                  <a:lnTo>
                    <a:pt x="480" y="723"/>
                  </a:lnTo>
                  <a:lnTo>
                    <a:pt x="480" y="725"/>
                  </a:lnTo>
                  <a:lnTo>
                    <a:pt x="480" y="727"/>
                  </a:lnTo>
                  <a:lnTo>
                    <a:pt x="482" y="730"/>
                  </a:lnTo>
                  <a:lnTo>
                    <a:pt x="482" y="731"/>
                  </a:lnTo>
                  <a:lnTo>
                    <a:pt x="482" y="733"/>
                  </a:lnTo>
                  <a:lnTo>
                    <a:pt x="482" y="736"/>
                  </a:lnTo>
                  <a:lnTo>
                    <a:pt x="479" y="739"/>
                  </a:lnTo>
                  <a:lnTo>
                    <a:pt x="479" y="741"/>
                  </a:lnTo>
                  <a:lnTo>
                    <a:pt x="479" y="743"/>
                  </a:lnTo>
                  <a:lnTo>
                    <a:pt x="479" y="746"/>
                  </a:lnTo>
                  <a:lnTo>
                    <a:pt x="479" y="747"/>
                  </a:lnTo>
                  <a:lnTo>
                    <a:pt x="479" y="749"/>
                  </a:lnTo>
                  <a:lnTo>
                    <a:pt x="479" y="750"/>
                  </a:lnTo>
                  <a:lnTo>
                    <a:pt x="477" y="750"/>
                  </a:lnTo>
                  <a:lnTo>
                    <a:pt x="474" y="750"/>
                  </a:lnTo>
                  <a:lnTo>
                    <a:pt x="467" y="749"/>
                  </a:lnTo>
                  <a:lnTo>
                    <a:pt x="464" y="747"/>
                  </a:lnTo>
                  <a:lnTo>
                    <a:pt x="461" y="744"/>
                  </a:lnTo>
                  <a:lnTo>
                    <a:pt x="460" y="744"/>
                  </a:lnTo>
                  <a:lnTo>
                    <a:pt x="457" y="752"/>
                  </a:lnTo>
                  <a:lnTo>
                    <a:pt x="439" y="736"/>
                  </a:lnTo>
                  <a:lnTo>
                    <a:pt x="437" y="731"/>
                  </a:lnTo>
                  <a:lnTo>
                    <a:pt x="444" y="724"/>
                  </a:lnTo>
                  <a:lnTo>
                    <a:pt x="444" y="723"/>
                  </a:lnTo>
                  <a:lnTo>
                    <a:pt x="444" y="721"/>
                  </a:lnTo>
                  <a:lnTo>
                    <a:pt x="444" y="720"/>
                  </a:lnTo>
                  <a:lnTo>
                    <a:pt x="444" y="720"/>
                  </a:lnTo>
                  <a:lnTo>
                    <a:pt x="442" y="718"/>
                  </a:lnTo>
                  <a:lnTo>
                    <a:pt x="442" y="715"/>
                  </a:lnTo>
                  <a:lnTo>
                    <a:pt x="439" y="714"/>
                  </a:lnTo>
                  <a:lnTo>
                    <a:pt x="438" y="708"/>
                  </a:lnTo>
                  <a:lnTo>
                    <a:pt x="437" y="708"/>
                  </a:lnTo>
                  <a:lnTo>
                    <a:pt x="435" y="708"/>
                  </a:lnTo>
                  <a:lnTo>
                    <a:pt x="434" y="708"/>
                  </a:lnTo>
                  <a:lnTo>
                    <a:pt x="432" y="706"/>
                  </a:lnTo>
                  <a:lnTo>
                    <a:pt x="431" y="705"/>
                  </a:lnTo>
                  <a:lnTo>
                    <a:pt x="429" y="702"/>
                  </a:lnTo>
                  <a:lnTo>
                    <a:pt x="429" y="701"/>
                  </a:lnTo>
                  <a:lnTo>
                    <a:pt x="428" y="701"/>
                  </a:lnTo>
                  <a:lnTo>
                    <a:pt x="423" y="702"/>
                  </a:lnTo>
                  <a:lnTo>
                    <a:pt x="422" y="704"/>
                  </a:lnTo>
                  <a:lnTo>
                    <a:pt x="421" y="705"/>
                  </a:lnTo>
                  <a:lnTo>
                    <a:pt x="421" y="705"/>
                  </a:lnTo>
                  <a:lnTo>
                    <a:pt x="419" y="706"/>
                  </a:lnTo>
                  <a:lnTo>
                    <a:pt x="418" y="706"/>
                  </a:lnTo>
                  <a:lnTo>
                    <a:pt x="413" y="708"/>
                  </a:lnTo>
                  <a:lnTo>
                    <a:pt x="412" y="708"/>
                  </a:lnTo>
                  <a:lnTo>
                    <a:pt x="407" y="711"/>
                  </a:lnTo>
                  <a:lnTo>
                    <a:pt x="406" y="709"/>
                  </a:lnTo>
                  <a:lnTo>
                    <a:pt x="404" y="709"/>
                  </a:lnTo>
                  <a:lnTo>
                    <a:pt x="403" y="706"/>
                  </a:lnTo>
                  <a:lnTo>
                    <a:pt x="400" y="704"/>
                  </a:lnTo>
                  <a:lnTo>
                    <a:pt x="399" y="704"/>
                  </a:lnTo>
                  <a:lnTo>
                    <a:pt x="388" y="702"/>
                  </a:lnTo>
                  <a:lnTo>
                    <a:pt x="388" y="702"/>
                  </a:lnTo>
                  <a:lnTo>
                    <a:pt x="387" y="702"/>
                  </a:lnTo>
                  <a:lnTo>
                    <a:pt x="387" y="706"/>
                  </a:lnTo>
                  <a:lnTo>
                    <a:pt x="387" y="706"/>
                  </a:lnTo>
                  <a:lnTo>
                    <a:pt x="386" y="708"/>
                  </a:lnTo>
                  <a:lnTo>
                    <a:pt x="386" y="709"/>
                  </a:lnTo>
                  <a:lnTo>
                    <a:pt x="383" y="708"/>
                  </a:lnTo>
                  <a:lnTo>
                    <a:pt x="381" y="706"/>
                  </a:lnTo>
                  <a:lnTo>
                    <a:pt x="370" y="689"/>
                  </a:lnTo>
                  <a:lnTo>
                    <a:pt x="367" y="688"/>
                  </a:lnTo>
                  <a:lnTo>
                    <a:pt x="365" y="689"/>
                  </a:lnTo>
                  <a:lnTo>
                    <a:pt x="355" y="692"/>
                  </a:lnTo>
                  <a:lnTo>
                    <a:pt x="355" y="692"/>
                  </a:lnTo>
                  <a:lnTo>
                    <a:pt x="354" y="692"/>
                  </a:lnTo>
                  <a:lnTo>
                    <a:pt x="352" y="690"/>
                  </a:lnTo>
                  <a:lnTo>
                    <a:pt x="352" y="690"/>
                  </a:lnTo>
                  <a:lnTo>
                    <a:pt x="351" y="689"/>
                  </a:lnTo>
                  <a:lnTo>
                    <a:pt x="351" y="688"/>
                  </a:lnTo>
                  <a:lnTo>
                    <a:pt x="349" y="688"/>
                  </a:lnTo>
                  <a:lnTo>
                    <a:pt x="349" y="686"/>
                  </a:lnTo>
                  <a:lnTo>
                    <a:pt x="348" y="685"/>
                  </a:lnTo>
                  <a:lnTo>
                    <a:pt x="348" y="685"/>
                  </a:lnTo>
                  <a:lnTo>
                    <a:pt x="346" y="685"/>
                  </a:lnTo>
                  <a:lnTo>
                    <a:pt x="345" y="685"/>
                  </a:lnTo>
                  <a:lnTo>
                    <a:pt x="343" y="686"/>
                  </a:lnTo>
                  <a:lnTo>
                    <a:pt x="340" y="688"/>
                  </a:lnTo>
                  <a:lnTo>
                    <a:pt x="335" y="686"/>
                  </a:lnTo>
                  <a:lnTo>
                    <a:pt x="333" y="686"/>
                  </a:lnTo>
                  <a:lnTo>
                    <a:pt x="332" y="688"/>
                  </a:lnTo>
                  <a:lnTo>
                    <a:pt x="327" y="690"/>
                  </a:lnTo>
                  <a:lnTo>
                    <a:pt x="326" y="690"/>
                  </a:lnTo>
                  <a:lnTo>
                    <a:pt x="323" y="692"/>
                  </a:lnTo>
                  <a:lnTo>
                    <a:pt x="323" y="692"/>
                  </a:lnTo>
                  <a:lnTo>
                    <a:pt x="321" y="690"/>
                  </a:lnTo>
                  <a:lnTo>
                    <a:pt x="319" y="689"/>
                  </a:lnTo>
                  <a:lnTo>
                    <a:pt x="317" y="689"/>
                  </a:lnTo>
                  <a:lnTo>
                    <a:pt x="316" y="689"/>
                  </a:lnTo>
                  <a:lnTo>
                    <a:pt x="314" y="690"/>
                  </a:lnTo>
                  <a:lnTo>
                    <a:pt x="313" y="692"/>
                  </a:lnTo>
                  <a:lnTo>
                    <a:pt x="308" y="701"/>
                  </a:lnTo>
                  <a:lnTo>
                    <a:pt x="307" y="702"/>
                  </a:lnTo>
                  <a:lnTo>
                    <a:pt x="307" y="704"/>
                  </a:lnTo>
                  <a:lnTo>
                    <a:pt x="305" y="705"/>
                  </a:lnTo>
                  <a:lnTo>
                    <a:pt x="304" y="705"/>
                  </a:lnTo>
                  <a:lnTo>
                    <a:pt x="303" y="705"/>
                  </a:lnTo>
                  <a:lnTo>
                    <a:pt x="303" y="705"/>
                  </a:lnTo>
                  <a:lnTo>
                    <a:pt x="298" y="704"/>
                  </a:lnTo>
                  <a:lnTo>
                    <a:pt x="295" y="704"/>
                  </a:lnTo>
                  <a:lnTo>
                    <a:pt x="294" y="704"/>
                  </a:lnTo>
                  <a:lnTo>
                    <a:pt x="292" y="705"/>
                  </a:lnTo>
                  <a:lnTo>
                    <a:pt x="291" y="708"/>
                  </a:lnTo>
                  <a:lnTo>
                    <a:pt x="291" y="721"/>
                  </a:lnTo>
                  <a:lnTo>
                    <a:pt x="291" y="724"/>
                  </a:lnTo>
                  <a:lnTo>
                    <a:pt x="292" y="727"/>
                  </a:lnTo>
                  <a:lnTo>
                    <a:pt x="294" y="727"/>
                  </a:lnTo>
                  <a:lnTo>
                    <a:pt x="295" y="728"/>
                  </a:lnTo>
                  <a:lnTo>
                    <a:pt x="298" y="730"/>
                  </a:lnTo>
                  <a:lnTo>
                    <a:pt x="303" y="733"/>
                  </a:lnTo>
                  <a:lnTo>
                    <a:pt x="303" y="734"/>
                  </a:lnTo>
                  <a:lnTo>
                    <a:pt x="307" y="739"/>
                  </a:lnTo>
                  <a:lnTo>
                    <a:pt x="308" y="739"/>
                  </a:lnTo>
                  <a:lnTo>
                    <a:pt x="310" y="740"/>
                  </a:lnTo>
                  <a:lnTo>
                    <a:pt x="311" y="740"/>
                  </a:lnTo>
                  <a:lnTo>
                    <a:pt x="313" y="741"/>
                  </a:lnTo>
                  <a:lnTo>
                    <a:pt x="319" y="740"/>
                  </a:lnTo>
                  <a:lnTo>
                    <a:pt x="320" y="740"/>
                  </a:lnTo>
                  <a:lnTo>
                    <a:pt x="321" y="741"/>
                  </a:lnTo>
                  <a:lnTo>
                    <a:pt x="321" y="743"/>
                  </a:lnTo>
                  <a:lnTo>
                    <a:pt x="323" y="746"/>
                  </a:lnTo>
                  <a:lnTo>
                    <a:pt x="323" y="746"/>
                  </a:lnTo>
                  <a:lnTo>
                    <a:pt x="323" y="747"/>
                  </a:lnTo>
                  <a:lnTo>
                    <a:pt x="324" y="749"/>
                  </a:lnTo>
                  <a:lnTo>
                    <a:pt x="326" y="749"/>
                  </a:lnTo>
                  <a:lnTo>
                    <a:pt x="327" y="750"/>
                  </a:lnTo>
                  <a:lnTo>
                    <a:pt x="333" y="752"/>
                  </a:lnTo>
                  <a:lnTo>
                    <a:pt x="335" y="752"/>
                  </a:lnTo>
                  <a:lnTo>
                    <a:pt x="335" y="753"/>
                  </a:lnTo>
                  <a:lnTo>
                    <a:pt x="336" y="755"/>
                  </a:lnTo>
                  <a:lnTo>
                    <a:pt x="336" y="757"/>
                  </a:lnTo>
                  <a:lnTo>
                    <a:pt x="336" y="759"/>
                  </a:lnTo>
                  <a:lnTo>
                    <a:pt x="336" y="760"/>
                  </a:lnTo>
                  <a:lnTo>
                    <a:pt x="336" y="763"/>
                  </a:lnTo>
                  <a:lnTo>
                    <a:pt x="336" y="765"/>
                  </a:lnTo>
                  <a:lnTo>
                    <a:pt x="335" y="766"/>
                  </a:lnTo>
                  <a:lnTo>
                    <a:pt x="335" y="768"/>
                  </a:lnTo>
                  <a:lnTo>
                    <a:pt x="333" y="768"/>
                  </a:lnTo>
                  <a:lnTo>
                    <a:pt x="330" y="768"/>
                  </a:lnTo>
                  <a:lnTo>
                    <a:pt x="326" y="768"/>
                  </a:lnTo>
                  <a:lnTo>
                    <a:pt x="321" y="765"/>
                  </a:lnTo>
                  <a:lnTo>
                    <a:pt x="320" y="765"/>
                  </a:lnTo>
                  <a:lnTo>
                    <a:pt x="308" y="766"/>
                  </a:lnTo>
                  <a:lnTo>
                    <a:pt x="305" y="766"/>
                  </a:lnTo>
                  <a:lnTo>
                    <a:pt x="304" y="766"/>
                  </a:lnTo>
                  <a:lnTo>
                    <a:pt x="303" y="765"/>
                  </a:lnTo>
                  <a:lnTo>
                    <a:pt x="301" y="765"/>
                  </a:lnTo>
                  <a:lnTo>
                    <a:pt x="300" y="765"/>
                  </a:lnTo>
                  <a:lnTo>
                    <a:pt x="298" y="765"/>
                  </a:lnTo>
                  <a:lnTo>
                    <a:pt x="297" y="768"/>
                  </a:lnTo>
                  <a:lnTo>
                    <a:pt x="295" y="779"/>
                  </a:lnTo>
                  <a:lnTo>
                    <a:pt x="295" y="784"/>
                  </a:lnTo>
                  <a:lnTo>
                    <a:pt x="295" y="785"/>
                  </a:lnTo>
                  <a:lnTo>
                    <a:pt x="294" y="787"/>
                  </a:lnTo>
                  <a:lnTo>
                    <a:pt x="292" y="787"/>
                  </a:lnTo>
                  <a:lnTo>
                    <a:pt x="289" y="785"/>
                  </a:lnTo>
                  <a:lnTo>
                    <a:pt x="285" y="782"/>
                  </a:lnTo>
                  <a:lnTo>
                    <a:pt x="281" y="779"/>
                  </a:lnTo>
                  <a:lnTo>
                    <a:pt x="272" y="776"/>
                  </a:lnTo>
                  <a:lnTo>
                    <a:pt x="256" y="776"/>
                  </a:lnTo>
                  <a:lnTo>
                    <a:pt x="254" y="773"/>
                  </a:lnTo>
                  <a:lnTo>
                    <a:pt x="252" y="771"/>
                  </a:lnTo>
                  <a:lnTo>
                    <a:pt x="252" y="769"/>
                  </a:lnTo>
                  <a:lnTo>
                    <a:pt x="252" y="768"/>
                  </a:lnTo>
                  <a:lnTo>
                    <a:pt x="253" y="766"/>
                  </a:lnTo>
                  <a:lnTo>
                    <a:pt x="253" y="765"/>
                  </a:lnTo>
                  <a:lnTo>
                    <a:pt x="253" y="763"/>
                  </a:lnTo>
                  <a:lnTo>
                    <a:pt x="250" y="757"/>
                  </a:lnTo>
                  <a:lnTo>
                    <a:pt x="249" y="753"/>
                  </a:lnTo>
                  <a:lnTo>
                    <a:pt x="249" y="752"/>
                  </a:lnTo>
                  <a:lnTo>
                    <a:pt x="249" y="749"/>
                  </a:lnTo>
                  <a:lnTo>
                    <a:pt x="250" y="747"/>
                  </a:lnTo>
                  <a:lnTo>
                    <a:pt x="250" y="744"/>
                  </a:lnTo>
                  <a:lnTo>
                    <a:pt x="250" y="743"/>
                  </a:lnTo>
                  <a:lnTo>
                    <a:pt x="250" y="740"/>
                  </a:lnTo>
                  <a:lnTo>
                    <a:pt x="250" y="737"/>
                  </a:lnTo>
                  <a:lnTo>
                    <a:pt x="249" y="730"/>
                  </a:lnTo>
                  <a:lnTo>
                    <a:pt x="249" y="727"/>
                  </a:lnTo>
                  <a:lnTo>
                    <a:pt x="249" y="724"/>
                  </a:lnTo>
                  <a:lnTo>
                    <a:pt x="247" y="723"/>
                  </a:lnTo>
                  <a:lnTo>
                    <a:pt x="247" y="721"/>
                  </a:lnTo>
                  <a:lnTo>
                    <a:pt x="241" y="718"/>
                  </a:lnTo>
                  <a:lnTo>
                    <a:pt x="238" y="714"/>
                  </a:lnTo>
                  <a:lnTo>
                    <a:pt x="234" y="704"/>
                  </a:lnTo>
                  <a:lnTo>
                    <a:pt x="228" y="705"/>
                  </a:lnTo>
                  <a:lnTo>
                    <a:pt x="225" y="706"/>
                  </a:lnTo>
                  <a:lnTo>
                    <a:pt x="225" y="708"/>
                  </a:lnTo>
                  <a:lnTo>
                    <a:pt x="224" y="708"/>
                  </a:lnTo>
                  <a:lnTo>
                    <a:pt x="221" y="708"/>
                  </a:lnTo>
                  <a:lnTo>
                    <a:pt x="215" y="706"/>
                  </a:lnTo>
                  <a:lnTo>
                    <a:pt x="215" y="706"/>
                  </a:lnTo>
                  <a:lnTo>
                    <a:pt x="214" y="705"/>
                  </a:lnTo>
                  <a:lnTo>
                    <a:pt x="215" y="704"/>
                  </a:lnTo>
                  <a:lnTo>
                    <a:pt x="214" y="702"/>
                  </a:lnTo>
                  <a:lnTo>
                    <a:pt x="214" y="701"/>
                  </a:lnTo>
                  <a:lnTo>
                    <a:pt x="203" y="692"/>
                  </a:lnTo>
                  <a:lnTo>
                    <a:pt x="202" y="690"/>
                  </a:lnTo>
                  <a:lnTo>
                    <a:pt x="201" y="689"/>
                  </a:lnTo>
                  <a:lnTo>
                    <a:pt x="201" y="686"/>
                  </a:lnTo>
                  <a:lnTo>
                    <a:pt x="199" y="685"/>
                  </a:lnTo>
                  <a:lnTo>
                    <a:pt x="199" y="683"/>
                  </a:lnTo>
                  <a:lnTo>
                    <a:pt x="198" y="682"/>
                  </a:lnTo>
                  <a:lnTo>
                    <a:pt x="196" y="683"/>
                  </a:lnTo>
                  <a:lnTo>
                    <a:pt x="193" y="685"/>
                  </a:lnTo>
                  <a:lnTo>
                    <a:pt x="190" y="685"/>
                  </a:lnTo>
                  <a:lnTo>
                    <a:pt x="183" y="685"/>
                  </a:lnTo>
                  <a:lnTo>
                    <a:pt x="182" y="683"/>
                  </a:lnTo>
                  <a:lnTo>
                    <a:pt x="180" y="682"/>
                  </a:lnTo>
                  <a:lnTo>
                    <a:pt x="179" y="679"/>
                  </a:lnTo>
                  <a:lnTo>
                    <a:pt x="179" y="677"/>
                  </a:lnTo>
                  <a:lnTo>
                    <a:pt x="179" y="676"/>
                  </a:lnTo>
                  <a:lnTo>
                    <a:pt x="180" y="673"/>
                  </a:lnTo>
                  <a:lnTo>
                    <a:pt x="182" y="673"/>
                  </a:lnTo>
                  <a:lnTo>
                    <a:pt x="182" y="672"/>
                  </a:lnTo>
                  <a:lnTo>
                    <a:pt x="182" y="669"/>
                  </a:lnTo>
                  <a:lnTo>
                    <a:pt x="171" y="661"/>
                  </a:lnTo>
                  <a:lnTo>
                    <a:pt x="170" y="660"/>
                  </a:lnTo>
                  <a:lnTo>
                    <a:pt x="168" y="658"/>
                  </a:lnTo>
                  <a:lnTo>
                    <a:pt x="167" y="656"/>
                  </a:lnTo>
                  <a:lnTo>
                    <a:pt x="166" y="654"/>
                  </a:lnTo>
                  <a:lnTo>
                    <a:pt x="161" y="650"/>
                  </a:lnTo>
                  <a:lnTo>
                    <a:pt x="160" y="648"/>
                  </a:lnTo>
                  <a:lnTo>
                    <a:pt x="160" y="647"/>
                  </a:lnTo>
                  <a:lnTo>
                    <a:pt x="160" y="645"/>
                  </a:lnTo>
                  <a:lnTo>
                    <a:pt x="160" y="642"/>
                  </a:lnTo>
                  <a:lnTo>
                    <a:pt x="160" y="641"/>
                  </a:lnTo>
                  <a:lnTo>
                    <a:pt x="160" y="640"/>
                  </a:lnTo>
                  <a:lnTo>
                    <a:pt x="158" y="637"/>
                  </a:lnTo>
                  <a:lnTo>
                    <a:pt x="158" y="635"/>
                  </a:lnTo>
                  <a:lnTo>
                    <a:pt x="155" y="634"/>
                  </a:lnTo>
                  <a:lnTo>
                    <a:pt x="152" y="632"/>
                  </a:lnTo>
                  <a:lnTo>
                    <a:pt x="125" y="622"/>
                  </a:lnTo>
                  <a:lnTo>
                    <a:pt x="122" y="621"/>
                  </a:lnTo>
                  <a:lnTo>
                    <a:pt x="122" y="619"/>
                  </a:lnTo>
                  <a:lnTo>
                    <a:pt x="120" y="616"/>
                  </a:lnTo>
                  <a:lnTo>
                    <a:pt x="119" y="612"/>
                  </a:lnTo>
                  <a:lnTo>
                    <a:pt x="119" y="609"/>
                  </a:lnTo>
                  <a:lnTo>
                    <a:pt x="118" y="607"/>
                  </a:lnTo>
                  <a:lnTo>
                    <a:pt x="116" y="606"/>
                  </a:lnTo>
                  <a:lnTo>
                    <a:pt x="115" y="605"/>
                  </a:lnTo>
                  <a:lnTo>
                    <a:pt x="113" y="603"/>
                  </a:lnTo>
                  <a:lnTo>
                    <a:pt x="113" y="602"/>
                  </a:lnTo>
                  <a:lnTo>
                    <a:pt x="110" y="602"/>
                  </a:lnTo>
                  <a:lnTo>
                    <a:pt x="107" y="600"/>
                  </a:lnTo>
                  <a:lnTo>
                    <a:pt x="90" y="602"/>
                  </a:lnTo>
                  <a:lnTo>
                    <a:pt x="88" y="602"/>
                  </a:lnTo>
                  <a:lnTo>
                    <a:pt x="87" y="602"/>
                  </a:lnTo>
                  <a:lnTo>
                    <a:pt x="87" y="600"/>
                  </a:lnTo>
                  <a:lnTo>
                    <a:pt x="87" y="599"/>
                  </a:lnTo>
                  <a:lnTo>
                    <a:pt x="87" y="597"/>
                  </a:lnTo>
                  <a:lnTo>
                    <a:pt x="87" y="596"/>
                  </a:lnTo>
                  <a:lnTo>
                    <a:pt x="87" y="594"/>
                  </a:lnTo>
                  <a:lnTo>
                    <a:pt x="85" y="593"/>
                  </a:lnTo>
                  <a:lnTo>
                    <a:pt x="80" y="597"/>
                  </a:lnTo>
                  <a:lnTo>
                    <a:pt x="61" y="618"/>
                  </a:lnTo>
                  <a:lnTo>
                    <a:pt x="59" y="618"/>
                  </a:lnTo>
                  <a:lnTo>
                    <a:pt x="58" y="616"/>
                  </a:lnTo>
                  <a:lnTo>
                    <a:pt x="58" y="615"/>
                  </a:lnTo>
                  <a:lnTo>
                    <a:pt x="58" y="613"/>
                  </a:lnTo>
                  <a:lnTo>
                    <a:pt x="59" y="610"/>
                  </a:lnTo>
                  <a:lnTo>
                    <a:pt x="62" y="600"/>
                  </a:lnTo>
                  <a:lnTo>
                    <a:pt x="62" y="597"/>
                  </a:lnTo>
                  <a:lnTo>
                    <a:pt x="59" y="591"/>
                  </a:lnTo>
                  <a:lnTo>
                    <a:pt x="59" y="590"/>
                  </a:lnTo>
                  <a:lnTo>
                    <a:pt x="59" y="589"/>
                  </a:lnTo>
                  <a:lnTo>
                    <a:pt x="59" y="587"/>
                  </a:lnTo>
                  <a:lnTo>
                    <a:pt x="59" y="586"/>
                  </a:lnTo>
                  <a:lnTo>
                    <a:pt x="59" y="575"/>
                  </a:lnTo>
                  <a:lnTo>
                    <a:pt x="59" y="574"/>
                  </a:lnTo>
                  <a:lnTo>
                    <a:pt x="59" y="573"/>
                  </a:lnTo>
                  <a:lnTo>
                    <a:pt x="58" y="571"/>
                  </a:lnTo>
                  <a:lnTo>
                    <a:pt x="58" y="570"/>
                  </a:lnTo>
                  <a:lnTo>
                    <a:pt x="59" y="568"/>
                  </a:lnTo>
                  <a:lnTo>
                    <a:pt x="62" y="564"/>
                  </a:lnTo>
                  <a:lnTo>
                    <a:pt x="65" y="562"/>
                  </a:lnTo>
                  <a:lnTo>
                    <a:pt x="67" y="562"/>
                  </a:lnTo>
                  <a:lnTo>
                    <a:pt x="68" y="564"/>
                  </a:lnTo>
                  <a:lnTo>
                    <a:pt x="68" y="562"/>
                  </a:lnTo>
                  <a:lnTo>
                    <a:pt x="68" y="561"/>
                  </a:lnTo>
                  <a:lnTo>
                    <a:pt x="68" y="548"/>
                  </a:lnTo>
                  <a:lnTo>
                    <a:pt x="64" y="539"/>
                  </a:lnTo>
                  <a:lnTo>
                    <a:pt x="64" y="538"/>
                  </a:lnTo>
                  <a:lnTo>
                    <a:pt x="62" y="536"/>
                  </a:lnTo>
                  <a:lnTo>
                    <a:pt x="61" y="535"/>
                  </a:lnTo>
                  <a:lnTo>
                    <a:pt x="56" y="533"/>
                  </a:lnTo>
                  <a:lnTo>
                    <a:pt x="50" y="533"/>
                  </a:lnTo>
                  <a:lnTo>
                    <a:pt x="45" y="532"/>
                  </a:lnTo>
                  <a:lnTo>
                    <a:pt x="43" y="530"/>
                  </a:lnTo>
                  <a:lnTo>
                    <a:pt x="42" y="532"/>
                  </a:lnTo>
                  <a:lnTo>
                    <a:pt x="39" y="532"/>
                  </a:lnTo>
                  <a:lnTo>
                    <a:pt x="34" y="535"/>
                  </a:lnTo>
                  <a:lnTo>
                    <a:pt x="32" y="536"/>
                  </a:lnTo>
                  <a:lnTo>
                    <a:pt x="26" y="538"/>
                  </a:lnTo>
                  <a:lnTo>
                    <a:pt x="26" y="539"/>
                  </a:lnTo>
                  <a:lnTo>
                    <a:pt x="24" y="539"/>
                  </a:lnTo>
                  <a:lnTo>
                    <a:pt x="24" y="541"/>
                  </a:lnTo>
                  <a:lnTo>
                    <a:pt x="24" y="542"/>
                  </a:lnTo>
                  <a:lnTo>
                    <a:pt x="24" y="543"/>
                  </a:lnTo>
                  <a:lnTo>
                    <a:pt x="24" y="545"/>
                  </a:lnTo>
                  <a:lnTo>
                    <a:pt x="27" y="549"/>
                  </a:lnTo>
                  <a:lnTo>
                    <a:pt x="29" y="551"/>
                  </a:lnTo>
                  <a:lnTo>
                    <a:pt x="29" y="551"/>
                  </a:lnTo>
                  <a:lnTo>
                    <a:pt x="27" y="554"/>
                  </a:lnTo>
                  <a:lnTo>
                    <a:pt x="26" y="557"/>
                  </a:lnTo>
                  <a:lnTo>
                    <a:pt x="26" y="558"/>
                  </a:lnTo>
                  <a:lnTo>
                    <a:pt x="24" y="558"/>
                  </a:lnTo>
                  <a:lnTo>
                    <a:pt x="23" y="558"/>
                  </a:lnTo>
                  <a:lnTo>
                    <a:pt x="18" y="558"/>
                  </a:lnTo>
                  <a:lnTo>
                    <a:pt x="17" y="557"/>
                  </a:lnTo>
                  <a:lnTo>
                    <a:pt x="11" y="552"/>
                  </a:lnTo>
                  <a:lnTo>
                    <a:pt x="10" y="552"/>
                  </a:lnTo>
                  <a:lnTo>
                    <a:pt x="8" y="552"/>
                  </a:lnTo>
                  <a:lnTo>
                    <a:pt x="7" y="554"/>
                  </a:lnTo>
                  <a:lnTo>
                    <a:pt x="5" y="554"/>
                  </a:lnTo>
                  <a:lnTo>
                    <a:pt x="2" y="555"/>
                  </a:lnTo>
                  <a:lnTo>
                    <a:pt x="1" y="554"/>
                  </a:lnTo>
                  <a:lnTo>
                    <a:pt x="0" y="552"/>
                  </a:lnTo>
                  <a:lnTo>
                    <a:pt x="0" y="549"/>
                  </a:lnTo>
                  <a:lnTo>
                    <a:pt x="0" y="545"/>
                  </a:lnTo>
                  <a:lnTo>
                    <a:pt x="0" y="542"/>
                  </a:lnTo>
                  <a:lnTo>
                    <a:pt x="0" y="539"/>
                  </a:lnTo>
                  <a:lnTo>
                    <a:pt x="1" y="536"/>
                  </a:lnTo>
                  <a:lnTo>
                    <a:pt x="4" y="532"/>
                  </a:lnTo>
                  <a:lnTo>
                    <a:pt x="5" y="529"/>
                  </a:lnTo>
                  <a:lnTo>
                    <a:pt x="7" y="527"/>
                  </a:lnTo>
                  <a:lnTo>
                    <a:pt x="8" y="527"/>
                  </a:lnTo>
                  <a:lnTo>
                    <a:pt x="8" y="526"/>
                  </a:lnTo>
                  <a:lnTo>
                    <a:pt x="10" y="526"/>
                  </a:lnTo>
                  <a:lnTo>
                    <a:pt x="13" y="522"/>
                  </a:lnTo>
                  <a:lnTo>
                    <a:pt x="13" y="520"/>
                  </a:lnTo>
                  <a:lnTo>
                    <a:pt x="11" y="519"/>
                  </a:lnTo>
                  <a:lnTo>
                    <a:pt x="11" y="516"/>
                  </a:lnTo>
                  <a:lnTo>
                    <a:pt x="13" y="511"/>
                  </a:lnTo>
                  <a:lnTo>
                    <a:pt x="18" y="503"/>
                  </a:lnTo>
                  <a:lnTo>
                    <a:pt x="18" y="500"/>
                  </a:lnTo>
                  <a:lnTo>
                    <a:pt x="20" y="498"/>
                  </a:lnTo>
                  <a:lnTo>
                    <a:pt x="20" y="495"/>
                  </a:lnTo>
                  <a:lnTo>
                    <a:pt x="20" y="491"/>
                  </a:lnTo>
                  <a:lnTo>
                    <a:pt x="20" y="491"/>
                  </a:lnTo>
                  <a:lnTo>
                    <a:pt x="18" y="488"/>
                  </a:lnTo>
                  <a:lnTo>
                    <a:pt x="14" y="484"/>
                  </a:lnTo>
                  <a:lnTo>
                    <a:pt x="17" y="478"/>
                  </a:lnTo>
                  <a:lnTo>
                    <a:pt x="18" y="478"/>
                  </a:lnTo>
                  <a:lnTo>
                    <a:pt x="20" y="476"/>
                  </a:lnTo>
                  <a:lnTo>
                    <a:pt x="21" y="476"/>
                  </a:lnTo>
                  <a:lnTo>
                    <a:pt x="21" y="476"/>
                  </a:lnTo>
                  <a:lnTo>
                    <a:pt x="23" y="478"/>
                  </a:lnTo>
                  <a:lnTo>
                    <a:pt x="23" y="478"/>
                  </a:lnTo>
                  <a:lnTo>
                    <a:pt x="23" y="476"/>
                  </a:lnTo>
                  <a:lnTo>
                    <a:pt x="23" y="474"/>
                  </a:lnTo>
                  <a:lnTo>
                    <a:pt x="23" y="472"/>
                  </a:lnTo>
                  <a:lnTo>
                    <a:pt x="23" y="469"/>
                  </a:lnTo>
                  <a:lnTo>
                    <a:pt x="21" y="468"/>
                  </a:lnTo>
                  <a:lnTo>
                    <a:pt x="21" y="465"/>
                  </a:lnTo>
                  <a:lnTo>
                    <a:pt x="23" y="463"/>
                  </a:lnTo>
                  <a:lnTo>
                    <a:pt x="23" y="462"/>
                  </a:lnTo>
                  <a:lnTo>
                    <a:pt x="24" y="458"/>
                  </a:lnTo>
                  <a:lnTo>
                    <a:pt x="24" y="456"/>
                  </a:lnTo>
                  <a:lnTo>
                    <a:pt x="24" y="455"/>
                  </a:lnTo>
                  <a:lnTo>
                    <a:pt x="26" y="453"/>
                  </a:lnTo>
                  <a:lnTo>
                    <a:pt x="27" y="452"/>
                  </a:lnTo>
                  <a:lnTo>
                    <a:pt x="33" y="450"/>
                  </a:lnTo>
                  <a:lnTo>
                    <a:pt x="39" y="449"/>
                  </a:lnTo>
                  <a:lnTo>
                    <a:pt x="42" y="449"/>
                  </a:lnTo>
                  <a:lnTo>
                    <a:pt x="45" y="447"/>
                  </a:lnTo>
                  <a:lnTo>
                    <a:pt x="46" y="446"/>
                  </a:lnTo>
                  <a:lnTo>
                    <a:pt x="49" y="446"/>
                  </a:lnTo>
                  <a:lnTo>
                    <a:pt x="50" y="446"/>
                  </a:lnTo>
                  <a:lnTo>
                    <a:pt x="50" y="443"/>
                  </a:lnTo>
                  <a:lnTo>
                    <a:pt x="52" y="437"/>
                  </a:lnTo>
                  <a:lnTo>
                    <a:pt x="50" y="434"/>
                  </a:lnTo>
                  <a:lnTo>
                    <a:pt x="50" y="431"/>
                  </a:lnTo>
                  <a:lnTo>
                    <a:pt x="52" y="430"/>
                  </a:lnTo>
                  <a:lnTo>
                    <a:pt x="62" y="418"/>
                  </a:lnTo>
                  <a:lnTo>
                    <a:pt x="59" y="415"/>
                  </a:lnTo>
                  <a:lnTo>
                    <a:pt x="58" y="412"/>
                  </a:lnTo>
                  <a:lnTo>
                    <a:pt x="56" y="408"/>
                  </a:lnTo>
                  <a:lnTo>
                    <a:pt x="55" y="405"/>
                  </a:lnTo>
                  <a:lnTo>
                    <a:pt x="53" y="404"/>
                  </a:lnTo>
                  <a:lnTo>
                    <a:pt x="49" y="401"/>
                  </a:lnTo>
                  <a:lnTo>
                    <a:pt x="46" y="398"/>
                  </a:lnTo>
                  <a:lnTo>
                    <a:pt x="45" y="398"/>
                  </a:lnTo>
                  <a:lnTo>
                    <a:pt x="45" y="396"/>
                  </a:lnTo>
                  <a:lnTo>
                    <a:pt x="43" y="396"/>
                  </a:lnTo>
                  <a:lnTo>
                    <a:pt x="42" y="398"/>
                  </a:lnTo>
                  <a:lnTo>
                    <a:pt x="42" y="398"/>
                  </a:lnTo>
                  <a:lnTo>
                    <a:pt x="40" y="398"/>
                  </a:lnTo>
                  <a:lnTo>
                    <a:pt x="39" y="399"/>
                  </a:lnTo>
                  <a:lnTo>
                    <a:pt x="39" y="399"/>
                  </a:lnTo>
                  <a:lnTo>
                    <a:pt x="37" y="401"/>
                  </a:lnTo>
                  <a:lnTo>
                    <a:pt x="37" y="402"/>
                  </a:lnTo>
                  <a:lnTo>
                    <a:pt x="36" y="404"/>
                  </a:lnTo>
                  <a:lnTo>
                    <a:pt x="36" y="405"/>
                  </a:lnTo>
                  <a:lnTo>
                    <a:pt x="34" y="405"/>
                  </a:lnTo>
                  <a:lnTo>
                    <a:pt x="33" y="405"/>
                  </a:lnTo>
                  <a:lnTo>
                    <a:pt x="32" y="404"/>
                  </a:lnTo>
                  <a:lnTo>
                    <a:pt x="32" y="401"/>
                  </a:lnTo>
                  <a:lnTo>
                    <a:pt x="32" y="395"/>
                  </a:lnTo>
                  <a:lnTo>
                    <a:pt x="32" y="392"/>
                  </a:lnTo>
                  <a:lnTo>
                    <a:pt x="30" y="392"/>
                  </a:lnTo>
                  <a:lnTo>
                    <a:pt x="29" y="393"/>
                  </a:lnTo>
                  <a:lnTo>
                    <a:pt x="29" y="395"/>
                  </a:lnTo>
                  <a:lnTo>
                    <a:pt x="27" y="395"/>
                  </a:lnTo>
                  <a:lnTo>
                    <a:pt x="26" y="393"/>
                  </a:lnTo>
                  <a:lnTo>
                    <a:pt x="26" y="392"/>
                  </a:lnTo>
                  <a:lnTo>
                    <a:pt x="26" y="389"/>
                  </a:lnTo>
                  <a:lnTo>
                    <a:pt x="26" y="388"/>
                  </a:lnTo>
                  <a:lnTo>
                    <a:pt x="27" y="386"/>
                  </a:lnTo>
                  <a:lnTo>
                    <a:pt x="29" y="385"/>
                  </a:lnTo>
                  <a:lnTo>
                    <a:pt x="32" y="385"/>
                  </a:lnTo>
                  <a:lnTo>
                    <a:pt x="32" y="385"/>
                  </a:lnTo>
                  <a:lnTo>
                    <a:pt x="33" y="386"/>
                  </a:lnTo>
                  <a:lnTo>
                    <a:pt x="33" y="386"/>
                  </a:lnTo>
                  <a:lnTo>
                    <a:pt x="34" y="388"/>
                  </a:lnTo>
                  <a:lnTo>
                    <a:pt x="46" y="388"/>
                  </a:lnTo>
                  <a:lnTo>
                    <a:pt x="50" y="388"/>
                  </a:lnTo>
                  <a:lnTo>
                    <a:pt x="56" y="386"/>
                  </a:lnTo>
                  <a:lnTo>
                    <a:pt x="58" y="385"/>
                  </a:lnTo>
                  <a:lnTo>
                    <a:pt x="58" y="382"/>
                  </a:lnTo>
                  <a:lnTo>
                    <a:pt x="58" y="375"/>
                  </a:lnTo>
                  <a:lnTo>
                    <a:pt x="55" y="372"/>
                  </a:lnTo>
                  <a:lnTo>
                    <a:pt x="53" y="369"/>
                  </a:lnTo>
                  <a:lnTo>
                    <a:pt x="52" y="367"/>
                  </a:lnTo>
                  <a:lnTo>
                    <a:pt x="52" y="367"/>
                  </a:lnTo>
                  <a:lnTo>
                    <a:pt x="50" y="363"/>
                  </a:lnTo>
                  <a:lnTo>
                    <a:pt x="50" y="356"/>
                  </a:lnTo>
                  <a:lnTo>
                    <a:pt x="59" y="350"/>
                  </a:lnTo>
                  <a:lnTo>
                    <a:pt x="64" y="348"/>
                  </a:lnTo>
                  <a:lnTo>
                    <a:pt x="74" y="348"/>
                  </a:lnTo>
                  <a:lnTo>
                    <a:pt x="78" y="350"/>
                  </a:lnTo>
                  <a:lnTo>
                    <a:pt x="80" y="350"/>
                  </a:lnTo>
                  <a:lnTo>
                    <a:pt x="83" y="348"/>
                  </a:lnTo>
                  <a:lnTo>
                    <a:pt x="84" y="348"/>
                  </a:lnTo>
                  <a:lnTo>
                    <a:pt x="85" y="350"/>
                  </a:lnTo>
                  <a:lnTo>
                    <a:pt x="85" y="350"/>
                  </a:lnTo>
                  <a:lnTo>
                    <a:pt x="84" y="353"/>
                  </a:lnTo>
                  <a:lnTo>
                    <a:pt x="84" y="354"/>
                  </a:lnTo>
                  <a:lnTo>
                    <a:pt x="84" y="354"/>
                  </a:lnTo>
                  <a:lnTo>
                    <a:pt x="85" y="354"/>
                  </a:lnTo>
                  <a:lnTo>
                    <a:pt x="87" y="356"/>
                  </a:lnTo>
                  <a:lnTo>
                    <a:pt x="88" y="357"/>
                  </a:lnTo>
                  <a:lnTo>
                    <a:pt x="90" y="357"/>
                  </a:lnTo>
                  <a:lnTo>
                    <a:pt x="91" y="357"/>
                  </a:lnTo>
                  <a:lnTo>
                    <a:pt x="100" y="356"/>
                  </a:lnTo>
                  <a:lnTo>
                    <a:pt x="107" y="356"/>
                  </a:lnTo>
                  <a:lnTo>
                    <a:pt x="109" y="356"/>
                  </a:lnTo>
                  <a:lnTo>
                    <a:pt x="110" y="354"/>
                  </a:lnTo>
                  <a:lnTo>
                    <a:pt x="115" y="342"/>
                  </a:lnTo>
                  <a:lnTo>
                    <a:pt x="115" y="340"/>
                  </a:lnTo>
                  <a:lnTo>
                    <a:pt x="115" y="338"/>
                  </a:lnTo>
                  <a:lnTo>
                    <a:pt x="113" y="337"/>
                  </a:lnTo>
                  <a:lnTo>
                    <a:pt x="112" y="332"/>
                  </a:lnTo>
                  <a:lnTo>
                    <a:pt x="110" y="329"/>
                  </a:lnTo>
                  <a:lnTo>
                    <a:pt x="109" y="329"/>
                  </a:lnTo>
                  <a:lnTo>
                    <a:pt x="107" y="328"/>
                  </a:lnTo>
                  <a:lnTo>
                    <a:pt x="103" y="328"/>
                  </a:lnTo>
                  <a:lnTo>
                    <a:pt x="101" y="328"/>
                  </a:lnTo>
                  <a:lnTo>
                    <a:pt x="100" y="326"/>
                  </a:lnTo>
                  <a:lnTo>
                    <a:pt x="99" y="325"/>
                  </a:lnTo>
                  <a:lnTo>
                    <a:pt x="97" y="325"/>
                  </a:lnTo>
                  <a:lnTo>
                    <a:pt x="96" y="324"/>
                  </a:lnTo>
                  <a:lnTo>
                    <a:pt x="93" y="324"/>
                  </a:lnTo>
                  <a:lnTo>
                    <a:pt x="91" y="324"/>
                  </a:lnTo>
                  <a:lnTo>
                    <a:pt x="91" y="321"/>
                  </a:lnTo>
                  <a:lnTo>
                    <a:pt x="91" y="318"/>
                  </a:lnTo>
                  <a:lnTo>
                    <a:pt x="93" y="313"/>
                  </a:lnTo>
                  <a:lnTo>
                    <a:pt x="93" y="309"/>
                  </a:lnTo>
                  <a:lnTo>
                    <a:pt x="94" y="305"/>
                  </a:lnTo>
                  <a:lnTo>
                    <a:pt x="100" y="297"/>
                  </a:lnTo>
                  <a:lnTo>
                    <a:pt x="100" y="293"/>
                  </a:lnTo>
                  <a:lnTo>
                    <a:pt x="101" y="290"/>
                  </a:lnTo>
                  <a:lnTo>
                    <a:pt x="100" y="289"/>
                  </a:lnTo>
                  <a:lnTo>
                    <a:pt x="93" y="287"/>
                  </a:lnTo>
                  <a:lnTo>
                    <a:pt x="91" y="287"/>
                  </a:lnTo>
                  <a:lnTo>
                    <a:pt x="91" y="287"/>
                  </a:lnTo>
                  <a:lnTo>
                    <a:pt x="90" y="286"/>
                  </a:lnTo>
                  <a:lnTo>
                    <a:pt x="90" y="284"/>
                  </a:lnTo>
                  <a:lnTo>
                    <a:pt x="90" y="283"/>
                  </a:lnTo>
                  <a:lnTo>
                    <a:pt x="88" y="281"/>
                  </a:lnTo>
                  <a:lnTo>
                    <a:pt x="88" y="280"/>
                  </a:lnTo>
                  <a:lnTo>
                    <a:pt x="87" y="280"/>
                  </a:lnTo>
                  <a:lnTo>
                    <a:pt x="85" y="278"/>
                  </a:lnTo>
                  <a:lnTo>
                    <a:pt x="87" y="277"/>
                  </a:lnTo>
                  <a:lnTo>
                    <a:pt x="88" y="276"/>
                  </a:lnTo>
                  <a:lnTo>
                    <a:pt x="97" y="274"/>
                  </a:lnTo>
                  <a:lnTo>
                    <a:pt x="100" y="274"/>
                  </a:lnTo>
                  <a:lnTo>
                    <a:pt x="103" y="274"/>
                  </a:lnTo>
                  <a:lnTo>
                    <a:pt x="104" y="276"/>
                  </a:lnTo>
                  <a:lnTo>
                    <a:pt x="106" y="278"/>
                  </a:lnTo>
                  <a:lnTo>
                    <a:pt x="107" y="280"/>
                  </a:lnTo>
                  <a:lnTo>
                    <a:pt x="107" y="281"/>
                  </a:lnTo>
                  <a:lnTo>
                    <a:pt x="106" y="283"/>
                  </a:lnTo>
                  <a:lnTo>
                    <a:pt x="106" y="283"/>
                  </a:lnTo>
                  <a:lnTo>
                    <a:pt x="106" y="284"/>
                  </a:lnTo>
                  <a:lnTo>
                    <a:pt x="109" y="286"/>
                  </a:lnTo>
                  <a:lnTo>
                    <a:pt x="109" y="286"/>
                  </a:lnTo>
                  <a:lnTo>
                    <a:pt x="110" y="289"/>
                  </a:lnTo>
                  <a:lnTo>
                    <a:pt x="110" y="290"/>
                  </a:lnTo>
                  <a:lnTo>
                    <a:pt x="112" y="290"/>
                  </a:lnTo>
                  <a:lnTo>
                    <a:pt x="113" y="287"/>
                  </a:lnTo>
                  <a:lnTo>
                    <a:pt x="115" y="276"/>
                  </a:lnTo>
                  <a:lnTo>
                    <a:pt x="115" y="273"/>
                  </a:lnTo>
                  <a:lnTo>
                    <a:pt x="115" y="270"/>
                  </a:lnTo>
                  <a:lnTo>
                    <a:pt x="116" y="265"/>
                  </a:lnTo>
                  <a:lnTo>
                    <a:pt x="122" y="258"/>
                  </a:lnTo>
                  <a:lnTo>
                    <a:pt x="123" y="255"/>
                  </a:lnTo>
                  <a:lnTo>
                    <a:pt x="123" y="255"/>
                  </a:lnTo>
                  <a:lnTo>
                    <a:pt x="123" y="254"/>
                  </a:lnTo>
                  <a:lnTo>
                    <a:pt x="122" y="252"/>
                  </a:lnTo>
                  <a:lnTo>
                    <a:pt x="118" y="251"/>
                  </a:lnTo>
                  <a:lnTo>
                    <a:pt x="110" y="246"/>
                  </a:lnTo>
                  <a:lnTo>
                    <a:pt x="107" y="243"/>
                  </a:lnTo>
                  <a:lnTo>
                    <a:pt x="101" y="241"/>
                  </a:lnTo>
                  <a:lnTo>
                    <a:pt x="99" y="239"/>
                  </a:lnTo>
                  <a:lnTo>
                    <a:pt x="96" y="239"/>
                  </a:lnTo>
                  <a:lnTo>
                    <a:pt x="94" y="239"/>
                  </a:lnTo>
                  <a:lnTo>
                    <a:pt x="91" y="239"/>
                  </a:lnTo>
                  <a:lnTo>
                    <a:pt x="88" y="236"/>
                  </a:lnTo>
                  <a:lnTo>
                    <a:pt x="87" y="236"/>
                  </a:lnTo>
                  <a:lnTo>
                    <a:pt x="83" y="235"/>
                  </a:lnTo>
                  <a:lnTo>
                    <a:pt x="81" y="235"/>
                  </a:lnTo>
                  <a:lnTo>
                    <a:pt x="78" y="233"/>
                  </a:lnTo>
                  <a:lnTo>
                    <a:pt x="77" y="233"/>
                  </a:lnTo>
                  <a:lnTo>
                    <a:pt x="75" y="233"/>
                  </a:lnTo>
                  <a:lnTo>
                    <a:pt x="74" y="232"/>
                  </a:lnTo>
                  <a:lnTo>
                    <a:pt x="72" y="230"/>
                  </a:lnTo>
                  <a:lnTo>
                    <a:pt x="71" y="230"/>
                  </a:lnTo>
                  <a:lnTo>
                    <a:pt x="69" y="229"/>
                  </a:lnTo>
                  <a:lnTo>
                    <a:pt x="68" y="227"/>
                  </a:lnTo>
                  <a:lnTo>
                    <a:pt x="67" y="222"/>
                  </a:lnTo>
                  <a:lnTo>
                    <a:pt x="67" y="219"/>
                  </a:lnTo>
                  <a:lnTo>
                    <a:pt x="61" y="214"/>
                  </a:lnTo>
                  <a:lnTo>
                    <a:pt x="59" y="213"/>
                  </a:lnTo>
                  <a:lnTo>
                    <a:pt x="59" y="211"/>
                  </a:lnTo>
                  <a:lnTo>
                    <a:pt x="59" y="209"/>
                  </a:lnTo>
                  <a:lnTo>
                    <a:pt x="61" y="204"/>
                  </a:lnTo>
                  <a:lnTo>
                    <a:pt x="61" y="203"/>
                  </a:lnTo>
                  <a:lnTo>
                    <a:pt x="59" y="201"/>
                  </a:lnTo>
                  <a:lnTo>
                    <a:pt x="56" y="200"/>
                  </a:lnTo>
                  <a:lnTo>
                    <a:pt x="50" y="198"/>
                  </a:lnTo>
                  <a:lnTo>
                    <a:pt x="43" y="195"/>
                  </a:lnTo>
                  <a:lnTo>
                    <a:pt x="42" y="195"/>
                  </a:lnTo>
                  <a:lnTo>
                    <a:pt x="39" y="195"/>
                  </a:lnTo>
                  <a:lnTo>
                    <a:pt x="36" y="195"/>
                  </a:lnTo>
                  <a:lnTo>
                    <a:pt x="34" y="194"/>
                  </a:lnTo>
                  <a:lnTo>
                    <a:pt x="33" y="193"/>
                  </a:lnTo>
                  <a:lnTo>
                    <a:pt x="30" y="188"/>
                  </a:lnTo>
                  <a:lnTo>
                    <a:pt x="27" y="187"/>
                  </a:lnTo>
                  <a:lnTo>
                    <a:pt x="26" y="185"/>
                  </a:lnTo>
                  <a:lnTo>
                    <a:pt x="24" y="187"/>
                  </a:lnTo>
                  <a:lnTo>
                    <a:pt x="24" y="185"/>
                  </a:lnTo>
                  <a:lnTo>
                    <a:pt x="23" y="184"/>
                  </a:lnTo>
                  <a:lnTo>
                    <a:pt x="23" y="178"/>
                  </a:lnTo>
                  <a:lnTo>
                    <a:pt x="23" y="174"/>
                  </a:lnTo>
                  <a:lnTo>
                    <a:pt x="21" y="171"/>
                  </a:lnTo>
                  <a:lnTo>
                    <a:pt x="20" y="169"/>
                  </a:lnTo>
                  <a:lnTo>
                    <a:pt x="18" y="168"/>
                  </a:lnTo>
                  <a:lnTo>
                    <a:pt x="17" y="166"/>
                  </a:lnTo>
                  <a:lnTo>
                    <a:pt x="17" y="165"/>
                  </a:lnTo>
                  <a:lnTo>
                    <a:pt x="17" y="160"/>
                  </a:lnTo>
                  <a:lnTo>
                    <a:pt x="17" y="159"/>
                  </a:lnTo>
                  <a:lnTo>
                    <a:pt x="16" y="159"/>
                  </a:lnTo>
                  <a:lnTo>
                    <a:pt x="16" y="156"/>
                  </a:lnTo>
                  <a:lnTo>
                    <a:pt x="16" y="155"/>
                  </a:lnTo>
                  <a:lnTo>
                    <a:pt x="17" y="150"/>
                  </a:lnTo>
                  <a:lnTo>
                    <a:pt x="18" y="149"/>
                  </a:lnTo>
                  <a:lnTo>
                    <a:pt x="24" y="143"/>
                  </a:lnTo>
                  <a:lnTo>
                    <a:pt x="42" y="128"/>
                  </a:lnTo>
                  <a:lnTo>
                    <a:pt x="46" y="123"/>
                  </a:lnTo>
                  <a:lnTo>
                    <a:pt x="48" y="121"/>
                  </a:lnTo>
                  <a:lnTo>
                    <a:pt x="53" y="120"/>
                  </a:lnTo>
                  <a:lnTo>
                    <a:pt x="55" y="117"/>
                  </a:lnTo>
                  <a:lnTo>
                    <a:pt x="56" y="115"/>
                  </a:lnTo>
                  <a:lnTo>
                    <a:pt x="56" y="114"/>
                  </a:lnTo>
                  <a:lnTo>
                    <a:pt x="58" y="115"/>
                  </a:lnTo>
                  <a:lnTo>
                    <a:pt x="65" y="121"/>
                  </a:lnTo>
                  <a:lnTo>
                    <a:pt x="67" y="121"/>
                  </a:lnTo>
                  <a:lnTo>
                    <a:pt x="68" y="121"/>
                  </a:lnTo>
                  <a:lnTo>
                    <a:pt x="69" y="118"/>
                  </a:lnTo>
                  <a:lnTo>
                    <a:pt x="71" y="115"/>
                  </a:lnTo>
                  <a:lnTo>
                    <a:pt x="77" y="114"/>
                  </a:lnTo>
                  <a:lnTo>
                    <a:pt x="94" y="115"/>
                  </a:lnTo>
                  <a:lnTo>
                    <a:pt x="93" y="112"/>
                  </a:lnTo>
                  <a:lnTo>
                    <a:pt x="93" y="111"/>
                  </a:lnTo>
                  <a:lnTo>
                    <a:pt x="93" y="110"/>
                  </a:lnTo>
                  <a:lnTo>
                    <a:pt x="94" y="108"/>
                  </a:lnTo>
                  <a:lnTo>
                    <a:pt x="99" y="108"/>
                  </a:lnTo>
                  <a:lnTo>
                    <a:pt x="100" y="107"/>
                  </a:lnTo>
                  <a:lnTo>
                    <a:pt x="101" y="105"/>
                  </a:lnTo>
                  <a:lnTo>
                    <a:pt x="104" y="101"/>
                  </a:lnTo>
                  <a:lnTo>
                    <a:pt x="106" y="98"/>
                  </a:lnTo>
                  <a:lnTo>
                    <a:pt x="106" y="98"/>
                  </a:lnTo>
                  <a:lnTo>
                    <a:pt x="104" y="96"/>
                  </a:lnTo>
                  <a:lnTo>
                    <a:pt x="104" y="96"/>
                  </a:lnTo>
                  <a:lnTo>
                    <a:pt x="104" y="95"/>
                  </a:lnTo>
                  <a:lnTo>
                    <a:pt x="104" y="94"/>
                  </a:lnTo>
                  <a:lnTo>
                    <a:pt x="104" y="92"/>
                  </a:lnTo>
                  <a:lnTo>
                    <a:pt x="106" y="92"/>
                  </a:lnTo>
                  <a:lnTo>
                    <a:pt x="107" y="91"/>
                  </a:lnTo>
                  <a:lnTo>
                    <a:pt x="107" y="89"/>
                  </a:lnTo>
                  <a:lnTo>
                    <a:pt x="110" y="88"/>
                  </a:lnTo>
                  <a:lnTo>
                    <a:pt x="113" y="88"/>
                  </a:lnTo>
                  <a:lnTo>
                    <a:pt x="115" y="88"/>
                  </a:lnTo>
                  <a:lnTo>
                    <a:pt x="116" y="89"/>
                  </a:lnTo>
                  <a:lnTo>
                    <a:pt x="116" y="89"/>
                  </a:lnTo>
                  <a:lnTo>
                    <a:pt x="116" y="91"/>
                  </a:lnTo>
                  <a:lnTo>
                    <a:pt x="116" y="92"/>
                  </a:lnTo>
                  <a:lnTo>
                    <a:pt x="118" y="92"/>
                  </a:lnTo>
                  <a:lnTo>
                    <a:pt x="118" y="94"/>
                  </a:lnTo>
                  <a:lnTo>
                    <a:pt x="119" y="94"/>
                  </a:lnTo>
                  <a:lnTo>
                    <a:pt x="123" y="94"/>
                  </a:lnTo>
                  <a:lnTo>
                    <a:pt x="125" y="92"/>
                  </a:lnTo>
                  <a:lnTo>
                    <a:pt x="141" y="83"/>
                  </a:lnTo>
                  <a:lnTo>
                    <a:pt x="142" y="82"/>
                  </a:lnTo>
                  <a:lnTo>
                    <a:pt x="144" y="82"/>
                  </a:lnTo>
                  <a:lnTo>
                    <a:pt x="144" y="80"/>
                  </a:lnTo>
                  <a:lnTo>
                    <a:pt x="145" y="78"/>
                  </a:lnTo>
                  <a:lnTo>
                    <a:pt x="145" y="75"/>
                  </a:lnTo>
                  <a:lnTo>
                    <a:pt x="147" y="73"/>
                  </a:lnTo>
                  <a:lnTo>
                    <a:pt x="148" y="72"/>
                  </a:lnTo>
                  <a:lnTo>
                    <a:pt x="154" y="67"/>
                  </a:lnTo>
                  <a:lnTo>
                    <a:pt x="158" y="66"/>
                  </a:lnTo>
                  <a:lnTo>
                    <a:pt x="158" y="64"/>
                  </a:lnTo>
                  <a:lnTo>
                    <a:pt x="160" y="64"/>
                  </a:lnTo>
                  <a:lnTo>
                    <a:pt x="160" y="63"/>
                  </a:lnTo>
                  <a:lnTo>
                    <a:pt x="161" y="61"/>
                  </a:lnTo>
                  <a:lnTo>
                    <a:pt x="167" y="57"/>
                  </a:lnTo>
                  <a:lnTo>
                    <a:pt x="168" y="53"/>
                  </a:lnTo>
                  <a:lnTo>
                    <a:pt x="173" y="43"/>
                  </a:lnTo>
                  <a:lnTo>
                    <a:pt x="173" y="40"/>
                  </a:lnTo>
                  <a:lnTo>
                    <a:pt x="174" y="37"/>
                  </a:lnTo>
                  <a:lnTo>
                    <a:pt x="174" y="35"/>
                  </a:lnTo>
                  <a:lnTo>
                    <a:pt x="174" y="34"/>
                  </a:lnTo>
                  <a:lnTo>
                    <a:pt x="173" y="34"/>
                  </a:lnTo>
                  <a:lnTo>
                    <a:pt x="173" y="32"/>
                  </a:lnTo>
                  <a:lnTo>
                    <a:pt x="171" y="31"/>
                  </a:lnTo>
                  <a:lnTo>
                    <a:pt x="171" y="31"/>
                  </a:lnTo>
                  <a:lnTo>
                    <a:pt x="171" y="29"/>
                  </a:lnTo>
                  <a:lnTo>
                    <a:pt x="173" y="29"/>
                  </a:lnTo>
                  <a:lnTo>
                    <a:pt x="173" y="28"/>
                  </a:lnTo>
                  <a:lnTo>
                    <a:pt x="176" y="28"/>
                  </a:lnTo>
                  <a:lnTo>
                    <a:pt x="182" y="28"/>
                  </a:lnTo>
                  <a:lnTo>
                    <a:pt x="186" y="27"/>
                  </a:lnTo>
                  <a:lnTo>
                    <a:pt x="189" y="25"/>
                  </a:lnTo>
                  <a:lnTo>
                    <a:pt x="192" y="27"/>
                  </a:lnTo>
                  <a:lnTo>
                    <a:pt x="208" y="35"/>
                  </a:lnTo>
                  <a:lnTo>
                    <a:pt x="221" y="45"/>
                  </a:lnTo>
                  <a:lnTo>
                    <a:pt x="225" y="45"/>
                  </a:lnTo>
                  <a:lnTo>
                    <a:pt x="236" y="45"/>
                  </a:lnTo>
                  <a:lnTo>
                    <a:pt x="237" y="45"/>
                  </a:lnTo>
                  <a:lnTo>
                    <a:pt x="254" y="37"/>
                  </a:lnTo>
                  <a:lnTo>
                    <a:pt x="257" y="35"/>
                  </a:lnTo>
                  <a:lnTo>
                    <a:pt x="259" y="37"/>
                  </a:lnTo>
                  <a:lnTo>
                    <a:pt x="263" y="41"/>
                  </a:lnTo>
                  <a:lnTo>
                    <a:pt x="265" y="43"/>
                  </a:lnTo>
                  <a:lnTo>
                    <a:pt x="266" y="43"/>
                  </a:lnTo>
                  <a:lnTo>
                    <a:pt x="268" y="43"/>
                  </a:lnTo>
                  <a:lnTo>
                    <a:pt x="269" y="40"/>
                  </a:lnTo>
                  <a:lnTo>
                    <a:pt x="270" y="35"/>
                  </a:lnTo>
                  <a:lnTo>
                    <a:pt x="269" y="34"/>
                  </a:lnTo>
                  <a:lnTo>
                    <a:pt x="269" y="32"/>
                  </a:lnTo>
                  <a:lnTo>
                    <a:pt x="268" y="31"/>
                  </a:lnTo>
                  <a:lnTo>
                    <a:pt x="265" y="28"/>
                  </a:lnTo>
                  <a:lnTo>
                    <a:pt x="263" y="24"/>
                  </a:lnTo>
                  <a:lnTo>
                    <a:pt x="262" y="22"/>
                  </a:lnTo>
                  <a:lnTo>
                    <a:pt x="260" y="21"/>
                  </a:lnTo>
                  <a:lnTo>
                    <a:pt x="260" y="19"/>
                  </a:lnTo>
                  <a:lnTo>
                    <a:pt x="262" y="18"/>
                  </a:lnTo>
                  <a:lnTo>
                    <a:pt x="268" y="11"/>
                  </a:lnTo>
                  <a:lnTo>
                    <a:pt x="285" y="0"/>
                  </a:lnTo>
                  <a:lnTo>
                    <a:pt x="289" y="3"/>
                  </a:lnTo>
                  <a:lnTo>
                    <a:pt x="321" y="3"/>
                  </a:lnTo>
                  <a:lnTo>
                    <a:pt x="324" y="3"/>
                  </a:lnTo>
                  <a:lnTo>
                    <a:pt x="327" y="5"/>
                  </a:lnTo>
                  <a:lnTo>
                    <a:pt x="335" y="11"/>
                  </a:lnTo>
                  <a:lnTo>
                    <a:pt x="337" y="11"/>
                  </a:lnTo>
                  <a:lnTo>
                    <a:pt x="339" y="12"/>
                  </a:lnTo>
                  <a:lnTo>
                    <a:pt x="348" y="12"/>
                  </a:lnTo>
                  <a:lnTo>
                    <a:pt x="352" y="16"/>
                  </a:lnTo>
                  <a:lnTo>
                    <a:pt x="364" y="21"/>
                  </a:lnTo>
                  <a:lnTo>
                    <a:pt x="368" y="21"/>
                  </a:lnTo>
                  <a:lnTo>
                    <a:pt x="370" y="22"/>
                  </a:lnTo>
                  <a:lnTo>
                    <a:pt x="371" y="24"/>
                  </a:lnTo>
                  <a:lnTo>
                    <a:pt x="372" y="29"/>
                  </a:lnTo>
                  <a:lnTo>
                    <a:pt x="372" y="32"/>
                  </a:lnTo>
                  <a:lnTo>
                    <a:pt x="372" y="34"/>
                  </a:lnTo>
                  <a:lnTo>
                    <a:pt x="371" y="35"/>
                  </a:lnTo>
                  <a:lnTo>
                    <a:pt x="370" y="37"/>
                  </a:lnTo>
                  <a:lnTo>
                    <a:pt x="368" y="37"/>
                  </a:lnTo>
                  <a:lnTo>
                    <a:pt x="367" y="37"/>
                  </a:lnTo>
                  <a:lnTo>
                    <a:pt x="364" y="35"/>
                  </a:lnTo>
                  <a:lnTo>
                    <a:pt x="364" y="34"/>
                  </a:lnTo>
                  <a:lnTo>
                    <a:pt x="362" y="34"/>
                  </a:lnTo>
                  <a:lnTo>
                    <a:pt x="361" y="35"/>
                  </a:lnTo>
                  <a:lnTo>
                    <a:pt x="359" y="35"/>
                  </a:lnTo>
                  <a:lnTo>
                    <a:pt x="359" y="37"/>
                  </a:lnTo>
                  <a:lnTo>
                    <a:pt x="359" y="41"/>
                  </a:lnTo>
                  <a:lnTo>
                    <a:pt x="361" y="45"/>
                  </a:lnTo>
                  <a:lnTo>
                    <a:pt x="364" y="54"/>
                  </a:lnTo>
                  <a:lnTo>
                    <a:pt x="367" y="59"/>
                  </a:lnTo>
                  <a:lnTo>
                    <a:pt x="368" y="61"/>
                  </a:lnTo>
                  <a:lnTo>
                    <a:pt x="370" y="61"/>
                  </a:lnTo>
                  <a:lnTo>
                    <a:pt x="371" y="63"/>
                  </a:lnTo>
                  <a:lnTo>
                    <a:pt x="371" y="64"/>
                  </a:lnTo>
                  <a:lnTo>
                    <a:pt x="371" y="67"/>
                  </a:lnTo>
                  <a:lnTo>
                    <a:pt x="371" y="76"/>
                  </a:lnTo>
                  <a:lnTo>
                    <a:pt x="371" y="78"/>
                  </a:lnTo>
                  <a:lnTo>
                    <a:pt x="371" y="79"/>
                  </a:lnTo>
                  <a:lnTo>
                    <a:pt x="372" y="80"/>
                  </a:lnTo>
                  <a:lnTo>
                    <a:pt x="375" y="89"/>
                  </a:lnTo>
                  <a:lnTo>
                    <a:pt x="380" y="94"/>
                  </a:lnTo>
                  <a:lnTo>
                    <a:pt x="380" y="95"/>
                  </a:lnTo>
                  <a:lnTo>
                    <a:pt x="380" y="98"/>
                  </a:lnTo>
                  <a:lnTo>
                    <a:pt x="378" y="108"/>
                  </a:lnTo>
                  <a:lnTo>
                    <a:pt x="377" y="112"/>
                  </a:lnTo>
                  <a:lnTo>
                    <a:pt x="377" y="117"/>
                  </a:lnTo>
                  <a:lnTo>
                    <a:pt x="380" y="123"/>
                  </a:lnTo>
                  <a:lnTo>
                    <a:pt x="390" y="127"/>
                  </a:lnTo>
                  <a:lnTo>
                    <a:pt x="442" y="134"/>
                  </a:lnTo>
                  <a:lnTo>
                    <a:pt x="458" y="134"/>
                  </a:lnTo>
                  <a:lnTo>
                    <a:pt x="490" y="139"/>
                  </a:lnTo>
                  <a:lnTo>
                    <a:pt x="499" y="142"/>
                  </a:lnTo>
                  <a:lnTo>
                    <a:pt x="517" y="156"/>
                  </a:lnTo>
                  <a:lnTo>
                    <a:pt x="527" y="174"/>
                  </a:lnTo>
                  <a:lnTo>
                    <a:pt x="547" y="204"/>
                  </a:lnTo>
                  <a:lnTo>
                    <a:pt x="544" y="210"/>
                  </a:lnTo>
                  <a:lnTo>
                    <a:pt x="540" y="216"/>
                  </a:lnTo>
                  <a:lnTo>
                    <a:pt x="537" y="219"/>
                  </a:lnTo>
                  <a:lnTo>
                    <a:pt x="528" y="225"/>
                  </a:lnTo>
                  <a:lnTo>
                    <a:pt x="512" y="226"/>
                  </a:lnTo>
                  <a:lnTo>
                    <a:pt x="509" y="227"/>
                  </a:lnTo>
                  <a:lnTo>
                    <a:pt x="508" y="230"/>
                  </a:lnTo>
                  <a:lnTo>
                    <a:pt x="506" y="232"/>
                  </a:lnTo>
                  <a:lnTo>
                    <a:pt x="505" y="235"/>
                  </a:lnTo>
                  <a:lnTo>
                    <a:pt x="506" y="238"/>
                  </a:lnTo>
                  <a:lnTo>
                    <a:pt x="509" y="241"/>
                  </a:lnTo>
                  <a:lnTo>
                    <a:pt x="517" y="246"/>
                  </a:lnTo>
                  <a:lnTo>
                    <a:pt x="524" y="249"/>
                  </a:lnTo>
                  <a:lnTo>
                    <a:pt x="528" y="252"/>
                  </a:lnTo>
                  <a:lnTo>
                    <a:pt x="536" y="265"/>
                  </a:lnTo>
                  <a:lnTo>
                    <a:pt x="537" y="273"/>
                  </a:lnTo>
                  <a:lnTo>
                    <a:pt x="539" y="274"/>
                  </a:lnTo>
                  <a:lnTo>
                    <a:pt x="539" y="277"/>
                  </a:lnTo>
                  <a:lnTo>
                    <a:pt x="539" y="280"/>
                  </a:lnTo>
                  <a:lnTo>
                    <a:pt x="539" y="283"/>
                  </a:lnTo>
                  <a:lnTo>
                    <a:pt x="537" y="284"/>
                  </a:lnTo>
                  <a:lnTo>
                    <a:pt x="537" y="284"/>
                  </a:lnTo>
                  <a:lnTo>
                    <a:pt x="536" y="284"/>
                  </a:lnTo>
                  <a:lnTo>
                    <a:pt x="534" y="286"/>
                  </a:lnTo>
                  <a:lnTo>
                    <a:pt x="534" y="286"/>
                  </a:lnTo>
                  <a:lnTo>
                    <a:pt x="536" y="293"/>
                  </a:lnTo>
                  <a:lnTo>
                    <a:pt x="537" y="296"/>
                  </a:lnTo>
                  <a:lnTo>
                    <a:pt x="537" y="297"/>
                  </a:lnTo>
                  <a:lnTo>
                    <a:pt x="539" y="299"/>
                  </a:lnTo>
                  <a:lnTo>
                    <a:pt x="539" y="300"/>
                  </a:lnTo>
                  <a:lnTo>
                    <a:pt x="540" y="300"/>
                  </a:lnTo>
                  <a:lnTo>
                    <a:pt x="544" y="303"/>
                  </a:lnTo>
                  <a:lnTo>
                    <a:pt x="546" y="303"/>
                  </a:lnTo>
                  <a:lnTo>
                    <a:pt x="565" y="305"/>
                  </a:lnTo>
                  <a:lnTo>
                    <a:pt x="566" y="305"/>
                  </a:lnTo>
                  <a:lnTo>
                    <a:pt x="568" y="303"/>
                  </a:lnTo>
                  <a:lnTo>
                    <a:pt x="569" y="303"/>
                  </a:lnTo>
                  <a:lnTo>
                    <a:pt x="572" y="300"/>
                  </a:lnTo>
                  <a:lnTo>
                    <a:pt x="573" y="299"/>
                  </a:lnTo>
                  <a:lnTo>
                    <a:pt x="575" y="299"/>
                  </a:lnTo>
                  <a:lnTo>
                    <a:pt x="591" y="300"/>
                  </a:lnTo>
                  <a:lnTo>
                    <a:pt x="601" y="300"/>
                  </a:lnTo>
                  <a:lnTo>
                    <a:pt x="607" y="300"/>
                  </a:lnTo>
                  <a:lnTo>
                    <a:pt x="610" y="300"/>
                  </a:lnTo>
                  <a:lnTo>
                    <a:pt x="613" y="299"/>
                  </a:lnTo>
                  <a:lnTo>
                    <a:pt x="620" y="297"/>
                  </a:lnTo>
                  <a:lnTo>
                    <a:pt x="622" y="299"/>
                  </a:lnTo>
                  <a:lnTo>
                    <a:pt x="623" y="299"/>
                  </a:lnTo>
                  <a:lnTo>
                    <a:pt x="629" y="303"/>
                  </a:lnTo>
                  <a:lnTo>
                    <a:pt x="630" y="305"/>
                  </a:lnTo>
                  <a:lnTo>
                    <a:pt x="632" y="308"/>
                  </a:lnTo>
                  <a:lnTo>
                    <a:pt x="632" y="313"/>
                  </a:lnTo>
                  <a:lnTo>
                    <a:pt x="632" y="318"/>
                  </a:lnTo>
                  <a:lnTo>
                    <a:pt x="635" y="324"/>
                  </a:lnTo>
                  <a:lnTo>
                    <a:pt x="636" y="328"/>
                  </a:lnTo>
                  <a:lnTo>
                    <a:pt x="638" y="329"/>
                  </a:lnTo>
                  <a:lnTo>
                    <a:pt x="641" y="334"/>
                  </a:lnTo>
                  <a:lnTo>
                    <a:pt x="641" y="335"/>
                  </a:lnTo>
                  <a:lnTo>
                    <a:pt x="642" y="340"/>
                  </a:lnTo>
                  <a:lnTo>
                    <a:pt x="642" y="341"/>
                  </a:lnTo>
                  <a:lnTo>
                    <a:pt x="643" y="342"/>
                  </a:lnTo>
                  <a:lnTo>
                    <a:pt x="645" y="344"/>
                  </a:lnTo>
                  <a:lnTo>
                    <a:pt x="646" y="345"/>
                  </a:lnTo>
                  <a:lnTo>
                    <a:pt x="649" y="347"/>
                  </a:lnTo>
                  <a:lnTo>
                    <a:pt x="654" y="342"/>
                  </a:lnTo>
                  <a:lnTo>
                    <a:pt x="681" y="341"/>
                  </a:lnTo>
                  <a:lnTo>
                    <a:pt x="684" y="341"/>
                  </a:lnTo>
                  <a:lnTo>
                    <a:pt x="689" y="341"/>
                  </a:lnTo>
                  <a:lnTo>
                    <a:pt x="696" y="347"/>
                  </a:lnTo>
                  <a:lnTo>
                    <a:pt x="713" y="354"/>
                  </a:lnTo>
                  <a:lnTo>
                    <a:pt x="716" y="357"/>
                  </a:lnTo>
                  <a:lnTo>
                    <a:pt x="718" y="360"/>
                  </a:lnTo>
                  <a:lnTo>
                    <a:pt x="721" y="363"/>
                  </a:lnTo>
                  <a:lnTo>
                    <a:pt x="721" y="366"/>
                  </a:lnTo>
                  <a:lnTo>
                    <a:pt x="722" y="369"/>
                  </a:lnTo>
                  <a:lnTo>
                    <a:pt x="724" y="370"/>
                  </a:lnTo>
                  <a:lnTo>
                    <a:pt x="735" y="376"/>
                  </a:lnTo>
                  <a:lnTo>
                    <a:pt x="735" y="379"/>
                  </a:lnTo>
                  <a:lnTo>
                    <a:pt x="735" y="380"/>
                  </a:lnTo>
                  <a:lnTo>
                    <a:pt x="737" y="382"/>
                  </a:lnTo>
                  <a:lnTo>
                    <a:pt x="738" y="382"/>
                  </a:lnTo>
                  <a:lnTo>
                    <a:pt x="751" y="380"/>
                  </a:lnTo>
                  <a:lnTo>
                    <a:pt x="757" y="379"/>
                  </a:lnTo>
                  <a:lnTo>
                    <a:pt x="759" y="377"/>
                  </a:lnTo>
                  <a:lnTo>
                    <a:pt x="761" y="377"/>
                  </a:lnTo>
                  <a:lnTo>
                    <a:pt x="779" y="385"/>
                  </a:lnTo>
                  <a:lnTo>
                    <a:pt x="780" y="385"/>
                  </a:lnTo>
                  <a:lnTo>
                    <a:pt x="783" y="383"/>
                  </a:lnTo>
                  <a:lnTo>
                    <a:pt x="786" y="382"/>
                  </a:lnTo>
                  <a:lnTo>
                    <a:pt x="789" y="379"/>
                  </a:lnTo>
                  <a:lnTo>
                    <a:pt x="791" y="379"/>
                  </a:lnTo>
                  <a:lnTo>
                    <a:pt x="792" y="380"/>
                  </a:lnTo>
                  <a:lnTo>
                    <a:pt x="799" y="386"/>
                  </a:lnTo>
                  <a:lnTo>
                    <a:pt x="802" y="388"/>
                  </a:lnTo>
                  <a:lnTo>
                    <a:pt x="804" y="393"/>
                  </a:lnTo>
                  <a:lnTo>
                    <a:pt x="807" y="393"/>
                  </a:lnTo>
                  <a:lnTo>
                    <a:pt x="814" y="388"/>
                  </a:lnTo>
                  <a:lnTo>
                    <a:pt x="812" y="383"/>
                  </a:lnTo>
                  <a:lnTo>
                    <a:pt x="812" y="379"/>
                  </a:lnTo>
                  <a:lnTo>
                    <a:pt x="823" y="367"/>
                  </a:lnTo>
                  <a:lnTo>
                    <a:pt x="824" y="363"/>
                  </a:lnTo>
                  <a:lnTo>
                    <a:pt x="833" y="348"/>
                  </a:lnTo>
                  <a:lnTo>
                    <a:pt x="833" y="347"/>
                  </a:lnTo>
                  <a:lnTo>
                    <a:pt x="833" y="344"/>
                  </a:lnTo>
                  <a:lnTo>
                    <a:pt x="831" y="341"/>
                  </a:lnTo>
                  <a:lnTo>
                    <a:pt x="830" y="340"/>
                  </a:lnTo>
                  <a:lnTo>
                    <a:pt x="828" y="338"/>
                  </a:lnTo>
                  <a:lnTo>
                    <a:pt x="823" y="335"/>
                  </a:lnTo>
                  <a:lnTo>
                    <a:pt x="823" y="334"/>
                  </a:lnTo>
                  <a:lnTo>
                    <a:pt x="823" y="331"/>
                  </a:lnTo>
                  <a:lnTo>
                    <a:pt x="824" y="322"/>
                  </a:lnTo>
                  <a:lnTo>
                    <a:pt x="830" y="313"/>
                  </a:lnTo>
                  <a:lnTo>
                    <a:pt x="830" y="312"/>
                  </a:lnTo>
                  <a:lnTo>
                    <a:pt x="828" y="30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6">
              <a:extLst>
                <a:ext uri="{FF2B5EF4-FFF2-40B4-BE49-F238E27FC236}">
                  <a16:creationId xmlns:a16="http://schemas.microsoft.com/office/drawing/2014/main" id="{B2368D1D-5D47-4D89-AF1E-0DDC4D95F245}"/>
                </a:ext>
              </a:extLst>
            </p:cNvPr>
            <p:cNvSpPr>
              <a:spLocks noEditPoints="1"/>
            </p:cNvSpPr>
            <p:nvPr/>
          </p:nvSpPr>
          <p:spPr bwMode="gray">
            <a:xfrm>
              <a:off x="4684713" y="3175"/>
              <a:ext cx="1895475" cy="1601788"/>
            </a:xfrm>
            <a:custGeom>
              <a:avLst/>
              <a:gdLst>
                <a:gd name="T0" fmla="*/ 8 w 1194"/>
                <a:gd name="T1" fmla="*/ 530 h 1009"/>
                <a:gd name="T2" fmla="*/ 17 w 1194"/>
                <a:gd name="T3" fmla="*/ 521 h 1009"/>
                <a:gd name="T4" fmla="*/ 375 w 1194"/>
                <a:gd name="T5" fmla="*/ 326 h 1009"/>
                <a:gd name="T6" fmla="*/ 1168 w 1194"/>
                <a:gd name="T7" fmla="*/ 342 h 1009"/>
                <a:gd name="T8" fmla="*/ 1098 w 1194"/>
                <a:gd name="T9" fmla="*/ 371 h 1009"/>
                <a:gd name="T10" fmla="*/ 1150 w 1194"/>
                <a:gd name="T11" fmla="*/ 384 h 1009"/>
                <a:gd name="T12" fmla="*/ 249 w 1194"/>
                <a:gd name="T13" fmla="*/ 332 h 1009"/>
                <a:gd name="T14" fmla="*/ 144 w 1194"/>
                <a:gd name="T15" fmla="*/ 240 h 1009"/>
                <a:gd name="T16" fmla="*/ 186 w 1194"/>
                <a:gd name="T17" fmla="*/ 199 h 1009"/>
                <a:gd name="T18" fmla="*/ 249 w 1194"/>
                <a:gd name="T19" fmla="*/ 203 h 1009"/>
                <a:gd name="T20" fmla="*/ 1038 w 1194"/>
                <a:gd name="T21" fmla="*/ 425 h 1009"/>
                <a:gd name="T22" fmla="*/ 839 w 1194"/>
                <a:gd name="T23" fmla="*/ 381 h 1009"/>
                <a:gd name="T24" fmla="*/ 791 w 1194"/>
                <a:gd name="T25" fmla="*/ 428 h 1009"/>
                <a:gd name="T26" fmla="*/ 801 w 1194"/>
                <a:gd name="T27" fmla="*/ 369 h 1009"/>
                <a:gd name="T28" fmla="*/ 744 w 1194"/>
                <a:gd name="T29" fmla="*/ 313 h 1009"/>
                <a:gd name="T30" fmla="*/ 718 w 1194"/>
                <a:gd name="T31" fmla="*/ 235 h 1009"/>
                <a:gd name="T32" fmla="*/ 744 w 1194"/>
                <a:gd name="T33" fmla="*/ 219 h 1009"/>
                <a:gd name="T34" fmla="*/ 668 w 1194"/>
                <a:gd name="T35" fmla="*/ 170 h 1009"/>
                <a:gd name="T36" fmla="*/ 546 w 1194"/>
                <a:gd name="T37" fmla="*/ 154 h 1009"/>
                <a:gd name="T38" fmla="*/ 466 w 1194"/>
                <a:gd name="T39" fmla="*/ 150 h 1009"/>
                <a:gd name="T40" fmla="*/ 265 w 1194"/>
                <a:gd name="T41" fmla="*/ 134 h 1009"/>
                <a:gd name="T42" fmla="*/ 327 w 1194"/>
                <a:gd name="T43" fmla="*/ 276 h 1009"/>
                <a:gd name="T44" fmla="*/ 386 w 1194"/>
                <a:gd name="T45" fmla="*/ 365 h 1009"/>
                <a:gd name="T46" fmla="*/ 268 w 1194"/>
                <a:gd name="T47" fmla="*/ 413 h 1009"/>
                <a:gd name="T48" fmla="*/ 278 w 1194"/>
                <a:gd name="T49" fmla="*/ 477 h 1009"/>
                <a:gd name="T50" fmla="*/ 368 w 1194"/>
                <a:gd name="T51" fmla="*/ 449 h 1009"/>
                <a:gd name="T52" fmla="*/ 327 w 1194"/>
                <a:gd name="T53" fmla="*/ 518 h 1009"/>
                <a:gd name="T54" fmla="*/ 386 w 1194"/>
                <a:gd name="T55" fmla="*/ 567 h 1009"/>
                <a:gd name="T56" fmla="*/ 332 w 1194"/>
                <a:gd name="T57" fmla="*/ 615 h 1009"/>
                <a:gd name="T58" fmla="*/ 514 w 1194"/>
                <a:gd name="T59" fmla="*/ 730 h 1009"/>
                <a:gd name="T60" fmla="*/ 593 w 1194"/>
                <a:gd name="T61" fmla="*/ 864 h 1009"/>
                <a:gd name="T62" fmla="*/ 655 w 1194"/>
                <a:gd name="T63" fmla="*/ 860 h 1009"/>
                <a:gd name="T64" fmla="*/ 670 w 1194"/>
                <a:gd name="T65" fmla="*/ 870 h 1009"/>
                <a:gd name="T66" fmla="*/ 731 w 1194"/>
                <a:gd name="T67" fmla="*/ 844 h 1009"/>
                <a:gd name="T68" fmla="*/ 764 w 1194"/>
                <a:gd name="T69" fmla="*/ 805 h 1009"/>
                <a:gd name="T70" fmla="*/ 802 w 1194"/>
                <a:gd name="T71" fmla="*/ 796 h 1009"/>
                <a:gd name="T72" fmla="*/ 808 w 1194"/>
                <a:gd name="T73" fmla="*/ 834 h 1009"/>
                <a:gd name="T74" fmla="*/ 813 w 1194"/>
                <a:gd name="T75" fmla="*/ 863 h 1009"/>
                <a:gd name="T76" fmla="*/ 798 w 1194"/>
                <a:gd name="T77" fmla="*/ 891 h 1009"/>
                <a:gd name="T78" fmla="*/ 846 w 1194"/>
                <a:gd name="T79" fmla="*/ 956 h 1009"/>
                <a:gd name="T80" fmla="*/ 949 w 1194"/>
                <a:gd name="T81" fmla="*/ 998 h 1009"/>
                <a:gd name="T82" fmla="*/ 970 w 1194"/>
                <a:gd name="T83" fmla="*/ 953 h 1009"/>
                <a:gd name="T84" fmla="*/ 999 w 1194"/>
                <a:gd name="T85" fmla="*/ 937 h 1009"/>
                <a:gd name="T86" fmla="*/ 1027 w 1194"/>
                <a:gd name="T87" fmla="*/ 899 h 1009"/>
                <a:gd name="T88" fmla="*/ 1054 w 1194"/>
                <a:gd name="T89" fmla="*/ 888 h 1009"/>
                <a:gd name="T90" fmla="*/ 1065 w 1194"/>
                <a:gd name="T91" fmla="*/ 895 h 1009"/>
                <a:gd name="T92" fmla="*/ 1063 w 1194"/>
                <a:gd name="T93" fmla="*/ 854 h 1009"/>
                <a:gd name="T94" fmla="*/ 1066 w 1194"/>
                <a:gd name="T95" fmla="*/ 831 h 1009"/>
                <a:gd name="T96" fmla="*/ 1035 w 1194"/>
                <a:gd name="T97" fmla="*/ 811 h 1009"/>
                <a:gd name="T98" fmla="*/ 1003 w 1194"/>
                <a:gd name="T99" fmla="*/ 768 h 1009"/>
                <a:gd name="T100" fmla="*/ 999 w 1194"/>
                <a:gd name="T101" fmla="*/ 723 h 1009"/>
                <a:gd name="T102" fmla="*/ 1053 w 1194"/>
                <a:gd name="T103" fmla="*/ 687 h 1009"/>
                <a:gd name="T104" fmla="*/ 1066 w 1194"/>
                <a:gd name="T105" fmla="*/ 693 h 1009"/>
                <a:gd name="T106" fmla="*/ 1053 w 1194"/>
                <a:gd name="T107" fmla="*/ 678 h 1009"/>
                <a:gd name="T108" fmla="*/ 1008 w 1194"/>
                <a:gd name="T109" fmla="*/ 630 h 1009"/>
                <a:gd name="T110" fmla="*/ 1034 w 1194"/>
                <a:gd name="T111" fmla="*/ 580 h 1009"/>
                <a:gd name="T112" fmla="*/ 1114 w 1194"/>
                <a:gd name="T113" fmla="*/ 457 h 1009"/>
                <a:gd name="T114" fmla="*/ 147 w 1194"/>
                <a:gd name="T115" fmla="*/ 126 h 1009"/>
                <a:gd name="T116" fmla="*/ 217 w 1194"/>
                <a:gd name="T117" fmla="*/ 109 h 1009"/>
                <a:gd name="T118" fmla="*/ 189 w 1194"/>
                <a:gd name="T119" fmla="*/ 14 h 1009"/>
                <a:gd name="T120" fmla="*/ 145 w 1194"/>
                <a:gd name="T121" fmla="*/ 184 h 1009"/>
                <a:gd name="T122" fmla="*/ 272 w 1194"/>
                <a:gd name="T123" fmla="*/ 605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94" h="1009">
                  <a:moveTo>
                    <a:pt x="5" y="521"/>
                  </a:moveTo>
                  <a:lnTo>
                    <a:pt x="5" y="521"/>
                  </a:lnTo>
                  <a:lnTo>
                    <a:pt x="5" y="521"/>
                  </a:lnTo>
                  <a:lnTo>
                    <a:pt x="0" y="522"/>
                  </a:lnTo>
                  <a:lnTo>
                    <a:pt x="3" y="524"/>
                  </a:lnTo>
                  <a:lnTo>
                    <a:pt x="4" y="525"/>
                  </a:lnTo>
                  <a:lnTo>
                    <a:pt x="5" y="528"/>
                  </a:lnTo>
                  <a:lnTo>
                    <a:pt x="7" y="528"/>
                  </a:lnTo>
                  <a:lnTo>
                    <a:pt x="7" y="531"/>
                  </a:lnTo>
                  <a:lnTo>
                    <a:pt x="7" y="531"/>
                  </a:lnTo>
                  <a:lnTo>
                    <a:pt x="7" y="531"/>
                  </a:lnTo>
                  <a:lnTo>
                    <a:pt x="8" y="530"/>
                  </a:lnTo>
                  <a:lnTo>
                    <a:pt x="7" y="524"/>
                  </a:lnTo>
                  <a:lnTo>
                    <a:pt x="5" y="521"/>
                  </a:lnTo>
                  <a:close/>
                  <a:moveTo>
                    <a:pt x="17" y="521"/>
                  </a:moveTo>
                  <a:lnTo>
                    <a:pt x="11" y="522"/>
                  </a:lnTo>
                  <a:lnTo>
                    <a:pt x="13" y="525"/>
                  </a:lnTo>
                  <a:lnTo>
                    <a:pt x="11" y="522"/>
                  </a:lnTo>
                  <a:lnTo>
                    <a:pt x="17" y="521"/>
                  </a:lnTo>
                  <a:close/>
                  <a:moveTo>
                    <a:pt x="17" y="521"/>
                  </a:moveTo>
                  <a:lnTo>
                    <a:pt x="19" y="524"/>
                  </a:lnTo>
                  <a:lnTo>
                    <a:pt x="13" y="525"/>
                  </a:lnTo>
                  <a:lnTo>
                    <a:pt x="19" y="524"/>
                  </a:lnTo>
                  <a:lnTo>
                    <a:pt x="17" y="521"/>
                  </a:lnTo>
                  <a:lnTo>
                    <a:pt x="17" y="521"/>
                  </a:lnTo>
                  <a:close/>
                  <a:moveTo>
                    <a:pt x="324" y="350"/>
                  </a:moveTo>
                  <a:lnTo>
                    <a:pt x="329" y="358"/>
                  </a:lnTo>
                  <a:lnTo>
                    <a:pt x="336" y="359"/>
                  </a:lnTo>
                  <a:lnTo>
                    <a:pt x="351" y="359"/>
                  </a:lnTo>
                  <a:lnTo>
                    <a:pt x="359" y="355"/>
                  </a:lnTo>
                  <a:lnTo>
                    <a:pt x="364" y="348"/>
                  </a:lnTo>
                  <a:lnTo>
                    <a:pt x="368" y="340"/>
                  </a:lnTo>
                  <a:lnTo>
                    <a:pt x="374" y="334"/>
                  </a:lnTo>
                  <a:lnTo>
                    <a:pt x="374" y="332"/>
                  </a:lnTo>
                  <a:lnTo>
                    <a:pt x="374" y="329"/>
                  </a:lnTo>
                  <a:lnTo>
                    <a:pt x="375" y="326"/>
                  </a:lnTo>
                  <a:lnTo>
                    <a:pt x="377" y="326"/>
                  </a:lnTo>
                  <a:lnTo>
                    <a:pt x="361" y="321"/>
                  </a:lnTo>
                  <a:lnTo>
                    <a:pt x="348" y="323"/>
                  </a:lnTo>
                  <a:lnTo>
                    <a:pt x="336" y="329"/>
                  </a:lnTo>
                  <a:lnTo>
                    <a:pt x="324" y="339"/>
                  </a:lnTo>
                  <a:lnTo>
                    <a:pt x="327" y="342"/>
                  </a:lnTo>
                  <a:lnTo>
                    <a:pt x="329" y="345"/>
                  </a:lnTo>
                  <a:lnTo>
                    <a:pt x="329" y="349"/>
                  </a:lnTo>
                  <a:lnTo>
                    <a:pt x="324" y="350"/>
                  </a:lnTo>
                  <a:close/>
                  <a:moveTo>
                    <a:pt x="1194" y="391"/>
                  </a:moveTo>
                  <a:lnTo>
                    <a:pt x="1174" y="352"/>
                  </a:lnTo>
                  <a:lnTo>
                    <a:pt x="1168" y="342"/>
                  </a:lnTo>
                  <a:lnTo>
                    <a:pt x="1165" y="339"/>
                  </a:lnTo>
                  <a:lnTo>
                    <a:pt x="1156" y="332"/>
                  </a:lnTo>
                  <a:lnTo>
                    <a:pt x="1127" y="318"/>
                  </a:lnTo>
                  <a:lnTo>
                    <a:pt x="1110" y="321"/>
                  </a:lnTo>
                  <a:lnTo>
                    <a:pt x="1097" y="334"/>
                  </a:lnTo>
                  <a:lnTo>
                    <a:pt x="1086" y="359"/>
                  </a:lnTo>
                  <a:lnTo>
                    <a:pt x="1088" y="366"/>
                  </a:lnTo>
                  <a:lnTo>
                    <a:pt x="1092" y="364"/>
                  </a:lnTo>
                  <a:lnTo>
                    <a:pt x="1094" y="365"/>
                  </a:lnTo>
                  <a:lnTo>
                    <a:pt x="1095" y="366"/>
                  </a:lnTo>
                  <a:lnTo>
                    <a:pt x="1097" y="371"/>
                  </a:lnTo>
                  <a:lnTo>
                    <a:pt x="1098" y="371"/>
                  </a:lnTo>
                  <a:lnTo>
                    <a:pt x="1101" y="368"/>
                  </a:lnTo>
                  <a:lnTo>
                    <a:pt x="1105" y="366"/>
                  </a:lnTo>
                  <a:lnTo>
                    <a:pt x="1114" y="366"/>
                  </a:lnTo>
                  <a:lnTo>
                    <a:pt x="1118" y="368"/>
                  </a:lnTo>
                  <a:lnTo>
                    <a:pt x="1120" y="374"/>
                  </a:lnTo>
                  <a:lnTo>
                    <a:pt x="1120" y="385"/>
                  </a:lnTo>
                  <a:lnTo>
                    <a:pt x="1124" y="390"/>
                  </a:lnTo>
                  <a:lnTo>
                    <a:pt x="1133" y="391"/>
                  </a:lnTo>
                  <a:lnTo>
                    <a:pt x="1148" y="391"/>
                  </a:lnTo>
                  <a:lnTo>
                    <a:pt x="1145" y="390"/>
                  </a:lnTo>
                  <a:lnTo>
                    <a:pt x="1143" y="387"/>
                  </a:lnTo>
                  <a:lnTo>
                    <a:pt x="1150" y="384"/>
                  </a:lnTo>
                  <a:lnTo>
                    <a:pt x="1194" y="391"/>
                  </a:lnTo>
                  <a:close/>
                  <a:moveTo>
                    <a:pt x="257" y="345"/>
                  </a:moveTo>
                  <a:lnTo>
                    <a:pt x="265" y="345"/>
                  </a:lnTo>
                  <a:lnTo>
                    <a:pt x="275" y="339"/>
                  </a:lnTo>
                  <a:lnTo>
                    <a:pt x="282" y="326"/>
                  </a:lnTo>
                  <a:lnTo>
                    <a:pt x="285" y="311"/>
                  </a:lnTo>
                  <a:lnTo>
                    <a:pt x="285" y="305"/>
                  </a:lnTo>
                  <a:lnTo>
                    <a:pt x="263" y="314"/>
                  </a:lnTo>
                  <a:lnTo>
                    <a:pt x="260" y="316"/>
                  </a:lnTo>
                  <a:lnTo>
                    <a:pt x="257" y="317"/>
                  </a:lnTo>
                  <a:lnTo>
                    <a:pt x="252" y="321"/>
                  </a:lnTo>
                  <a:lnTo>
                    <a:pt x="249" y="332"/>
                  </a:lnTo>
                  <a:lnTo>
                    <a:pt x="253" y="340"/>
                  </a:lnTo>
                  <a:lnTo>
                    <a:pt x="257" y="345"/>
                  </a:lnTo>
                  <a:close/>
                  <a:moveTo>
                    <a:pt x="157" y="224"/>
                  </a:moveTo>
                  <a:lnTo>
                    <a:pt x="161" y="219"/>
                  </a:lnTo>
                  <a:lnTo>
                    <a:pt x="166" y="215"/>
                  </a:lnTo>
                  <a:lnTo>
                    <a:pt x="166" y="215"/>
                  </a:lnTo>
                  <a:lnTo>
                    <a:pt x="167" y="215"/>
                  </a:lnTo>
                  <a:lnTo>
                    <a:pt x="167" y="214"/>
                  </a:lnTo>
                  <a:lnTo>
                    <a:pt x="167" y="211"/>
                  </a:lnTo>
                  <a:lnTo>
                    <a:pt x="160" y="214"/>
                  </a:lnTo>
                  <a:lnTo>
                    <a:pt x="154" y="221"/>
                  </a:lnTo>
                  <a:lnTo>
                    <a:pt x="144" y="240"/>
                  </a:lnTo>
                  <a:lnTo>
                    <a:pt x="150" y="249"/>
                  </a:lnTo>
                  <a:lnTo>
                    <a:pt x="157" y="262"/>
                  </a:lnTo>
                  <a:lnTo>
                    <a:pt x="166" y="269"/>
                  </a:lnTo>
                  <a:lnTo>
                    <a:pt x="177" y="265"/>
                  </a:lnTo>
                  <a:lnTo>
                    <a:pt x="182" y="260"/>
                  </a:lnTo>
                  <a:lnTo>
                    <a:pt x="174" y="257"/>
                  </a:lnTo>
                  <a:lnTo>
                    <a:pt x="157" y="224"/>
                  </a:lnTo>
                  <a:close/>
                  <a:moveTo>
                    <a:pt x="234" y="187"/>
                  </a:moveTo>
                  <a:lnTo>
                    <a:pt x="215" y="186"/>
                  </a:lnTo>
                  <a:lnTo>
                    <a:pt x="204" y="187"/>
                  </a:lnTo>
                  <a:lnTo>
                    <a:pt x="193" y="190"/>
                  </a:lnTo>
                  <a:lnTo>
                    <a:pt x="186" y="199"/>
                  </a:lnTo>
                  <a:lnTo>
                    <a:pt x="179" y="211"/>
                  </a:lnTo>
                  <a:lnTo>
                    <a:pt x="199" y="224"/>
                  </a:lnTo>
                  <a:lnTo>
                    <a:pt x="211" y="227"/>
                  </a:lnTo>
                  <a:lnTo>
                    <a:pt x="220" y="224"/>
                  </a:lnTo>
                  <a:lnTo>
                    <a:pt x="223" y="227"/>
                  </a:lnTo>
                  <a:lnTo>
                    <a:pt x="228" y="228"/>
                  </a:lnTo>
                  <a:lnTo>
                    <a:pt x="234" y="230"/>
                  </a:lnTo>
                  <a:lnTo>
                    <a:pt x="239" y="228"/>
                  </a:lnTo>
                  <a:lnTo>
                    <a:pt x="241" y="224"/>
                  </a:lnTo>
                  <a:lnTo>
                    <a:pt x="246" y="212"/>
                  </a:lnTo>
                  <a:lnTo>
                    <a:pt x="249" y="208"/>
                  </a:lnTo>
                  <a:lnTo>
                    <a:pt x="249" y="203"/>
                  </a:lnTo>
                  <a:lnTo>
                    <a:pt x="243" y="192"/>
                  </a:lnTo>
                  <a:lnTo>
                    <a:pt x="234" y="187"/>
                  </a:lnTo>
                  <a:close/>
                  <a:moveTo>
                    <a:pt x="1097" y="419"/>
                  </a:moveTo>
                  <a:lnTo>
                    <a:pt x="1088" y="413"/>
                  </a:lnTo>
                  <a:lnTo>
                    <a:pt x="1082" y="415"/>
                  </a:lnTo>
                  <a:lnTo>
                    <a:pt x="1076" y="412"/>
                  </a:lnTo>
                  <a:lnTo>
                    <a:pt x="1085" y="412"/>
                  </a:lnTo>
                  <a:lnTo>
                    <a:pt x="1091" y="412"/>
                  </a:lnTo>
                  <a:lnTo>
                    <a:pt x="1091" y="407"/>
                  </a:lnTo>
                  <a:lnTo>
                    <a:pt x="1062" y="412"/>
                  </a:lnTo>
                  <a:lnTo>
                    <a:pt x="1050" y="416"/>
                  </a:lnTo>
                  <a:lnTo>
                    <a:pt x="1038" y="425"/>
                  </a:lnTo>
                  <a:lnTo>
                    <a:pt x="1019" y="442"/>
                  </a:lnTo>
                  <a:lnTo>
                    <a:pt x="1008" y="449"/>
                  </a:lnTo>
                  <a:lnTo>
                    <a:pt x="992" y="452"/>
                  </a:lnTo>
                  <a:lnTo>
                    <a:pt x="977" y="449"/>
                  </a:lnTo>
                  <a:lnTo>
                    <a:pt x="947" y="420"/>
                  </a:lnTo>
                  <a:lnTo>
                    <a:pt x="891" y="396"/>
                  </a:lnTo>
                  <a:lnTo>
                    <a:pt x="871" y="378"/>
                  </a:lnTo>
                  <a:lnTo>
                    <a:pt x="862" y="375"/>
                  </a:lnTo>
                  <a:lnTo>
                    <a:pt x="847" y="374"/>
                  </a:lnTo>
                  <a:lnTo>
                    <a:pt x="843" y="375"/>
                  </a:lnTo>
                  <a:lnTo>
                    <a:pt x="840" y="378"/>
                  </a:lnTo>
                  <a:lnTo>
                    <a:pt x="839" y="381"/>
                  </a:lnTo>
                  <a:lnTo>
                    <a:pt x="836" y="384"/>
                  </a:lnTo>
                  <a:lnTo>
                    <a:pt x="831" y="387"/>
                  </a:lnTo>
                  <a:lnTo>
                    <a:pt x="818" y="388"/>
                  </a:lnTo>
                  <a:lnTo>
                    <a:pt x="815" y="391"/>
                  </a:lnTo>
                  <a:lnTo>
                    <a:pt x="813" y="396"/>
                  </a:lnTo>
                  <a:lnTo>
                    <a:pt x="808" y="416"/>
                  </a:lnTo>
                  <a:lnTo>
                    <a:pt x="799" y="435"/>
                  </a:lnTo>
                  <a:lnTo>
                    <a:pt x="794" y="442"/>
                  </a:lnTo>
                  <a:lnTo>
                    <a:pt x="786" y="444"/>
                  </a:lnTo>
                  <a:lnTo>
                    <a:pt x="789" y="439"/>
                  </a:lnTo>
                  <a:lnTo>
                    <a:pt x="791" y="433"/>
                  </a:lnTo>
                  <a:lnTo>
                    <a:pt x="791" y="428"/>
                  </a:lnTo>
                  <a:lnTo>
                    <a:pt x="786" y="425"/>
                  </a:lnTo>
                  <a:lnTo>
                    <a:pt x="789" y="420"/>
                  </a:lnTo>
                  <a:lnTo>
                    <a:pt x="789" y="419"/>
                  </a:lnTo>
                  <a:lnTo>
                    <a:pt x="788" y="417"/>
                  </a:lnTo>
                  <a:lnTo>
                    <a:pt x="786" y="416"/>
                  </a:lnTo>
                  <a:lnTo>
                    <a:pt x="792" y="415"/>
                  </a:lnTo>
                  <a:lnTo>
                    <a:pt x="799" y="409"/>
                  </a:lnTo>
                  <a:lnTo>
                    <a:pt x="804" y="401"/>
                  </a:lnTo>
                  <a:lnTo>
                    <a:pt x="805" y="393"/>
                  </a:lnTo>
                  <a:lnTo>
                    <a:pt x="804" y="384"/>
                  </a:lnTo>
                  <a:lnTo>
                    <a:pt x="801" y="377"/>
                  </a:lnTo>
                  <a:lnTo>
                    <a:pt x="801" y="369"/>
                  </a:lnTo>
                  <a:lnTo>
                    <a:pt x="808" y="364"/>
                  </a:lnTo>
                  <a:lnTo>
                    <a:pt x="786" y="345"/>
                  </a:lnTo>
                  <a:lnTo>
                    <a:pt x="780" y="342"/>
                  </a:lnTo>
                  <a:lnTo>
                    <a:pt x="696" y="362"/>
                  </a:lnTo>
                  <a:lnTo>
                    <a:pt x="681" y="355"/>
                  </a:lnTo>
                  <a:lnTo>
                    <a:pt x="681" y="350"/>
                  </a:lnTo>
                  <a:lnTo>
                    <a:pt x="696" y="349"/>
                  </a:lnTo>
                  <a:lnTo>
                    <a:pt x="711" y="343"/>
                  </a:lnTo>
                  <a:lnTo>
                    <a:pt x="725" y="336"/>
                  </a:lnTo>
                  <a:lnTo>
                    <a:pt x="737" y="326"/>
                  </a:lnTo>
                  <a:lnTo>
                    <a:pt x="741" y="320"/>
                  </a:lnTo>
                  <a:lnTo>
                    <a:pt x="744" y="313"/>
                  </a:lnTo>
                  <a:lnTo>
                    <a:pt x="747" y="304"/>
                  </a:lnTo>
                  <a:lnTo>
                    <a:pt x="748" y="294"/>
                  </a:lnTo>
                  <a:lnTo>
                    <a:pt x="750" y="269"/>
                  </a:lnTo>
                  <a:lnTo>
                    <a:pt x="750" y="257"/>
                  </a:lnTo>
                  <a:lnTo>
                    <a:pt x="748" y="249"/>
                  </a:lnTo>
                  <a:lnTo>
                    <a:pt x="751" y="240"/>
                  </a:lnTo>
                  <a:lnTo>
                    <a:pt x="748" y="237"/>
                  </a:lnTo>
                  <a:lnTo>
                    <a:pt x="745" y="237"/>
                  </a:lnTo>
                  <a:lnTo>
                    <a:pt x="741" y="240"/>
                  </a:lnTo>
                  <a:lnTo>
                    <a:pt x="735" y="233"/>
                  </a:lnTo>
                  <a:lnTo>
                    <a:pt x="727" y="234"/>
                  </a:lnTo>
                  <a:lnTo>
                    <a:pt x="718" y="235"/>
                  </a:lnTo>
                  <a:lnTo>
                    <a:pt x="712" y="235"/>
                  </a:lnTo>
                  <a:lnTo>
                    <a:pt x="713" y="230"/>
                  </a:lnTo>
                  <a:lnTo>
                    <a:pt x="713" y="230"/>
                  </a:lnTo>
                  <a:lnTo>
                    <a:pt x="715" y="230"/>
                  </a:lnTo>
                  <a:lnTo>
                    <a:pt x="718" y="228"/>
                  </a:lnTo>
                  <a:lnTo>
                    <a:pt x="718" y="228"/>
                  </a:lnTo>
                  <a:lnTo>
                    <a:pt x="727" y="221"/>
                  </a:lnTo>
                  <a:lnTo>
                    <a:pt x="727" y="219"/>
                  </a:lnTo>
                  <a:lnTo>
                    <a:pt x="729" y="221"/>
                  </a:lnTo>
                  <a:lnTo>
                    <a:pt x="734" y="222"/>
                  </a:lnTo>
                  <a:lnTo>
                    <a:pt x="740" y="222"/>
                  </a:lnTo>
                  <a:lnTo>
                    <a:pt x="744" y="219"/>
                  </a:lnTo>
                  <a:lnTo>
                    <a:pt x="737" y="212"/>
                  </a:lnTo>
                  <a:lnTo>
                    <a:pt x="734" y="208"/>
                  </a:lnTo>
                  <a:lnTo>
                    <a:pt x="731" y="203"/>
                  </a:lnTo>
                  <a:lnTo>
                    <a:pt x="727" y="183"/>
                  </a:lnTo>
                  <a:lnTo>
                    <a:pt x="719" y="173"/>
                  </a:lnTo>
                  <a:lnTo>
                    <a:pt x="708" y="166"/>
                  </a:lnTo>
                  <a:lnTo>
                    <a:pt x="699" y="166"/>
                  </a:lnTo>
                  <a:lnTo>
                    <a:pt x="700" y="179"/>
                  </a:lnTo>
                  <a:lnTo>
                    <a:pt x="684" y="184"/>
                  </a:lnTo>
                  <a:lnTo>
                    <a:pt x="676" y="186"/>
                  </a:lnTo>
                  <a:lnTo>
                    <a:pt x="671" y="180"/>
                  </a:lnTo>
                  <a:lnTo>
                    <a:pt x="668" y="170"/>
                  </a:lnTo>
                  <a:lnTo>
                    <a:pt x="660" y="164"/>
                  </a:lnTo>
                  <a:lnTo>
                    <a:pt x="651" y="160"/>
                  </a:lnTo>
                  <a:lnTo>
                    <a:pt x="645" y="155"/>
                  </a:lnTo>
                  <a:lnTo>
                    <a:pt x="630" y="150"/>
                  </a:lnTo>
                  <a:lnTo>
                    <a:pt x="609" y="148"/>
                  </a:lnTo>
                  <a:lnTo>
                    <a:pt x="593" y="142"/>
                  </a:lnTo>
                  <a:lnTo>
                    <a:pt x="591" y="120"/>
                  </a:lnTo>
                  <a:lnTo>
                    <a:pt x="587" y="123"/>
                  </a:lnTo>
                  <a:lnTo>
                    <a:pt x="582" y="132"/>
                  </a:lnTo>
                  <a:lnTo>
                    <a:pt x="574" y="135"/>
                  </a:lnTo>
                  <a:lnTo>
                    <a:pt x="568" y="144"/>
                  </a:lnTo>
                  <a:lnTo>
                    <a:pt x="546" y="154"/>
                  </a:lnTo>
                  <a:lnTo>
                    <a:pt x="542" y="154"/>
                  </a:lnTo>
                  <a:lnTo>
                    <a:pt x="536" y="155"/>
                  </a:lnTo>
                  <a:lnTo>
                    <a:pt x="530" y="155"/>
                  </a:lnTo>
                  <a:lnTo>
                    <a:pt x="523" y="148"/>
                  </a:lnTo>
                  <a:lnTo>
                    <a:pt x="517" y="150"/>
                  </a:lnTo>
                  <a:lnTo>
                    <a:pt x="514" y="152"/>
                  </a:lnTo>
                  <a:lnTo>
                    <a:pt x="508" y="154"/>
                  </a:lnTo>
                  <a:lnTo>
                    <a:pt x="505" y="158"/>
                  </a:lnTo>
                  <a:lnTo>
                    <a:pt x="499" y="158"/>
                  </a:lnTo>
                  <a:lnTo>
                    <a:pt x="475" y="158"/>
                  </a:lnTo>
                  <a:lnTo>
                    <a:pt x="469" y="157"/>
                  </a:lnTo>
                  <a:lnTo>
                    <a:pt x="466" y="150"/>
                  </a:lnTo>
                  <a:lnTo>
                    <a:pt x="464" y="141"/>
                  </a:lnTo>
                  <a:lnTo>
                    <a:pt x="463" y="135"/>
                  </a:lnTo>
                  <a:lnTo>
                    <a:pt x="457" y="129"/>
                  </a:lnTo>
                  <a:lnTo>
                    <a:pt x="383" y="112"/>
                  </a:lnTo>
                  <a:lnTo>
                    <a:pt x="357" y="101"/>
                  </a:lnTo>
                  <a:lnTo>
                    <a:pt x="329" y="96"/>
                  </a:lnTo>
                  <a:lnTo>
                    <a:pt x="320" y="97"/>
                  </a:lnTo>
                  <a:lnTo>
                    <a:pt x="297" y="106"/>
                  </a:lnTo>
                  <a:lnTo>
                    <a:pt x="284" y="106"/>
                  </a:lnTo>
                  <a:lnTo>
                    <a:pt x="272" y="101"/>
                  </a:lnTo>
                  <a:lnTo>
                    <a:pt x="268" y="119"/>
                  </a:lnTo>
                  <a:lnTo>
                    <a:pt x="265" y="134"/>
                  </a:lnTo>
                  <a:lnTo>
                    <a:pt x="268" y="150"/>
                  </a:lnTo>
                  <a:lnTo>
                    <a:pt x="272" y="160"/>
                  </a:lnTo>
                  <a:lnTo>
                    <a:pt x="279" y="171"/>
                  </a:lnTo>
                  <a:lnTo>
                    <a:pt x="284" y="184"/>
                  </a:lnTo>
                  <a:lnTo>
                    <a:pt x="281" y="195"/>
                  </a:lnTo>
                  <a:lnTo>
                    <a:pt x="281" y="199"/>
                  </a:lnTo>
                  <a:lnTo>
                    <a:pt x="294" y="205"/>
                  </a:lnTo>
                  <a:lnTo>
                    <a:pt x="311" y="221"/>
                  </a:lnTo>
                  <a:lnTo>
                    <a:pt x="322" y="228"/>
                  </a:lnTo>
                  <a:lnTo>
                    <a:pt x="326" y="235"/>
                  </a:lnTo>
                  <a:lnTo>
                    <a:pt x="339" y="269"/>
                  </a:lnTo>
                  <a:lnTo>
                    <a:pt x="327" y="276"/>
                  </a:lnTo>
                  <a:lnTo>
                    <a:pt x="329" y="281"/>
                  </a:lnTo>
                  <a:lnTo>
                    <a:pt x="333" y="279"/>
                  </a:lnTo>
                  <a:lnTo>
                    <a:pt x="341" y="276"/>
                  </a:lnTo>
                  <a:lnTo>
                    <a:pt x="348" y="276"/>
                  </a:lnTo>
                  <a:lnTo>
                    <a:pt x="351" y="279"/>
                  </a:lnTo>
                  <a:lnTo>
                    <a:pt x="352" y="285"/>
                  </a:lnTo>
                  <a:lnTo>
                    <a:pt x="357" y="292"/>
                  </a:lnTo>
                  <a:lnTo>
                    <a:pt x="384" y="323"/>
                  </a:lnTo>
                  <a:lnTo>
                    <a:pt x="393" y="336"/>
                  </a:lnTo>
                  <a:lnTo>
                    <a:pt x="393" y="350"/>
                  </a:lnTo>
                  <a:lnTo>
                    <a:pt x="391" y="361"/>
                  </a:lnTo>
                  <a:lnTo>
                    <a:pt x="386" y="365"/>
                  </a:lnTo>
                  <a:lnTo>
                    <a:pt x="373" y="371"/>
                  </a:lnTo>
                  <a:lnTo>
                    <a:pt x="358" y="384"/>
                  </a:lnTo>
                  <a:lnTo>
                    <a:pt x="351" y="388"/>
                  </a:lnTo>
                  <a:lnTo>
                    <a:pt x="341" y="391"/>
                  </a:lnTo>
                  <a:lnTo>
                    <a:pt x="303" y="391"/>
                  </a:lnTo>
                  <a:lnTo>
                    <a:pt x="275" y="398"/>
                  </a:lnTo>
                  <a:lnTo>
                    <a:pt x="268" y="396"/>
                  </a:lnTo>
                  <a:lnTo>
                    <a:pt x="263" y="400"/>
                  </a:lnTo>
                  <a:lnTo>
                    <a:pt x="260" y="407"/>
                  </a:lnTo>
                  <a:lnTo>
                    <a:pt x="260" y="413"/>
                  </a:lnTo>
                  <a:lnTo>
                    <a:pt x="263" y="420"/>
                  </a:lnTo>
                  <a:lnTo>
                    <a:pt x="268" y="413"/>
                  </a:lnTo>
                  <a:lnTo>
                    <a:pt x="273" y="415"/>
                  </a:lnTo>
                  <a:lnTo>
                    <a:pt x="278" y="419"/>
                  </a:lnTo>
                  <a:lnTo>
                    <a:pt x="284" y="420"/>
                  </a:lnTo>
                  <a:lnTo>
                    <a:pt x="284" y="425"/>
                  </a:lnTo>
                  <a:lnTo>
                    <a:pt x="275" y="423"/>
                  </a:lnTo>
                  <a:lnTo>
                    <a:pt x="265" y="426"/>
                  </a:lnTo>
                  <a:lnTo>
                    <a:pt x="256" y="431"/>
                  </a:lnTo>
                  <a:lnTo>
                    <a:pt x="250" y="436"/>
                  </a:lnTo>
                  <a:lnTo>
                    <a:pt x="252" y="451"/>
                  </a:lnTo>
                  <a:lnTo>
                    <a:pt x="259" y="464"/>
                  </a:lnTo>
                  <a:lnTo>
                    <a:pt x="269" y="474"/>
                  </a:lnTo>
                  <a:lnTo>
                    <a:pt x="278" y="477"/>
                  </a:lnTo>
                  <a:lnTo>
                    <a:pt x="282" y="476"/>
                  </a:lnTo>
                  <a:lnTo>
                    <a:pt x="294" y="464"/>
                  </a:lnTo>
                  <a:lnTo>
                    <a:pt x="298" y="463"/>
                  </a:lnTo>
                  <a:lnTo>
                    <a:pt x="311" y="464"/>
                  </a:lnTo>
                  <a:lnTo>
                    <a:pt x="322" y="463"/>
                  </a:lnTo>
                  <a:lnTo>
                    <a:pt x="341" y="458"/>
                  </a:lnTo>
                  <a:lnTo>
                    <a:pt x="351" y="457"/>
                  </a:lnTo>
                  <a:lnTo>
                    <a:pt x="349" y="458"/>
                  </a:lnTo>
                  <a:lnTo>
                    <a:pt x="349" y="463"/>
                  </a:lnTo>
                  <a:lnTo>
                    <a:pt x="348" y="464"/>
                  </a:lnTo>
                  <a:lnTo>
                    <a:pt x="355" y="461"/>
                  </a:lnTo>
                  <a:lnTo>
                    <a:pt x="368" y="449"/>
                  </a:lnTo>
                  <a:lnTo>
                    <a:pt x="377" y="448"/>
                  </a:lnTo>
                  <a:lnTo>
                    <a:pt x="374" y="457"/>
                  </a:lnTo>
                  <a:lnTo>
                    <a:pt x="368" y="467"/>
                  </a:lnTo>
                  <a:lnTo>
                    <a:pt x="362" y="474"/>
                  </a:lnTo>
                  <a:lnTo>
                    <a:pt x="359" y="477"/>
                  </a:lnTo>
                  <a:lnTo>
                    <a:pt x="352" y="477"/>
                  </a:lnTo>
                  <a:lnTo>
                    <a:pt x="338" y="481"/>
                  </a:lnTo>
                  <a:lnTo>
                    <a:pt x="333" y="486"/>
                  </a:lnTo>
                  <a:lnTo>
                    <a:pt x="333" y="489"/>
                  </a:lnTo>
                  <a:lnTo>
                    <a:pt x="336" y="499"/>
                  </a:lnTo>
                  <a:lnTo>
                    <a:pt x="333" y="508"/>
                  </a:lnTo>
                  <a:lnTo>
                    <a:pt x="327" y="518"/>
                  </a:lnTo>
                  <a:lnTo>
                    <a:pt x="324" y="530"/>
                  </a:lnTo>
                  <a:lnTo>
                    <a:pt x="326" y="532"/>
                  </a:lnTo>
                  <a:lnTo>
                    <a:pt x="332" y="546"/>
                  </a:lnTo>
                  <a:lnTo>
                    <a:pt x="341" y="563"/>
                  </a:lnTo>
                  <a:lnTo>
                    <a:pt x="343" y="563"/>
                  </a:lnTo>
                  <a:lnTo>
                    <a:pt x="349" y="556"/>
                  </a:lnTo>
                  <a:lnTo>
                    <a:pt x="361" y="550"/>
                  </a:lnTo>
                  <a:lnTo>
                    <a:pt x="373" y="547"/>
                  </a:lnTo>
                  <a:lnTo>
                    <a:pt x="381" y="550"/>
                  </a:lnTo>
                  <a:lnTo>
                    <a:pt x="381" y="554"/>
                  </a:lnTo>
                  <a:lnTo>
                    <a:pt x="381" y="560"/>
                  </a:lnTo>
                  <a:lnTo>
                    <a:pt x="386" y="567"/>
                  </a:lnTo>
                  <a:lnTo>
                    <a:pt x="391" y="572"/>
                  </a:lnTo>
                  <a:lnTo>
                    <a:pt x="396" y="579"/>
                  </a:lnTo>
                  <a:lnTo>
                    <a:pt x="396" y="588"/>
                  </a:lnTo>
                  <a:lnTo>
                    <a:pt x="394" y="601"/>
                  </a:lnTo>
                  <a:lnTo>
                    <a:pt x="391" y="613"/>
                  </a:lnTo>
                  <a:lnTo>
                    <a:pt x="389" y="618"/>
                  </a:lnTo>
                  <a:lnTo>
                    <a:pt x="381" y="623"/>
                  </a:lnTo>
                  <a:lnTo>
                    <a:pt x="374" y="620"/>
                  </a:lnTo>
                  <a:lnTo>
                    <a:pt x="359" y="611"/>
                  </a:lnTo>
                  <a:lnTo>
                    <a:pt x="352" y="608"/>
                  </a:lnTo>
                  <a:lnTo>
                    <a:pt x="345" y="608"/>
                  </a:lnTo>
                  <a:lnTo>
                    <a:pt x="332" y="615"/>
                  </a:lnTo>
                  <a:lnTo>
                    <a:pt x="361" y="674"/>
                  </a:lnTo>
                  <a:lnTo>
                    <a:pt x="373" y="688"/>
                  </a:lnTo>
                  <a:lnTo>
                    <a:pt x="384" y="697"/>
                  </a:lnTo>
                  <a:lnTo>
                    <a:pt x="393" y="700"/>
                  </a:lnTo>
                  <a:lnTo>
                    <a:pt x="396" y="694"/>
                  </a:lnTo>
                  <a:lnTo>
                    <a:pt x="400" y="691"/>
                  </a:lnTo>
                  <a:lnTo>
                    <a:pt x="409" y="694"/>
                  </a:lnTo>
                  <a:lnTo>
                    <a:pt x="422" y="700"/>
                  </a:lnTo>
                  <a:lnTo>
                    <a:pt x="466" y="701"/>
                  </a:lnTo>
                  <a:lnTo>
                    <a:pt x="479" y="704"/>
                  </a:lnTo>
                  <a:lnTo>
                    <a:pt x="492" y="712"/>
                  </a:lnTo>
                  <a:lnTo>
                    <a:pt x="514" y="730"/>
                  </a:lnTo>
                  <a:lnTo>
                    <a:pt x="527" y="736"/>
                  </a:lnTo>
                  <a:lnTo>
                    <a:pt x="527" y="748"/>
                  </a:lnTo>
                  <a:lnTo>
                    <a:pt x="533" y="767"/>
                  </a:lnTo>
                  <a:lnTo>
                    <a:pt x="542" y="784"/>
                  </a:lnTo>
                  <a:lnTo>
                    <a:pt x="550" y="792"/>
                  </a:lnTo>
                  <a:lnTo>
                    <a:pt x="555" y="793"/>
                  </a:lnTo>
                  <a:lnTo>
                    <a:pt x="571" y="803"/>
                  </a:lnTo>
                  <a:lnTo>
                    <a:pt x="575" y="806"/>
                  </a:lnTo>
                  <a:lnTo>
                    <a:pt x="577" y="816"/>
                  </a:lnTo>
                  <a:lnTo>
                    <a:pt x="577" y="832"/>
                  </a:lnTo>
                  <a:lnTo>
                    <a:pt x="581" y="851"/>
                  </a:lnTo>
                  <a:lnTo>
                    <a:pt x="593" y="864"/>
                  </a:lnTo>
                  <a:lnTo>
                    <a:pt x="617" y="880"/>
                  </a:lnTo>
                  <a:lnTo>
                    <a:pt x="630" y="885"/>
                  </a:lnTo>
                  <a:lnTo>
                    <a:pt x="646" y="888"/>
                  </a:lnTo>
                  <a:lnTo>
                    <a:pt x="649" y="876"/>
                  </a:lnTo>
                  <a:lnTo>
                    <a:pt x="651" y="872"/>
                  </a:lnTo>
                  <a:lnTo>
                    <a:pt x="651" y="869"/>
                  </a:lnTo>
                  <a:lnTo>
                    <a:pt x="651" y="866"/>
                  </a:lnTo>
                  <a:lnTo>
                    <a:pt x="652" y="866"/>
                  </a:lnTo>
                  <a:lnTo>
                    <a:pt x="652" y="864"/>
                  </a:lnTo>
                  <a:lnTo>
                    <a:pt x="654" y="863"/>
                  </a:lnTo>
                  <a:lnTo>
                    <a:pt x="655" y="861"/>
                  </a:lnTo>
                  <a:lnTo>
                    <a:pt x="655" y="860"/>
                  </a:lnTo>
                  <a:lnTo>
                    <a:pt x="657" y="856"/>
                  </a:lnTo>
                  <a:lnTo>
                    <a:pt x="657" y="854"/>
                  </a:lnTo>
                  <a:lnTo>
                    <a:pt x="658" y="854"/>
                  </a:lnTo>
                  <a:lnTo>
                    <a:pt x="660" y="854"/>
                  </a:lnTo>
                  <a:lnTo>
                    <a:pt x="664" y="856"/>
                  </a:lnTo>
                  <a:lnTo>
                    <a:pt x="667" y="857"/>
                  </a:lnTo>
                  <a:lnTo>
                    <a:pt x="667" y="857"/>
                  </a:lnTo>
                  <a:lnTo>
                    <a:pt x="670" y="860"/>
                  </a:lnTo>
                  <a:lnTo>
                    <a:pt x="671" y="860"/>
                  </a:lnTo>
                  <a:lnTo>
                    <a:pt x="671" y="863"/>
                  </a:lnTo>
                  <a:lnTo>
                    <a:pt x="670" y="867"/>
                  </a:lnTo>
                  <a:lnTo>
                    <a:pt x="670" y="870"/>
                  </a:lnTo>
                  <a:lnTo>
                    <a:pt x="670" y="872"/>
                  </a:lnTo>
                  <a:lnTo>
                    <a:pt x="670" y="873"/>
                  </a:lnTo>
                  <a:lnTo>
                    <a:pt x="670" y="873"/>
                  </a:lnTo>
                  <a:lnTo>
                    <a:pt x="671" y="873"/>
                  </a:lnTo>
                  <a:lnTo>
                    <a:pt x="671" y="875"/>
                  </a:lnTo>
                  <a:lnTo>
                    <a:pt x="671" y="875"/>
                  </a:lnTo>
                  <a:lnTo>
                    <a:pt x="673" y="875"/>
                  </a:lnTo>
                  <a:lnTo>
                    <a:pt x="677" y="873"/>
                  </a:lnTo>
                  <a:lnTo>
                    <a:pt x="712" y="844"/>
                  </a:lnTo>
                  <a:lnTo>
                    <a:pt x="721" y="841"/>
                  </a:lnTo>
                  <a:lnTo>
                    <a:pt x="731" y="844"/>
                  </a:lnTo>
                  <a:lnTo>
                    <a:pt x="731" y="844"/>
                  </a:lnTo>
                  <a:lnTo>
                    <a:pt x="734" y="843"/>
                  </a:lnTo>
                  <a:lnTo>
                    <a:pt x="735" y="841"/>
                  </a:lnTo>
                  <a:lnTo>
                    <a:pt x="738" y="832"/>
                  </a:lnTo>
                  <a:lnTo>
                    <a:pt x="740" y="829"/>
                  </a:lnTo>
                  <a:lnTo>
                    <a:pt x="741" y="828"/>
                  </a:lnTo>
                  <a:lnTo>
                    <a:pt x="745" y="827"/>
                  </a:lnTo>
                  <a:lnTo>
                    <a:pt x="748" y="827"/>
                  </a:lnTo>
                  <a:lnTo>
                    <a:pt x="751" y="827"/>
                  </a:lnTo>
                  <a:lnTo>
                    <a:pt x="756" y="828"/>
                  </a:lnTo>
                  <a:lnTo>
                    <a:pt x="759" y="825"/>
                  </a:lnTo>
                  <a:lnTo>
                    <a:pt x="760" y="824"/>
                  </a:lnTo>
                  <a:lnTo>
                    <a:pt x="764" y="805"/>
                  </a:lnTo>
                  <a:lnTo>
                    <a:pt x="766" y="803"/>
                  </a:lnTo>
                  <a:lnTo>
                    <a:pt x="767" y="802"/>
                  </a:lnTo>
                  <a:lnTo>
                    <a:pt x="767" y="802"/>
                  </a:lnTo>
                  <a:lnTo>
                    <a:pt x="769" y="800"/>
                  </a:lnTo>
                  <a:lnTo>
                    <a:pt x="769" y="800"/>
                  </a:lnTo>
                  <a:lnTo>
                    <a:pt x="786" y="805"/>
                  </a:lnTo>
                  <a:lnTo>
                    <a:pt x="789" y="805"/>
                  </a:lnTo>
                  <a:lnTo>
                    <a:pt x="791" y="803"/>
                  </a:lnTo>
                  <a:lnTo>
                    <a:pt x="796" y="797"/>
                  </a:lnTo>
                  <a:lnTo>
                    <a:pt x="798" y="796"/>
                  </a:lnTo>
                  <a:lnTo>
                    <a:pt x="801" y="796"/>
                  </a:lnTo>
                  <a:lnTo>
                    <a:pt x="802" y="796"/>
                  </a:lnTo>
                  <a:lnTo>
                    <a:pt x="804" y="797"/>
                  </a:lnTo>
                  <a:lnTo>
                    <a:pt x="804" y="797"/>
                  </a:lnTo>
                  <a:lnTo>
                    <a:pt x="805" y="799"/>
                  </a:lnTo>
                  <a:lnTo>
                    <a:pt x="804" y="802"/>
                  </a:lnTo>
                  <a:lnTo>
                    <a:pt x="804" y="803"/>
                  </a:lnTo>
                  <a:lnTo>
                    <a:pt x="799" y="809"/>
                  </a:lnTo>
                  <a:lnTo>
                    <a:pt x="796" y="816"/>
                  </a:lnTo>
                  <a:lnTo>
                    <a:pt x="795" y="821"/>
                  </a:lnTo>
                  <a:lnTo>
                    <a:pt x="795" y="822"/>
                  </a:lnTo>
                  <a:lnTo>
                    <a:pt x="795" y="824"/>
                  </a:lnTo>
                  <a:lnTo>
                    <a:pt x="796" y="825"/>
                  </a:lnTo>
                  <a:lnTo>
                    <a:pt x="808" y="834"/>
                  </a:lnTo>
                  <a:lnTo>
                    <a:pt x="808" y="835"/>
                  </a:lnTo>
                  <a:lnTo>
                    <a:pt x="808" y="838"/>
                  </a:lnTo>
                  <a:lnTo>
                    <a:pt x="810" y="841"/>
                  </a:lnTo>
                  <a:lnTo>
                    <a:pt x="810" y="845"/>
                  </a:lnTo>
                  <a:lnTo>
                    <a:pt x="811" y="847"/>
                  </a:lnTo>
                  <a:lnTo>
                    <a:pt x="813" y="847"/>
                  </a:lnTo>
                  <a:lnTo>
                    <a:pt x="814" y="848"/>
                  </a:lnTo>
                  <a:lnTo>
                    <a:pt x="814" y="851"/>
                  </a:lnTo>
                  <a:lnTo>
                    <a:pt x="814" y="856"/>
                  </a:lnTo>
                  <a:lnTo>
                    <a:pt x="814" y="857"/>
                  </a:lnTo>
                  <a:lnTo>
                    <a:pt x="813" y="860"/>
                  </a:lnTo>
                  <a:lnTo>
                    <a:pt x="813" y="863"/>
                  </a:lnTo>
                  <a:lnTo>
                    <a:pt x="811" y="870"/>
                  </a:lnTo>
                  <a:lnTo>
                    <a:pt x="811" y="878"/>
                  </a:lnTo>
                  <a:lnTo>
                    <a:pt x="811" y="879"/>
                  </a:lnTo>
                  <a:lnTo>
                    <a:pt x="810" y="880"/>
                  </a:lnTo>
                  <a:lnTo>
                    <a:pt x="810" y="880"/>
                  </a:lnTo>
                  <a:lnTo>
                    <a:pt x="808" y="882"/>
                  </a:lnTo>
                  <a:lnTo>
                    <a:pt x="805" y="883"/>
                  </a:lnTo>
                  <a:lnTo>
                    <a:pt x="799" y="885"/>
                  </a:lnTo>
                  <a:lnTo>
                    <a:pt x="798" y="885"/>
                  </a:lnTo>
                  <a:lnTo>
                    <a:pt x="798" y="886"/>
                  </a:lnTo>
                  <a:lnTo>
                    <a:pt x="796" y="888"/>
                  </a:lnTo>
                  <a:lnTo>
                    <a:pt x="798" y="891"/>
                  </a:lnTo>
                  <a:lnTo>
                    <a:pt x="799" y="901"/>
                  </a:lnTo>
                  <a:lnTo>
                    <a:pt x="801" y="905"/>
                  </a:lnTo>
                  <a:lnTo>
                    <a:pt x="801" y="910"/>
                  </a:lnTo>
                  <a:lnTo>
                    <a:pt x="801" y="912"/>
                  </a:lnTo>
                  <a:lnTo>
                    <a:pt x="802" y="915"/>
                  </a:lnTo>
                  <a:lnTo>
                    <a:pt x="805" y="917"/>
                  </a:lnTo>
                  <a:lnTo>
                    <a:pt x="811" y="918"/>
                  </a:lnTo>
                  <a:lnTo>
                    <a:pt x="814" y="921"/>
                  </a:lnTo>
                  <a:lnTo>
                    <a:pt x="823" y="936"/>
                  </a:lnTo>
                  <a:lnTo>
                    <a:pt x="831" y="940"/>
                  </a:lnTo>
                  <a:lnTo>
                    <a:pt x="834" y="943"/>
                  </a:lnTo>
                  <a:lnTo>
                    <a:pt x="846" y="956"/>
                  </a:lnTo>
                  <a:lnTo>
                    <a:pt x="846" y="956"/>
                  </a:lnTo>
                  <a:lnTo>
                    <a:pt x="846" y="955"/>
                  </a:lnTo>
                  <a:lnTo>
                    <a:pt x="847" y="955"/>
                  </a:lnTo>
                  <a:lnTo>
                    <a:pt x="849" y="955"/>
                  </a:lnTo>
                  <a:lnTo>
                    <a:pt x="849" y="958"/>
                  </a:lnTo>
                  <a:lnTo>
                    <a:pt x="850" y="969"/>
                  </a:lnTo>
                  <a:lnTo>
                    <a:pt x="859" y="969"/>
                  </a:lnTo>
                  <a:lnTo>
                    <a:pt x="871" y="974"/>
                  </a:lnTo>
                  <a:lnTo>
                    <a:pt x="920" y="1004"/>
                  </a:lnTo>
                  <a:lnTo>
                    <a:pt x="935" y="1009"/>
                  </a:lnTo>
                  <a:lnTo>
                    <a:pt x="947" y="1004"/>
                  </a:lnTo>
                  <a:lnTo>
                    <a:pt x="949" y="998"/>
                  </a:lnTo>
                  <a:lnTo>
                    <a:pt x="954" y="993"/>
                  </a:lnTo>
                  <a:lnTo>
                    <a:pt x="955" y="990"/>
                  </a:lnTo>
                  <a:lnTo>
                    <a:pt x="955" y="987"/>
                  </a:lnTo>
                  <a:lnTo>
                    <a:pt x="955" y="985"/>
                  </a:lnTo>
                  <a:lnTo>
                    <a:pt x="955" y="984"/>
                  </a:lnTo>
                  <a:lnTo>
                    <a:pt x="955" y="979"/>
                  </a:lnTo>
                  <a:lnTo>
                    <a:pt x="958" y="962"/>
                  </a:lnTo>
                  <a:lnTo>
                    <a:pt x="958" y="959"/>
                  </a:lnTo>
                  <a:lnTo>
                    <a:pt x="960" y="958"/>
                  </a:lnTo>
                  <a:lnTo>
                    <a:pt x="963" y="956"/>
                  </a:lnTo>
                  <a:lnTo>
                    <a:pt x="967" y="953"/>
                  </a:lnTo>
                  <a:lnTo>
                    <a:pt x="970" y="953"/>
                  </a:lnTo>
                  <a:lnTo>
                    <a:pt x="971" y="953"/>
                  </a:lnTo>
                  <a:lnTo>
                    <a:pt x="976" y="955"/>
                  </a:lnTo>
                  <a:lnTo>
                    <a:pt x="977" y="955"/>
                  </a:lnTo>
                  <a:lnTo>
                    <a:pt x="979" y="953"/>
                  </a:lnTo>
                  <a:lnTo>
                    <a:pt x="980" y="949"/>
                  </a:lnTo>
                  <a:lnTo>
                    <a:pt x="980" y="947"/>
                  </a:lnTo>
                  <a:lnTo>
                    <a:pt x="981" y="943"/>
                  </a:lnTo>
                  <a:lnTo>
                    <a:pt x="981" y="943"/>
                  </a:lnTo>
                  <a:lnTo>
                    <a:pt x="983" y="942"/>
                  </a:lnTo>
                  <a:lnTo>
                    <a:pt x="989" y="940"/>
                  </a:lnTo>
                  <a:lnTo>
                    <a:pt x="996" y="937"/>
                  </a:lnTo>
                  <a:lnTo>
                    <a:pt x="999" y="937"/>
                  </a:lnTo>
                  <a:lnTo>
                    <a:pt x="1002" y="936"/>
                  </a:lnTo>
                  <a:lnTo>
                    <a:pt x="1016" y="924"/>
                  </a:lnTo>
                  <a:lnTo>
                    <a:pt x="1022" y="921"/>
                  </a:lnTo>
                  <a:lnTo>
                    <a:pt x="1022" y="920"/>
                  </a:lnTo>
                  <a:lnTo>
                    <a:pt x="1022" y="918"/>
                  </a:lnTo>
                  <a:lnTo>
                    <a:pt x="1022" y="917"/>
                  </a:lnTo>
                  <a:lnTo>
                    <a:pt x="1024" y="912"/>
                  </a:lnTo>
                  <a:lnTo>
                    <a:pt x="1024" y="911"/>
                  </a:lnTo>
                  <a:lnTo>
                    <a:pt x="1024" y="910"/>
                  </a:lnTo>
                  <a:lnTo>
                    <a:pt x="1027" y="904"/>
                  </a:lnTo>
                  <a:lnTo>
                    <a:pt x="1027" y="902"/>
                  </a:lnTo>
                  <a:lnTo>
                    <a:pt x="1027" y="899"/>
                  </a:lnTo>
                  <a:lnTo>
                    <a:pt x="1025" y="896"/>
                  </a:lnTo>
                  <a:lnTo>
                    <a:pt x="1025" y="892"/>
                  </a:lnTo>
                  <a:lnTo>
                    <a:pt x="1025" y="891"/>
                  </a:lnTo>
                  <a:lnTo>
                    <a:pt x="1025" y="889"/>
                  </a:lnTo>
                  <a:lnTo>
                    <a:pt x="1027" y="888"/>
                  </a:lnTo>
                  <a:lnTo>
                    <a:pt x="1030" y="888"/>
                  </a:lnTo>
                  <a:lnTo>
                    <a:pt x="1032" y="889"/>
                  </a:lnTo>
                  <a:lnTo>
                    <a:pt x="1034" y="889"/>
                  </a:lnTo>
                  <a:lnTo>
                    <a:pt x="1035" y="889"/>
                  </a:lnTo>
                  <a:lnTo>
                    <a:pt x="1051" y="888"/>
                  </a:lnTo>
                  <a:lnTo>
                    <a:pt x="1053" y="888"/>
                  </a:lnTo>
                  <a:lnTo>
                    <a:pt x="1054" y="888"/>
                  </a:lnTo>
                  <a:lnTo>
                    <a:pt x="1054" y="889"/>
                  </a:lnTo>
                  <a:lnTo>
                    <a:pt x="1056" y="891"/>
                  </a:lnTo>
                  <a:lnTo>
                    <a:pt x="1056" y="891"/>
                  </a:lnTo>
                  <a:lnTo>
                    <a:pt x="1057" y="892"/>
                  </a:lnTo>
                  <a:lnTo>
                    <a:pt x="1057" y="894"/>
                  </a:lnTo>
                  <a:lnTo>
                    <a:pt x="1057" y="898"/>
                  </a:lnTo>
                  <a:lnTo>
                    <a:pt x="1059" y="899"/>
                  </a:lnTo>
                  <a:lnTo>
                    <a:pt x="1059" y="901"/>
                  </a:lnTo>
                  <a:lnTo>
                    <a:pt x="1060" y="901"/>
                  </a:lnTo>
                  <a:lnTo>
                    <a:pt x="1062" y="901"/>
                  </a:lnTo>
                  <a:lnTo>
                    <a:pt x="1063" y="899"/>
                  </a:lnTo>
                  <a:lnTo>
                    <a:pt x="1065" y="895"/>
                  </a:lnTo>
                  <a:lnTo>
                    <a:pt x="1067" y="894"/>
                  </a:lnTo>
                  <a:lnTo>
                    <a:pt x="1069" y="892"/>
                  </a:lnTo>
                  <a:lnTo>
                    <a:pt x="1069" y="891"/>
                  </a:lnTo>
                  <a:lnTo>
                    <a:pt x="1067" y="889"/>
                  </a:lnTo>
                  <a:lnTo>
                    <a:pt x="1065" y="889"/>
                  </a:lnTo>
                  <a:lnTo>
                    <a:pt x="1065" y="889"/>
                  </a:lnTo>
                  <a:lnTo>
                    <a:pt x="1067" y="888"/>
                  </a:lnTo>
                  <a:lnTo>
                    <a:pt x="1069" y="886"/>
                  </a:lnTo>
                  <a:lnTo>
                    <a:pt x="1069" y="883"/>
                  </a:lnTo>
                  <a:lnTo>
                    <a:pt x="1067" y="880"/>
                  </a:lnTo>
                  <a:lnTo>
                    <a:pt x="1065" y="864"/>
                  </a:lnTo>
                  <a:lnTo>
                    <a:pt x="1063" y="854"/>
                  </a:lnTo>
                  <a:lnTo>
                    <a:pt x="1066" y="853"/>
                  </a:lnTo>
                  <a:lnTo>
                    <a:pt x="1069" y="851"/>
                  </a:lnTo>
                  <a:lnTo>
                    <a:pt x="1069" y="850"/>
                  </a:lnTo>
                  <a:lnTo>
                    <a:pt x="1069" y="848"/>
                  </a:lnTo>
                  <a:lnTo>
                    <a:pt x="1069" y="847"/>
                  </a:lnTo>
                  <a:lnTo>
                    <a:pt x="1069" y="845"/>
                  </a:lnTo>
                  <a:lnTo>
                    <a:pt x="1069" y="843"/>
                  </a:lnTo>
                  <a:lnTo>
                    <a:pt x="1069" y="841"/>
                  </a:lnTo>
                  <a:lnTo>
                    <a:pt x="1069" y="840"/>
                  </a:lnTo>
                  <a:lnTo>
                    <a:pt x="1069" y="838"/>
                  </a:lnTo>
                  <a:lnTo>
                    <a:pt x="1066" y="834"/>
                  </a:lnTo>
                  <a:lnTo>
                    <a:pt x="1066" y="831"/>
                  </a:lnTo>
                  <a:lnTo>
                    <a:pt x="1066" y="829"/>
                  </a:lnTo>
                  <a:lnTo>
                    <a:pt x="1066" y="828"/>
                  </a:lnTo>
                  <a:lnTo>
                    <a:pt x="1066" y="827"/>
                  </a:lnTo>
                  <a:lnTo>
                    <a:pt x="1065" y="824"/>
                  </a:lnTo>
                  <a:lnTo>
                    <a:pt x="1063" y="822"/>
                  </a:lnTo>
                  <a:lnTo>
                    <a:pt x="1059" y="816"/>
                  </a:lnTo>
                  <a:lnTo>
                    <a:pt x="1054" y="815"/>
                  </a:lnTo>
                  <a:lnTo>
                    <a:pt x="1049" y="812"/>
                  </a:lnTo>
                  <a:lnTo>
                    <a:pt x="1046" y="812"/>
                  </a:lnTo>
                  <a:lnTo>
                    <a:pt x="1043" y="812"/>
                  </a:lnTo>
                  <a:lnTo>
                    <a:pt x="1038" y="812"/>
                  </a:lnTo>
                  <a:lnTo>
                    <a:pt x="1035" y="811"/>
                  </a:lnTo>
                  <a:lnTo>
                    <a:pt x="1031" y="808"/>
                  </a:lnTo>
                  <a:lnTo>
                    <a:pt x="1024" y="797"/>
                  </a:lnTo>
                  <a:lnTo>
                    <a:pt x="1021" y="793"/>
                  </a:lnTo>
                  <a:lnTo>
                    <a:pt x="1018" y="790"/>
                  </a:lnTo>
                  <a:lnTo>
                    <a:pt x="1016" y="789"/>
                  </a:lnTo>
                  <a:lnTo>
                    <a:pt x="1008" y="786"/>
                  </a:lnTo>
                  <a:lnTo>
                    <a:pt x="1005" y="786"/>
                  </a:lnTo>
                  <a:lnTo>
                    <a:pt x="1002" y="786"/>
                  </a:lnTo>
                  <a:lnTo>
                    <a:pt x="1000" y="784"/>
                  </a:lnTo>
                  <a:lnTo>
                    <a:pt x="1000" y="784"/>
                  </a:lnTo>
                  <a:lnTo>
                    <a:pt x="1000" y="783"/>
                  </a:lnTo>
                  <a:lnTo>
                    <a:pt x="1003" y="768"/>
                  </a:lnTo>
                  <a:lnTo>
                    <a:pt x="1005" y="764"/>
                  </a:lnTo>
                  <a:lnTo>
                    <a:pt x="1005" y="758"/>
                  </a:lnTo>
                  <a:lnTo>
                    <a:pt x="1003" y="751"/>
                  </a:lnTo>
                  <a:lnTo>
                    <a:pt x="1003" y="748"/>
                  </a:lnTo>
                  <a:lnTo>
                    <a:pt x="1002" y="742"/>
                  </a:lnTo>
                  <a:lnTo>
                    <a:pt x="1002" y="741"/>
                  </a:lnTo>
                  <a:lnTo>
                    <a:pt x="999" y="733"/>
                  </a:lnTo>
                  <a:lnTo>
                    <a:pt x="999" y="732"/>
                  </a:lnTo>
                  <a:lnTo>
                    <a:pt x="998" y="730"/>
                  </a:lnTo>
                  <a:lnTo>
                    <a:pt x="998" y="730"/>
                  </a:lnTo>
                  <a:lnTo>
                    <a:pt x="998" y="729"/>
                  </a:lnTo>
                  <a:lnTo>
                    <a:pt x="999" y="723"/>
                  </a:lnTo>
                  <a:lnTo>
                    <a:pt x="999" y="722"/>
                  </a:lnTo>
                  <a:lnTo>
                    <a:pt x="1002" y="716"/>
                  </a:lnTo>
                  <a:lnTo>
                    <a:pt x="1003" y="714"/>
                  </a:lnTo>
                  <a:lnTo>
                    <a:pt x="1006" y="713"/>
                  </a:lnTo>
                  <a:lnTo>
                    <a:pt x="1012" y="710"/>
                  </a:lnTo>
                  <a:lnTo>
                    <a:pt x="1019" y="706"/>
                  </a:lnTo>
                  <a:lnTo>
                    <a:pt x="1037" y="690"/>
                  </a:lnTo>
                  <a:lnTo>
                    <a:pt x="1044" y="684"/>
                  </a:lnTo>
                  <a:lnTo>
                    <a:pt x="1046" y="684"/>
                  </a:lnTo>
                  <a:lnTo>
                    <a:pt x="1047" y="684"/>
                  </a:lnTo>
                  <a:lnTo>
                    <a:pt x="1049" y="685"/>
                  </a:lnTo>
                  <a:lnTo>
                    <a:pt x="1053" y="687"/>
                  </a:lnTo>
                  <a:lnTo>
                    <a:pt x="1053" y="687"/>
                  </a:lnTo>
                  <a:lnTo>
                    <a:pt x="1053" y="688"/>
                  </a:lnTo>
                  <a:lnTo>
                    <a:pt x="1053" y="688"/>
                  </a:lnTo>
                  <a:lnTo>
                    <a:pt x="1051" y="690"/>
                  </a:lnTo>
                  <a:lnTo>
                    <a:pt x="1051" y="691"/>
                  </a:lnTo>
                  <a:lnTo>
                    <a:pt x="1053" y="693"/>
                  </a:lnTo>
                  <a:lnTo>
                    <a:pt x="1053" y="693"/>
                  </a:lnTo>
                  <a:lnTo>
                    <a:pt x="1053" y="694"/>
                  </a:lnTo>
                  <a:lnTo>
                    <a:pt x="1054" y="694"/>
                  </a:lnTo>
                  <a:lnTo>
                    <a:pt x="1054" y="694"/>
                  </a:lnTo>
                  <a:lnTo>
                    <a:pt x="1056" y="694"/>
                  </a:lnTo>
                  <a:lnTo>
                    <a:pt x="1066" y="693"/>
                  </a:lnTo>
                  <a:lnTo>
                    <a:pt x="1067" y="691"/>
                  </a:lnTo>
                  <a:lnTo>
                    <a:pt x="1069" y="690"/>
                  </a:lnTo>
                  <a:lnTo>
                    <a:pt x="1069" y="690"/>
                  </a:lnTo>
                  <a:lnTo>
                    <a:pt x="1070" y="688"/>
                  </a:lnTo>
                  <a:lnTo>
                    <a:pt x="1070" y="688"/>
                  </a:lnTo>
                  <a:lnTo>
                    <a:pt x="1072" y="688"/>
                  </a:lnTo>
                  <a:lnTo>
                    <a:pt x="1070" y="688"/>
                  </a:lnTo>
                  <a:lnTo>
                    <a:pt x="1057" y="684"/>
                  </a:lnTo>
                  <a:lnTo>
                    <a:pt x="1056" y="682"/>
                  </a:lnTo>
                  <a:lnTo>
                    <a:pt x="1056" y="682"/>
                  </a:lnTo>
                  <a:lnTo>
                    <a:pt x="1053" y="681"/>
                  </a:lnTo>
                  <a:lnTo>
                    <a:pt x="1053" y="678"/>
                  </a:lnTo>
                  <a:lnTo>
                    <a:pt x="1051" y="677"/>
                  </a:lnTo>
                  <a:lnTo>
                    <a:pt x="1051" y="662"/>
                  </a:lnTo>
                  <a:lnTo>
                    <a:pt x="1051" y="659"/>
                  </a:lnTo>
                  <a:lnTo>
                    <a:pt x="1050" y="659"/>
                  </a:lnTo>
                  <a:lnTo>
                    <a:pt x="1046" y="658"/>
                  </a:lnTo>
                  <a:lnTo>
                    <a:pt x="1044" y="652"/>
                  </a:lnTo>
                  <a:lnTo>
                    <a:pt x="1044" y="645"/>
                  </a:lnTo>
                  <a:lnTo>
                    <a:pt x="1041" y="639"/>
                  </a:lnTo>
                  <a:lnTo>
                    <a:pt x="1038" y="637"/>
                  </a:lnTo>
                  <a:lnTo>
                    <a:pt x="1025" y="639"/>
                  </a:lnTo>
                  <a:lnTo>
                    <a:pt x="1015" y="636"/>
                  </a:lnTo>
                  <a:lnTo>
                    <a:pt x="1008" y="630"/>
                  </a:lnTo>
                  <a:lnTo>
                    <a:pt x="1003" y="621"/>
                  </a:lnTo>
                  <a:lnTo>
                    <a:pt x="999" y="611"/>
                  </a:lnTo>
                  <a:lnTo>
                    <a:pt x="999" y="607"/>
                  </a:lnTo>
                  <a:lnTo>
                    <a:pt x="1002" y="602"/>
                  </a:lnTo>
                  <a:lnTo>
                    <a:pt x="1015" y="582"/>
                  </a:lnTo>
                  <a:lnTo>
                    <a:pt x="1016" y="580"/>
                  </a:lnTo>
                  <a:lnTo>
                    <a:pt x="1019" y="579"/>
                  </a:lnTo>
                  <a:lnTo>
                    <a:pt x="1022" y="579"/>
                  </a:lnTo>
                  <a:lnTo>
                    <a:pt x="1025" y="582"/>
                  </a:lnTo>
                  <a:lnTo>
                    <a:pt x="1028" y="583"/>
                  </a:lnTo>
                  <a:lnTo>
                    <a:pt x="1031" y="580"/>
                  </a:lnTo>
                  <a:lnTo>
                    <a:pt x="1034" y="580"/>
                  </a:lnTo>
                  <a:lnTo>
                    <a:pt x="1047" y="576"/>
                  </a:lnTo>
                  <a:lnTo>
                    <a:pt x="1053" y="572"/>
                  </a:lnTo>
                  <a:lnTo>
                    <a:pt x="1067" y="554"/>
                  </a:lnTo>
                  <a:lnTo>
                    <a:pt x="1108" y="528"/>
                  </a:lnTo>
                  <a:lnTo>
                    <a:pt x="1110" y="522"/>
                  </a:lnTo>
                  <a:lnTo>
                    <a:pt x="1113" y="519"/>
                  </a:lnTo>
                  <a:lnTo>
                    <a:pt x="1116" y="514"/>
                  </a:lnTo>
                  <a:lnTo>
                    <a:pt x="1117" y="503"/>
                  </a:lnTo>
                  <a:lnTo>
                    <a:pt x="1116" y="486"/>
                  </a:lnTo>
                  <a:lnTo>
                    <a:pt x="1116" y="476"/>
                  </a:lnTo>
                  <a:lnTo>
                    <a:pt x="1117" y="468"/>
                  </a:lnTo>
                  <a:lnTo>
                    <a:pt x="1114" y="457"/>
                  </a:lnTo>
                  <a:lnTo>
                    <a:pt x="1111" y="433"/>
                  </a:lnTo>
                  <a:lnTo>
                    <a:pt x="1108" y="425"/>
                  </a:lnTo>
                  <a:lnTo>
                    <a:pt x="1113" y="426"/>
                  </a:lnTo>
                  <a:lnTo>
                    <a:pt x="1116" y="428"/>
                  </a:lnTo>
                  <a:lnTo>
                    <a:pt x="1118" y="422"/>
                  </a:lnTo>
                  <a:lnTo>
                    <a:pt x="1132" y="407"/>
                  </a:lnTo>
                  <a:lnTo>
                    <a:pt x="1121" y="404"/>
                  </a:lnTo>
                  <a:lnTo>
                    <a:pt x="1097" y="419"/>
                  </a:lnTo>
                  <a:close/>
                  <a:moveTo>
                    <a:pt x="145" y="174"/>
                  </a:moveTo>
                  <a:lnTo>
                    <a:pt x="145" y="141"/>
                  </a:lnTo>
                  <a:lnTo>
                    <a:pt x="145" y="139"/>
                  </a:lnTo>
                  <a:lnTo>
                    <a:pt x="147" y="126"/>
                  </a:lnTo>
                  <a:lnTo>
                    <a:pt x="147" y="122"/>
                  </a:lnTo>
                  <a:lnTo>
                    <a:pt x="148" y="120"/>
                  </a:lnTo>
                  <a:lnTo>
                    <a:pt x="160" y="113"/>
                  </a:lnTo>
                  <a:lnTo>
                    <a:pt x="161" y="113"/>
                  </a:lnTo>
                  <a:lnTo>
                    <a:pt x="166" y="112"/>
                  </a:lnTo>
                  <a:lnTo>
                    <a:pt x="167" y="113"/>
                  </a:lnTo>
                  <a:lnTo>
                    <a:pt x="172" y="119"/>
                  </a:lnTo>
                  <a:lnTo>
                    <a:pt x="173" y="120"/>
                  </a:lnTo>
                  <a:lnTo>
                    <a:pt x="198" y="120"/>
                  </a:lnTo>
                  <a:lnTo>
                    <a:pt x="202" y="119"/>
                  </a:lnTo>
                  <a:lnTo>
                    <a:pt x="212" y="112"/>
                  </a:lnTo>
                  <a:lnTo>
                    <a:pt x="217" y="109"/>
                  </a:lnTo>
                  <a:lnTo>
                    <a:pt x="260" y="110"/>
                  </a:lnTo>
                  <a:lnTo>
                    <a:pt x="269" y="104"/>
                  </a:lnTo>
                  <a:lnTo>
                    <a:pt x="193" y="107"/>
                  </a:lnTo>
                  <a:lnTo>
                    <a:pt x="177" y="103"/>
                  </a:lnTo>
                  <a:lnTo>
                    <a:pt x="166" y="93"/>
                  </a:lnTo>
                  <a:lnTo>
                    <a:pt x="167" y="71"/>
                  </a:lnTo>
                  <a:lnTo>
                    <a:pt x="164" y="59"/>
                  </a:lnTo>
                  <a:lnTo>
                    <a:pt x="167" y="48"/>
                  </a:lnTo>
                  <a:lnTo>
                    <a:pt x="174" y="37"/>
                  </a:lnTo>
                  <a:lnTo>
                    <a:pt x="189" y="30"/>
                  </a:lnTo>
                  <a:lnTo>
                    <a:pt x="192" y="21"/>
                  </a:lnTo>
                  <a:lnTo>
                    <a:pt x="189" y="14"/>
                  </a:lnTo>
                  <a:lnTo>
                    <a:pt x="179" y="13"/>
                  </a:lnTo>
                  <a:lnTo>
                    <a:pt x="182" y="10"/>
                  </a:lnTo>
                  <a:lnTo>
                    <a:pt x="204" y="8"/>
                  </a:lnTo>
                  <a:lnTo>
                    <a:pt x="186" y="0"/>
                  </a:lnTo>
                  <a:lnTo>
                    <a:pt x="172" y="18"/>
                  </a:lnTo>
                  <a:lnTo>
                    <a:pt x="145" y="93"/>
                  </a:lnTo>
                  <a:lnTo>
                    <a:pt x="142" y="106"/>
                  </a:lnTo>
                  <a:lnTo>
                    <a:pt x="138" y="170"/>
                  </a:lnTo>
                  <a:lnTo>
                    <a:pt x="138" y="186"/>
                  </a:lnTo>
                  <a:lnTo>
                    <a:pt x="141" y="195"/>
                  </a:lnTo>
                  <a:lnTo>
                    <a:pt x="144" y="193"/>
                  </a:lnTo>
                  <a:lnTo>
                    <a:pt x="145" y="184"/>
                  </a:lnTo>
                  <a:lnTo>
                    <a:pt x="145" y="174"/>
                  </a:lnTo>
                  <a:close/>
                  <a:moveTo>
                    <a:pt x="281" y="599"/>
                  </a:moveTo>
                  <a:lnTo>
                    <a:pt x="279" y="598"/>
                  </a:lnTo>
                  <a:lnTo>
                    <a:pt x="279" y="595"/>
                  </a:lnTo>
                  <a:lnTo>
                    <a:pt x="279" y="592"/>
                  </a:lnTo>
                  <a:lnTo>
                    <a:pt x="279" y="589"/>
                  </a:lnTo>
                  <a:lnTo>
                    <a:pt x="276" y="589"/>
                  </a:lnTo>
                  <a:lnTo>
                    <a:pt x="273" y="592"/>
                  </a:lnTo>
                  <a:lnTo>
                    <a:pt x="272" y="594"/>
                  </a:lnTo>
                  <a:lnTo>
                    <a:pt x="271" y="598"/>
                  </a:lnTo>
                  <a:lnTo>
                    <a:pt x="271" y="601"/>
                  </a:lnTo>
                  <a:lnTo>
                    <a:pt x="272" y="605"/>
                  </a:lnTo>
                  <a:lnTo>
                    <a:pt x="276" y="610"/>
                  </a:lnTo>
                  <a:lnTo>
                    <a:pt x="281" y="611"/>
                  </a:lnTo>
                  <a:lnTo>
                    <a:pt x="282" y="608"/>
                  </a:lnTo>
                  <a:lnTo>
                    <a:pt x="282" y="605"/>
                  </a:lnTo>
                  <a:lnTo>
                    <a:pt x="282" y="604"/>
                  </a:lnTo>
                  <a:lnTo>
                    <a:pt x="282" y="601"/>
                  </a:lnTo>
                  <a:lnTo>
                    <a:pt x="281" y="59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7">
              <a:extLst>
                <a:ext uri="{FF2B5EF4-FFF2-40B4-BE49-F238E27FC236}">
                  <a16:creationId xmlns:a16="http://schemas.microsoft.com/office/drawing/2014/main" id="{AF996333-B4D0-4C57-87D2-5002A10FFA02}"/>
                </a:ext>
              </a:extLst>
            </p:cNvPr>
            <p:cNvSpPr>
              <a:spLocks/>
            </p:cNvSpPr>
            <p:nvPr/>
          </p:nvSpPr>
          <p:spPr bwMode="gray">
            <a:xfrm>
              <a:off x="6169026" y="1893888"/>
              <a:ext cx="1470025" cy="1893888"/>
            </a:xfrm>
            <a:custGeom>
              <a:avLst/>
              <a:gdLst>
                <a:gd name="T0" fmla="*/ 807 w 926"/>
                <a:gd name="T1" fmla="*/ 781 h 1193"/>
                <a:gd name="T2" fmla="*/ 721 w 926"/>
                <a:gd name="T3" fmla="*/ 818 h 1193"/>
                <a:gd name="T4" fmla="*/ 584 w 926"/>
                <a:gd name="T5" fmla="*/ 845 h 1193"/>
                <a:gd name="T6" fmla="*/ 561 w 926"/>
                <a:gd name="T7" fmla="*/ 896 h 1193"/>
                <a:gd name="T8" fmla="*/ 556 w 926"/>
                <a:gd name="T9" fmla="*/ 947 h 1193"/>
                <a:gd name="T10" fmla="*/ 545 w 926"/>
                <a:gd name="T11" fmla="*/ 987 h 1193"/>
                <a:gd name="T12" fmla="*/ 555 w 926"/>
                <a:gd name="T13" fmla="*/ 1049 h 1193"/>
                <a:gd name="T14" fmla="*/ 574 w 926"/>
                <a:gd name="T15" fmla="*/ 1105 h 1193"/>
                <a:gd name="T16" fmla="*/ 583 w 926"/>
                <a:gd name="T17" fmla="*/ 1167 h 1193"/>
                <a:gd name="T18" fmla="*/ 521 w 926"/>
                <a:gd name="T19" fmla="*/ 1177 h 1193"/>
                <a:gd name="T20" fmla="*/ 473 w 926"/>
                <a:gd name="T21" fmla="*/ 1154 h 1193"/>
                <a:gd name="T22" fmla="*/ 396 w 926"/>
                <a:gd name="T23" fmla="*/ 1128 h 1193"/>
                <a:gd name="T24" fmla="*/ 335 w 926"/>
                <a:gd name="T25" fmla="*/ 1099 h 1193"/>
                <a:gd name="T26" fmla="*/ 294 w 926"/>
                <a:gd name="T27" fmla="*/ 1086 h 1193"/>
                <a:gd name="T28" fmla="*/ 266 w 926"/>
                <a:gd name="T29" fmla="*/ 1038 h 1193"/>
                <a:gd name="T30" fmla="*/ 218 w 926"/>
                <a:gd name="T31" fmla="*/ 934 h 1193"/>
                <a:gd name="T32" fmla="*/ 131 w 926"/>
                <a:gd name="T33" fmla="*/ 867 h 1193"/>
                <a:gd name="T34" fmla="*/ 127 w 926"/>
                <a:gd name="T35" fmla="*/ 837 h 1193"/>
                <a:gd name="T36" fmla="*/ 95 w 926"/>
                <a:gd name="T37" fmla="*/ 811 h 1193"/>
                <a:gd name="T38" fmla="*/ 22 w 926"/>
                <a:gd name="T39" fmla="*/ 744 h 1193"/>
                <a:gd name="T40" fmla="*/ 3 w 926"/>
                <a:gd name="T41" fmla="*/ 710 h 1193"/>
                <a:gd name="T42" fmla="*/ 22 w 926"/>
                <a:gd name="T43" fmla="*/ 668 h 1193"/>
                <a:gd name="T44" fmla="*/ 19 w 926"/>
                <a:gd name="T45" fmla="*/ 627 h 1193"/>
                <a:gd name="T46" fmla="*/ 6 w 926"/>
                <a:gd name="T47" fmla="*/ 604 h 1193"/>
                <a:gd name="T48" fmla="*/ 29 w 926"/>
                <a:gd name="T49" fmla="*/ 579 h 1193"/>
                <a:gd name="T50" fmla="*/ 138 w 926"/>
                <a:gd name="T51" fmla="*/ 560 h 1193"/>
                <a:gd name="T52" fmla="*/ 163 w 926"/>
                <a:gd name="T53" fmla="*/ 522 h 1193"/>
                <a:gd name="T54" fmla="*/ 157 w 926"/>
                <a:gd name="T55" fmla="*/ 495 h 1193"/>
                <a:gd name="T56" fmla="*/ 179 w 926"/>
                <a:gd name="T57" fmla="*/ 460 h 1193"/>
                <a:gd name="T58" fmla="*/ 166 w 926"/>
                <a:gd name="T59" fmla="*/ 449 h 1193"/>
                <a:gd name="T60" fmla="*/ 159 w 926"/>
                <a:gd name="T61" fmla="*/ 420 h 1193"/>
                <a:gd name="T62" fmla="*/ 153 w 926"/>
                <a:gd name="T63" fmla="*/ 401 h 1193"/>
                <a:gd name="T64" fmla="*/ 153 w 926"/>
                <a:gd name="T65" fmla="*/ 369 h 1193"/>
                <a:gd name="T66" fmla="*/ 140 w 926"/>
                <a:gd name="T67" fmla="*/ 314 h 1193"/>
                <a:gd name="T68" fmla="*/ 131 w 926"/>
                <a:gd name="T69" fmla="*/ 276 h 1193"/>
                <a:gd name="T70" fmla="*/ 132 w 926"/>
                <a:gd name="T71" fmla="*/ 246 h 1193"/>
                <a:gd name="T72" fmla="*/ 79 w 926"/>
                <a:gd name="T73" fmla="*/ 173 h 1193"/>
                <a:gd name="T74" fmla="*/ 65 w 926"/>
                <a:gd name="T75" fmla="*/ 132 h 1193"/>
                <a:gd name="T76" fmla="*/ 147 w 926"/>
                <a:gd name="T77" fmla="*/ 94 h 1193"/>
                <a:gd name="T78" fmla="*/ 178 w 926"/>
                <a:gd name="T79" fmla="*/ 81 h 1193"/>
                <a:gd name="T80" fmla="*/ 237 w 926"/>
                <a:gd name="T81" fmla="*/ 99 h 1193"/>
                <a:gd name="T82" fmla="*/ 323 w 926"/>
                <a:gd name="T83" fmla="*/ 61 h 1193"/>
                <a:gd name="T84" fmla="*/ 341 w 926"/>
                <a:gd name="T85" fmla="*/ 24 h 1193"/>
                <a:gd name="T86" fmla="*/ 398 w 926"/>
                <a:gd name="T87" fmla="*/ 39 h 1193"/>
                <a:gd name="T88" fmla="*/ 485 w 926"/>
                <a:gd name="T89" fmla="*/ 94 h 1193"/>
                <a:gd name="T90" fmla="*/ 559 w 926"/>
                <a:gd name="T91" fmla="*/ 101 h 1193"/>
                <a:gd name="T92" fmla="*/ 569 w 926"/>
                <a:gd name="T93" fmla="*/ 168 h 1193"/>
                <a:gd name="T94" fmla="*/ 574 w 926"/>
                <a:gd name="T95" fmla="*/ 203 h 1193"/>
                <a:gd name="T96" fmla="*/ 551 w 926"/>
                <a:gd name="T97" fmla="*/ 265 h 1193"/>
                <a:gd name="T98" fmla="*/ 549 w 926"/>
                <a:gd name="T99" fmla="*/ 294 h 1193"/>
                <a:gd name="T100" fmla="*/ 568 w 926"/>
                <a:gd name="T101" fmla="*/ 294 h 1193"/>
                <a:gd name="T102" fmla="*/ 594 w 926"/>
                <a:gd name="T103" fmla="*/ 305 h 1193"/>
                <a:gd name="T104" fmla="*/ 583 w 926"/>
                <a:gd name="T105" fmla="*/ 346 h 1193"/>
                <a:gd name="T106" fmla="*/ 577 w 926"/>
                <a:gd name="T107" fmla="*/ 387 h 1193"/>
                <a:gd name="T108" fmla="*/ 569 w 926"/>
                <a:gd name="T109" fmla="*/ 439 h 1193"/>
                <a:gd name="T110" fmla="*/ 567 w 926"/>
                <a:gd name="T111" fmla="*/ 487 h 1193"/>
                <a:gd name="T112" fmla="*/ 626 w 926"/>
                <a:gd name="T113" fmla="*/ 576 h 1193"/>
                <a:gd name="T114" fmla="*/ 670 w 926"/>
                <a:gd name="T115" fmla="*/ 596 h 1193"/>
                <a:gd name="T116" fmla="*/ 778 w 926"/>
                <a:gd name="T117" fmla="*/ 629 h 1193"/>
                <a:gd name="T118" fmla="*/ 868 w 926"/>
                <a:gd name="T119" fmla="*/ 679 h 1193"/>
                <a:gd name="T120" fmla="*/ 900 w 926"/>
                <a:gd name="T121" fmla="*/ 719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6" h="1193">
                  <a:moveTo>
                    <a:pt x="867" y="813"/>
                  </a:moveTo>
                  <a:lnTo>
                    <a:pt x="859" y="811"/>
                  </a:lnTo>
                  <a:lnTo>
                    <a:pt x="852" y="803"/>
                  </a:lnTo>
                  <a:lnTo>
                    <a:pt x="851" y="802"/>
                  </a:lnTo>
                  <a:lnTo>
                    <a:pt x="848" y="800"/>
                  </a:lnTo>
                  <a:lnTo>
                    <a:pt x="845" y="802"/>
                  </a:lnTo>
                  <a:lnTo>
                    <a:pt x="843" y="803"/>
                  </a:lnTo>
                  <a:lnTo>
                    <a:pt x="842" y="805"/>
                  </a:lnTo>
                  <a:lnTo>
                    <a:pt x="838" y="806"/>
                  </a:lnTo>
                  <a:lnTo>
                    <a:pt x="832" y="800"/>
                  </a:lnTo>
                  <a:lnTo>
                    <a:pt x="824" y="796"/>
                  </a:lnTo>
                  <a:lnTo>
                    <a:pt x="820" y="796"/>
                  </a:lnTo>
                  <a:lnTo>
                    <a:pt x="816" y="793"/>
                  </a:lnTo>
                  <a:lnTo>
                    <a:pt x="810" y="790"/>
                  </a:lnTo>
                  <a:lnTo>
                    <a:pt x="807" y="781"/>
                  </a:lnTo>
                  <a:lnTo>
                    <a:pt x="797" y="783"/>
                  </a:lnTo>
                  <a:lnTo>
                    <a:pt x="794" y="787"/>
                  </a:lnTo>
                  <a:lnTo>
                    <a:pt x="775" y="803"/>
                  </a:lnTo>
                  <a:lnTo>
                    <a:pt x="769" y="806"/>
                  </a:lnTo>
                  <a:lnTo>
                    <a:pt x="759" y="802"/>
                  </a:lnTo>
                  <a:lnTo>
                    <a:pt x="746" y="800"/>
                  </a:lnTo>
                  <a:lnTo>
                    <a:pt x="740" y="803"/>
                  </a:lnTo>
                  <a:lnTo>
                    <a:pt x="737" y="809"/>
                  </a:lnTo>
                  <a:lnTo>
                    <a:pt x="734" y="813"/>
                  </a:lnTo>
                  <a:lnTo>
                    <a:pt x="731" y="816"/>
                  </a:lnTo>
                  <a:lnTo>
                    <a:pt x="727" y="821"/>
                  </a:lnTo>
                  <a:lnTo>
                    <a:pt x="725" y="821"/>
                  </a:lnTo>
                  <a:lnTo>
                    <a:pt x="722" y="821"/>
                  </a:lnTo>
                  <a:lnTo>
                    <a:pt x="722" y="819"/>
                  </a:lnTo>
                  <a:lnTo>
                    <a:pt x="721" y="818"/>
                  </a:lnTo>
                  <a:lnTo>
                    <a:pt x="720" y="818"/>
                  </a:lnTo>
                  <a:lnTo>
                    <a:pt x="686" y="824"/>
                  </a:lnTo>
                  <a:lnTo>
                    <a:pt x="682" y="821"/>
                  </a:lnTo>
                  <a:lnTo>
                    <a:pt x="657" y="819"/>
                  </a:lnTo>
                  <a:lnTo>
                    <a:pt x="654" y="819"/>
                  </a:lnTo>
                  <a:lnTo>
                    <a:pt x="651" y="821"/>
                  </a:lnTo>
                  <a:lnTo>
                    <a:pt x="650" y="831"/>
                  </a:lnTo>
                  <a:lnTo>
                    <a:pt x="650" y="834"/>
                  </a:lnTo>
                  <a:lnTo>
                    <a:pt x="648" y="835"/>
                  </a:lnTo>
                  <a:lnTo>
                    <a:pt x="647" y="837"/>
                  </a:lnTo>
                  <a:lnTo>
                    <a:pt x="620" y="840"/>
                  </a:lnTo>
                  <a:lnTo>
                    <a:pt x="603" y="848"/>
                  </a:lnTo>
                  <a:lnTo>
                    <a:pt x="600" y="848"/>
                  </a:lnTo>
                  <a:lnTo>
                    <a:pt x="590" y="847"/>
                  </a:lnTo>
                  <a:lnTo>
                    <a:pt x="584" y="845"/>
                  </a:lnTo>
                  <a:lnTo>
                    <a:pt x="581" y="843"/>
                  </a:lnTo>
                  <a:lnTo>
                    <a:pt x="578" y="843"/>
                  </a:lnTo>
                  <a:lnTo>
                    <a:pt x="578" y="843"/>
                  </a:lnTo>
                  <a:lnTo>
                    <a:pt x="577" y="844"/>
                  </a:lnTo>
                  <a:lnTo>
                    <a:pt x="577" y="847"/>
                  </a:lnTo>
                  <a:lnTo>
                    <a:pt x="577" y="850"/>
                  </a:lnTo>
                  <a:lnTo>
                    <a:pt x="575" y="851"/>
                  </a:lnTo>
                  <a:lnTo>
                    <a:pt x="575" y="853"/>
                  </a:lnTo>
                  <a:lnTo>
                    <a:pt x="574" y="853"/>
                  </a:lnTo>
                  <a:lnTo>
                    <a:pt x="565" y="861"/>
                  </a:lnTo>
                  <a:lnTo>
                    <a:pt x="565" y="886"/>
                  </a:lnTo>
                  <a:lnTo>
                    <a:pt x="564" y="894"/>
                  </a:lnTo>
                  <a:lnTo>
                    <a:pt x="562" y="894"/>
                  </a:lnTo>
                  <a:lnTo>
                    <a:pt x="561" y="895"/>
                  </a:lnTo>
                  <a:lnTo>
                    <a:pt x="561" y="896"/>
                  </a:lnTo>
                  <a:lnTo>
                    <a:pt x="558" y="899"/>
                  </a:lnTo>
                  <a:lnTo>
                    <a:pt x="558" y="901"/>
                  </a:lnTo>
                  <a:lnTo>
                    <a:pt x="553" y="904"/>
                  </a:lnTo>
                  <a:lnTo>
                    <a:pt x="552" y="905"/>
                  </a:lnTo>
                  <a:lnTo>
                    <a:pt x="552" y="907"/>
                  </a:lnTo>
                  <a:lnTo>
                    <a:pt x="552" y="908"/>
                  </a:lnTo>
                  <a:lnTo>
                    <a:pt x="552" y="910"/>
                  </a:lnTo>
                  <a:lnTo>
                    <a:pt x="552" y="917"/>
                  </a:lnTo>
                  <a:lnTo>
                    <a:pt x="552" y="918"/>
                  </a:lnTo>
                  <a:lnTo>
                    <a:pt x="553" y="920"/>
                  </a:lnTo>
                  <a:lnTo>
                    <a:pt x="553" y="921"/>
                  </a:lnTo>
                  <a:lnTo>
                    <a:pt x="555" y="924"/>
                  </a:lnTo>
                  <a:lnTo>
                    <a:pt x="556" y="937"/>
                  </a:lnTo>
                  <a:lnTo>
                    <a:pt x="556" y="946"/>
                  </a:lnTo>
                  <a:lnTo>
                    <a:pt x="556" y="947"/>
                  </a:lnTo>
                  <a:lnTo>
                    <a:pt x="558" y="950"/>
                  </a:lnTo>
                  <a:lnTo>
                    <a:pt x="559" y="953"/>
                  </a:lnTo>
                  <a:lnTo>
                    <a:pt x="561" y="959"/>
                  </a:lnTo>
                  <a:lnTo>
                    <a:pt x="562" y="963"/>
                  </a:lnTo>
                  <a:lnTo>
                    <a:pt x="562" y="968"/>
                  </a:lnTo>
                  <a:lnTo>
                    <a:pt x="561" y="971"/>
                  </a:lnTo>
                  <a:lnTo>
                    <a:pt x="561" y="972"/>
                  </a:lnTo>
                  <a:lnTo>
                    <a:pt x="561" y="974"/>
                  </a:lnTo>
                  <a:lnTo>
                    <a:pt x="559" y="975"/>
                  </a:lnTo>
                  <a:lnTo>
                    <a:pt x="558" y="977"/>
                  </a:lnTo>
                  <a:lnTo>
                    <a:pt x="558" y="977"/>
                  </a:lnTo>
                  <a:lnTo>
                    <a:pt x="552" y="977"/>
                  </a:lnTo>
                  <a:lnTo>
                    <a:pt x="551" y="978"/>
                  </a:lnTo>
                  <a:lnTo>
                    <a:pt x="548" y="981"/>
                  </a:lnTo>
                  <a:lnTo>
                    <a:pt x="545" y="987"/>
                  </a:lnTo>
                  <a:lnTo>
                    <a:pt x="543" y="990"/>
                  </a:lnTo>
                  <a:lnTo>
                    <a:pt x="543" y="993"/>
                  </a:lnTo>
                  <a:lnTo>
                    <a:pt x="543" y="994"/>
                  </a:lnTo>
                  <a:lnTo>
                    <a:pt x="543" y="995"/>
                  </a:lnTo>
                  <a:lnTo>
                    <a:pt x="543" y="995"/>
                  </a:lnTo>
                  <a:lnTo>
                    <a:pt x="545" y="997"/>
                  </a:lnTo>
                  <a:lnTo>
                    <a:pt x="545" y="998"/>
                  </a:lnTo>
                  <a:lnTo>
                    <a:pt x="546" y="1003"/>
                  </a:lnTo>
                  <a:lnTo>
                    <a:pt x="546" y="1014"/>
                  </a:lnTo>
                  <a:lnTo>
                    <a:pt x="553" y="1023"/>
                  </a:lnTo>
                  <a:lnTo>
                    <a:pt x="555" y="1029"/>
                  </a:lnTo>
                  <a:lnTo>
                    <a:pt x="555" y="1045"/>
                  </a:lnTo>
                  <a:lnTo>
                    <a:pt x="555" y="1046"/>
                  </a:lnTo>
                  <a:lnTo>
                    <a:pt x="555" y="1048"/>
                  </a:lnTo>
                  <a:lnTo>
                    <a:pt x="555" y="1049"/>
                  </a:lnTo>
                  <a:lnTo>
                    <a:pt x="553" y="1051"/>
                  </a:lnTo>
                  <a:lnTo>
                    <a:pt x="552" y="1054"/>
                  </a:lnTo>
                  <a:lnTo>
                    <a:pt x="551" y="1055"/>
                  </a:lnTo>
                  <a:lnTo>
                    <a:pt x="551" y="1059"/>
                  </a:lnTo>
                  <a:lnTo>
                    <a:pt x="553" y="1061"/>
                  </a:lnTo>
                  <a:lnTo>
                    <a:pt x="561" y="1064"/>
                  </a:lnTo>
                  <a:lnTo>
                    <a:pt x="559" y="1078"/>
                  </a:lnTo>
                  <a:lnTo>
                    <a:pt x="562" y="1084"/>
                  </a:lnTo>
                  <a:lnTo>
                    <a:pt x="569" y="1090"/>
                  </a:lnTo>
                  <a:lnTo>
                    <a:pt x="571" y="1092"/>
                  </a:lnTo>
                  <a:lnTo>
                    <a:pt x="571" y="1094"/>
                  </a:lnTo>
                  <a:lnTo>
                    <a:pt x="571" y="1097"/>
                  </a:lnTo>
                  <a:lnTo>
                    <a:pt x="572" y="1102"/>
                  </a:lnTo>
                  <a:lnTo>
                    <a:pt x="572" y="1103"/>
                  </a:lnTo>
                  <a:lnTo>
                    <a:pt x="574" y="1105"/>
                  </a:lnTo>
                  <a:lnTo>
                    <a:pt x="588" y="1108"/>
                  </a:lnTo>
                  <a:lnTo>
                    <a:pt x="590" y="1112"/>
                  </a:lnTo>
                  <a:lnTo>
                    <a:pt x="590" y="1113"/>
                  </a:lnTo>
                  <a:lnTo>
                    <a:pt x="584" y="1122"/>
                  </a:lnTo>
                  <a:lnTo>
                    <a:pt x="583" y="1131"/>
                  </a:lnTo>
                  <a:lnTo>
                    <a:pt x="583" y="1134"/>
                  </a:lnTo>
                  <a:lnTo>
                    <a:pt x="583" y="1135"/>
                  </a:lnTo>
                  <a:lnTo>
                    <a:pt x="588" y="1138"/>
                  </a:lnTo>
                  <a:lnTo>
                    <a:pt x="590" y="1140"/>
                  </a:lnTo>
                  <a:lnTo>
                    <a:pt x="591" y="1141"/>
                  </a:lnTo>
                  <a:lnTo>
                    <a:pt x="593" y="1144"/>
                  </a:lnTo>
                  <a:lnTo>
                    <a:pt x="593" y="1147"/>
                  </a:lnTo>
                  <a:lnTo>
                    <a:pt x="593" y="1148"/>
                  </a:lnTo>
                  <a:lnTo>
                    <a:pt x="584" y="1163"/>
                  </a:lnTo>
                  <a:lnTo>
                    <a:pt x="583" y="1167"/>
                  </a:lnTo>
                  <a:lnTo>
                    <a:pt x="572" y="1179"/>
                  </a:lnTo>
                  <a:lnTo>
                    <a:pt x="572" y="1183"/>
                  </a:lnTo>
                  <a:lnTo>
                    <a:pt x="574" y="1188"/>
                  </a:lnTo>
                  <a:lnTo>
                    <a:pt x="567" y="1193"/>
                  </a:lnTo>
                  <a:lnTo>
                    <a:pt x="564" y="1193"/>
                  </a:lnTo>
                  <a:lnTo>
                    <a:pt x="562" y="1188"/>
                  </a:lnTo>
                  <a:lnTo>
                    <a:pt x="559" y="1186"/>
                  </a:lnTo>
                  <a:lnTo>
                    <a:pt x="552" y="1180"/>
                  </a:lnTo>
                  <a:lnTo>
                    <a:pt x="551" y="1179"/>
                  </a:lnTo>
                  <a:lnTo>
                    <a:pt x="549" y="1179"/>
                  </a:lnTo>
                  <a:lnTo>
                    <a:pt x="546" y="1182"/>
                  </a:lnTo>
                  <a:lnTo>
                    <a:pt x="543" y="1183"/>
                  </a:lnTo>
                  <a:lnTo>
                    <a:pt x="540" y="1185"/>
                  </a:lnTo>
                  <a:lnTo>
                    <a:pt x="539" y="1185"/>
                  </a:lnTo>
                  <a:lnTo>
                    <a:pt x="521" y="1177"/>
                  </a:lnTo>
                  <a:lnTo>
                    <a:pt x="519" y="1177"/>
                  </a:lnTo>
                  <a:lnTo>
                    <a:pt x="517" y="1179"/>
                  </a:lnTo>
                  <a:lnTo>
                    <a:pt x="511" y="1180"/>
                  </a:lnTo>
                  <a:lnTo>
                    <a:pt x="498" y="1182"/>
                  </a:lnTo>
                  <a:lnTo>
                    <a:pt x="497" y="1182"/>
                  </a:lnTo>
                  <a:lnTo>
                    <a:pt x="495" y="1180"/>
                  </a:lnTo>
                  <a:lnTo>
                    <a:pt x="495" y="1179"/>
                  </a:lnTo>
                  <a:lnTo>
                    <a:pt x="495" y="1176"/>
                  </a:lnTo>
                  <a:lnTo>
                    <a:pt x="484" y="1170"/>
                  </a:lnTo>
                  <a:lnTo>
                    <a:pt x="482" y="1169"/>
                  </a:lnTo>
                  <a:lnTo>
                    <a:pt x="481" y="1166"/>
                  </a:lnTo>
                  <a:lnTo>
                    <a:pt x="481" y="1163"/>
                  </a:lnTo>
                  <a:lnTo>
                    <a:pt x="478" y="1160"/>
                  </a:lnTo>
                  <a:lnTo>
                    <a:pt x="476" y="1157"/>
                  </a:lnTo>
                  <a:lnTo>
                    <a:pt x="473" y="1154"/>
                  </a:lnTo>
                  <a:lnTo>
                    <a:pt x="456" y="1147"/>
                  </a:lnTo>
                  <a:lnTo>
                    <a:pt x="449" y="1141"/>
                  </a:lnTo>
                  <a:lnTo>
                    <a:pt x="444" y="1141"/>
                  </a:lnTo>
                  <a:lnTo>
                    <a:pt x="441" y="1141"/>
                  </a:lnTo>
                  <a:lnTo>
                    <a:pt x="414" y="1142"/>
                  </a:lnTo>
                  <a:lnTo>
                    <a:pt x="409" y="1147"/>
                  </a:lnTo>
                  <a:lnTo>
                    <a:pt x="406" y="1145"/>
                  </a:lnTo>
                  <a:lnTo>
                    <a:pt x="405" y="1144"/>
                  </a:lnTo>
                  <a:lnTo>
                    <a:pt x="403" y="1142"/>
                  </a:lnTo>
                  <a:lnTo>
                    <a:pt x="402" y="1141"/>
                  </a:lnTo>
                  <a:lnTo>
                    <a:pt x="402" y="1140"/>
                  </a:lnTo>
                  <a:lnTo>
                    <a:pt x="401" y="1135"/>
                  </a:lnTo>
                  <a:lnTo>
                    <a:pt x="401" y="1134"/>
                  </a:lnTo>
                  <a:lnTo>
                    <a:pt x="398" y="1129"/>
                  </a:lnTo>
                  <a:lnTo>
                    <a:pt x="396" y="1128"/>
                  </a:lnTo>
                  <a:lnTo>
                    <a:pt x="395" y="1124"/>
                  </a:lnTo>
                  <a:lnTo>
                    <a:pt x="392" y="1118"/>
                  </a:lnTo>
                  <a:lnTo>
                    <a:pt x="392" y="1113"/>
                  </a:lnTo>
                  <a:lnTo>
                    <a:pt x="392" y="1108"/>
                  </a:lnTo>
                  <a:lnTo>
                    <a:pt x="390" y="1105"/>
                  </a:lnTo>
                  <a:lnTo>
                    <a:pt x="389" y="1103"/>
                  </a:lnTo>
                  <a:lnTo>
                    <a:pt x="383" y="1099"/>
                  </a:lnTo>
                  <a:lnTo>
                    <a:pt x="382" y="1099"/>
                  </a:lnTo>
                  <a:lnTo>
                    <a:pt x="380" y="1097"/>
                  </a:lnTo>
                  <a:lnTo>
                    <a:pt x="373" y="1099"/>
                  </a:lnTo>
                  <a:lnTo>
                    <a:pt x="370" y="1100"/>
                  </a:lnTo>
                  <a:lnTo>
                    <a:pt x="367" y="1100"/>
                  </a:lnTo>
                  <a:lnTo>
                    <a:pt x="361" y="1100"/>
                  </a:lnTo>
                  <a:lnTo>
                    <a:pt x="351" y="1100"/>
                  </a:lnTo>
                  <a:lnTo>
                    <a:pt x="335" y="1099"/>
                  </a:lnTo>
                  <a:lnTo>
                    <a:pt x="333" y="1099"/>
                  </a:lnTo>
                  <a:lnTo>
                    <a:pt x="332" y="1100"/>
                  </a:lnTo>
                  <a:lnTo>
                    <a:pt x="329" y="1103"/>
                  </a:lnTo>
                  <a:lnTo>
                    <a:pt x="328" y="1103"/>
                  </a:lnTo>
                  <a:lnTo>
                    <a:pt x="326" y="1105"/>
                  </a:lnTo>
                  <a:lnTo>
                    <a:pt x="325" y="1105"/>
                  </a:lnTo>
                  <a:lnTo>
                    <a:pt x="306" y="1103"/>
                  </a:lnTo>
                  <a:lnTo>
                    <a:pt x="304" y="1103"/>
                  </a:lnTo>
                  <a:lnTo>
                    <a:pt x="300" y="1100"/>
                  </a:lnTo>
                  <a:lnTo>
                    <a:pt x="299" y="1100"/>
                  </a:lnTo>
                  <a:lnTo>
                    <a:pt x="299" y="1099"/>
                  </a:lnTo>
                  <a:lnTo>
                    <a:pt x="297" y="1097"/>
                  </a:lnTo>
                  <a:lnTo>
                    <a:pt x="297" y="1096"/>
                  </a:lnTo>
                  <a:lnTo>
                    <a:pt x="296" y="1093"/>
                  </a:lnTo>
                  <a:lnTo>
                    <a:pt x="294" y="1086"/>
                  </a:lnTo>
                  <a:lnTo>
                    <a:pt x="294" y="1086"/>
                  </a:lnTo>
                  <a:lnTo>
                    <a:pt x="296" y="1084"/>
                  </a:lnTo>
                  <a:lnTo>
                    <a:pt x="297" y="1084"/>
                  </a:lnTo>
                  <a:lnTo>
                    <a:pt x="297" y="1084"/>
                  </a:lnTo>
                  <a:lnTo>
                    <a:pt x="299" y="1083"/>
                  </a:lnTo>
                  <a:lnTo>
                    <a:pt x="299" y="1080"/>
                  </a:lnTo>
                  <a:lnTo>
                    <a:pt x="299" y="1077"/>
                  </a:lnTo>
                  <a:lnTo>
                    <a:pt x="299" y="1074"/>
                  </a:lnTo>
                  <a:lnTo>
                    <a:pt x="297" y="1073"/>
                  </a:lnTo>
                  <a:lnTo>
                    <a:pt x="296" y="1065"/>
                  </a:lnTo>
                  <a:lnTo>
                    <a:pt x="288" y="1052"/>
                  </a:lnTo>
                  <a:lnTo>
                    <a:pt x="284" y="1049"/>
                  </a:lnTo>
                  <a:lnTo>
                    <a:pt x="277" y="1046"/>
                  </a:lnTo>
                  <a:lnTo>
                    <a:pt x="269" y="1041"/>
                  </a:lnTo>
                  <a:lnTo>
                    <a:pt x="266" y="1038"/>
                  </a:lnTo>
                  <a:lnTo>
                    <a:pt x="265" y="1035"/>
                  </a:lnTo>
                  <a:lnTo>
                    <a:pt x="266" y="1032"/>
                  </a:lnTo>
                  <a:lnTo>
                    <a:pt x="268" y="1030"/>
                  </a:lnTo>
                  <a:lnTo>
                    <a:pt x="269" y="1027"/>
                  </a:lnTo>
                  <a:lnTo>
                    <a:pt x="272" y="1026"/>
                  </a:lnTo>
                  <a:lnTo>
                    <a:pt x="288" y="1025"/>
                  </a:lnTo>
                  <a:lnTo>
                    <a:pt x="297" y="1019"/>
                  </a:lnTo>
                  <a:lnTo>
                    <a:pt x="300" y="1016"/>
                  </a:lnTo>
                  <a:lnTo>
                    <a:pt x="304" y="1010"/>
                  </a:lnTo>
                  <a:lnTo>
                    <a:pt x="307" y="1004"/>
                  </a:lnTo>
                  <a:lnTo>
                    <a:pt x="287" y="974"/>
                  </a:lnTo>
                  <a:lnTo>
                    <a:pt x="277" y="956"/>
                  </a:lnTo>
                  <a:lnTo>
                    <a:pt x="259" y="942"/>
                  </a:lnTo>
                  <a:lnTo>
                    <a:pt x="250" y="939"/>
                  </a:lnTo>
                  <a:lnTo>
                    <a:pt x="218" y="934"/>
                  </a:lnTo>
                  <a:lnTo>
                    <a:pt x="202" y="934"/>
                  </a:lnTo>
                  <a:lnTo>
                    <a:pt x="150" y="927"/>
                  </a:lnTo>
                  <a:lnTo>
                    <a:pt x="140" y="923"/>
                  </a:lnTo>
                  <a:lnTo>
                    <a:pt x="137" y="917"/>
                  </a:lnTo>
                  <a:lnTo>
                    <a:pt x="137" y="912"/>
                  </a:lnTo>
                  <a:lnTo>
                    <a:pt x="138" y="908"/>
                  </a:lnTo>
                  <a:lnTo>
                    <a:pt x="140" y="898"/>
                  </a:lnTo>
                  <a:lnTo>
                    <a:pt x="140" y="895"/>
                  </a:lnTo>
                  <a:lnTo>
                    <a:pt x="140" y="894"/>
                  </a:lnTo>
                  <a:lnTo>
                    <a:pt x="135" y="889"/>
                  </a:lnTo>
                  <a:lnTo>
                    <a:pt x="132" y="880"/>
                  </a:lnTo>
                  <a:lnTo>
                    <a:pt x="131" y="879"/>
                  </a:lnTo>
                  <a:lnTo>
                    <a:pt x="131" y="878"/>
                  </a:lnTo>
                  <a:lnTo>
                    <a:pt x="131" y="876"/>
                  </a:lnTo>
                  <a:lnTo>
                    <a:pt x="131" y="867"/>
                  </a:lnTo>
                  <a:lnTo>
                    <a:pt x="131" y="864"/>
                  </a:lnTo>
                  <a:lnTo>
                    <a:pt x="131" y="863"/>
                  </a:lnTo>
                  <a:lnTo>
                    <a:pt x="130" y="861"/>
                  </a:lnTo>
                  <a:lnTo>
                    <a:pt x="128" y="861"/>
                  </a:lnTo>
                  <a:lnTo>
                    <a:pt x="127" y="859"/>
                  </a:lnTo>
                  <a:lnTo>
                    <a:pt x="124" y="854"/>
                  </a:lnTo>
                  <a:lnTo>
                    <a:pt x="121" y="845"/>
                  </a:lnTo>
                  <a:lnTo>
                    <a:pt x="119" y="841"/>
                  </a:lnTo>
                  <a:lnTo>
                    <a:pt x="119" y="837"/>
                  </a:lnTo>
                  <a:lnTo>
                    <a:pt x="119" y="835"/>
                  </a:lnTo>
                  <a:lnTo>
                    <a:pt x="121" y="835"/>
                  </a:lnTo>
                  <a:lnTo>
                    <a:pt x="122" y="834"/>
                  </a:lnTo>
                  <a:lnTo>
                    <a:pt x="124" y="834"/>
                  </a:lnTo>
                  <a:lnTo>
                    <a:pt x="124" y="835"/>
                  </a:lnTo>
                  <a:lnTo>
                    <a:pt x="127" y="837"/>
                  </a:lnTo>
                  <a:lnTo>
                    <a:pt x="128" y="837"/>
                  </a:lnTo>
                  <a:lnTo>
                    <a:pt x="130" y="837"/>
                  </a:lnTo>
                  <a:lnTo>
                    <a:pt x="131" y="835"/>
                  </a:lnTo>
                  <a:lnTo>
                    <a:pt x="132" y="834"/>
                  </a:lnTo>
                  <a:lnTo>
                    <a:pt x="132" y="832"/>
                  </a:lnTo>
                  <a:lnTo>
                    <a:pt x="132" y="829"/>
                  </a:lnTo>
                  <a:lnTo>
                    <a:pt x="131" y="824"/>
                  </a:lnTo>
                  <a:lnTo>
                    <a:pt x="130" y="822"/>
                  </a:lnTo>
                  <a:lnTo>
                    <a:pt x="128" y="821"/>
                  </a:lnTo>
                  <a:lnTo>
                    <a:pt x="124" y="821"/>
                  </a:lnTo>
                  <a:lnTo>
                    <a:pt x="112" y="816"/>
                  </a:lnTo>
                  <a:lnTo>
                    <a:pt x="108" y="812"/>
                  </a:lnTo>
                  <a:lnTo>
                    <a:pt x="99" y="812"/>
                  </a:lnTo>
                  <a:lnTo>
                    <a:pt x="97" y="811"/>
                  </a:lnTo>
                  <a:lnTo>
                    <a:pt x="95" y="811"/>
                  </a:lnTo>
                  <a:lnTo>
                    <a:pt x="87" y="805"/>
                  </a:lnTo>
                  <a:lnTo>
                    <a:pt x="84" y="803"/>
                  </a:lnTo>
                  <a:lnTo>
                    <a:pt x="81" y="803"/>
                  </a:lnTo>
                  <a:lnTo>
                    <a:pt x="49" y="803"/>
                  </a:lnTo>
                  <a:lnTo>
                    <a:pt x="45" y="800"/>
                  </a:lnTo>
                  <a:lnTo>
                    <a:pt x="35" y="783"/>
                  </a:lnTo>
                  <a:lnTo>
                    <a:pt x="35" y="770"/>
                  </a:lnTo>
                  <a:lnTo>
                    <a:pt x="35" y="767"/>
                  </a:lnTo>
                  <a:lnTo>
                    <a:pt x="33" y="761"/>
                  </a:lnTo>
                  <a:lnTo>
                    <a:pt x="32" y="760"/>
                  </a:lnTo>
                  <a:lnTo>
                    <a:pt x="30" y="758"/>
                  </a:lnTo>
                  <a:lnTo>
                    <a:pt x="26" y="754"/>
                  </a:lnTo>
                  <a:lnTo>
                    <a:pt x="26" y="754"/>
                  </a:lnTo>
                  <a:lnTo>
                    <a:pt x="23" y="748"/>
                  </a:lnTo>
                  <a:lnTo>
                    <a:pt x="22" y="744"/>
                  </a:lnTo>
                  <a:lnTo>
                    <a:pt x="20" y="742"/>
                  </a:lnTo>
                  <a:lnTo>
                    <a:pt x="19" y="736"/>
                  </a:lnTo>
                  <a:lnTo>
                    <a:pt x="19" y="735"/>
                  </a:lnTo>
                  <a:lnTo>
                    <a:pt x="17" y="732"/>
                  </a:lnTo>
                  <a:lnTo>
                    <a:pt x="16" y="732"/>
                  </a:lnTo>
                  <a:lnTo>
                    <a:pt x="14" y="730"/>
                  </a:lnTo>
                  <a:lnTo>
                    <a:pt x="12" y="729"/>
                  </a:lnTo>
                  <a:lnTo>
                    <a:pt x="10" y="726"/>
                  </a:lnTo>
                  <a:lnTo>
                    <a:pt x="9" y="726"/>
                  </a:lnTo>
                  <a:lnTo>
                    <a:pt x="7" y="723"/>
                  </a:lnTo>
                  <a:lnTo>
                    <a:pt x="6" y="722"/>
                  </a:lnTo>
                  <a:lnTo>
                    <a:pt x="6" y="720"/>
                  </a:lnTo>
                  <a:lnTo>
                    <a:pt x="4" y="719"/>
                  </a:lnTo>
                  <a:lnTo>
                    <a:pt x="4" y="712"/>
                  </a:lnTo>
                  <a:lnTo>
                    <a:pt x="3" y="710"/>
                  </a:lnTo>
                  <a:lnTo>
                    <a:pt x="3" y="709"/>
                  </a:lnTo>
                  <a:lnTo>
                    <a:pt x="3" y="707"/>
                  </a:lnTo>
                  <a:lnTo>
                    <a:pt x="4" y="693"/>
                  </a:lnTo>
                  <a:lnTo>
                    <a:pt x="4" y="684"/>
                  </a:lnTo>
                  <a:lnTo>
                    <a:pt x="4" y="682"/>
                  </a:lnTo>
                  <a:lnTo>
                    <a:pt x="6" y="681"/>
                  </a:lnTo>
                  <a:lnTo>
                    <a:pt x="12" y="679"/>
                  </a:lnTo>
                  <a:lnTo>
                    <a:pt x="12" y="678"/>
                  </a:lnTo>
                  <a:lnTo>
                    <a:pt x="13" y="677"/>
                  </a:lnTo>
                  <a:lnTo>
                    <a:pt x="14" y="674"/>
                  </a:lnTo>
                  <a:lnTo>
                    <a:pt x="16" y="672"/>
                  </a:lnTo>
                  <a:lnTo>
                    <a:pt x="17" y="671"/>
                  </a:lnTo>
                  <a:lnTo>
                    <a:pt x="20" y="671"/>
                  </a:lnTo>
                  <a:lnTo>
                    <a:pt x="20" y="669"/>
                  </a:lnTo>
                  <a:lnTo>
                    <a:pt x="22" y="668"/>
                  </a:lnTo>
                  <a:lnTo>
                    <a:pt x="23" y="665"/>
                  </a:lnTo>
                  <a:lnTo>
                    <a:pt x="23" y="663"/>
                  </a:lnTo>
                  <a:lnTo>
                    <a:pt x="25" y="663"/>
                  </a:lnTo>
                  <a:lnTo>
                    <a:pt x="25" y="662"/>
                  </a:lnTo>
                  <a:lnTo>
                    <a:pt x="25" y="661"/>
                  </a:lnTo>
                  <a:lnTo>
                    <a:pt x="25" y="658"/>
                  </a:lnTo>
                  <a:lnTo>
                    <a:pt x="23" y="649"/>
                  </a:lnTo>
                  <a:lnTo>
                    <a:pt x="23" y="647"/>
                  </a:lnTo>
                  <a:lnTo>
                    <a:pt x="22" y="646"/>
                  </a:lnTo>
                  <a:lnTo>
                    <a:pt x="16" y="642"/>
                  </a:lnTo>
                  <a:lnTo>
                    <a:pt x="16" y="640"/>
                  </a:lnTo>
                  <a:lnTo>
                    <a:pt x="14" y="640"/>
                  </a:lnTo>
                  <a:lnTo>
                    <a:pt x="16" y="634"/>
                  </a:lnTo>
                  <a:lnTo>
                    <a:pt x="17" y="629"/>
                  </a:lnTo>
                  <a:lnTo>
                    <a:pt x="19" y="627"/>
                  </a:lnTo>
                  <a:lnTo>
                    <a:pt x="20" y="626"/>
                  </a:lnTo>
                  <a:lnTo>
                    <a:pt x="25" y="624"/>
                  </a:lnTo>
                  <a:lnTo>
                    <a:pt x="26" y="623"/>
                  </a:lnTo>
                  <a:lnTo>
                    <a:pt x="26" y="621"/>
                  </a:lnTo>
                  <a:lnTo>
                    <a:pt x="26" y="620"/>
                  </a:lnTo>
                  <a:lnTo>
                    <a:pt x="25" y="620"/>
                  </a:lnTo>
                  <a:lnTo>
                    <a:pt x="23" y="621"/>
                  </a:lnTo>
                  <a:lnTo>
                    <a:pt x="20" y="621"/>
                  </a:lnTo>
                  <a:lnTo>
                    <a:pt x="19" y="620"/>
                  </a:lnTo>
                  <a:lnTo>
                    <a:pt x="17" y="617"/>
                  </a:lnTo>
                  <a:lnTo>
                    <a:pt x="16" y="615"/>
                  </a:lnTo>
                  <a:lnTo>
                    <a:pt x="7" y="611"/>
                  </a:lnTo>
                  <a:lnTo>
                    <a:pt x="7" y="607"/>
                  </a:lnTo>
                  <a:lnTo>
                    <a:pt x="6" y="605"/>
                  </a:lnTo>
                  <a:lnTo>
                    <a:pt x="6" y="604"/>
                  </a:lnTo>
                  <a:lnTo>
                    <a:pt x="1" y="598"/>
                  </a:lnTo>
                  <a:lnTo>
                    <a:pt x="0" y="596"/>
                  </a:lnTo>
                  <a:lnTo>
                    <a:pt x="0" y="596"/>
                  </a:lnTo>
                  <a:lnTo>
                    <a:pt x="0" y="596"/>
                  </a:lnTo>
                  <a:lnTo>
                    <a:pt x="0" y="595"/>
                  </a:lnTo>
                  <a:lnTo>
                    <a:pt x="0" y="594"/>
                  </a:lnTo>
                  <a:lnTo>
                    <a:pt x="1" y="592"/>
                  </a:lnTo>
                  <a:lnTo>
                    <a:pt x="4" y="591"/>
                  </a:lnTo>
                  <a:lnTo>
                    <a:pt x="14" y="592"/>
                  </a:lnTo>
                  <a:lnTo>
                    <a:pt x="16" y="592"/>
                  </a:lnTo>
                  <a:lnTo>
                    <a:pt x="19" y="591"/>
                  </a:lnTo>
                  <a:lnTo>
                    <a:pt x="23" y="588"/>
                  </a:lnTo>
                  <a:lnTo>
                    <a:pt x="26" y="583"/>
                  </a:lnTo>
                  <a:lnTo>
                    <a:pt x="29" y="580"/>
                  </a:lnTo>
                  <a:lnTo>
                    <a:pt x="29" y="579"/>
                  </a:lnTo>
                  <a:lnTo>
                    <a:pt x="29" y="578"/>
                  </a:lnTo>
                  <a:lnTo>
                    <a:pt x="29" y="576"/>
                  </a:lnTo>
                  <a:lnTo>
                    <a:pt x="29" y="575"/>
                  </a:lnTo>
                  <a:lnTo>
                    <a:pt x="29" y="573"/>
                  </a:lnTo>
                  <a:lnTo>
                    <a:pt x="32" y="572"/>
                  </a:lnTo>
                  <a:lnTo>
                    <a:pt x="51" y="569"/>
                  </a:lnTo>
                  <a:lnTo>
                    <a:pt x="97" y="569"/>
                  </a:lnTo>
                  <a:lnTo>
                    <a:pt x="106" y="564"/>
                  </a:lnTo>
                  <a:lnTo>
                    <a:pt x="114" y="564"/>
                  </a:lnTo>
                  <a:lnTo>
                    <a:pt x="131" y="564"/>
                  </a:lnTo>
                  <a:lnTo>
                    <a:pt x="134" y="564"/>
                  </a:lnTo>
                  <a:lnTo>
                    <a:pt x="135" y="564"/>
                  </a:lnTo>
                  <a:lnTo>
                    <a:pt x="137" y="563"/>
                  </a:lnTo>
                  <a:lnTo>
                    <a:pt x="138" y="563"/>
                  </a:lnTo>
                  <a:lnTo>
                    <a:pt x="138" y="560"/>
                  </a:lnTo>
                  <a:lnTo>
                    <a:pt x="140" y="559"/>
                  </a:lnTo>
                  <a:lnTo>
                    <a:pt x="140" y="554"/>
                  </a:lnTo>
                  <a:lnTo>
                    <a:pt x="140" y="551"/>
                  </a:lnTo>
                  <a:lnTo>
                    <a:pt x="138" y="550"/>
                  </a:lnTo>
                  <a:lnTo>
                    <a:pt x="138" y="550"/>
                  </a:lnTo>
                  <a:lnTo>
                    <a:pt x="132" y="546"/>
                  </a:lnTo>
                  <a:lnTo>
                    <a:pt x="132" y="544"/>
                  </a:lnTo>
                  <a:lnTo>
                    <a:pt x="131" y="544"/>
                  </a:lnTo>
                  <a:lnTo>
                    <a:pt x="131" y="543"/>
                  </a:lnTo>
                  <a:lnTo>
                    <a:pt x="132" y="541"/>
                  </a:lnTo>
                  <a:lnTo>
                    <a:pt x="132" y="540"/>
                  </a:lnTo>
                  <a:lnTo>
                    <a:pt x="135" y="538"/>
                  </a:lnTo>
                  <a:lnTo>
                    <a:pt x="147" y="534"/>
                  </a:lnTo>
                  <a:lnTo>
                    <a:pt x="154" y="530"/>
                  </a:lnTo>
                  <a:lnTo>
                    <a:pt x="163" y="522"/>
                  </a:lnTo>
                  <a:lnTo>
                    <a:pt x="164" y="521"/>
                  </a:lnTo>
                  <a:lnTo>
                    <a:pt x="166" y="518"/>
                  </a:lnTo>
                  <a:lnTo>
                    <a:pt x="169" y="514"/>
                  </a:lnTo>
                  <a:lnTo>
                    <a:pt x="170" y="511"/>
                  </a:lnTo>
                  <a:lnTo>
                    <a:pt x="170" y="508"/>
                  </a:lnTo>
                  <a:lnTo>
                    <a:pt x="169" y="502"/>
                  </a:lnTo>
                  <a:lnTo>
                    <a:pt x="167" y="500"/>
                  </a:lnTo>
                  <a:lnTo>
                    <a:pt x="166" y="499"/>
                  </a:lnTo>
                  <a:lnTo>
                    <a:pt x="164" y="499"/>
                  </a:lnTo>
                  <a:lnTo>
                    <a:pt x="163" y="499"/>
                  </a:lnTo>
                  <a:lnTo>
                    <a:pt x="162" y="499"/>
                  </a:lnTo>
                  <a:lnTo>
                    <a:pt x="160" y="497"/>
                  </a:lnTo>
                  <a:lnTo>
                    <a:pt x="159" y="497"/>
                  </a:lnTo>
                  <a:lnTo>
                    <a:pt x="159" y="496"/>
                  </a:lnTo>
                  <a:lnTo>
                    <a:pt x="157" y="495"/>
                  </a:lnTo>
                  <a:lnTo>
                    <a:pt x="156" y="492"/>
                  </a:lnTo>
                  <a:lnTo>
                    <a:pt x="156" y="490"/>
                  </a:lnTo>
                  <a:lnTo>
                    <a:pt x="157" y="487"/>
                  </a:lnTo>
                  <a:lnTo>
                    <a:pt x="160" y="481"/>
                  </a:lnTo>
                  <a:lnTo>
                    <a:pt x="162" y="479"/>
                  </a:lnTo>
                  <a:lnTo>
                    <a:pt x="163" y="477"/>
                  </a:lnTo>
                  <a:lnTo>
                    <a:pt x="170" y="474"/>
                  </a:lnTo>
                  <a:lnTo>
                    <a:pt x="175" y="474"/>
                  </a:lnTo>
                  <a:lnTo>
                    <a:pt x="176" y="473"/>
                  </a:lnTo>
                  <a:lnTo>
                    <a:pt x="178" y="471"/>
                  </a:lnTo>
                  <a:lnTo>
                    <a:pt x="179" y="470"/>
                  </a:lnTo>
                  <a:lnTo>
                    <a:pt x="179" y="468"/>
                  </a:lnTo>
                  <a:lnTo>
                    <a:pt x="179" y="467"/>
                  </a:lnTo>
                  <a:lnTo>
                    <a:pt x="179" y="461"/>
                  </a:lnTo>
                  <a:lnTo>
                    <a:pt x="179" y="460"/>
                  </a:lnTo>
                  <a:lnTo>
                    <a:pt x="179" y="458"/>
                  </a:lnTo>
                  <a:lnTo>
                    <a:pt x="176" y="455"/>
                  </a:lnTo>
                  <a:lnTo>
                    <a:pt x="176" y="455"/>
                  </a:lnTo>
                  <a:lnTo>
                    <a:pt x="175" y="455"/>
                  </a:lnTo>
                  <a:lnTo>
                    <a:pt x="175" y="457"/>
                  </a:lnTo>
                  <a:lnTo>
                    <a:pt x="175" y="458"/>
                  </a:lnTo>
                  <a:lnTo>
                    <a:pt x="173" y="458"/>
                  </a:lnTo>
                  <a:lnTo>
                    <a:pt x="173" y="460"/>
                  </a:lnTo>
                  <a:lnTo>
                    <a:pt x="172" y="460"/>
                  </a:lnTo>
                  <a:lnTo>
                    <a:pt x="172" y="458"/>
                  </a:lnTo>
                  <a:lnTo>
                    <a:pt x="172" y="455"/>
                  </a:lnTo>
                  <a:lnTo>
                    <a:pt x="172" y="451"/>
                  </a:lnTo>
                  <a:lnTo>
                    <a:pt x="170" y="449"/>
                  </a:lnTo>
                  <a:lnTo>
                    <a:pt x="169" y="449"/>
                  </a:lnTo>
                  <a:lnTo>
                    <a:pt x="166" y="449"/>
                  </a:lnTo>
                  <a:lnTo>
                    <a:pt x="164" y="449"/>
                  </a:lnTo>
                  <a:lnTo>
                    <a:pt x="164" y="448"/>
                  </a:lnTo>
                  <a:lnTo>
                    <a:pt x="163" y="445"/>
                  </a:lnTo>
                  <a:lnTo>
                    <a:pt x="162" y="444"/>
                  </a:lnTo>
                  <a:lnTo>
                    <a:pt x="159" y="442"/>
                  </a:lnTo>
                  <a:lnTo>
                    <a:pt x="154" y="435"/>
                  </a:lnTo>
                  <a:lnTo>
                    <a:pt x="154" y="433"/>
                  </a:lnTo>
                  <a:lnTo>
                    <a:pt x="156" y="432"/>
                  </a:lnTo>
                  <a:lnTo>
                    <a:pt x="157" y="431"/>
                  </a:lnTo>
                  <a:lnTo>
                    <a:pt x="160" y="428"/>
                  </a:lnTo>
                  <a:lnTo>
                    <a:pt x="162" y="426"/>
                  </a:lnTo>
                  <a:lnTo>
                    <a:pt x="162" y="425"/>
                  </a:lnTo>
                  <a:lnTo>
                    <a:pt x="160" y="422"/>
                  </a:lnTo>
                  <a:lnTo>
                    <a:pt x="159" y="420"/>
                  </a:lnTo>
                  <a:lnTo>
                    <a:pt x="159" y="420"/>
                  </a:lnTo>
                  <a:lnTo>
                    <a:pt x="159" y="419"/>
                  </a:lnTo>
                  <a:lnTo>
                    <a:pt x="159" y="417"/>
                  </a:lnTo>
                  <a:lnTo>
                    <a:pt x="157" y="416"/>
                  </a:lnTo>
                  <a:lnTo>
                    <a:pt x="157" y="416"/>
                  </a:lnTo>
                  <a:lnTo>
                    <a:pt x="157" y="414"/>
                  </a:lnTo>
                  <a:lnTo>
                    <a:pt x="154" y="413"/>
                  </a:lnTo>
                  <a:lnTo>
                    <a:pt x="151" y="412"/>
                  </a:lnTo>
                  <a:lnTo>
                    <a:pt x="150" y="412"/>
                  </a:lnTo>
                  <a:lnTo>
                    <a:pt x="150" y="410"/>
                  </a:lnTo>
                  <a:lnTo>
                    <a:pt x="150" y="409"/>
                  </a:lnTo>
                  <a:lnTo>
                    <a:pt x="150" y="406"/>
                  </a:lnTo>
                  <a:lnTo>
                    <a:pt x="150" y="404"/>
                  </a:lnTo>
                  <a:lnTo>
                    <a:pt x="150" y="404"/>
                  </a:lnTo>
                  <a:lnTo>
                    <a:pt x="150" y="403"/>
                  </a:lnTo>
                  <a:lnTo>
                    <a:pt x="153" y="401"/>
                  </a:lnTo>
                  <a:lnTo>
                    <a:pt x="156" y="400"/>
                  </a:lnTo>
                  <a:lnTo>
                    <a:pt x="166" y="398"/>
                  </a:lnTo>
                  <a:lnTo>
                    <a:pt x="172" y="397"/>
                  </a:lnTo>
                  <a:lnTo>
                    <a:pt x="173" y="396"/>
                  </a:lnTo>
                  <a:lnTo>
                    <a:pt x="173" y="394"/>
                  </a:lnTo>
                  <a:lnTo>
                    <a:pt x="175" y="391"/>
                  </a:lnTo>
                  <a:lnTo>
                    <a:pt x="175" y="388"/>
                  </a:lnTo>
                  <a:lnTo>
                    <a:pt x="175" y="387"/>
                  </a:lnTo>
                  <a:lnTo>
                    <a:pt x="173" y="384"/>
                  </a:lnTo>
                  <a:lnTo>
                    <a:pt x="173" y="382"/>
                  </a:lnTo>
                  <a:lnTo>
                    <a:pt x="163" y="374"/>
                  </a:lnTo>
                  <a:lnTo>
                    <a:pt x="159" y="372"/>
                  </a:lnTo>
                  <a:lnTo>
                    <a:pt x="157" y="372"/>
                  </a:lnTo>
                  <a:lnTo>
                    <a:pt x="154" y="371"/>
                  </a:lnTo>
                  <a:lnTo>
                    <a:pt x="153" y="369"/>
                  </a:lnTo>
                  <a:lnTo>
                    <a:pt x="128" y="336"/>
                  </a:lnTo>
                  <a:lnTo>
                    <a:pt x="130" y="330"/>
                  </a:lnTo>
                  <a:lnTo>
                    <a:pt x="130" y="327"/>
                  </a:lnTo>
                  <a:lnTo>
                    <a:pt x="130" y="326"/>
                  </a:lnTo>
                  <a:lnTo>
                    <a:pt x="131" y="324"/>
                  </a:lnTo>
                  <a:lnTo>
                    <a:pt x="131" y="324"/>
                  </a:lnTo>
                  <a:lnTo>
                    <a:pt x="131" y="323"/>
                  </a:lnTo>
                  <a:lnTo>
                    <a:pt x="131" y="321"/>
                  </a:lnTo>
                  <a:lnTo>
                    <a:pt x="131" y="320"/>
                  </a:lnTo>
                  <a:lnTo>
                    <a:pt x="132" y="318"/>
                  </a:lnTo>
                  <a:lnTo>
                    <a:pt x="132" y="317"/>
                  </a:lnTo>
                  <a:lnTo>
                    <a:pt x="134" y="317"/>
                  </a:lnTo>
                  <a:lnTo>
                    <a:pt x="137" y="315"/>
                  </a:lnTo>
                  <a:lnTo>
                    <a:pt x="138" y="314"/>
                  </a:lnTo>
                  <a:lnTo>
                    <a:pt x="140" y="314"/>
                  </a:lnTo>
                  <a:lnTo>
                    <a:pt x="141" y="314"/>
                  </a:lnTo>
                  <a:lnTo>
                    <a:pt x="147" y="315"/>
                  </a:lnTo>
                  <a:lnTo>
                    <a:pt x="150" y="315"/>
                  </a:lnTo>
                  <a:lnTo>
                    <a:pt x="150" y="315"/>
                  </a:lnTo>
                  <a:lnTo>
                    <a:pt x="150" y="313"/>
                  </a:lnTo>
                  <a:lnTo>
                    <a:pt x="147" y="310"/>
                  </a:lnTo>
                  <a:lnTo>
                    <a:pt x="138" y="294"/>
                  </a:lnTo>
                  <a:lnTo>
                    <a:pt x="137" y="292"/>
                  </a:lnTo>
                  <a:lnTo>
                    <a:pt x="135" y="292"/>
                  </a:lnTo>
                  <a:lnTo>
                    <a:pt x="134" y="289"/>
                  </a:lnTo>
                  <a:lnTo>
                    <a:pt x="134" y="288"/>
                  </a:lnTo>
                  <a:lnTo>
                    <a:pt x="132" y="286"/>
                  </a:lnTo>
                  <a:lnTo>
                    <a:pt x="132" y="283"/>
                  </a:lnTo>
                  <a:lnTo>
                    <a:pt x="131" y="278"/>
                  </a:lnTo>
                  <a:lnTo>
                    <a:pt x="131" y="276"/>
                  </a:lnTo>
                  <a:lnTo>
                    <a:pt x="131" y="266"/>
                  </a:lnTo>
                  <a:lnTo>
                    <a:pt x="131" y="265"/>
                  </a:lnTo>
                  <a:lnTo>
                    <a:pt x="131" y="263"/>
                  </a:lnTo>
                  <a:lnTo>
                    <a:pt x="132" y="262"/>
                  </a:lnTo>
                  <a:lnTo>
                    <a:pt x="132" y="262"/>
                  </a:lnTo>
                  <a:lnTo>
                    <a:pt x="138" y="254"/>
                  </a:lnTo>
                  <a:lnTo>
                    <a:pt x="141" y="253"/>
                  </a:lnTo>
                  <a:lnTo>
                    <a:pt x="141" y="251"/>
                  </a:lnTo>
                  <a:lnTo>
                    <a:pt x="141" y="250"/>
                  </a:lnTo>
                  <a:lnTo>
                    <a:pt x="141" y="249"/>
                  </a:lnTo>
                  <a:lnTo>
                    <a:pt x="140" y="246"/>
                  </a:lnTo>
                  <a:lnTo>
                    <a:pt x="137" y="244"/>
                  </a:lnTo>
                  <a:lnTo>
                    <a:pt x="135" y="244"/>
                  </a:lnTo>
                  <a:lnTo>
                    <a:pt x="132" y="244"/>
                  </a:lnTo>
                  <a:lnTo>
                    <a:pt x="132" y="246"/>
                  </a:lnTo>
                  <a:lnTo>
                    <a:pt x="128" y="250"/>
                  </a:lnTo>
                  <a:lnTo>
                    <a:pt x="127" y="250"/>
                  </a:lnTo>
                  <a:lnTo>
                    <a:pt x="125" y="249"/>
                  </a:lnTo>
                  <a:lnTo>
                    <a:pt x="122" y="246"/>
                  </a:lnTo>
                  <a:lnTo>
                    <a:pt x="109" y="228"/>
                  </a:lnTo>
                  <a:lnTo>
                    <a:pt x="96" y="202"/>
                  </a:lnTo>
                  <a:lnTo>
                    <a:pt x="93" y="195"/>
                  </a:lnTo>
                  <a:lnTo>
                    <a:pt x="90" y="192"/>
                  </a:lnTo>
                  <a:lnTo>
                    <a:pt x="87" y="190"/>
                  </a:lnTo>
                  <a:lnTo>
                    <a:pt x="84" y="190"/>
                  </a:lnTo>
                  <a:lnTo>
                    <a:pt x="81" y="190"/>
                  </a:lnTo>
                  <a:lnTo>
                    <a:pt x="80" y="187"/>
                  </a:lnTo>
                  <a:lnTo>
                    <a:pt x="79" y="180"/>
                  </a:lnTo>
                  <a:lnTo>
                    <a:pt x="79" y="177"/>
                  </a:lnTo>
                  <a:lnTo>
                    <a:pt x="79" y="173"/>
                  </a:lnTo>
                  <a:lnTo>
                    <a:pt x="77" y="171"/>
                  </a:lnTo>
                  <a:lnTo>
                    <a:pt x="73" y="167"/>
                  </a:lnTo>
                  <a:lnTo>
                    <a:pt x="71" y="164"/>
                  </a:lnTo>
                  <a:lnTo>
                    <a:pt x="67" y="155"/>
                  </a:lnTo>
                  <a:lnTo>
                    <a:pt x="65" y="154"/>
                  </a:lnTo>
                  <a:lnTo>
                    <a:pt x="65" y="152"/>
                  </a:lnTo>
                  <a:lnTo>
                    <a:pt x="65" y="151"/>
                  </a:lnTo>
                  <a:lnTo>
                    <a:pt x="65" y="150"/>
                  </a:lnTo>
                  <a:lnTo>
                    <a:pt x="65" y="147"/>
                  </a:lnTo>
                  <a:lnTo>
                    <a:pt x="67" y="142"/>
                  </a:lnTo>
                  <a:lnTo>
                    <a:pt x="67" y="141"/>
                  </a:lnTo>
                  <a:lnTo>
                    <a:pt x="67" y="139"/>
                  </a:lnTo>
                  <a:lnTo>
                    <a:pt x="65" y="136"/>
                  </a:lnTo>
                  <a:lnTo>
                    <a:pt x="65" y="133"/>
                  </a:lnTo>
                  <a:lnTo>
                    <a:pt x="65" y="132"/>
                  </a:lnTo>
                  <a:lnTo>
                    <a:pt x="65" y="131"/>
                  </a:lnTo>
                  <a:lnTo>
                    <a:pt x="67" y="128"/>
                  </a:lnTo>
                  <a:lnTo>
                    <a:pt x="67" y="126"/>
                  </a:lnTo>
                  <a:lnTo>
                    <a:pt x="65" y="123"/>
                  </a:lnTo>
                  <a:lnTo>
                    <a:pt x="67" y="120"/>
                  </a:lnTo>
                  <a:lnTo>
                    <a:pt x="79" y="116"/>
                  </a:lnTo>
                  <a:lnTo>
                    <a:pt x="95" y="115"/>
                  </a:lnTo>
                  <a:lnTo>
                    <a:pt x="109" y="116"/>
                  </a:lnTo>
                  <a:lnTo>
                    <a:pt x="115" y="115"/>
                  </a:lnTo>
                  <a:lnTo>
                    <a:pt x="119" y="112"/>
                  </a:lnTo>
                  <a:lnTo>
                    <a:pt x="130" y="109"/>
                  </a:lnTo>
                  <a:lnTo>
                    <a:pt x="135" y="106"/>
                  </a:lnTo>
                  <a:lnTo>
                    <a:pt x="140" y="101"/>
                  </a:lnTo>
                  <a:lnTo>
                    <a:pt x="146" y="96"/>
                  </a:lnTo>
                  <a:lnTo>
                    <a:pt x="147" y="94"/>
                  </a:lnTo>
                  <a:lnTo>
                    <a:pt x="147" y="94"/>
                  </a:lnTo>
                  <a:lnTo>
                    <a:pt x="147" y="93"/>
                  </a:lnTo>
                  <a:lnTo>
                    <a:pt x="147" y="90"/>
                  </a:lnTo>
                  <a:lnTo>
                    <a:pt x="147" y="88"/>
                  </a:lnTo>
                  <a:lnTo>
                    <a:pt x="148" y="87"/>
                  </a:lnTo>
                  <a:lnTo>
                    <a:pt x="148" y="84"/>
                  </a:lnTo>
                  <a:lnTo>
                    <a:pt x="148" y="83"/>
                  </a:lnTo>
                  <a:lnTo>
                    <a:pt x="148" y="83"/>
                  </a:lnTo>
                  <a:lnTo>
                    <a:pt x="150" y="81"/>
                  </a:lnTo>
                  <a:lnTo>
                    <a:pt x="150" y="81"/>
                  </a:lnTo>
                  <a:lnTo>
                    <a:pt x="150" y="81"/>
                  </a:lnTo>
                  <a:lnTo>
                    <a:pt x="154" y="78"/>
                  </a:lnTo>
                  <a:lnTo>
                    <a:pt x="162" y="78"/>
                  </a:lnTo>
                  <a:lnTo>
                    <a:pt x="167" y="78"/>
                  </a:lnTo>
                  <a:lnTo>
                    <a:pt x="178" y="81"/>
                  </a:lnTo>
                  <a:lnTo>
                    <a:pt x="183" y="84"/>
                  </a:lnTo>
                  <a:lnTo>
                    <a:pt x="186" y="85"/>
                  </a:lnTo>
                  <a:lnTo>
                    <a:pt x="207" y="84"/>
                  </a:lnTo>
                  <a:lnTo>
                    <a:pt x="224" y="87"/>
                  </a:lnTo>
                  <a:lnTo>
                    <a:pt x="226" y="87"/>
                  </a:lnTo>
                  <a:lnTo>
                    <a:pt x="226" y="88"/>
                  </a:lnTo>
                  <a:lnTo>
                    <a:pt x="227" y="90"/>
                  </a:lnTo>
                  <a:lnTo>
                    <a:pt x="229" y="91"/>
                  </a:lnTo>
                  <a:lnTo>
                    <a:pt x="233" y="93"/>
                  </a:lnTo>
                  <a:lnTo>
                    <a:pt x="233" y="93"/>
                  </a:lnTo>
                  <a:lnTo>
                    <a:pt x="234" y="94"/>
                  </a:lnTo>
                  <a:lnTo>
                    <a:pt x="234" y="96"/>
                  </a:lnTo>
                  <a:lnTo>
                    <a:pt x="236" y="97"/>
                  </a:lnTo>
                  <a:lnTo>
                    <a:pt x="236" y="99"/>
                  </a:lnTo>
                  <a:lnTo>
                    <a:pt x="237" y="99"/>
                  </a:lnTo>
                  <a:lnTo>
                    <a:pt x="237" y="99"/>
                  </a:lnTo>
                  <a:lnTo>
                    <a:pt x="239" y="99"/>
                  </a:lnTo>
                  <a:lnTo>
                    <a:pt x="242" y="99"/>
                  </a:lnTo>
                  <a:lnTo>
                    <a:pt x="245" y="96"/>
                  </a:lnTo>
                  <a:lnTo>
                    <a:pt x="246" y="94"/>
                  </a:lnTo>
                  <a:lnTo>
                    <a:pt x="249" y="94"/>
                  </a:lnTo>
                  <a:lnTo>
                    <a:pt x="250" y="96"/>
                  </a:lnTo>
                  <a:lnTo>
                    <a:pt x="258" y="94"/>
                  </a:lnTo>
                  <a:lnTo>
                    <a:pt x="280" y="85"/>
                  </a:lnTo>
                  <a:lnTo>
                    <a:pt x="291" y="83"/>
                  </a:lnTo>
                  <a:lnTo>
                    <a:pt x="293" y="81"/>
                  </a:lnTo>
                  <a:lnTo>
                    <a:pt x="313" y="62"/>
                  </a:lnTo>
                  <a:lnTo>
                    <a:pt x="316" y="62"/>
                  </a:lnTo>
                  <a:lnTo>
                    <a:pt x="323" y="61"/>
                  </a:lnTo>
                  <a:lnTo>
                    <a:pt x="323" y="61"/>
                  </a:lnTo>
                  <a:lnTo>
                    <a:pt x="325" y="61"/>
                  </a:lnTo>
                  <a:lnTo>
                    <a:pt x="323" y="56"/>
                  </a:lnTo>
                  <a:lnTo>
                    <a:pt x="323" y="53"/>
                  </a:lnTo>
                  <a:lnTo>
                    <a:pt x="322" y="51"/>
                  </a:lnTo>
                  <a:lnTo>
                    <a:pt x="322" y="49"/>
                  </a:lnTo>
                  <a:lnTo>
                    <a:pt x="322" y="46"/>
                  </a:lnTo>
                  <a:lnTo>
                    <a:pt x="323" y="34"/>
                  </a:lnTo>
                  <a:lnTo>
                    <a:pt x="323" y="33"/>
                  </a:lnTo>
                  <a:lnTo>
                    <a:pt x="326" y="27"/>
                  </a:lnTo>
                  <a:lnTo>
                    <a:pt x="326" y="26"/>
                  </a:lnTo>
                  <a:lnTo>
                    <a:pt x="329" y="24"/>
                  </a:lnTo>
                  <a:lnTo>
                    <a:pt x="332" y="23"/>
                  </a:lnTo>
                  <a:lnTo>
                    <a:pt x="333" y="23"/>
                  </a:lnTo>
                  <a:lnTo>
                    <a:pt x="336" y="24"/>
                  </a:lnTo>
                  <a:lnTo>
                    <a:pt x="341" y="24"/>
                  </a:lnTo>
                  <a:lnTo>
                    <a:pt x="345" y="23"/>
                  </a:lnTo>
                  <a:lnTo>
                    <a:pt x="351" y="4"/>
                  </a:lnTo>
                  <a:lnTo>
                    <a:pt x="367" y="0"/>
                  </a:lnTo>
                  <a:lnTo>
                    <a:pt x="370" y="1"/>
                  </a:lnTo>
                  <a:lnTo>
                    <a:pt x="371" y="5"/>
                  </a:lnTo>
                  <a:lnTo>
                    <a:pt x="371" y="7"/>
                  </a:lnTo>
                  <a:lnTo>
                    <a:pt x="368" y="13"/>
                  </a:lnTo>
                  <a:lnTo>
                    <a:pt x="366" y="16"/>
                  </a:lnTo>
                  <a:lnTo>
                    <a:pt x="370" y="17"/>
                  </a:lnTo>
                  <a:lnTo>
                    <a:pt x="382" y="18"/>
                  </a:lnTo>
                  <a:lnTo>
                    <a:pt x="386" y="21"/>
                  </a:lnTo>
                  <a:lnTo>
                    <a:pt x="389" y="29"/>
                  </a:lnTo>
                  <a:lnTo>
                    <a:pt x="389" y="33"/>
                  </a:lnTo>
                  <a:lnTo>
                    <a:pt x="390" y="37"/>
                  </a:lnTo>
                  <a:lnTo>
                    <a:pt x="398" y="39"/>
                  </a:lnTo>
                  <a:lnTo>
                    <a:pt x="401" y="37"/>
                  </a:lnTo>
                  <a:lnTo>
                    <a:pt x="409" y="32"/>
                  </a:lnTo>
                  <a:lnTo>
                    <a:pt x="415" y="30"/>
                  </a:lnTo>
                  <a:lnTo>
                    <a:pt x="425" y="46"/>
                  </a:lnTo>
                  <a:lnTo>
                    <a:pt x="430" y="51"/>
                  </a:lnTo>
                  <a:lnTo>
                    <a:pt x="441" y="52"/>
                  </a:lnTo>
                  <a:lnTo>
                    <a:pt x="446" y="53"/>
                  </a:lnTo>
                  <a:lnTo>
                    <a:pt x="443" y="61"/>
                  </a:lnTo>
                  <a:lnTo>
                    <a:pt x="440" y="67"/>
                  </a:lnTo>
                  <a:lnTo>
                    <a:pt x="438" y="69"/>
                  </a:lnTo>
                  <a:lnTo>
                    <a:pt x="462" y="84"/>
                  </a:lnTo>
                  <a:lnTo>
                    <a:pt x="465" y="85"/>
                  </a:lnTo>
                  <a:lnTo>
                    <a:pt x="470" y="87"/>
                  </a:lnTo>
                  <a:lnTo>
                    <a:pt x="476" y="88"/>
                  </a:lnTo>
                  <a:lnTo>
                    <a:pt x="485" y="94"/>
                  </a:lnTo>
                  <a:lnTo>
                    <a:pt x="491" y="96"/>
                  </a:lnTo>
                  <a:lnTo>
                    <a:pt x="497" y="93"/>
                  </a:lnTo>
                  <a:lnTo>
                    <a:pt x="505" y="93"/>
                  </a:lnTo>
                  <a:lnTo>
                    <a:pt x="529" y="90"/>
                  </a:lnTo>
                  <a:lnTo>
                    <a:pt x="530" y="91"/>
                  </a:lnTo>
                  <a:lnTo>
                    <a:pt x="532" y="91"/>
                  </a:lnTo>
                  <a:lnTo>
                    <a:pt x="535" y="94"/>
                  </a:lnTo>
                  <a:lnTo>
                    <a:pt x="536" y="96"/>
                  </a:lnTo>
                  <a:lnTo>
                    <a:pt x="536" y="99"/>
                  </a:lnTo>
                  <a:lnTo>
                    <a:pt x="536" y="104"/>
                  </a:lnTo>
                  <a:lnTo>
                    <a:pt x="540" y="106"/>
                  </a:lnTo>
                  <a:lnTo>
                    <a:pt x="545" y="104"/>
                  </a:lnTo>
                  <a:lnTo>
                    <a:pt x="556" y="101"/>
                  </a:lnTo>
                  <a:lnTo>
                    <a:pt x="558" y="101"/>
                  </a:lnTo>
                  <a:lnTo>
                    <a:pt x="559" y="101"/>
                  </a:lnTo>
                  <a:lnTo>
                    <a:pt x="564" y="104"/>
                  </a:lnTo>
                  <a:lnTo>
                    <a:pt x="568" y="104"/>
                  </a:lnTo>
                  <a:lnTo>
                    <a:pt x="569" y="107"/>
                  </a:lnTo>
                  <a:lnTo>
                    <a:pt x="571" y="112"/>
                  </a:lnTo>
                  <a:lnTo>
                    <a:pt x="578" y="133"/>
                  </a:lnTo>
                  <a:lnTo>
                    <a:pt x="578" y="138"/>
                  </a:lnTo>
                  <a:lnTo>
                    <a:pt x="577" y="144"/>
                  </a:lnTo>
                  <a:lnTo>
                    <a:pt x="565" y="152"/>
                  </a:lnTo>
                  <a:lnTo>
                    <a:pt x="565" y="155"/>
                  </a:lnTo>
                  <a:lnTo>
                    <a:pt x="565" y="157"/>
                  </a:lnTo>
                  <a:lnTo>
                    <a:pt x="565" y="161"/>
                  </a:lnTo>
                  <a:lnTo>
                    <a:pt x="567" y="164"/>
                  </a:lnTo>
                  <a:lnTo>
                    <a:pt x="568" y="166"/>
                  </a:lnTo>
                  <a:lnTo>
                    <a:pt x="569" y="167"/>
                  </a:lnTo>
                  <a:lnTo>
                    <a:pt x="569" y="168"/>
                  </a:lnTo>
                  <a:lnTo>
                    <a:pt x="569" y="170"/>
                  </a:lnTo>
                  <a:lnTo>
                    <a:pt x="568" y="173"/>
                  </a:lnTo>
                  <a:lnTo>
                    <a:pt x="565" y="176"/>
                  </a:lnTo>
                  <a:lnTo>
                    <a:pt x="564" y="177"/>
                  </a:lnTo>
                  <a:lnTo>
                    <a:pt x="564" y="180"/>
                  </a:lnTo>
                  <a:lnTo>
                    <a:pt x="564" y="182"/>
                  </a:lnTo>
                  <a:lnTo>
                    <a:pt x="564" y="184"/>
                  </a:lnTo>
                  <a:lnTo>
                    <a:pt x="565" y="186"/>
                  </a:lnTo>
                  <a:lnTo>
                    <a:pt x="567" y="189"/>
                  </a:lnTo>
                  <a:lnTo>
                    <a:pt x="568" y="190"/>
                  </a:lnTo>
                  <a:lnTo>
                    <a:pt x="568" y="193"/>
                  </a:lnTo>
                  <a:lnTo>
                    <a:pt x="569" y="196"/>
                  </a:lnTo>
                  <a:lnTo>
                    <a:pt x="569" y="199"/>
                  </a:lnTo>
                  <a:lnTo>
                    <a:pt x="571" y="200"/>
                  </a:lnTo>
                  <a:lnTo>
                    <a:pt x="574" y="203"/>
                  </a:lnTo>
                  <a:lnTo>
                    <a:pt x="575" y="203"/>
                  </a:lnTo>
                  <a:lnTo>
                    <a:pt x="577" y="206"/>
                  </a:lnTo>
                  <a:lnTo>
                    <a:pt x="577" y="211"/>
                  </a:lnTo>
                  <a:lnTo>
                    <a:pt x="575" y="215"/>
                  </a:lnTo>
                  <a:lnTo>
                    <a:pt x="572" y="227"/>
                  </a:lnTo>
                  <a:lnTo>
                    <a:pt x="569" y="231"/>
                  </a:lnTo>
                  <a:lnTo>
                    <a:pt x="568" y="234"/>
                  </a:lnTo>
                  <a:lnTo>
                    <a:pt x="565" y="235"/>
                  </a:lnTo>
                  <a:lnTo>
                    <a:pt x="562" y="237"/>
                  </a:lnTo>
                  <a:lnTo>
                    <a:pt x="555" y="237"/>
                  </a:lnTo>
                  <a:lnTo>
                    <a:pt x="553" y="237"/>
                  </a:lnTo>
                  <a:lnTo>
                    <a:pt x="552" y="240"/>
                  </a:lnTo>
                  <a:lnTo>
                    <a:pt x="552" y="246"/>
                  </a:lnTo>
                  <a:lnTo>
                    <a:pt x="551" y="259"/>
                  </a:lnTo>
                  <a:lnTo>
                    <a:pt x="551" y="265"/>
                  </a:lnTo>
                  <a:lnTo>
                    <a:pt x="549" y="269"/>
                  </a:lnTo>
                  <a:lnTo>
                    <a:pt x="540" y="283"/>
                  </a:lnTo>
                  <a:lnTo>
                    <a:pt x="540" y="283"/>
                  </a:lnTo>
                  <a:lnTo>
                    <a:pt x="540" y="285"/>
                  </a:lnTo>
                  <a:lnTo>
                    <a:pt x="542" y="286"/>
                  </a:lnTo>
                  <a:lnTo>
                    <a:pt x="545" y="286"/>
                  </a:lnTo>
                  <a:lnTo>
                    <a:pt x="548" y="285"/>
                  </a:lnTo>
                  <a:lnTo>
                    <a:pt x="551" y="285"/>
                  </a:lnTo>
                  <a:lnTo>
                    <a:pt x="552" y="285"/>
                  </a:lnTo>
                  <a:lnTo>
                    <a:pt x="553" y="286"/>
                  </a:lnTo>
                  <a:lnTo>
                    <a:pt x="553" y="288"/>
                  </a:lnTo>
                  <a:lnTo>
                    <a:pt x="552" y="289"/>
                  </a:lnTo>
                  <a:lnTo>
                    <a:pt x="551" y="291"/>
                  </a:lnTo>
                  <a:lnTo>
                    <a:pt x="551" y="292"/>
                  </a:lnTo>
                  <a:lnTo>
                    <a:pt x="549" y="294"/>
                  </a:lnTo>
                  <a:lnTo>
                    <a:pt x="548" y="297"/>
                  </a:lnTo>
                  <a:lnTo>
                    <a:pt x="548" y="298"/>
                  </a:lnTo>
                  <a:lnTo>
                    <a:pt x="549" y="301"/>
                  </a:lnTo>
                  <a:lnTo>
                    <a:pt x="549" y="302"/>
                  </a:lnTo>
                  <a:lnTo>
                    <a:pt x="551" y="304"/>
                  </a:lnTo>
                  <a:lnTo>
                    <a:pt x="552" y="305"/>
                  </a:lnTo>
                  <a:lnTo>
                    <a:pt x="556" y="307"/>
                  </a:lnTo>
                  <a:lnTo>
                    <a:pt x="561" y="305"/>
                  </a:lnTo>
                  <a:lnTo>
                    <a:pt x="564" y="304"/>
                  </a:lnTo>
                  <a:lnTo>
                    <a:pt x="564" y="304"/>
                  </a:lnTo>
                  <a:lnTo>
                    <a:pt x="565" y="302"/>
                  </a:lnTo>
                  <a:lnTo>
                    <a:pt x="567" y="301"/>
                  </a:lnTo>
                  <a:lnTo>
                    <a:pt x="567" y="299"/>
                  </a:lnTo>
                  <a:lnTo>
                    <a:pt x="568" y="298"/>
                  </a:lnTo>
                  <a:lnTo>
                    <a:pt x="568" y="294"/>
                  </a:lnTo>
                  <a:lnTo>
                    <a:pt x="568" y="292"/>
                  </a:lnTo>
                  <a:lnTo>
                    <a:pt x="569" y="291"/>
                  </a:lnTo>
                  <a:lnTo>
                    <a:pt x="571" y="291"/>
                  </a:lnTo>
                  <a:lnTo>
                    <a:pt x="572" y="291"/>
                  </a:lnTo>
                  <a:lnTo>
                    <a:pt x="574" y="291"/>
                  </a:lnTo>
                  <a:lnTo>
                    <a:pt x="577" y="294"/>
                  </a:lnTo>
                  <a:lnTo>
                    <a:pt x="578" y="295"/>
                  </a:lnTo>
                  <a:lnTo>
                    <a:pt x="584" y="304"/>
                  </a:lnTo>
                  <a:lnTo>
                    <a:pt x="586" y="307"/>
                  </a:lnTo>
                  <a:lnTo>
                    <a:pt x="588" y="307"/>
                  </a:lnTo>
                  <a:lnTo>
                    <a:pt x="588" y="305"/>
                  </a:lnTo>
                  <a:lnTo>
                    <a:pt x="590" y="305"/>
                  </a:lnTo>
                  <a:lnTo>
                    <a:pt x="591" y="305"/>
                  </a:lnTo>
                  <a:lnTo>
                    <a:pt x="593" y="305"/>
                  </a:lnTo>
                  <a:lnTo>
                    <a:pt x="594" y="305"/>
                  </a:lnTo>
                  <a:lnTo>
                    <a:pt x="596" y="305"/>
                  </a:lnTo>
                  <a:lnTo>
                    <a:pt x="599" y="304"/>
                  </a:lnTo>
                  <a:lnTo>
                    <a:pt x="599" y="304"/>
                  </a:lnTo>
                  <a:lnTo>
                    <a:pt x="600" y="305"/>
                  </a:lnTo>
                  <a:lnTo>
                    <a:pt x="599" y="308"/>
                  </a:lnTo>
                  <a:lnTo>
                    <a:pt x="597" y="311"/>
                  </a:lnTo>
                  <a:lnTo>
                    <a:pt x="597" y="314"/>
                  </a:lnTo>
                  <a:lnTo>
                    <a:pt x="597" y="318"/>
                  </a:lnTo>
                  <a:lnTo>
                    <a:pt x="597" y="321"/>
                  </a:lnTo>
                  <a:lnTo>
                    <a:pt x="597" y="323"/>
                  </a:lnTo>
                  <a:lnTo>
                    <a:pt x="593" y="330"/>
                  </a:lnTo>
                  <a:lnTo>
                    <a:pt x="590" y="339"/>
                  </a:lnTo>
                  <a:lnTo>
                    <a:pt x="587" y="342"/>
                  </a:lnTo>
                  <a:lnTo>
                    <a:pt x="584" y="345"/>
                  </a:lnTo>
                  <a:lnTo>
                    <a:pt x="583" y="346"/>
                  </a:lnTo>
                  <a:lnTo>
                    <a:pt x="583" y="348"/>
                  </a:lnTo>
                  <a:lnTo>
                    <a:pt x="584" y="349"/>
                  </a:lnTo>
                  <a:lnTo>
                    <a:pt x="584" y="350"/>
                  </a:lnTo>
                  <a:lnTo>
                    <a:pt x="586" y="352"/>
                  </a:lnTo>
                  <a:lnTo>
                    <a:pt x="587" y="353"/>
                  </a:lnTo>
                  <a:lnTo>
                    <a:pt x="587" y="356"/>
                  </a:lnTo>
                  <a:lnTo>
                    <a:pt x="586" y="359"/>
                  </a:lnTo>
                  <a:lnTo>
                    <a:pt x="584" y="366"/>
                  </a:lnTo>
                  <a:lnTo>
                    <a:pt x="583" y="369"/>
                  </a:lnTo>
                  <a:lnTo>
                    <a:pt x="578" y="377"/>
                  </a:lnTo>
                  <a:lnTo>
                    <a:pt x="578" y="378"/>
                  </a:lnTo>
                  <a:lnTo>
                    <a:pt x="578" y="381"/>
                  </a:lnTo>
                  <a:lnTo>
                    <a:pt x="578" y="382"/>
                  </a:lnTo>
                  <a:lnTo>
                    <a:pt x="578" y="385"/>
                  </a:lnTo>
                  <a:lnTo>
                    <a:pt x="577" y="387"/>
                  </a:lnTo>
                  <a:lnTo>
                    <a:pt x="577" y="388"/>
                  </a:lnTo>
                  <a:lnTo>
                    <a:pt x="578" y="393"/>
                  </a:lnTo>
                  <a:lnTo>
                    <a:pt x="578" y="396"/>
                  </a:lnTo>
                  <a:lnTo>
                    <a:pt x="578" y="397"/>
                  </a:lnTo>
                  <a:lnTo>
                    <a:pt x="578" y="400"/>
                  </a:lnTo>
                  <a:lnTo>
                    <a:pt x="578" y="401"/>
                  </a:lnTo>
                  <a:lnTo>
                    <a:pt x="574" y="409"/>
                  </a:lnTo>
                  <a:lnTo>
                    <a:pt x="572" y="412"/>
                  </a:lnTo>
                  <a:lnTo>
                    <a:pt x="572" y="413"/>
                  </a:lnTo>
                  <a:lnTo>
                    <a:pt x="572" y="417"/>
                  </a:lnTo>
                  <a:lnTo>
                    <a:pt x="569" y="422"/>
                  </a:lnTo>
                  <a:lnTo>
                    <a:pt x="569" y="423"/>
                  </a:lnTo>
                  <a:lnTo>
                    <a:pt x="568" y="426"/>
                  </a:lnTo>
                  <a:lnTo>
                    <a:pt x="569" y="431"/>
                  </a:lnTo>
                  <a:lnTo>
                    <a:pt x="569" y="439"/>
                  </a:lnTo>
                  <a:lnTo>
                    <a:pt x="571" y="442"/>
                  </a:lnTo>
                  <a:lnTo>
                    <a:pt x="574" y="445"/>
                  </a:lnTo>
                  <a:lnTo>
                    <a:pt x="577" y="445"/>
                  </a:lnTo>
                  <a:lnTo>
                    <a:pt x="578" y="447"/>
                  </a:lnTo>
                  <a:lnTo>
                    <a:pt x="580" y="448"/>
                  </a:lnTo>
                  <a:lnTo>
                    <a:pt x="581" y="451"/>
                  </a:lnTo>
                  <a:lnTo>
                    <a:pt x="583" y="454"/>
                  </a:lnTo>
                  <a:lnTo>
                    <a:pt x="583" y="455"/>
                  </a:lnTo>
                  <a:lnTo>
                    <a:pt x="583" y="457"/>
                  </a:lnTo>
                  <a:lnTo>
                    <a:pt x="583" y="458"/>
                  </a:lnTo>
                  <a:lnTo>
                    <a:pt x="574" y="465"/>
                  </a:lnTo>
                  <a:lnTo>
                    <a:pt x="569" y="480"/>
                  </a:lnTo>
                  <a:lnTo>
                    <a:pt x="567" y="484"/>
                  </a:lnTo>
                  <a:lnTo>
                    <a:pt x="567" y="486"/>
                  </a:lnTo>
                  <a:lnTo>
                    <a:pt x="567" y="487"/>
                  </a:lnTo>
                  <a:lnTo>
                    <a:pt x="569" y="496"/>
                  </a:lnTo>
                  <a:lnTo>
                    <a:pt x="572" y="503"/>
                  </a:lnTo>
                  <a:lnTo>
                    <a:pt x="574" y="505"/>
                  </a:lnTo>
                  <a:lnTo>
                    <a:pt x="583" y="514"/>
                  </a:lnTo>
                  <a:lnTo>
                    <a:pt x="586" y="521"/>
                  </a:lnTo>
                  <a:lnTo>
                    <a:pt x="586" y="524"/>
                  </a:lnTo>
                  <a:lnTo>
                    <a:pt x="587" y="525"/>
                  </a:lnTo>
                  <a:lnTo>
                    <a:pt x="594" y="528"/>
                  </a:lnTo>
                  <a:lnTo>
                    <a:pt x="602" y="535"/>
                  </a:lnTo>
                  <a:lnTo>
                    <a:pt x="623" y="564"/>
                  </a:lnTo>
                  <a:lnTo>
                    <a:pt x="623" y="569"/>
                  </a:lnTo>
                  <a:lnTo>
                    <a:pt x="623" y="570"/>
                  </a:lnTo>
                  <a:lnTo>
                    <a:pt x="623" y="572"/>
                  </a:lnTo>
                  <a:lnTo>
                    <a:pt x="623" y="575"/>
                  </a:lnTo>
                  <a:lnTo>
                    <a:pt x="626" y="576"/>
                  </a:lnTo>
                  <a:lnTo>
                    <a:pt x="629" y="579"/>
                  </a:lnTo>
                  <a:lnTo>
                    <a:pt x="639" y="586"/>
                  </a:lnTo>
                  <a:lnTo>
                    <a:pt x="644" y="591"/>
                  </a:lnTo>
                  <a:lnTo>
                    <a:pt x="645" y="591"/>
                  </a:lnTo>
                  <a:lnTo>
                    <a:pt x="647" y="592"/>
                  </a:lnTo>
                  <a:lnTo>
                    <a:pt x="651" y="592"/>
                  </a:lnTo>
                  <a:lnTo>
                    <a:pt x="654" y="591"/>
                  </a:lnTo>
                  <a:lnTo>
                    <a:pt x="655" y="589"/>
                  </a:lnTo>
                  <a:lnTo>
                    <a:pt x="655" y="588"/>
                  </a:lnTo>
                  <a:lnTo>
                    <a:pt x="657" y="586"/>
                  </a:lnTo>
                  <a:lnTo>
                    <a:pt x="658" y="585"/>
                  </a:lnTo>
                  <a:lnTo>
                    <a:pt x="660" y="585"/>
                  </a:lnTo>
                  <a:lnTo>
                    <a:pt x="661" y="586"/>
                  </a:lnTo>
                  <a:lnTo>
                    <a:pt x="663" y="588"/>
                  </a:lnTo>
                  <a:lnTo>
                    <a:pt x="670" y="596"/>
                  </a:lnTo>
                  <a:lnTo>
                    <a:pt x="686" y="610"/>
                  </a:lnTo>
                  <a:lnTo>
                    <a:pt x="692" y="613"/>
                  </a:lnTo>
                  <a:lnTo>
                    <a:pt x="708" y="617"/>
                  </a:lnTo>
                  <a:lnTo>
                    <a:pt x="714" y="611"/>
                  </a:lnTo>
                  <a:lnTo>
                    <a:pt x="718" y="610"/>
                  </a:lnTo>
                  <a:lnTo>
                    <a:pt x="722" y="607"/>
                  </a:lnTo>
                  <a:lnTo>
                    <a:pt x="724" y="605"/>
                  </a:lnTo>
                  <a:lnTo>
                    <a:pt x="724" y="604"/>
                  </a:lnTo>
                  <a:lnTo>
                    <a:pt x="724" y="601"/>
                  </a:lnTo>
                  <a:lnTo>
                    <a:pt x="725" y="601"/>
                  </a:lnTo>
                  <a:lnTo>
                    <a:pt x="727" y="599"/>
                  </a:lnTo>
                  <a:lnTo>
                    <a:pt x="728" y="601"/>
                  </a:lnTo>
                  <a:lnTo>
                    <a:pt x="743" y="608"/>
                  </a:lnTo>
                  <a:lnTo>
                    <a:pt x="773" y="627"/>
                  </a:lnTo>
                  <a:lnTo>
                    <a:pt x="778" y="629"/>
                  </a:lnTo>
                  <a:lnTo>
                    <a:pt x="791" y="630"/>
                  </a:lnTo>
                  <a:lnTo>
                    <a:pt x="795" y="633"/>
                  </a:lnTo>
                  <a:lnTo>
                    <a:pt x="797" y="637"/>
                  </a:lnTo>
                  <a:lnTo>
                    <a:pt x="800" y="646"/>
                  </a:lnTo>
                  <a:lnTo>
                    <a:pt x="801" y="647"/>
                  </a:lnTo>
                  <a:lnTo>
                    <a:pt x="804" y="647"/>
                  </a:lnTo>
                  <a:lnTo>
                    <a:pt x="820" y="647"/>
                  </a:lnTo>
                  <a:lnTo>
                    <a:pt x="827" y="649"/>
                  </a:lnTo>
                  <a:lnTo>
                    <a:pt x="832" y="652"/>
                  </a:lnTo>
                  <a:lnTo>
                    <a:pt x="836" y="655"/>
                  </a:lnTo>
                  <a:lnTo>
                    <a:pt x="838" y="658"/>
                  </a:lnTo>
                  <a:lnTo>
                    <a:pt x="839" y="661"/>
                  </a:lnTo>
                  <a:lnTo>
                    <a:pt x="842" y="663"/>
                  </a:lnTo>
                  <a:lnTo>
                    <a:pt x="861" y="678"/>
                  </a:lnTo>
                  <a:lnTo>
                    <a:pt x="868" y="679"/>
                  </a:lnTo>
                  <a:lnTo>
                    <a:pt x="890" y="677"/>
                  </a:lnTo>
                  <a:lnTo>
                    <a:pt x="893" y="678"/>
                  </a:lnTo>
                  <a:lnTo>
                    <a:pt x="896" y="681"/>
                  </a:lnTo>
                  <a:lnTo>
                    <a:pt x="897" y="684"/>
                  </a:lnTo>
                  <a:lnTo>
                    <a:pt x="900" y="684"/>
                  </a:lnTo>
                  <a:lnTo>
                    <a:pt x="902" y="682"/>
                  </a:lnTo>
                  <a:lnTo>
                    <a:pt x="905" y="677"/>
                  </a:lnTo>
                  <a:lnTo>
                    <a:pt x="907" y="675"/>
                  </a:lnTo>
                  <a:lnTo>
                    <a:pt x="909" y="675"/>
                  </a:lnTo>
                  <a:lnTo>
                    <a:pt x="921" y="675"/>
                  </a:lnTo>
                  <a:lnTo>
                    <a:pt x="926" y="678"/>
                  </a:lnTo>
                  <a:lnTo>
                    <a:pt x="923" y="685"/>
                  </a:lnTo>
                  <a:lnTo>
                    <a:pt x="912" y="698"/>
                  </a:lnTo>
                  <a:lnTo>
                    <a:pt x="902" y="716"/>
                  </a:lnTo>
                  <a:lnTo>
                    <a:pt x="900" y="719"/>
                  </a:lnTo>
                  <a:lnTo>
                    <a:pt x="899" y="723"/>
                  </a:lnTo>
                  <a:lnTo>
                    <a:pt x="899" y="738"/>
                  </a:lnTo>
                  <a:lnTo>
                    <a:pt x="900" y="742"/>
                  </a:lnTo>
                  <a:lnTo>
                    <a:pt x="902" y="748"/>
                  </a:lnTo>
                  <a:lnTo>
                    <a:pt x="905" y="754"/>
                  </a:lnTo>
                  <a:lnTo>
                    <a:pt x="907" y="761"/>
                  </a:lnTo>
                  <a:lnTo>
                    <a:pt x="906" y="767"/>
                  </a:lnTo>
                  <a:lnTo>
                    <a:pt x="897" y="780"/>
                  </a:lnTo>
                  <a:lnTo>
                    <a:pt x="875" y="797"/>
                  </a:lnTo>
                  <a:lnTo>
                    <a:pt x="873" y="800"/>
                  </a:lnTo>
                  <a:lnTo>
                    <a:pt x="867" y="81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8">
              <a:extLst>
                <a:ext uri="{FF2B5EF4-FFF2-40B4-BE49-F238E27FC236}">
                  <a16:creationId xmlns:a16="http://schemas.microsoft.com/office/drawing/2014/main" id="{81B7AEAE-28E6-4FB9-9046-CB01A45A61F9}"/>
                </a:ext>
              </a:extLst>
            </p:cNvPr>
            <p:cNvSpPr>
              <a:spLocks/>
            </p:cNvSpPr>
            <p:nvPr/>
          </p:nvSpPr>
          <p:spPr bwMode="gray">
            <a:xfrm>
              <a:off x="6902451" y="3133725"/>
              <a:ext cx="1722438" cy="1317625"/>
            </a:xfrm>
            <a:custGeom>
              <a:avLst/>
              <a:gdLst>
                <a:gd name="T0" fmla="*/ 408 w 1085"/>
                <a:gd name="T1" fmla="*/ 34 h 830"/>
                <a:gd name="T2" fmla="*/ 441 w 1085"/>
                <a:gd name="T3" fmla="*/ 57 h 830"/>
                <a:gd name="T4" fmla="*/ 456 w 1085"/>
                <a:gd name="T5" fmla="*/ 98 h 830"/>
                <a:gd name="T6" fmla="*/ 451 w 1085"/>
                <a:gd name="T7" fmla="*/ 126 h 830"/>
                <a:gd name="T8" fmla="*/ 444 w 1085"/>
                <a:gd name="T9" fmla="*/ 155 h 830"/>
                <a:gd name="T10" fmla="*/ 470 w 1085"/>
                <a:gd name="T11" fmla="*/ 159 h 830"/>
                <a:gd name="T12" fmla="*/ 558 w 1085"/>
                <a:gd name="T13" fmla="*/ 161 h 830"/>
                <a:gd name="T14" fmla="*/ 711 w 1085"/>
                <a:gd name="T15" fmla="*/ 174 h 830"/>
                <a:gd name="T16" fmla="*/ 767 w 1085"/>
                <a:gd name="T17" fmla="*/ 92 h 830"/>
                <a:gd name="T18" fmla="*/ 936 w 1085"/>
                <a:gd name="T19" fmla="*/ 62 h 830"/>
                <a:gd name="T20" fmla="*/ 1038 w 1085"/>
                <a:gd name="T21" fmla="*/ 110 h 830"/>
                <a:gd name="T22" fmla="*/ 1072 w 1085"/>
                <a:gd name="T23" fmla="*/ 203 h 830"/>
                <a:gd name="T24" fmla="*/ 1072 w 1085"/>
                <a:gd name="T25" fmla="*/ 297 h 830"/>
                <a:gd name="T26" fmla="*/ 1062 w 1085"/>
                <a:gd name="T27" fmla="*/ 337 h 830"/>
                <a:gd name="T28" fmla="*/ 999 w 1085"/>
                <a:gd name="T29" fmla="*/ 475 h 830"/>
                <a:gd name="T30" fmla="*/ 951 w 1085"/>
                <a:gd name="T31" fmla="*/ 423 h 830"/>
                <a:gd name="T32" fmla="*/ 931 w 1085"/>
                <a:gd name="T33" fmla="*/ 391 h 830"/>
                <a:gd name="T34" fmla="*/ 894 w 1085"/>
                <a:gd name="T35" fmla="*/ 360 h 830"/>
                <a:gd name="T36" fmla="*/ 821 w 1085"/>
                <a:gd name="T37" fmla="*/ 360 h 830"/>
                <a:gd name="T38" fmla="*/ 832 w 1085"/>
                <a:gd name="T39" fmla="*/ 398 h 830"/>
                <a:gd name="T40" fmla="*/ 797 w 1085"/>
                <a:gd name="T41" fmla="*/ 456 h 830"/>
                <a:gd name="T42" fmla="*/ 690 w 1085"/>
                <a:gd name="T43" fmla="*/ 497 h 830"/>
                <a:gd name="T44" fmla="*/ 667 w 1085"/>
                <a:gd name="T45" fmla="*/ 526 h 830"/>
                <a:gd name="T46" fmla="*/ 565 w 1085"/>
                <a:gd name="T47" fmla="*/ 558 h 830"/>
                <a:gd name="T48" fmla="*/ 531 w 1085"/>
                <a:gd name="T49" fmla="*/ 594 h 830"/>
                <a:gd name="T50" fmla="*/ 489 w 1085"/>
                <a:gd name="T51" fmla="*/ 605 h 830"/>
                <a:gd name="T52" fmla="*/ 411 w 1085"/>
                <a:gd name="T53" fmla="*/ 650 h 830"/>
                <a:gd name="T54" fmla="*/ 381 w 1085"/>
                <a:gd name="T55" fmla="*/ 682 h 830"/>
                <a:gd name="T56" fmla="*/ 291 w 1085"/>
                <a:gd name="T57" fmla="*/ 683 h 830"/>
                <a:gd name="T58" fmla="*/ 198 w 1085"/>
                <a:gd name="T59" fmla="*/ 723 h 830"/>
                <a:gd name="T60" fmla="*/ 188 w 1085"/>
                <a:gd name="T61" fmla="*/ 737 h 830"/>
                <a:gd name="T62" fmla="*/ 141 w 1085"/>
                <a:gd name="T63" fmla="*/ 810 h 830"/>
                <a:gd name="T64" fmla="*/ 122 w 1085"/>
                <a:gd name="T65" fmla="*/ 797 h 830"/>
                <a:gd name="T66" fmla="*/ 119 w 1085"/>
                <a:gd name="T67" fmla="*/ 782 h 830"/>
                <a:gd name="T68" fmla="*/ 96 w 1085"/>
                <a:gd name="T69" fmla="*/ 758 h 830"/>
                <a:gd name="T70" fmla="*/ 32 w 1085"/>
                <a:gd name="T71" fmla="*/ 728 h 830"/>
                <a:gd name="T72" fmla="*/ 16 w 1085"/>
                <a:gd name="T73" fmla="*/ 695 h 830"/>
                <a:gd name="T74" fmla="*/ 13 w 1085"/>
                <a:gd name="T75" fmla="*/ 677 h 830"/>
                <a:gd name="T76" fmla="*/ 10 w 1085"/>
                <a:gd name="T77" fmla="*/ 653 h 830"/>
                <a:gd name="T78" fmla="*/ 33 w 1085"/>
                <a:gd name="T79" fmla="*/ 621 h 830"/>
                <a:gd name="T80" fmla="*/ 51 w 1085"/>
                <a:gd name="T81" fmla="*/ 629 h 830"/>
                <a:gd name="T82" fmla="*/ 83 w 1085"/>
                <a:gd name="T83" fmla="*/ 613 h 830"/>
                <a:gd name="T84" fmla="*/ 107 w 1085"/>
                <a:gd name="T85" fmla="*/ 577 h 830"/>
                <a:gd name="T86" fmla="*/ 134 w 1085"/>
                <a:gd name="T87" fmla="*/ 549 h 830"/>
                <a:gd name="T88" fmla="*/ 126 w 1085"/>
                <a:gd name="T89" fmla="*/ 525 h 830"/>
                <a:gd name="T90" fmla="*/ 128 w 1085"/>
                <a:gd name="T91" fmla="*/ 511 h 830"/>
                <a:gd name="T92" fmla="*/ 125 w 1085"/>
                <a:gd name="T93" fmla="*/ 487 h 830"/>
                <a:gd name="T94" fmla="*/ 183 w 1085"/>
                <a:gd name="T95" fmla="*/ 469 h 830"/>
                <a:gd name="T96" fmla="*/ 239 w 1085"/>
                <a:gd name="T97" fmla="*/ 440 h 830"/>
                <a:gd name="T98" fmla="*/ 260 w 1085"/>
                <a:gd name="T99" fmla="*/ 431 h 830"/>
                <a:gd name="T100" fmla="*/ 207 w 1085"/>
                <a:gd name="T101" fmla="*/ 357 h 830"/>
                <a:gd name="T102" fmla="*/ 100 w 1085"/>
                <a:gd name="T103" fmla="*/ 303 h 830"/>
                <a:gd name="T104" fmla="*/ 93 w 1085"/>
                <a:gd name="T105" fmla="*/ 264 h 830"/>
                <a:gd name="T106" fmla="*/ 81 w 1085"/>
                <a:gd name="T107" fmla="*/ 209 h 830"/>
                <a:gd name="T108" fmla="*/ 100 w 1085"/>
                <a:gd name="T109" fmla="*/ 187 h 830"/>
                <a:gd name="T110" fmla="*/ 90 w 1085"/>
                <a:gd name="T111" fmla="*/ 137 h 830"/>
                <a:gd name="T112" fmla="*/ 100 w 1085"/>
                <a:gd name="T113" fmla="*/ 113 h 830"/>
                <a:gd name="T114" fmla="*/ 116 w 1085"/>
                <a:gd name="T115" fmla="*/ 62 h 830"/>
                <a:gd name="T116" fmla="*/ 189 w 1085"/>
                <a:gd name="T117" fmla="*/ 40 h 830"/>
                <a:gd name="T118" fmla="*/ 269 w 1085"/>
                <a:gd name="T119" fmla="*/ 35 h 830"/>
                <a:gd name="T120" fmla="*/ 348 w 1085"/>
                <a:gd name="T121" fmla="*/ 9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5" h="830">
                  <a:moveTo>
                    <a:pt x="370" y="19"/>
                  </a:moveTo>
                  <a:lnTo>
                    <a:pt x="376" y="25"/>
                  </a:lnTo>
                  <a:lnTo>
                    <a:pt x="380" y="24"/>
                  </a:lnTo>
                  <a:lnTo>
                    <a:pt x="381" y="22"/>
                  </a:lnTo>
                  <a:lnTo>
                    <a:pt x="383" y="21"/>
                  </a:lnTo>
                  <a:lnTo>
                    <a:pt x="386" y="19"/>
                  </a:lnTo>
                  <a:lnTo>
                    <a:pt x="389" y="21"/>
                  </a:lnTo>
                  <a:lnTo>
                    <a:pt x="390" y="22"/>
                  </a:lnTo>
                  <a:lnTo>
                    <a:pt x="397" y="30"/>
                  </a:lnTo>
                  <a:lnTo>
                    <a:pt x="405" y="32"/>
                  </a:lnTo>
                  <a:lnTo>
                    <a:pt x="408" y="34"/>
                  </a:lnTo>
                  <a:lnTo>
                    <a:pt x="418" y="46"/>
                  </a:lnTo>
                  <a:lnTo>
                    <a:pt x="422" y="48"/>
                  </a:lnTo>
                  <a:lnTo>
                    <a:pt x="425" y="50"/>
                  </a:lnTo>
                  <a:lnTo>
                    <a:pt x="427" y="48"/>
                  </a:lnTo>
                  <a:lnTo>
                    <a:pt x="428" y="48"/>
                  </a:lnTo>
                  <a:lnTo>
                    <a:pt x="429" y="47"/>
                  </a:lnTo>
                  <a:lnTo>
                    <a:pt x="431" y="47"/>
                  </a:lnTo>
                  <a:lnTo>
                    <a:pt x="431" y="48"/>
                  </a:lnTo>
                  <a:lnTo>
                    <a:pt x="437" y="53"/>
                  </a:lnTo>
                  <a:lnTo>
                    <a:pt x="440" y="56"/>
                  </a:lnTo>
                  <a:lnTo>
                    <a:pt x="441" y="57"/>
                  </a:lnTo>
                  <a:lnTo>
                    <a:pt x="443" y="59"/>
                  </a:lnTo>
                  <a:lnTo>
                    <a:pt x="441" y="63"/>
                  </a:lnTo>
                  <a:lnTo>
                    <a:pt x="441" y="66"/>
                  </a:lnTo>
                  <a:lnTo>
                    <a:pt x="440" y="67"/>
                  </a:lnTo>
                  <a:lnTo>
                    <a:pt x="440" y="70"/>
                  </a:lnTo>
                  <a:lnTo>
                    <a:pt x="444" y="76"/>
                  </a:lnTo>
                  <a:lnTo>
                    <a:pt x="451" y="80"/>
                  </a:lnTo>
                  <a:lnTo>
                    <a:pt x="451" y="82"/>
                  </a:lnTo>
                  <a:lnTo>
                    <a:pt x="453" y="86"/>
                  </a:lnTo>
                  <a:lnTo>
                    <a:pt x="456" y="94"/>
                  </a:lnTo>
                  <a:lnTo>
                    <a:pt x="456" y="98"/>
                  </a:lnTo>
                  <a:lnTo>
                    <a:pt x="456" y="101"/>
                  </a:lnTo>
                  <a:lnTo>
                    <a:pt x="454" y="104"/>
                  </a:lnTo>
                  <a:lnTo>
                    <a:pt x="453" y="105"/>
                  </a:lnTo>
                  <a:lnTo>
                    <a:pt x="451" y="107"/>
                  </a:lnTo>
                  <a:lnTo>
                    <a:pt x="450" y="107"/>
                  </a:lnTo>
                  <a:lnTo>
                    <a:pt x="448" y="108"/>
                  </a:lnTo>
                  <a:lnTo>
                    <a:pt x="448" y="110"/>
                  </a:lnTo>
                  <a:lnTo>
                    <a:pt x="450" y="113"/>
                  </a:lnTo>
                  <a:lnTo>
                    <a:pt x="451" y="114"/>
                  </a:lnTo>
                  <a:lnTo>
                    <a:pt x="453" y="120"/>
                  </a:lnTo>
                  <a:lnTo>
                    <a:pt x="451" y="126"/>
                  </a:lnTo>
                  <a:lnTo>
                    <a:pt x="451" y="133"/>
                  </a:lnTo>
                  <a:lnTo>
                    <a:pt x="450" y="139"/>
                  </a:lnTo>
                  <a:lnTo>
                    <a:pt x="448" y="140"/>
                  </a:lnTo>
                  <a:lnTo>
                    <a:pt x="448" y="142"/>
                  </a:lnTo>
                  <a:lnTo>
                    <a:pt x="444" y="145"/>
                  </a:lnTo>
                  <a:lnTo>
                    <a:pt x="444" y="146"/>
                  </a:lnTo>
                  <a:lnTo>
                    <a:pt x="443" y="147"/>
                  </a:lnTo>
                  <a:lnTo>
                    <a:pt x="443" y="149"/>
                  </a:lnTo>
                  <a:lnTo>
                    <a:pt x="444" y="152"/>
                  </a:lnTo>
                  <a:lnTo>
                    <a:pt x="444" y="153"/>
                  </a:lnTo>
                  <a:lnTo>
                    <a:pt x="444" y="155"/>
                  </a:lnTo>
                  <a:lnTo>
                    <a:pt x="445" y="158"/>
                  </a:lnTo>
                  <a:lnTo>
                    <a:pt x="447" y="159"/>
                  </a:lnTo>
                  <a:lnTo>
                    <a:pt x="448" y="159"/>
                  </a:lnTo>
                  <a:lnTo>
                    <a:pt x="450" y="156"/>
                  </a:lnTo>
                  <a:lnTo>
                    <a:pt x="451" y="155"/>
                  </a:lnTo>
                  <a:lnTo>
                    <a:pt x="453" y="153"/>
                  </a:lnTo>
                  <a:lnTo>
                    <a:pt x="457" y="153"/>
                  </a:lnTo>
                  <a:lnTo>
                    <a:pt x="459" y="150"/>
                  </a:lnTo>
                  <a:lnTo>
                    <a:pt x="463" y="150"/>
                  </a:lnTo>
                  <a:lnTo>
                    <a:pt x="466" y="152"/>
                  </a:lnTo>
                  <a:lnTo>
                    <a:pt x="470" y="159"/>
                  </a:lnTo>
                  <a:lnTo>
                    <a:pt x="476" y="158"/>
                  </a:lnTo>
                  <a:lnTo>
                    <a:pt x="508" y="147"/>
                  </a:lnTo>
                  <a:lnTo>
                    <a:pt x="514" y="145"/>
                  </a:lnTo>
                  <a:lnTo>
                    <a:pt x="517" y="140"/>
                  </a:lnTo>
                  <a:lnTo>
                    <a:pt x="521" y="139"/>
                  </a:lnTo>
                  <a:lnTo>
                    <a:pt x="526" y="140"/>
                  </a:lnTo>
                  <a:lnTo>
                    <a:pt x="542" y="147"/>
                  </a:lnTo>
                  <a:lnTo>
                    <a:pt x="546" y="152"/>
                  </a:lnTo>
                  <a:lnTo>
                    <a:pt x="549" y="155"/>
                  </a:lnTo>
                  <a:lnTo>
                    <a:pt x="553" y="158"/>
                  </a:lnTo>
                  <a:lnTo>
                    <a:pt x="558" y="161"/>
                  </a:lnTo>
                  <a:lnTo>
                    <a:pt x="563" y="169"/>
                  </a:lnTo>
                  <a:lnTo>
                    <a:pt x="568" y="172"/>
                  </a:lnTo>
                  <a:lnTo>
                    <a:pt x="572" y="171"/>
                  </a:lnTo>
                  <a:lnTo>
                    <a:pt x="575" y="171"/>
                  </a:lnTo>
                  <a:lnTo>
                    <a:pt x="579" y="171"/>
                  </a:lnTo>
                  <a:lnTo>
                    <a:pt x="596" y="177"/>
                  </a:lnTo>
                  <a:lnTo>
                    <a:pt x="636" y="179"/>
                  </a:lnTo>
                  <a:lnTo>
                    <a:pt x="649" y="181"/>
                  </a:lnTo>
                  <a:lnTo>
                    <a:pt x="686" y="175"/>
                  </a:lnTo>
                  <a:lnTo>
                    <a:pt x="709" y="172"/>
                  </a:lnTo>
                  <a:lnTo>
                    <a:pt x="711" y="174"/>
                  </a:lnTo>
                  <a:lnTo>
                    <a:pt x="715" y="174"/>
                  </a:lnTo>
                  <a:lnTo>
                    <a:pt x="716" y="175"/>
                  </a:lnTo>
                  <a:lnTo>
                    <a:pt x="718" y="175"/>
                  </a:lnTo>
                  <a:lnTo>
                    <a:pt x="719" y="174"/>
                  </a:lnTo>
                  <a:lnTo>
                    <a:pt x="727" y="163"/>
                  </a:lnTo>
                  <a:lnTo>
                    <a:pt x="746" y="136"/>
                  </a:lnTo>
                  <a:lnTo>
                    <a:pt x="751" y="123"/>
                  </a:lnTo>
                  <a:lnTo>
                    <a:pt x="751" y="118"/>
                  </a:lnTo>
                  <a:lnTo>
                    <a:pt x="751" y="114"/>
                  </a:lnTo>
                  <a:lnTo>
                    <a:pt x="753" y="111"/>
                  </a:lnTo>
                  <a:lnTo>
                    <a:pt x="767" y="92"/>
                  </a:lnTo>
                  <a:lnTo>
                    <a:pt x="772" y="89"/>
                  </a:lnTo>
                  <a:lnTo>
                    <a:pt x="785" y="80"/>
                  </a:lnTo>
                  <a:lnTo>
                    <a:pt x="807" y="76"/>
                  </a:lnTo>
                  <a:lnTo>
                    <a:pt x="824" y="78"/>
                  </a:lnTo>
                  <a:lnTo>
                    <a:pt x="836" y="82"/>
                  </a:lnTo>
                  <a:lnTo>
                    <a:pt x="848" y="91"/>
                  </a:lnTo>
                  <a:lnTo>
                    <a:pt x="861" y="88"/>
                  </a:lnTo>
                  <a:lnTo>
                    <a:pt x="907" y="64"/>
                  </a:lnTo>
                  <a:lnTo>
                    <a:pt x="922" y="60"/>
                  </a:lnTo>
                  <a:lnTo>
                    <a:pt x="929" y="60"/>
                  </a:lnTo>
                  <a:lnTo>
                    <a:pt x="936" y="62"/>
                  </a:lnTo>
                  <a:lnTo>
                    <a:pt x="945" y="66"/>
                  </a:lnTo>
                  <a:lnTo>
                    <a:pt x="961" y="72"/>
                  </a:lnTo>
                  <a:lnTo>
                    <a:pt x="976" y="73"/>
                  </a:lnTo>
                  <a:lnTo>
                    <a:pt x="976" y="73"/>
                  </a:lnTo>
                  <a:lnTo>
                    <a:pt x="977" y="79"/>
                  </a:lnTo>
                  <a:lnTo>
                    <a:pt x="984" y="86"/>
                  </a:lnTo>
                  <a:lnTo>
                    <a:pt x="1008" y="95"/>
                  </a:lnTo>
                  <a:lnTo>
                    <a:pt x="1015" y="99"/>
                  </a:lnTo>
                  <a:lnTo>
                    <a:pt x="1015" y="99"/>
                  </a:lnTo>
                  <a:lnTo>
                    <a:pt x="1022" y="104"/>
                  </a:lnTo>
                  <a:lnTo>
                    <a:pt x="1038" y="110"/>
                  </a:lnTo>
                  <a:lnTo>
                    <a:pt x="1047" y="113"/>
                  </a:lnTo>
                  <a:lnTo>
                    <a:pt x="1052" y="117"/>
                  </a:lnTo>
                  <a:lnTo>
                    <a:pt x="1059" y="124"/>
                  </a:lnTo>
                  <a:lnTo>
                    <a:pt x="1062" y="131"/>
                  </a:lnTo>
                  <a:lnTo>
                    <a:pt x="1059" y="139"/>
                  </a:lnTo>
                  <a:lnTo>
                    <a:pt x="1060" y="153"/>
                  </a:lnTo>
                  <a:lnTo>
                    <a:pt x="1063" y="177"/>
                  </a:lnTo>
                  <a:lnTo>
                    <a:pt x="1063" y="177"/>
                  </a:lnTo>
                  <a:lnTo>
                    <a:pt x="1065" y="187"/>
                  </a:lnTo>
                  <a:lnTo>
                    <a:pt x="1065" y="191"/>
                  </a:lnTo>
                  <a:lnTo>
                    <a:pt x="1072" y="203"/>
                  </a:lnTo>
                  <a:lnTo>
                    <a:pt x="1079" y="212"/>
                  </a:lnTo>
                  <a:lnTo>
                    <a:pt x="1085" y="222"/>
                  </a:lnTo>
                  <a:lnTo>
                    <a:pt x="1082" y="239"/>
                  </a:lnTo>
                  <a:lnTo>
                    <a:pt x="1084" y="241"/>
                  </a:lnTo>
                  <a:lnTo>
                    <a:pt x="1085" y="242"/>
                  </a:lnTo>
                  <a:lnTo>
                    <a:pt x="1085" y="242"/>
                  </a:lnTo>
                  <a:lnTo>
                    <a:pt x="1084" y="245"/>
                  </a:lnTo>
                  <a:lnTo>
                    <a:pt x="1079" y="254"/>
                  </a:lnTo>
                  <a:lnTo>
                    <a:pt x="1075" y="268"/>
                  </a:lnTo>
                  <a:lnTo>
                    <a:pt x="1072" y="284"/>
                  </a:lnTo>
                  <a:lnTo>
                    <a:pt x="1072" y="297"/>
                  </a:lnTo>
                  <a:lnTo>
                    <a:pt x="1070" y="305"/>
                  </a:lnTo>
                  <a:lnTo>
                    <a:pt x="1069" y="309"/>
                  </a:lnTo>
                  <a:lnTo>
                    <a:pt x="1069" y="309"/>
                  </a:lnTo>
                  <a:lnTo>
                    <a:pt x="1066" y="311"/>
                  </a:lnTo>
                  <a:lnTo>
                    <a:pt x="1066" y="311"/>
                  </a:lnTo>
                  <a:lnTo>
                    <a:pt x="1065" y="315"/>
                  </a:lnTo>
                  <a:lnTo>
                    <a:pt x="1063" y="315"/>
                  </a:lnTo>
                  <a:lnTo>
                    <a:pt x="1063" y="315"/>
                  </a:lnTo>
                  <a:lnTo>
                    <a:pt x="1063" y="321"/>
                  </a:lnTo>
                  <a:lnTo>
                    <a:pt x="1063" y="331"/>
                  </a:lnTo>
                  <a:lnTo>
                    <a:pt x="1062" y="337"/>
                  </a:lnTo>
                  <a:lnTo>
                    <a:pt x="1047" y="376"/>
                  </a:lnTo>
                  <a:lnTo>
                    <a:pt x="1030" y="418"/>
                  </a:lnTo>
                  <a:lnTo>
                    <a:pt x="1030" y="418"/>
                  </a:lnTo>
                  <a:lnTo>
                    <a:pt x="1017" y="431"/>
                  </a:lnTo>
                  <a:lnTo>
                    <a:pt x="1017" y="431"/>
                  </a:lnTo>
                  <a:lnTo>
                    <a:pt x="1012" y="440"/>
                  </a:lnTo>
                  <a:lnTo>
                    <a:pt x="1012" y="450"/>
                  </a:lnTo>
                  <a:lnTo>
                    <a:pt x="1012" y="450"/>
                  </a:lnTo>
                  <a:lnTo>
                    <a:pt x="1006" y="465"/>
                  </a:lnTo>
                  <a:lnTo>
                    <a:pt x="1003" y="471"/>
                  </a:lnTo>
                  <a:lnTo>
                    <a:pt x="999" y="475"/>
                  </a:lnTo>
                  <a:lnTo>
                    <a:pt x="993" y="477"/>
                  </a:lnTo>
                  <a:lnTo>
                    <a:pt x="986" y="477"/>
                  </a:lnTo>
                  <a:lnTo>
                    <a:pt x="973" y="474"/>
                  </a:lnTo>
                  <a:lnTo>
                    <a:pt x="960" y="463"/>
                  </a:lnTo>
                  <a:lnTo>
                    <a:pt x="955" y="460"/>
                  </a:lnTo>
                  <a:lnTo>
                    <a:pt x="944" y="458"/>
                  </a:lnTo>
                  <a:lnTo>
                    <a:pt x="941" y="453"/>
                  </a:lnTo>
                  <a:lnTo>
                    <a:pt x="941" y="453"/>
                  </a:lnTo>
                  <a:lnTo>
                    <a:pt x="942" y="443"/>
                  </a:lnTo>
                  <a:lnTo>
                    <a:pt x="948" y="430"/>
                  </a:lnTo>
                  <a:lnTo>
                    <a:pt x="951" y="423"/>
                  </a:lnTo>
                  <a:lnTo>
                    <a:pt x="951" y="423"/>
                  </a:lnTo>
                  <a:lnTo>
                    <a:pt x="948" y="415"/>
                  </a:lnTo>
                  <a:lnTo>
                    <a:pt x="945" y="415"/>
                  </a:lnTo>
                  <a:lnTo>
                    <a:pt x="925" y="424"/>
                  </a:lnTo>
                  <a:lnTo>
                    <a:pt x="922" y="421"/>
                  </a:lnTo>
                  <a:lnTo>
                    <a:pt x="922" y="421"/>
                  </a:lnTo>
                  <a:lnTo>
                    <a:pt x="923" y="414"/>
                  </a:lnTo>
                  <a:lnTo>
                    <a:pt x="928" y="407"/>
                  </a:lnTo>
                  <a:lnTo>
                    <a:pt x="931" y="399"/>
                  </a:lnTo>
                  <a:lnTo>
                    <a:pt x="931" y="391"/>
                  </a:lnTo>
                  <a:lnTo>
                    <a:pt x="931" y="391"/>
                  </a:lnTo>
                  <a:lnTo>
                    <a:pt x="929" y="386"/>
                  </a:lnTo>
                  <a:lnTo>
                    <a:pt x="928" y="382"/>
                  </a:lnTo>
                  <a:lnTo>
                    <a:pt x="923" y="376"/>
                  </a:lnTo>
                  <a:lnTo>
                    <a:pt x="919" y="373"/>
                  </a:lnTo>
                  <a:lnTo>
                    <a:pt x="909" y="370"/>
                  </a:lnTo>
                  <a:lnTo>
                    <a:pt x="904" y="367"/>
                  </a:lnTo>
                  <a:lnTo>
                    <a:pt x="901" y="363"/>
                  </a:lnTo>
                  <a:lnTo>
                    <a:pt x="900" y="360"/>
                  </a:lnTo>
                  <a:lnTo>
                    <a:pt x="900" y="357"/>
                  </a:lnTo>
                  <a:lnTo>
                    <a:pt x="897" y="351"/>
                  </a:lnTo>
                  <a:lnTo>
                    <a:pt x="894" y="360"/>
                  </a:lnTo>
                  <a:lnTo>
                    <a:pt x="891" y="361"/>
                  </a:lnTo>
                  <a:lnTo>
                    <a:pt x="878" y="361"/>
                  </a:lnTo>
                  <a:lnTo>
                    <a:pt x="868" y="366"/>
                  </a:lnTo>
                  <a:lnTo>
                    <a:pt x="865" y="364"/>
                  </a:lnTo>
                  <a:lnTo>
                    <a:pt x="861" y="363"/>
                  </a:lnTo>
                  <a:lnTo>
                    <a:pt x="858" y="360"/>
                  </a:lnTo>
                  <a:lnTo>
                    <a:pt x="856" y="357"/>
                  </a:lnTo>
                  <a:lnTo>
                    <a:pt x="853" y="354"/>
                  </a:lnTo>
                  <a:lnTo>
                    <a:pt x="842" y="350"/>
                  </a:lnTo>
                  <a:lnTo>
                    <a:pt x="830" y="353"/>
                  </a:lnTo>
                  <a:lnTo>
                    <a:pt x="821" y="360"/>
                  </a:lnTo>
                  <a:lnTo>
                    <a:pt x="817" y="376"/>
                  </a:lnTo>
                  <a:lnTo>
                    <a:pt x="813" y="382"/>
                  </a:lnTo>
                  <a:lnTo>
                    <a:pt x="813" y="382"/>
                  </a:lnTo>
                  <a:lnTo>
                    <a:pt x="817" y="385"/>
                  </a:lnTo>
                  <a:lnTo>
                    <a:pt x="829" y="386"/>
                  </a:lnTo>
                  <a:lnTo>
                    <a:pt x="836" y="389"/>
                  </a:lnTo>
                  <a:lnTo>
                    <a:pt x="836" y="389"/>
                  </a:lnTo>
                  <a:lnTo>
                    <a:pt x="834" y="391"/>
                  </a:lnTo>
                  <a:lnTo>
                    <a:pt x="832" y="392"/>
                  </a:lnTo>
                  <a:lnTo>
                    <a:pt x="832" y="398"/>
                  </a:lnTo>
                  <a:lnTo>
                    <a:pt x="832" y="398"/>
                  </a:lnTo>
                  <a:lnTo>
                    <a:pt x="840" y="407"/>
                  </a:lnTo>
                  <a:lnTo>
                    <a:pt x="853" y="411"/>
                  </a:lnTo>
                  <a:lnTo>
                    <a:pt x="862" y="415"/>
                  </a:lnTo>
                  <a:lnTo>
                    <a:pt x="862" y="415"/>
                  </a:lnTo>
                  <a:lnTo>
                    <a:pt x="861" y="430"/>
                  </a:lnTo>
                  <a:lnTo>
                    <a:pt x="850" y="439"/>
                  </a:lnTo>
                  <a:lnTo>
                    <a:pt x="823" y="436"/>
                  </a:lnTo>
                  <a:lnTo>
                    <a:pt x="811" y="439"/>
                  </a:lnTo>
                  <a:lnTo>
                    <a:pt x="807" y="443"/>
                  </a:lnTo>
                  <a:lnTo>
                    <a:pt x="801" y="452"/>
                  </a:lnTo>
                  <a:lnTo>
                    <a:pt x="797" y="456"/>
                  </a:lnTo>
                  <a:lnTo>
                    <a:pt x="743" y="481"/>
                  </a:lnTo>
                  <a:lnTo>
                    <a:pt x="735" y="481"/>
                  </a:lnTo>
                  <a:lnTo>
                    <a:pt x="722" y="479"/>
                  </a:lnTo>
                  <a:lnTo>
                    <a:pt x="716" y="481"/>
                  </a:lnTo>
                  <a:lnTo>
                    <a:pt x="712" y="484"/>
                  </a:lnTo>
                  <a:lnTo>
                    <a:pt x="706" y="491"/>
                  </a:lnTo>
                  <a:lnTo>
                    <a:pt x="703" y="493"/>
                  </a:lnTo>
                  <a:lnTo>
                    <a:pt x="699" y="494"/>
                  </a:lnTo>
                  <a:lnTo>
                    <a:pt x="696" y="493"/>
                  </a:lnTo>
                  <a:lnTo>
                    <a:pt x="693" y="493"/>
                  </a:lnTo>
                  <a:lnTo>
                    <a:pt x="690" y="497"/>
                  </a:lnTo>
                  <a:lnTo>
                    <a:pt x="689" y="503"/>
                  </a:lnTo>
                  <a:lnTo>
                    <a:pt x="689" y="503"/>
                  </a:lnTo>
                  <a:lnTo>
                    <a:pt x="689" y="507"/>
                  </a:lnTo>
                  <a:lnTo>
                    <a:pt x="689" y="511"/>
                  </a:lnTo>
                  <a:lnTo>
                    <a:pt x="689" y="511"/>
                  </a:lnTo>
                  <a:lnTo>
                    <a:pt x="689" y="513"/>
                  </a:lnTo>
                  <a:lnTo>
                    <a:pt x="687" y="517"/>
                  </a:lnTo>
                  <a:lnTo>
                    <a:pt x="684" y="517"/>
                  </a:lnTo>
                  <a:lnTo>
                    <a:pt x="683" y="517"/>
                  </a:lnTo>
                  <a:lnTo>
                    <a:pt x="673" y="525"/>
                  </a:lnTo>
                  <a:lnTo>
                    <a:pt x="667" y="526"/>
                  </a:lnTo>
                  <a:lnTo>
                    <a:pt x="651" y="523"/>
                  </a:lnTo>
                  <a:lnTo>
                    <a:pt x="642" y="525"/>
                  </a:lnTo>
                  <a:lnTo>
                    <a:pt x="629" y="529"/>
                  </a:lnTo>
                  <a:lnTo>
                    <a:pt x="623" y="530"/>
                  </a:lnTo>
                  <a:lnTo>
                    <a:pt x="591" y="530"/>
                  </a:lnTo>
                  <a:lnTo>
                    <a:pt x="577" y="533"/>
                  </a:lnTo>
                  <a:lnTo>
                    <a:pt x="562" y="542"/>
                  </a:lnTo>
                  <a:lnTo>
                    <a:pt x="562" y="542"/>
                  </a:lnTo>
                  <a:lnTo>
                    <a:pt x="566" y="551"/>
                  </a:lnTo>
                  <a:lnTo>
                    <a:pt x="566" y="551"/>
                  </a:lnTo>
                  <a:lnTo>
                    <a:pt x="565" y="558"/>
                  </a:lnTo>
                  <a:lnTo>
                    <a:pt x="559" y="564"/>
                  </a:lnTo>
                  <a:lnTo>
                    <a:pt x="553" y="568"/>
                  </a:lnTo>
                  <a:lnTo>
                    <a:pt x="553" y="568"/>
                  </a:lnTo>
                  <a:lnTo>
                    <a:pt x="556" y="573"/>
                  </a:lnTo>
                  <a:lnTo>
                    <a:pt x="556" y="573"/>
                  </a:lnTo>
                  <a:lnTo>
                    <a:pt x="556" y="576"/>
                  </a:lnTo>
                  <a:lnTo>
                    <a:pt x="553" y="578"/>
                  </a:lnTo>
                  <a:lnTo>
                    <a:pt x="550" y="580"/>
                  </a:lnTo>
                  <a:lnTo>
                    <a:pt x="545" y="587"/>
                  </a:lnTo>
                  <a:lnTo>
                    <a:pt x="539" y="593"/>
                  </a:lnTo>
                  <a:lnTo>
                    <a:pt x="531" y="594"/>
                  </a:lnTo>
                  <a:lnTo>
                    <a:pt x="524" y="592"/>
                  </a:lnTo>
                  <a:lnTo>
                    <a:pt x="521" y="589"/>
                  </a:lnTo>
                  <a:lnTo>
                    <a:pt x="517" y="580"/>
                  </a:lnTo>
                  <a:lnTo>
                    <a:pt x="515" y="578"/>
                  </a:lnTo>
                  <a:lnTo>
                    <a:pt x="511" y="576"/>
                  </a:lnTo>
                  <a:lnTo>
                    <a:pt x="510" y="577"/>
                  </a:lnTo>
                  <a:lnTo>
                    <a:pt x="510" y="578"/>
                  </a:lnTo>
                  <a:lnTo>
                    <a:pt x="508" y="581"/>
                  </a:lnTo>
                  <a:lnTo>
                    <a:pt x="495" y="590"/>
                  </a:lnTo>
                  <a:lnTo>
                    <a:pt x="492" y="594"/>
                  </a:lnTo>
                  <a:lnTo>
                    <a:pt x="489" y="605"/>
                  </a:lnTo>
                  <a:lnTo>
                    <a:pt x="482" y="609"/>
                  </a:lnTo>
                  <a:lnTo>
                    <a:pt x="476" y="606"/>
                  </a:lnTo>
                  <a:lnTo>
                    <a:pt x="470" y="602"/>
                  </a:lnTo>
                  <a:lnTo>
                    <a:pt x="463" y="602"/>
                  </a:lnTo>
                  <a:lnTo>
                    <a:pt x="451" y="632"/>
                  </a:lnTo>
                  <a:lnTo>
                    <a:pt x="447" y="641"/>
                  </a:lnTo>
                  <a:lnTo>
                    <a:pt x="438" y="648"/>
                  </a:lnTo>
                  <a:lnTo>
                    <a:pt x="419" y="647"/>
                  </a:lnTo>
                  <a:lnTo>
                    <a:pt x="411" y="650"/>
                  </a:lnTo>
                  <a:lnTo>
                    <a:pt x="411" y="650"/>
                  </a:lnTo>
                  <a:lnTo>
                    <a:pt x="411" y="650"/>
                  </a:lnTo>
                  <a:lnTo>
                    <a:pt x="411" y="650"/>
                  </a:lnTo>
                  <a:lnTo>
                    <a:pt x="406" y="651"/>
                  </a:lnTo>
                  <a:lnTo>
                    <a:pt x="403" y="651"/>
                  </a:lnTo>
                  <a:lnTo>
                    <a:pt x="400" y="651"/>
                  </a:lnTo>
                  <a:lnTo>
                    <a:pt x="397" y="650"/>
                  </a:lnTo>
                  <a:lnTo>
                    <a:pt x="394" y="648"/>
                  </a:lnTo>
                  <a:lnTo>
                    <a:pt x="392" y="647"/>
                  </a:lnTo>
                  <a:lnTo>
                    <a:pt x="389" y="648"/>
                  </a:lnTo>
                  <a:lnTo>
                    <a:pt x="386" y="650"/>
                  </a:lnTo>
                  <a:lnTo>
                    <a:pt x="384" y="672"/>
                  </a:lnTo>
                  <a:lnTo>
                    <a:pt x="381" y="682"/>
                  </a:lnTo>
                  <a:lnTo>
                    <a:pt x="377" y="688"/>
                  </a:lnTo>
                  <a:lnTo>
                    <a:pt x="365" y="698"/>
                  </a:lnTo>
                  <a:lnTo>
                    <a:pt x="354" y="698"/>
                  </a:lnTo>
                  <a:lnTo>
                    <a:pt x="322" y="677"/>
                  </a:lnTo>
                  <a:lnTo>
                    <a:pt x="319" y="677"/>
                  </a:lnTo>
                  <a:lnTo>
                    <a:pt x="316" y="677"/>
                  </a:lnTo>
                  <a:lnTo>
                    <a:pt x="311" y="680"/>
                  </a:lnTo>
                  <a:lnTo>
                    <a:pt x="309" y="682"/>
                  </a:lnTo>
                  <a:lnTo>
                    <a:pt x="303" y="680"/>
                  </a:lnTo>
                  <a:lnTo>
                    <a:pt x="297" y="682"/>
                  </a:lnTo>
                  <a:lnTo>
                    <a:pt x="291" y="683"/>
                  </a:lnTo>
                  <a:lnTo>
                    <a:pt x="287" y="688"/>
                  </a:lnTo>
                  <a:lnTo>
                    <a:pt x="279" y="699"/>
                  </a:lnTo>
                  <a:lnTo>
                    <a:pt x="275" y="704"/>
                  </a:lnTo>
                  <a:lnTo>
                    <a:pt x="271" y="704"/>
                  </a:lnTo>
                  <a:lnTo>
                    <a:pt x="252" y="701"/>
                  </a:lnTo>
                  <a:lnTo>
                    <a:pt x="227" y="702"/>
                  </a:lnTo>
                  <a:lnTo>
                    <a:pt x="212" y="707"/>
                  </a:lnTo>
                  <a:lnTo>
                    <a:pt x="202" y="715"/>
                  </a:lnTo>
                  <a:lnTo>
                    <a:pt x="201" y="717"/>
                  </a:lnTo>
                  <a:lnTo>
                    <a:pt x="199" y="720"/>
                  </a:lnTo>
                  <a:lnTo>
                    <a:pt x="198" y="723"/>
                  </a:lnTo>
                  <a:lnTo>
                    <a:pt x="198" y="725"/>
                  </a:lnTo>
                  <a:lnTo>
                    <a:pt x="198" y="725"/>
                  </a:lnTo>
                  <a:lnTo>
                    <a:pt x="198" y="725"/>
                  </a:lnTo>
                  <a:lnTo>
                    <a:pt x="198" y="728"/>
                  </a:lnTo>
                  <a:lnTo>
                    <a:pt x="198" y="730"/>
                  </a:lnTo>
                  <a:lnTo>
                    <a:pt x="198" y="730"/>
                  </a:lnTo>
                  <a:lnTo>
                    <a:pt x="198" y="733"/>
                  </a:lnTo>
                  <a:lnTo>
                    <a:pt x="196" y="733"/>
                  </a:lnTo>
                  <a:lnTo>
                    <a:pt x="192" y="733"/>
                  </a:lnTo>
                  <a:lnTo>
                    <a:pt x="192" y="734"/>
                  </a:lnTo>
                  <a:lnTo>
                    <a:pt x="188" y="737"/>
                  </a:lnTo>
                  <a:lnTo>
                    <a:pt x="177" y="743"/>
                  </a:lnTo>
                  <a:lnTo>
                    <a:pt x="173" y="746"/>
                  </a:lnTo>
                  <a:lnTo>
                    <a:pt x="163" y="766"/>
                  </a:lnTo>
                  <a:lnTo>
                    <a:pt x="158" y="771"/>
                  </a:lnTo>
                  <a:lnTo>
                    <a:pt x="154" y="774"/>
                  </a:lnTo>
                  <a:lnTo>
                    <a:pt x="151" y="778"/>
                  </a:lnTo>
                  <a:lnTo>
                    <a:pt x="151" y="785"/>
                  </a:lnTo>
                  <a:lnTo>
                    <a:pt x="144" y="795"/>
                  </a:lnTo>
                  <a:lnTo>
                    <a:pt x="142" y="800"/>
                  </a:lnTo>
                  <a:lnTo>
                    <a:pt x="141" y="810"/>
                  </a:lnTo>
                  <a:lnTo>
                    <a:pt x="141" y="810"/>
                  </a:lnTo>
                  <a:lnTo>
                    <a:pt x="142" y="816"/>
                  </a:lnTo>
                  <a:lnTo>
                    <a:pt x="144" y="822"/>
                  </a:lnTo>
                  <a:lnTo>
                    <a:pt x="144" y="826"/>
                  </a:lnTo>
                  <a:lnTo>
                    <a:pt x="140" y="830"/>
                  </a:lnTo>
                  <a:lnTo>
                    <a:pt x="134" y="829"/>
                  </a:lnTo>
                  <a:lnTo>
                    <a:pt x="129" y="824"/>
                  </a:lnTo>
                  <a:lnTo>
                    <a:pt x="126" y="808"/>
                  </a:lnTo>
                  <a:lnTo>
                    <a:pt x="125" y="806"/>
                  </a:lnTo>
                  <a:lnTo>
                    <a:pt x="125" y="803"/>
                  </a:lnTo>
                  <a:lnTo>
                    <a:pt x="124" y="800"/>
                  </a:lnTo>
                  <a:lnTo>
                    <a:pt x="122" y="797"/>
                  </a:lnTo>
                  <a:lnTo>
                    <a:pt x="116" y="791"/>
                  </a:lnTo>
                  <a:lnTo>
                    <a:pt x="115" y="790"/>
                  </a:lnTo>
                  <a:lnTo>
                    <a:pt x="115" y="790"/>
                  </a:lnTo>
                  <a:lnTo>
                    <a:pt x="115" y="790"/>
                  </a:lnTo>
                  <a:lnTo>
                    <a:pt x="115" y="788"/>
                  </a:lnTo>
                  <a:lnTo>
                    <a:pt x="116" y="787"/>
                  </a:lnTo>
                  <a:lnTo>
                    <a:pt x="116" y="787"/>
                  </a:lnTo>
                  <a:lnTo>
                    <a:pt x="116" y="787"/>
                  </a:lnTo>
                  <a:lnTo>
                    <a:pt x="118" y="787"/>
                  </a:lnTo>
                  <a:lnTo>
                    <a:pt x="118" y="785"/>
                  </a:lnTo>
                  <a:lnTo>
                    <a:pt x="119" y="782"/>
                  </a:lnTo>
                  <a:lnTo>
                    <a:pt x="119" y="781"/>
                  </a:lnTo>
                  <a:lnTo>
                    <a:pt x="119" y="781"/>
                  </a:lnTo>
                  <a:lnTo>
                    <a:pt x="118" y="778"/>
                  </a:lnTo>
                  <a:lnTo>
                    <a:pt x="116" y="776"/>
                  </a:lnTo>
                  <a:lnTo>
                    <a:pt x="106" y="776"/>
                  </a:lnTo>
                  <a:lnTo>
                    <a:pt x="100" y="775"/>
                  </a:lnTo>
                  <a:lnTo>
                    <a:pt x="97" y="772"/>
                  </a:lnTo>
                  <a:lnTo>
                    <a:pt x="96" y="768"/>
                  </a:lnTo>
                  <a:lnTo>
                    <a:pt x="96" y="768"/>
                  </a:lnTo>
                  <a:lnTo>
                    <a:pt x="96" y="758"/>
                  </a:lnTo>
                  <a:lnTo>
                    <a:pt x="96" y="758"/>
                  </a:lnTo>
                  <a:lnTo>
                    <a:pt x="93" y="753"/>
                  </a:lnTo>
                  <a:lnTo>
                    <a:pt x="87" y="749"/>
                  </a:lnTo>
                  <a:lnTo>
                    <a:pt x="70" y="747"/>
                  </a:lnTo>
                  <a:lnTo>
                    <a:pt x="68" y="743"/>
                  </a:lnTo>
                  <a:lnTo>
                    <a:pt x="58" y="740"/>
                  </a:lnTo>
                  <a:lnTo>
                    <a:pt x="54" y="740"/>
                  </a:lnTo>
                  <a:lnTo>
                    <a:pt x="52" y="740"/>
                  </a:lnTo>
                  <a:lnTo>
                    <a:pt x="51" y="740"/>
                  </a:lnTo>
                  <a:lnTo>
                    <a:pt x="49" y="740"/>
                  </a:lnTo>
                  <a:lnTo>
                    <a:pt x="35" y="730"/>
                  </a:lnTo>
                  <a:lnTo>
                    <a:pt x="32" y="728"/>
                  </a:lnTo>
                  <a:lnTo>
                    <a:pt x="30" y="727"/>
                  </a:lnTo>
                  <a:lnTo>
                    <a:pt x="29" y="717"/>
                  </a:lnTo>
                  <a:lnTo>
                    <a:pt x="29" y="714"/>
                  </a:lnTo>
                  <a:lnTo>
                    <a:pt x="29" y="712"/>
                  </a:lnTo>
                  <a:lnTo>
                    <a:pt x="30" y="711"/>
                  </a:lnTo>
                  <a:lnTo>
                    <a:pt x="29" y="708"/>
                  </a:lnTo>
                  <a:lnTo>
                    <a:pt x="22" y="704"/>
                  </a:lnTo>
                  <a:lnTo>
                    <a:pt x="17" y="698"/>
                  </a:lnTo>
                  <a:lnTo>
                    <a:pt x="17" y="696"/>
                  </a:lnTo>
                  <a:lnTo>
                    <a:pt x="16" y="696"/>
                  </a:lnTo>
                  <a:lnTo>
                    <a:pt x="16" y="695"/>
                  </a:lnTo>
                  <a:lnTo>
                    <a:pt x="14" y="693"/>
                  </a:lnTo>
                  <a:lnTo>
                    <a:pt x="11" y="692"/>
                  </a:lnTo>
                  <a:lnTo>
                    <a:pt x="3" y="692"/>
                  </a:lnTo>
                  <a:lnTo>
                    <a:pt x="0" y="688"/>
                  </a:lnTo>
                  <a:lnTo>
                    <a:pt x="0" y="686"/>
                  </a:lnTo>
                  <a:lnTo>
                    <a:pt x="0" y="685"/>
                  </a:lnTo>
                  <a:lnTo>
                    <a:pt x="3" y="683"/>
                  </a:lnTo>
                  <a:lnTo>
                    <a:pt x="4" y="682"/>
                  </a:lnTo>
                  <a:lnTo>
                    <a:pt x="6" y="680"/>
                  </a:lnTo>
                  <a:lnTo>
                    <a:pt x="11" y="679"/>
                  </a:lnTo>
                  <a:lnTo>
                    <a:pt x="13" y="677"/>
                  </a:lnTo>
                  <a:lnTo>
                    <a:pt x="13" y="676"/>
                  </a:lnTo>
                  <a:lnTo>
                    <a:pt x="13" y="673"/>
                  </a:lnTo>
                  <a:lnTo>
                    <a:pt x="13" y="672"/>
                  </a:lnTo>
                  <a:lnTo>
                    <a:pt x="16" y="669"/>
                  </a:lnTo>
                  <a:lnTo>
                    <a:pt x="17" y="667"/>
                  </a:lnTo>
                  <a:lnTo>
                    <a:pt x="17" y="661"/>
                  </a:lnTo>
                  <a:lnTo>
                    <a:pt x="16" y="660"/>
                  </a:lnTo>
                  <a:lnTo>
                    <a:pt x="16" y="659"/>
                  </a:lnTo>
                  <a:lnTo>
                    <a:pt x="11" y="656"/>
                  </a:lnTo>
                  <a:lnTo>
                    <a:pt x="10" y="654"/>
                  </a:lnTo>
                  <a:lnTo>
                    <a:pt x="10" y="653"/>
                  </a:lnTo>
                  <a:lnTo>
                    <a:pt x="10" y="651"/>
                  </a:lnTo>
                  <a:lnTo>
                    <a:pt x="10" y="648"/>
                  </a:lnTo>
                  <a:lnTo>
                    <a:pt x="13" y="642"/>
                  </a:lnTo>
                  <a:lnTo>
                    <a:pt x="16" y="638"/>
                  </a:lnTo>
                  <a:lnTo>
                    <a:pt x="24" y="631"/>
                  </a:lnTo>
                  <a:lnTo>
                    <a:pt x="29" y="626"/>
                  </a:lnTo>
                  <a:lnTo>
                    <a:pt x="29" y="625"/>
                  </a:lnTo>
                  <a:lnTo>
                    <a:pt x="30" y="624"/>
                  </a:lnTo>
                  <a:lnTo>
                    <a:pt x="30" y="622"/>
                  </a:lnTo>
                  <a:lnTo>
                    <a:pt x="32" y="621"/>
                  </a:lnTo>
                  <a:lnTo>
                    <a:pt x="33" y="621"/>
                  </a:lnTo>
                  <a:lnTo>
                    <a:pt x="36" y="621"/>
                  </a:lnTo>
                  <a:lnTo>
                    <a:pt x="39" y="621"/>
                  </a:lnTo>
                  <a:lnTo>
                    <a:pt x="40" y="622"/>
                  </a:lnTo>
                  <a:lnTo>
                    <a:pt x="42" y="622"/>
                  </a:lnTo>
                  <a:lnTo>
                    <a:pt x="43" y="626"/>
                  </a:lnTo>
                  <a:lnTo>
                    <a:pt x="43" y="626"/>
                  </a:lnTo>
                  <a:lnTo>
                    <a:pt x="45" y="628"/>
                  </a:lnTo>
                  <a:lnTo>
                    <a:pt x="46" y="628"/>
                  </a:lnTo>
                  <a:lnTo>
                    <a:pt x="48" y="629"/>
                  </a:lnTo>
                  <a:lnTo>
                    <a:pt x="49" y="629"/>
                  </a:lnTo>
                  <a:lnTo>
                    <a:pt x="51" y="629"/>
                  </a:lnTo>
                  <a:lnTo>
                    <a:pt x="52" y="629"/>
                  </a:lnTo>
                  <a:lnTo>
                    <a:pt x="55" y="626"/>
                  </a:lnTo>
                  <a:lnTo>
                    <a:pt x="64" y="613"/>
                  </a:lnTo>
                  <a:lnTo>
                    <a:pt x="68" y="612"/>
                  </a:lnTo>
                  <a:lnTo>
                    <a:pt x="71" y="613"/>
                  </a:lnTo>
                  <a:lnTo>
                    <a:pt x="73" y="613"/>
                  </a:lnTo>
                  <a:lnTo>
                    <a:pt x="74" y="615"/>
                  </a:lnTo>
                  <a:lnTo>
                    <a:pt x="75" y="615"/>
                  </a:lnTo>
                  <a:lnTo>
                    <a:pt x="77" y="615"/>
                  </a:lnTo>
                  <a:lnTo>
                    <a:pt x="78" y="615"/>
                  </a:lnTo>
                  <a:lnTo>
                    <a:pt x="83" y="613"/>
                  </a:lnTo>
                  <a:lnTo>
                    <a:pt x="86" y="612"/>
                  </a:lnTo>
                  <a:lnTo>
                    <a:pt x="87" y="610"/>
                  </a:lnTo>
                  <a:lnTo>
                    <a:pt x="89" y="609"/>
                  </a:lnTo>
                  <a:lnTo>
                    <a:pt x="90" y="605"/>
                  </a:lnTo>
                  <a:lnTo>
                    <a:pt x="91" y="600"/>
                  </a:lnTo>
                  <a:lnTo>
                    <a:pt x="90" y="590"/>
                  </a:lnTo>
                  <a:lnTo>
                    <a:pt x="97" y="581"/>
                  </a:lnTo>
                  <a:lnTo>
                    <a:pt x="99" y="578"/>
                  </a:lnTo>
                  <a:lnTo>
                    <a:pt x="100" y="577"/>
                  </a:lnTo>
                  <a:lnTo>
                    <a:pt x="102" y="577"/>
                  </a:lnTo>
                  <a:lnTo>
                    <a:pt x="107" y="577"/>
                  </a:lnTo>
                  <a:lnTo>
                    <a:pt x="115" y="578"/>
                  </a:lnTo>
                  <a:lnTo>
                    <a:pt x="124" y="577"/>
                  </a:lnTo>
                  <a:lnTo>
                    <a:pt x="125" y="577"/>
                  </a:lnTo>
                  <a:lnTo>
                    <a:pt x="135" y="568"/>
                  </a:lnTo>
                  <a:lnTo>
                    <a:pt x="138" y="565"/>
                  </a:lnTo>
                  <a:lnTo>
                    <a:pt x="140" y="564"/>
                  </a:lnTo>
                  <a:lnTo>
                    <a:pt x="147" y="551"/>
                  </a:lnTo>
                  <a:lnTo>
                    <a:pt x="144" y="549"/>
                  </a:lnTo>
                  <a:lnTo>
                    <a:pt x="140" y="551"/>
                  </a:lnTo>
                  <a:lnTo>
                    <a:pt x="135" y="551"/>
                  </a:lnTo>
                  <a:lnTo>
                    <a:pt x="134" y="549"/>
                  </a:lnTo>
                  <a:lnTo>
                    <a:pt x="134" y="549"/>
                  </a:lnTo>
                  <a:lnTo>
                    <a:pt x="132" y="548"/>
                  </a:lnTo>
                  <a:lnTo>
                    <a:pt x="131" y="546"/>
                  </a:lnTo>
                  <a:lnTo>
                    <a:pt x="129" y="545"/>
                  </a:lnTo>
                  <a:lnTo>
                    <a:pt x="128" y="539"/>
                  </a:lnTo>
                  <a:lnTo>
                    <a:pt x="128" y="536"/>
                  </a:lnTo>
                  <a:lnTo>
                    <a:pt x="128" y="533"/>
                  </a:lnTo>
                  <a:lnTo>
                    <a:pt x="129" y="530"/>
                  </a:lnTo>
                  <a:lnTo>
                    <a:pt x="129" y="529"/>
                  </a:lnTo>
                  <a:lnTo>
                    <a:pt x="128" y="527"/>
                  </a:lnTo>
                  <a:lnTo>
                    <a:pt x="126" y="525"/>
                  </a:lnTo>
                  <a:lnTo>
                    <a:pt x="125" y="525"/>
                  </a:lnTo>
                  <a:lnTo>
                    <a:pt x="124" y="525"/>
                  </a:lnTo>
                  <a:lnTo>
                    <a:pt x="122" y="525"/>
                  </a:lnTo>
                  <a:lnTo>
                    <a:pt x="121" y="526"/>
                  </a:lnTo>
                  <a:lnTo>
                    <a:pt x="119" y="525"/>
                  </a:lnTo>
                  <a:lnTo>
                    <a:pt x="119" y="523"/>
                  </a:lnTo>
                  <a:lnTo>
                    <a:pt x="119" y="520"/>
                  </a:lnTo>
                  <a:lnTo>
                    <a:pt x="122" y="514"/>
                  </a:lnTo>
                  <a:lnTo>
                    <a:pt x="124" y="511"/>
                  </a:lnTo>
                  <a:lnTo>
                    <a:pt x="125" y="511"/>
                  </a:lnTo>
                  <a:lnTo>
                    <a:pt x="128" y="511"/>
                  </a:lnTo>
                  <a:lnTo>
                    <a:pt x="128" y="510"/>
                  </a:lnTo>
                  <a:lnTo>
                    <a:pt x="129" y="510"/>
                  </a:lnTo>
                  <a:lnTo>
                    <a:pt x="129" y="510"/>
                  </a:lnTo>
                  <a:lnTo>
                    <a:pt x="132" y="507"/>
                  </a:lnTo>
                  <a:lnTo>
                    <a:pt x="135" y="504"/>
                  </a:lnTo>
                  <a:lnTo>
                    <a:pt x="135" y="503"/>
                  </a:lnTo>
                  <a:lnTo>
                    <a:pt x="135" y="501"/>
                  </a:lnTo>
                  <a:lnTo>
                    <a:pt x="134" y="500"/>
                  </a:lnTo>
                  <a:lnTo>
                    <a:pt x="128" y="497"/>
                  </a:lnTo>
                  <a:lnTo>
                    <a:pt x="125" y="493"/>
                  </a:lnTo>
                  <a:lnTo>
                    <a:pt x="125" y="487"/>
                  </a:lnTo>
                  <a:lnTo>
                    <a:pt x="150" y="479"/>
                  </a:lnTo>
                  <a:lnTo>
                    <a:pt x="153" y="477"/>
                  </a:lnTo>
                  <a:lnTo>
                    <a:pt x="161" y="469"/>
                  </a:lnTo>
                  <a:lnTo>
                    <a:pt x="164" y="468"/>
                  </a:lnTo>
                  <a:lnTo>
                    <a:pt x="166" y="468"/>
                  </a:lnTo>
                  <a:lnTo>
                    <a:pt x="176" y="466"/>
                  </a:lnTo>
                  <a:lnTo>
                    <a:pt x="179" y="468"/>
                  </a:lnTo>
                  <a:lnTo>
                    <a:pt x="180" y="468"/>
                  </a:lnTo>
                  <a:lnTo>
                    <a:pt x="180" y="469"/>
                  </a:lnTo>
                  <a:lnTo>
                    <a:pt x="182" y="469"/>
                  </a:lnTo>
                  <a:lnTo>
                    <a:pt x="183" y="469"/>
                  </a:lnTo>
                  <a:lnTo>
                    <a:pt x="189" y="460"/>
                  </a:lnTo>
                  <a:lnTo>
                    <a:pt x="196" y="452"/>
                  </a:lnTo>
                  <a:lnTo>
                    <a:pt x="209" y="444"/>
                  </a:lnTo>
                  <a:lnTo>
                    <a:pt x="209" y="443"/>
                  </a:lnTo>
                  <a:lnTo>
                    <a:pt x="211" y="443"/>
                  </a:lnTo>
                  <a:lnTo>
                    <a:pt x="211" y="437"/>
                  </a:lnTo>
                  <a:lnTo>
                    <a:pt x="217" y="440"/>
                  </a:lnTo>
                  <a:lnTo>
                    <a:pt x="218" y="440"/>
                  </a:lnTo>
                  <a:lnTo>
                    <a:pt x="225" y="440"/>
                  </a:lnTo>
                  <a:lnTo>
                    <a:pt x="237" y="442"/>
                  </a:lnTo>
                  <a:lnTo>
                    <a:pt x="239" y="440"/>
                  </a:lnTo>
                  <a:lnTo>
                    <a:pt x="242" y="440"/>
                  </a:lnTo>
                  <a:lnTo>
                    <a:pt x="243" y="440"/>
                  </a:lnTo>
                  <a:lnTo>
                    <a:pt x="244" y="440"/>
                  </a:lnTo>
                  <a:lnTo>
                    <a:pt x="246" y="443"/>
                  </a:lnTo>
                  <a:lnTo>
                    <a:pt x="246" y="444"/>
                  </a:lnTo>
                  <a:lnTo>
                    <a:pt x="247" y="444"/>
                  </a:lnTo>
                  <a:lnTo>
                    <a:pt x="250" y="442"/>
                  </a:lnTo>
                  <a:lnTo>
                    <a:pt x="253" y="436"/>
                  </a:lnTo>
                  <a:lnTo>
                    <a:pt x="255" y="434"/>
                  </a:lnTo>
                  <a:lnTo>
                    <a:pt x="256" y="433"/>
                  </a:lnTo>
                  <a:lnTo>
                    <a:pt x="260" y="431"/>
                  </a:lnTo>
                  <a:lnTo>
                    <a:pt x="260" y="430"/>
                  </a:lnTo>
                  <a:lnTo>
                    <a:pt x="260" y="427"/>
                  </a:lnTo>
                  <a:lnTo>
                    <a:pt x="253" y="412"/>
                  </a:lnTo>
                  <a:lnTo>
                    <a:pt x="244" y="399"/>
                  </a:lnTo>
                  <a:lnTo>
                    <a:pt x="234" y="394"/>
                  </a:lnTo>
                  <a:lnTo>
                    <a:pt x="230" y="391"/>
                  </a:lnTo>
                  <a:lnTo>
                    <a:pt x="225" y="389"/>
                  </a:lnTo>
                  <a:lnTo>
                    <a:pt x="220" y="383"/>
                  </a:lnTo>
                  <a:lnTo>
                    <a:pt x="217" y="376"/>
                  </a:lnTo>
                  <a:lnTo>
                    <a:pt x="207" y="359"/>
                  </a:lnTo>
                  <a:lnTo>
                    <a:pt x="207" y="357"/>
                  </a:lnTo>
                  <a:lnTo>
                    <a:pt x="204" y="341"/>
                  </a:lnTo>
                  <a:lnTo>
                    <a:pt x="150" y="324"/>
                  </a:lnTo>
                  <a:lnTo>
                    <a:pt x="126" y="327"/>
                  </a:lnTo>
                  <a:lnTo>
                    <a:pt x="112" y="324"/>
                  </a:lnTo>
                  <a:lnTo>
                    <a:pt x="110" y="322"/>
                  </a:lnTo>
                  <a:lnTo>
                    <a:pt x="110" y="321"/>
                  </a:lnTo>
                  <a:lnTo>
                    <a:pt x="109" y="316"/>
                  </a:lnTo>
                  <a:lnTo>
                    <a:pt x="109" y="313"/>
                  </a:lnTo>
                  <a:lnTo>
                    <a:pt x="109" y="311"/>
                  </a:lnTo>
                  <a:lnTo>
                    <a:pt x="107" y="309"/>
                  </a:lnTo>
                  <a:lnTo>
                    <a:pt x="100" y="303"/>
                  </a:lnTo>
                  <a:lnTo>
                    <a:pt x="97" y="297"/>
                  </a:lnTo>
                  <a:lnTo>
                    <a:pt x="99" y="283"/>
                  </a:lnTo>
                  <a:lnTo>
                    <a:pt x="91" y="280"/>
                  </a:lnTo>
                  <a:lnTo>
                    <a:pt x="89" y="278"/>
                  </a:lnTo>
                  <a:lnTo>
                    <a:pt x="89" y="274"/>
                  </a:lnTo>
                  <a:lnTo>
                    <a:pt x="90" y="273"/>
                  </a:lnTo>
                  <a:lnTo>
                    <a:pt x="91" y="270"/>
                  </a:lnTo>
                  <a:lnTo>
                    <a:pt x="93" y="268"/>
                  </a:lnTo>
                  <a:lnTo>
                    <a:pt x="93" y="267"/>
                  </a:lnTo>
                  <a:lnTo>
                    <a:pt x="93" y="265"/>
                  </a:lnTo>
                  <a:lnTo>
                    <a:pt x="93" y="264"/>
                  </a:lnTo>
                  <a:lnTo>
                    <a:pt x="93" y="248"/>
                  </a:lnTo>
                  <a:lnTo>
                    <a:pt x="91" y="242"/>
                  </a:lnTo>
                  <a:lnTo>
                    <a:pt x="84" y="233"/>
                  </a:lnTo>
                  <a:lnTo>
                    <a:pt x="84" y="222"/>
                  </a:lnTo>
                  <a:lnTo>
                    <a:pt x="83" y="217"/>
                  </a:lnTo>
                  <a:lnTo>
                    <a:pt x="83" y="216"/>
                  </a:lnTo>
                  <a:lnTo>
                    <a:pt x="81" y="214"/>
                  </a:lnTo>
                  <a:lnTo>
                    <a:pt x="81" y="214"/>
                  </a:lnTo>
                  <a:lnTo>
                    <a:pt x="81" y="213"/>
                  </a:lnTo>
                  <a:lnTo>
                    <a:pt x="81" y="212"/>
                  </a:lnTo>
                  <a:lnTo>
                    <a:pt x="81" y="209"/>
                  </a:lnTo>
                  <a:lnTo>
                    <a:pt x="83" y="206"/>
                  </a:lnTo>
                  <a:lnTo>
                    <a:pt x="86" y="200"/>
                  </a:lnTo>
                  <a:lnTo>
                    <a:pt x="89" y="197"/>
                  </a:lnTo>
                  <a:lnTo>
                    <a:pt x="90" y="196"/>
                  </a:lnTo>
                  <a:lnTo>
                    <a:pt x="96" y="196"/>
                  </a:lnTo>
                  <a:lnTo>
                    <a:pt x="96" y="196"/>
                  </a:lnTo>
                  <a:lnTo>
                    <a:pt x="97" y="194"/>
                  </a:lnTo>
                  <a:lnTo>
                    <a:pt x="99" y="193"/>
                  </a:lnTo>
                  <a:lnTo>
                    <a:pt x="99" y="191"/>
                  </a:lnTo>
                  <a:lnTo>
                    <a:pt x="99" y="190"/>
                  </a:lnTo>
                  <a:lnTo>
                    <a:pt x="100" y="187"/>
                  </a:lnTo>
                  <a:lnTo>
                    <a:pt x="100" y="182"/>
                  </a:lnTo>
                  <a:lnTo>
                    <a:pt x="99" y="178"/>
                  </a:lnTo>
                  <a:lnTo>
                    <a:pt x="97" y="172"/>
                  </a:lnTo>
                  <a:lnTo>
                    <a:pt x="96" y="169"/>
                  </a:lnTo>
                  <a:lnTo>
                    <a:pt x="94" y="166"/>
                  </a:lnTo>
                  <a:lnTo>
                    <a:pt x="94" y="165"/>
                  </a:lnTo>
                  <a:lnTo>
                    <a:pt x="94" y="156"/>
                  </a:lnTo>
                  <a:lnTo>
                    <a:pt x="93" y="143"/>
                  </a:lnTo>
                  <a:lnTo>
                    <a:pt x="91" y="140"/>
                  </a:lnTo>
                  <a:lnTo>
                    <a:pt x="91" y="139"/>
                  </a:lnTo>
                  <a:lnTo>
                    <a:pt x="90" y="137"/>
                  </a:lnTo>
                  <a:lnTo>
                    <a:pt x="90" y="136"/>
                  </a:lnTo>
                  <a:lnTo>
                    <a:pt x="90" y="129"/>
                  </a:lnTo>
                  <a:lnTo>
                    <a:pt x="90" y="127"/>
                  </a:lnTo>
                  <a:lnTo>
                    <a:pt x="90" y="126"/>
                  </a:lnTo>
                  <a:lnTo>
                    <a:pt x="90" y="124"/>
                  </a:lnTo>
                  <a:lnTo>
                    <a:pt x="91" y="123"/>
                  </a:lnTo>
                  <a:lnTo>
                    <a:pt x="96" y="120"/>
                  </a:lnTo>
                  <a:lnTo>
                    <a:pt x="96" y="118"/>
                  </a:lnTo>
                  <a:lnTo>
                    <a:pt x="99" y="115"/>
                  </a:lnTo>
                  <a:lnTo>
                    <a:pt x="99" y="114"/>
                  </a:lnTo>
                  <a:lnTo>
                    <a:pt x="100" y="113"/>
                  </a:lnTo>
                  <a:lnTo>
                    <a:pt x="102" y="113"/>
                  </a:lnTo>
                  <a:lnTo>
                    <a:pt x="103" y="105"/>
                  </a:lnTo>
                  <a:lnTo>
                    <a:pt x="103" y="80"/>
                  </a:lnTo>
                  <a:lnTo>
                    <a:pt x="112" y="72"/>
                  </a:lnTo>
                  <a:lnTo>
                    <a:pt x="113" y="72"/>
                  </a:lnTo>
                  <a:lnTo>
                    <a:pt x="113" y="70"/>
                  </a:lnTo>
                  <a:lnTo>
                    <a:pt x="115" y="69"/>
                  </a:lnTo>
                  <a:lnTo>
                    <a:pt x="115" y="66"/>
                  </a:lnTo>
                  <a:lnTo>
                    <a:pt x="115" y="63"/>
                  </a:lnTo>
                  <a:lnTo>
                    <a:pt x="116" y="62"/>
                  </a:lnTo>
                  <a:lnTo>
                    <a:pt x="116" y="62"/>
                  </a:lnTo>
                  <a:lnTo>
                    <a:pt x="119" y="62"/>
                  </a:lnTo>
                  <a:lnTo>
                    <a:pt x="122" y="64"/>
                  </a:lnTo>
                  <a:lnTo>
                    <a:pt x="128" y="66"/>
                  </a:lnTo>
                  <a:lnTo>
                    <a:pt x="138" y="67"/>
                  </a:lnTo>
                  <a:lnTo>
                    <a:pt x="141" y="67"/>
                  </a:lnTo>
                  <a:lnTo>
                    <a:pt x="158" y="59"/>
                  </a:lnTo>
                  <a:lnTo>
                    <a:pt x="185" y="56"/>
                  </a:lnTo>
                  <a:lnTo>
                    <a:pt x="186" y="54"/>
                  </a:lnTo>
                  <a:lnTo>
                    <a:pt x="188" y="53"/>
                  </a:lnTo>
                  <a:lnTo>
                    <a:pt x="188" y="50"/>
                  </a:lnTo>
                  <a:lnTo>
                    <a:pt x="189" y="40"/>
                  </a:lnTo>
                  <a:lnTo>
                    <a:pt x="192" y="38"/>
                  </a:lnTo>
                  <a:lnTo>
                    <a:pt x="195" y="38"/>
                  </a:lnTo>
                  <a:lnTo>
                    <a:pt x="220" y="40"/>
                  </a:lnTo>
                  <a:lnTo>
                    <a:pt x="224" y="43"/>
                  </a:lnTo>
                  <a:lnTo>
                    <a:pt x="258" y="37"/>
                  </a:lnTo>
                  <a:lnTo>
                    <a:pt x="259" y="37"/>
                  </a:lnTo>
                  <a:lnTo>
                    <a:pt x="260" y="38"/>
                  </a:lnTo>
                  <a:lnTo>
                    <a:pt x="260" y="40"/>
                  </a:lnTo>
                  <a:lnTo>
                    <a:pt x="263" y="40"/>
                  </a:lnTo>
                  <a:lnTo>
                    <a:pt x="265" y="40"/>
                  </a:lnTo>
                  <a:lnTo>
                    <a:pt x="269" y="35"/>
                  </a:lnTo>
                  <a:lnTo>
                    <a:pt x="272" y="32"/>
                  </a:lnTo>
                  <a:lnTo>
                    <a:pt x="275" y="28"/>
                  </a:lnTo>
                  <a:lnTo>
                    <a:pt x="278" y="22"/>
                  </a:lnTo>
                  <a:lnTo>
                    <a:pt x="284" y="19"/>
                  </a:lnTo>
                  <a:lnTo>
                    <a:pt x="297" y="21"/>
                  </a:lnTo>
                  <a:lnTo>
                    <a:pt x="307" y="25"/>
                  </a:lnTo>
                  <a:lnTo>
                    <a:pt x="313" y="22"/>
                  </a:lnTo>
                  <a:lnTo>
                    <a:pt x="332" y="6"/>
                  </a:lnTo>
                  <a:lnTo>
                    <a:pt x="335" y="2"/>
                  </a:lnTo>
                  <a:lnTo>
                    <a:pt x="345" y="0"/>
                  </a:lnTo>
                  <a:lnTo>
                    <a:pt x="348" y="9"/>
                  </a:lnTo>
                  <a:lnTo>
                    <a:pt x="354" y="12"/>
                  </a:lnTo>
                  <a:lnTo>
                    <a:pt x="358" y="15"/>
                  </a:lnTo>
                  <a:lnTo>
                    <a:pt x="362" y="15"/>
                  </a:lnTo>
                  <a:lnTo>
                    <a:pt x="370" y="1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9">
              <a:extLst>
                <a:ext uri="{FF2B5EF4-FFF2-40B4-BE49-F238E27FC236}">
                  <a16:creationId xmlns:a16="http://schemas.microsoft.com/office/drawing/2014/main" id="{5125A308-AD92-4E25-A90E-2E9E13A95BEA}"/>
                </a:ext>
              </a:extLst>
            </p:cNvPr>
            <p:cNvSpPr>
              <a:spLocks/>
            </p:cNvSpPr>
            <p:nvPr/>
          </p:nvSpPr>
          <p:spPr bwMode="gray">
            <a:xfrm>
              <a:off x="3836988" y="4905375"/>
              <a:ext cx="579438" cy="442913"/>
            </a:xfrm>
            <a:custGeom>
              <a:avLst/>
              <a:gdLst>
                <a:gd name="T0" fmla="*/ 254 w 365"/>
                <a:gd name="T1" fmla="*/ 14 h 279"/>
                <a:gd name="T2" fmla="*/ 296 w 365"/>
                <a:gd name="T3" fmla="*/ 32 h 279"/>
                <a:gd name="T4" fmla="*/ 305 w 365"/>
                <a:gd name="T5" fmla="*/ 35 h 279"/>
                <a:gd name="T6" fmla="*/ 319 w 365"/>
                <a:gd name="T7" fmla="*/ 29 h 279"/>
                <a:gd name="T8" fmla="*/ 324 w 365"/>
                <a:gd name="T9" fmla="*/ 36 h 279"/>
                <a:gd name="T10" fmla="*/ 330 w 365"/>
                <a:gd name="T11" fmla="*/ 62 h 279"/>
                <a:gd name="T12" fmla="*/ 334 w 365"/>
                <a:gd name="T13" fmla="*/ 68 h 279"/>
                <a:gd name="T14" fmla="*/ 335 w 365"/>
                <a:gd name="T15" fmla="*/ 74 h 279"/>
                <a:gd name="T16" fmla="*/ 328 w 365"/>
                <a:gd name="T17" fmla="*/ 83 h 279"/>
                <a:gd name="T18" fmla="*/ 315 w 365"/>
                <a:gd name="T19" fmla="*/ 96 h 279"/>
                <a:gd name="T20" fmla="*/ 331 w 365"/>
                <a:gd name="T21" fmla="*/ 123 h 279"/>
                <a:gd name="T22" fmla="*/ 331 w 365"/>
                <a:gd name="T23" fmla="*/ 126 h 279"/>
                <a:gd name="T24" fmla="*/ 359 w 365"/>
                <a:gd name="T25" fmla="*/ 137 h 279"/>
                <a:gd name="T26" fmla="*/ 362 w 365"/>
                <a:gd name="T27" fmla="*/ 148 h 279"/>
                <a:gd name="T28" fmla="*/ 363 w 365"/>
                <a:gd name="T29" fmla="*/ 155 h 279"/>
                <a:gd name="T30" fmla="*/ 354 w 365"/>
                <a:gd name="T31" fmla="*/ 166 h 279"/>
                <a:gd name="T32" fmla="*/ 352 w 365"/>
                <a:gd name="T33" fmla="*/ 177 h 279"/>
                <a:gd name="T34" fmla="*/ 346 w 365"/>
                <a:gd name="T35" fmla="*/ 183 h 279"/>
                <a:gd name="T36" fmla="*/ 343 w 365"/>
                <a:gd name="T37" fmla="*/ 195 h 279"/>
                <a:gd name="T38" fmla="*/ 338 w 365"/>
                <a:gd name="T39" fmla="*/ 201 h 279"/>
                <a:gd name="T40" fmla="*/ 335 w 365"/>
                <a:gd name="T41" fmla="*/ 202 h 279"/>
                <a:gd name="T42" fmla="*/ 333 w 365"/>
                <a:gd name="T43" fmla="*/ 202 h 279"/>
                <a:gd name="T44" fmla="*/ 328 w 365"/>
                <a:gd name="T45" fmla="*/ 208 h 279"/>
                <a:gd name="T46" fmla="*/ 330 w 365"/>
                <a:gd name="T47" fmla="*/ 220 h 279"/>
                <a:gd name="T48" fmla="*/ 350 w 365"/>
                <a:gd name="T49" fmla="*/ 246 h 279"/>
                <a:gd name="T50" fmla="*/ 350 w 365"/>
                <a:gd name="T51" fmla="*/ 250 h 279"/>
                <a:gd name="T52" fmla="*/ 341 w 365"/>
                <a:gd name="T53" fmla="*/ 265 h 279"/>
                <a:gd name="T54" fmla="*/ 325 w 365"/>
                <a:gd name="T55" fmla="*/ 276 h 279"/>
                <a:gd name="T56" fmla="*/ 282 w 365"/>
                <a:gd name="T57" fmla="*/ 273 h 279"/>
                <a:gd name="T58" fmla="*/ 257 w 365"/>
                <a:gd name="T59" fmla="*/ 259 h 279"/>
                <a:gd name="T60" fmla="*/ 254 w 365"/>
                <a:gd name="T61" fmla="*/ 268 h 279"/>
                <a:gd name="T62" fmla="*/ 235 w 365"/>
                <a:gd name="T63" fmla="*/ 272 h 279"/>
                <a:gd name="T64" fmla="*/ 232 w 365"/>
                <a:gd name="T65" fmla="*/ 238 h 279"/>
                <a:gd name="T66" fmla="*/ 188 w 365"/>
                <a:gd name="T67" fmla="*/ 225 h 279"/>
                <a:gd name="T68" fmla="*/ 168 w 365"/>
                <a:gd name="T69" fmla="*/ 231 h 279"/>
                <a:gd name="T70" fmla="*/ 166 w 365"/>
                <a:gd name="T71" fmla="*/ 256 h 279"/>
                <a:gd name="T72" fmla="*/ 129 w 365"/>
                <a:gd name="T73" fmla="*/ 250 h 279"/>
                <a:gd name="T74" fmla="*/ 127 w 365"/>
                <a:gd name="T75" fmla="*/ 230 h 279"/>
                <a:gd name="T76" fmla="*/ 118 w 365"/>
                <a:gd name="T77" fmla="*/ 224 h 279"/>
                <a:gd name="T78" fmla="*/ 116 w 365"/>
                <a:gd name="T79" fmla="*/ 217 h 279"/>
                <a:gd name="T80" fmla="*/ 105 w 365"/>
                <a:gd name="T81" fmla="*/ 202 h 279"/>
                <a:gd name="T82" fmla="*/ 104 w 365"/>
                <a:gd name="T83" fmla="*/ 193 h 279"/>
                <a:gd name="T84" fmla="*/ 75 w 365"/>
                <a:gd name="T85" fmla="*/ 161 h 279"/>
                <a:gd name="T86" fmla="*/ 81 w 365"/>
                <a:gd name="T87" fmla="*/ 150 h 279"/>
                <a:gd name="T88" fmla="*/ 63 w 365"/>
                <a:gd name="T89" fmla="*/ 125 h 279"/>
                <a:gd name="T90" fmla="*/ 62 w 365"/>
                <a:gd name="T91" fmla="*/ 121 h 279"/>
                <a:gd name="T92" fmla="*/ 53 w 365"/>
                <a:gd name="T93" fmla="*/ 103 h 279"/>
                <a:gd name="T94" fmla="*/ 8 w 365"/>
                <a:gd name="T95" fmla="*/ 93 h 279"/>
                <a:gd name="T96" fmla="*/ 0 w 365"/>
                <a:gd name="T97" fmla="*/ 72 h 279"/>
                <a:gd name="T98" fmla="*/ 91 w 365"/>
                <a:gd name="T99" fmla="*/ 54 h 279"/>
                <a:gd name="T100" fmla="*/ 129 w 365"/>
                <a:gd name="T101" fmla="*/ 42 h 279"/>
                <a:gd name="T102" fmla="*/ 210 w 365"/>
                <a:gd name="T103" fmla="*/ 1 h 279"/>
                <a:gd name="T104" fmla="*/ 228 w 365"/>
                <a:gd name="T105"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5" h="279">
                  <a:moveTo>
                    <a:pt x="228" y="0"/>
                  </a:moveTo>
                  <a:lnTo>
                    <a:pt x="250" y="11"/>
                  </a:lnTo>
                  <a:lnTo>
                    <a:pt x="251" y="13"/>
                  </a:lnTo>
                  <a:lnTo>
                    <a:pt x="254" y="14"/>
                  </a:lnTo>
                  <a:lnTo>
                    <a:pt x="274" y="14"/>
                  </a:lnTo>
                  <a:lnTo>
                    <a:pt x="276" y="16"/>
                  </a:lnTo>
                  <a:lnTo>
                    <a:pt x="284" y="23"/>
                  </a:lnTo>
                  <a:lnTo>
                    <a:pt x="296" y="32"/>
                  </a:lnTo>
                  <a:lnTo>
                    <a:pt x="298" y="33"/>
                  </a:lnTo>
                  <a:lnTo>
                    <a:pt x="299" y="35"/>
                  </a:lnTo>
                  <a:lnTo>
                    <a:pt x="301" y="35"/>
                  </a:lnTo>
                  <a:lnTo>
                    <a:pt x="305" y="35"/>
                  </a:lnTo>
                  <a:lnTo>
                    <a:pt x="311" y="33"/>
                  </a:lnTo>
                  <a:lnTo>
                    <a:pt x="315" y="33"/>
                  </a:lnTo>
                  <a:lnTo>
                    <a:pt x="318" y="30"/>
                  </a:lnTo>
                  <a:lnTo>
                    <a:pt x="319" y="29"/>
                  </a:lnTo>
                  <a:lnTo>
                    <a:pt x="321" y="27"/>
                  </a:lnTo>
                  <a:lnTo>
                    <a:pt x="322" y="27"/>
                  </a:lnTo>
                  <a:lnTo>
                    <a:pt x="324" y="29"/>
                  </a:lnTo>
                  <a:lnTo>
                    <a:pt x="324" y="36"/>
                  </a:lnTo>
                  <a:lnTo>
                    <a:pt x="325" y="43"/>
                  </a:lnTo>
                  <a:lnTo>
                    <a:pt x="330" y="51"/>
                  </a:lnTo>
                  <a:lnTo>
                    <a:pt x="330" y="56"/>
                  </a:lnTo>
                  <a:lnTo>
                    <a:pt x="330" y="62"/>
                  </a:lnTo>
                  <a:lnTo>
                    <a:pt x="331" y="65"/>
                  </a:lnTo>
                  <a:lnTo>
                    <a:pt x="331" y="67"/>
                  </a:lnTo>
                  <a:lnTo>
                    <a:pt x="333" y="67"/>
                  </a:lnTo>
                  <a:lnTo>
                    <a:pt x="334" y="68"/>
                  </a:lnTo>
                  <a:lnTo>
                    <a:pt x="335" y="68"/>
                  </a:lnTo>
                  <a:lnTo>
                    <a:pt x="335" y="70"/>
                  </a:lnTo>
                  <a:lnTo>
                    <a:pt x="335" y="71"/>
                  </a:lnTo>
                  <a:lnTo>
                    <a:pt x="335" y="74"/>
                  </a:lnTo>
                  <a:lnTo>
                    <a:pt x="335" y="77"/>
                  </a:lnTo>
                  <a:lnTo>
                    <a:pt x="334" y="78"/>
                  </a:lnTo>
                  <a:lnTo>
                    <a:pt x="331" y="81"/>
                  </a:lnTo>
                  <a:lnTo>
                    <a:pt x="328" y="83"/>
                  </a:lnTo>
                  <a:lnTo>
                    <a:pt x="325" y="84"/>
                  </a:lnTo>
                  <a:lnTo>
                    <a:pt x="319" y="93"/>
                  </a:lnTo>
                  <a:lnTo>
                    <a:pt x="317" y="94"/>
                  </a:lnTo>
                  <a:lnTo>
                    <a:pt x="315" y="96"/>
                  </a:lnTo>
                  <a:lnTo>
                    <a:pt x="314" y="97"/>
                  </a:lnTo>
                  <a:lnTo>
                    <a:pt x="317" y="106"/>
                  </a:lnTo>
                  <a:lnTo>
                    <a:pt x="325" y="116"/>
                  </a:lnTo>
                  <a:lnTo>
                    <a:pt x="331" y="123"/>
                  </a:lnTo>
                  <a:lnTo>
                    <a:pt x="331" y="125"/>
                  </a:lnTo>
                  <a:lnTo>
                    <a:pt x="331" y="126"/>
                  </a:lnTo>
                  <a:lnTo>
                    <a:pt x="331" y="126"/>
                  </a:lnTo>
                  <a:lnTo>
                    <a:pt x="331" y="126"/>
                  </a:lnTo>
                  <a:lnTo>
                    <a:pt x="330" y="128"/>
                  </a:lnTo>
                  <a:lnTo>
                    <a:pt x="333" y="131"/>
                  </a:lnTo>
                  <a:lnTo>
                    <a:pt x="350" y="134"/>
                  </a:lnTo>
                  <a:lnTo>
                    <a:pt x="359" y="137"/>
                  </a:lnTo>
                  <a:lnTo>
                    <a:pt x="362" y="138"/>
                  </a:lnTo>
                  <a:lnTo>
                    <a:pt x="365" y="144"/>
                  </a:lnTo>
                  <a:lnTo>
                    <a:pt x="362" y="147"/>
                  </a:lnTo>
                  <a:lnTo>
                    <a:pt x="362" y="148"/>
                  </a:lnTo>
                  <a:lnTo>
                    <a:pt x="362" y="150"/>
                  </a:lnTo>
                  <a:lnTo>
                    <a:pt x="363" y="153"/>
                  </a:lnTo>
                  <a:lnTo>
                    <a:pt x="363" y="154"/>
                  </a:lnTo>
                  <a:lnTo>
                    <a:pt x="363" y="155"/>
                  </a:lnTo>
                  <a:lnTo>
                    <a:pt x="362" y="160"/>
                  </a:lnTo>
                  <a:lnTo>
                    <a:pt x="360" y="161"/>
                  </a:lnTo>
                  <a:lnTo>
                    <a:pt x="359" y="163"/>
                  </a:lnTo>
                  <a:lnTo>
                    <a:pt x="354" y="166"/>
                  </a:lnTo>
                  <a:lnTo>
                    <a:pt x="353" y="167"/>
                  </a:lnTo>
                  <a:lnTo>
                    <a:pt x="353" y="169"/>
                  </a:lnTo>
                  <a:lnTo>
                    <a:pt x="352" y="174"/>
                  </a:lnTo>
                  <a:lnTo>
                    <a:pt x="352" y="177"/>
                  </a:lnTo>
                  <a:lnTo>
                    <a:pt x="350" y="179"/>
                  </a:lnTo>
                  <a:lnTo>
                    <a:pt x="347" y="180"/>
                  </a:lnTo>
                  <a:lnTo>
                    <a:pt x="347" y="182"/>
                  </a:lnTo>
                  <a:lnTo>
                    <a:pt x="346" y="183"/>
                  </a:lnTo>
                  <a:lnTo>
                    <a:pt x="346" y="185"/>
                  </a:lnTo>
                  <a:lnTo>
                    <a:pt x="344" y="186"/>
                  </a:lnTo>
                  <a:lnTo>
                    <a:pt x="344" y="190"/>
                  </a:lnTo>
                  <a:lnTo>
                    <a:pt x="343" y="195"/>
                  </a:lnTo>
                  <a:lnTo>
                    <a:pt x="341" y="199"/>
                  </a:lnTo>
                  <a:lnTo>
                    <a:pt x="340" y="199"/>
                  </a:lnTo>
                  <a:lnTo>
                    <a:pt x="340" y="201"/>
                  </a:lnTo>
                  <a:lnTo>
                    <a:pt x="338" y="201"/>
                  </a:lnTo>
                  <a:lnTo>
                    <a:pt x="338" y="202"/>
                  </a:lnTo>
                  <a:lnTo>
                    <a:pt x="337" y="202"/>
                  </a:lnTo>
                  <a:lnTo>
                    <a:pt x="335" y="202"/>
                  </a:lnTo>
                  <a:lnTo>
                    <a:pt x="335" y="202"/>
                  </a:lnTo>
                  <a:lnTo>
                    <a:pt x="334" y="202"/>
                  </a:lnTo>
                  <a:lnTo>
                    <a:pt x="334" y="202"/>
                  </a:lnTo>
                  <a:lnTo>
                    <a:pt x="334" y="202"/>
                  </a:lnTo>
                  <a:lnTo>
                    <a:pt x="333" y="202"/>
                  </a:lnTo>
                  <a:lnTo>
                    <a:pt x="331" y="202"/>
                  </a:lnTo>
                  <a:lnTo>
                    <a:pt x="331" y="202"/>
                  </a:lnTo>
                  <a:lnTo>
                    <a:pt x="331" y="204"/>
                  </a:lnTo>
                  <a:lnTo>
                    <a:pt x="328" y="208"/>
                  </a:lnTo>
                  <a:lnTo>
                    <a:pt x="328" y="209"/>
                  </a:lnTo>
                  <a:lnTo>
                    <a:pt x="328" y="212"/>
                  </a:lnTo>
                  <a:lnTo>
                    <a:pt x="330" y="217"/>
                  </a:lnTo>
                  <a:lnTo>
                    <a:pt x="330" y="220"/>
                  </a:lnTo>
                  <a:lnTo>
                    <a:pt x="331" y="225"/>
                  </a:lnTo>
                  <a:lnTo>
                    <a:pt x="331" y="225"/>
                  </a:lnTo>
                  <a:lnTo>
                    <a:pt x="343" y="240"/>
                  </a:lnTo>
                  <a:lnTo>
                    <a:pt x="350" y="246"/>
                  </a:lnTo>
                  <a:lnTo>
                    <a:pt x="357" y="246"/>
                  </a:lnTo>
                  <a:lnTo>
                    <a:pt x="357" y="246"/>
                  </a:lnTo>
                  <a:lnTo>
                    <a:pt x="356" y="247"/>
                  </a:lnTo>
                  <a:lnTo>
                    <a:pt x="350" y="250"/>
                  </a:lnTo>
                  <a:lnTo>
                    <a:pt x="349" y="253"/>
                  </a:lnTo>
                  <a:lnTo>
                    <a:pt x="346" y="260"/>
                  </a:lnTo>
                  <a:lnTo>
                    <a:pt x="344" y="263"/>
                  </a:lnTo>
                  <a:lnTo>
                    <a:pt x="341" y="265"/>
                  </a:lnTo>
                  <a:lnTo>
                    <a:pt x="334" y="266"/>
                  </a:lnTo>
                  <a:lnTo>
                    <a:pt x="331" y="266"/>
                  </a:lnTo>
                  <a:lnTo>
                    <a:pt x="330" y="269"/>
                  </a:lnTo>
                  <a:lnTo>
                    <a:pt x="325" y="276"/>
                  </a:lnTo>
                  <a:lnTo>
                    <a:pt x="324" y="279"/>
                  </a:lnTo>
                  <a:lnTo>
                    <a:pt x="321" y="278"/>
                  </a:lnTo>
                  <a:lnTo>
                    <a:pt x="312" y="273"/>
                  </a:lnTo>
                  <a:lnTo>
                    <a:pt x="282" y="273"/>
                  </a:lnTo>
                  <a:lnTo>
                    <a:pt x="277" y="272"/>
                  </a:lnTo>
                  <a:lnTo>
                    <a:pt x="271" y="269"/>
                  </a:lnTo>
                  <a:lnTo>
                    <a:pt x="258" y="259"/>
                  </a:lnTo>
                  <a:lnTo>
                    <a:pt x="257" y="259"/>
                  </a:lnTo>
                  <a:lnTo>
                    <a:pt x="252" y="262"/>
                  </a:lnTo>
                  <a:lnTo>
                    <a:pt x="252" y="262"/>
                  </a:lnTo>
                  <a:lnTo>
                    <a:pt x="254" y="265"/>
                  </a:lnTo>
                  <a:lnTo>
                    <a:pt x="254" y="268"/>
                  </a:lnTo>
                  <a:lnTo>
                    <a:pt x="254" y="268"/>
                  </a:lnTo>
                  <a:lnTo>
                    <a:pt x="254" y="271"/>
                  </a:lnTo>
                  <a:lnTo>
                    <a:pt x="244" y="278"/>
                  </a:lnTo>
                  <a:lnTo>
                    <a:pt x="235" y="272"/>
                  </a:lnTo>
                  <a:lnTo>
                    <a:pt x="232" y="257"/>
                  </a:lnTo>
                  <a:lnTo>
                    <a:pt x="232" y="257"/>
                  </a:lnTo>
                  <a:lnTo>
                    <a:pt x="232" y="238"/>
                  </a:lnTo>
                  <a:lnTo>
                    <a:pt x="232" y="238"/>
                  </a:lnTo>
                  <a:lnTo>
                    <a:pt x="225" y="238"/>
                  </a:lnTo>
                  <a:lnTo>
                    <a:pt x="203" y="225"/>
                  </a:lnTo>
                  <a:lnTo>
                    <a:pt x="199" y="225"/>
                  </a:lnTo>
                  <a:lnTo>
                    <a:pt x="188" y="225"/>
                  </a:lnTo>
                  <a:lnTo>
                    <a:pt x="174" y="222"/>
                  </a:lnTo>
                  <a:lnTo>
                    <a:pt x="171" y="224"/>
                  </a:lnTo>
                  <a:lnTo>
                    <a:pt x="168" y="231"/>
                  </a:lnTo>
                  <a:lnTo>
                    <a:pt x="168" y="231"/>
                  </a:lnTo>
                  <a:lnTo>
                    <a:pt x="171" y="240"/>
                  </a:lnTo>
                  <a:lnTo>
                    <a:pt x="172" y="249"/>
                  </a:lnTo>
                  <a:lnTo>
                    <a:pt x="172" y="249"/>
                  </a:lnTo>
                  <a:lnTo>
                    <a:pt x="166" y="256"/>
                  </a:lnTo>
                  <a:lnTo>
                    <a:pt x="162" y="257"/>
                  </a:lnTo>
                  <a:lnTo>
                    <a:pt x="149" y="252"/>
                  </a:lnTo>
                  <a:lnTo>
                    <a:pt x="133" y="252"/>
                  </a:lnTo>
                  <a:lnTo>
                    <a:pt x="129" y="250"/>
                  </a:lnTo>
                  <a:lnTo>
                    <a:pt x="124" y="243"/>
                  </a:lnTo>
                  <a:lnTo>
                    <a:pt x="124" y="243"/>
                  </a:lnTo>
                  <a:lnTo>
                    <a:pt x="126" y="237"/>
                  </a:lnTo>
                  <a:lnTo>
                    <a:pt x="127" y="230"/>
                  </a:lnTo>
                  <a:lnTo>
                    <a:pt x="127" y="230"/>
                  </a:lnTo>
                  <a:lnTo>
                    <a:pt x="126" y="221"/>
                  </a:lnTo>
                  <a:lnTo>
                    <a:pt x="124" y="221"/>
                  </a:lnTo>
                  <a:lnTo>
                    <a:pt x="118" y="224"/>
                  </a:lnTo>
                  <a:lnTo>
                    <a:pt x="117" y="224"/>
                  </a:lnTo>
                  <a:lnTo>
                    <a:pt x="117" y="222"/>
                  </a:lnTo>
                  <a:lnTo>
                    <a:pt x="116" y="218"/>
                  </a:lnTo>
                  <a:lnTo>
                    <a:pt x="116" y="217"/>
                  </a:lnTo>
                  <a:lnTo>
                    <a:pt x="114" y="215"/>
                  </a:lnTo>
                  <a:lnTo>
                    <a:pt x="111" y="205"/>
                  </a:lnTo>
                  <a:lnTo>
                    <a:pt x="110" y="204"/>
                  </a:lnTo>
                  <a:lnTo>
                    <a:pt x="105" y="202"/>
                  </a:lnTo>
                  <a:lnTo>
                    <a:pt x="104" y="201"/>
                  </a:lnTo>
                  <a:lnTo>
                    <a:pt x="102" y="198"/>
                  </a:lnTo>
                  <a:lnTo>
                    <a:pt x="102" y="198"/>
                  </a:lnTo>
                  <a:lnTo>
                    <a:pt x="104" y="193"/>
                  </a:lnTo>
                  <a:lnTo>
                    <a:pt x="104" y="193"/>
                  </a:lnTo>
                  <a:lnTo>
                    <a:pt x="104" y="190"/>
                  </a:lnTo>
                  <a:lnTo>
                    <a:pt x="81" y="169"/>
                  </a:lnTo>
                  <a:lnTo>
                    <a:pt x="75" y="161"/>
                  </a:lnTo>
                  <a:lnTo>
                    <a:pt x="72" y="155"/>
                  </a:lnTo>
                  <a:lnTo>
                    <a:pt x="72" y="155"/>
                  </a:lnTo>
                  <a:lnTo>
                    <a:pt x="73" y="150"/>
                  </a:lnTo>
                  <a:lnTo>
                    <a:pt x="81" y="150"/>
                  </a:lnTo>
                  <a:lnTo>
                    <a:pt x="82" y="145"/>
                  </a:lnTo>
                  <a:lnTo>
                    <a:pt x="82" y="145"/>
                  </a:lnTo>
                  <a:lnTo>
                    <a:pt x="81" y="142"/>
                  </a:lnTo>
                  <a:lnTo>
                    <a:pt x="63" y="125"/>
                  </a:lnTo>
                  <a:lnTo>
                    <a:pt x="62" y="121"/>
                  </a:lnTo>
                  <a:lnTo>
                    <a:pt x="62" y="121"/>
                  </a:lnTo>
                  <a:lnTo>
                    <a:pt x="62" y="121"/>
                  </a:lnTo>
                  <a:lnTo>
                    <a:pt x="62" y="121"/>
                  </a:lnTo>
                  <a:lnTo>
                    <a:pt x="62" y="118"/>
                  </a:lnTo>
                  <a:lnTo>
                    <a:pt x="60" y="113"/>
                  </a:lnTo>
                  <a:lnTo>
                    <a:pt x="59" y="109"/>
                  </a:lnTo>
                  <a:lnTo>
                    <a:pt x="53" y="103"/>
                  </a:lnTo>
                  <a:lnTo>
                    <a:pt x="21" y="87"/>
                  </a:lnTo>
                  <a:lnTo>
                    <a:pt x="16" y="87"/>
                  </a:lnTo>
                  <a:lnTo>
                    <a:pt x="14" y="89"/>
                  </a:lnTo>
                  <a:lnTo>
                    <a:pt x="8" y="93"/>
                  </a:lnTo>
                  <a:lnTo>
                    <a:pt x="3" y="93"/>
                  </a:lnTo>
                  <a:lnTo>
                    <a:pt x="0" y="93"/>
                  </a:lnTo>
                  <a:lnTo>
                    <a:pt x="0" y="89"/>
                  </a:lnTo>
                  <a:lnTo>
                    <a:pt x="0" y="72"/>
                  </a:lnTo>
                  <a:lnTo>
                    <a:pt x="2" y="56"/>
                  </a:lnTo>
                  <a:lnTo>
                    <a:pt x="5" y="55"/>
                  </a:lnTo>
                  <a:lnTo>
                    <a:pt x="51" y="51"/>
                  </a:lnTo>
                  <a:lnTo>
                    <a:pt x="91" y="54"/>
                  </a:lnTo>
                  <a:lnTo>
                    <a:pt x="114" y="43"/>
                  </a:lnTo>
                  <a:lnTo>
                    <a:pt x="121" y="43"/>
                  </a:lnTo>
                  <a:lnTo>
                    <a:pt x="123" y="43"/>
                  </a:lnTo>
                  <a:lnTo>
                    <a:pt x="129" y="42"/>
                  </a:lnTo>
                  <a:lnTo>
                    <a:pt x="180" y="19"/>
                  </a:lnTo>
                  <a:lnTo>
                    <a:pt x="206" y="1"/>
                  </a:lnTo>
                  <a:lnTo>
                    <a:pt x="209" y="1"/>
                  </a:lnTo>
                  <a:lnTo>
                    <a:pt x="210" y="1"/>
                  </a:lnTo>
                  <a:lnTo>
                    <a:pt x="216" y="3"/>
                  </a:lnTo>
                  <a:lnTo>
                    <a:pt x="219" y="6"/>
                  </a:lnTo>
                  <a:lnTo>
                    <a:pt x="220" y="6"/>
                  </a:lnTo>
                  <a:lnTo>
                    <a:pt x="228"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10">
              <a:extLst>
                <a:ext uri="{FF2B5EF4-FFF2-40B4-BE49-F238E27FC236}">
                  <a16:creationId xmlns:a16="http://schemas.microsoft.com/office/drawing/2014/main" id="{2D904976-5FB0-46AC-B738-221B0A91231C}"/>
                </a:ext>
              </a:extLst>
            </p:cNvPr>
            <p:cNvSpPr>
              <a:spLocks/>
            </p:cNvSpPr>
            <p:nvPr/>
          </p:nvSpPr>
          <p:spPr bwMode="gray">
            <a:xfrm>
              <a:off x="3700463" y="3784600"/>
              <a:ext cx="1328738" cy="1685925"/>
            </a:xfrm>
            <a:custGeom>
              <a:avLst/>
              <a:gdLst>
                <a:gd name="T0" fmla="*/ 656 w 837"/>
                <a:gd name="T1" fmla="*/ 67 h 1062"/>
                <a:gd name="T2" fmla="*/ 682 w 837"/>
                <a:gd name="T3" fmla="*/ 133 h 1062"/>
                <a:gd name="T4" fmla="*/ 708 w 837"/>
                <a:gd name="T5" fmla="*/ 167 h 1062"/>
                <a:gd name="T6" fmla="*/ 707 w 837"/>
                <a:gd name="T7" fmla="*/ 216 h 1062"/>
                <a:gd name="T8" fmla="*/ 676 w 837"/>
                <a:gd name="T9" fmla="*/ 212 h 1062"/>
                <a:gd name="T10" fmla="*/ 662 w 837"/>
                <a:gd name="T11" fmla="*/ 254 h 1062"/>
                <a:gd name="T12" fmla="*/ 657 w 837"/>
                <a:gd name="T13" fmla="*/ 285 h 1062"/>
                <a:gd name="T14" fmla="*/ 681 w 837"/>
                <a:gd name="T15" fmla="*/ 310 h 1062"/>
                <a:gd name="T16" fmla="*/ 704 w 837"/>
                <a:gd name="T17" fmla="*/ 362 h 1062"/>
                <a:gd name="T18" fmla="*/ 676 w 837"/>
                <a:gd name="T19" fmla="*/ 381 h 1062"/>
                <a:gd name="T20" fmla="*/ 657 w 837"/>
                <a:gd name="T21" fmla="*/ 385 h 1062"/>
                <a:gd name="T22" fmla="*/ 630 w 837"/>
                <a:gd name="T23" fmla="*/ 428 h 1062"/>
                <a:gd name="T24" fmla="*/ 631 w 837"/>
                <a:gd name="T25" fmla="*/ 448 h 1062"/>
                <a:gd name="T26" fmla="*/ 611 w 837"/>
                <a:gd name="T27" fmla="*/ 445 h 1062"/>
                <a:gd name="T28" fmla="*/ 612 w 837"/>
                <a:gd name="T29" fmla="*/ 506 h 1062"/>
                <a:gd name="T30" fmla="*/ 786 w 837"/>
                <a:gd name="T31" fmla="*/ 547 h 1062"/>
                <a:gd name="T32" fmla="*/ 816 w 837"/>
                <a:gd name="T33" fmla="*/ 631 h 1062"/>
                <a:gd name="T34" fmla="*/ 808 w 837"/>
                <a:gd name="T35" fmla="*/ 733 h 1062"/>
                <a:gd name="T36" fmla="*/ 837 w 837"/>
                <a:gd name="T37" fmla="*/ 813 h 1062"/>
                <a:gd name="T38" fmla="*/ 797 w 837"/>
                <a:gd name="T39" fmla="*/ 918 h 1062"/>
                <a:gd name="T40" fmla="*/ 694 w 837"/>
                <a:gd name="T41" fmla="*/ 1051 h 1062"/>
                <a:gd name="T42" fmla="*/ 544 w 837"/>
                <a:gd name="T43" fmla="*/ 1020 h 1062"/>
                <a:gd name="T44" fmla="*/ 478 w 837"/>
                <a:gd name="T45" fmla="*/ 972 h 1062"/>
                <a:gd name="T46" fmla="*/ 436 w 837"/>
                <a:gd name="T47" fmla="*/ 952 h 1062"/>
                <a:gd name="T48" fmla="*/ 419 w 837"/>
                <a:gd name="T49" fmla="*/ 908 h 1062"/>
                <a:gd name="T50" fmla="*/ 429 w 837"/>
                <a:gd name="T51" fmla="*/ 901 h 1062"/>
                <a:gd name="T52" fmla="*/ 440 w 837"/>
                <a:gd name="T53" fmla="*/ 872 h 1062"/>
                <a:gd name="T54" fmla="*/ 445 w 837"/>
                <a:gd name="T55" fmla="*/ 843 h 1062"/>
                <a:gd name="T56" fmla="*/ 401 w 837"/>
                <a:gd name="T57" fmla="*/ 802 h 1062"/>
                <a:gd name="T58" fmla="*/ 420 w 837"/>
                <a:gd name="T59" fmla="*/ 774 h 1062"/>
                <a:gd name="T60" fmla="*/ 405 w 837"/>
                <a:gd name="T61" fmla="*/ 735 h 1062"/>
                <a:gd name="T62" fmla="*/ 340 w 837"/>
                <a:gd name="T63" fmla="*/ 720 h 1062"/>
                <a:gd name="T64" fmla="*/ 209 w 837"/>
                <a:gd name="T65" fmla="*/ 749 h 1062"/>
                <a:gd name="T66" fmla="*/ 105 w 837"/>
                <a:gd name="T67" fmla="*/ 714 h 1062"/>
                <a:gd name="T68" fmla="*/ 108 w 837"/>
                <a:gd name="T69" fmla="*/ 690 h 1062"/>
                <a:gd name="T70" fmla="*/ 137 w 837"/>
                <a:gd name="T71" fmla="*/ 658 h 1062"/>
                <a:gd name="T72" fmla="*/ 140 w 837"/>
                <a:gd name="T73" fmla="*/ 623 h 1062"/>
                <a:gd name="T74" fmla="*/ 100 w 837"/>
                <a:gd name="T75" fmla="*/ 607 h 1062"/>
                <a:gd name="T76" fmla="*/ 33 w 837"/>
                <a:gd name="T77" fmla="*/ 540 h 1062"/>
                <a:gd name="T78" fmla="*/ 0 w 837"/>
                <a:gd name="T79" fmla="*/ 481 h 1062"/>
                <a:gd name="T80" fmla="*/ 11 w 837"/>
                <a:gd name="T81" fmla="*/ 438 h 1062"/>
                <a:gd name="T82" fmla="*/ 22 w 837"/>
                <a:gd name="T83" fmla="*/ 414 h 1062"/>
                <a:gd name="T84" fmla="*/ 62 w 837"/>
                <a:gd name="T85" fmla="*/ 362 h 1062"/>
                <a:gd name="T86" fmla="*/ 97 w 837"/>
                <a:gd name="T87" fmla="*/ 336 h 1062"/>
                <a:gd name="T88" fmla="*/ 104 w 837"/>
                <a:gd name="T89" fmla="*/ 301 h 1062"/>
                <a:gd name="T90" fmla="*/ 123 w 837"/>
                <a:gd name="T91" fmla="*/ 314 h 1062"/>
                <a:gd name="T92" fmla="*/ 172 w 837"/>
                <a:gd name="T93" fmla="*/ 304 h 1062"/>
                <a:gd name="T94" fmla="*/ 196 w 837"/>
                <a:gd name="T95" fmla="*/ 313 h 1062"/>
                <a:gd name="T96" fmla="*/ 245 w 837"/>
                <a:gd name="T97" fmla="*/ 307 h 1062"/>
                <a:gd name="T98" fmla="*/ 235 w 837"/>
                <a:gd name="T99" fmla="*/ 275 h 1062"/>
                <a:gd name="T100" fmla="*/ 236 w 837"/>
                <a:gd name="T101" fmla="*/ 249 h 1062"/>
                <a:gd name="T102" fmla="*/ 270 w 837"/>
                <a:gd name="T103" fmla="*/ 257 h 1062"/>
                <a:gd name="T104" fmla="*/ 292 w 837"/>
                <a:gd name="T105" fmla="*/ 209 h 1062"/>
                <a:gd name="T106" fmla="*/ 347 w 837"/>
                <a:gd name="T107" fmla="*/ 189 h 1062"/>
                <a:gd name="T108" fmla="*/ 382 w 837"/>
                <a:gd name="T109" fmla="*/ 166 h 1062"/>
                <a:gd name="T110" fmla="*/ 392 w 837"/>
                <a:gd name="T111" fmla="*/ 170 h 1062"/>
                <a:gd name="T112" fmla="*/ 448 w 837"/>
                <a:gd name="T113" fmla="*/ 145 h 1062"/>
                <a:gd name="T114" fmla="*/ 471 w 837"/>
                <a:gd name="T115" fmla="*/ 123 h 1062"/>
                <a:gd name="T116" fmla="*/ 532 w 837"/>
                <a:gd name="T117" fmla="*/ 97 h 1062"/>
                <a:gd name="T118" fmla="*/ 556 w 837"/>
                <a:gd name="T119" fmla="*/ 85 h 1062"/>
                <a:gd name="T120" fmla="*/ 570 w 837"/>
                <a:gd name="T121" fmla="*/ 50 h 1062"/>
                <a:gd name="T122" fmla="*/ 579 w 837"/>
                <a:gd name="T123" fmla="*/ 36 h 1062"/>
                <a:gd name="T124" fmla="*/ 609 w 837"/>
                <a:gd name="T125" fmla="*/ 23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37" h="1062">
                  <a:moveTo>
                    <a:pt x="636" y="50"/>
                  </a:moveTo>
                  <a:lnTo>
                    <a:pt x="639" y="53"/>
                  </a:lnTo>
                  <a:lnTo>
                    <a:pt x="641" y="55"/>
                  </a:lnTo>
                  <a:lnTo>
                    <a:pt x="643" y="55"/>
                  </a:lnTo>
                  <a:lnTo>
                    <a:pt x="644" y="55"/>
                  </a:lnTo>
                  <a:lnTo>
                    <a:pt x="649" y="52"/>
                  </a:lnTo>
                  <a:lnTo>
                    <a:pt x="650" y="52"/>
                  </a:lnTo>
                  <a:lnTo>
                    <a:pt x="650" y="52"/>
                  </a:lnTo>
                  <a:lnTo>
                    <a:pt x="652" y="52"/>
                  </a:lnTo>
                  <a:lnTo>
                    <a:pt x="653" y="55"/>
                  </a:lnTo>
                  <a:lnTo>
                    <a:pt x="655" y="58"/>
                  </a:lnTo>
                  <a:lnTo>
                    <a:pt x="656" y="67"/>
                  </a:lnTo>
                  <a:lnTo>
                    <a:pt x="656" y="71"/>
                  </a:lnTo>
                  <a:lnTo>
                    <a:pt x="656" y="75"/>
                  </a:lnTo>
                  <a:lnTo>
                    <a:pt x="656" y="81"/>
                  </a:lnTo>
                  <a:lnTo>
                    <a:pt x="655" y="84"/>
                  </a:lnTo>
                  <a:lnTo>
                    <a:pt x="656" y="87"/>
                  </a:lnTo>
                  <a:lnTo>
                    <a:pt x="659" y="94"/>
                  </a:lnTo>
                  <a:lnTo>
                    <a:pt x="674" y="113"/>
                  </a:lnTo>
                  <a:lnTo>
                    <a:pt x="679" y="123"/>
                  </a:lnTo>
                  <a:lnTo>
                    <a:pt x="681" y="125"/>
                  </a:lnTo>
                  <a:lnTo>
                    <a:pt x="681" y="128"/>
                  </a:lnTo>
                  <a:lnTo>
                    <a:pt x="682" y="132"/>
                  </a:lnTo>
                  <a:lnTo>
                    <a:pt x="682" y="133"/>
                  </a:lnTo>
                  <a:lnTo>
                    <a:pt x="685" y="133"/>
                  </a:lnTo>
                  <a:lnTo>
                    <a:pt x="692" y="129"/>
                  </a:lnTo>
                  <a:lnTo>
                    <a:pt x="695" y="129"/>
                  </a:lnTo>
                  <a:lnTo>
                    <a:pt x="700" y="131"/>
                  </a:lnTo>
                  <a:lnTo>
                    <a:pt x="708" y="136"/>
                  </a:lnTo>
                  <a:lnTo>
                    <a:pt x="707" y="145"/>
                  </a:lnTo>
                  <a:lnTo>
                    <a:pt x="706" y="148"/>
                  </a:lnTo>
                  <a:lnTo>
                    <a:pt x="704" y="151"/>
                  </a:lnTo>
                  <a:lnTo>
                    <a:pt x="704" y="152"/>
                  </a:lnTo>
                  <a:lnTo>
                    <a:pt x="704" y="155"/>
                  </a:lnTo>
                  <a:lnTo>
                    <a:pt x="704" y="157"/>
                  </a:lnTo>
                  <a:lnTo>
                    <a:pt x="708" y="167"/>
                  </a:lnTo>
                  <a:lnTo>
                    <a:pt x="711" y="173"/>
                  </a:lnTo>
                  <a:lnTo>
                    <a:pt x="711" y="180"/>
                  </a:lnTo>
                  <a:lnTo>
                    <a:pt x="713" y="183"/>
                  </a:lnTo>
                  <a:lnTo>
                    <a:pt x="714" y="186"/>
                  </a:lnTo>
                  <a:lnTo>
                    <a:pt x="717" y="187"/>
                  </a:lnTo>
                  <a:lnTo>
                    <a:pt x="717" y="189"/>
                  </a:lnTo>
                  <a:lnTo>
                    <a:pt x="719" y="190"/>
                  </a:lnTo>
                  <a:lnTo>
                    <a:pt x="716" y="199"/>
                  </a:lnTo>
                  <a:lnTo>
                    <a:pt x="710" y="212"/>
                  </a:lnTo>
                  <a:lnTo>
                    <a:pt x="710" y="214"/>
                  </a:lnTo>
                  <a:lnTo>
                    <a:pt x="708" y="215"/>
                  </a:lnTo>
                  <a:lnTo>
                    <a:pt x="707" y="216"/>
                  </a:lnTo>
                  <a:lnTo>
                    <a:pt x="701" y="221"/>
                  </a:lnTo>
                  <a:lnTo>
                    <a:pt x="700" y="221"/>
                  </a:lnTo>
                  <a:lnTo>
                    <a:pt x="700" y="222"/>
                  </a:lnTo>
                  <a:lnTo>
                    <a:pt x="698" y="222"/>
                  </a:lnTo>
                  <a:lnTo>
                    <a:pt x="694" y="221"/>
                  </a:lnTo>
                  <a:lnTo>
                    <a:pt x="694" y="221"/>
                  </a:lnTo>
                  <a:lnTo>
                    <a:pt x="692" y="219"/>
                  </a:lnTo>
                  <a:lnTo>
                    <a:pt x="687" y="212"/>
                  </a:lnTo>
                  <a:lnTo>
                    <a:pt x="685" y="211"/>
                  </a:lnTo>
                  <a:lnTo>
                    <a:pt x="684" y="211"/>
                  </a:lnTo>
                  <a:lnTo>
                    <a:pt x="681" y="211"/>
                  </a:lnTo>
                  <a:lnTo>
                    <a:pt x="676" y="212"/>
                  </a:lnTo>
                  <a:lnTo>
                    <a:pt x="675" y="214"/>
                  </a:lnTo>
                  <a:lnTo>
                    <a:pt x="674" y="216"/>
                  </a:lnTo>
                  <a:lnTo>
                    <a:pt x="669" y="221"/>
                  </a:lnTo>
                  <a:lnTo>
                    <a:pt x="668" y="222"/>
                  </a:lnTo>
                  <a:lnTo>
                    <a:pt x="665" y="224"/>
                  </a:lnTo>
                  <a:lnTo>
                    <a:pt x="663" y="225"/>
                  </a:lnTo>
                  <a:lnTo>
                    <a:pt x="663" y="227"/>
                  </a:lnTo>
                  <a:lnTo>
                    <a:pt x="662" y="231"/>
                  </a:lnTo>
                  <a:lnTo>
                    <a:pt x="662" y="250"/>
                  </a:lnTo>
                  <a:lnTo>
                    <a:pt x="662" y="250"/>
                  </a:lnTo>
                  <a:lnTo>
                    <a:pt x="662" y="251"/>
                  </a:lnTo>
                  <a:lnTo>
                    <a:pt x="662" y="254"/>
                  </a:lnTo>
                  <a:lnTo>
                    <a:pt x="662" y="256"/>
                  </a:lnTo>
                  <a:lnTo>
                    <a:pt x="663" y="257"/>
                  </a:lnTo>
                  <a:lnTo>
                    <a:pt x="663" y="257"/>
                  </a:lnTo>
                  <a:lnTo>
                    <a:pt x="665" y="259"/>
                  </a:lnTo>
                  <a:lnTo>
                    <a:pt x="668" y="260"/>
                  </a:lnTo>
                  <a:lnTo>
                    <a:pt x="669" y="262"/>
                  </a:lnTo>
                  <a:lnTo>
                    <a:pt x="668" y="262"/>
                  </a:lnTo>
                  <a:lnTo>
                    <a:pt x="668" y="263"/>
                  </a:lnTo>
                  <a:lnTo>
                    <a:pt x="662" y="269"/>
                  </a:lnTo>
                  <a:lnTo>
                    <a:pt x="660" y="273"/>
                  </a:lnTo>
                  <a:lnTo>
                    <a:pt x="659" y="279"/>
                  </a:lnTo>
                  <a:lnTo>
                    <a:pt x="657" y="285"/>
                  </a:lnTo>
                  <a:lnTo>
                    <a:pt x="653" y="288"/>
                  </a:lnTo>
                  <a:lnTo>
                    <a:pt x="653" y="291"/>
                  </a:lnTo>
                  <a:lnTo>
                    <a:pt x="653" y="292"/>
                  </a:lnTo>
                  <a:lnTo>
                    <a:pt x="655" y="294"/>
                  </a:lnTo>
                  <a:lnTo>
                    <a:pt x="669" y="297"/>
                  </a:lnTo>
                  <a:lnTo>
                    <a:pt x="671" y="297"/>
                  </a:lnTo>
                  <a:lnTo>
                    <a:pt x="672" y="298"/>
                  </a:lnTo>
                  <a:lnTo>
                    <a:pt x="672" y="301"/>
                  </a:lnTo>
                  <a:lnTo>
                    <a:pt x="672" y="302"/>
                  </a:lnTo>
                  <a:lnTo>
                    <a:pt x="674" y="304"/>
                  </a:lnTo>
                  <a:lnTo>
                    <a:pt x="679" y="307"/>
                  </a:lnTo>
                  <a:lnTo>
                    <a:pt x="681" y="310"/>
                  </a:lnTo>
                  <a:lnTo>
                    <a:pt x="688" y="324"/>
                  </a:lnTo>
                  <a:lnTo>
                    <a:pt x="690" y="329"/>
                  </a:lnTo>
                  <a:lnTo>
                    <a:pt x="692" y="332"/>
                  </a:lnTo>
                  <a:lnTo>
                    <a:pt x="697" y="334"/>
                  </a:lnTo>
                  <a:lnTo>
                    <a:pt x="697" y="334"/>
                  </a:lnTo>
                  <a:lnTo>
                    <a:pt x="700" y="339"/>
                  </a:lnTo>
                  <a:lnTo>
                    <a:pt x="703" y="353"/>
                  </a:lnTo>
                  <a:lnTo>
                    <a:pt x="704" y="356"/>
                  </a:lnTo>
                  <a:lnTo>
                    <a:pt x="704" y="358"/>
                  </a:lnTo>
                  <a:lnTo>
                    <a:pt x="704" y="359"/>
                  </a:lnTo>
                  <a:lnTo>
                    <a:pt x="704" y="361"/>
                  </a:lnTo>
                  <a:lnTo>
                    <a:pt x="704" y="362"/>
                  </a:lnTo>
                  <a:lnTo>
                    <a:pt x="703" y="364"/>
                  </a:lnTo>
                  <a:lnTo>
                    <a:pt x="701" y="364"/>
                  </a:lnTo>
                  <a:lnTo>
                    <a:pt x="695" y="365"/>
                  </a:lnTo>
                  <a:lnTo>
                    <a:pt x="678" y="365"/>
                  </a:lnTo>
                  <a:lnTo>
                    <a:pt x="676" y="365"/>
                  </a:lnTo>
                  <a:lnTo>
                    <a:pt x="675" y="368"/>
                  </a:lnTo>
                  <a:lnTo>
                    <a:pt x="674" y="371"/>
                  </a:lnTo>
                  <a:lnTo>
                    <a:pt x="674" y="374"/>
                  </a:lnTo>
                  <a:lnTo>
                    <a:pt x="674" y="374"/>
                  </a:lnTo>
                  <a:lnTo>
                    <a:pt x="676" y="378"/>
                  </a:lnTo>
                  <a:lnTo>
                    <a:pt x="678" y="380"/>
                  </a:lnTo>
                  <a:lnTo>
                    <a:pt x="676" y="381"/>
                  </a:lnTo>
                  <a:lnTo>
                    <a:pt x="672" y="387"/>
                  </a:lnTo>
                  <a:lnTo>
                    <a:pt x="672" y="390"/>
                  </a:lnTo>
                  <a:lnTo>
                    <a:pt x="671" y="391"/>
                  </a:lnTo>
                  <a:lnTo>
                    <a:pt x="668" y="390"/>
                  </a:lnTo>
                  <a:lnTo>
                    <a:pt x="666" y="390"/>
                  </a:lnTo>
                  <a:lnTo>
                    <a:pt x="665" y="388"/>
                  </a:lnTo>
                  <a:lnTo>
                    <a:pt x="663" y="387"/>
                  </a:lnTo>
                  <a:lnTo>
                    <a:pt x="662" y="385"/>
                  </a:lnTo>
                  <a:lnTo>
                    <a:pt x="660" y="384"/>
                  </a:lnTo>
                  <a:lnTo>
                    <a:pt x="660" y="384"/>
                  </a:lnTo>
                  <a:lnTo>
                    <a:pt x="659" y="384"/>
                  </a:lnTo>
                  <a:lnTo>
                    <a:pt x="657" y="385"/>
                  </a:lnTo>
                  <a:lnTo>
                    <a:pt x="655" y="388"/>
                  </a:lnTo>
                  <a:lnTo>
                    <a:pt x="646" y="393"/>
                  </a:lnTo>
                  <a:lnTo>
                    <a:pt x="641" y="397"/>
                  </a:lnTo>
                  <a:lnTo>
                    <a:pt x="636" y="398"/>
                  </a:lnTo>
                  <a:lnTo>
                    <a:pt x="633" y="401"/>
                  </a:lnTo>
                  <a:lnTo>
                    <a:pt x="631" y="406"/>
                  </a:lnTo>
                  <a:lnTo>
                    <a:pt x="627" y="414"/>
                  </a:lnTo>
                  <a:lnTo>
                    <a:pt x="625" y="420"/>
                  </a:lnTo>
                  <a:lnTo>
                    <a:pt x="625" y="423"/>
                  </a:lnTo>
                  <a:lnTo>
                    <a:pt x="627" y="425"/>
                  </a:lnTo>
                  <a:lnTo>
                    <a:pt x="628" y="428"/>
                  </a:lnTo>
                  <a:lnTo>
                    <a:pt x="630" y="428"/>
                  </a:lnTo>
                  <a:lnTo>
                    <a:pt x="636" y="432"/>
                  </a:lnTo>
                  <a:lnTo>
                    <a:pt x="637" y="432"/>
                  </a:lnTo>
                  <a:lnTo>
                    <a:pt x="639" y="433"/>
                  </a:lnTo>
                  <a:lnTo>
                    <a:pt x="639" y="435"/>
                  </a:lnTo>
                  <a:lnTo>
                    <a:pt x="637" y="436"/>
                  </a:lnTo>
                  <a:lnTo>
                    <a:pt x="636" y="441"/>
                  </a:lnTo>
                  <a:lnTo>
                    <a:pt x="636" y="444"/>
                  </a:lnTo>
                  <a:lnTo>
                    <a:pt x="636" y="445"/>
                  </a:lnTo>
                  <a:lnTo>
                    <a:pt x="636" y="447"/>
                  </a:lnTo>
                  <a:lnTo>
                    <a:pt x="634" y="448"/>
                  </a:lnTo>
                  <a:lnTo>
                    <a:pt x="634" y="449"/>
                  </a:lnTo>
                  <a:lnTo>
                    <a:pt x="631" y="448"/>
                  </a:lnTo>
                  <a:lnTo>
                    <a:pt x="630" y="447"/>
                  </a:lnTo>
                  <a:lnTo>
                    <a:pt x="630" y="445"/>
                  </a:lnTo>
                  <a:lnTo>
                    <a:pt x="627" y="444"/>
                  </a:lnTo>
                  <a:lnTo>
                    <a:pt x="625" y="442"/>
                  </a:lnTo>
                  <a:lnTo>
                    <a:pt x="625" y="442"/>
                  </a:lnTo>
                  <a:lnTo>
                    <a:pt x="623" y="442"/>
                  </a:lnTo>
                  <a:lnTo>
                    <a:pt x="620" y="444"/>
                  </a:lnTo>
                  <a:lnTo>
                    <a:pt x="618" y="444"/>
                  </a:lnTo>
                  <a:lnTo>
                    <a:pt x="617" y="444"/>
                  </a:lnTo>
                  <a:lnTo>
                    <a:pt x="615" y="442"/>
                  </a:lnTo>
                  <a:lnTo>
                    <a:pt x="614" y="444"/>
                  </a:lnTo>
                  <a:lnTo>
                    <a:pt x="611" y="445"/>
                  </a:lnTo>
                  <a:lnTo>
                    <a:pt x="609" y="449"/>
                  </a:lnTo>
                  <a:lnTo>
                    <a:pt x="608" y="452"/>
                  </a:lnTo>
                  <a:lnTo>
                    <a:pt x="608" y="455"/>
                  </a:lnTo>
                  <a:lnTo>
                    <a:pt x="608" y="460"/>
                  </a:lnTo>
                  <a:lnTo>
                    <a:pt x="606" y="461"/>
                  </a:lnTo>
                  <a:lnTo>
                    <a:pt x="602" y="464"/>
                  </a:lnTo>
                  <a:lnTo>
                    <a:pt x="596" y="468"/>
                  </a:lnTo>
                  <a:lnTo>
                    <a:pt x="583" y="479"/>
                  </a:lnTo>
                  <a:lnTo>
                    <a:pt x="583" y="480"/>
                  </a:lnTo>
                  <a:lnTo>
                    <a:pt x="588" y="481"/>
                  </a:lnTo>
                  <a:lnTo>
                    <a:pt x="609" y="502"/>
                  </a:lnTo>
                  <a:lnTo>
                    <a:pt x="612" y="506"/>
                  </a:lnTo>
                  <a:lnTo>
                    <a:pt x="614" y="512"/>
                  </a:lnTo>
                  <a:lnTo>
                    <a:pt x="620" y="522"/>
                  </a:lnTo>
                  <a:lnTo>
                    <a:pt x="634" y="521"/>
                  </a:lnTo>
                  <a:lnTo>
                    <a:pt x="649" y="516"/>
                  </a:lnTo>
                  <a:lnTo>
                    <a:pt x="665" y="508"/>
                  </a:lnTo>
                  <a:lnTo>
                    <a:pt x="679" y="497"/>
                  </a:lnTo>
                  <a:lnTo>
                    <a:pt x="723" y="483"/>
                  </a:lnTo>
                  <a:lnTo>
                    <a:pt x="732" y="483"/>
                  </a:lnTo>
                  <a:lnTo>
                    <a:pt x="736" y="483"/>
                  </a:lnTo>
                  <a:lnTo>
                    <a:pt x="742" y="487"/>
                  </a:lnTo>
                  <a:lnTo>
                    <a:pt x="778" y="530"/>
                  </a:lnTo>
                  <a:lnTo>
                    <a:pt x="786" y="547"/>
                  </a:lnTo>
                  <a:lnTo>
                    <a:pt x="780" y="566"/>
                  </a:lnTo>
                  <a:lnTo>
                    <a:pt x="783" y="573"/>
                  </a:lnTo>
                  <a:lnTo>
                    <a:pt x="792" y="585"/>
                  </a:lnTo>
                  <a:lnTo>
                    <a:pt x="794" y="592"/>
                  </a:lnTo>
                  <a:lnTo>
                    <a:pt x="796" y="598"/>
                  </a:lnTo>
                  <a:lnTo>
                    <a:pt x="796" y="602"/>
                  </a:lnTo>
                  <a:lnTo>
                    <a:pt x="797" y="607"/>
                  </a:lnTo>
                  <a:lnTo>
                    <a:pt x="805" y="618"/>
                  </a:lnTo>
                  <a:lnTo>
                    <a:pt x="806" y="623"/>
                  </a:lnTo>
                  <a:lnTo>
                    <a:pt x="806" y="627"/>
                  </a:lnTo>
                  <a:lnTo>
                    <a:pt x="809" y="633"/>
                  </a:lnTo>
                  <a:lnTo>
                    <a:pt x="816" y="631"/>
                  </a:lnTo>
                  <a:lnTo>
                    <a:pt x="822" y="630"/>
                  </a:lnTo>
                  <a:lnTo>
                    <a:pt x="828" y="633"/>
                  </a:lnTo>
                  <a:lnTo>
                    <a:pt x="826" y="637"/>
                  </a:lnTo>
                  <a:lnTo>
                    <a:pt x="822" y="645"/>
                  </a:lnTo>
                  <a:lnTo>
                    <a:pt x="815" y="655"/>
                  </a:lnTo>
                  <a:lnTo>
                    <a:pt x="803" y="656"/>
                  </a:lnTo>
                  <a:lnTo>
                    <a:pt x="794" y="663"/>
                  </a:lnTo>
                  <a:lnTo>
                    <a:pt x="789" y="674"/>
                  </a:lnTo>
                  <a:lnTo>
                    <a:pt x="787" y="687"/>
                  </a:lnTo>
                  <a:lnTo>
                    <a:pt x="793" y="700"/>
                  </a:lnTo>
                  <a:lnTo>
                    <a:pt x="802" y="716"/>
                  </a:lnTo>
                  <a:lnTo>
                    <a:pt x="808" y="733"/>
                  </a:lnTo>
                  <a:lnTo>
                    <a:pt x="805" y="746"/>
                  </a:lnTo>
                  <a:lnTo>
                    <a:pt x="810" y="757"/>
                  </a:lnTo>
                  <a:lnTo>
                    <a:pt x="819" y="780"/>
                  </a:lnTo>
                  <a:lnTo>
                    <a:pt x="824" y="790"/>
                  </a:lnTo>
                  <a:lnTo>
                    <a:pt x="824" y="793"/>
                  </a:lnTo>
                  <a:lnTo>
                    <a:pt x="816" y="797"/>
                  </a:lnTo>
                  <a:lnTo>
                    <a:pt x="816" y="800"/>
                  </a:lnTo>
                  <a:lnTo>
                    <a:pt x="822" y="803"/>
                  </a:lnTo>
                  <a:lnTo>
                    <a:pt x="828" y="803"/>
                  </a:lnTo>
                  <a:lnTo>
                    <a:pt x="834" y="806"/>
                  </a:lnTo>
                  <a:lnTo>
                    <a:pt x="837" y="812"/>
                  </a:lnTo>
                  <a:lnTo>
                    <a:pt x="837" y="813"/>
                  </a:lnTo>
                  <a:lnTo>
                    <a:pt x="834" y="822"/>
                  </a:lnTo>
                  <a:lnTo>
                    <a:pt x="832" y="822"/>
                  </a:lnTo>
                  <a:lnTo>
                    <a:pt x="832" y="827"/>
                  </a:lnTo>
                  <a:lnTo>
                    <a:pt x="835" y="835"/>
                  </a:lnTo>
                  <a:lnTo>
                    <a:pt x="835" y="841"/>
                  </a:lnTo>
                  <a:lnTo>
                    <a:pt x="822" y="869"/>
                  </a:lnTo>
                  <a:lnTo>
                    <a:pt x="822" y="873"/>
                  </a:lnTo>
                  <a:lnTo>
                    <a:pt x="829" y="876"/>
                  </a:lnTo>
                  <a:lnTo>
                    <a:pt x="829" y="883"/>
                  </a:lnTo>
                  <a:lnTo>
                    <a:pt x="805" y="911"/>
                  </a:lnTo>
                  <a:lnTo>
                    <a:pt x="800" y="914"/>
                  </a:lnTo>
                  <a:lnTo>
                    <a:pt x="797" y="918"/>
                  </a:lnTo>
                  <a:lnTo>
                    <a:pt x="794" y="927"/>
                  </a:lnTo>
                  <a:lnTo>
                    <a:pt x="787" y="978"/>
                  </a:lnTo>
                  <a:lnTo>
                    <a:pt x="786" y="982"/>
                  </a:lnTo>
                  <a:lnTo>
                    <a:pt x="761" y="1035"/>
                  </a:lnTo>
                  <a:lnTo>
                    <a:pt x="754" y="1046"/>
                  </a:lnTo>
                  <a:lnTo>
                    <a:pt x="742" y="1058"/>
                  </a:lnTo>
                  <a:lnTo>
                    <a:pt x="730" y="1062"/>
                  </a:lnTo>
                  <a:lnTo>
                    <a:pt x="730" y="1062"/>
                  </a:lnTo>
                  <a:lnTo>
                    <a:pt x="732" y="1062"/>
                  </a:lnTo>
                  <a:lnTo>
                    <a:pt x="732" y="1062"/>
                  </a:lnTo>
                  <a:lnTo>
                    <a:pt x="727" y="1058"/>
                  </a:lnTo>
                  <a:lnTo>
                    <a:pt x="694" y="1051"/>
                  </a:lnTo>
                  <a:lnTo>
                    <a:pt x="639" y="1022"/>
                  </a:lnTo>
                  <a:lnTo>
                    <a:pt x="631" y="1022"/>
                  </a:lnTo>
                  <a:lnTo>
                    <a:pt x="612" y="1023"/>
                  </a:lnTo>
                  <a:lnTo>
                    <a:pt x="583" y="1014"/>
                  </a:lnTo>
                  <a:lnTo>
                    <a:pt x="579" y="1016"/>
                  </a:lnTo>
                  <a:lnTo>
                    <a:pt x="572" y="1020"/>
                  </a:lnTo>
                  <a:lnTo>
                    <a:pt x="567" y="1022"/>
                  </a:lnTo>
                  <a:lnTo>
                    <a:pt x="564" y="1022"/>
                  </a:lnTo>
                  <a:lnTo>
                    <a:pt x="557" y="1019"/>
                  </a:lnTo>
                  <a:lnTo>
                    <a:pt x="553" y="1017"/>
                  </a:lnTo>
                  <a:lnTo>
                    <a:pt x="548" y="1019"/>
                  </a:lnTo>
                  <a:lnTo>
                    <a:pt x="544" y="1020"/>
                  </a:lnTo>
                  <a:lnTo>
                    <a:pt x="539" y="1022"/>
                  </a:lnTo>
                  <a:lnTo>
                    <a:pt x="535" y="1020"/>
                  </a:lnTo>
                  <a:lnTo>
                    <a:pt x="532" y="1017"/>
                  </a:lnTo>
                  <a:lnTo>
                    <a:pt x="528" y="1011"/>
                  </a:lnTo>
                  <a:lnTo>
                    <a:pt x="526" y="1007"/>
                  </a:lnTo>
                  <a:lnTo>
                    <a:pt x="518" y="1004"/>
                  </a:lnTo>
                  <a:lnTo>
                    <a:pt x="503" y="1001"/>
                  </a:lnTo>
                  <a:lnTo>
                    <a:pt x="496" y="995"/>
                  </a:lnTo>
                  <a:lnTo>
                    <a:pt x="491" y="990"/>
                  </a:lnTo>
                  <a:lnTo>
                    <a:pt x="483" y="978"/>
                  </a:lnTo>
                  <a:lnTo>
                    <a:pt x="478" y="972"/>
                  </a:lnTo>
                  <a:lnTo>
                    <a:pt x="478" y="972"/>
                  </a:lnTo>
                  <a:lnTo>
                    <a:pt x="478" y="971"/>
                  </a:lnTo>
                  <a:lnTo>
                    <a:pt x="480" y="969"/>
                  </a:lnTo>
                  <a:lnTo>
                    <a:pt x="483" y="968"/>
                  </a:lnTo>
                  <a:lnTo>
                    <a:pt x="483" y="968"/>
                  </a:lnTo>
                  <a:lnTo>
                    <a:pt x="480" y="960"/>
                  </a:lnTo>
                  <a:lnTo>
                    <a:pt x="474" y="958"/>
                  </a:lnTo>
                  <a:lnTo>
                    <a:pt x="458" y="958"/>
                  </a:lnTo>
                  <a:lnTo>
                    <a:pt x="456" y="950"/>
                  </a:lnTo>
                  <a:lnTo>
                    <a:pt x="451" y="950"/>
                  </a:lnTo>
                  <a:lnTo>
                    <a:pt x="443" y="952"/>
                  </a:lnTo>
                  <a:lnTo>
                    <a:pt x="443" y="952"/>
                  </a:lnTo>
                  <a:lnTo>
                    <a:pt x="436" y="952"/>
                  </a:lnTo>
                  <a:lnTo>
                    <a:pt x="429" y="946"/>
                  </a:lnTo>
                  <a:lnTo>
                    <a:pt x="417" y="931"/>
                  </a:lnTo>
                  <a:lnTo>
                    <a:pt x="417" y="931"/>
                  </a:lnTo>
                  <a:lnTo>
                    <a:pt x="416" y="926"/>
                  </a:lnTo>
                  <a:lnTo>
                    <a:pt x="416" y="923"/>
                  </a:lnTo>
                  <a:lnTo>
                    <a:pt x="414" y="918"/>
                  </a:lnTo>
                  <a:lnTo>
                    <a:pt x="414" y="915"/>
                  </a:lnTo>
                  <a:lnTo>
                    <a:pt x="414" y="914"/>
                  </a:lnTo>
                  <a:lnTo>
                    <a:pt x="417" y="910"/>
                  </a:lnTo>
                  <a:lnTo>
                    <a:pt x="417" y="908"/>
                  </a:lnTo>
                  <a:lnTo>
                    <a:pt x="417" y="908"/>
                  </a:lnTo>
                  <a:lnTo>
                    <a:pt x="419" y="908"/>
                  </a:lnTo>
                  <a:lnTo>
                    <a:pt x="420" y="908"/>
                  </a:lnTo>
                  <a:lnTo>
                    <a:pt x="420" y="908"/>
                  </a:lnTo>
                  <a:lnTo>
                    <a:pt x="420" y="908"/>
                  </a:lnTo>
                  <a:lnTo>
                    <a:pt x="421" y="908"/>
                  </a:lnTo>
                  <a:lnTo>
                    <a:pt x="421" y="908"/>
                  </a:lnTo>
                  <a:lnTo>
                    <a:pt x="423" y="908"/>
                  </a:lnTo>
                  <a:lnTo>
                    <a:pt x="424" y="908"/>
                  </a:lnTo>
                  <a:lnTo>
                    <a:pt x="424" y="907"/>
                  </a:lnTo>
                  <a:lnTo>
                    <a:pt x="426" y="907"/>
                  </a:lnTo>
                  <a:lnTo>
                    <a:pt x="426" y="905"/>
                  </a:lnTo>
                  <a:lnTo>
                    <a:pt x="427" y="905"/>
                  </a:lnTo>
                  <a:lnTo>
                    <a:pt x="429" y="901"/>
                  </a:lnTo>
                  <a:lnTo>
                    <a:pt x="430" y="896"/>
                  </a:lnTo>
                  <a:lnTo>
                    <a:pt x="430" y="892"/>
                  </a:lnTo>
                  <a:lnTo>
                    <a:pt x="432" y="891"/>
                  </a:lnTo>
                  <a:lnTo>
                    <a:pt x="432" y="889"/>
                  </a:lnTo>
                  <a:lnTo>
                    <a:pt x="433" y="888"/>
                  </a:lnTo>
                  <a:lnTo>
                    <a:pt x="433" y="886"/>
                  </a:lnTo>
                  <a:lnTo>
                    <a:pt x="436" y="885"/>
                  </a:lnTo>
                  <a:lnTo>
                    <a:pt x="438" y="883"/>
                  </a:lnTo>
                  <a:lnTo>
                    <a:pt x="438" y="880"/>
                  </a:lnTo>
                  <a:lnTo>
                    <a:pt x="439" y="875"/>
                  </a:lnTo>
                  <a:lnTo>
                    <a:pt x="439" y="873"/>
                  </a:lnTo>
                  <a:lnTo>
                    <a:pt x="440" y="872"/>
                  </a:lnTo>
                  <a:lnTo>
                    <a:pt x="445" y="869"/>
                  </a:lnTo>
                  <a:lnTo>
                    <a:pt x="446" y="867"/>
                  </a:lnTo>
                  <a:lnTo>
                    <a:pt x="448" y="866"/>
                  </a:lnTo>
                  <a:lnTo>
                    <a:pt x="449" y="861"/>
                  </a:lnTo>
                  <a:lnTo>
                    <a:pt x="449" y="860"/>
                  </a:lnTo>
                  <a:lnTo>
                    <a:pt x="449" y="859"/>
                  </a:lnTo>
                  <a:lnTo>
                    <a:pt x="448" y="856"/>
                  </a:lnTo>
                  <a:lnTo>
                    <a:pt x="448" y="854"/>
                  </a:lnTo>
                  <a:lnTo>
                    <a:pt x="448" y="853"/>
                  </a:lnTo>
                  <a:lnTo>
                    <a:pt x="451" y="850"/>
                  </a:lnTo>
                  <a:lnTo>
                    <a:pt x="448" y="844"/>
                  </a:lnTo>
                  <a:lnTo>
                    <a:pt x="445" y="843"/>
                  </a:lnTo>
                  <a:lnTo>
                    <a:pt x="436" y="840"/>
                  </a:lnTo>
                  <a:lnTo>
                    <a:pt x="419" y="837"/>
                  </a:lnTo>
                  <a:lnTo>
                    <a:pt x="416" y="834"/>
                  </a:lnTo>
                  <a:lnTo>
                    <a:pt x="417" y="832"/>
                  </a:lnTo>
                  <a:lnTo>
                    <a:pt x="417" y="832"/>
                  </a:lnTo>
                  <a:lnTo>
                    <a:pt x="417" y="832"/>
                  </a:lnTo>
                  <a:lnTo>
                    <a:pt x="417" y="831"/>
                  </a:lnTo>
                  <a:lnTo>
                    <a:pt x="417" y="829"/>
                  </a:lnTo>
                  <a:lnTo>
                    <a:pt x="411" y="822"/>
                  </a:lnTo>
                  <a:lnTo>
                    <a:pt x="403" y="812"/>
                  </a:lnTo>
                  <a:lnTo>
                    <a:pt x="400" y="803"/>
                  </a:lnTo>
                  <a:lnTo>
                    <a:pt x="401" y="802"/>
                  </a:lnTo>
                  <a:lnTo>
                    <a:pt x="403" y="800"/>
                  </a:lnTo>
                  <a:lnTo>
                    <a:pt x="405" y="799"/>
                  </a:lnTo>
                  <a:lnTo>
                    <a:pt x="411" y="790"/>
                  </a:lnTo>
                  <a:lnTo>
                    <a:pt x="414" y="789"/>
                  </a:lnTo>
                  <a:lnTo>
                    <a:pt x="417" y="787"/>
                  </a:lnTo>
                  <a:lnTo>
                    <a:pt x="420" y="784"/>
                  </a:lnTo>
                  <a:lnTo>
                    <a:pt x="421" y="783"/>
                  </a:lnTo>
                  <a:lnTo>
                    <a:pt x="421" y="780"/>
                  </a:lnTo>
                  <a:lnTo>
                    <a:pt x="421" y="777"/>
                  </a:lnTo>
                  <a:lnTo>
                    <a:pt x="421" y="776"/>
                  </a:lnTo>
                  <a:lnTo>
                    <a:pt x="421" y="774"/>
                  </a:lnTo>
                  <a:lnTo>
                    <a:pt x="420" y="774"/>
                  </a:lnTo>
                  <a:lnTo>
                    <a:pt x="419" y="773"/>
                  </a:lnTo>
                  <a:lnTo>
                    <a:pt x="417" y="773"/>
                  </a:lnTo>
                  <a:lnTo>
                    <a:pt x="417" y="771"/>
                  </a:lnTo>
                  <a:lnTo>
                    <a:pt x="416" y="768"/>
                  </a:lnTo>
                  <a:lnTo>
                    <a:pt x="416" y="762"/>
                  </a:lnTo>
                  <a:lnTo>
                    <a:pt x="416" y="757"/>
                  </a:lnTo>
                  <a:lnTo>
                    <a:pt x="411" y="749"/>
                  </a:lnTo>
                  <a:lnTo>
                    <a:pt x="410" y="742"/>
                  </a:lnTo>
                  <a:lnTo>
                    <a:pt x="410" y="735"/>
                  </a:lnTo>
                  <a:lnTo>
                    <a:pt x="408" y="733"/>
                  </a:lnTo>
                  <a:lnTo>
                    <a:pt x="407" y="733"/>
                  </a:lnTo>
                  <a:lnTo>
                    <a:pt x="405" y="735"/>
                  </a:lnTo>
                  <a:lnTo>
                    <a:pt x="404" y="736"/>
                  </a:lnTo>
                  <a:lnTo>
                    <a:pt x="401" y="739"/>
                  </a:lnTo>
                  <a:lnTo>
                    <a:pt x="397" y="739"/>
                  </a:lnTo>
                  <a:lnTo>
                    <a:pt x="391" y="741"/>
                  </a:lnTo>
                  <a:lnTo>
                    <a:pt x="387" y="741"/>
                  </a:lnTo>
                  <a:lnTo>
                    <a:pt x="385" y="741"/>
                  </a:lnTo>
                  <a:lnTo>
                    <a:pt x="384" y="739"/>
                  </a:lnTo>
                  <a:lnTo>
                    <a:pt x="382" y="738"/>
                  </a:lnTo>
                  <a:lnTo>
                    <a:pt x="370" y="729"/>
                  </a:lnTo>
                  <a:lnTo>
                    <a:pt x="362" y="722"/>
                  </a:lnTo>
                  <a:lnTo>
                    <a:pt x="360" y="720"/>
                  </a:lnTo>
                  <a:lnTo>
                    <a:pt x="340" y="720"/>
                  </a:lnTo>
                  <a:lnTo>
                    <a:pt x="337" y="719"/>
                  </a:lnTo>
                  <a:lnTo>
                    <a:pt x="336" y="717"/>
                  </a:lnTo>
                  <a:lnTo>
                    <a:pt x="314" y="706"/>
                  </a:lnTo>
                  <a:lnTo>
                    <a:pt x="306" y="712"/>
                  </a:lnTo>
                  <a:lnTo>
                    <a:pt x="305" y="712"/>
                  </a:lnTo>
                  <a:lnTo>
                    <a:pt x="302" y="709"/>
                  </a:lnTo>
                  <a:lnTo>
                    <a:pt x="296" y="707"/>
                  </a:lnTo>
                  <a:lnTo>
                    <a:pt x="295" y="707"/>
                  </a:lnTo>
                  <a:lnTo>
                    <a:pt x="292" y="707"/>
                  </a:lnTo>
                  <a:lnTo>
                    <a:pt x="266" y="725"/>
                  </a:lnTo>
                  <a:lnTo>
                    <a:pt x="215" y="748"/>
                  </a:lnTo>
                  <a:lnTo>
                    <a:pt x="209" y="749"/>
                  </a:lnTo>
                  <a:lnTo>
                    <a:pt x="207" y="749"/>
                  </a:lnTo>
                  <a:lnTo>
                    <a:pt x="200" y="749"/>
                  </a:lnTo>
                  <a:lnTo>
                    <a:pt x="177" y="760"/>
                  </a:lnTo>
                  <a:lnTo>
                    <a:pt x="137" y="757"/>
                  </a:lnTo>
                  <a:lnTo>
                    <a:pt x="91" y="761"/>
                  </a:lnTo>
                  <a:lnTo>
                    <a:pt x="88" y="762"/>
                  </a:lnTo>
                  <a:lnTo>
                    <a:pt x="89" y="757"/>
                  </a:lnTo>
                  <a:lnTo>
                    <a:pt x="89" y="739"/>
                  </a:lnTo>
                  <a:lnTo>
                    <a:pt x="91" y="733"/>
                  </a:lnTo>
                  <a:lnTo>
                    <a:pt x="97" y="726"/>
                  </a:lnTo>
                  <a:lnTo>
                    <a:pt x="97" y="726"/>
                  </a:lnTo>
                  <a:lnTo>
                    <a:pt x="105" y="714"/>
                  </a:lnTo>
                  <a:lnTo>
                    <a:pt x="105" y="714"/>
                  </a:lnTo>
                  <a:lnTo>
                    <a:pt x="108" y="707"/>
                  </a:lnTo>
                  <a:lnTo>
                    <a:pt x="108" y="707"/>
                  </a:lnTo>
                  <a:lnTo>
                    <a:pt x="108" y="707"/>
                  </a:lnTo>
                  <a:lnTo>
                    <a:pt x="111" y="703"/>
                  </a:lnTo>
                  <a:lnTo>
                    <a:pt x="113" y="701"/>
                  </a:lnTo>
                  <a:lnTo>
                    <a:pt x="111" y="697"/>
                  </a:lnTo>
                  <a:lnTo>
                    <a:pt x="110" y="695"/>
                  </a:lnTo>
                  <a:lnTo>
                    <a:pt x="107" y="694"/>
                  </a:lnTo>
                  <a:lnTo>
                    <a:pt x="107" y="691"/>
                  </a:lnTo>
                  <a:lnTo>
                    <a:pt x="107" y="691"/>
                  </a:lnTo>
                  <a:lnTo>
                    <a:pt x="108" y="690"/>
                  </a:lnTo>
                  <a:lnTo>
                    <a:pt x="113" y="684"/>
                  </a:lnTo>
                  <a:lnTo>
                    <a:pt x="113" y="684"/>
                  </a:lnTo>
                  <a:lnTo>
                    <a:pt x="137" y="668"/>
                  </a:lnTo>
                  <a:lnTo>
                    <a:pt x="137" y="668"/>
                  </a:lnTo>
                  <a:lnTo>
                    <a:pt x="137" y="666"/>
                  </a:lnTo>
                  <a:lnTo>
                    <a:pt x="134" y="663"/>
                  </a:lnTo>
                  <a:lnTo>
                    <a:pt x="136" y="661"/>
                  </a:lnTo>
                  <a:lnTo>
                    <a:pt x="136" y="661"/>
                  </a:lnTo>
                  <a:lnTo>
                    <a:pt x="137" y="661"/>
                  </a:lnTo>
                  <a:lnTo>
                    <a:pt x="140" y="662"/>
                  </a:lnTo>
                  <a:lnTo>
                    <a:pt x="140" y="662"/>
                  </a:lnTo>
                  <a:lnTo>
                    <a:pt x="137" y="658"/>
                  </a:lnTo>
                  <a:lnTo>
                    <a:pt x="136" y="655"/>
                  </a:lnTo>
                  <a:lnTo>
                    <a:pt x="136" y="650"/>
                  </a:lnTo>
                  <a:lnTo>
                    <a:pt x="136" y="646"/>
                  </a:lnTo>
                  <a:lnTo>
                    <a:pt x="136" y="645"/>
                  </a:lnTo>
                  <a:lnTo>
                    <a:pt x="139" y="642"/>
                  </a:lnTo>
                  <a:lnTo>
                    <a:pt x="139" y="642"/>
                  </a:lnTo>
                  <a:lnTo>
                    <a:pt x="139" y="640"/>
                  </a:lnTo>
                  <a:lnTo>
                    <a:pt x="139" y="637"/>
                  </a:lnTo>
                  <a:lnTo>
                    <a:pt x="139" y="634"/>
                  </a:lnTo>
                  <a:lnTo>
                    <a:pt x="140" y="623"/>
                  </a:lnTo>
                  <a:lnTo>
                    <a:pt x="140" y="623"/>
                  </a:lnTo>
                  <a:lnTo>
                    <a:pt x="140" y="623"/>
                  </a:lnTo>
                  <a:lnTo>
                    <a:pt x="140" y="623"/>
                  </a:lnTo>
                  <a:lnTo>
                    <a:pt x="140" y="617"/>
                  </a:lnTo>
                  <a:lnTo>
                    <a:pt x="140" y="617"/>
                  </a:lnTo>
                  <a:lnTo>
                    <a:pt x="142" y="617"/>
                  </a:lnTo>
                  <a:lnTo>
                    <a:pt x="142" y="617"/>
                  </a:lnTo>
                  <a:lnTo>
                    <a:pt x="142" y="617"/>
                  </a:lnTo>
                  <a:lnTo>
                    <a:pt x="140" y="615"/>
                  </a:lnTo>
                  <a:lnTo>
                    <a:pt x="139" y="615"/>
                  </a:lnTo>
                  <a:lnTo>
                    <a:pt x="127" y="611"/>
                  </a:lnTo>
                  <a:lnTo>
                    <a:pt x="111" y="611"/>
                  </a:lnTo>
                  <a:lnTo>
                    <a:pt x="105" y="610"/>
                  </a:lnTo>
                  <a:lnTo>
                    <a:pt x="100" y="607"/>
                  </a:lnTo>
                  <a:lnTo>
                    <a:pt x="89" y="596"/>
                  </a:lnTo>
                  <a:lnTo>
                    <a:pt x="84" y="594"/>
                  </a:lnTo>
                  <a:lnTo>
                    <a:pt x="81" y="594"/>
                  </a:lnTo>
                  <a:lnTo>
                    <a:pt x="75" y="596"/>
                  </a:lnTo>
                  <a:lnTo>
                    <a:pt x="72" y="596"/>
                  </a:lnTo>
                  <a:lnTo>
                    <a:pt x="72" y="594"/>
                  </a:lnTo>
                  <a:lnTo>
                    <a:pt x="67" y="585"/>
                  </a:lnTo>
                  <a:lnTo>
                    <a:pt x="66" y="582"/>
                  </a:lnTo>
                  <a:lnTo>
                    <a:pt x="62" y="579"/>
                  </a:lnTo>
                  <a:lnTo>
                    <a:pt x="50" y="573"/>
                  </a:lnTo>
                  <a:lnTo>
                    <a:pt x="44" y="567"/>
                  </a:lnTo>
                  <a:lnTo>
                    <a:pt x="33" y="540"/>
                  </a:lnTo>
                  <a:lnTo>
                    <a:pt x="27" y="531"/>
                  </a:lnTo>
                  <a:lnTo>
                    <a:pt x="27" y="531"/>
                  </a:lnTo>
                  <a:lnTo>
                    <a:pt x="24" y="538"/>
                  </a:lnTo>
                  <a:lnTo>
                    <a:pt x="24" y="538"/>
                  </a:lnTo>
                  <a:lnTo>
                    <a:pt x="21" y="534"/>
                  </a:lnTo>
                  <a:lnTo>
                    <a:pt x="15" y="518"/>
                  </a:lnTo>
                  <a:lnTo>
                    <a:pt x="9" y="509"/>
                  </a:lnTo>
                  <a:lnTo>
                    <a:pt x="8" y="505"/>
                  </a:lnTo>
                  <a:lnTo>
                    <a:pt x="9" y="499"/>
                  </a:lnTo>
                  <a:lnTo>
                    <a:pt x="6" y="487"/>
                  </a:lnTo>
                  <a:lnTo>
                    <a:pt x="5" y="483"/>
                  </a:lnTo>
                  <a:lnTo>
                    <a:pt x="0" y="481"/>
                  </a:lnTo>
                  <a:lnTo>
                    <a:pt x="3" y="474"/>
                  </a:lnTo>
                  <a:lnTo>
                    <a:pt x="3" y="474"/>
                  </a:lnTo>
                  <a:lnTo>
                    <a:pt x="5" y="473"/>
                  </a:lnTo>
                  <a:lnTo>
                    <a:pt x="5" y="473"/>
                  </a:lnTo>
                  <a:lnTo>
                    <a:pt x="3" y="473"/>
                  </a:lnTo>
                  <a:lnTo>
                    <a:pt x="2" y="473"/>
                  </a:lnTo>
                  <a:lnTo>
                    <a:pt x="2" y="473"/>
                  </a:lnTo>
                  <a:lnTo>
                    <a:pt x="3" y="457"/>
                  </a:lnTo>
                  <a:lnTo>
                    <a:pt x="5" y="449"/>
                  </a:lnTo>
                  <a:lnTo>
                    <a:pt x="8" y="442"/>
                  </a:lnTo>
                  <a:lnTo>
                    <a:pt x="8" y="442"/>
                  </a:lnTo>
                  <a:lnTo>
                    <a:pt x="11" y="438"/>
                  </a:lnTo>
                  <a:lnTo>
                    <a:pt x="11" y="438"/>
                  </a:lnTo>
                  <a:lnTo>
                    <a:pt x="12" y="435"/>
                  </a:lnTo>
                  <a:lnTo>
                    <a:pt x="11" y="432"/>
                  </a:lnTo>
                  <a:lnTo>
                    <a:pt x="8" y="429"/>
                  </a:lnTo>
                  <a:lnTo>
                    <a:pt x="8" y="426"/>
                  </a:lnTo>
                  <a:lnTo>
                    <a:pt x="9" y="420"/>
                  </a:lnTo>
                  <a:lnTo>
                    <a:pt x="9" y="417"/>
                  </a:lnTo>
                  <a:lnTo>
                    <a:pt x="9" y="417"/>
                  </a:lnTo>
                  <a:lnTo>
                    <a:pt x="12" y="416"/>
                  </a:lnTo>
                  <a:lnTo>
                    <a:pt x="19" y="416"/>
                  </a:lnTo>
                  <a:lnTo>
                    <a:pt x="22" y="414"/>
                  </a:lnTo>
                  <a:lnTo>
                    <a:pt x="22" y="414"/>
                  </a:lnTo>
                  <a:lnTo>
                    <a:pt x="24" y="409"/>
                  </a:lnTo>
                  <a:lnTo>
                    <a:pt x="24" y="403"/>
                  </a:lnTo>
                  <a:lnTo>
                    <a:pt x="22" y="397"/>
                  </a:lnTo>
                  <a:lnTo>
                    <a:pt x="18" y="391"/>
                  </a:lnTo>
                  <a:lnTo>
                    <a:pt x="18" y="391"/>
                  </a:lnTo>
                  <a:lnTo>
                    <a:pt x="21" y="387"/>
                  </a:lnTo>
                  <a:lnTo>
                    <a:pt x="30" y="381"/>
                  </a:lnTo>
                  <a:lnTo>
                    <a:pt x="33" y="375"/>
                  </a:lnTo>
                  <a:lnTo>
                    <a:pt x="40" y="372"/>
                  </a:lnTo>
                  <a:lnTo>
                    <a:pt x="54" y="368"/>
                  </a:lnTo>
                  <a:lnTo>
                    <a:pt x="62" y="362"/>
                  </a:lnTo>
                  <a:lnTo>
                    <a:pt x="62" y="362"/>
                  </a:lnTo>
                  <a:lnTo>
                    <a:pt x="60" y="358"/>
                  </a:lnTo>
                  <a:lnTo>
                    <a:pt x="60" y="352"/>
                  </a:lnTo>
                  <a:lnTo>
                    <a:pt x="63" y="348"/>
                  </a:lnTo>
                  <a:lnTo>
                    <a:pt x="65" y="346"/>
                  </a:lnTo>
                  <a:lnTo>
                    <a:pt x="66" y="343"/>
                  </a:lnTo>
                  <a:lnTo>
                    <a:pt x="70" y="340"/>
                  </a:lnTo>
                  <a:lnTo>
                    <a:pt x="75" y="340"/>
                  </a:lnTo>
                  <a:lnTo>
                    <a:pt x="79" y="342"/>
                  </a:lnTo>
                  <a:lnTo>
                    <a:pt x="84" y="343"/>
                  </a:lnTo>
                  <a:lnTo>
                    <a:pt x="92" y="342"/>
                  </a:lnTo>
                  <a:lnTo>
                    <a:pt x="97" y="336"/>
                  </a:lnTo>
                  <a:lnTo>
                    <a:pt x="97" y="336"/>
                  </a:lnTo>
                  <a:lnTo>
                    <a:pt x="97" y="333"/>
                  </a:lnTo>
                  <a:lnTo>
                    <a:pt x="105" y="333"/>
                  </a:lnTo>
                  <a:lnTo>
                    <a:pt x="113" y="329"/>
                  </a:lnTo>
                  <a:lnTo>
                    <a:pt x="116" y="327"/>
                  </a:lnTo>
                  <a:lnTo>
                    <a:pt x="116" y="327"/>
                  </a:lnTo>
                  <a:lnTo>
                    <a:pt x="116" y="326"/>
                  </a:lnTo>
                  <a:lnTo>
                    <a:pt x="116" y="326"/>
                  </a:lnTo>
                  <a:lnTo>
                    <a:pt x="114" y="324"/>
                  </a:lnTo>
                  <a:lnTo>
                    <a:pt x="102" y="305"/>
                  </a:lnTo>
                  <a:lnTo>
                    <a:pt x="102" y="304"/>
                  </a:lnTo>
                  <a:lnTo>
                    <a:pt x="102" y="302"/>
                  </a:lnTo>
                  <a:lnTo>
                    <a:pt x="104" y="301"/>
                  </a:lnTo>
                  <a:lnTo>
                    <a:pt x="104" y="301"/>
                  </a:lnTo>
                  <a:lnTo>
                    <a:pt x="105" y="299"/>
                  </a:lnTo>
                  <a:lnTo>
                    <a:pt x="107" y="299"/>
                  </a:lnTo>
                  <a:lnTo>
                    <a:pt x="108" y="301"/>
                  </a:lnTo>
                  <a:lnTo>
                    <a:pt x="111" y="302"/>
                  </a:lnTo>
                  <a:lnTo>
                    <a:pt x="111" y="304"/>
                  </a:lnTo>
                  <a:lnTo>
                    <a:pt x="113" y="305"/>
                  </a:lnTo>
                  <a:lnTo>
                    <a:pt x="113" y="307"/>
                  </a:lnTo>
                  <a:lnTo>
                    <a:pt x="114" y="308"/>
                  </a:lnTo>
                  <a:lnTo>
                    <a:pt x="116" y="310"/>
                  </a:lnTo>
                  <a:lnTo>
                    <a:pt x="121" y="313"/>
                  </a:lnTo>
                  <a:lnTo>
                    <a:pt x="123" y="314"/>
                  </a:lnTo>
                  <a:lnTo>
                    <a:pt x="123" y="315"/>
                  </a:lnTo>
                  <a:lnTo>
                    <a:pt x="124" y="321"/>
                  </a:lnTo>
                  <a:lnTo>
                    <a:pt x="126" y="323"/>
                  </a:lnTo>
                  <a:lnTo>
                    <a:pt x="129" y="323"/>
                  </a:lnTo>
                  <a:lnTo>
                    <a:pt x="134" y="320"/>
                  </a:lnTo>
                  <a:lnTo>
                    <a:pt x="149" y="308"/>
                  </a:lnTo>
                  <a:lnTo>
                    <a:pt x="151" y="308"/>
                  </a:lnTo>
                  <a:lnTo>
                    <a:pt x="152" y="307"/>
                  </a:lnTo>
                  <a:lnTo>
                    <a:pt x="167" y="305"/>
                  </a:lnTo>
                  <a:lnTo>
                    <a:pt x="168" y="304"/>
                  </a:lnTo>
                  <a:lnTo>
                    <a:pt x="171" y="302"/>
                  </a:lnTo>
                  <a:lnTo>
                    <a:pt x="172" y="304"/>
                  </a:lnTo>
                  <a:lnTo>
                    <a:pt x="175" y="304"/>
                  </a:lnTo>
                  <a:lnTo>
                    <a:pt x="181" y="307"/>
                  </a:lnTo>
                  <a:lnTo>
                    <a:pt x="184" y="310"/>
                  </a:lnTo>
                  <a:lnTo>
                    <a:pt x="184" y="311"/>
                  </a:lnTo>
                  <a:lnTo>
                    <a:pt x="184" y="313"/>
                  </a:lnTo>
                  <a:lnTo>
                    <a:pt x="183" y="315"/>
                  </a:lnTo>
                  <a:lnTo>
                    <a:pt x="183" y="317"/>
                  </a:lnTo>
                  <a:lnTo>
                    <a:pt x="183" y="317"/>
                  </a:lnTo>
                  <a:lnTo>
                    <a:pt x="184" y="318"/>
                  </a:lnTo>
                  <a:lnTo>
                    <a:pt x="188" y="318"/>
                  </a:lnTo>
                  <a:lnTo>
                    <a:pt x="193" y="315"/>
                  </a:lnTo>
                  <a:lnTo>
                    <a:pt x="196" y="313"/>
                  </a:lnTo>
                  <a:lnTo>
                    <a:pt x="197" y="311"/>
                  </a:lnTo>
                  <a:lnTo>
                    <a:pt x="200" y="311"/>
                  </a:lnTo>
                  <a:lnTo>
                    <a:pt x="204" y="314"/>
                  </a:lnTo>
                  <a:lnTo>
                    <a:pt x="206" y="315"/>
                  </a:lnTo>
                  <a:lnTo>
                    <a:pt x="210" y="321"/>
                  </a:lnTo>
                  <a:lnTo>
                    <a:pt x="216" y="323"/>
                  </a:lnTo>
                  <a:lnTo>
                    <a:pt x="235" y="317"/>
                  </a:lnTo>
                  <a:lnTo>
                    <a:pt x="244" y="315"/>
                  </a:lnTo>
                  <a:lnTo>
                    <a:pt x="244" y="314"/>
                  </a:lnTo>
                  <a:lnTo>
                    <a:pt x="245" y="313"/>
                  </a:lnTo>
                  <a:lnTo>
                    <a:pt x="245" y="311"/>
                  </a:lnTo>
                  <a:lnTo>
                    <a:pt x="245" y="307"/>
                  </a:lnTo>
                  <a:lnTo>
                    <a:pt x="244" y="305"/>
                  </a:lnTo>
                  <a:lnTo>
                    <a:pt x="244" y="304"/>
                  </a:lnTo>
                  <a:lnTo>
                    <a:pt x="241" y="298"/>
                  </a:lnTo>
                  <a:lnTo>
                    <a:pt x="239" y="297"/>
                  </a:lnTo>
                  <a:lnTo>
                    <a:pt x="238" y="295"/>
                  </a:lnTo>
                  <a:lnTo>
                    <a:pt x="238" y="291"/>
                  </a:lnTo>
                  <a:lnTo>
                    <a:pt x="238" y="285"/>
                  </a:lnTo>
                  <a:lnTo>
                    <a:pt x="238" y="279"/>
                  </a:lnTo>
                  <a:lnTo>
                    <a:pt x="238" y="278"/>
                  </a:lnTo>
                  <a:lnTo>
                    <a:pt x="236" y="276"/>
                  </a:lnTo>
                  <a:lnTo>
                    <a:pt x="236" y="276"/>
                  </a:lnTo>
                  <a:lnTo>
                    <a:pt x="235" y="275"/>
                  </a:lnTo>
                  <a:lnTo>
                    <a:pt x="231" y="272"/>
                  </a:lnTo>
                  <a:lnTo>
                    <a:pt x="229" y="272"/>
                  </a:lnTo>
                  <a:lnTo>
                    <a:pt x="229" y="270"/>
                  </a:lnTo>
                  <a:lnTo>
                    <a:pt x="229" y="269"/>
                  </a:lnTo>
                  <a:lnTo>
                    <a:pt x="229" y="266"/>
                  </a:lnTo>
                  <a:lnTo>
                    <a:pt x="232" y="262"/>
                  </a:lnTo>
                  <a:lnTo>
                    <a:pt x="232" y="259"/>
                  </a:lnTo>
                  <a:lnTo>
                    <a:pt x="232" y="256"/>
                  </a:lnTo>
                  <a:lnTo>
                    <a:pt x="231" y="254"/>
                  </a:lnTo>
                  <a:lnTo>
                    <a:pt x="231" y="253"/>
                  </a:lnTo>
                  <a:lnTo>
                    <a:pt x="231" y="253"/>
                  </a:lnTo>
                  <a:lnTo>
                    <a:pt x="236" y="249"/>
                  </a:lnTo>
                  <a:lnTo>
                    <a:pt x="250" y="244"/>
                  </a:lnTo>
                  <a:lnTo>
                    <a:pt x="252" y="244"/>
                  </a:lnTo>
                  <a:lnTo>
                    <a:pt x="252" y="246"/>
                  </a:lnTo>
                  <a:lnTo>
                    <a:pt x="255" y="250"/>
                  </a:lnTo>
                  <a:lnTo>
                    <a:pt x="257" y="253"/>
                  </a:lnTo>
                  <a:lnTo>
                    <a:pt x="258" y="254"/>
                  </a:lnTo>
                  <a:lnTo>
                    <a:pt x="258" y="256"/>
                  </a:lnTo>
                  <a:lnTo>
                    <a:pt x="261" y="257"/>
                  </a:lnTo>
                  <a:lnTo>
                    <a:pt x="263" y="257"/>
                  </a:lnTo>
                  <a:lnTo>
                    <a:pt x="266" y="257"/>
                  </a:lnTo>
                  <a:lnTo>
                    <a:pt x="267" y="257"/>
                  </a:lnTo>
                  <a:lnTo>
                    <a:pt x="270" y="257"/>
                  </a:lnTo>
                  <a:lnTo>
                    <a:pt x="273" y="254"/>
                  </a:lnTo>
                  <a:lnTo>
                    <a:pt x="276" y="249"/>
                  </a:lnTo>
                  <a:lnTo>
                    <a:pt x="276" y="238"/>
                  </a:lnTo>
                  <a:lnTo>
                    <a:pt x="276" y="232"/>
                  </a:lnTo>
                  <a:lnTo>
                    <a:pt x="276" y="230"/>
                  </a:lnTo>
                  <a:lnTo>
                    <a:pt x="274" y="227"/>
                  </a:lnTo>
                  <a:lnTo>
                    <a:pt x="274" y="225"/>
                  </a:lnTo>
                  <a:lnTo>
                    <a:pt x="276" y="224"/>
                  </a:lnTo>
                  <a:lnTo>
                    <a:pt x="276" y="222"/>
                  </a:lnTo>
                  <a:lnTo>
                    <a:pt x="285" y="221"/>
                  </a:lnTo>
                  <a:lnTo>
                    <a:pt x="290" y="214"/>
                  </a:lnTo>
                  <a:lnTo>
                    <a:pt x="292" y="209"/>
                  </a:lnTo>
                  <a:lnTo>
                    <a:pt x="292" y="208"/>
                  </a:lnTo>
                  <a:lnTo>
                    <a:pt x="293" y="208"/>
                  </a:lnTo>
                  <a:lnTo>
                    <a:pt x="293" y="206"/>
                  </a:lnTo>
                  <a:lnTo>
                    <a:pt x="295" y="206"/>
                  </a:lnTo>
                  <a:lnTo>
                    <a:pt x="299" y="205"/>
                  </a:lnTo>
                  <a:lnTo>
                    <a:pt x="305" y="203"/>
                  </a:lnTo>
                  <a:lnTo>
                    <a:pt x="314" y="200"/>
                  </a:lnTo>
                  <a:lnTo>
                    <a:pt x="333" y="187"/>
                  </a:lnTo>
                  <a:lnTo>
                    <a:pt x="336" y="186"/>
                  </a:lnTo>
                  <a:lnTo>
                    <a:pt x="340" y="186"/>
                  </a:lnTo>
                  <a:lnTo>
                    <a:pt x="346" y="189"/>
                  </a:lnTo>
                  <a:lnTo>
                    <a:pt x="347" y="189"/>
                  </a:lnTo>
                  <a:lnTo>
                    <a:pt x="349" y="189"/>
                  </a:lnTo>
                  <a:lnTo>
                    <a:pt x="352" y="187"/>
                  </a:lnTo>
                  <a:lnTo>
                    <a:pt x="353" y="184"/>
                  </a:lnTo>
                  <a:lnTo>
                    <a:pt x="354" y="183"/>
                  </a:lnTo>
                  <a:lnTo>
                    <a:pt x="354" y="180"/>
                  </a:lnTo>
                  <a:lnTo>
                    <a:pt x="356" y="180"/>
                  </a:lnTo>
                  <a:lnTo>
                    <a:pt x="357" y="180"/>
                  </a:lnTo>
                  <a:lnTo>
                    <a:pt x="365" y="183"/>
                  </a:lnTo>
                  <a:lnTo>
                    <a:pt x="368" y="182"/>
                  </a:lnTo>
                  <a:lnTo>
                    <a:pt x="376" y="173"/>
                  </a:lnTo>
                  <a:lnTo>
                    <a:pt x="379" y="171"/>
                  </a:lnTo>
                  <a:lnTo>
                    <a:pt x="382" y="166"/>
                  </a:lnTo>
                  <a:lnTo>
                    <a:pt x="382" y="164"/>
                  </a:lnTo>
                  <a:lnTo>
                    <a:pt x="384" y="163"/>
                  </a:lnTo>
                  <a:lnTo>
                    <a:pt x="384" y="161"/>
                  </a:lnTo>
                  <a:lnTo>
                    <a:pt x="385" y="161"/>
                  </a:lnTo>
                  <a:lnTo>
                    <a:pt x="387" y="163"/>
                  </a:lnTo>
                  <a:lnTo>
                    <a:pt x="389" y="164"/>
                  </a:lnTo>
                  <a:lnTo>
                    <a:pt x="391" y="164"/>
                  </a:lnTo>
                  <a:lnTo>
                    <a:pt x="391" y="164"/>
                  </a:lnTo>
                  <a:lnTo>
                    <a:pt x="391" y="166"/>
                  </a:lnTo>
                  <a:lnTo>
                    <a:pt x="391" y="167"/>
                  </a:lnTo>
                  <a:lnTo>
                    <a:pt x="392" y="168"/>
                  </a:lnTo>
                  <a:lnTo>
                    <a:pt x="392" y="170"/>
                  </a:lnTo>
                  <a:lnTo>
                    <a:pt x="394" y="170"/>
                  </a:lnTo>
                  <a:lnTo>
                    <a:pt x="413" y="171"/>
                  </a:lnTo>
                  <a:lnTo>
                    <a:pt x="417" y="171"/>
                  </a:lnTo>
                  <a:lnTo>
                    <a:pt x="433" y="166"/>
                  </a:lnTo>
                  <a:lnTo>
                    <a:pt x="435" y="166"/>
                  </a:lnTo>
                  <a:lnTo>
                    <a:pt x="443" y="158"/>
                  </a:lnTo>
                  <a:lnTo>
                    <a:pt x="445" y="158"/>
                  </a:lnTo>
                  <a:lnTo>
                    <a:pt x="445" y="155"/>
                  </a:lnTo>
                  <a:lnTo>
                    <a:pt x="445" y="152"/>
                  </a:lnTo>
                  <a:lnTo>
                    <a:pt x="445" y="151"/>
                  </a:lnTo>
                  <a:lnTo>
                    <a:pt x="446" y="148"/>
                  </a:lnTo>
                  <a:lnTo>
                    <a:pt x="448" y="145"/>
                  </a:lnTo>
                  <a:lnTo>
                    <a:pt x="448" y="142"/>
                  </a:lnTo>
                  <a:lnTo>
                    <a:pt x="448" y="139"/>
                  </a:lnTo>
                  <a:lnTo>
                    <a:pt x="448" y="138"/>
                  </a:lnTo>
                  <a:lnTo>
                    <a:pt x="448" y="136"/>
                  </a:lnTo>
                  <a:lnTo>
                    <a:pt x="448" y="132"/>
                  </a:lnTo>
                  <a:lnTo>
                    <a:pt x="448" y="131"/>
                  </a:lnTo>
                  <a:lnTo>
                    <a:pt x="448" y="129"/>
                  </a:lnTo>
                  <a:lnTo>
                    <a:pt x="446" y="129"/>
                  </a:lnTo>
                  <a:lnTo>
                    <a:pt x="446" y="128"/>
                  </a:lnTo>
                  <a:lnTo>
                    <a:pt x="449" y="125"/>
                  </a:lnTo>
                  <a:lnTo>
                    <a:pt x="458" y="123"/>
                  </a:lnTo>
                  <a:lnTo>
                    <a:pt x="471" y="123"/>
                  </a:lnTo>
                  <a:lnTo>
                    <a:pt x="500" y="116"/>
                  </a:lnTo>
                  <a:lnTo>
                    <a:pt x="510" y="109"/>
                  </a:lnTo>
                  <a:lnTo>
                    <a:pt x="513" y="109"/>
                  </a:lnTo>
                  <a:lnTo>
                    <a:pt x="515" y="107"/>
                  </a:lnTo>
                  <a:lnTo>
                    <a:pt x="516" y="107"/>
                  </a:lnTo>
                  <a:lnTo>
                    <a:pt x="523" y="109"/>
                  </a:lnTo>
                  <a:lnTo>
                    <a:pt x="523" y="109"/>
                  </a:lnTo>
                  <a:lnTo>
                    <a:pt x="525" y="106"/>
                  </a:lnTo>
                  <a:lnTo>
                    <a:pt x="526" y="101"/>
                  </a:lnTo>
                  <a:lnTo>
                    <a:pt x="528" y="100"/>
                  </a:lnTo>
                  <a:lnTo>
                    <a:pt x="529" y="99"/>
                  </a:lnTo>
                  <a:lnTo>
                    <a:pt x="532" y="97"/>
                  </a:lnTo>
                  <a:lnTo>
                    <a:pt x="544" y="93"/>
                  </a:lnTo>
                  <a:lnTo>
                    <a:pt x="545" y="91"/>
                  </a:lnTo>
                  <a:lnTo>
                    <a:pt x="545" y="91"/>
                  </a:lnTo>
                  <a:lnTo>
                    <a:pt x="548" y="85"/>
                  </a:lnTo>
                  <a:lnTo>
                    <a:pt x="550" y="84"/>
                  </a:lnTo>
                  <a:lnTo>
                    <a:pt x="551" y="84"/>
                  </a:lnTo>
                  <a:lnTo>
                    <a:pt x="551" y="84"/>
                  </a:lnTo>
                  <a:lnTo>
                    <a:pt x="551" y="85"/>
                  </a:lnTo>
                  <a:lnTo>
                    <a:pt x="553" y="85"/>
                  </a:lnTo>
                  <a:lnTo>
                    <a:pt x="553" y="87"/>
                  </a:lnTo>
                  <a:lnTo>
                    <a:pt x="554" y="87"/>
                  </a:lnTo>
                  <a:lnTo>
                    <a:pt x="556" y="85"/>
                  </a:lnTo>
                  <a:lnTo>
                    <a:pt x="556" y="85"/>
                  </a:lnTo>
                  <a:lnTo>
                    <a:pt x="557" y="85"/>
                  </a:lnTo>
                  <a:lnTo>
                    <a:pt x="557" y="84"/>
                  </a:lnTo>
                  <a:lnTo>
                    <a:pt x="557" y="83"/>
                  </a:lnTo>
                  <a:lnTo>
                    <a:pt x="557" y="81"/>
                  </a:lnTo>
                  <a:lnTo>
                    <a:pt x="557" y="80"/>
                  </a:lnTo>
                  <a:lnTo>
                    <a:pt x="557" y="77"/>
                  </a:lnTo>
                  <a:lnTo>
                    <a:pt x="556" y="74"/>
                  </a:lnTo>
                  <a:lnTo>
                    <a:pt x="550" y="67"/>
                  </a:lnTo>
                  <a:lnTo>
                    <a:pt x="563" y="59"/>
                  </a:lnTo>
                  <a:lnTo>
                    <a:pt x="564" y="58"/>
                  </a:lnTo>
                  <a:lnTo>
                    <a:pt x="570" y="50"/>
                  </a:lnTo>
                  <a:lnTo>
                    <a:pt x="572" y="49"/>
                  </a:lnTo>
                  <a:lnTo>
                    <a:pt x="572" y="49"/>
                  </a:lnTo>
                  <a:lnTo>
                    <a:pt x="580" y="52"/>
                  </a:lnTo>
                  <a:lnTo>
                    <a:pt x="580" y="52"/>
                  </a:lnTo>
                  <a:lnTo>
                    <a:pt x="582" y="52"/>
                  </a:lnTo>
                  <a:lnTo>
                    <a:pt x="582" y="50"/>
                  </a:lnTo>
                  <a:lnTo>
                    <a:pt x="583" y="49"/>
                  </a:lnTo>
                  <a:lnTo>
                    <a:pt x="582" y="42"/>
                  </a:lnTo>
                  <a:lnTo>
                    <a:pt x="582" y="40"/>
                  </a:lnTo>
                  <a:lnTo>
                    <a:pt x="580" y="37"/>
                  </a:lnTo>
                  <a:lnTo>
                    <a:pt x="580" y="37"/>
                  </a:lnTo>
                  <a:lnTo>
                    <a:pt x="579" y="36"/>
                  </a:lnTo>
                  <a:lnTo>
                    <a:pt x="579" y="34"/>
                  </a:lnTo>
                  <a:lnTo>
                    <a:pt x="577" y="32"/>
                  </a:lnTo>
                  <a:lnTo>
                    <a:pt x="576" y="17"/>
                  </a:lnTo>
                  <a:lnTo>
                    <a:pt x="577" y="14"/>
                  </a:lnTo>
                  <a:lnTo>
                    <a:pt x="577" y="11"/>
                  </a:lnTo>
                  <a:lnTo>
                    <a:pt x="589" y="1"/>
                  </a:lnTo>
                  <a:lnTo>
                    <a:pt x="593" y="0"/>
                  </a:lnTo>
                  <a:lnTo>
                    <a:pt x="614" y="5"/>
                  </a:lnTo>
                  <a:lnTo>
                    <a:pt x="612" y="13"/>
                  </a:lnTo>
                  <a:lnTo>
                    <a:pt x="611" y="18"/>
                  </a:lnTo>
                  <a:lnTo>
                    <a:pt x="609" y="20"/>
                  </a:lnTo>
                  <a:lnTo>
                    <a:pt x="609" y="23"/>
                  </a:lnTo>
                  <a:lnTo>
                    <a:pt x="608" y="26"/>
                  </a:lnTo>
                  <a:lnTo>
                    <a:pt x="608" y="27"/>
                  </a:lnTo>
                  <a:lnTo>
                    <a:pt x="608" y="29"/>
                  </a:lnTo>
                  <a:lnTo>
                    <a:pt x="609" y="30"/>
                  </a:lnTo>
                  <a:lnTo>
                    <a:pt x="614" y="33"/>
                  </a:lnTo>
                  <a:lnTo>
                    <a:pt x="623" y="36"/>
                  </a:lnTo>
                  <a:lnTo>
                    <a:pt x="625" y="39"/>
                  </a:lnTo>
                  <a:lnTo>
                    <a:pt x="636" y="5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11">
              <a:extLst>
                <a:ext uri="{FF2B5EF4-FFF2-40B4-BE49-F238E27FC236}">
                  <a16:creationId xmlns:a16="http://schemas.microsoft.com/office/drawing/2014/main" id="{723B2B5C-C37D-4B40-81FB-4E036BD40C1B}"/>
                </a:ext>
              </a:extLst>
            </p:cNvPr>
            <p:cNvSpPr>
              <a:spLocks/>
            </p:cNvSpPr>
            <p:nvPr/>
          </p:nvSpPr>
          <p:spPr bwMode="gray">
            <a:xfrm>
              <a:off x="3567113" y="2371725"/>
              <a:ext cx="1990725" cy="1941513"/>
            </a:xfrm>
            <a:custGeom>
              <a:avLst/>
              <a:gdLst>
                <a:gd name="T0" fmla="*/ 1033 w 1254"/>
                <a:gd name="T1" fmla="*/ 76 h 1223"/>
                <a:gd name="T2" fmla="*/ 1139 w 1254"/>
                <a:gd name="T3" fmla="*/ 26 h 1223"/>
                <a:gd name="T4" fmla="*/ 1097 w 1254"/>
                <a:gd name="T5" fmla="*/ 105 h 1223"/>
                <a:gd name="T6" fmla="*/ 1109 w 1254"/>
                <a:gd name="T7" fmla="*/ 170 h 1223"/>
                <a:gd name="T8" fmla="*/ 1093 w 1254"/>
                <a:gd name="T9" fmla="*/ 221 h 1223"/>
                <a:gd name="T10" fmla="*/ 1155 w 1254"/>
                <a:gd name="T11" fmla="*/ 262 h 1223"/>
                <a:gd name="T12" fmla="*/ 1154 w 1254"/>
                <a:gd name="T13" fmla="*/ 303 h 1223"/>
                <a:gd name="T14" fmla="*/ 1189 w 1254"/>
                <a:gd name="T15" fmla="*/ 332 h 1223"/>
                <a:gd name="T16" fmla="*/ 1237 w 1254"/>
                <a:gd name="T17" fmla="*/ 374 h 1223"/>
                <a:gd name="T18" fmla="*/ 1251 w 1254"/>
                <a:gd name="T19" fmla="*/ 399 h 1223"/>
                <a:gd name="T20" fmla="*/ 1230 w 1254"/>
                <a:gd name="T21" fmla="*/ 454 h 1223"/>
                <a:gd name="T22" fmla="*/ 1231 w 1254"/>
                <a:gd name="T23" fmla="*/ 498 h 1223"/>
                <a:gd name="T24" fmla="*/ 1213 w 1254"/>
                <a:gd name="T25" fmla="*/ 539 h 1223"/>
                <a:gd name="T26" fmla="*/ 1170 w 1254"/>
                <a:gd name="T27" fmla="*/ 590 h 1223"/>
                <a:gd name="T28" fmla="*/ 1123 w 1254"/>
                <a:gd name="T29" fmla="*/ 591 h 1223"/>
                <a:gd name="T30" fmla="*/ 1062 w 1254"/>
                <a:gd name="T31" fmla="*/ 601 h 1223"/>
                <a:gd name="T32" fmla="*/ 1053 w 1254"/>
                <a:gd name="T33" fmla="*/ 639 h 1223"/>
                <a:gd name="T34" fmla="*/ 976 w 1254"/>
                <a:gd name="T35" fmla="*/ 659 h 1223"/>
                <a:gd name="T36" fmla="*/ 953 w 1254"/>
                <a:gd name="T37" fmla="*/ 712 h 1223"/>
                <a:gd name="T38" fmla="*/ 994 w 1254"/>
                <a:gd name="T39" fmla="*/ 703 h 1223"/>
                <a:gd name="T40" fmla="*/ 1007 w 1254"/>
                <a:gd name="T41" fmla="*/ 744 h 1223"/>
                <a:gd name="T42" fmla="*/ 977 w 1254"/>
                <a:gd name="T43" fmla="*/ 804 h 1223"/>
                <a:gd name="T44" fmla="*/ 928 w 1254"/>
                <a:gd name="T45" fmla="*/ 853 h 1223"/>
                <a:gd name="T46" fmla="*/ 886 w 1254"/>
                <a:gd name="T47" fmla="*/ 911 h 1223"/>
                <a:gd name="T48" fmla="*/ 823 w 1254"/>
                <a:gd name="T49" fmla="*/ 939 h 1223"/>
                <a:gd name="T50" fmla="*/ 795 w 1254"/>
                <a:gd name="T51" fmla="*/ 983 h 1223"/>
                <a:gd name="T52" fmla="*/ 766 w 1254"/>
                <a:gd name="T53" fmla="*/ 1022 h 1223"/>
                <a:gd name="T54" fmla="*/ 723 w 1254"/>
                <a:gd name="T55" fmla="*/ 943 h 1223"/>
                <a:gd name="T56" fmla="*/ 663 w 1254"/>
                <a:gd name="T57" fmla="*/ 926 h 1223"/>
                <a:gd name="T58" fmla="*/ 641 w 1254"/>
                <a:gd name="T59" fmla="*/ 974 h 1223"/>
                <a:gd name="T60" fmla="*/ 607 w 1254"/>
                <a:gd name="T61" fmla="*/ 999 h 1223"/>
                <a:gd name="T62" fmla="*/ 529 w 1254"/>
                <a:gd name="T63" fmla="*/ 1042 h 1223"/>
                <a:gd name="T64" fmla="*/ 466 w 1254"/>
                <a:gd name="T65" fmla="*/ 1056 h 1223"/>
                <a:gd name="T66" fmla="*/ 377 w 1254"/>
                <a:gd name="T67" fmla="*/ 1096 h 1223"/>
                <a:gd name="T68" fmla="*/ 342 w 1254"/>
                <a:gd name="T69" fmla="*/ 1144 h 1223"/>
                <a:gd name="T70" fmla="*/ 322 w 1254"/>
                <a:gd name="T71" fmla="*/ 1168 h 1223"/>
                <a:gd name="T72" fmla="*/ 280 w 1254"/>
                <a:gd name="T73" fmla="*/ 1203 h 1223"/>
                <a:gd name="T74" fmla="*/ 210 w 1254"/>
                <a:gd name="T75" fmla="*/ 1213 h 1223"/>
                <a:gd name="T76" fmla="*/ 200 w 1254"/>
                <a:gd name="T77" fmla="*/ 1216 h 1223"/>
                <a:gd name="T78" fmla="*/ 162 w 1254"/>
                <a:gd name="T79" fmla="*/ 1136 h 1223"/>
                <a:gd name="T80" fmla="*/ 106 w 1254"/>
                <a:gd name="T81" fmla="*/ 1102 h 1223"/>
                <a:gd name="T82" fmla="*/ 60 w 1254"/>
                <a:gd name="T83" fmla="*/ 1013 h 1223"/>
                <a:gd name="T84" fmla="*/ 51 w 1254"/>
                <a:gd name="T85" fmla="*/ 962 h 1223"/>
                <a:gd name="T86" fmla="*/ 51 w 1254"/>
                <a:gd name="T87" fmla="*/ 891 h 1223"/>
                <a:gd name="T88" fmla="*/ 23 w 1254"/>
                <a:gd name="T89" fmla="*/ 836 h 1223"/>
                <a:gd name="T90" fmla="*/ 77 w 1254"/>
                <a:gd name="T91" fmla="*/ 719 h 1223"/>
                <a:gd name="T92" fmla="*/ 80 w 1254"/>
                <a:gd name="T93" fmla="*/ 515 h 1223"/>
                <a:gd name="T94" fmla="*/ 26 w 1254"/>
                <a:gd name="T95" fmla="*/ 405 h 1223"/>
                <a:gd name="T96" fmla="*/ 143 w 1254"/>
                <a:gd name="T97" fmla="*/ 371 h 1223"/>
                <a:gd name="T98" fmla="*/ 328 w 1254"/>
                <a:gd name="T99" fmla="*/ 320 h 1223"/>
                <a:gd name="T100" fmla="*/ 318 w 1254"/>
                <a:gd name="T101" fmla="*/ 234 h 1223"/>
                <a:gd name="T102" fmla="*/ 524 w 1254"/>
                <a:gd name="T103" fmla="*/ 127 h 1223"/>
                <a:gd name="T104" fmla="*/ 603 w 1254"/>
                <a:gd name="T105" fmla="*/ 64 h 1223"/>
                <a:gd name="T106" fmla="*/ 645 w 1254"/>
                <a:gd name="T107" fmla="*/ 65 h 1223"/>
                <a:gd name="T108" fmla="*/ 723 w 1254"/>
                <a:gd name="T109" fmla="*/ 124 h 1223"/>
                <a:gd name="T110" fmla="*/ 712 w 1254"/>
                <a:gd name="T111" fmla="*/ 176 h 1223"/>
                <a:gd name="T112" fmla="*/ 747 w 1254"/>
                <a:gd name="T113" fmla="*/ 211 h 1223"/>
                <a:gd name="T114" fmla="*/ 739 w 1254"/>
                <a:gd name="T115" fmla="*/ 274 h 1223"/>
                <a:gd name="T116" fmla="*/ 913 w 1254"/>
                <a:gd name="T117" fmla="*/ 202 h 1223"/>
                <a:gd name="T118" fmla="*/ 858 w 1254"/>
                <a:gd name="T119" fmla="*/ 64 h 1223"/>
                <a:gd name="T120" fmla="*/ 943 w 1254"/>
                <a:gd name="T121" fmla="*/ 9 h 1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4" h="1223">
                  <a:moveTo>
                    <a:pt x="980" y="7"/>
                  </a:moveTo>
                  <a:lnTo>
                    <a:pt x="991" y="25"/>
                  </a:lnTo>
                  <a:lnTo>
                    <a:pt x="992" y="29"/>
                  </a:lnTo>
                  <a:lnTo>
                    <a:pt x="992" y="33"/>
                  </a:lnTo>
                  <a:lnTo>
                    <a:pt x="992" y="35"/>
                  </a:lnTo>
                  <a:lnTo>
                    <a:pt x="991" y="41"/>
                  </a:lnTo>
                  <a:lnTo>
                    <a:pt x="991" y="44"/>
                  </a:lnTo>
                  <a:lnTo>
                    <a:pt x="991" y="47"/>
                  </a:lnTo>
                  <a:lnTo>
                    <a:pt x="992" y="48"/>
                  </a:lnTo>
                  <a:lnTo>
                    <a:pt x="992" y="51"/>
                  </a:lnTo>
                  <a:lnTo>
                    <a:pt x="994" y="52"/>
                  </a:lnTo>
                  <a:lnTo>
                    <a:pt x="994" y="54"/>
                  </a:lnTo>
                  <a:lnTo>
                    <a:pt x="992" y="60"/>
                  </a:lnTo>
                  <a:lnTo>
                    <a:pt x="992" y="63"/>
                  </a:lnTo>
                  <a:lnTo>
                    <a:pt x="992" y="65"/>
                  </a:lnTo>
                  <a:lnTo>
                    <a:pt x="992" y="68"/>
                  </a:lnTo>
                  <a:lnTo>
                    <a:pt x="992" y="70"/>
                  </a:lnTo>
                  <a:lnTo>
                    <a:pt x="994" y="71"/>
                  </a:lnTo>
                  <a:lnTo>
                    <a:pt x="994" y="71"/>
                  </a:lnTo>
                  <a:lnTo>
                    <a:pt x="998" y="73"/>
                  </a:lnTo>
                  <a:lnTo>
                    <a:pt x="1033" y="76"/>
                  </a:lnTo>
                  <a:lnTo>
                    <a:pt x="1045" y="76"/>
                  </a:lnTo>
                  <a:lnTo>
                    <a:pt x="1055" y="71"/>
                  </a:lnTo>
                  <a:lnTo>
                    <a:pt x="1056" y="70"/>
                  </a:lnTo>
                  <a:lnTo>
                    <a:pt x="1079" y="65"/>
                  </a:lnTo>
                  <a:lnTo>
                    <a:pt x="1081" y="64"/>
                  </a:lnTo>
                  <a:lnTo>
                    <a:pt x="1082" y="63"/>
                  </a:lnTo>
                  <a:lnTo>
                    <a:pt x="1082" y="61"/>
                  </a:lnTo>
                  <a:lnTo>
                    <a:pt x="1088" y="45"/>
                  </a:lnTo>
                  <a:lnTo>
                    <a:pt x="1091" y="36"/>
                  </a:lnTo>
                  <a:lnTo>
                    <a:pt x="1093" y="35"/>
                  </a:lnTo>
                  <a:lnTo>
                    <a:pt x="1103" y="25"/>
                  </a:lnTo>
                  <a:lnTo>
                    <a:pt x="1122" y="14"/>
                  </a:lnTo>
                  <a:lnTo>
                    <a:pt x="1123" y="14"/>
                  </a:lnTo>
                  <a:lnTo>
                    <a:pt x="1125" y="14"/>
                  </a:lnTo>
                  <a:lnTo>
                    <a:pt x="1128" y="16"/>
                  </a:lnTo>
                  <a:lnTo>
                    <a:pt x="1132" y="23"/>
                  </a:lnTo>
                  <a:lnTo>
                    <a:pt x="1133" y="23"/>
                  </a:lnTo>
                  <a:lnTo>
                    <a:pt x="1133" y="25"/>
                  </a:lnTo>
                  <a:lnTo>
                    <a:pt x="1135" y="25"/>
                  </a:lnTo>
                  <a:lnTo>
                    <a:pt x="1136" y="26"/>
                  </a:lnTo>
                  <a:lnTo>
                    <a:pt x="1139" y="26"/>
                  </a:lnTo>
                  <a:lnTo>
                    <a:pt x="1141" y="28"/>
                  </a:lnTo>
                  <a:lnTo>
                    <a:pt x="1141" y="29"/>
                  </a:lnTo>
                  <a:lnTo>
                    <a:pt x="1139" y="33"/>
                  </a:lnTo>
                  <a:lnTo>
                    <a:pt x="1138" y="35"/>
                  </a:lnTo>
                  <a:lnTo>
                    <a:pt x="1136" y="38"/>
                  </a:lnTo>
                  <a:lnTo>
                    <a:pt x="1135" y="38"/>
                  </a:lnTo>
                  <a:lnTo>
                    <a:pt x="1132" y="39"/>
                  </a:lnTo>
                  <a:lnTo>
                    <a:pt x="1132" y="41"/>
                  </a:lnTo>
                  <a:lnTo>
                    <a:pt x="1132" y="44"/>
                  </a:lnTo>
                  <a:lnTo>
                    <a:pt x="1132" y="47"/>
                  </a:lnTo>
                  <a:lnTo>
                    <a:pt x="1138" y="65"/>
                  </a:lnTo>
                  <a:lnTo>
                    <a:pt x="1126" y="84"/>
                  </a:lnTo>
                  <a:lnTo>
                    <a:pt x="1120" y="97"/>
                  </a:lnTo>
                  <a:lnTo>
                    <a:pt x="1119" y="99"/>
                  </a:lnTo>
                  <a:lnTo>
                    <a:pt x="1116" y="100"/>
                  </a:lnTo>
                  <a:lnTo>
                    <a:pt x="1113" y="102"/>
                  </a:lnTo>
                  <a:lnTo>
                    <a:pt x="1110" y="105"/>
                  </a:lnTo>
                  <a:lnTo>
                    <a:pt x="1107" y="105"/>
                  </a:lnTo>
                  <a:lnTo>
                    <a:pt x="1100" y="103"/>
                  </a:lnTo>
                  <a:lnTo>
                    <a:pt x="1098" y="103"/>
                  </a:lnTo>
                  <a:lnTo>
                    <a:pt x="1097" y="105"/>
                  </a:lnTo>
                  <a:lnTo>
                    <a:pt x="1095" y="106"/>
                  </a:lnTo>
                  <a:lnTo>
                    <a:pt x="1094" y="108"/>
                  </a:lnTo>
                  <a:lnTo>
                    <a:pt x="1093" y="113"/>
                  </a:lnTo>
                  <a:lnTo>
                    <a:pt x="1091" y="118"/>
                  </a:lnTo>
                  <a:lnTo>
                    <a:pt x="1090" y="134"/>
                  </a:lnTo>
                  <a:lnTo>
                    <a:pt x="1090" y="138"/>
                  </a:lnTo>
                  <a:lnTo>
                    <a:pt x="1088" y="141"/>
                  </a:lnTo>
                  <a:lnTo>
                    <a:pt x="1088" y="144"/>
                  </a:lnTo>
                  <a:lnTo>
                    <a:pt x="1087" y="146"/>
                  </a:lnTo>
                  <a:lnTo>
                    <a:pt x="1088" y="147"/>
                  </a:lnTo>
                  <a:lnTo>
                    <a:pt x="1088" y="148"/>
                  </a:lnTo>
                  <a:lnTo>
                    <a:pt x="1090" y="150"/>
                  </a:lnTo>
                  <a:lnTo>
                    <a:pt x="1091" y="151"/>
                  </a:lnTo>
                  <a:lnTo>
                    <a:pt x="1097" y="153"/>
                  </a:lnTo>
                  <a:lnTo>
                    <a:pt x="1109" y="159"/>
                  </a:lnTo>
                  <a:lnTo>
                    <a:pt x="1116" y="160"/>
                  </a:lnTo>
                  <a:lnTo>
                    <a:pt x="1119" y="160"/>
                  </a:lnTo>
                  <a:lnTo>
                    <a:pt x="1119" y="162"/>
                  </a:lnTo>
                  <a:lnTo>
                    <a:pt x="1117" y="163"/>
                  </a:lnTo>
                  <a:lnTo>
                    <a:pt x="1110" y="167"/>
                  </a:lnTo>
                  <a:lnTo>
                    <a:pt x="1109" y="170"/>
                  </a:lnTo>
                  <a:lnTo>
                    <a:pt x="1107" y="173"/>
                  </a:lnTo>
                  <a:lnTo>
                    <a:pt x="1107" y="175"/>
                  </a:lnTo>
                  <a:lnTo>
                    <a:pt x="1107" y="176"/>
                  </a:lnTo>
                  <a:lnTo>
                    <a:pt x="1109" y="178"/>
                  </a:lnTo>
                  <a:lnTo>
                    <a:pt x="1110" y="180"/>
                  </a:lnTo>
                  <a:lnTo>
                    <a:pt x="1110" y="185"/>
                  </a:lnTo>
                  <a:lnTo>
                    <a:pt x="1110" y="186"/>
                  </a:lnTo>
                  <a:lnTo>
                    <a:pt x="1109" y="188"/>
                  </a:lnTo>
                  <a:lnTo>
                    <a:pt x="1100" y="186"/>
                  </a:lnTo>
                  <a:lnTo>
                    <a:pt x="1090" y="189"/>
                  </a:lnTo>
                  <a:lnTo>
                    <a:pt x="1091" y="196"/>
                  </a:lnTo>
                  <a:lnTo>
                    <a:pt x="1095" y="204"/>
                  </a:lnTo>
                  <a:lnTo>
                    <a:pt x="1095" y="205"/>
                  </a:lnTo>
                  <a:lnTo>
                    <a:pt x="1095" y="208"/>
                  </a:lnTo>
                  <a:lnTo>
                    <a:pt x="1097" y="210"/>
                  </a:lnTo>
                  <a:lnTo>
                    <a:pt x="1095" y="213"/>
                  </a:lnTo>
                  <a:lnTo>
                    <a:pt x="1095" y="214"/>
                  </a:lnTo>
                  <a:lnTo>
                    <a:pt x="1095" y="215"/>
                  </a:lnTo>
                  <a:lnTo>
                    <a:pt x="1094" y="215"/>
                  </a:lnTo>
                  <a:lnTo>
                    <a:pt x="1093" y="218"/>
                  </a:lnTo>
                  <a:lnTo>
                    <a:pt x="1093" y="221"/>
                  </a:lnTo>
                  <a:lnTo>
                    <a:pt x="1093" y="221"/>
                  </a:lnTo>
                  <a:lnTo>
                    <a:pt x="1095" y="221"/>
                  </a:lnTo>
                  <a:lnTo>
                    <a:pt x="1098" y="220"/>
                  </a:lnTo>
                  <a:lnTo>
                    <a:pt x="1104" y="218"/>
                  </a:lnTo>
                  <a:lnTo>
                    <a:pt x="1109" y="220"/>
                  </a:lnTo>
                  <a:lnTo>
                    <a:pt x="1116" y="218"/>
                  </a:lnTo>
                  <a:lnTo>
                    <a:pt x="1141" y="221"/>
                  </a:lnTo>
                  <a:lnTo>
                    <a:pt x="1144" y="223"/>
                  </a:lnTo>
                  <a:lnTo>
                    <a:pt x="1145" y="226"/>
                  </a:lnTo>
                  <a:lnTo>
                    <a:pt x="1144" y="229"/>
                  </a:lnTo>
                  <a:lnTo>
                    <a:pt x="1142" y="231"/>
                  </a:lnTo>
                  <a:lnTo>
                    <a:pt x="1142" y="233"/>
                  </a:lnTo>
                  <a:lnTo>
                    <a:pt x="1142" y="234"/>
                  </a:lnTo>
                  <a:lnTo>
                    <a:pt x="1142" y="236"/>
                  </a:lnTo>
                  <a:lnTo>
                    <a:pt x="1145" y="239"/>
                  </a:lnTo>
                  <a:lnTo>
                    <a:pt x="1155" y="243"/>
                  </a:lnTo>
                  <a:lnTo>
                    <a:pt x="1160" y="249"/>
                  </a:lnTo>
                  <a:lnTo>
                    <a:pt x="1160" y="252"/>
                  </a:lnTo>
                  <a:lnTo>
                    <a:pt x="1160" y="253"/>
                  </a:lnTo>
                  <a:lnTo>
                    <a:pt x="1160" y="255"/>
                  </a:lnTo>
                  <a:lnTo>
                    <a:pt x="1155" y="262"/>
                  </a:lnTo>
                  <a:lnTo>
                    <a:pt x="1155" y="263"/>
                  </a:lnTo>
                  <a:lnTo>
                    <a:pt x="1155" y="263"/>
                  </a:lnTo>
                  <a:lnTo>
                    <a:pt x="1155" y="266"/>
                  </a:lnTo>
                  <a:lnTo>
                    <a:pt x="1158" y="275"/>
                  </a:lnTo>
                  <a:lnTo>
                    <a:pt x="1163" y="285"/>
                  </a:lnTo>
                  <a:lnTo>
                    <a:pt x="1163" y="287"/>
                  </a:lnTo>
                  <a:lnTo>
                    <a:pt x="1163" y="288"/>
                  </a:lnTo>
                  <a:lnTo>
                    <a:pt x="1163" y="290"/>
                  </a:lnTo>
                  <a:lnTo>
                    <a:pt x="1161" y="291"/>
                  </a:lnTo>
                  <a:lnTo>
                    <a:pt x="1161" y="293"/>
                  </a:lnTo>
                  <a:lnTo>
                    <a:pt x="1160" y="294"/>
                  </a:lnTo>
                  <a:lnTo>
                    <a:pt x="1158" y="295"/>
                  </a:lnTo>
                  <a:lnTo>
                    <a:pt x="1155" y="297"/>
                  </a:lnTo>
                  <a:lnTo>
                    <a:pt x="1155" y="297"/>
                  </a:lnTo>
                  <a:lnTo>
                    <a:pt x="1155" y="298"/>
                  </a:lnTo>
                  <a:lnTo>
                    <a:pt x="1155" y="298"/>
                  </a:lnTo>
                  <a:lnTo>
                    <a:pt x="1155" y="300"/>
                  </a:lnTo>
                  <a:lnTo>
                    <a:pt x="1155" y="301"/>
                  </a:lnTo>
                  <a:lnTo>
                    <a:pt x="1155" y="301"/>
                  </a:lnTo>
                  <a:lnTo>
                    <a:pt x="1154" y="303"/>
                  </a:lnTo>
                  <a:lnTo>
                    <a:pt x="1154" y="303"/>
                  </a:lnTo>
                  <a:lnTo>
                    <a:pt x="1152" y="304"/>
                  </a:lnTo>
                  <a:lnTo>
                    <a:pt x="1155" y="306"/>
                  </a:lnTo>
                  <a:lnTo>
                    <a:pt x="1158" y="307"/>
                  </a:lnTo>
                  <a:lnTo>
                    <a:pt x="1167" y="312"/>
                  </a:lnTo>
                  <a:lnTo>
                    <a:pt x="1170" y="313"/>
                  </a:lnTo>
                  <a:lnTo>
                    <a:pt x="1171" y="312"/>
                  </a:lnTo>
                  <a:lnTo>
                    <a:pt x="1171" y="312"/>
                  </a:lnTo>
                  <a:lnTo>
                    <a:pt x="1171" y="310"/>
                  </a:lnTo>
                  <a:lnTo>
                    <a:pt x="1171" y="310"/>
                  </a:lnTo>
                  <a:lnTo>
                    <a:pt x="1173" y="309"/>
                  </a:lnTo>
                  <a:lnTo>
                    <a:pt x="1173" y="307"/>
                  </a:lnTo>
                  <a:lnTo>
                    <a:pt x="1174" y="307"/>
                  </a:lnTo>
                  <a:lnTo>
                    <a:pt x="1176" y="306"/>
                  </a:lnTo>
                  <a:lnTo>
                    <a:pt x="1177" y="306"/>
                  </a:lnTo>
                  <a:lnTo>
                    <a:pt x="1179" y="306"/>
                  </a:lnTo>
                  <a:lnTo>
                    <a:pt x="1180" y="306"/>
                  </a:lnTo>
                  <a:lnTo>
                    <a:pt x="1193" y="312"/>
                  </a:lnTo>
                  <a:lnTo>
                    <a:pt x="1193" y="313"/>
                  </a:lnTo>
                  <a:lnTo>
                    <a:pt x="1193" y="316"/>
                  </a:lnTo>
                  <a:lnTo>
                    <a:pt x="1189" y="332"/>
                  </a:lnTo>
                  <a:lnTo>
                    <a:pt x="1189" y="332"/>
                  </a:lnTo>
                  <a:lnTo>
                    <a:pt x="1187" y="335"/>
                  </a:lnTo>
                  <a:lnTo>
                    <a:pt x="1186" y="336"/>
                  </a:lnTo>
                  <a:lnTo>
                    <a:pt x="1183" y="339"/>
                  </a:lnTo>
                  <a:lnTo>
                    <a:pt x="1183" y="339"/>
                  </a:lnTo>
                  <a:lnTo>
                    <a:pt x="1183" y="341"/>
                  </a:lnTo>
                  <a:lnTo>
                    <a:pt x="1184" y="341"/>
                  </a:lnTo>
                  <a:lnTo>
                    <a:pt x="1195" y="339"/>
                  </a:lnTo>
                  <a:lnTo>
                    <a:pt x="1199" y="339"/>
                  </a:lnTo>
                  <a:lnTo>
                    <a:pt x="1206" y="344"/>
                  </a:lnTo>
                  <a:lnTo>
                    <a:pt x="1209" y="346"/>
                  </a:lnTo>
                  <a:lnTo>
                    <a:pt x="1209" y="348"/>
                  </a:lnTo>
                  <a:lnTo>
                    <a:pt x="1209" y="349"/>
                  </a:lnTo>
                  <a:lnTo>
                    <a:pt x="1211" y="352"/>
                  </a:lnTo>
                  <a:lnTo>
                    <a:pt x="1211" y="357"/>
                  </a:lnTo>
                  <a:lnTo>
                    <a:pt x="1211" y="362"/>
                  </a:lnTo>
                  <a:lnTo>
                    <a:pt x="1205" y="377"/>
                  </a:lnTo>
                  <a:lnTo>
                    <a:pt x="1209" y="377"/>
                  </a:lnTo>
                  <a:lnTo>
                    <a:pt x="1212" y="377"/>
                  </a:lnTo>
                  <a:lnTo>
                    <a:pt x="1219" y="374"/>
                  </a:lnTo>
                  <a:lnTo>
                    <a:pt x="1221" y="374"/>
                  </a:lnTo>
                  <a:lnTo>
                    <a:pt x="1237" y="374"/>
                  </a:lnTo>
                  <a:lnTo>
                    <a:pt x="1244" y="373"/>
                  </a:lnTo>
                  <a:lnTo>
                    <a:pt x="1247" y="373"/>
                  </a:lnTo>
                  <a:lnTo>
                    <a:pt x="1250" y="371"/>
                  </a:lnTo>
                  <a:lnTo>
                    <a:pt x="1251" y="370"/>
                  </a:lnTo>
                  <a:lnTo>
                    <a:pt x="1253" y="371"/>
                  </a:lnTo>
                  <a:lnTo>
                    <a:pt x="1254" y="371"/>
                  </a:lnTo>
                  <a:lnTo>
                    <a:pt x="1253" y="376"/>
                  </a:lnTo>
                  <a:lnTo>
                    <a:pt x="1251" y="377"/>
                  </a:lnTo>
                  <a:lnTo>
                    <a:pt x="1250" y="380"/>
                  </a:lnTo>
                  <a:lnTo>
                    <a:pt x="1247" y="384"/>
                  </a:lnTo>
                  <a:lnTo>
                    <a:pt x="1247" y="386"/>
                  </a:lnTo>
                  <a:lnTo>
                    <a:pt x="1247" y="387"/>
                  </a:lnTo>
                  <a:lnTo>
                    <a:pt x="1248" y="389"/>
                  </a:lnTo>
                  <a:lnTo>
                    <a:pt x="1250" y="389"/>
                  </a:lnTo>
                  <a:lnTo>
                    <a:pt x="1253" y="390"/>
                  </a:lnTo>
                  <a:lnTo>
                    <a:pt x="1254" y="390"/>
                  </a:lnTo>
                  <a:lnTo>
                    <a:pt x="1254" y="392"/>
                  </a:lnTo>
                  <a:lnTo>
                    <a:pt x="1254" y="393"/>
                  </a:lnTo>
                  <a:lnTo>
                    <a:pt x="1251" y="395"/>
                  </a:lnTo>
                  <a:lnTo>
                    <a:pt x="1251" y="396"/>
                  </a:lnTo>
                  <a:lnTo>
                    <a:pt x="1251" y="399"/>
                  </a:lnTo>
                  <a:lnTo>
                    <a:pt x="1251" y="405"/>
                  </a:lnTo>
                  <a:lnTo>
                    <a:pt x="1250" y="409"/>
                  </a:lnTo>
                  <a:lnTo>
                    <a:pt x="1248" y="416"/>
                  </a:lnTo>
                  <a:lnTo>
                    <a:pt x="1246" y="425"/>
                  </a:lnTo>
                  <a:lnTo>
                    <a:pt x="1244" y="427"/>
                  </a:lnTo>
                  <a:lnTo>
                    <a:pt x="1243" y="429"/>
                  </a:lnTo>
                  <a:lnTo>
                    <a:pt x="1240" y="431"/>
                  </a:lnTo>
                  <a:lnTo>
                    <a:pt x="1235" y="434"/>
                  </a:lnTo>
                  <a:lnTo>
                    <a:pt x="1235" y="435"/>
                  </a:lnTo>
                  <a:lnTo>
                    <a:pt x="1234" y="435"/>
                  </a:lnTo>
                  <a:lnTo>
                    <a:pt x="1234" y="437"/>
                  </a:lnTo>
                  <a:lnTo>
                    <a:pt x="1234" y="440"/>
                  </a:lnTo>
                  <a:lnTo>
                    <a:pt x="1232" y="441"/>
                  </a:lnTo>
                  <a:lnTo>
                    <a:pt x="1232" y="443"/>
                  </a:lnTo>
                  <a:lnTo>
                    <a:pt x="1231" y="443"/>
                  </a:lnTo>
                  <a:lnTo>
                    <a:pt x="1231" y="444"/>
                  </a:lnTo>
                  <a:lnTo>
                    <a:pt x="1230" y="444"/>
                  </a:lnTo>
                  <a:lnTo>
                    <a:pt x="1230" y="445"/>
                  </a:lnTo>
                  <a:lnTo>
                    <a:pt x="1230" y="448"/>
                  </a:lnTo>
                  <a:lnTo>
                    <a:pt x="1230" y="451"/>
                  </a:lnTo>
                  <a:lnTo>
                    <a:pt x="1230" y="454"/>
                  </a:lnTo>
                  <a:lnTo>
                    <a:pt x="1230" y="461"/>
                  </a:lnTo>
                  <a:lnTo>
                    <a:pt x="1231" y="464"/>
                  </a:lnTo>
                  <a:lnTo>
                    <a:pt x="1230" y="466"/>
                  </a:lnTo>
                  <a:lnTo>
                    <a:pt x="1230" y="467"/>
                  </a:lnTo>
                  <a:lnTo>
                    <a:pt x="1228" y="469"/>
                  </a:lnTo>
                  <a:lnTo>
                    <a:pt x="1228" y="470"/>
                  </a:lnTo>
                  <a:lnTo>
                    <a:pt x="1228" y="473"/>
                  </a:lnTo>
                  <a:lnTo>
                    <a:pt x="1230" y="477"/>
                  </a:lnTo>
                  <a:lnTo>
                    <a:pt x="1228" y="479"/>
                  </a:lnTo>
                  <a:lnTo>
                    <a:pt x="1228" y="480"/>
                  </a:lnTo>
                  <a:lnTo>
                    <a:pt x="1225" y="482"/>
                  </a:lnTo>
                  <a:lnTo>
                    <a:pt x="1225" y="482"/>
                  </a:lnTo>
                  <a:lnTo>
                    <a:pt x="1224" y="483"/>
                  </a:lnTo>
                  <a:lnTo>
                    <a:pt x="1224" y="486"/>
                  </a:lnTo>
                  <a:lnTo>
                    <a:pt x="1224" y="489"/>
                  </a:lnTo>
                  <a:lnTo>
                    <a:pt x="1224" y="492"/>
                  </a:lnTo>
                  <a:lnTo>
                    <a:pt x="1224" y="494"/>
                  </a:lnTo>
                  <a:lnTo>
                    <a:pt x="1224" y="495"/>
                  </a:lnTo>
                  <a:lnTo>
                    <a:pt x="1224" y="496"/>
                  </a:lnTo>
                  <a:lnTo>
                    <a:pt x="1225" y="498"/>
                  </a:lnTo>
                  <a:lnTo>
                    <a:pt x="1231" y="498"/>
                  </a:lnTo>
                  <a:lnTo>
                    <a:pt x="1247" y="494"/>
                  </a:lnTo>
                  <a:lnTo>
                    <a:pt x="1241" y="502"/>
                  </a:lnTo>
                  <a:lnTo>
                    <a:pt x="1238" y="505"/>
                  </a:lnTo>
                  <a:lnTo>
                    <a:pt x="1213" y="514"/>
                  </a:lnTo>
                  <a:lnTo>
                    <a:pt x="1211" y="515"/>
                  </a:lnTo>
                  <a:lnTo>
                    <a:pt x="1209" y="517"/>
                  </a:lnTo>
                  <a:lnTo>
                    <a:pt x="1209" y="517"/>
                  </a:lnTo>
                  <a:lnTo>
                    <a:pt x="1211" y="518"/>
                  </a:lnTo>
                  <a:lnTo>
                    <a:pt x="1212" y="520"/>
                  </a:lnTo>
                  <a:lnTo>
                    <a:pt x="1216" y="523"/>
                  </a:lnTo>
                  <a:lnTo>
                    <a:pt x="1216" y="523"/>
                  </a:lnTo>
                  <a:lnTo>
                    <a:pt x="1216" y="524"/>
                  </a:lnTo>
                  <a:lnTo>
                    <a:pt x="1216" y="524"/>
                  </a:lnTo>
                  <a:lnTo>
                    <a:pt x="1216" y="526"/>
                  </a:lnTo>
                  <a:lnTo>
                    <a:pt x="1216" y="526"/>
                  </a:lnTo>
                  <a:lnTo>
                    <a:pt x="1215" y="530"/>
                  </a:lnTo>
                  <a:lnTo>
                    <a:pt x="1215" y="531"/>
                  </a:lnTo>
                  <a:lnTo>
                    <a:pt x="1213" y="534"/>
                  </a:lnTo>
                  <a:lnTo>
                    <a:pt x="1213" y="537"/>
                  </a:lnTo>
                  <a:lnTo>
                    <a:pt x="1213" y="537"/>
                  </a:lnTo>
                  <a:lnTo>
                    <a:pt x="1213" y="539"/>
                  </a:lnTo>
                  <a:lnTo>
                    <a:pt x="1212" y="542"/>
                  </a:lnTo>
                  <a:lnTo>
                    <a:pt x="1211" y="546"/>
                  </a:lnTo>
                  <a:lnTo>
                    <a:pt x="1209" y="549"/>
                  </a:lnTo>
                  <a:lnTo>
                    <a:pt x="1206" y="550"/>
                  </a:lnTo>
                  <a:lnTo>
                    <a:pt x="1203" y="553"/>
                  </a:lnTo>
                  <a:lnTo>
                    <a:pt x="1202" y="556"/>
                  </a:lnTo>
                  <a:lnTo>
                    <a:pt x="1200" y="559"/>
                  </a:lnTo>
                  <a:lnTo>
                    <a:pt x="1199" y="563"/>
                  </a:lnTo>
                  <a:lnTo>
                    <a:pt x="1197" y="565"/>
                  </a:lnTo>
                  <a:lnTo>
                    <a:pt x="1196" y="566"/>
                  </a:lnTo>
                  <a:lnTo>
                    <a:pt x="1192" y="569"/>
                  </a:lnTo>
                  <a:lnTo>
                    <a:pt x="1187" y="572"/>
                  </a:lnTo>
                  <a:lnTo>
                    <a:pt x="1184" y="575"/>
                  </a:lnTo>
                  <a:lnTo>
                    <a:pt x="1181" y="577"/>
                  </a:lnTo>
                  <a:lnTo>
                    <a:pt x="1174" y="579"/>
                  </a:lnTo>
                  <a:lnTo>
                    <a:pt x="1173" y="582"/>
                  </a:lnTo>
                  <a:lnTo>
                    <a:pt x="1171" y="584"/>
                  </a:lnTo>
                  <a:lnTo>
                    <a:pt x="1171" y="585"/>
                  </a:lnTo>
                  <a:lnTo>
                    <a:pt x="1170" y="587"/>
                  </a:lnTo>
                  <a:lnTo>
                    <a:pt x="1170" y="588"/>
                  </a:lnTo>
                  <a:lnTo>
                    <a:pt x="1170" y="590"/>
                  </a:lnTo>
                  <a:lnTo>
                    <a:pt x="1170" y="591"/>
                  </a:lnTo>
                  <a:lnTo>
                    <a:pt x="1170" y="593"/>
                  </a:lnTo>
                  <a:lnTo>
                    <a:pt x="1170" y="594"/>
                  </a:lnTo>
                  <a:lnTo>
                    <a:pt x="1170" y="595"/>
                  </a:lnTo>
                  <a:lnTo>
                    <a:pt x="1168" y="597"/>
                  </a:lnTo>
                  <a:lnTo>
                    <a:pt x="1168" y="598"/>
                  </a:lnTo>
                  <a:lnTo>
                    <a:pt x="1167" y="600"/>
                  </a:lnTo>
                  <a:lnTo>
                    <a:pt x="1167" y="600"/>
                  </a:lnTo>
                  <a:lnTo>
                    <a:pt x="1163" y="600"/>
                  </a:lnTo>
                  <a:lnTo>
                    <a:pt x="1161" y="600"/>
                  </a:lnTo>
                  <a:lnTo>
                    <a:pt x="1148" y="610"/>
                  </a:lnTo>
                  <a:lnTo>
                    <a:pt x="1146" y="610"/>
                  </a:lnTo>
                  <a:lnTo>
                    <a:pt x="1144" y="610"/>
                  </a:lnTo>
                  <a:lnTo>
                    <a:pt x="1132" y="607"/>
                  </a:lnTo>
                  <a:lnTo>
                    <a:pt x="1125" y="603"/>
                  </a:lnTo>
                  <a:lnTo>
                    <a:pt x="1123" y="600"/>
                  </a:lnTo>
                  <a:lnTo>
                    <a:pt x="1123" y="598"/>
                  </a:lnTo>
                  <a:lnTo>
                    <a:pt x="1123" y="598"/>
                  </a:lnTo>
                  <a:lnTo>
                    <a:pt x="1123" y="593"/>
                  </a:lnTo>
                  <a:lnTo>
                    <a:pt x="1123" y="593"/>
                  </a:lnTo>
                  <a:lnTo>
                    <a:pt x="1123" y="591"/>
                  </a:lnTo>
                  <a:lnTo>
                    <a:pt x="1123" y="585"/>
                  </a:lnTo>
                  <a:lnTo>
                    <a:pt x="1120" y="582"/>
                  </a:lnTo>
                  <a:lnTo>
                    <a:pt x="1120" y="581"/>
                  </a:lnTo>
                  <a:lnTo>
                    <a:pt x="1119" y="581"/>
                  </a:lnTo>
                  <a:lnTo>
                    <a:pt x="1117" y="581"/>
                  </a:lnTo>
                  <a:lnTo>
                    <a:pt x="1116" y="581"/>
                  </a:lnTo>
                  <a:lnTo>
                    <a:pt x="1112" y="578"/>
                  </a:lnTo>
                  <a:lnTo>
                    <a:pt x="1104" y="574"/>
                  </a:lnTo>
                  <a:lnTo>
                    <a:pt x="1101" y="572"/>
                  </a:lnTo>
                  <a:lnTo>
                    <a:pt x="1098" y="571"/>
                  </a:lnTo>
                  <a:lnTo>
                    <a:pt x="1094" y="574"/>
                  </a:lnTo>
                  <a:lnTo>
                    <a:pt x="1079" y="578"/>
                  </a:lnTo>
                  <a:lnTo>
                    <a:pt x="1061" y="587"/>
                  </a:lnTo>
                  <a:lnTo>
                    <a:pt x="1059" y="588"/>
                  </a:lnTo>
                  <a:lnTo>
                    <a:pt x="1059" y="590"/>
                  </a:lnTo>
                  <a:lnTo>
                    <a:pt x="1059" y="591"/>
                  </a:lnTo>
                  <a:lnTo>
                    <a:pt x="1058" y="593"/>
                  </a:lnTo>
                  <a:lnTo>
                    <a:pt x="1058" y="594"/>
                  </a:lnTo>
                  <a:lnTo>
                    <a:pt x="1059" y="595"/>
                  </a:lnTo>
                  <a:lnTo>
                    <a:pt x="1059" y="597"/>
                  </a:lnTo>
                  <a:lnTo>
                    <a:pt x="1062" y="601"/>
                  </a:lnTo>
                  <a:lnTo>
                    <a:pt x="1062" y="601"/>
                  </a:lnTo>
                  <a:lnTo>
                    <a:pt x="1063" y="604"/>
                  </a:lnTo>
                  <a:lnTo>
                    <a:pt x="1063" y="606"/>
                  </a:lnTo>
                  <a:lnTo>
                    <a:pt x="1065" y="611"/>
                  </a:lnTo>
                  <a:lnTo>
                    <a:pt x="1065" y="613"/>
                  </a:lnTo>
                  <a:lnTo>
                    <a:pt x="1065" y="617"/>
                  </a:lnTo>
                  <a:lnTo>
                    <a:pt x="1065" y="619"/>
                  </a:lnTo>
                  <a:lnTo>
                    <a:pt x="1065" y="620"/>
                  </a:lnTo>
                  <a:lnTo>
                    <a:pt x="1065" y="620"/>
                  </a:lnTo>
                  <a:lnTo>
                    <a:pt x="1066" y="620"/>
                  </a:lnTo>
                  <a:lnTo>
                    <a:pt x="1074" y="622"/>
                  </a:lnTo>
                  <a:lnTo>
                    <a:pt x="1074" y="622"/>
                  </a:lnTo>
                  <a:lnTo>
                    <a:pt x="1075" y="623"/>
                  </a:lnTo>
                  <a:lnTo>
                    <a:pt x="1077" y="625"/>
                  </a:lnTo>
                  <a:lnTo>
                    <a:pt x="1077" y="626"/>
                  </a:lnTo>
                  <a:lnTo>
                    <a:pt x="1075" y="629"/>
                  </a:lnTo>
                  <a:lnTo>
                    <a:pt x="1074" y="633"/>
                  </a:lnTo>
                  <a:lnTo>
                    <a:pt x="1072" y="635"/>
                  </a:lnTo>
                  <a:lnTo>
                    <a:pt x="1071" y="636"/>
                  </a:lnTo>
                  <a:lnTo>
                    <a:pt x="1056" y="638"/>
                  </a:lnTo>
                  <a:lnTo>
                    <a:pt x="1053" y="639"/>
                  </a:lnTo>
                  <a:lnTo>
                    <a:pt x="1045" y="645"/>
                  </a:lnTo>
                  <a:lnTo>
                    <a:pt x="1043" y="645"/>
                  </a:lnTo>
                  <a:lnTo>
                    <a:pt x="1043" y="645"/>
                  </a:lnTo>
                  <a:lnTo>
                    <a:pt x="1042" y="645"/>
                  </a:lnTo>
                  <a:lnTo>
                    <a:pt x="1034" y="643"/>
                  </a:lnTo>
                  <a:lnTo>
                    <a:pt x="1033" y="642"/>
                  </a:lnTo>
                  <a:lnTo>
                    <a:pt x="1031" y="642"/>
                  </a:lnTo>
                  <a:lnTo>
                    <a:pt x="1028" y="642"/>
                  </a:lnTo>
                  <a:lnTo>
                    <a:pt x="1027" y="642"/>
                  </a:lnTo>
                  <a:lnTo>
                    <a:pt x="1023" y="642"/>
                  </a:lnTo>
                  <a:lnTo>
                    <a:pt x="1014" y="645"/>
                  </a:lnTo>
                  <a:lnTo>
                    <a:pt x="1007" y="646"/>
                  </a:lnTo>
                  <a:lnTo>
                    <a:pt x="1001" y="646"/>
                  </a:lnTo>
                  <a:lnTo>
                    <a:pt x="999" y="646"/>
                  </a:lnTo>
                  <a:lnTo>
                    <a:pt x="991" y="651"/>
                  </a:lnTo>
                  <a:lnTo>
                    <a:pt x="985" y="652"/>
                  </a:lnTo>
                  <a:lnTo>
                    <a:pt x="983" y="652"/>
                  </a:lnTo>
                  <a:lnTo>
                    <a:pt x="982" y="654"/>
                  </a:lnTo>
                  <a:lnTo>
                    <a:pt x="982" y="654"/>
                  </a:lnTo>
                  <a:lnTo>
                    <a:pt x="980" y="658"/>
                  </a:lnTo>
                  <a:lnTo>
                    <a:pt x="976" y="659"/>
                  </a:lnTo>
                  <a:lnTo>
                    <a:pt x="973" y="662"/>
                  </a:lnTo>
                  <a:lnTo>
                    <a:pt x="973" y="664"/>
                  </a:lnTo>
                  <a:lnTo>
                    <a:pt x="973" y="664"/>
                  </a:lnTo>
                  <a:lnTo>
                    <a:pt x="973" y="665"/>
                  </a:lnTo>
                  <a:lnTo>
                    <a:pt x="972" y="667"/>
                  </a:lnTo>
                  <a:lnTo>
                    <a:pt x="972" y="668"/>
                  </a:lnTo>
                  <a:lnTo>
                    <a:pt x="960" y="680"/>
                  </a:lnTo>
                  <a:lnTo>
                    <a:pt x="953" y="689"/>
                  </a:lnTo>
                  <a:lnTo>
                    <a:pt x="951" y="693"/>
                  </a:lnTo>
                  <a:lnTo>
                    <a:pt x="947" y="700"/>
                  </a:lnTo>
                  <a:lnTo>
                    <a:pt x="947" y="702"/>
                  </a:lnTo>
                  <a:lnTo>
                    <a:pt x="945" y="703"/>
                  </a:lnTo>
                  <a:lnTo>
                    <a:pt x="947" y="705"/>
                  </a:lnTo>
                  <a:lnTo>
                    <a:pt x="947" y="705"/>
                  </a:lnTo>
                  <a:lnTo>
                    <a:pt x="947" y="706"/>
                  </a:lnTo>
                  <a:lnTo>
                    <a:pt x="947" y="706"/>
                  </a:lnTo>
                  <a:lnTo>
                    <a:pt x="950" y="708"/>
                  </a:lnTo>
                  <a:lnTo>
                    <a:pt x="951" y="709"/>
                  </a:lnTo>
                  <a:lnTo>
                    <a:pt x="953" y="710"/>
                  </a:lnTo>
                  <a:lnTo>
                    <a:pt x="953" y="712"/>
                  </a:lnTo>
                  <a:lnTo>
                    <a:pt x="953" y="712"/>
                  </a:lnTo>
                  <a:lnTo>
                    <a:pt x="954" y="715"/>
                  </a:lnTo>
                  <a:lnTo>
                    <a:pt x="954" y="716"/>
                  </a:lnTo>
                  <a:lnTo>
                    <a:pt x="954" y="716"/>
                  </a:lnTo>
                  <a:lnTo>
                    <a:pt x="954" y="718"/>
                  </a:lnTo>
                  <a:lnTo>
                    <a:pt x="956" y="718"/>
                  </a:lnTo>
                  <a:lnTo>
                    <a:pt x="956" y="719"/>
                  </a:lnTo>
                  <a:lnTo>
                    <a:pt x="957" y="719"/>
                  </a:lnTo>
                  <a:lnTo>
                    <a:pt x="960" y="721"/>
                  </a:lnTo>
                  <a:lnTo>
                    <a:pt x="963" y="721"/>
                  </a:lnTo>
                  <a:lnTo>
                    <a:pt x="963" y="719"/>
                  </a:lnTo>
                  <a:lnTo>
                    <a:pt x="964" y="719"/>
                  </a:lnTo>
                  <a:lnTo>
                    <a:pt x="964" y="718"/>
                  </a:lnTo>
                  <a:lnTo>
                    <a:pt x="967" y="715"/>
                  </a:lnTo>
                  <a:lnTo>
                    <a:pt x="967" y="713"/>
                  </a:lnTo>
                  <a:lnTo>
                    <a:pt x="967" y="713"/>
                  </a:lnTo>
                  <a:lnTo>
                    <a:pt x="969" y="713"/>
                  </a:lnTo>
                  <a:lnTo>
                    <a:pt x="970" y="712"/>
                  </a:lnTo>
                  <a:lnTo>
                    <a:pt x="977" y="712"/>
                  </a:lnTo>
                  <a:lnTo>
                    <a:pt x="985" y="709"/>
                  </a:lnTo>
                  <a:lnTo>
                    <a:pt x="992" y="705"/>
                  </a:lnTo>
                  <a:lnTo>
                    <a:pt x="994" y="703"/>
                  </a:lnTo>
                  <a:lnTo>
                    <a:pt x="995" y="703"/>
                  </a:lnTo>
                  <a:lnTo>
                    <a:pt x="996" y="703"/>
                  </a:lnTo>
                  <a:lnTo>
                    <a:pt x="996" y="703"/>
                  </a:lnTo>
                  <a:lnTo>
                    <a:pt x="998" y="705"/>
                  </a:lnTo>
                  <a:lnTo>
                    <a:pt x="998" y="705"/>
                  </a:lnTo>
                  <a:lnTo>
                    <a:pt x="998" y="706"/>
                  </a:lnTo>
                  <a:lnTo>
                    <a:pt x="998" y="706"/>
                  </a:lnTo>
                  <a:lnTo>
                    <a:pt x="996" y="710"/>
                  </a:lnTo>
                  <a:lnTo>
                    <a:pt x="996" y="712"/>
                  </a:lnTo>
                  <a:lnTo>
                    <a:pt x="996" y="712"/>
                  </a:lnTo>
                  <a:lnTo>
                    <a:pt x="996" y="712"/>
                  </a:lnTo>
                  <a:lnTo>
                    <a:pt x="999" y="713"/>
                  </a:lnTo>
                  <a:lnTo>
                    <a:pt x="1001" y="715"/>
                  </a:lnTo>
                  <a:lnTo>
                    <a:pt x="1001" y="715"/>
                  </a:lnTo>
                  <a:lnTo>
                    <a:pt x="1002" y="722"/>
                  </a:lnTo>
                  <a:lnTo>
                    <a:pt x="1002" y="724"/>
                  </a:lnTo>
                  <a:lnTo>
                    <a:pt x="1002" y="725"/>
                  </a:lnTo>
                  <a:lnTo>
                    <a:pt x="1005" y="734"/>
                  </a:lnTo>
                  <a:lnTo>
                    <a:pt x="1005" y="737"/>
                  </a:lnTo>
                  <a:lnTo>
                    <a:pt x="1007" y="742"/>
                  </a:lnTo>
                  <a:lnTo>
                    <a:pt x="1007" y="744"/>
                  </a:lnTo>
                  <a:lnTo>
                    <a:pt x="1007" y="744"/>
                  </a:lnTo>
                  <a:lnTo>
                    <a:pt x="1007" y="747"/>
                  </a:lnTo>
                  <a:lnTo>
                    <a:pt x="1008" y="750"/>
                  </a:lnTo>
                  <a:lnTo>
                    <a:pt x="1008" y="751"/>
                  </a:lnTo>
                  <a:lnTo>
                    <a:pt x="1008" y="754"/>
                  </a:lnTo>
                  <a:lnTo>
                    <a:pt x="1007" y="756"/>
                  </a:lnTo>
                  <a:lnTo>
                    <a:pt x="1007" y="757"/>
                  </a:lnTo>
                  <a:lnTo>
                    <a:pt x="995" y="770"/>
                  </a:lnTo>
                  <a:lnTo>
                    <a:pt x="989" y="779"/>
                  </a:lnTo>
                  <a:lnTo>
                    <a:pt x="988" y="780"/>
                  </a:lnTo>
                  <a:lnTo>
                    <a:pt x="988" y="782"/>
                  </a:lnTo>
                  <a:lnTo>
                    <a:pt x="988" y="782"/>
                  </a:lnTo>
                  <a:lnTo>
                    <a:pt x="988" y="783"/>
                  </a:lnTo>
                  <a:lnTo>
                    <a:pt x="988" y="783"/>
                  </a:lnTo>
                  <a:lnTo>
                    <a:pt x="991" y="789"/>
                  </a:lnTo>
                  <a:lnTo>
                    <a:pt x="992" y="791"/>
                  </a:lnTo>
                  <a:lnTo>
                    <a:pt x="992" y="792"/>
                  </a:lnTo>
                  <a:lnTo>
                    <a:pt x="992" y="793"/>
                  </a:lnTo>
                  <a:lnTo>
                    <a:pt x="991" y="795"/>
                  </a:lnTo>
                  <a:lnTo>
                    <a:pt x="982" y="799"/>
                  </a:lnTo>
                  <a:lnTo>
                    <a:pt x="977" y="804"/>
                  </a:lnTo>
                  <a:lnTo>
                    <a:pt x="976" y="804"/>
                  </a:lnTo>
                  <a:lnTo>
                    <a:pt x="976" y="804"/>
                  </a:lnTo>
                  <a:lnTo>
                    <a:pt x="975" y="804"/>
                  </a:lnTo>
                  <a:lnTo>
                    <a:pt x="964" y="801"/>
                  </a:lnTo>
                  <a:lnTo>
                    <a:pt x="928" y="801"/>
                  </a:lnTo>
                  <a:lnTo>
                    <a:pt x="927" y="807"/>
                  </a:lnTo>
                  <a:lnTo>
                    <a:pt x="928" y="808"/>
                  </a:lnTo>
                  <a:lnTo>
                    <a:pt x="929" y="811"/>
                  </a:lnTo>
                  <a:lnTo>
                    <a:pt x="932" y="815"/>
                  </a:lnTo>
                  <a:lnTo>
                    <a:pt x="932" y="818"/>
                  </a:lnTo>
                  <a:lnTo>
                    <a:pt x="934" y="820"/>
                  </a:lnTo>
                  <a:lnTo>
                    <a:pt x="932" y="821"/>
                  </a:lnTo>
                  <a:lnTo>
                    <a:pt x="932" y="825"/>
                  </a:lnTo>
                  <a:lnTo>
                    <a:pt x="932" y="828"/>
                  </a:lnTo>
                  <a:lnTo>
                    <a:pt x="935" y="836"/>
                  </a:lnTo>
                  <a:lnTo>
                    <a:pt x="935" y="839"/>
                  </a:lnTo>
                  <a:lnTo>
                    <a:pt x="935" y="841"/>
                  </a:lnTo>
                  <a:lnTo>
                    <a:pt x="934" y="846"/>
                  </a:lnTo>
                  <a:lnTo>
                    <a:pt x="929" y="850"/>
                  </a:lnTo>
                  <a:lnTo>
                    <a:pt x="929" y="850"/>
                  </a:lnTo>
                  <a:lnTo>
                    <a:pt x="928" y="853"/>
                  </a:lnTo>
                  <a:lnTo>
                    <a:pt x="927" y="856"/>
                  </a:lnTo>
                  <a:lnTo>
                    <a:pt x="925" y="859"/>
                  </a:lnTo>
                  <a:lnTo>
                    <a:pt x="924" y="862"/>
                  </a:lnTo>
                  <a:lnTo>
                    <a:pt x="924" y="863"/>
                  </a:lnTo>
                  <a:lnTo>
                    <a:pt x="924" y="863"/>
                  </a:lnTo>
                  <a:lnTo>
                    <a:pt x="922" y="863"/>
                  </a:lnTo>
                  <a:lnTo>
                    <a:pt x="922" y="865"/>
                  </a:lnTo>
                  <a:lnTo>
                    <a:pt x="919" y="865"/>
                  </a:lnTo>
                  <a:lnTo>
                    <a:pt x="916" y="868"/>
                  </a:lnTo>
                  <a:lnTo>
                    <a:pt x="912" y="878"/>
                  </a:lnTo>
                  <a:lnTo>
                    <a:pt x="909" y="884"/>
                  </a:lnTo>
                  <a:lnTo>
                    <a:pt x="909" y="885"/>
                  </a:lnTo>
                  <a:lnTo>
                    <a:pt x="909" y="888"/>
                  </a:lnTo>
                  <a:lnTo>
                    <a:pt x="909" y="897"/>
                  </a:lnTo>
                  <a:lnTo>
                    <a:pt x="908" y="898"/>
                  </a:lnTo>
                  <a:lnTo>
                    <a:pt x="908" y="900"/>
                  </a:lnTo>
                  <a:lnTo>
                    <a:pt x="906" y="900"/>
                  </a:lnTo>
                  <a:lnTo>
                    <a:pt x="902" y="898"/>
                  </a:lnTo>
                  <a:lnTo>
                    <a:pt x="900" y="898"/>
                  </a:lnTo>
                  <a:lnTo>
                    <a:pt x="894" y="903"/>
                  </a:lnTo>
                  <a:lnTo>
                    <a:pt x="886" y="911"/>
                  </a:lnTo>
                  <a:lnTo>
                    <a:pt x="884" y="914"/>
                  </a:lnTo>
                  <a:lnTo>
                    <a:pt x="884" y="916"/>
                  </a:lnTo>
                  <a:lnTo>
                    <a:pt x="884" y="919"/>
                  </a:lnTo>
                  <a:lnTo>
                    <a:pt x="884" y="920"/>
                  </a:lnTo>
                  <a:lnTo>
                    <a:pt x="883" y="922"/>
                  </a:lnTo>
                  <a:lnTo>
                    <a:pt x="876" y="927"/>
                  </a:lnTo>
                  <a:lnTo>
                    <a:pt x="874" y="927"/>
                  </a:lnTo>
                  <a:lnTo>
                    <a:pt x="873" y="929"/>
                  </a:lnTo>
                  <a:lnTo>
                    <a:pt x="868" y="929"/>
                  </a:lnTo>
                  <a:lnTo>
                    <a:pt x="862" y="930"/>
                  </a:lnTo>
                  <a:lnTo>
                    <a:pt x="858" y="929"/>
                  </a:lnTo>
                  <a:lnTo>
                    <a:pt x="855" y="927"/>
                  </a:lnTo>
                  <a:lnTo>
                    <a:pt x="852" y="920"/>
                  </a:lnTo>
                  <a:lnTo>
                    <a:pt x="851" y="919"/>
                  </a:lnTo>
                  <a:lnTo>
                    <a:pt x="851" y="919"/>
                  </a:lnTo>
                  <a:lnTo>
                    <a:pt x="846" y="919"/>
                  </a:lnTo>
                  <a:lnTo>
                    <a:pt x="845" y="919"/>
                  </a:lnTo>
                  <a:lnTo>
                    <a:pt x="843" y="920"/>
                  </a:lnTo>
                  <a:lnTo>
                    <a:pt x="839" y="924"/>
                  </a:lnTo>
                  <a:lnTo>
                    <a:pt x="825" y="939"/>
                  </a:lnTo>
                  <a:lnTo>
                    <a:pt x="823" y="939"/>
                  </a:lnTo>
                  <a:lnTo>
                    <a:pt x="822" y="942"/>
                  </a:lnTo>
                  <a:lnTo>
                    <a:pt x="822" y="943"/>
                  </a:lnTo>
                  <a:lnTo>
                    <a:pt x="814" y="948"/>
                  </a:lnTo>
                  <a:lnTo>
                    <a:pt x="814" y="948"/>
                  </a:lnTo>
                  <a:lnTo>
                    <a:pt x="813" y="949"/>
                  </a:lnTo>
                  <a:lnTo>
                    <a:pt x="811" y="957"/>
                  </a:lnTo>
                  <a:lnTo>
                    <a:pt x="794" y="971"/>
                  </a:lnTo>
                  <a:lnTo>
                    <a:pt x="792" y="973"/>
                  </a:lnTo>
                  <a:lnTo>
                    <a:pt x="792" y="974"/>
                  </a:lnTo>
                  <a:lnTo>
                    <a:pt x="792" y="974"/>
                  </a:lnTo>
                  <a:lnTo>
                    <a:pt x="792" y="975"/>
                  </a:lnTo>
                  <a:lnTo>
                    <a:pt x="792" y="975"/>
                  </a:lnTo>
                  <a:lnTo>
                    <a:pt x="792" y="977"/>
                  </a:lnTo>
                  <a:lnTo>
                    <a:pt x="794" y="977"/>
                  </a:lnTo>
                  <a:lnTo>
                    <a:pt x="794" y="977"/>
                  </a:lnTo>
                  <a:lnTo>
                    <a:pt x="795" y="978"/>
                  </a:lnTo>
                  <a:lnTo>
                    <a:pt x="795" y="978"/>
                  </a:lnTo>
                  <a:lnTo>
                    <a:pt x="795" y="980"/>
                  </a:lnTo>
                  <a:lnTo>
                    <a:pt x="795" y="981"/>
                  </a:lnTo>
                  <a:lnTo>
                    <a:pt x="795" y="981"/>
                  </a:lnTo>
                  <a:lnTo>
                    <a:pt x="795" y="983"/>
                  </a:lnTo>
                  <a:lnTo>
                    <a:pt x="797" y="983"/>
                  </a:lnTo>
                  <a:lnTo>
                    <a:pt x="804" y="989"/>
                  </a:lnTo>
                  <a:lnTo>
                    <a:pt x="806" y="990"/>
                  </a:lnTo>
                  <a:lnTo>
                    <a:pt x="806" y="991"/>
                  </a:lnTo>
                  <a:lnTo>
                    <a:pt x="807" y="993"/>
                  </a:lnTo>
                  <a:lnTo>
                    <a:pt x="807" y="993"/>
                  </a:lnTo>
                  <a:lnTo>
                    <a:pt x="807" y="994"/>
                  </a:lnTo>
                  <a:lnTo>
                    <a:pt x="806" y="1009"/>
                  </a:lnTo>
                  <a:lnTo>
                    <a:pt x="804" y="1013"/>
                  </a:lnTo>
                  <a:lnTo>
                    <a:pt x="803" y="1015"/>
                  </a:lnTo>
                  <a:lnTo>
                    <a:pt x="803" y="1015"/>
                  </a:lnTo>
                  <a:lnTo>
                    <a:pt x="798" y="1016"/>
                  </a:lnTo>
                  <a:lnTo>
                    <a:pt x="797" y="1018"/>
                  </a:lnTo>
                  <a:lnTo>
                    <a:pt x="795" y="1019"/>
                  </a:lnTo>
                  <a:lnTo>
                    <a:pt x="792" y="1026"/>
                  </a:lnTo>
                  <a:lnTo>
                    <a:pt x="784" y="1021"/>
                  </a:lnTo>
                  <a:lnTo>
                    <a:pt x="779" y="1019"/>
                  </a:lnTo>
                  <a:lnTo>
                    <a:pt x="776" y="1019"/>
                  </a:lnTo>
                  <a:lnTo>
                    <a:pt x="769" y="1023"/>
                  </a:lnTo>
                  <a:lnTo>
                    <a:pt x="766" y="1023"/>
                  </a:lnTo>
                  <a:lnTo>
                    <a:pt x="766" y="1022"/>
                  </a:lnTo>
                  <a:lnTo>
                    <a:pt x="765" y="1018"/>
                  </a:lnTo>
                  <a:lnTo>
                    <a:pt x="765" y="1015"/>
                  </a:lnTo>
                  <a:lnTo>
                    <a:pt x="763" y="1013"/>
                  </a:lnTo>
                  <a:lnTo>
                    <a:pt x="758" y="1003"/>
                  </a:lnTo>
                  <a:lnTo>
                    <a:pt x="743" y="984"/>
                  </a:lnTo>
                  <a:lnTo>
                    <a:pt x="740" y="977"/>
                  </a:lnTo>
                  <a:lnTo>
                    <a:pt x="739" y="974"/>
                  </a:lnTo>
                  <a:lnTo>
                    <a:pt x="740" y="971"/>
                  </a:lnTo>
                  <a:lnTo>
                    <a:pt x="740" y="965"/>
                  </a:lnTo>
                  <a:lnTo>
                    <a:pt x="740" y="961"/>
                  </a:lnTo>
                  <a:lnTo>
                    <a:pt x="740" y="957"/>
                  </a:lnTo>
                  <a:lnTo>
                    <a:pt x="739" y="948"/>
                  </a:lnTo>
                  <a:lnTo>
                    <a:pt x="737" y="945"/>
                  </a:lnTo>
                  <a:lnTo>
                    <a:pt x="736" y="942"/>
                  </a:lnTo>
                  <a:lnTo>
                    <a:pt x="734" y="942"/>
                  </a:lnTo>
                  <a:lnTo>
                    <a:pt x="734" y="942"/>
                  </a:lnTo>
                  <a:lnTo>
                    <a:pt x="733" y="942"/>
                  </a:lnTo>
                  <a:lnTo>
                    <a:pt x="728" y="945"/>
                  </a:lnTo>
                  <a:lnTo>
                    <a:pt x="727" y="945"/>
                  </a:lnTo>
                  <a:lnTo>
                    <a:pt x="725" y="945"/>
                  </a:lnTo>
                  <a:lnTo>
                    <a:pt x="723" y="943"/>
                  </a:lnTo>
                  <a:lnTo>
                    <a:pt x="720" y="940"/>
                  </a:lnTo>
                  <a:lnTo>
                    <a:pt x="709" y="929"/>
                  </a:lnTo>
                  <a:lnTo>
                    <a:pt x="707" y="926"/>
                  </a:lnTo>
                  <a:lnTo>
                    <a:pt x="698" y="923"/>
                  </a:lnTo>
                  <a:lnTo>
                    <a:pt x="693" y="920"/>
                  </a:lnTo>
                  <a:lnTo>
                    <a:pt x="692" y="919"/>
                  </a:lnTo>
                  <a:lnTo>
                    <a:pt x="692" y="917"/>
                  </a:lnTo>
                  <a:lnTo>
                    <a:pt x="692" y="916"/>
                  </a:lnTo>
                  <a:lnTo>
                    <a:pt x="693" y="913"/>
                  </a:lnTo>
                  <a:lnTo>
                    <a:pt x="693" y="910"/>
                  </a:lnTo>
                  <a:lnTo>
                    <a:pt x="695" y="908"/>
                  </a:lnTo>
                  <a:lnTo>
                    <a:pt x="696" y="903"/>
                  </a:lnTo>
                  <a:lnTo>
                    <a:pt x="698" y="895"/>
                  </a:lnTo>
                  <a:lnTo>
                    <a:pt x="677" y="890"/>
                  </a:lnTo>
                  <a:lnTo>
                    <a:pt x="673" y="891"/>
                  </a:lnTo>
                  <a:lnTo>
                    <a:pt x="661" y="901"/>
                  </a:lnTo>
                  <a:lnTo>
                    <a:pt x="661" y="904"/>
                  </a:lnTo>
                  <a:lnTo>
                    <a:pt x="660" y="907"/>
                  </a:lnTo>
                  <a:lnTo>
                    <a:pt x="661" y="922"/>
                  </a:lnTo>
                  <a:lnTo>
                    <a:pt x="663" y="924"/>
                  </a:lnTo>
                  <a:lnTo>
                    <a:pt x="663" y="926"/>
                  </a:lnTo>
                  <a:lnTo>
                    <a:pt x="664" y="927"/>
                  </a:lnTo>
                  <a:lnTo>
                    <a:pt x="664" y="927"/>
                  </a:lnTo>
                  <a:lnTo>
                    <a:pt x="666" y="930"/>
                  </a:lnTo>
                  <a:lnTo>
                    <a:pt x="666" y="932"/>
                  </a:lnTo>
                  <a:lnTo>
                    <a:pt x="667" y="939"/>
                  </a:lnTo>
                  <a:lnTo>
                    <a:pt x="666" y="940"/>
                  </a:lnTo>
                  <a:lnTo>
                    <a:pt x="666" y="942"/>
                  </a:lnTo>
                  <a:lnTo>
                    <a:pt x="664" y="942"/>
                  </a:lnTo>
                  <a:lnTo>
                    <a:pt x="664" y="942"/>
                  </a:lnTo>
                  <a:lnTo>
                    <a:pt x="656" y="939"/>
                  </a:lnTo>
                  <a:lnTo>
                    <a:pt x="656" y="939"/>
                  </a:lnTo>
                  <a:lnTo>
                    <a:pt x="654" y="940"/>
                  </a:lnTo>
                  <a:lnTo>
                    <a:pt x="648" y="948"/>
                  </a:lnTo>
                  <a:lnTo>
                    <a:pt x="647" y="949"/>
                  </a:lnTo>
                  <a:lnTo>
                    <a:pt x="634" y="957"/>
                  </a:lnTo>
                  <a:lnTo>
                    <a:pt x="640" y="964"/>
                  </a:lnTo>
                  <a:lnTo>
                    <a:pt x="641" y="967"/>
                  </a:lnTo>
                  <a:lnTo>
                    <a:pt x="641" y="970"/>
                  </a:lnTo>
                  <a:lnTo>
                    <a:pt x="641" y="971"/>
                  </a:lnTo>
                  <a:lnTo>
                    <a:pt x="641" y="973"/>
                  </a:lnTo>
                  <a:lnTo>
                    <a:pt x="641" y="974"/>
                  </a:lnTo>
                  <a:lnTo>
                    <a:pt x="641" y="975"/>
                  </a:lnTo>
                  <a:lnTo>
                    <a:pt x="640" y="975"/>
                  </a:lnTo>
                  <a:lnTo>
                    <a:pt x="640" y="975"/>
                  </a:lnTo>
                  <a:lnTo>
                    <a:pt x="638" y="977"/>
                  </a:lnTo>
                  <a:lnTo>
                    <a:pt x="637" y="977"/>
                  </a:lnTo>
                  <a:lnTo>
                    <a:pt x="637" y="975"/>
                  </a:lnTo>
                  <a:lnTo>
                    <a:pt x="635" y="975"/>
                  </a:lnTo>
                  <a:lnTo>
                    <a:pt x="635" y="974"/>
                  </a:lnTo>
                  <a:lnTo>
                    <a:pt x="635" y="974"/>
                  </a:lnTo>
                  <a:lnTo>
                    <a:pt x="634" y="974"/>
                  </a:lnTo>
                  <a:lnTo>
                    <a:pt x="632" y="975"/>
                  </a:lnTo>
                  <a:lnTo>
                    <a:pt x="629" y="981"/>
                  </a:lnTo>
                  <a:lnTo>
                    <a:pt x="629" y="981"/>
                  </a:lnTo>
                  <a:lnTo>
                    <a:pt x="628" y="983"/>
                  </a:lnTo>
                  <a:lnTo>
                    <a:pt x="616" y="987"/>
                  </a:lnTo>
                  <a:lnTo>
                    <a:pt x="613" y="989"/>
                  </a:lnTo>
                  <a:lnTo>
                    <a:pt x="612" y="990"/>
                  </a:lnTo>
                  <a:lnTo>
                    <a:pt x="610" y="991"/>
                  </a:lnTo>
                  <a:lnTo>
                    <a:pt x="609" y="996"/>
                  </a:lnTo>
                  <a:lnTo>
                    <a:pt x="607" y="999"/>
                  </a:lnTo>
                  <a:lnTo>
                    <a:pt x="607" y="999"/>
                  </a:lnTo>
                  <a:lnTo>
                    <a:pt x="600" y="997"/>
                  </a:lnTo>
                  <a:lnTo>
                    <a:pt x="599" y="997"/>
                  </a:lnTo>
                  <a:lnTo>
                    <a:pt x="597" y="999"/>
                  </a:lnTo>
                  <a:lnTo>
                    <a:pt x="594" y="999"/>
                  </a:lnTo>
                  <a:lnTo>
                    <a:pt x="584" y="1006"/>
                  </a:lnTo>
                  <a:lnTo>
                    <a:pt x="555" y="1013"/>
                  </a:lnTo>
                  <a:lnTo>
                    <a:pt x="542" y="1013"/>
                  </a:lnTo>
                  <a:lnTo>
                    <a:pt x="533" y="1015"/>
                  </a:lnTo>
                  <a:lnTo>
                    <a:pt x="530" y="1018"/>
                  </a:lnTo>
                  <a:lnTo>
                    <a:pt x="530" y="1019"/>
                  </a:lnTo>
                  <a:lnTo>
                    <a:pt x="532" y="1019"/>
                  </a:lnTo>
                  <a:lnTo>
                    <a:pt x="532" y="1021"/>
                  </a:lnTo>
                  <a:lnTo>
                    <a:pt x="532" y="1022"/>
                  </a:lnTo>
                  <a:lnTo>
                    <a:pt x="532" y="1026"/>
                  </a:lnTo>
                  <a:lnTo>
                    <a:pt x="532" y="1028"/>
                  </a:lnTo>
                  <a:lnTo>
                    <a:pt x="532" y="1029"/>
                  </a:lnTo>
                  <a:lnTo>
                    <a:pt x="532" y="1032"/>
                  </a:lnTo>
                  <a:lnTo>
                    <a:pt x="532" y="1035"/>
                  </a:lnTo>
                  <a:lnTo>
                    <a:pt x="530" y="1038"/>
                  </a:lnTo>
                  <a:lnTo>
                    <a:pt x="529" y="1041"/>
                  </a:lnTo>
                  <a:lnTo>
                    <a:pt x="529" y="1042"/>
                  </a:lnTo>
                  <a:lnTo>
                    <a:pt x="529" y="1045"/>
                  </a:lnTo>
                  <a:lnTo>
                    <a:pt x="529" y="1048"/>
                  </a:lnTo>
                  <a:lnTo>
                    <a:pt x="527" y="1048"/>
                  </a:lnTo>
                  <a:lnTo>
                    <a:pt x="519" y="1056"/>
                  </a:lnTo>
                  <a:lnTo>
                    <a:pt x="517" y="1056"/>
                  </a:lnTo>
                  <a:lnTo>
                    <a:pt x="501" y="1061"/>
                  </a:lnTo>
                  <a:lnTo>
                    <a:pt x="497" y="1061"/>
                  </a:lnTo>
                  <a:lnTo>
                    <a:pt x="478" y="1060"/>
                  </a:lnTo>
                  <a:lnTo>
                    <a:pt x="476" y="1060"/>
                  </a:lnTo>
                  <a:lnTo>
                    <a:pt x="476" y="1058"/>
                  </a:lnTo>
                  <a:lnTo>
                    <a:pt x="475" y="1057"/>
                  </a:lnTo>
                  <a:lnTo>
                    <a:pt x="475" y="1056"/>
                  </a:lnTo>
                  <a:lnTo>
                    <a:pt x="475" y="1054"/>
                  </a:lnTo>
                  <a:lnTo>
                    <a:pt x="475" y="1054"/>
                  </a:lnTo>
                  <a:lnTo>
                    <a:pt x="473" y="1054"/>
                  </a:lnTo>
                  <a:lnTo>
                    <a:pt x="471" y="1053"/>
                  </a:lnTo>
                  <a:lnTo>
                    <a:pt x="469" y="1051"/>
                  </a:lnTo>
                  <a:lnTo>
                    <a:pt x="468" y="1051"/>
                  </a:lnTo>
                  <a:lnTo>
                    <a:pt x="468" y="1053"/>
                  </a:lnTo>
                  <a:lnTo>
                    <a:pt x="466" y="1054"/>
                  </a:lnTo>
                  <a:lnTo>
                    <a:pt x="466" y="1056"/>
                  </a:lnTo>
                  <a:lnTo>
                    <a:pt x="463" y="1061"/>
                  </a:lnTo>
                  <a:lnTo>
                    <a:pt x="460" y="1063"/>
                  </a:lnTo>
                  <a:lnTo>
                    <a:pt x="452" y="1072"/>
                  </a:lnTo>
                  <a:lnTo>
                    <a:pt x="449" y="1073"/>
                  </a:lnTo>
                  <a:lnTo>
                    <a:pt x="441" y="1070"/>
                  </a:lnTo>
                  <a:lnTo>
                    <a:pt x="440" y="1070"/>
                  </a:lnTo>
                  <a:lnTo>
                    <a:pt x="438" y="1070"/>
                  </a:lnTo>
                  <a:lnTo>
                    <a:pt x="438" y="1073"/>
                  </a:lnTo>
                  <a:lnTo>
                    <a:pt x="437" y="1074"/>
                  </a:lnTo>
                  <a:lnTo>
                    <a:pt x="436" y="1077"/>
                  </a:lnTo>
                  <a:lnTo>
                    <a:pt x="433" y="1079"/>
                  </a:lnTo>
                  <a:lnTo>
                    <a:pt x="431" y="1079"/>
                  </a:lnTo>
                  <a:lnTo>
                    <a:pt x="430" y="1079"/>
                  </a:lnTo>
                  <a:lnTo>
                    <a:pt x="424" y="1076"/>
                  </a:lnTo>
                  <a:lnTo>
                    <a:pt x="420" y="1076"/>
                  </a:lnTo>
                  <a:lnTo>
                    <a:pt x="417" y="1077"/>
                  </a:lnTo>
                  <a:lnTo>
                    <a:pt x="398" y="1090"/>
                  </a:lnTo>
                  <a:lnTo>
                    <a:pt x="389" y="1093"/>
                  </a:lnTo>
                  <a:lnTo>
                    <a:pt x="383" y="1095"/>
                  </a:lnTo>
                  <a:lnTo>
                    <a:pt x="379" y="1096"/>
                  </a:lnTo>
                  <a:lnTo>
                    <a:pt x="377" y="1096"/>
                  </a:lnTo>
                  <a:lnTo>
                    <a:pt x="377" y="1098"/>
                  </a:lnTo>
                  <a:lnTo>
                    <a:pt x="376" y="1098"/>
                  </a:lnTo>
                  <a:lnTo>
                    <a:pt x="376" y="1099"/>
                  </a:lnTo>
                  <a:lnTo>
                    <a:pt x="374" y="1104"/>
                  </a:lnTo>
                  <a:lnTo>
                    <a:pt x="369" y="1111"/>
                  </a:lnTo>
                  <a:lnTo>
                    <a:pt x="360" y="1112"/>
                  </a:lnTo>
                  <a:lnTo>
                    <a:pt x="360" y="1114"/>
                  </a:lnTo>
                  <a:lnTo>
                    <a:pt x="358" y="1115"/>
                  </a:lnTo>
                  <a:lnTo>
                    <a:pt x="358" y="1117"/>
                  </a:lnTo>
                  <a:lnTo>
                    <a:pt x="360" y="1120"/>
                  </a:lnTo>
                  <a:lnTo>
                    <a:pt x="360" y="1122"/>
                  </a:lnTo>
                  <a:lnTo>
                    <a:pt x="360" y="1128"/>
                  </a:lnTo>
                  <a:lnTo>
                    <a:pt x="360" y="1139"/>
                  </a:lnTo>
                  <a:lnTo>
                    <a:pt x="357" y="1144"/>
                  </a:lnTo>
                  <a:lnTo>
                    <a:pt x="354" y="1147"/>
                  </a:lnTo>
                  <a:lnTo>
                    <a:pt x="351" y="1147"/>
                  </a:lnTo>
                  <a:lnTo>
                    <a:pt x="350" y="1147"/>
                  </a:lnTo>
                  <a:lnTo>
                    <a:pt x="347" y="1147"/>
                  </a:lnTo>
                  <a:lnTo>
                    <a:pt x="345" y="1147"/>
                  </a:lnTo>
                  <a:lnTo>
                    <a:pt x="342" y="1146"/>
                  </a:lnTo>
                  <a:lnTo>
                    <a:pt x="342" y="1144"/>
                  </a:lnTo>
                  <a:lnTo>
                    <a:pt x="341" y="1143"/>
                  </a:lnTo>
                  <a:lnTo>
                    <a:pt x="339" y="1140"/>
                  </a:lnTo>
                  <a:lnTo>
                    <a:pt x="336" y="1136"/>
                  </a:lnTo>
                  <a:lnTo>
                    <a:pt x="336" y="1134"/>
                  </a:lnTo>
                  <a:lnTo>
                    <a:pt x="334" y="1134"/>
                  </a:lnTo>
                  <a:lnTo>
                    <a:pt x="320" y="1139"/>
                  </a:lnTo>
                  <a:lnTo>
                    <a:pt x="315" y="1143"/>
                  </a:lnTo>
                  <a:lnTo>
                    <a:pt x="315" y="1143"/>
                  </a:lnTo>
                  <a:lnTo>
                    <a:pt x="315" y="1144"/>
                  </a:lnTo>
                  <a:lnTo>
                    <a:pt x="316" y="1146"/>
                  </a:lnTo>
                  <a:lnTo>
                    <a:pt x="316" y="1149"/>
                  </a:lnTo>
                  <a:lnTo>
                    <a:pt x="316" y="1152"/>
                  </a:lnTo>
                  <a:lnTo>
                    <a:pt x="313" y="1156"/>
                  </a:lnTo>
                  <a:lnTo>
                    <a:pt x="313" y="1159"/>
                  </a:lnTo>
                  <a:lnTo>
                    <a:pt x="313" y="1160"/>
                  </a:lnTo>
                  <a:lnTo>
                    <a:pt x="313" y="1162"/>
                  </a:lnTo>
                  <a:lnTo>
                    <a:pt x="315" y="1162"/>
                  </a:lnTo>
                  <a:lnTo>
                    <a:pt x="319" y="1165"/>
                  </a:lnTo>
                  <a:lnTo>
                    <a:pt x="320" y="1166"/>
                  </a:lnTo>
                  <a:lnTo>
                    <a:pt x="320" y="1166"/>
                  </a:lnTo>
                  <a:lnTo>
                    <a:pt x="322" y="1168"/>
                  </a:lnTo>
                  <a:lnTo>
                    <a:pt x="322" y="1169"/>
                  </a:lnTo>
                  <a:lnTo>
                    <a:pt x="322" y="1175"/>
                  </a:lnTo>
                  <a:lnTo>
                    <a:pt x="322" y="1181"/>
                  </a:lnTo>
                  <a:lnTo>
                    <a:pt x="322" y="1185"/>
                  </a:lnTo>
                  <a:lnTo>
                    <a:pt x="323" y="1187"/>
                  </a:lnTo>
                  <a:lnTo>
                    <a:pt x="325" y="1188"/>
                  </a:lnTo>
                  <a:lnTo>
                    <a:pt x="328" y="1194"/>
                  </a:lnTo>
                  <a:lnTo>
                    <a:pt x="328" y="1195"/>
                  </a:lnTo>
                  <a:lnTo>
                    <a:pt x="329" y="1197"/>
                  </a:lnTo>
                  <a:lnTo>
                    <a:pt x="329" y="1201"/>
                  </a:lnTo>
                  <a:lnTo>
                    <a:pt x="329" y="1203"/>
                  </a:lnTo>
                  <a:lnTo>
                    <a:pt x="328" y="1204"/>
                  </a:lnTo>
                  <a:lnTo>
                    <a:pt x="328" y="1205"/>
                  </a:lnTo>
                  <a:lnTo>
                    <a:pt x="319" y="1207"/>
                  </a:lnTo>
                  <a:lnTo>
                    <a:pt x="300" y="1213"/>
                  </a:lnTo>
                  <a:lnTo>
                    <a:pt x="294" y="1211"/>
                  </a:lnTo>
                  <a:lnTo>
                    <a:pt x="290" y="1205"/>
                  </a:lnTo>
                  <a:lnTo>
                    <a:pt x="288" y="1204"/>
                  </a:lnTo>
                  <a:lnTo>
                    <a:pt x="284" y="1201"/>
                  </a:lnTo>
                  <a:lnTo>
                    <a:pt x="281" y="1201"/>
                  </a:lnTo>
                  <a:lnTo>
                    <a:pt x="280" y="1203"/>
                  </a:lnTo>
                  <a:lnTo>
                    <a:pt x="277" y="1205"/>
                  </a:lnTo>
                  <a:lnTo>
                    <a:pt x="272" y="1208"/>
                  </a:lnTo>
                  <a:lnTo>
                    <a:pt x="268" y="1208"/>
                  </a:lnTo>
                  <a:lnTo>
                    <a:pt x="267" y="1207"/>
                  </a:lnTo>
                  <a:lnTo>
                    <a:pt x="267" y="1207"/>
                  </a:lnTo>
                  <a:lnTo>
                    <a:pt x="267" y="1205"/>
                  </a:lnTo>
                  <a:lnTo>
                    <a:pt x="268" y="1203"/>
                  </a:lnTo>
                  <a:lnTo>
                    <a:pt x="268" y="1201"/>
                  </a:lnTo>
                  <a:lnTo>
                    <a:pt x="268" y="1200"/>
                  </a:lnTo>
                  <a:lnTo>
                    <a:pt x="265" y="1197"/>
                  </a:lnTo>
                  <a:lnTo>
                    <a:pt x="259" y="1194"/>
                  </a:lnTo>
                  <a:lnTo>
                    <a:pt x="256" y="1194"/>
                  </a:lnTo>
                  <a:lnTo>
                    <a:pt x="255" y="1192"/>
                  </a:lnTo>
                  <a:lnTo>
                    <a:pt x="252" y="1194"/>
                  </a:lnTo>
                  <a:lnTo>
                    <a:pt x="251" y="1195"/>
                  </a:lnTo>
                  <a:lnTo>
                    <a:pt x="236" y="1197"/>
                  </a:lnTo>
                  <a:lnTo>
                    <a:pt x="235" y="1198"/>
                  </a:lnTo>
                  <a:lnTo>
                    <a:pt x="233" y="1198"/>
                  </a:lnTo>
                  <a:lnTo>
                    <a:pt x="218" y="1210"/>
                  </a:lnTo>
                  <a:lnTo>
                    <a:pt x="213" y="1213"/>
                  </a:lnTo>
                  <a:lnTo>
                    <a:pt x="210" y="1213"/>
                  </a:lnTo>
                  <a:lnTo>
                    <a:pt x="208" y="1211"/>
                  </a:lnTo>
                  <a:lnTo>
                    <a:pt x="207" y="1205"/>
                  </a:lnTo>
                  <a:lnTo>
                    <a:pt x="207" y="1204"/>
                  </a:lnTo>
                  <a:lnTo>
                    <a:pt x="205" y="1203"/>
                  </a:lnTo>
                  <a:lnTo>
                    <a:pt x="200" y="1200"/>
                  </a:lnTo>
                  <a:lnTo>
                    <a:pt x="198" y="1198"/>
                  </a:lnTo>
                  <a:lnTo>
                    <a:pt x="197" y="1197"/>
                  </a:lnTo>
                  <a:lnTo>
                    <a:pt x="197" y="1195"/>
                  </a:lnTo>
                  <a:lnTo>
                    <a:pt x="195" y="1194"/>
                  </a:lnTo>
                  <a:lnTo>
                    <a:pt x="195" y="1192"/>
                  </a:lnTo>
                  <a:lnTo>
                    <a:pt x="192" y="1191"/>
                  </a:lnTo>
                  <a:lnTo>
                    <a:pt x="191" y="1189"/>
                  </a:lnTo>
                  <a:lnTo>
                    <a:pt x="189" y="1189"/>
                  </a:lnTo>
                  <a:lnTo>
                    <a:pt x="188" y="1191"/>
                  </a:lnTo>
                  <a:lnTo>
                    <a:pt x="188" y="1191"/>
                  </a:lnTo>
                  <a:lnTo>
                    <a:pt x="186" y="1192"/>
                  </a:lnTo>
                  <a:lnTo>
                    <a:pt x="186" y="1194"/>
                  </a:lnTo>
                  <a:lnTo>
                    <a:pt x="186" y="1195"/>
                  </a:lnTo>
                  <a:lnTo>
                    <a:pt x="198" y="1214"/>
                  </a:lnTo>
                  <a:lnTo>
                    <a:pt x="200" y="1216"/>
                  </a:lnTo>
                  <a:lnTo>
                    <a:pt x="200" y="1216"/>
                  </a:lnTo>
                  <a:lnTo>
                    <a:pt x="200" y="1217"/>
                  </a:lnTo>
                  <a:lnTo>
                    <a:pt x="200" y="1217"/>
                  </a:lnTo>
                  <a:lnTo>
                    <a:pt x="197" y="1219"/>
                  </a:lnTo>
                  <a:lnTo>
                    <a:pt x="189" y="1223"/>
                  </a:lnTo>
                  <a:lnTo>
                    <a:pt x="181" y="1223"/>
                  </a:lnTo>
                  <a:lnTo>
                    <a:pt x="181" y="1219"/>
                  </a:lnTo>
                  <a:lnTo>
                    <a:pt x="169" y="1198"/>
                  </a:lnTo>
                  <a:lnTo>
                    <a:pt x="168" y="1191"/>
                  </a:lnTo>
                  <a:lnTo>
                    <a:pt x="170" y="1184"/>
                  </a:lnTo>
                  <a:lnTo>
                    <a:pt x="173" y="1172"/>
                  </a:lnTo>
                  <a:lnTo>
                    <a:pt x="173" y="1162"/>
                  </a:lnTo>
                  <a:lnTo>
                    <a:pt x="172" y="1160"/>
                  </a:lnTo>
                  <a:lnTo>
                    <a:pt x="169" y="1160"/>
                  </a:lnTo>
                  <a:lnTo>
                    <a:pt x="166" y="1155"/>
                  </a:lnTo>
                  <a:lnTo>
                    <a:pt x="165" y="1150"/>
                  </a:lnTo>
                  <a:lnTo>
                    <a:pt x="163" y="1144"/>
                  </a:lnTo>
                  <a:lnTo>
                    <a:pt x="165" y="1140"/>
                  </a:lnTo>
                  <a:lnTo>
                    <a:pt x="165" y="1140"/>
                  </a:lnTo>
                  <a:lnTo>
                    <a:pt x="168" y="1137"/>
                  </a:lnTo>
                  <a:lnTo>
                    <a:pt x="168" y="1137"/>
                  </a:lnTo>
                  <a:lnTo>
                    <a:pt x="162" y="1136"/>
                  </a:lnTo>
                  <a:lnTo>
                    <a:pt x="147" y="1133"/>
                  </a:lnTo>
                  <a:lnTo>
                    <a:pt x="141" y="1130"/>
                  </a:lnTo>
                  <a:lnTo>
                    <a:pt x="140" y="1130"/>
                  </a:lnTo>
                  <a:lnTo>
                    <a:pt x="140" y="1130"/>
                  </a:lnTo>
                  <a:lnTo>
                    <a:pt x="138" y="1130"/>
                  </a:lnTo>
                  <a:lnTo>
                    <a:pt x="138" y="1130"/>
                  </a:lnTo>
                  <a:lnTo>
                    <a:pt x="127" y="1134"/>
                  </a:lnTo>
                  <a:lnTo>
                    <a:pt x="122" y="1134"/>
                  </a:lnTo>
                  <a:lnTo>
                    <a:pt x="119" y="1131"/>
                  </a:lnTo>
                  <a:lnTo>
                    <a:pt x="117" y="1125"/>
                  </a:lnTo>
                  <a:lnTo>
                    <a:pt x="115" y="1122"/>
                  </a:lnTo>
                  <a:lnTo>
                    <a:pt x="117" y="1118"/>
                  </a:lnTo>
                  <a:lnTo>
                    <a:pt x="114" y="1118"/>
                  </a:lnTo>
                  <a:lnTo>
                    <a:pt x="111" y="1117"/>
                  </a:lnTo>
                  <a:lnTo>
                    <a:pt x="109" y="1114"/>
                  </a:lnTo>
                  <a:lnTo>
                    <a:pt x="109" y="1114"/>
                  </a:lnTo>
                  <a:lnTo>
                    <a:pt x="112" y="1109"/>
                  </a:lnTo>
                  <a:lnTo>
                    <a:pt x="112" y="1109"/>
                  </a:lnTo>
                  <a:lnTo>
                    <a:pt x="106" y="1102"/>
                  </a:lnTo>
                  <a:lnTo>
                    <a:pt x="106" y="1102"/>
                  </a:lnTo>
                  <a:lnTo>
                    <a:pt x="106" y="1102"/>
                  </a:lnTo>
                  <a:lnTo>
                    <a:pt x="114" y="1092"/>
                  </a:lnTo>
                  <a:lnTo>
                    <a:pt x="114" y="1092"/>
                  </a:lnTo>
                  <a:lnTo>
                    <a:pt x="124" y="1083"/>
                  </a:lnTo>
                  <a:lnTo>
                    <a:pt x="131" y="1079"/>
                  </a:lnTo>
                  <a:lnTo>
                    <a:pt x="131" y="1079"/>
                  </a:lnTo>
                  <a:lnTo>
                    <a:pt x="131" y="1077"/>
                  </a:lnTo>
                  <a:lnTo>
                    <a:pt x="131" y="1077"/>
                  </a:lnTo>
                  <a:lnTo>
                    <a:pt x="135" y="1072"/>
                  </a:lnTo>
                  <a:lnTo>
                    <a:pt x="135" y="1072"/>
                  </a:lnTo>
                  <a:lnTo>
                    <a:pt x="138" y="1067"/>
                  </a:lnTo>
                  <a:lnTo>
                    <a:pt x="137" y="1064"/>
                  </a:lnTo>
                  <a:lnTo>
                    <a:pt x="114" y="1063"/>
                  </a:lnTo>
                  <a:lnTo>
                    <a:pt x="106" y="1060"/>
                  </a:lnTo>
                  <a:lnTo>
                    <a:pt x="102" y="1051"/>
                  </a:lnTo>
                  <a:lnTo>
                    <a:pt x="102" y="1051"/>
                  </a:lnTo>
                  <a:lnTo>
                    <a:pt x="106" y="1048"/>
                  </a:lnTo>
                  <a:lnTo>
                    <a:pt x="106" y="1048"/>
                  </a:lnTo>
                  <a:lnTo>
                    <a:pt x="86" y="1016"/>
                  </a:lnTo>
                  <a:lnTo>
                    <a:pt x="79" y="1009"/>
                  </a:lnTo>
                  <a:lnTo>
                    <a:pt x="73" y="1009"/>
                  </a:lnTo>
                  <a:lnTo>
                    <a:pt x="60" y="1013"/>
                  </a:lnTo>
                  <a:lnTo>
                    <a:pt x="55" y="1012"/>
                  </a:lnTo>
                  <a:lnTo>
                    <a:pt x="54" y="1007"/>
                  </a:lnTo>
                  <a:lnTo>
                    <a:pt x="55" y="1002"/>
                  </a:lnTo>
                  <a:lnTo>
                    <a:pt x="54" y="997"/>
                  </a:lnTo>
                  <a:lnTo>
                    <a:pt x="50" y="994"/>
                  </a:lnTo>
                  <a:lnTo>
                    <a:pt x="48" y="993"/>
                  </a:lnTo>
                  <a:lnTo>
                    <a:pt x="48" y="991"/>
                  </a:lnTo>
                  <a:lnTo>
                    <a:pt x="48" y="990"/>
                  </a:lnTo>
                  <a:lnTo>
                    <a:pt x="48" y="990"/>
                  </a:lnTo>
                  <a:lnTo>
                    <a:pt x="48" y="990"/>
                  </a:lnTo>
                  <a:lnTo>
                    <a:pt x="50" y="990"/>
                  </a:lnTo>
                  <a:lnTo>
                    <a:pt x="50" y="990"/>
                  </a:lnTo>
                  <a:lnTo>
                    <a:pt x="50" y="983"/>
                  </a:lnTo>
                  <a:lnTo>
                    <a:pt x="50" y="983"/>
                  </a:lnTo>
                  <a:lnTo>
                    <a:pt x="48" y="980"/>
                  </a:lnTo>
                  <a:lnTo>
                    <a:pt x="44" y="977"/>
                  </a:lnTo>
                  <a:lnTo>
                    <a:pt x="42" y="973"/>
                  </a:lnTo>
                  <a:lnTo>
                    <a:pt x="41" y="965"/>
                  </a:lnTo>
                  <a:lnTo>
                    <a:pt x="41" y="965"/>
                  </a:lnTo>
                  <a:lnTo>
                    <a:pt x="45" y="967"/>
                  </a:lnTo>
                  <a:lnTo>
                    <a:pt x="51" y="962"/>
                  </a:lnTo>
                  <a:lnTo>
                    <a:pt x="52" y="955"/>
                  </a:lnTo>
                  <a:lnTo>
                    <a:pt x="52" y="955"/>
                  </a:lnTo>
                  <a:lnTo>
                    <a:pt x="51" y="951"/>
                  </a:lnTo>
                  <a:lnTo>
                    <a:pt x="51" y="945"/>
                  </a:lnTo>
                  <a:lnTo>
                    <a:pt x="51" y="945"/>
                  </a:lnTo>
                  <a:lnTo>
                    <a:pt x="54" y="940"/>
                  </a:lnTo>
                  <a:lnTo>
                    <a:pt x="58" y="938"/>
                  </a:lnTo>
                  <a:lnTo>
                    <a:pt x="67" y="938"/>
                  </a:lnTo>
                  <a:lnTo>
                    <a:pt x="70" y="933"/>
                  </a:lnTo>
                  <a:lnTo>
                    <a:pt x="73" y="927"/>
                  </a:lnTo>
                  <a:lnTo>
                    <a:pt x="73" y="923"/>
                  </a:lnTo>
                  <a:lnTo>
                    <a:pt x="73" y="923"/>
                  </a:lnTo>
                  <a:lnTo>
                    <a:pt x="70" y="911"/>
                  </a:lnTo>
                  <a:lnTo>
                    <a:pt x="70" y="911"/>
                  </a:lnTo>
                  <a:lnTo>
                    <a:pt x="70" y="908"/>
                  </a:lnTo>
                  <a:lnTo>
                    <a:pt x="73" y="906"/>
                  </a:lnTo>
                  <a:lnTo>
                    <a:pt x="73" y="903"/>
                  </a:lnTo>
                  <a:lnTo>
                    <a:pt x="73" y="903"/>
                  </a:lnTo>
                  <a:lnTo>
                    <a:pt x="61" y="900"/>
                  </a:lnTo>
                  <a:lnTo>
                    <a:pt x="54" y="894"/>
                  </a:lnTo>
                  <a:lnTo>
                    <a:pt x="51" y="891"/>
                  </a:lnTo>
                  <a:lnTo>
                    <a:pt x="50" y="887"/>
                  </a:lnTo>
                  <a:lnTo>
                    <a:pt x="50" y="879"/>
                  </a:lnTo>
                  <a:lnTo>
                    <a:pt x="50" y="879"/>
                  </a:lnTo>
                  <a:lnTo>
                    <a:pt x="51" y="875"/>
                  </a:lnTo>
                  <a:lnTo>
                    <a:pt x="52" y="869"/>
                  </a:lnTo>
                  <a:lnTo>
                    <a:pt x="52" y="869"/>
                  </a:lnTo>
                  <a:lnTo>
                    <a:pt x="52" y="866"/>
                  </a:lnTo>
                  <a:lnTo>
                    <a:pt x="39" y="868"/>
                  </a:lnTo>
                  <a:lnTo>
                    <a:pt x="31" y="865"/>
                  </a:lnTo>
                  <a:lnTo>
                    <a:pt x="26" y="865"/>
                  </a:lnTo>
                  <a:lnTo>
                    <a:pt x="20" y="866"/>
                  </a:lnTo>
                  <a:lnTo>
                    <a:pt x="12" y="871"/>
                  </a:lnTo>
                  <a:lnTo>
                    <a:pt x="7" y="872"/>
                  </a:lnTo>
                  <a:lnTo>
                    <a:pt x="7" y="858"/>
                  </a:lnTo>
                  <a:lnTo>
                    <a:pt x="1" y="841"/>
                  </a:lnTo>
                  <a:lnTo>
                    <a:pt x="0" y="828"/>
                  </a:lnTo>
                  <a:lnTo>
                    <a:pt x="0" y="828"/>
                  </a:lnTo>
                  <a:lnTo>
                    <a:pt x="9" y="824"/>
                  </a:lnTo>
                  <a:lnTo>
                    <a:pt x="15" y="827"/>
                  </a:lnTo>
                  <a:lnTo>
                    <a:pt x="19" y="831"/>
                  </a:lnTo>
                  <a:lnTo>
                    <a:pt x="23" y="836"/>
                  </a:lnTo>
                  <a:lnTo>
                    <a:pt x="29" y="836"/>
                  </a:lnTo>
                  <a:lnTo>
                    <a:pt x="33" y="831"/>
                  </a:lnTo>
                  <a:lnTo>
                    <a:pt x="41" y="817"/>
                  </a:lnTo>
                  <a:lnTo>
                    <a:pt x="45" y="811"/>
                  </a:lnTo>
                  <a:lnTo>
                    <a:pt x="77" y="786"/>
                  </a:lnTo>
                  <a:lnTo>
                    <a:pt x="98" y="776"/>
                  </a:lnTo>
                  <a:lnTo>
                    <a:pt x="102" y="769"/>
                  </a:lnTo>
                  <a:lnTo>
                    <a:pt x="102" y="769"/>
                  </a:lnTo>
                  <a:lnTo>
                    <a:pt x="95" y="761"/>
                  </a:lnTo>
                  <a:lnTo>
                    <a:pt x="95" y="761"/>
                  </a:lnTo>
                  <a:lnTo>
                    <a:pt x="103" y="756"/>
                  </a:lnTo>
                  <a:lnTo>
                    <a:pt x="105" y="754"/>
                  </a:lnTo>
                  <a:lnTo>
                    <a:pt x="105" y="754"/>
                  </a:lnTo>
                  <a:lnTo>
                    <a:pt x="98" y="751"/>
                  </a:lnTo>
                  <a:lnTo>
                    <a:pt x="80" y="763"/>
                  </a:lnTo>
                  <a:lnTo>
                    <a:pt x="71" y="758"/>
                  </a:lnTo>
                  <a:lnTo>
                    <a:pt x="70" y="748"/>
                  </a:lnTo>
                  <a:lnTo>
                    <a:pt x="70" y="748"/>
                  </a:lnTo>
                  <a:lnTo>
                    <a:pt x="70" y="735"/>
                  </a:lnTo>
                  <a:lnTo>
                    <a:pt x="74" y="725"/>
                  </a:lnTo>
                  <a:lnTo>
                    <a:pt x="77" y="719"/>
                  </a:lnTo>
                  <a:lnTo>
                    <a:pt x="84" y="709"/>
                  </a:lnTo>
                  <a:lnTo>
                    <a:pt x="102" y="677"/>
                  </a:lnTo>
                  <a:lnTo>
                    <a:pt x="106" y="673"/>
                  </a:lnTo>
                  <a:lnTo>
                    <a:pt x="115" y="667"/>
                  </a:lnTo>
                  <a:lnTo>
                    <a:pt x="118" y="662"/>
                  </a:lnTo>
                  <a:lnTo>
                    <a:pt x="119" y="655"/>
                  </a:lnTo>
                  <a:lnTo>
                    <a:pt x="121" y="643"/>
                  </a:lnTo>
                  <a:lnTo>
                    <a:pt x="124" y="638"/>
                  </a:lnTo>
                  <a:lnTo>
                    <a:pt x="124" y="638"/>
                  </a:lnTo>
                  <a:lnTo>
                    <a:pt x="118" y="632"/>
                  </a:lnTo>
                  <a:lnTo>
                    <a:pt x="118" y="632"/>
                  </a:lnTo>
                  <a:lnTo>
                    <a:pt x="118" y="622"/>
                  </a:lnTo>
                  <a:lnTo>
                    <a:pt x="121" y="610"/>
                  </a:lnTo>
                  <a:lnTo>
                    <a:pt x="122" y="598"/>
                  </a:lnTo>
                  <a:lnTo>
                    <a:pt x="122" y="598"/>
                  </a:lnTo>
                  <a:lnTo>
                    <a:pt x="121" y="588"/>
                  </a:lnTo>
                  <a:lnTo>
                    <a:pt x="118" y="571"/>
                  </a:lnTo>
                  <a:lnTo>
                    <a:pt x="103" y="555"/>
                  </a:lnTo>
                  <a:lnTo>
                    <a:pt x="82" y="523"/>
                  </a:lnTo>
                  <a:lnTo>
                    <a:pt x="80" y="515"/>
                  </a:lnTo>
                  <a:lnTo>
                    <a:pt x="80" y="515"/>
                  </a:lnTo>
                  <a:lnTo>
                    <a:pt x="82" y="508"/>
                  </a:lnTo>
                  <a:lnTo>
                    <a:pt x="86" y="495"/>
                  </a:lnTo>
                  <a:lnTo>
                    <a:pt x="86" y="495"/>
                  </a:lnTo>
                  <a:lnTo>
                    <a:pt x="61" y="485"/>
                  </a:lnTo>
                  <a:lnTo>
                    <a:pt x="54" y="475"/>
                  </a:lnTo>
                  <a:lnTo>
                    <a:pt x="58" y="459"/>
                  </a:lnTo>
                  <a:lnTo>
                    <a:pt x="58" y="459"/>
                  </a:lnTo>
                  <a:lnTo>
                    <a:pt x="55" y="456"/>
                  </a:lnTo>
                  <a:lnTo>
                    <a:pt x="47" y="450"/>
                  </a:lnTo>
                  <a:lnTo>
                    <a:pt x="44" y="447"/>
                  </a:lnTo>
                  <a:lnTo>
                    <a:pt x="33" y="448"/>
                  </a:lnTo>
                  <a:lnTo>
                    <a:pt x="29" y="447"/>
                  </a:lnTo>
                  <a:lnTo>
                    <a:pt x="29" y="447"/>
                  </a:lnTo>
                  <a:lnTo>
                    <a:pt x="31" y="440"/>
                  </a:lnTo>
                  <a:lnTo>
                    <a:pt x="32" y="438"/>
                  </a:lnTo>
                  <a:lnTo>
                    <a:pt x="38" y="432"/>
                  </a:lnTo>
                  <a:lnTo>
                    <a:pt x="38" y="421"/>
                  </a:lnTo>
                  <a:lnTo>
                    <a:pt x="38" y="421"/>
                  </a:lnTo>
                  <a:lnTo>
                    <a:pt x="33" y="411"/>
                  </a:lnTo>
                  <a:lnTo>
                    <a:pt x="26" y="405"/>
                  </a:lnTo>
                  <a:lnTo>
                    <a:pt x="26" y="405"/>
                  </a:lnTo>
                  <a:lnTo>
                    <a:pt x="28" y="399"/>
                  </a:lnTo>
                  <a:lnTo>
                    <a:pt x="33" y="396"/>
                  </a:lnTo>
                  <a:lnTo>
                    <a:pt x="47" y="393"/>
                  </a:lnTo>
                  <a:lnTo>
                    <a:pt x="54" y="390"/>
                  </a:lnTo>
                  <a:lnTo>
                    <a:pt x="61" y="384"/>
                  </a:lnTo>
                  <a:lnTo>
                    <a:pt x="66" y="381"/>
                  </a:lnTo>
                  <a:lnTo>
                    <a:pt x="80" y="378"/>
                  </a:lnTo>
                  <a:lnTo>
                    <a:pt x="92" y="381"/>
                  </a:lnTo>
                  <a:lnTo>
                    <a:pt x="99" y="383"/>
                  </a:lnTo>
                  <a:lnTo>
                    <a:pt x="105" y="384"/>
                  </a:lnTo>
                  <a:lnTo>
                    <a:pt x="105" y="384"/>
                  </a:lnTo>
                  <a:lnTo>
                    <a:pt x="100" y="377"/>
                  </a:lnTo>
                  <a:lnTo>
                    <a:pt x="87" y="364"/>
                  </a:lnTo>
                  <a:lnTo>
                    <a:pt x="83" y="361"/>
                  </a:lnTo>
                  <a:lnTo>
                    <a:pt x="83" y="361"/>
                  </a:lnTo>
                  <a:lnTo>
                    <a:pt x="95" y="354"/>
                  </a:lnTo>
                  <a:lnTo>
                    <a:pt x="106" y="360"/>
                  </a:lnTo>
                  <a:lnTo>
                    <a:pt x="118" y="368"/>
                  </a:lnTo>
                  <a:lnTo>
                    <a:pt x="130" y="373"/>
                  </a:lnTo>
                  <a:lnTo>
                    <a:pt x="140" y="371"/>
                  </a:lnTo>
                  <a:lnTo>
                    <a:pt x="143" y="371"/>
                  </a:lnTo>
                  <a:lnTo>
                    <a:pt x="146" y="374"/>
                  </a:lnTo>
                  <a:lnTo>
                    <a:pt x="149" y="380"/>
                  </a:lnTo>
                  <a:lnTo>
                    <a:pt x="150" y="383"/>
                  </a:lnTo>
                  <a:lnTo>
                    <a:pt x="165" y="384"/>
                  </a:lnTo>
                  <a:lnTo>
                    <a:pt x="170" y="387"/>
                  </a:lnTo>
                  <a:lnTo>
                    <a:pt x="170" y="396"/>
                  </a:lnTo>
                  <a:lnTo>
                    <a:pt x="184" y="393"/>
                  </a:lnTo>
                  <a:lnTo>
                    <a:pt x="185" y="387"/>
                  </a:lnTo>
                  <a:lnTo>
                    <a:pt x="185" y="387"/>
                  </a:lnTo>
                  <a:lnTo>
                    <a:pt x="182" y="374"/>
                  </a:lnTo>
                  <a:lnTo>
                    <a:pt x="182" y="374"/>
                  </a:lnTo>
                  <a:lnTo>
                    <a:pt x="205" y="381"/>
                  </a:lnTo>
                  <a:lnTo>
                    <a:pt x="211" y="381"/>
                  </a:lnTo>
                  <a:lnTo>
                    <a:pt x="217" y="378"/>
                  </a:lnTo>
                  <a:lnTo>
                    <a:pt x="235" y="365"/>
                  </a:lnTo>
                  <a:lnTo>
                    <a:pt x="269" y="354"/>
                  </a:lnTo>
                  <a:lnTo>
                    <a:pt x="300" y="352"/>
                  </a:lnTo>
                  <a:lnTo>
                    <a:pt x="309" y="348"/>
                  </a:lnTo>
                  <a:lnTo>
                    <a:pt x="318" y="338"/>
                  </a:lnTo>
                  <a:lnTo>
                    <a:pt x="325" y="323"/>
                  </a:lnTo>
                  <a:lnTo>
                    <a:pt x="328" y="320"/>
                  </a:lnTo>
                  <a:lnTo>
                    <a:pt x="331" y="320"/>
                  </a:lnTo>
                  <a:lnTo>
                    <a:pt x="332" y="317"/>
                  </a:lnTo>
                  <a:lnTo>
                    <a:pt x="334" y="312"/>
                  </a:lnTo>
                  <a:lnTo>
                    <a:pt x="334" y="312"/>
                  </a:lnTo>
                  <a:lnTo>
                    <a:pt x="332" y="307"/>
                  </a:lnTo>
                  <a:lnTo>
                    <a:pt x="331" y="304"/>
                  </a:lnTo>
                  <a:lnTo>
                    <a:pt x="322" y="295"/>
                  </a:lnTo>
                  <a:lnTo>
                    <a:pt x="299" y="282"/>
                  </a:lnTo>
                  <a:lnTo>
                    <a:pt x="291" y="279"/>
                  </a:lnTo>
                  <a:lnTo>
                    <a:pt x="286" y="277"/>
                  </a:lnTo>
                  <a:lnTo>
                    <a:pt x="284" y="268"/>
                  </a:lnTo>
                  <a:lnTo>
                    <a:pt x="284" y="268"/>
                  </a:lnTo>
                  <a:lnTo>
                    <a:pt x="287" y="262"/>
                  </a:lnTo>
                  <a:lnTo>
                    <a:pt x="290" y="261"/>
                  </a:lnTo>
                  <a:lnTo>
                    <a:pt x="294" y="261"/>
                  </a:lnTo>
                  <a:lnTo>
                    <a:pt x="299" y="258"/>
                  </a:lnTo>
                  <a:lnTo>
                    <a:pt x="302" y="255"/>
                  </a:lnTo>
                  <a:lnTo>
                    <a:pt x="304" y="247"/>
                  </a:lnTo>
                  <a:lnTo>
                    <a:pt x="306" y="245"/>
                  </a:lnTo>
                  <a:lnTo>
                    <a:pt x="312" y="237"/>
                  </a:lnTo>
                  <a:lnTo>
                    <a:pt x="318" y="234"/>
                  </a:lnTo>
                  <a:lnTo>
                    <a:pt x="319" y="234"/>
                  </a:lnTo>
                  <a:lnTo>
                    <a:pt x="339" y="233"/>
                  </a:lnTo>
                  <a:lnTo>
                    <a:pt x="344" y="229"/>
                  </a:lnTo>
                  <a:lnTo>
                    <a:pt x="351" y="213"/>
                  </a:lnTo>
                  <a:lnTo>
                    <a:pt x="358" y="205"/>
                  </a:lnTo>
                  <a:lnTo>
                    <a:pt x="373" y="199"/>
                  </a:lnTo>
                  <a:lnTo>
                    <a:pt x="380" y="192"/>
                  </a:lnTo>
                  <a:lnTo>
                    <a:pt x="389" y="179"/>
                  </a:lnTo>
                  <a:lnTo>
                    <a:pt x="392" y="175"/>
                  </a:lnTo>
                  <a:lnTo>
                    <a:pt x="408" y="166"/>
                  </a:lnTo>
                  <a:lnTo>
                    <a:pt x="408" y="163"/>
                  </a:lnTo>
                  <a:lnTo>
                    <a:pt x="408" y="162"/>
                  </a:lnTo>
                  <a:lnTo>
                    <a:pt x="417" y="162"/>
                  </a:lnTo>
                  <a:lnTo>
                    <a:pt x="431" y="156"/>
                  </a:lnTo>
                  <a:lnTo>
                    <a:pt x="436" y="153"/>
                  </a:lnTo>
                  <a:lnTo>
                    <a:pt x="438" y="150"/>
                  </a:lnTo>
                  <a:lnTo>
                    <a:pt x="441" y="148"/>
                  </a:lnTo>
                  <a:lnTo>
                    <a:pt x="488" y="146"/>
                  </a:lnTo>
                  <a:lnTo>
                    <a:pt x="503" y="143"/>
                  </a:lnTo>
                  <a:lnTo>
                    <a:pt x="520" y="131"/>
                  </a:lnTo>
                  <a:lnTo>
                    <a:pt x="524" y="127"/>
                  </a:lnTo>
                  <a:lnTo>
                    <a:pt x="526" y="125"/>
                  </a:lnTo>
                  <a:lnTo>
                    <a:pt x="527" y="125"/>
                  </a:lnTo>
                  <a:lnTo>
                    <a:pt x="538" y="122"/>
                  </a:lnTo>
                  <a:lnTo>
                    <a:pt x="540" y="121"/>
                  </a:lnTo>
                  <a:lnTo>
                    <a:pt x="543" y="119"/>
                  </a:lnTo>
                  <a:lnTo>
                    <a:pt x="561" y="100"/>
                  </a:lnTo>
                  <a:lnTo>
                    <a:pt x="577" y="87"/>
                  </a:lnTo>
                  <a:lnTo>
                    <a:pt x="578" y="86"/>
                  </a:lnTo>
                  <a:lnTo>
                    <a:pt x="584" y="84"/>
                  </a:lnTo>
                  <a:lnTo>
                    <a:pt x="586" y="84"/>
                  </a:lnTo>
                  <a:lnTo>
                    <a:pt x="593" y="86"/>
                  </a:lnTo>
                  <a:lnTo>
                    <a:pt x="593" y="86"/>
                  </a:lnTo>
                  <a:lnTo>
                    <a:pt x="594" y="86"/>
                  </a:lnTo>
                  <a:lnTo>
                    <a:pt x="596" y="84"/>
                  </a:lnTo>
                  <a:lnTo>
                    <a:pt x="597" y="81"/>
                  </a:lnTo>
                  <a:lnTo>
                    <a:pt x="597" y="80"/>
                  </a:lnTo>
                  <a:lnTo>
                    <a:pt x="599" y="80"/>
                  </a:lnTo>
                  <a:lnTo>
                    <a:pt x="599" y="80"/>
                  </a:lnTo>
                  <a:lnTo>
                    <a:pt x="600" y="76"/>
                  </a:lnTo>
                  <a:lnTo>
                    <a:pt x="603" y="67"/>
                  </a:lnTo>
                  <a:lnTo>
                    <a:pt x="603" y="64"/>
                  </a:lnTo>
                  <a:lnTo>
                    <a:pt x="606" y="63"/>
                  </a:lnTo>
                  <a:lnTo>
                    <a:pt x="607" y="61"/>
                  </a:lnTo>
                  <a:lnTo>
                    <a:pt x="607" y="60"/>
                  </a:lnTo>
                  <a:lnTo>
                    <a:pt x="607" y="58"/>
                  </a:lnTo>
                  <a:lnTo>
                    <a:pt x="605" y="55"/>
                  </a:lnTo>
                  <a:lnTo>
                    <a:pt x="602" y="54"/>
                  </a:lnTo>
                  <a:lnTo>
                    <a:pt x="602" y="51"/>
                  </a:lnTo>
                  <a:lnTo>
                    <a:pt x="600" y="49"/>
                  </a:lnTo>
                  <a:lnTo>
                    <a:pt x="605" y="31"/>
                  </a:lnTo>
                  <a:lnTo>
                    <a:pt x="606" y="29"/>
                  </a:lnTo>
                  <a:lnTo>
                    <a:pt x="607" y="28"/>
                  </a:lnTo>
                  <a:lnTo>
                    <a:pt x="609" y="28"/>
                  </a:lnTo>
                  <a:lnTo>
                    <a:pt x="610" y="28"/>
                  </a:lnTo>
                  <a:lnTo>
                    <a:pt x="635" y="35"/>
                  </a:lnTo>
                  <a:lnTo>
                    <a:pt x="637" y="36"/>
                  </a:lnTo>
                  <a:lnTo>
                    <a:pt x="638" y="38"/>
                  </a:lnTo>
                  <a:lnTo>
                    <a:pt x="640" y="39"/>
                  </a:lnTo>
                  <a:lnTo>
                    <a:pt x="640" y="42"/>
                  </a:lnTo>
                  <a:lnTo>
                    <a:pt x="642" y="63"/>
                  </a:lnTo>
                  <a:lnTo>
                    <a:pt x="644" y="64"/>
                  </a:lnTo>
                  <a:lnTo>
                    <a:pt x="645" y="65"/>
                  </a:lnTo>
                  <a:lnTo>
                    <a:pt x="654" y="68"/>
                  </a:lnTo>
                  <a:lnTo>
                    <a:pt x="677" y="84"/>
                  </a:lnTo>
                  <a:lnTo>
                    <a:pt x="679" y="84"/>
                  </a:lnTo>
                  <a:lnTo>
                    <a:pt x="682" y="90"/>
                  </a:lnTo>
                  <a:lnTo>
                    <a:pt x="685" y="90"/>
                  </a:lnTo>
                  <a:lnTo>
                    <a:pt x="686" y="92"/>
                  </a:lnTo>
                  <a:lnTo>
                    <a:pt x="709" y="81"/>
                  </a:lnTo>
                  <a:lnTo>
                    <a:pt x="711" y="83"/>
                  </a:lnTo>
                  <a:lnTo>
                    <a:pt x="714" y="83"/>
                  </a:lnTo>
                  <a:lnTo>
                    <a:pt x="715" y="86"/>
                  </a:lnTo>
                  <a:lnTo>
                    <a:pt x="718" y="90"/>
                  </a:lnTo>
                  <a:lnTo>
                    <a:pt x="721" y="93"/>
                  </a:lnTo>
                  <a:lnTo>
                    <a:pt x="725" y="100"/>
                  </a:lnTo>
                  <a:lnTo>
                    <a:pt x="733" y="112"/>
                  </a:lnTo>
                  <a:lnTo>
                    <a:pt x="736" y="116"/>
                  </a:lnTo>
                  <a:lnTo>
                    <a:pt x="737" y="118"/>
                  </a:lnTo>
                  <a:lnTo>
                    <a:pt x="737" y="119"/>
                  </a:lnTo>
                  <a:lnTo>
                    <a:pt x="736" y="121"/>
                  </a:lnTo>
                  <a:lnTo>
                    <a:pt x="734" y="122"/>
                  </a:lnTo>
                  <a:lnTo>
                    <a:pt x="724" y="124"/>
                  </a:lnTo>
                  <a:lnTo>
                    <a:pt x="723" y="124"/>
                  </a:lnTo>
                  <a:lnTo>
                    <a:pt x="721" y="125"/>
                  </a:lnTo>
                  <a:lnTo>
                    <a:pt x="721" y="127"/>
                  </a:lnTo>
                  <a:lnTo>
                    <a:pt x="723" y="130"/>
                  </a:lnTo>
                  <a:lnTo>
                    <a:pt x="723" y="132"/>
                  </a:lnTo>
                  <a:lnTo>
                    <a:pt x="724" y="134"/>
                  </a:lnTo>
                  <a:lnTo>
                    <a:pt x="725" y="137"/>
                  </a:lnTo>
                  <a:lnTo>
                    <a:pt x="727" y="140"/>
                  </a:lnTo>
                  <a:lnTo>
                    <a:pt x="727" y="141"/>
                  </a:lnTo>
                  <a:lnTo>
                    <a:pt x="727" y="143"/>
                  </a:lnTo>
                  <a:lnTo>
                    <a:pt x="724" y="146"/>
                  </a:lnTo>
                  <a:lnTo>
                    <a:pt x="718" y="153"/>
                  </a:lnTo>
                  <a:lnTo>
                    <a:pt x="717" y="154"/>
                  </a:lnTo>
                  <a:lnTo>
                    <a:pt x="717" y="156"/>
                  </a:lnTo>
                  <a:lnTo>
                    <a:pt x="717" y="157"/>
                  </a:lnTo>
                  <a:lnTo>
                    <a:pt x="718" y="159"/>
                  </a:lnTo>
                  <a:lnTo>
                    <a:pt x="720" y="163"/>
                  </a:lnTo>
                  <a:lnTo>
                    <a:pt x="720" y="164"/>
                  </a:lnTo>
                  <a:lnTo>
                    <a:pt x="720" y="166"/>
                  </a:lnTo>
                  <a:lnTo>
                    <a:pt x="720" y="169"/>
                  </a:lnTo>
                  <a:lnTo>
                    <a:pt x="717" y="172"/>
                  </a:lnTo>
                  <a:lnTo>
                    <a:pt x="712" y="176"/>
                  </a:lnTo>
                  <a:lnTo>
                    <a:pt x="711" y="179"/>
                  </a:lnTo>
                  <a:lnTo>
                    <a:pt x="711" y="180"/>
                  </a:lnTo>
                  <a:lnTo>
                    <a:pt x="712" y="183"/>
                  </a:lnTo>
                  <a:lnTo>
                    <a:pt x="714" y="185"/>
                  </a:lnTo>
                  <a:lnTo>
                    <a:pt x="717" y="185"/>
                  </a:lnTo>
                  <a:lnTo>
                    <a:pt x="720" y="185"/>
                  </a:lnTo>
                  <a:lnTo>
                    <a:pt x="723" y="186"/>
                  </a:lnTo>
                  <a:lnTo>
                    <a:pt x="723" y="186"/>
                  </a:lnTo>
                  <a:lnTo>
                    <a:pt x="724" y="189"/>
                  </a:lnTo>
                  <a:lnTo>
                    <a:pt x="724" y="192"/>
                  </a:lnTo>
                  <a:lnTo>
                    <a:pt x="725" y="194"/>
                  </a:lnTo>
                  <a:lnTo>
                    <a:pt x="728" y="195"/>
                  </a:lnTo>
                  <a:lnTo>
                    <a:pt x="733" y="195"/>
                  </a:lnTo>
                  <a:lnTo>
                    <a:pt x="739" y="194"/>
                  </a:lnTo>
                  <a:lnTo>
                    <a:pt x="743" y="194"/>
                  </a:lnTo>
                  <a:lnTo>
                    <a:pt x="749" y="196"/>
                  </a:lnTo>
                  <a:lnTo>
                    <a:pt x="750" y="196"/>
                  </a:lnTo>
                  <a:lnTo>
                    <a:pt x="752" y="198"/>
                  </a:lnTo>
                  <a:lnTo>
                    <a:pt x="752" y="201"/>
                  </a:lnTo>
                  <a:lnTo>
                    <a:pt x="750" y="204"/>
                  </a:lnTo>
                  <a:lnTo>
                    <a:pt x="747" y="211"/>
                  </a:lnTo>
                  <a:lnTo>
                    <a:pt x="744" y="218"/>
                  </a:lnTo>
                  <a:lnTo>
                    <a:pt x="744" y="221"/>
                  </a:lnTo>
                  <a:lnTo>
                    <a:pt x="744" y="224"/>
                  </a:lnTo>
                  <a:lnTo>
                    <a:pt x="743" y="227"/>
                  </a:lnTo>
                  <a:lnTo>
                    <a:pt x="739" y="227"/>
                  </a:lnTo>
                  <a:lnTo>
                    <a:pt x="734" y="227"/>
                  </a:lnTo>
                  <a:lnTo>
                    <a:pt x="728" y="229"/>
                  </a:lnTo>
                  <a:lnTo>
                    <a:pt x="720" y="233"/>
                  </a:lnTo>
                  <a:lnTo>
                    <a:pt x="712" y="239"/>
                  </a:lnTo>
                  <a:lnTo>
                    <a:pt x="709" y="243"/>
                  </a:lnTo>
                  <a:lnTo>
                    <a:pt x="708" y="246"/>
                  </a:lnTo>
                  <a:lnTo>
                    <a:pt x="711" y="252"/>
                  </a:lnTo>
                  <a:lnTo>
                    <a:pt x="712" y="256"/>
                  </a:lnTo>
                  <a:lnTo>
                    <a:pt x="715" y="265"/>
                  </a:lnTo>
                  <a:lnTo>
                    <a:pt x="717" y="265"/>
                  </a:lnTo>
                  <a:lnTo>
                    <a:pt x="718" y="266"/>
                  </a:lnTo>
                  <a:lnTo>
                    <a:pt x="728" y="269"/>
                  </a:lnTo>
                  <a:lnTo>
                    <a:pt x="734" y="272"/>
                  </a:lnTo>
                  <a:lnTo>
                    <a:pt x="736" y="275"/>
                  </a:lnTo>
                  <a:lnTo>
                    <a:pt x="737" y="275"/>
                  </a:lnTo>
                  <a:lnTo>
                    <a:pt x="739" y="274"/>
                  </a:lnTo>
                  <a:lnTo>
                    <a:pt x="755" y="259"/>
                  </a:lnTo>
                  <a:lnTo>
                    <a:pt x="759" y="256"/>
                  </a:lnTo>
                  <a:lnTo>
                    <a:pt x="772" y="255"/>
                  </a:lnTo>
                  <a:lnTo>
                    <a:pt x="784" y="259"/>
                  </a:lnTo>
                  <a:lnTo>
                    <a:pt x="809" y="249"/>
                  </a:lnTo>
                  <a:lnTo>
                    <a:pt x="816" y="246"/>
                  </a:lnTo>
                  <a:lnTo>
                    <a:pt x="820" y="242"/>
                  </a:lnTo>
                  <a:lnTo>
                    <a:pt x="822" y="237"/>
                  </a:lnTo>
                  <a:lnTo>
                    <a:pt x="827" y="230"/>
                  </a:lnTo>
                  <a:lnTo>
                    <a:pt x="839" y="221"/>
                  </a:lnTo>
                  <a:lnTo>
                    <a:pt x="883" y="233"/>
                  </a:lnTo>
                  <a:lnTo>
                    <a:pt x="886" y="233"/>
                  </a:lnTo>
                  <a:lnTo>
                    <a:pt x="887" y="231"/>
                  </a:lnTo>
                  <a:lnTo>
                    <a:pt x="887" y="231"/>
                  </a:lnTo>
                  <a:lnTo>
                    <a:pt x="889" y="229"/>
                  </a:lnTo>
                  <a:lnTo>
                    <a:pt x="892" y="221"/>
                  </a:lnTo>
                  <a:lnTo>
                    <a:pt x="893" y="218"/>
                  </a:lnTo>
                  <a:lnTo>
                    <a:pt x="894" y="217"/>
                  </a:lnTo>
                  <a:lnTo>
                    <a:pt x="908" y="208"/>
                  </a:lnTo>
                  <a:lnTo>
                    <a:pt x="912" y="205"/>
                  </a:lnTo>
                  <a:lnTo>
                    <a:pt x="913" y="202"/>
                  </a:lnTo>
                  <a:lnTo>
                    <a:pt x="915" y="201"/>
                  </a:lnTo>
                  <a:lnTo>
                    <a:pt x="916" y="196"/>
                  </a:lnTo>
                  <a:lnTo>
                    <a:pt x="919" y="192"/>
                  </a:lnTo>
                  <a:lnTo>
                    <a:pt x="919" y="191"/>
                  </a:lnTo>
                  <a:lnTo>
                    <a:pt x="919" y="189"/>
                  </a:lnTo>
                  <a:lnTo>
                    <a:pt x="915" y="186"/>
                  </a:lnTo>
                  <a:lnTo>
                    <a:pt x="908" y="180"/>
                  </a:lnTo>
                  <a:lnTo>
                    <a:pt x="908" y="180"/>
                  </a:lnTo>
                  <a:lnTo>
                    <a:pt x="906" y="175"/>
                  </a:lnTo>
                  <a:lnTo>
                    <a:pt x="906" y="154"/>
                  </a:lnTo>
                  <a:lnTo>
                    <a:pt x="906" y="134"/>
                  </a:lnTo>
                  <a:lnTo>
                    <a:pt x="906" y="124"/>
                  </a:lnTo>
                  <a:lnTo>
                    <a:pt x="905" y="115"/>
                  </a:lnTo>
                  <a:lnTo>
                    <a:pt x="902" y="105"/>
                  </a:lnTo>
                  <a:lnTo>
                    <a:pt x="899" y="96"/>
                  </a:lnTo>
                  <a:lnTo>
                    <a:pt x="897" y="92"/>
                  </a:lnTo>
                  <a:lnTo>
                    <a:pt x="894" y="89"/>
                  </a:lnTo>
                  <a:lnTo>
                    <a:pt x="884" y="81"/>
                  </a:lnTo>
                  <a:lnTo>
                    <a:pt x="862" y="71"/>
                  </a:lnTo>
                  <a:lnTo>
                    <a:pt x="859" y="67"/>
                  </a:lnTo>
                  <a:lnTo>
                    <a:pt x="858" y="64"/>
                  </a:lnTo>
                  <a:lnTo>
                    <a:pt x="851" y="41"/>
                  </a:lnTo>
                  <a:lnTo>
                    <a:pt x="858" y="44"/>
                  </a:lnTo>
                  <a:lnTo>
                    <a:pt x="867" y="44"/>
                  </a:lnTo>
                  <a:lnTo>
                    <a:pt x="868" y="44"/>
                  </a:lnTo>
                  <a:lnTo>
                    <a:pt x="871" y="45"/>
                  </a:lnTo>
                  <a:lnTo>
                    <a:pt x="874" y="47"/>
                  </a:lnTo>
                  <a:lnTo>
                    <a:pt x="893" y="44"/>
                  </a:lnTo>
                  <a:lnTo>
                    <a:pt x="899" y="41"/>
                  </a:lnTo>
                  <a:lnTo>
                    <a:pt x="902" y="39"/>
                  </a:lnTo>
                  <a:lnTo>
                    <a:pt x="903" y="38"/>
                  </a:lnTo>
                  <a:lnTo>
                    <a:pt x="903" y="35"/>
                  </a:lnTo>
                  <a:lnTo>
                    <a:pt x="906" y="20"/>
                  </a:lnTo>
                  <a:lnTo>
                    <a:pt x="906" y="20"/>
                  </a:lnTo>
                  <a:lnTo>
                    <a:pt x="908" y="19"/>
                  </a:lnTo>
                  <a:lnTo>
                    <a:pt x="908" y="17"/>
                  </a:lnTo>
                  <a:lnTo>
                    <a:pt x="910" y="16"/>
                  </a:lnTo>
                  <a:lnTo>
                    <a:pt x="913" y="14"/>
                  </a:lnTo>
                  <a:lnTo>
                    <a:pt x="916" y="12"/>
                  </a:lnTo>
                  <a:lnTo>
                    <a:pt x="919" y="10"/>
                  </a:lnTo>
                  <a:lnTo>
                    <a:pt x="925" y="9"/>
                  </a:lnTo>
                  <a:lnTo>
                    <a:pt x="943" y="9"/>
                  </a:lnTo>
                  <a:lnTo>
                    <a:pt x="948" y="9"/>
                  </a:lnTo>
                  <a:lnTo>
                    <a:pt x="966" y="0"/>
                  </a:lnTo>
                  <a:lnTo>
                    <a:pt x="967" y="0"/>
                  </a:lnTo>
                  <a:lnTo>
                    <a:pt x="969" y="0"/>
                  </a:lnTo>
                  <a:lnTo>
                    <a:pt x="975" y="1"/>
                  </a:lnTo>
                  <a:lnTo>
                    <a:pt x="977" y="4"/>
                  </a:lnTo>
                  <a:lnTo>
                    <a:pt x="980" y="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12">
              <a:extLst>
                <a:ext uri="{FF2B5EF4-FFF2-40B4-BE49-F238E27FC236}">
                  <a16:creationId xmlns:a16="http://schemas.microsoft.com/office/drawing/2014/main" id="{C507B1A7-8EBA-4A08-A298-A531F54B881A}"/>
                </a:ext>
              </a:extLst>
            </p:cNvPr>
            <p:cNvSpPr>
              <a:spLocks noEditPoints="1"/>
            </p:cNvSpPr>
            <p:nvPr/>
          </p:nvSpPr>
          <p:spPr bwMode="gray">
            <a:xfrm>
              <a:off x="6188076" y="363538"/>
              <a:ext cx="2089150" cy="1476375"/>
            </a:xfrm>
            <a:custGeom>
              <a:avLst/>
              <a:gdLst>
                <a:gd name="T0" fmla="*/ 326 w 1316"/>
                <a:gd name="T1" fmla="*/ 375 h 930"/>
                <a:gd name="T2" fmla="*/ 1118 w 1316"/>
                <a:gd name="T3" fmla="*/ 387 h 930"/>
                <a:gd name="T4" fmla="*/ 1168 w 1316"/>
                <a:gd name="T5" fmla="*/ 372 h 930"/>
                <a:gd name="T6" fmla="*/ 1169 w 1316"/>
                <a:gd name="T7" fmla="*/ 423 h 930"/>
                <a:gd name="T8" fmla="*/ 1203 w 1316"/>
                <a:gd name="T9" fmla="*/ 485 h 930"/>
                <a:gd name="T10" fmla="*/ 1118 w 1316"/>
                <a:gd name="T11" fmla="*/ 313 h 930"/>
                <a:gd name="T12" fmla="*/ 1271 w 1316"/>
                <a:gd name="T13" fmla="*/ 585 h 930"/>
                <a:gd name="T14" fmla="*/ 1193 w 1316"/>
                <a:gd name="T15" fmla="*/ 553 h 930"/>
                <a:gd name="T16" fmla="*/ 1142 w 1316"/>
                <a:gd name="T17" fmla="*/ 441 h 930"/>
                <a:gd name="T18" fmla="*/ 1101 w 1316"/>
                <a:gd name="T19" fmla="*/ 383 h 930"/>
                <a:gd name="T20" fmla="*/ 1009 w 1316"/>
                <a:gd name="T21" fmla="*/ 352 h 930"/>
                <a:gd name="T22" fmla="*/ 954 w 1316"/>
                <a:gd name="T23" fmla="*/ 303 h 930"/>
                <a:gd name="T24" fmla="*/ 862 w 1316"/>
                <a:gd name="T25" fmla="*/ 185 h 930"/>
                <a:gd name="T26" fmla="*/ 763 w 1316"/>
                <a:gd name="T27" fmla="*/ 190 h 930"/>
                <a:gd name="T28" fmla="*/ 735 w 1316"/>
                <a:gd name="T29" fmla="*/ 164 h 930"/>
                <a:gd name="T30" fmla="*/ 652 w 1316"/>
                <a:gd name="T31" fmla="*/ 212 h 930"/>
                <a:gd name="T32" fmla="*/ 611 w 1316"/>
                <a:gd name="T33" fmla="*/ 225 h 930"/>
                <a:gd name="T34" fmla="*/ 692 w 1316"/>
                <a:gd name="T35" fmla="*/ 180 h 930"/>
                <a:gd name="T36" fmla="*/ 726 w 1316"/>
                <a:gd name="T37" fmla="*/ 153 h 930"/>
                <a:gd name="T38" fmla="*/ 638 w 1316"/>
                <a:gd name="T39" fmla="*/ 174 h 930"/>
                <a:gd name="T40" fmla="*/ 520 w 1316"/>
                <a:gd name="T41" fmla="*/ 329 h 930"/>
                <a:gd name="T42" fmla="*/ 355 w 1316"/>
                <a:gd name="T43" fmla="*/ 359 h 930"/>
                <a:gd name="T44" fmla="*/ 304 w 1316"/>
                <a:gd name="T45" fmla="*/ 436 h 930"/>
                <a:gd name="T46" fmla="*/ 209 w 1316"/>
                <a:gd name="T47" fmla="*/ 416 h 930"/>
                <a:gd name="T48" fmla="*/ 110 w 1316"/>
                <a:gd name="T49" fmla="*/ 457 h 930"/>
                <a:gd name="T50" fmla="*/ 106 w 1316"/>
                <a:gd name="T51" fmla="*/ 460 h 930"/>
                <a:gd name="T52" fmla="*/ 55 w 1316"/>
                <a:gd name="T53" fmla="*/ 514 h 930"/>
                <a:gd name="T54" fmla="*/ 91 w 1316"/>
                <a:gd name="T55" fmla="*/ 585 h 930"/>
                <a:gd name="T56" fmla="*/ 122 w 1316"/>
                <a:gd name="T57" fmla="*/ 621 h 930"/>
                <a:gd name="T58" fmla="*/ 113 w 1316"/>
                <a:gd name="T59" fmla="*/ 674 h 930"/>
                <a:gd name="T60" fmla="*/ 78 w 1316"/>
                <a:gd name="T61" fmla="*/ 665 h 930"/>
                <a:gd name="T62" fmla="*/ 34 w 1316"/>
                <a:gd name="T63" fmla="*/ 716 h 930"/>
                <a:gd name="T64" fmla="*/ 2 w 1316"/>
                <a:gd name="T65" fmla="*/ 771 h 930"/>
                <a:gd name="T66" fmla="*/ 176 w 1316"/>
                <a:gd name="T67" fmla="*/ 902 h 930"/>
                <a:gd name="T68" fmla="*/ 249 w 1316"/>
                <a:gd name="T69" fmla="*/ 926 h 930"/>
                <a:gd name="T70" fmla="*/ 324 w 1316"/>
                <a:gd name="T71" fmla="*/ 873 h 930"/>
                <a:gd name="T72" fmla="*/ 464 w 1316"/>
                <a:gd name="T73" fmla="*/ 828 h 930"/>
                <a:gd name="T74" fmla="*/ 540 w 1316"/>
                <a:gd name="T75" fmla="*/ 786 h 930"/>
                <a:gd name="T76" fmla="*/ 630 w 1316"/>
                <a:gd name="T77" fmla="*/ 831 h 930"/>
                <a:gd name="T78" fmla="*/ 744 w 1316"/>
                <a:gd name="T79" fmla="*/ 878 h 930"/>
                <a:gd name="T80" fmla="*/ 815 w 1316"/>
                <a:gd name="T81" fmla="*/ 879 h 930"/>
                <a:gd name="T82" fmla="*/ 866 w 1316"/>
                <a:gd name="T83" fmla="*/ 865 h 930"/>
                <a:gd name="T84" fmla="*/ 895 w 1316"/>
                <a:gd name="T85" fmla="*/ 850 h 930"/>
                <a:gd name="T86" fmla="*/ 992 w 1316"/>
                <a:gd name="T87" fmla="*/ 818 h 930"/>
                <a:gd name="T88" fmla="*/ 1104 w 1316"/>
                <a:gd name="T89" fmla="*/ 677 h 930"/>
                <a:gd name="T90" fmla="*/ 1258 w 1316"/>
                <a:gd name="T91" fmla="*/ 783 h 930"/>
                <a:gd name="T92" fmla="*/ 858 w 1316"/>
                <a:gd name="T93" fmla="*/ 119 h 930"/>
                <a:gd name="T94" fmla="*/ 877 w 1316"/>
                <a:gd name="T95" fmla="*/ 49 h 930"/>
                <a:gd name="T96" fmla="*/ 888 w 1316"/>
                <a:gd name="T97" fmla="*/ 89 h 930"/>
                <a:gd name="T98" fmla="*/ 923 w 1316"/>
                <a:gd name="T99" fmla="*/ 128 h 930"/>
                <a:gd name="T100" fmla="*/ 906 w 1316"/>
                <a:gd name="T101" fmla="*/ 185 h 930"/>
                <a:gd name="T102" fmla="*/ 919 w 1316"/>
                <a:gd name="T103" fmla="*/ 252 h 930"/>
                <a:gd name="T104" fmla="*/ 980 w 1316"/>
                <a:gd name="T105" fmla="*/ 266 h 930"/>
                <a:gd name="T106" fmla="*/ 1050 w 1316"/>
                <a:gd name="T107" fmla="*/ 208 h 930"/>
                <a:gd name="T108" fmla="*/ 1080 w 1316"/>
                <a:gd name="T109" fmla="*/ 230 h 930"/>
                <a:gd name="T110" fmla="*/ 1041 w 1316"/>
                <a:gd name="T111" fmla="*/ 158 h 930"/>
                <a:gd name="T112" fmla="*/ 981 w 1316"/>
                <a:gd name="T113" fmla="*/ 13 h 930"/>
                <a:gd name="T114" fmla="*/ 920 w 1316"/>
                <a:gd name="T115" fmla="*/ 67 h 930"/>
                <a:gd name="T116" fmla="*/ 997 w 1316"/>
                <a:gd name="T117" fmla="*/ 80 h 930"/>
                <a:gd name="T118" fmla="*/ 1009 w 1316"/>
                <a:gd name="T119" fmla="*/ 119 h 930"/>
                <a:gd name="T120" fmla="*/ 957 w 1316"/>
                <a:gd name="T121" fmla="*/ 84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6" h="930">
                  <a:moveTo>
                    <a:pt x="279" y="428"/>
                  </a:moveTo>
                  <a:lnTo>
                    <a:pt x="285" y="428"/>
                  </a:lnTo>
                  <a:lnTo>
                    <a:pt x="289" y="423"/>
                  </a:lnTo>
                  <a:lnTo>
                    <a:pt x="288" y="416"/>
                  </a:lnTo>
                  <a:lnTo>
                    <a:pt x="289" y="410"/>
                  </a:lnTo>
                  <a:lnTo>
                    <a:pt x="292" y="410"/>
                  </a:lnTo>
                  <a:lnTo>
                    <a:pt x="294" y="418"/>
                  </a:lnTo>
                  <a:lnTo>
                    <a:pt x="292" y="428"/>
                  </a:lnTo>
                  <a:lnTo>
                    <a:pt x="292" y="432"/>
                  </a:lnTo>
                  <a:lnTo>
                    <a:pt x="297" y="432"/>
                  </a:lnTo>
                  <a:lnTo>
                    <a:pt x="301" y="426"/>
                  </a:lnTo>
                  <a:lnTo>
                    <a:pt x="311" y="396"/>
                  </a:lnTo>
                  <a:lnTo>
                    <a:pt x="300" y="391"/>
                  </a:lnTo>
                  <a:lnTo>
                    <a:pt x="287" y="396"/>
                  </a:lnTo>
                  <a:lnTo>
                    <a:pt x="273" y="406"/>
                  </a:lnTo>
                  <a:lnTo>
                    <a:pt x="268" y="420"/>
                  </a:lnTo>
                  <a:lnTo>
                    <a:pt x="273" y="425"/>
                  </a:lnTo>
                  <a:lnTo>
                    <a:pt x="279" y="428"/>
                  </a:lnTo>
                  <a:close/>
                  <a:moveTo>
                    <a:pt x="326" y="375"/>
                  </a:moveTo>
                  <a:lnTo>
                    <a:pt x="330" y="367"/>
                  </a:lnTo>
                  <a:lnTo>
                    <a:pt x="346" y="352"/>
                  </a:lnTo>
                  <a:lnTo>
                    <a:pt x="352" y="343"/>
                  </a:lnTo>
                  <a:lnTo>
                    <a:pt x="346" y="348"/>
                  </a:lnTo>
                  <a:lnTo>
                    <a:pt x="323" y="359"/>
                  </a:lnTo>
                  <a:lnTo>
                    <a:pt x="321" y="364"/>
                  </a:lnTo>
                  <a:lnTo>
                    <a:pt x="321" y="365"/>
                  </a:lnTo>
                  <a:lnTo>
                    <a:pt x="323" y="375"/>
                  </a:lnTo>
                  <a:lnTo>
                    <a:pt x="326" y="375"/>
                  </a:lnTo>
                  <a:close/>
                  <a:moveTo>
                    <a:pt x="1095" y="319"/>
                  </a:moveTo>
                  <a:lnTo>
                    <a:pt x="1098" y="326"/>
                  </a:lnTo>
                  <a:lnTo>
                    <a:pt x="1113" y="340"/>
                  </a:lnTo>
                  <a:lnTo>
                    <a:pt x="1115" y="349"/>
                  </a:lnTo>
                  <a:lnTo>
                    <a:pt x="1114" y="365"/>
                  </a:lnTo>
                  <a:lnTo>
                    <a:pt x="1104" y="384"/>
                  </a:lnTo>
                  <a:lnTo>
                    <a:pt x="1102" y="396"/>
                  </a:lnTo>
                  <a:lnTo>
                    <a:pt x="1108" y="399"/>
                  </a:lnTo>
                  <a:lnTo>
                    <a:pt x="1114" y="394"/>
                  </a:lnTo>
                  <a:lnTo>
                    <a:pt x="1118" y="387"/>
                  </a:lnTo>
                  <a:lnTo>
                    <a:pt x="1130" y="383"/>
                  </a:lnTo>
                  <a:lnTo>
                    <a:pt x="1133" y="380"/>
                  </a:lnTo>
                  <a:lnTo>
                    <a:pt x="1136" y="381"/>
                  </a:lnTo>
                  <a:lnTo>
                    <a:pt x="1137" y="388"/>
                  </a:lnTo>
                  <a:lnTo>
                    <a:pt x="1136" y="391"/>
                  </a:lnTo>
                  <a:lnTo>
                    <a:pt x="1133" y="396"/>
                  </a:lnTo>
                  <a:lnTo>
                    <a:pt x="1131" y="400"/>
                  </a:lnTo>
                  <a:lnTo>
                    <a:pt x="1130" y="407"/>
                  </a:lnTo>
                  <a:lnTo>
                    <a:pt x="1142" y="403"/>
                  </a:lnTo>
                  <a:lnTo>
                    <a:pt x="1145" y="402"/>
                  </a:lnTo>
                  <a:lnTo>
                    <a:pt x="1146" y="397"/>
                  </a:lnTo>
                  <a:lnTo>
                    <a:pt x="1147" y="393"/>
                  </a:lnTo>
                  <a:lnTo>
                    <a:pt x="1152" y="390"/>
                  </a:lnTo>
                  <a:lnTo>
                    <a:pt x="1155" y="388"/>
                  </a:lnTo>
                  <a:lnTo>
                    <a:pt x="1155" y="384"/>
                  </a:lnTo>
                  <a:lnTo>
                    <a:pt x="1150" y="375"/>
                  </a:lnTo>
                  <a:lnTo>
                    <a:pt x="1155" y="371"/>
                  </a:lnTo>
                  <a:lnTo>
                    <a:pt x="1162" y="370"/>
                  </a:lnTo>
                  <a:lnTo>
                    <a:pt x="1168" y="372"/>
                  </a:lnTo>
                  <a:lnTo>
                    <a:pt x="1174" y="377"/>
                  </a:lnTo>
                  <a:lnTo>
                    <a:pt x="1178" y="383"/>
                  </a:lnTo>
                  <a:lnTo>
                    <a:pt x="1182" y="390"/>
                  </a:lnTo>
                  <a:lnTo>
                    <a:pt x="1185" y="400"/>
                  </a:lnTo>
                  <a:lnTo>
                    <a:pt x="1193" y="397"/>
                  </a:lnTo>
                  <a:lnTo>
                    <a:pt x="1198" y="406"/>
                  </a:lnTo>
                  <a:lnTo>
                    <a:pt x="1198" y="422"/>
                  </a:lnTo>
                  <a:lnTo>
                    <a:pt x="1194" y="436"/>
                  </a:lnTo>
                  <a:lnTo>
                    <a:pt x="1197" y="444"/>
                  </a:lnTo>
                  <a:lnTo>
                    <a:pt x="1185" y="441"/>
                  </a:lnTo>
                  <a:lnTo>
                    <a:pt x="1185" y="436"/>
                  </a:lnTo>
                  <a:lnTo>
                    <a:pt x="1187" y="435"/>
                  </a:lnTo>
                  <a:lnTo>
                    <a:pt x="1188" y="434"/>
                  </a:lnTo>
                  <a:lnTo>
                    <a:pt x="1190" y="432"/>
                  </a:lnTo>
                  <a:lnTo>
                    <a:pt x="1175" y="432"/>
                  </a:lnTo>
                  <a:lnTo>
                    <a:pt x="1171" y="435"/>
                  </a:lnTo>
                  <a:lnTo>
                    <a:pt x="1166" y="444"/>
                  </a:lnTo>
                  <a:lnTo>
                    <a:pt x="1166" y="435"/>
                  </a:lnTo>
                  <a:lnTo>
                    <a:pt x="1169" y="423"/>
                  </a:lnTo>
                  <a:lnTo>
                    <a:pt x="1168" y="420"/>
                  </a:lnTo>
                  <a:lnTo>
                    <a:pt x="1171" y="416"/>
                  </a:lnTo>
                  <a:lnTo>
                    <a:pt x="1165" y="413"/>
                  </a:lnTo>
                  <a:lnTo>
                    <a:pt x="1147" y="412"/>
                  </a:lnTo>
                  <a:lnTo>
                    <a:pt x="1146" y="428"/>
                  </a:lnTo>
                  <a:lnTo>
                    <a:pt x="1159" y="451"/>
                  </a:lnTo>
                  <a:lnTo>
                    <a:pt x="1156" y="469"/>
                  </a:lnTo>
                  <a:lnTo>
                    <a:pt x="1153" y="471"/>
                  </a:lnTo>
                  <a:lnTo>
                    <a:pt x="1142" y="479"/>
                  </a:lnTo>
                  <a:lnTo>
                    <a:pt x="1130" y="482"/>
                  </a:lnTo>
                  <a:lnTo>
                    <a:pt x="1123" y="487"/>
                  </a:lnTo>
                  <a:lnTo>
                    <a:pt x="1118" y="489"/>
                  </a:lnTo>
                  <a:lnTo>
                    <a:pt x="1124" y="498"/>
                  </a:lnTo>
                  <a:lnTo>
                    <a:pt x="1137" y="501"/>
                  </a:lnTo>
                  <a:lnTo>
                    <a:pt x="1159" y="501"/>
                  </a:lnTo>
                  <a:lnTo>
                    <a:pt x="1178" y="495"/>
                  </a:lnTo>
                  <a:lnTo>
                    <a:pt x="1188" y="489"/>
                  </a:lnTo>
                  <a:lnTo>
                    <a:pt x="1197" y="480"/>
                  </a:lnTo>
                  <a:lnTo>
                    <a:pt x="1203" y="485"/>
                  </a:lnTo>
                  <a:lnTo>
                    <a:pt x="1210" y="486"/>
                  </a:lnTo>
                  <a:lnTo>
                    <a:pt x="1249" y="482"/>
                  </a:lnTo>
                  <a:lnTo>
                    <a:pt x="1249" y="482"/>
                  </a:lnTo>
                  <a:lnTo>
                    <a:pt x="1247" y="471"/>
                  </a:lnTo>
                  <a:lnTo>
                    <a:pt x="1241" y="464"/>
                  </a:lnTo>
                  <a:lnTo>
                    <a:pt x="1241" y="464"/>
                  </a:lnTo>
                  <a:lnTo>
                    <a:pt x="1244" y="463"/>
                  </a:lnTo>
                  <a:lnTo>
                    <a:pt x="1247" y="461"/>
                  </a:lnTo>
                  <a:lnTo>
                    <a:pt x="1247" y="461"/>
                  </a:lnTo>
                  <a:lnTo>
                    <a:pt x="1252" y="445"/>
                  </a:lnTo>
                  <a:lnTo>
                    <a:pt x="1252" y="445"/>
                  </a:lnTo>
                  <a:lnTo>
                    <a:pt x="1247" y="441"/>
                  </a:lnTo>
                  <a:lnTo>
                    <a:pt x="1185" y="374"/>
                  </a:lnTo>
                  <a:lnTo>
                    <a:pt x="1175" y="367"/>
                  </a:lnTo>
                  <a:lnTo>
                    <a:pt x="1162" y="362"/>
                  </a:lnTo>
                  <a:lnTo>
                    <a:pt x="1139" y="349"/>
                  </a:lnTo>
                  <a:lnTo>
                    <a:pt x="1130" y="339"/>
                  </a:lnTo>
                  <a:lnTo>
                    <a:pt x="1126" y="332"/>
                  </a:lnTo>
                  <a:lnTo>
                    <a:pt x="1118" y="313"/>
                  </a:lnTo>
                  <a:lnTo>
                    <a:pt x="1115" y="307"/>
                  </a:lnTo>
                  <a:lnTo>
                    <a:pt x="1110" y="304"/>
                  </a:lnTo>
                  <a:lnTo>
                    <a:pt x="1102" y="307"/>
                  </a:lnTo>
                  <a:lnTo>
                    <a:pt x="1098" y="313"/>
                  </a:lnTo>
                  <a:lnTo>
                    <a:pt x="1095" y="319"/>
                  </a:lnTo>
                  <a:close/>
                  <a:moveTo>
                    <a:pt x="1309" y="766"/>
                  </a:moveTo>
                  <a:lnTo>
                    <a:pt x="1305" y="735"/>
                  </a:lnTo>
                  <a:lnTo>
                    <a:pt x="1298" y="722"/>
                  </a:lnTo>
                  <a:lnTo>
                    <a:pt x="1295" y="710"/>
                  </a:lnTo>
                  <a:lnTo>
                    <a:pt x="1286" y="697"/>
                  </a:lnTo>
                  <a:lnTo>
                    <a:pt x="1283" y="685"/>
                  </a:lnTo>
                  <a:lnTo>
                    <a:pt x="1283" y="672"/>
                  </a:lnTo>
                  <a:lnTo>
                    <a:pt x="1284" y="651"/>
                  </a:lnTo>
                  <a:lnTo>
                    <a:pt x="1283" y="645"/>
                  </a:lnTo>
                  <a:lnTo>
                    <a:pt x="1276" y="623"/>
                  </a:lnTo>
                  <a:lnTo>
                    <a:pt x="1271" y="611"/>
                  </a:lnTo>
                  <a:lnTo>
                    <a:pt x="1273" y="602"/>
                  </a:lnTo>
                  <a:lnTo>
                    <a:pt x="1271" y="585"/>
                  </a:lnTo>
                  <a:lnTo>
                    <a:pt x="1271" y="585"/>
                  </a:lnTo>
                  <a:lnTo>
                    <a:pt x="1270" y="586"/>
                  </a:lnTo>
                  <a:lnTo>
                    <a:pt x="1264" y="585"/>
                  </a:lnTo>
                  <a:lnTo>
                    <a:pt x="1258" y="584"/>
                  </a:lnTo>
                  <a:lnTo>
                    <a:pt x="1254" y="581"/>
                  </a:lnTo>
                  <a:lnTo>
                    <a:pt x="1270" y="569"/>
                  </a:lnTo>
                  <a:lnTo>
                    <a:pt x="1270" y="569"/>
                  </a:lnTo>
                  <a:lnTo>
                    <a:pt x="1273" y="565"/>
                  </a:lnTo>
                  <a:lnTo>
                    <a:pt x="1273" y="556"/>
                  </a:lnTo>
                  <a:lnTo>
                    <a:pt x="1270" y="554"/>
                  </a:lnTo>
                  <a:lnTo>
                    <a:pt x="1267" y="550"/>
                  </a:lnTo>
                  <a:lnTo>
                    <a:pt x="1261" y="550"/>
                  </a:lnTo>
                  <a:lnTo>
                    <a:pt x="1258" y="552"/>
                  </a:lnTo>
                  <a:lnTo>
                    <a:pt x="1255" y="559"/>
                  </a:lnTo>
                  <a:lnTo>
                    <a:pt x="1245" y="562"/>
                  </a:lnTo>
                  <a:lnTo>
                    <a:pt x="1217" y="560"/>
                  </a:lnTo>
                  <a:lnTo>
                    <a:pt x="1213" y="559"/>
                  </a:lnTo>
                  <a:lnTo>
                    <a:pt x="1204" y="553"/>
                  </a:lnTo>
                  <a:lnTo>
                    <a:pt x="1201" y="553"/>
                  </a:lnTo>
                  <a:lnTo>
                    <a:pt x="1193" y="553"/>
                  </a:lnTo>
                  <a:lnTo>
                    <a:pt x="1191" y="552"/>
                  </a:lnTo>
                  <a:lnTo>
                    <a:pt x="1187" y="544"/>
                  </a:lnTo>
                  <a:lnTo>
                    <a:pt x="1175" y="543"/>
                  </a:lnTo>
                  <a:lnTo>
                    <a:pt x="1149" y="521"/>
                  </a:lnTo>
                  <a:lnTo>
                    <a:pt x="1146" y="521"/>
                  </a:lnTo>
                  <a:lnTo>
                    <a:pt x="1140" y="517"/>
                  </a:lnTo>
                  <a:lnTo>
                    <a:pt x="1134" y="509"/>
                  </a:lnTo>
                  <a:lnTo>
                    <a:pt x="1133" y="503"/>
                  </a:lnTo>
                  <a:lnTo>
                    <a:pt x="1130" y="501"/>
                  </a:lnTo>
                  <a:lnTo>
                    <a:pt x="1123" y="499"/>
                  </a:lnTo>
                  <a:lnTo>
                    <a:pt x="1117" y="496"/>
                  </a:lnTo>
                  <a:lnTo>
                    <a:pt x="1114" y="489"/>
                  </a:lnTo>
                  <a:lnTo>
                    <a:pt x="1117" y="482"/>
                  </a:lnTo>
                  <a:lnTo>
                    <a:pt x="1142" y="461"/>
                  </a:lnTo>
                  <a:lnTo>
                    <a:pt x="1146" y="455"/>
                  </a:lnTo>
                  <a:lnTo>
                    <a:pt x="1147" y="448"/>
                  </a:lnTo>
                  <a:lnTo>
                    <a:pt x="1147" y="442"/>
                  </a:lnTo>
                  <a:lnTo>
                    <a:pt x="1143" y="441"/>
                  </a:lnTo>
                  <a:lnTo>
                    <a:pt x="1142" y="441"/>
                  </a:lnTo>
                  <a:lnTo>
                    <a:pt x="1139" y="439"/>
                  </a:lnTo>
                  <a:lnTo>
                    <a:pt x="1137" y="438"/>
                  </a:lnTo>
                  <a:lnTo>
                    <a:pt x="1136" y="436"/>
                  </a:lnTo>
                  <a:lnTo>
                    <a:pt x="1134" y="436"/>
                  </a:lnTo>
                  <a:lnTo>
                    <a:pt x="1129" y="436"/>
                  </a:lnTo>
                  <a:lnTo>
                    <a:pt x="1127" y="435"/>
                  </a:lnTo>
                  <a:lnTo>
                    <a:pt x="1127" y="434"/>
                  </a:lnTo>
                  <a:lnTo>
                    <a:pt x="1129" y="431"/>
                  </a:lnTo>
                  <a:lnTo>
                    <a:pt x="1127" y="428"/>
                  </a:lnTo>
                  <a:lnTo>
                    <a:pt x="1127" y="426"/>
                  </a:lnTo>
                  <a:lnTo>
                    <a:pt x="1126" y="422"/>
                  </a:lnTo>
                  <a:lnTo>
                    <a:pt x="1124" y="418"/>
                  </a:lnTo>
                  <a:lnTo>
                    <a:pt x="1121" y="416"/>
                  </a:lnTo>
                  <a:lnTo>
                    <a:pt x="1113" y="412"/>
                  </a:lnTo>
                  <a:lnTo>
                    <a:pt x="1110" y="410"/>
                  </a:lnTo>
                  <a:lnTo>
                    <a:pt x="1107" y="404"/>
                  </a:lnTo>
                  <a:lnTo>
                    <a:pt x="1097" y="391"/>
                  </a:lnTo>
                  <a:lnTo>
                    <a:pt x="1092" y="388"/>
                  </a:lnTo>
                  <a:lnTo>
                    <a:pt x="1101" y="383"/>
                  </a:lnTo>
                  <a:lnTo>
                    <a:pt x="1105" y="371"/>
                  </a:lnTo>
                  <a:lnTo>
                    <a:pt x="1108" y="361"/>
                  </a:lnTo>
                  <a:lnTo>
                    <a:pt x="1114" y="352"/>
                  </a:lnTo>
                  <a:lnTo>
                    <a:pt x="1114" y="348"/>
                  </a:lnTo>
                  <a:lnTo>
                    <a:pt x="1086" y="324"/>
                  </a:lnTo>
                  <a:lnTo>
                    <a:pt x="1075" y="319"/>
                  </a:lnTo>
                  <a:lnTo>
                    <a:pt x="1075" y="316"/>
                  </a:lnTo>
                  <a:lnTo>
                    <a:pt x="1079" y="314"/>
                  </a:lnTo>
                  <a:lnTo>
                    <a:pt x="1080" y="313"/>
                  </a:lnTo>
                  <a:lnTo>
                    <a:pt x="1082" y="310"/>
                  </a:lnTo>
                  <a:lnTo>
                    <a:pt x="1080" y="307"/>
                  </a:lnTo>
                  <a:lnTo>
                    <a:pt x="1070" y="310"/>
                  </a:lnTo>
                  <a:lnTo>
                    <a:pt x="1053" y="321"/>
                  </a:lnTo>
                  <a:lnTo>
                    <a:pt x="1043" y="327"/>
                  </a:lnTo>
                  <a:lnTo>
                    <a:pt x="999" y="336"/>
                  </a:lnTo>
                  <a:lnTo>
                    <a:pt x="999" y="339"/>
                  </a:lnTo>
                  <a:lnTo>
                    <a:pt x="1002" y="342"/>
                  </a:lnTo>
                  <a:lnTo>
                    <a:pt x="1006" y="349"/>
                  </a:lnTo>
                  <a:lnTo>
                    <a:pt x="1009" y="352"/>
                  </a:lnTo>
                  <a:lnTo>
                    <a:pt x="1009" y="355"/>
                  </a:lnTo>
                  <a:lnTo>
                    <a:pt x="1000" y="355"/>
                  </a:lnTo>
                  <a:lnTo>
                    <a:pt x="995" y="351"/>
                  </a:lnTo>
                  <a:lnTo>
                    <a:pt x="989" y="345"/>
                  </a:lnTo>
                  <a:lnTo>
                    <a:pt x="984" y="336"/>
                  </a:lnTo>
                  <a:lnTo>
                    <a:pt x="980" y="321"/>
                  </a:lnTo>
                  <a:lnTo>
                    <a:pt x="979" y="319"/>
                  </a:lnTo>
                  <a:lnTo>
                    <a:pt x="974" y="319"/>
                  </a:lnTo>
                  <a:lnTo>
                    <a:pt x="973" y="320"/>
                  </a:lnTo>
                  <a:lnTo>
                    <a:pt x="970" y="321"/>
                  </a:lnTo>
                  <a:lnTo>
                    <a:pt x="965" y="319"/>
                  </a:lnTo>
                  <a:lnTo>
                    <a:pt x="968" y="317"/>
                  </a:lnTo>
                  <a:lnTo>
                    <a:pt x="970" y="314"/>
                  </a:lnTo>
                  <a:lnTo>
                    <a:pt x="973" y="307"/>
                  </a:lnTo>
                  <a:lnTo>
                    <a:pt x="965" y="304"/>
                  </a:lnTo>
                  <a:lnTo>
                    <a:pt x="954" y="311"/>
                  </a:lnTo>
                  <a:lnTo>
                    <a:pt x="945" y="311"/>
                  </a:lnTo>
                  <a:lnTo>
                    <a:pt x="948" y="307"/>
                  </a:lnTo>
                  <a:lnTo>
                    <a:pt x="954" y="303"/>
                  </a:lnTo>
                  <a:lnTo>
                    <a:pt x="945" y="294"/>
                  </a:lnTo>
                  <a:lnTo>
                    <a:pt x="933" y="270"/>
                  </a:lnTo>
                  <a:lnTo>
                    <a:pt x="925" y="266"/>
                  </a:lnTo>
                  <a:lnTo>
                    <a:pt x="911" y="263"/>
                  </a:lnTo>
                  <a:lnTo>
                    <a:pt x="894" y="253"/>
                  </a:lnTo>
                  <a:lnTo>
                    <a:pt x="882" y="254"/>
                  </a:lnTo>
                  <a:lnTo>
                    <a:pt x="887" y="252"/>
                  </a:lnTo>
                  <a:lnTo>
                    <a:pt x="888" y="250"/>
                  </a:lnTo>
                  <a:lnTo>
                    <a:pt x="893" y="250"/>
                  </a:lnTo>
                  <a:lnTo>
                    <a:pt x="893" y="246"/>
                  </a:lnTo>
                  <a:lnTo>
                    <a:pt x="877" y="246"/>
                  </a:lnTo>
                  <a:lnTo>
                    <a:pt x="872" y="244"/>
                  </a:lnTo>
                  <a:lnTo>
                    <a:pt x="872" y="238"/>
                  </a:lnTo>
                  <a:lnTo>
                    <a:pt x="872" y="233"/>
                  </a:lnTo>
                  <a:lnTo>
                    <a:pt x="871" y="225"/>
                  </a:lnTo>
                  <a:lnTo>
                    <a:pt x="861" y="209"/>
                  </a:lnTo>
                  <a:lnTo>
                    <a:pt x="859" y="201"/>
                  </a:lnTo>
                  <a:lnTo>
                    <a:pt x="866" y="189"/>
                  </a:lnTo>
                  <a:lnTo>
                    <a:pt x="862" y="185"/>
                  </a:lnTo>
                  <a:lnTo>
                    <a:pt x="847" y="177"/>
                  </a:lnTo>
                  <a:lnTo>
                    <a:pt x="843" y="171"/>
                  </a:lnTo>
                  <a:lnTo>
                    <a:pt x="840" y="164"/>
                  </a:lnTo>
                  <a:lnTo>
                    <a:pt x="840" y="157"/>
                  </a:lnTo>
                  <a:lnTo>
                    <a:pt x="844" y="153"/>
                  </a:lnTo>
                  <a:lnTo>
                    <a:pt x="836" y="150"/>
                  </a:lnTo>
                  <a:lnTo>
                    <a:pt x="823" y="155"/>
                  </a:lnTo>
                  <a:lnTo>
                    <a:pt x="808" y="164"/>
                  </a:lnTo>
                  <a:lnTo>
                    <a:pt x="799" y="173"/>
                  </a:lnTo>
                  <a:lnTo>
                    <a:pt x="796" y="179"/>
                  </a:lnTo>
                  <a:lnTo>
                    <a:pt x="792" y="188"/>
                  </a:lnTo>
                  <a:lnTo>
                    <a:pt x="789" y="193"/>
                  </a:lnTo>
                  <a:lnTo>
                    <a:pt x="786" y="196"/>
                  </a:lnTo>
                  <a:lnTo>
                    <a:pt x="782" y="198"/>
                  </a:lnTo>
                  <a:lnTo>
                    <a:pt x="776" y="198"/>
                  </a:lnTo>
                  <a:lnTo>
                    <a:pt x="772" y="198"/>
                  </a:lnTo>
                  <a:lnTo>
                    <a:pt x="770" y="198"/>
                  </a:lnTo>
                  <a:lnTo>
                    <a:pt x="769" y="198"/>
                  </a:lnTo>
                  <a:lnTo>
                    <a:pt x="763" y="190"/>
                  </a:lnTo>
                  <a:lnTo>
                    <a:pt x="761" y="186"/>
                  </a:lnTo>
                  <a:lnTo>
                    <a:pt x="760" y="182"/>
                  </a:lnTo>
                  <a:lnTo>
                    <a:pt x="759" y="177"/>
                  </a:lnTo>
                  <a:lnTo>
                    <a:pt x="756" y="182"/>
                  </a:lnTo>
                  <a:lnTo>
                    <a:pt x="753" y="185"/>
                  </a:lnTo>
                  <a:lnTo>
                    <a:pt x="748" y="185"/>
                  </a:lnTo>
                  <a:lnTo>
                    <a:pt x="744" y="180"/>
                  </a:lnTo>
                  <a:lnTo>
                    <a:pt x="741" y="186"/>
                  </a:lnTo>
                  <a:lnTo>
                    <a:pt x="737" y="183"/>
                  </a:lnTo>
                  <a:lnTo>
                    <a:pt x="734" y="179"/>
                  </a:lnTo>
                  <a:lnTo>
                    <a:pt x="729" y="173"/>
                  </a:lnTo>
                  <a:lnTo>
                    <a:pt x="729" y="177"/>
                  </a:lnTo>
                  <a:lnTo>
                    <a:pt x="728" y="182"/>
                  </a:lnTo>
                  <a:lnTo>
                    <a:pt x="724" y="189"/>
                  </a:lnTo>
                  <a:lnTo>
                    <a:pt x="724" y="182"/>
                  </a:lnTo>
                  <a:lnTo>
                    <a:pt x="726" y="174"/>
                  </a:lnTo>
                  <a:lnTo>
                    <a:pt x="729" y="170"/>
                  </a:lnTo>
                  <a:lnTo>
                    <a:pt x="735" y="169"/>
                  </a:lnTo>
                  <a:lnTo>
                    <a:pt x="735" y="164"/>
                  </a:lnTo>
                  <a:lnTo>
                    <a:pt x="731" y="164"/>
                  </a:lnTo>
                  <a:lnTo>
                    <a:pt x="726" y="164"/>
                  </a:lnTo>
                  <a:lnTo>
                    <a:pt x="722" y="166"/>
                  </a:lnTo>
                  <a:lnTo>
                    <a:pt x="718" y="169"/>
                  </a:lnTo>
                  <a:lnTo>
                    <a:pt x="719" y="170"/>
                  </a:lnTo>
                  <a:lnTo>
                    <a:pt x="719" y="174"/>
                  </a:lnTo>
                  <a:lnTo>
                    <a:pt x="721" y="177"/>
                  </a:lnTo>
                  <a:lnTo>
                    <a:pt x="702" y="188"/>
                  </a:lnTo>
                  <a:lnTo>
                    <a:pt x="692" y="190"/>
                  </a:lnTo>
                  <a:lnTo>
                    <a:pt x="684" y="185"/>
                  </a:lnTo>
                  <a:lnTo>
                    <a:pt x="684" y="189"/>
                  </a:lnTo>
                  <a:lnTo>
                    <a:pt x="681" y="186"/>
                  </a:lnTo>
                  <a:lnTo>
                    <a:pt x="680" y="186"/>
                  </a:lnTo>
                  <a:lnTo>
                    <a:pt x="673" y="189"/>
                  </a:lnTo>
                  <a:lnTo>
                    <a:pt x="673" y="193"/>
                  </a:lnTo>
                  <a:lnTo>
                    <a:pt x="675" y="193"/>
                  </a:lnTo>
                  <a:lnTo>
                    <a:pt x="680" y="198"/>
                  </a:lnTo>
                  <a:lnTo>
                    <a:pt x="658" y="208"/>
                  </a:lnTo>
                  <a:lnTo>
                    <a:pt x="652" y="212"/>
                  </a:lnTo>
                  <a:lnTo>
                    <a:pt x="651" y="215"/>
                  </a:lnTo>
                  <a:lnTo>
                    <a:pt x="651" y="222"/>
                  </a:lnTo>
                  <a:lnTo>
                    <a:pt x="649" y="225"/>
                  </a:lnTo>
                  <a:lnTo>
                    <a:pt x="648" y="227"/>
                  </a:lnTo>
                  <a:lnTo>
                    <a:pt x="643" y="228"/>
                  </a:lnTo>
                  <a:lnTo>
                    <a:pt x="642" y="230"/>
                  </a:lnTo>
                  <a:lnTo>
                    <a:pt x="633" y="238"/>
                  </a:lnTo>
                  <a:lnTo>
                    <a:pt x="630" y="243"/>
                  </a:lnTo>
                  <a:lnTo>
                    <a:pt x="627" y="250"/>
                  </a:lnTo>
                  <a:lnTo>
                    <a:pt x="635" y="256"/>
                  </a:lnTo>
                  <a:lnTo>
                    <a:pt x="639" y="259"/>
                  </a:lnTo>
                  <a:lnTo>
                    <a:pt x="645" y="259"/>
                  </a:lnTo>
                  <a:lnTo>
                    <a:pt x="638" y="263"/>
                  </a:lnTo>
                  <a:lnTo>
                    <a:pt x="629" y="260"/>
                  </a:lnTo>
                  <a:lnTo>
                    <a:pt x="613" y="250"/>
                  </a:lnTo>
                  <a:lnTo>
                    <a:pt x="617" y="246"/>
                  </a:lnTo>
                  <a:lnTo>
                    <a:pt x="617" y="240"/>
                  </a:lnTo>
                  <a:lnTo>
                    <a:pt x="614" y="234"/>
                  </a:lnTo>
                  <a:lnTo>
                    <a:pt x="611" y="225"/>
                  </a:lnTo>
                  <a:lnTo>
                    <a:pt x="617" y="224"/>
                  </a:lnTo>
                  <a:lnTo>
                    <a:pt x="622" y="220"/>
                  </a:lnTo>
                  <a:lnTo>
                    <a:pt x="623" y="212"/>
                  </a:lnTo>
                  <a:lnTo>
                    <a:pt x="620" y="205"/>
                  </a:lnTo>
                  <a:lnTo>
                    <a:pt x="623" y="201"/>
                  </a:lnTo>
                  <a:lnTo>
                    <a:pt x="626" y="204"/>
                  </a:lnTo>
                  <a:lnTo>
                    <a:pt x="627" y="204"/>
                  </a:lnTo>
                  <a:lnTo>
                    <a:pt x="633" y="205"/>
                  </a:lnTo>
                  <a:lnTo>
                    <a:pt x="630" y="196"/>
                  </a:lnTo>
                  <a:lnTo>
                    <a:pt x="633" y="186"/>
                  </a:lnTo>
                  <a:lnTo>
                    <a:pt x="638" y="180"/>
                  </a:lnTo>
                  <a:lnTo>
                    <a:pt x="643" y="177"/>
                  </a:lnTo>
                  <a:lnTo>
                    <a:pt x="655" y="179"/>
                  </a:lnTo>
                  <a:lnTo>
                    <a:pt x="662" y="182"/>
                  </a:lnTo>
                  <a:lnTo>
                    <a:pt x="668" y="189"/>
                  </a:lnTo>
                  <a:lnTo>
                    <a:pt x="671" y="182"/>
                  </a:lnTo>
                  <a:lnTo>
                    <a:pt x="678" y="177"/>
                  </a:lnTo>
                  <a:lnTo>
                    <a:pt x="686" y="177"/>
                  </a:lnTo>
                  <a:lnTo>
                    <a:pt x="692" y="180"/>
                  </a:lnTo>
                  <a:lnTo>
                    <a:pt x="692" y="179"/>
                  </a:lnTo>
                  <a:lnTo>
                    <a:pt x="693" y="177"/>
                  </a:lnTo>
                  <a:lnTo>
                    <a:pt x="693" y="177"/>
                  </a:lnTo>
                  <a:lnTo>
                    <a:pt x="694" y="177"/>
                  </a:lnTo>
                  <a:lnTo>
                    <a:pt x="692" y="177"/>
                  </a:lnTo>
                  <a:lnTo>
                    <a:pt x="690" y="176"/>
                  </a:lnTo>
                  <a:lnTo>
                    <a:pt x="689" y="173"/>
                  </a:lnTo>
                  <a:lnTo>
                    <a:pt x="687" y="169"/>
                  </a:lnTo>
                  <a:lnTo>
                    <a:pt x="690" y="169"/>
                  </a:lnTo>
                  <a:lnTo>
                    <a:pt x="693" y="166"/>
                  </a:lnTo>
                  <a:lnTo>
                    <a:pt x="694" y="164"/>
                  </a:lnTo>
                  <a:lnTo>
                    <a:pt x="696" y="169"/>
                  </a:lnTo>
                  <a:lnTo>
                    <a:pt x="699" y="161"/>
                  </a:lnTo>
                  <a:lnTo>
                    <a:pt x="702" y="158"/>
                  </a:lnTo>
                  <a:lnTo>
                    <a:pt x="710" y="160"/>
                  </a:lnTo>
                  <a:lnTo>
                    <a:pt x="718" y="160"/>
                  </a:lnTo>
                  <a:lnTo>
                    <a:pt x="721" y="158"/>
                  </a:lnTo>
                  <a:lnTo>
                    <a:pt x="724" y="154"/>
                  </a:lnTo>
                  <a:lnTo>
                    <a:pt x="726" y="153"/>
                  </a:lnTo>
                  <a:lnTo>
                    <a:pt x="735" y="154"/>
                  </a:lnTo>
                  <a:lnTo>
                    <a:pt x="751" y="160"/>
                  </a:lnTo>
                  <a:lnTo>
                    <a:pt x="788" y="163"/>
                  </a:lnTo>
                  <a:lnTo>
                    <a:pt x="796" y="160"/>
                  </a:lnTo>
                  <a:lnTo>
                    <a:pt x="805" y="153"/>
                  </a:lnTo>
                  <a:lnTo>
                    <a:pt x="801" y="145"/>
                  </a:lnTo>
                  <a:lnTo>
                    <a:pt x="791" y="144"/>
                  </a:lnTo>
                  <a:lnTo>
                    <a:pt x="783" y="148"/>
                  </a:lnTo>
                  <a:lnTo>
                    <a:pt x="770" y="141"/>
                  </a:lnTo>
                  <a:lnTo>
                    <a:pt x="690" y="141"/>
                  </a:lnTo>
                  <a:lnTo>
                    <a:pt x="675" y="135"/>
                  </a:lnTo>
                  <a:lnTo>
                    <a:pt x="668" y="123"/>
                  </a:lnTo>
                  <a:lnTo>
                    <a:pt x="671" y="123"/>
                  </a:lnTo>
                  <a:lnTo>
                    <a:pt x="671" y="119"/>
                  </a:lnTo>
                  <a:lnTo>
                    <a:pt x="664" y="123"/>
                  </a:lnTo>
                  <a:lnTo>
                    <a:pt x="659" y="128"/>
                  </a:lnTo>
                  <a:lnTo>
                    <a:pt x="654" y="144"/>
                  </a:lnTo>
                  <a:lnTo>
                    <a:pt x="639" y="169"/>
                  </a:lnTo>
                  <a:lnTo>
                    <a:pt x="638" y="174"/>
                  </a:lnTo>
                  <a:lnTo>
                    <a:pt x="617" y="205"/>
                  </a:lnTo>
                  <a:lnTo>
                    <a:pt x="604" y="230"/>
                  </a:lnTo>
                  <a:lnTo>
                    <a:pt x="598" y="236"/>
                  </a:lnTo>
                  <a:lnTo>
                    <a:pt x="585" y="247"/>
                  </a:lnTo>
                  <a:lnTo>
                    <a:pt x="559" y="260"/>
                  </a:lnTo>
                  <a:lnTo>
                    <a:pt x="555" y="262"/>
                  </a:lnTo>
                  <a:lnTo>
                    <a:pt x="550" y="266"/>
                  </a:lnTo>
                  <a:lnTo>
                    <a:pt x="541" y="279"/>
                  </a:lnTo>
                  <a:lnTo>
                    <a:pt x="534" y="285"/>
                  </a:lnTo>
                  <a:lnTo>
                    <a:pt x="523" y="301"/>
                  </a:lnTo>
                  <a:lnTo>
                    <a:pt x="521" y="307"/>
                  </a:lnTo>
                  <a:lnTo>
                    <a:pt x="524" y="304"/>
                  </a:lnTo>
                  <a:lnTo>
                    <a:pt x="527" y="303"/>
                  </a:lnTo>
                  <a:lnTo>
                    <a:pt x="531" y="303"/>
                  </a:lnTo>
                  <a:lnTo>
                    <a:pt x="534" y="303"/>
                  </a:lnTo>
                  <a:lnTo>
                    <a:pt x="531" y="311"/>
                  </a:lnTo>
                  <a:lnTo>
                    <a:pt x="523" y="316"/>
                  </a:lnTo>
                  <a:lnTo>
                    <a:pt x="518" y="323"/>
                  </a:lnTo>
                  <a:lnTo>
                    <a:pt x="520" y="329"/>
                  </a:lnTo>
                  <a:lnTo>
                    <a:pt x="521" y="345"/>
                  </a:lnTo>
                  <a:lnTo>
                    <a:pt x="525" y="352"/>
                  </a:lnTo>
                  <a:lnTo>
                    <a:pt x="517" y="342"/>
                  </a:lnTo>
                  <a:lnTo>
                    <a:pt x="517" y="329"/>
                  </a:lnTo>
                  <a:lnTo>
                    <a:pt x="518" y="311"/>
                  </a:lnTo>
                  <a:lnTo>
                    <a:pt x="515" y="295"/>
                  </a:lnTo>
                  <a:lnTo>
                    <a:pt x="502" y="303"/>
                  </a:lnTo>
                  <a:lnTo>
                    <a:pt x="421" y="321"/>
                  </a:lnTo>
                  <a:lnTo>
                    <a:pt x="391" y="316"/>
                  </a:lnTo>
                  <a:lnTo>
                    <a:pt x="377" y="317"/>
                  </a:lnTo>
                  <a:lnTo>
                    <a:pt x="367" y="326"/>
                  </a:lnTo>
                  <a:lnTo>
                    <a:pt x="358" y="340"/>
                  </a:lnTo>
                  <a:lnTo>
                    <a:pt x="356" y="342"/>
                  </a:lnTo>
                  <a:lnTo>
                    <a:pt x="355" y="345"/>
                  </a:lnTo>
                  <a:lnTo>
                    <a:pt x="354" y="348"/>
                  </a:lnTo>
                  <a:lnTo>
                    <a:pt x="354" y="351"/>
                  </a:lnTo>
                  <a:lnTo>
                    <a:pt x="356" y="352"/>
                  </a:lnTo>
                  <a:lnTo>
                    <a:pt x="356" y="355"/>
                  </a:lnTo>
                  <a:lnTo>
                    <a:pt x="355" y="359"/>
                  </a:lnTo>
                  <a:lnTo>
                    <a:pt x="354" y="364"/>
                  </a:lnTo>
                  <a:lnTo>
                    <a:pt x="351" y="367"/>
                  </a:lnTo>
                  <a:lnTo>
                    <a:pt x="348" y="367"/>
                  </a:lnTo>
                  <a:lnTo>
                    <a:pt x="343" y="371"/>
                  </a:lnTo>
                  <a:lnTo>
                    <a:pt x="338" y="387"/>
                  </a:lnTo>
                  <a:lnTo>
                    <a:pt x="330" y="391"/>
                  </a:lnTo>
                  <a:lnTo>
                    <a:pt x="327" y="391"/>
                  </a:lnTo>
                  <a:lnTo>
                    <a:pt x="319" y="388"/>
                  </a:lnTo>
                  <a:lnTo>
                    <a:pt x="319" y="391"/>
                  </a:lnTo>
                  <a:lnTo>
                    <a:pt x="320" y="391"/>
                  </a:lnTo>
                  <a:lnTo>
                    <a:pt x="320" y="396"/>
                  </a:lnTo>
                  <a:lnTo>
                    <a:pt x="308" y="407"/>
                  </a:lnTo>
                  <a:lnTo>
                    <a:pt x="310" y="410"/>
                  </a:lnTo>
                  <a:lnTo>
                    <a:pt x="310" y="418"/>
                  </a:lnTo>
                  <a:lnTo>
                    <a:pt x="311" y="420"/>
                  </a:lnTo>
                  <a:lnTo>
                    <a:pt x="308" y="420"/>
                  </a:lnTo>
                  <a:lnTo>
                    <a:pt x="304" y="423"/>
                  </a:lnTo>
                  <a:lnTo>
                    <a:pt x="303" y="428"/>
                  </a:lnTo>
                  <a:lnTo>
                    <a:pt x="304" y="436"/>
                  </a:lnTo>
                  <a:lnTo>
                    <a:pt x="301" y="450"/>
                  </a:lnTo>
                  <a:lnTo>
                    <a:pt x="297" y="458"/>
                  </a:lnTo>
                  <a:lnTo>
                    <a:pt x="297" y="464"/>
                  </a:lnTo>
                  <a:lnTo>
                    <a:pt x="292" y="464"/>
                  </a:lnTo>
                  <a:lnTo>
                    <a:pt x="289" y="463"/>
                  </a:lnTo>
                  <a:lnTo>
                    <a:pt x="276" y="447"/>
                  </a:lnTo>
                  <a:lnTo>
                    <a:pt x="276" y="444"/>
                  </a:lnTo>
                  <a:lnTo>
                    <a:pt x="262" y="444"/>
                  </a:lnTo>
                  <a:lnTo>
                    <a:pt x="260" y="442"/>
                  </a:lnTo>
                  <a:lnTo>
                    <a:pt x="256" y="434"/>
                  </a:lnTo>
                  <a:lnTo>
                    <a:pt x="254" y="432"/>
                  </a:lnTo>
                  <a:lnTo>
                    <a:pt x="240" y="444"/>
                  </a:lnTo>
                  <a:lnTo>
                    <a:pt x="237" y="445"/>
                  </a:lnTo>
                  <a:lnTo>
                    <a:pt x="227" y="444"/>
                  </a:lnTo>
                  <a:lnTo>
                    <a:pt x="222" y="441"/>
                  </a:lnTo>
                  <a:lnTo>
                    <a:pt x="221" y="435"/>
                  </a:lnTo>
                  <a:lnTo>
                    <a:pt x="222" y="422"/>
                  </a:lnTo>
                  <a:lnTo>
                    <a:pt x="221" y="419"/>
                  </a:lnTo>
                  <a:lnTo>
                    <a:pt x="209" y="416"/>
                  </a:lnTo>
                  <a:lnTo>
                    <a:pt x="206" y="412"/>
                  </a:lnTo>
                  <a:lnTo>
                    <a:pt x="203" y="403"/>
                  </a:lnTo>
                  <a:lnTo>
                    <a:pt x="202" y="400"/>
                  </a:lnTo>
                  <a:lnTo>
                    <a:pt x="199" y="399"/>
                  </a:lnTo>
                  <a:lnTo>
                    <a:pt x="157" y="404"/>
                  </a:lnTo>
                  <a:lnTo>
                    <a:pt x="138" y="415"/>
                  </a:lnTo>
                  <a:lnTo>
                    <a:pt x="131" y="416"/>
                  </a:lnTo>
                  <a:lnTo>
                    <a:pt x="125" y="418"/>
                  </a:lnTo>
                  <a:lnTo>
                    <a:pt x="115" y="429"/>
                  </a:lnTo>
                  <a:lnTo>
                    <a:pt x="110" y="432"/>
                  </a:lnTo>
                  <a:lnTo>
                    <a:pt x="109" y="432"/>
                  </a:lnTo>
                  <a:lnTo>
                    <a:pt x="104" y="432"/>
                  </a:lnTo>
                  <a:lnTo>
                    <a:pt x="104" y="435"/>
                  </a:lnTo>
                  <a:lnTo>
                    <a:pt x="104" y="450"/>
                  </a:lnTo>
                  <a:lnTo>
                    <a:pt x="106" y="451"/>
                  </a:lnTo>
                  <a:lnTo>
                    <a:pt x="106" y="454"/>
                  </a:lnTo>
                  <a:lnTo>
                    <a:pt x="109" y="455"/>
                  </a:lnTo>
                  <a:lnTo>
                    <a:pt x="109" y="455"/>
                  </a:lnTo>
                  <a:lnTo>
                    <a:pt x="110" y="457"/>
                  </a:lnTo>
                  <a:lnTo>
                    <a:pt x="123" y="461"/>
                  </a:lnTo>
                  <a:lnTo>
                    <a:pt x="125" y="461"/>
                  </a:lnTo>
                  <a:lnTo>
                    <a:pt x="123" y="461"/>
                  </a:lnTo>
                  <a:lnTo>
                    <a:pt x="123" y="461"/>
                  </a:lnTo>
                  <a:lnTo>
                    <a:pt x="122" y="463"/>
                  </a:lnTo>
                  <a:lnTo>
                    <a:pt x="122" y="463"/>
                  </a:lnTo>
                  <a:lnTo>
                    <a:pt x="120" y="464"/>
                  </a:lnTo>
                  <a:lnTo>
                    <a:pt x="119" y="466"/>
                  </a:lnTo>
                  <a:lnTo>
                    <a:pt x="109" y="467"/>
                  </a:lnTo>
                  <a:lnTo>
                    <a:pt x="107" y="467"/>
                  </a:lnTo>
                  <a:lnTo>
                    <a:pt x="107" y="467"/>
                  </a:lnTo>
                  <a:lnTo>
                    <a:pt x="106" y="467"/>
                  </a:lnTo>
                  <a:lnTo>
                    <a:pt x="106" y="466"/>
                  </a:lnTo>
                  <a:lnTo>
                    <a:pt x="106" y="466"/>
                  </a:lnTo>
                  <a:lnTo>
                    <a:pt x="104" y="464"/>
                  </a:lnTo>
                  <a:lnTo>
                    <a:pt x="104" y="463"/>
                  </a:lnTo>
                  <a:lnTo>
                    <a:pt x="106" y="461"/>
                  </a:lnTo>
                  <a:lnTo>
                    <a:pt x="106" y="461"/>
                  </a:lnTo>
                  <a:lnTo>
                    <a:pt x="106" y="460"/>
                  </a:lnTo>
                  <a:lnTo>
                    <a:pt x="106" y="460"/>
                  </a:lnTo>
                  <a:lnTo>
                    <a:pt x="102" y="458"/>
                  </a:lnTo>
                  <a:lnTo>
                    <a:pt x="100" y="457"/>
                  </a:lnTo>
                  <a:lnTo>
                    <a:pt x="99" y="457"/>
                  </a:lnTo>
                  <a:lnTo>
                    <a:pt x="97" y="457"/>
                  </a:lnTo>
                  <a:lnTo>
                    <a:pt x="90" y="463"/>
                  </a:lnTo>
                  <a:lnTo>
                    <a:pt x="72" y="479"/>
                  </a:lnTo>
                  <a:lnTo>
                    <a:pt x="65" y="483"/>
                  </a:lnTo>
                  <a:lnTo>
                    <a:pt x="59" y="486"/>
                  </a:lnTo>
                  <a:lnTo>
                    <a:pt x="56" y="487"/>
                  </a:lnTo>
                  <a:lnTo>
                    <a:pt x="55" y="489"/>
                  </a:lnTo>
                  <a:lnTo>
                    <a:pt x="52" y="495"/>
                  </a:lnTo>
                  <a:lnTo>
                    <a:pt x="52" y="496"/>
                  </a:lnTo>
                  <a:lnTo>
                    <a:pt x="51" y="502"/>
                  </a:lnTo>
                  <a:lnTo>
                    <a:pt x="51" y="503"/>
                  </a:lnTo>
                  <a:lnTo>
                    <a:pt x="51" y="503"/>
                  </a:lnTo>
                  <a:lnTo>
                    <a:pt x="52" y="505"/>
                  </a:lnTo>
                  <a:lnTo>
                    <a:pt x="52" y="506"/>
                  </a:lnTo>
                  <a:lnTo>
                    <a:pt x="55" y="514"/>
                  </a:lnTo>
                  <a:lnTo>
                    <a:pt x="55" y="515"/>
                  </a:lnTo>
                  <a:lnTo>
                    <a:pt x="56" y="521"/>
                  </a:lnTo>
                  <a:lnTo>
                    <a:pt x="56" y="524"/>
                  </a:lnTo>
                  <a:lnTo>
                    <a:pt x="58" y="531"/>
                  </a:lnTo>
                  <a:lnTo>
                    <a:pt x="58" y="537"/>
                  </a:lnTo>
                  <a:lnTo>
                    <a:pt x="56" y="541"/>
                  </a:lnTo>
                  <a:lnTo>
                    <a:pt x="53" y="556"/>
                  </a:lnTo>
                  <a:lnTo>
                    <a:pt x="53" y="557"/>
                  </a:lnTo>
                  <a:lnTo>
                    <a:pt x="53" y="557"/>
                  </a:lnTo>
                  <a:lnTo>
                    <a:pt x="55" y="559"/>
                  </a:lnTo>
                  <a:lnTo>
                    <a:pt x="58" y="559"/>
                  </a:lnTo>
                  <a:lnTo>
                    <a:pt x="61" y="559"/>
                  </a:lnTo>
                  <a:lnTo>
                    <a:pt x="69" y="562"/>
                  </a:lnTo>
                  <a:lnTo>
                    <a:pt x="71" y="563"/>
                  </a:lnTo>
                  <a:lnTo>
                    <a:pt x="74" y="566"/>
                  </a:lnTo>
                  <a:lnTo>
                    <a:pt x="77" y="570"/>
                  </a:lnTo>
                  <a:lnTo>
                    <a:pt x="84" y="581"/>
                  </a:lnTo>
                  <a:lnTo>
                    <a:pt x="88" y="584"/>
                  </a:lnTo>
                  <a:lnTo>
                    <a:pt x="91" y="585"/>
                  </a:lnTo>
                  <a:lnTo>
                    <a:pt x="96" y="585"/>
                  </a:lnTo>
                  <a:lnTo>
                    <a:pt x="99" y="585"/>
                  </a:lnTo>
                  <a:lnTo>
                    <a:pt x="102" y="585"/>
                  </a:lnTo>
                  <a:lnTo>
                    <a:pt x="107" y="588"/>
                  </a:lnTo>
                  <a:lnTo>
                    <a:pt x="112" y="589"/>
                  </a:lnTo>
                  <a:lnTo>
                    <a:pt x="116" y="595"/>
                  </a:lnTo>
                  <a:lnTo>
                    <a:pt x="118" y="597"/>
                  </a:lnTo>
                  <a:lnTo>
                    <a:pt x="119" y="600"/>
                  </a:lnTo>
                  <a:lnTo>
                    <a:pt x="119" y="601"/>
                  </a:lnTo>
                  <a:lnTo>
                    <a:pt x="119" y="602"/>
                  </a:lnTo>
                  <a:lnTo>
                    <a:pt x="119" y="604"/>
                  </a:lnTo>
                  <a:lnTo>
                    <a:pt x="119" y="607"/>
                  </a:lnTo>
                  <a:lnTo>
                    <a:pt x="122" y="611"/>
                  </a:lnTo>
                  <a:lnTo>
                    <a:pt x="122" y="613"/>
                  </a:lnTo>
                  <a:lnTo>
                    <a:pt x="122" y="614"/>
                  </a:lnTo>
                  <a:lnTo>
                    <a:pt x="122" y="616"/>
                  </a:lnTo>
                  <a:lnTo>
                    <a:pt x="122" y="618"/>
                  </a:lnTo>
                  <a:lnTo>
                    <a:pt x="122" y="620"/>
                  </a:lnTo>
                  <a:lnTo>
                    <a:pt x="122" y="621"/>
                  </a:lnTo>
                  <a:lnTo>
                    <a:pt x="122" y="623"/>
                  </a:lnTo>
                  <a:lnTo>
                    <a:pt x="122" y="624"/>
                  </a:lnTo>
                  <a:lnTo>
                    <a:pt x="119" y="626"/>
                  </a:lnTo>
                  <a:lnTo>
                    <a:pt x="116" y="627"/>
                  </a:lnTo>
                  <a:lnTo>
                    <a:pt x="118" y="637"/>
                  </a:lnTo>
                  <a:lnTo>
                    <a:pt x="120" y="653"/>
                  </a:lnTo>
                  <a:lnTo>
                    <a:pt x="122" y="656"/>
                  </a:lnTo>
                  <a:lnTo>
                    <a:pt x="122" y="659"/>
                  </a:lnTo>
                  <a:lnTo>
                    <a:pt x="120" y="661"/>
                  </a:lnTo>
                  <a:lnTo>
                    <a:pt x="118" y="662"/>
                  </a:lnTo>
                  <a:lnTo>
                    <a:pt x="118" y="662"/>
                  </a:lnTo>
                  <a:lnTo>
                    <a:pt x="120" y="662"/>
                  </a:lnTo>
                  <a:lnTo>
                    <a:pt x="122" y="664"/>
                  </a:lnTo>
                  <a:lnTo>
                    <a:pt x="122" y="665"/>
                  </a:lnTo>
                  <a:lnTo>
                    <a:pt x="120" y="667"/>
                  </a:lnTo>
                  <a:lnTo>
                    <a:pt x="118" y="668"/>
                  </a:lnTo>
                  <a:lnTo>
                    <a:pt x="116" y="672"/>
                  </a:lnTo>
                  <a:lnTo>
                    <a:pt x="115" y="674"/>
                  </a:lnTo>
                  <a:lnTo>
                    <a:pt x="113" y="674"/>
                  </a:lnTo>
                  <a:lnTo>
                    <a:pt x="112" y="674"/>
                  </a:lnTo>
                  <a:lnTo>
                    <a:pt x="112" y="672"/>
                  </a:lnTo>
                  <a:lnTo>
                    <a:pt x="110" y="671"/>
                  </a:lnTo>
                  <a:lnTo>
                    <a:pt x="110" y="667"/>
                  </a:lnTo>
                  <a:lnTo>
                    <a:pt x="110" y="665"/>
                  </a:lnTo>
                  <a:lnTo>
                    <a:pt x="109" y="664"/>
                  </a:lnTo>
                  <a:lnTo>
                    <a:pt x="109" y="664"/>
                  </a:lnTo>
                  <a:lnTo>
                    <a:pt x="107" y="662"/>
                  </a:lnTo>
                  <a:lnTo>
                    <a:pt x="107" y="661"/>
                  </a:lnTo>
                  <a:lnTo>
                    <a:pt x="106" y="661"/>
                  </a:lnTo>
                  <a:lnTo>
                    <a:pt x="104" y="661"/>
                  </a:lnTo>
                  <a:lnTo>
                    <a:pt x="88" y="662"/>
                  </a:lnTo>
                  <a:lnTo>
                    <a:pt x="87" y="662"/>
                  </a:lnTo>
                  <a:lnTo>
                    <a:pt x="85" y="662"/>
                  </a:lnTo>
                  <a:lnTo>
                    <a:pt x="83" y="661"/>
                  </a:lnTo>
                  <a:lnTo>
                    <a:pt x="80" y="661"/>
                  </a:lnTo>
                  <a:lnTo>
                    <a:pt x="78" y="662"/>
                  </a:lnTo>
                  <a:lnTo>
                    <a:pt x="78" y="664"/>
                  </a:lnTo>
                  <a:lnTo>
                    <a:pt x="78" y="665"/>
                  </a:lnTo>
                  <a:lnTo>
                    <a:pt x="78" y="669"/>
                  </a:lnTo>
                  <a:lnTo>
                    <a:pt x="80" y="672"/>
                  </a:lnTo>
                  <a:lnTo>
                    <a:pt x="80" y="675"/>
                  </a:lnTo>
                  <a:lnTo>
                    <a:pt x="80" y="677"/>
                  </a:lnTo>
                  <a:lnTo>
                    <a:pt x="77" y="683"/>
                  </a:lnTo>
                  <a:lnTo>
                    <a:pt x="77" y="684"/>
                  </a:lnTo>
                  <a:lnTo>
                    <a:pt x="77" y="685"/>
                  </a:lnTo>
                  <a:lnTo>
                    <a:pt x="75" y="690"/>
                  </a:lnTo>
                  <a:lnTo>
                    <a:pt x="75" y="691"/>
                  </a:lnTo>
                  <a:lnTo>
                    <a:pt x="75" y="693"/>
                  </a:lnTo>
                  <a:lnTo>
                    <a:pt x="75" y="694"/>
                  </a:lnTo>
                  <a:lnTo>
                    <a:pt x="69" y="697"/>
                  </a:lnTo>
                  <a:lnTo>
                    <a:pt x="55" y="709"/>
                  </a:lnTo>
                  <a:lnTo>
                    <a:pt x="52" y="710"/>
                  </a:lnTo>
                  <a:lnTo>
                    <a:pt x="49" y="710"/>
                  </a:lnTo>
                  <a:lnTo>
                    <a:pt x="42" y="713"/>
                  </a:lnTo>
                  <a:lnTo>
                    <a:pt x="36" y="715"/>
                  </a:lnTo>
                  <a:lnTo>
                    <a:pt x="34" y="716"/>
                  </a:lnTo>
                  <a:lnTo>
                    <a:pt x="34" y="716"/>
                  </a:lnTo>
                  <a:lnTo>
                    <a:pt x="33" y="720"/>
                  </a:lnTo>
                  <a:lnTo>
                    <a:pt x="33" y="722"/>
                  </a:lnTo>
                  <a:lnTo>
                    <a:pt x="32" y="726"/>
                  </a:lnTo>
                  <a:lnTo>
                    <a:pt x="30" y="728"/>
                  </a:lnTo>
                  <a:lnTo>
                    <a:pt x="29" y="728"/>
                  </a:lnTo>
                  <a:lnTo>
                    <a:pt x="24" y="726"/>
                  </a:lnTo>
                  <a:lnTo>
                    <a:pt x="23" y="726"/>
                  </a:lnTo>
                  <a:lnTo>
                    <a:pt x="20" y="726"/>
                  </a:lnTo>
                  <a:lnTo>
                    <a:pt x="16" y="729"/>
                  </a:lnTo>
                  <a:lnTo>
                    <a:pt x="13" y="731"/>
                  </a:lnTo>
                  <a:lnTo>
                    <a:pt x="11" y="732"/>
                  </a:lnTo>
                  <a:lnTo>
                    <a:pt x="11" y="735"/>
                  </a:lnTo>
                  <a:lnTo>
                    <a:pt x="8" y="752"/>
                  </a:lnTo>
                  <a:lnTo>
                    <a:pt x="8" y="757"/>
                  </a:lnTo>
                  <a:lnTo>
                    <a:pt x="8" y="758"/>
                  </a:lnTo>
                  <a:lnTo>
                    <a:pt x="8" y="760"/>
                  </a:lnTo>
                  <a:lnTo>
                    <a:pt x="8" y="763"/>
                  </a:lnTo>
                  <a:lnTo>
                    <a:pt x="7" y="766"/>
                  </a:lnTo>
                  <a:lnTo>
                    <a:pt x="2" y="771"/>
                  </a:lnTo>
                  <a:lnTo>
                    <a:pt x="0" y="777"/>
                  </a:lnTo>
                  <a:lnTo>
                    <a:pt x="24" y="776"/>
                  </a:lnTo>
                  <a:lnTo>
                    <a:pt x="37" y="779"/>
                  </a:lnTo>
                  <a:lnTo>
                    <a:pt x="45" y="789"/>
                  </a:lnTo>
                  <a:lnTo>
                    <a:pt x="45" y="796"/>
                  </a:lnTo>
                  <a:lnTo>
                    <a:pt x="45" y="806"/>
                  </a:lnTo>
                  <a:lnTo>
                    <a:pt x="48" y="814"/>
                  </a:lnTo>
                  <a:lnTo>
                    <a:pt x="53" y="816"/>
                  </a:lnTo>
                  <a:lnTo>
                    <a:pt x="59" y="818"/>
                  </a:lnTo>
                  <a:lnTo>
                    <a:pt x="64" y="822"/>
                  </a:lnTo>
                  <a:lnTo>
                    <a:pt x="71" y="833"/>
                  </a:lnTo>
                  <a:lnTo>
                    <a:pt x="81" y="841"/>
                  </a:lnTo>
                  <a:lnTo>
                    <a:pt x="113" y="860"/>
                  </a:lnTo>
                  <a:lnTo>
                    <a:pt x="151" y="897"/>
                  </a:lnTo>
                  <a:lnTo>
                    <a:pt x="161" y="902"/>
                  </a:lnTo>
                  <a:lnTo>
                    <a:pt x="164" y="905"/>
                  </a:lnTo>
                  <a:lnTo>
                    <a:pt x="169" y="908"/>
                  </a:lnTo>
                  <a:lnTo>
                    <a:pt x="173" y="907"/>
                  </a:lnTo>
                  <a:lnTo>
                    <a:pt x="176" y="902"/>
                  </a:lnTo>
                  <a:lnTo>
                    <a:pt x="182" y="898"/>
                  </a:lnTo>
                  <a:lnTo>
                    <a:pt x="185" y="895"/>
                  </a:lnTo>
                  <a:lnTo>
                    <a:pt x="187" y="892"/>
                  </a:lnTo>
                  <a:lnTo>
                    <a:pt x="192" y="892"/>
                  </a:lnTo>
                  <a:lnTo>
                    <a:pt x="195" y="894"/>
                  </a:lnTo>
                  <a:lnTo>
                    <a:pt x="196" y="897"/>
                  </a:lnTo>
                  <a:lnTo>
                    <a:pt x="199" y="901"/>
                  </a:lnTo>
                  <a:lnTo>
                    <a:pt x="202" y="904"/>
                  </a:lnTo>
                  <a:lnTo>
                    <a:pt x="205" y="911"/>
                  </a:lnTo>
                  <a:lnTo>
                    <a:pt x="208" y="911"/>
                  </a:lnTo>
                  <a:lnTo>
                    <a:pt x="212" y="905"/>
                  </a:lnTo>
                  <a:lnTo>
                    <a:pt x="215" y="904"/>
                  </a:lnTo>
                  <a:lnTo>
                    <a:pt x="218" y="907"/>
                  </a:lnTo>
                  <a:lnTo>
                    <a:pt x="221" y="910"/>
                  </a:lnTo>
                  <a:lnTo>
                    <a:pt x="227" y="914"/>
                  </a:lnTo>
                  <a:lnTo>
                    <a:pt x="228" y="917"/>
                  </a:lnTo>
                  <a:lnTo>
                    <a:pt x="233" y="924"/>
                  </a:lnTo>
                  <a:lnTo>
                    <a:pt x="240" y="923"/>
                  </a:lnTo>
                  <a:lnTo>
                    <a:pt x="249" y="926"/>
                  </a:lnTo>
                  <a:lnTo>
                    <a:pt x="260" y="926"/>
                  </a:lnTo>
                  <a:lnTo>
                    <a:pt x="268" y="929"/>
                  </a:lnTo>
                  <a:lnTo>
                    <a:pt x="275" y="930"/>
                  </a:lnTo>
                  <a:lnTo>
                    <a:pt x="275" y="921"/>
                  </a:lnTo>
                  <a:lnTo>
                    <a:pt x="276" y="915"/>
                  </a:lnTo>
                  <a:lnTo>
                    <a:pt x="282" y="913"/>
                  </a:lnTo>
                  <a:lnTo>
                    <a:pt x="292" y="913"/>
                  </a:lnTo>
                  <a:lnTo>
                    <a:pt x="303" y="918"/>
                  </a:lnTo>
                  <a:lnTo>
                    <a:pt x="311" y="923"/>
                  </a:lnTo>
                  <a:lnTo>
                    <a:pt x="321" y="923"/>
                  </a:lnTo>
                  <a:lnTo>
                    <a:pt x="329" y="917"/>
                  </a:lnTo>
                  <a:lnTo>
                    <a:pt x="330" y="908"/>
                  </a:lnTo>
                  <a:lnTo>
                    <a:pt x="329" y="904"/>
                  </a:lnTo>
                  <a:lnTo>
                    <a:pt x="329" y="894"/>
                  </a:lnTo>
                  <a:lnTo>
                    <a:pt x="327" y="889"/>
                  </a:lnTo>
                  <a:lnTo>
                    <a:pt x="326" y="886"/>
                  </a:lnTo>
                  <a:lnTo>
                    <a:pt x="323" y="883"/>
                  </a:lnTo>
                  <a:lnTo>
                    <a:pt x="321" y="879"/>
                  </a:lnTo>
                  <a:lnTo>
                    <a:pt x="324" y="873"/>
                  </a:lnTo>
                  <a:lnTo>
                    <a:pt x="339" y="859"/>
                  </a:lnTo>
                  <a:lnTo>
                    <a:pt x="346" y="854"/>
                  </a:lnTo>
                  <a:lnTo>
                    <a:pt x="365" y="847"/>
                  </a:lnTo>
                  <a:lnTo>
                    <a:pt x="377" y="847"/>
                  </a:lnTo>
                  <a:lnTo>
                    <a:pt x="381" y="849"/>
                  </a:lnTo>
                  <a:lnTo>
                    <a:pt x="391" y="857"/>
                  </a:lnTo>
                  <a:lnTo>
                    <a:pt x="396" y="867"/>
                  </a:lnTo>
                  <a:lnTo>
                    <a:pt x="403" y="863"/>
                  </a:lnTo>
                  <a:lnTo>
                    <a:pt x="410" y="860"/>
                  </a:lnTo>
                  <a:lnTo>
                    <a:pt x="419" y="860"/>
                  </a:lnTo>
                  <a:lnTo>
                    <a:pt x="429" y="862"/>
                  </a:lnTo>
                  <a:lnTo>
                    <a:pt x="428" y="853"/>
                  </a:lnTo>
                  <a:lnTo>
                    <a:pt x="421" y="847"/>
                  </a:lnTo>
                  <a:lnTo>
                    <a:pt x="425" y="846"/>
                  </a:lnTo>
                  <a:lnTo>
                    <a:pt x="428" y="844"/>
                  </a:lnTo>
                  <a:lnTo>
                    <a:pt x="437" y="847"/>
                  </a:lnTo>
                  <a:lnTo>
                    <a:pt x="445" y="837"/>
                  </a:lnTo>
                  <a:lnTo>
                    <a:pt x="458" y="830"/>
                  </a:lnTo>
                  <a:lnTo>
                    <a:pt x="464" y="828"/>
                  </a:lnTo>
                  <a:lnTo>
                    <a:pt x="472" y="831"/>
                  </a:lnTo>
                  <a:lnTo>
                    <a:pt x="477" y="824"/>
                  </a:lnTo>
                  <a:lnTo>
                    <a:pt x="483" y="819"/>
                  </a:lnTo>
                  <a:lnTo>
                    <a:pt x="489" y="819"/>
                  </a:lnTo>
                  <a:lnTo>
                    <a:pt x="492" y="809"/>
                  </a:lnTo>
                  <a:lnTo>
                    <a:pt x="493" y="802"/>
                  </a:lnTo>
                  <a:lnTo>
                    <a:pt x="502" y="796"/>
                  </a:lnTo>
                  <a:lnTo>
                    <a:pt x="508" y="786"/>
                  </a:lnTo>
                  <a:lnTo>
                    <a:pt x="509" y="786"/>
                  </a:lnTo>
                  <a:lnTo>
                    <a:pt x="512" y="784"/>
                  </a:lnTo>
                  <a:lnTo>
                    <a:pt x="518" y="782"/>
                  </a:lnTo>
                  <a:lnTo>
                    <a:pt x="524" y="782"/>
                  </a:lnTo>
                  <a:lnTo>
                    <a:pt x="527" y="780"/>
                  </a:lnTo>
                  <a:lnTo>
                    <a:pt x="528" y="780"/>
                  </a:lnTo>
                  <a:lnTo>
                    <a:pt x="530" y="780"/>
                  </a:lnTo>
                  <a:lnTo>
                    <a:pt x="536" y="786"/>
                  </a:lnTo>
                  <a:lnTo>
                    <a:pt x="537" y="787"/>
                  </a:lnTo>
                  <a:lnTo>
                    <a:pt x="539" y="786"/>
                  </a:lnTo>
                  <a:lnTo>
                    <a:pt x="540" y="786"/>
                  </a:lnTo>
                  <a:lnTo>
                    <a:pt x="547" y="780"/>
                  </a:lnTo>
                  <a:lnTo>
                    <a:pt x="550" y="779"/>
                  </a:lnTo>
                  <a:lnTo>
                    <a:pt x="552" y="779"/>
                  </a:lnTo>
                  <a:lnTo>
                    <a:pt x="553" y="779"/>
                  </a:lnTo>
                  <a:lnTo>
                    <a:pt x="556" y="780"/>
                  </a:lnTo>
                  <a:lnTo>
                    <a:pt x="557" y="783"/>
                  </a:lnTo>
                  <a:lnTo>
                    <a:pt x="562" y="790"/>
                  </a:lnTo>
                  <a:lnTo>
                    <a:pt x="563" y="793"/>
                  </a:lnTo>
                  <a:lnTo>
                    <a:pt x="566" y="795"/>
                  </a:lnTo>
                  <a:lnTo>
                    <a:pt x="588" y="800"/>
                  </a:lnTo>
                  <a:lnTo>
                    <a:pt x="601" y="808"/>
                  </a:lnTo>
                  <a:lnTo>
                    <a:pt x="603" y="809"/>
                  </a:lnTo>
                  <a:lnTo>
                    <a:pt x="613" y="818"/>
                  </a:lnTo>
                  <a:lnTo>
                    <a:pt x="614" y="819"/>
                  </a:lnTo>
                  <a:lnTo>
                    <a:pt x="617" y="821"/>
                  </a:lnTo>
                  <a:lnTo>
                    <a:pt x="617" y="822"/>
                  </a:lnTo>
                  <a:lnTo>
                    <a:pt x="620" y="824"/>
                  </a:lnTo>
                  <a:lnTo>
                    <a:pt x="629" y="830"/>
                  </a:lnTo>
                  <a:lnTo>
                    <a:pt x="630" y="831"/>
                  </a:lnTo>
                  <a:lnTo>
                    <a:pt x="633" y="835"/>
                  </a:lnTo>
                  <a:lnTo>
                    <a:pt x="635" y="837"/>
                  </a:lnTo>
                  <a:lnTo>
                    <a:pt x="636" y="838"/>
                  </a:lnTo>
                  <a:lnTo>
                    <a:pt x="641" y="838"/>
                  </a:lnTo>
                  <a:lnTo>
                    <a:pt x="652" y="837"/>
                  </a:lnTo>
                  <a:lnTo>
                    <a:pt x="658" y="835"/>
                  </a:lnTo>
                  <a:lnTo>
                    <a:pt x="664" y="834"/>
                  </a:lnTo>
                  <a:lnTo>
                    <a:pt x="700" y="844"/>
                  </a:lnTo>
                  <a:lnTo>
                    <a:pt x="702" y="844"/>
                  </a:lnTo>
                  <a:lnTo>
                    <a:pt x="706" y="846"/>
                  </a:lnTo>
                  <a:lnTo>
                    <a:pt x="716" y="856"/>
                  </a:lnTo>
                  <a:lnTo>
                    <a:pt x="731" y="860"/>
                  </a:lnTo>
                  <a:lnTo>
                    <a:pt x="740" y="860"/>
                  </a:lnTo>
                  <a:lnTo>
                    <a:pt x="743" y="862"/>
                  </a:lnTo>
                  <a:lnTo>
                    <a:pt x="743" y="870"/>
                  </a:lnTo>
                  <a:lnTo>
                    <a:pt x="743" y="875"/>
                  </a:lnTo>
                  <a:lnTo>
                    <a:pt x="743" y="876"/>
                  </a:lnTo>
                  <a:lnTo>
                    <a:pt x="744" y="878"/>
                  </a:lnTo>
                  <a:lnTo>
                    <a:pt x="744" y="878"/>
                  </a:lnTo>
                  <a:lnTo>
                    <a:pt x="745" y="879"/>
                  </a:lnTo>
                  <a:lnTo>
                    <a:pt x="747" y="881"/>
                  </a:lnTo>
                  <a:lnTo>
                    <a:pt x="748" y="881"/>
                  </a:lnTo>
                  <a:lnTo>
                    <a:pt x="751" y="881"/>
                  </a:lnTo>
                  <a:lnTo>
                    <a:pt x="766" y="878"/>
                  </a:lnTo>
                  <a:lnTo>
                    <a:pt x="772" y="878"/>
                  </a:lnTo>
                  <a:lnTo>
                    <a:pt x="773" y="878"/>
                  </a:lnTo>
                  <a:lnTo>
                    <a:pt x="776" y="879"/>
                  </a:lnTo>
                  <a:lnTo>
                    <a:pt x="780" y="883"/>
                  </a:lnTo>
                  <a:lnTo>
                    <a:pt x="783" y="885"/>
                  </a:lnTo>
                  <a:lnTo>
                    <a:pt x="786" y="885"/>
                  </a:lnTo>
                  <a:lnTo>
                    <a:pt x="792" y="885"/>
                  </a:lnTo>
                  <a:lnTo>
                    <a:pt x="795" y="883"/>
                  </a:lnTo>
                  <a:lnTo>
                    <a:pt x="798" y="882"/>
                  </a:lnTo>
                  <a:lnTo>
                    <a:pt x="799" y="882"/>
                  </a:lnTo>
                  <a:lnTo>
                    <a:pt x="810" y="882"/>
                  </a:lnTo>
                  <a:lnTo>
                    <a:pt x="812" y="881"/>
                  </a:lnTo>
                  <a:lnTo>
                    <a:pt x="814" y="881"/>
                  </a:lnTo>
                  <a:lnTo>
                    <a:pt x="815" y="879"/>
                  </a:lnTo>
                  <a:lnTo>
                    <a:pt x="817" y="879"/>
                  </a:lnTo>
                  <a:lnTo>
                    <a:pt x="818" y="881"/>
                  </a:lnTo>
                  <a:lnTo>
                    <a:pt x="818" y="883"/>
                  </a:lnTo>
                  <a:lnTo>
                    <a:pt x="818" y="885"/>
                  </a:lnTo>
                  <a:lnTo>
                    <a:pt x="817" y="886"/>
                  </a:lnTo>
                  <a:lnTo>
                    <a:pt x="815" y="888"/>
                  </a:lnTo>
                  <a:lnTo>
                    <a:pt x="814" y="888"/>
                  </a:lnTo>
                  <a:lnTo>
                    <a:pt x="814" y="889"/>
                  </a:lnTo>
                  <a:lnTo>
                    <a:pt x="814" y="892"/>
                  </a:lnTo>
                  <a:lnTo>
                    <a:pt x="815" y="894"/>
                  </a:lnTo>
                  <a:lnTo>
                    <a:pt x="824" y="897"/>
                  </a:lnTo>
                  <a:lnTo>
                    <a:pt x="833" y="895"/>
                  </a:lnTo>
                  <a:lnTo>
                    <a:pt x="842" y="886"/>
                  </a:lnTo>
                  <a:lnTo>
                    <a:pt x="843" y="883"/>
                  </a:lnTo>
                  <a:lnTo>
                    <a:pt x="847" y="879"/>
                  </a:lnTo>
                  <a:lnTo>
                    <a:pt x="849" y="878"/>
                  </a:lnTo>
                  <a:lnTo>
                    <a:pt x="859" y="872"/>
                  </a:lnTo>
                  <a:lnTo>
                    <a:pt x="863" y="867"/>
                  </a:lnTo>
                  <a:lnTo>
                    <a:pt x="866" y="865"/>
                  </a:lnTo>
                  <a:lnTo>
                    <a:pt x="868" y="863"/>
                  </a:lnTo>
                  <a:lnTo>
                    <a:pt x="869" y="862"/>
                  </a:lnTo>
                  <a:lnTo>
                    <a:pt x="869" y="860"/>
                  </a:lnTo>
                  <a:lnTo>
                    <a:pt x="869" y="860"/>
                  </a:lnTo>
                  <a:lnTo>
                    <a:pt x="871" y="859"/>
                  </a:lnTo>
                  <a:lnTo>
                    <a:pt x="871" y="857"/>
                  </a:lnTo>
                  <a:lnTo>
                    <a:pt x="871" y="854"/>
                  </a:lnTo>
                  <a:lnTo>
                    <a:pt x="872" y="853"/>
                  </a:lnTo>
                  <a:lnTo>
                    <a:pt x="874" y="851"/>
                  </a:lnTo>
                  <a:lnTo>
                    <a:pt x="875" y="850"/>
                  </a:lnTo>
                  <a:lnTo>
                    <a:pt x="878" y="849"/>
                  </a:lnTo>
                  <a:lnTo>
                    <a:pt x="879" y="847"/>
                  </a:lnTo>
                  <a:lnTo>
                    <a:pt x="881" y="846"/>
                  </a:lnTo>
                  <a:lnTo>
                    <a:pt x="882" y="844"/>
                  </a:lnTo>
                  <a:lnTo>
                    <a:pt x="884" y="843"/>
                  </a:lnTo>
                  <a:lnTo>
                    <a:pt x="887" y="843"/>
                  </a:lnTo>
                  <a:lnTo>
                    <a:pt x="888" y="843"/>
                  </a:lnTo>
                  <a:lnTo>
                    <a:pt x="891" y="844"/>
                  </a:lnTo>
                  <a:lnTo>
                    <a:pt x="895" y="850"/>
                  </a:lnTo>
                  <a:lnTo>
                    <a:pt x="898" y="854"/>
                  </a:lnTo>
                  <a:lnTo>
                    <a:pt x="898" y="856"/>
                  </a:lnTo>
                  <a:lnTo>
                    <a:pt x="903" y="857"/>
                  </a:lnTo>
                  <a:lnTo>
                    <a:pt x="913" y="857"/>
                  </a:lnTo>
                  <a:lnTo>
                    <a:pt x="914" y="851"/>
                  </a:lnTo>
                  <a:lnTo>
                    <a:pt x="914" y="847"/>
                  </a:lnTo>
                  <a:lnTo>
                    <a:pt x="914" y="846"/>
                  </a:lnTo>
                  <a:lnTo>
                    <a:pt x="916" y="843"/>
                  </a:lnTo>
                  <a:lnTo>
                    <a:pt x="919" y="835"/>
                  </a:lnTo>
                  <a:lnTo>
                    <a:pt x="922" y="833"/>
                  </a:lnTo>
                  <a:lnTo>
                    <a:pt x="925" y="828"/>
                  </a:lnTo>
                  <a:lnTo>
                    <a:pt x="930" y="825"/>
                  </a:lnTo>
                  <a:lnTo>
                    <a:pt x="939" y="825"/>
                  </a:lnTo>
                  <a:lnTo>
                    <a:pt x="946" y="827"/>
                  </a:lnTo>
                  <a:lnTo>
                    <a:pt x="955" y="830"/>
                  </a:lnTo>
                  <a:lnTo>
                    <a:pt x="961" y="834"/>
                  </a:lnTo>
                  <a:lnTo>
                    <a:pt x="967" y="835"/>
                  </a:lnTo>
                  <a:lnTo>
                    <a:pt x="974" y="834"/>
                  </a:lnTo>
                  <a:lnTo>
                    <a:pt x="992" y="818"/>
                  </a:lnTo>
                  <a:lnTo>
                    <a:pt x="996" y="818"/>
                  </a:lnTo>
                  <a:lnTo>
                    <a:pt x="999" y="814"/>
                  </a:lnTo>
                  <a:lnTo>
                    <a:pt x="1005" y="808"/>
                  </a:lnTo>
                  <a:lnTo>
                    <a:pt x="1009" y="795"/>
                  </a:lnTo>
                  <a:lnTo>
                    <a:pt x="1015" y="780"/>
                  </a:lnTo>
                  <a:lnTo>
                    <a:pt x="1018" y="768"/>
                  </a:lnTo>
                  <a:lnTo>
                    <a:pt x="1019" y="763"/>
                  </a:lnTo>
                  <a:lnTo>
                    <a:pt x="1025" y="758"/>
                  </a:lnTo>
                  <a:lnTo>
                    <a:pt x="1031" y="754"/>
                  </a:lnTo>
                  <a:lnTo>
                    <a:pt x="1044" y="754"/>
                  </a:lnTo>
                  <a:lnTo>
                    <a:pt x="1051" y="747"/>
                  </a:lnTo>
                  <a:lnTo>
                    <a:pt x="1059" y="735"/>
                  </a:lnTo>
                  <a:lnTo>
                    <a:pt x="1079" y="716"/>
                  </a:lnTo>
                  <a:lnTo>
                    <a:pt x="1092" y="715"/>
                  </a:lnTo>
                  <a:lnTo>
                    <a:pt x="1104" y="716"/>
                  </a:lnTo>
                  <a:lnTo>
                    <a:pt x="1114" y="712"/>
                  </a:lnTo>
                  <a:lnTo>
                    <a:pt x="1113" y="704"/>
                  </a:lnTo>
                  <a:lnTo>
                    <a:pt x="1104" y="688"/>
                  </a:lnTo>
                  <a:lnTo>
                    <a:pt x="1104" y="677"/>
                  </a:lnTo>
                  <a:lnTo>
                    <a:pt x="1110" y="678"/>
                  </a:lnTo>
                  <a:lnTo>
                    <a:pt x="1118" y="691"/>
                  </a:lnTo>
                  <a:lnTo>
                    <a:pt x="1134" y="697"/>
                  </a:lnTo>
                  <a:lnTo>
                    <a:pt x="1136" y="710"/>
                  </a:lnTo>
                  <a:lnTo>
                    <a:pt x="1146" y="729"/>
                  </a:lnTo>
                  <a:lnTo>
                    <a:pt x="1147" y="736"/>
                  </a:lnTo>
                  <a:lnTo>
                    <a:pt x="1152" y="745"/>
                  </a:lnTo>
                  <a:lnTo>
                    <a:pt x="1177" y="744"/>
                  </a:lnTo>
                  <a:lnTo>
                    <a:pt x="1197" y="745"/>
                  </a:lnTo>
                  <a:lnTo>
                    <a:pt x="1204" y="748"/>
                  </a:lnTo>
                  <a:lnTo>
                    <a:pt x="1213" y="750"/>
                  </a:lnTo>
                  <a:lnTo>
                    <a:pt x="1220" y="739"/>
                  </a:lnTo>
                  <a:lnTo>
                    <a:pt x="1229" y="738"/>
                  </a:lnTo>
                  <a:lnTo>
                    <a:pt x="1242" y="744"/>
                  </a:lnTo>
                  <a:lnTo>
                    <a:pt x="1257" y="744"/>
                  </a:lnTo>
                  <a:lnTo>
                    <a:pt x="1264" y="745"/>
                  </a:lnTo>
                  <a:lnTo>
                    <a:pt x="1265" y="760"/>
                  </a:lnTo>
                  <a:lnTo>
                    <a:pt x="1264" y="771"/>
                  </a:lnTo>
                  <a:lnTo>
                    <a:pt x="1258" y="783"/>
                  </a:lnTo>
                  <a:lnTo>
                    <a:pt x="1245" y="803"/>
                  </a:lnTo>
                  <a:lnTo>
                    <a:pt x="1216" y="824"/>
                  </a:lnTo>
                  <a:lnTo>
                    <a:pt x="1216" y="828"/>
                  </a:lnTo>
                  <a:lnTo>
                    <a:pt x="1216" y="834"/>
                  </a:lnTo>
                  <a:lnTo>
                    <a:pt x="1231" y="837"/>
                  </a:lnTo>
                  <a:lnTo>
                    <a:pt x="1244" y="840"/>
                  </a:lnTo>
                  <a:lnTo>
                    <a:pt x="1267" y="843"/>
                  </a:lnTo>
                  <a:lnTo>
                    <a:pt x="1271" y="838"/>
                  </a:lnTo>
                  <a:lnTo>
                    <a:pt x="1274" y="831"/>
                  </a:lnTo>
                  <a:lnTo>
                    <a:pt x="1283" y="827"/>
                  </a:lnTo>
                  <a:lnTo>
                    <a:pt x="1293" y="814"/>
                  </a:lnTo>
                  <a:lnTo>
                    <a:pt x="1316" y="799"/>
                  </a:lnTo>
                  <a:lnTo>
                    <a:pt x="1316" y="799"/>
                  </a:lnTo>
                  <a:lnTo>
                    <a:pt x="1309" y="766"/>
                  </a:lnTo>
                  <a:close/>
                  <a:moveTo>
                    <a:pt x="888" y="61"/>
                  </a:moveTo>
                  <a:lnTo>
                    <a:pt x="887" y="61"/>
                  </a:lnTo>
                  <a:lnTo>
                    <a:pt x="887" y="62"/>
                  </a:lnTo>
                  <a:lnTo>
                    <a:pt x="888" y="61"/>
                  </a:lnTo>
                  <a:close/>
                  <a:moveTo>
                    <a:pt x="858" y="119"/>
                  </a:moveTo>
                  <a:lnTo>
                    <a:pt x="858" y="113"/>
                  </a:lnTo>
                  <a:lnTo>
                    <a:pt x="859" y="107"/>
                  </a:lnTo>
                  <a:lnTo>
                    <a:pt x="861" y="103"/>
                  </a:lnTo>
                  <a:lnTo>
                    <a:pt x="866" y="99"/>
                  </a:lnTo>
                  <a:lnTo>
                    <a:pt x="868" y="94"/>
                  </a:lnTo>
                  <a:lnTo>
                    <a:pt x="872" y="83"/>
                  </a:lnTo>
                  <a:lnTo>
                    <a:pt x="872" y="71"/>
                  </a:lnTo>
                  <a:lnTo>
                    <a:pt x="874" y="61"/>
                  </a:lnTo>
                  <a:lnTo>
                    <a:pt x="882" y="54"/>
                  </a:lnTo>
                  <a:lnTo>
                    <a:pt x="882" y="67"/>
                  </a:lnTo>
                  <a:lnTo>
                    <a:pt x="885" y="67"/>
                  </a:lnTo>
                  <a:lnTo>
                    <a:pt x="885" y="58"/>
                  </a:lnTo>
                  <a:lnTo>
                    <a:pt x="887" y="58"/>
                  </a:lnTo>
                  <a:lnTo>
                    <a:pt x="887" y="59"/>
                  </a:lnTo>
                  <a:lnTo>
                    <a:pt x="887" y="61"/>
                  </a:lnTo>
                  <a:lnTo>
                    <a:pt x="887" y="54"/>
                  </a:lnTo>
                  <a:lnTo>
                    <a:pt x="885" y="51"/>
                  </a:lnTo>
                  <a:lnTo>
                    <a:pt x="881" y="49"/>
                  </a:lnTo>
                  <a:lnTo>
                    <a:pt x="877" y="49"/>
                  </a:lnTo>
                  <a:lnTo>
                    <a:pt x="871" y="51"/>
                  </a:lnTo>
                  <a:lnTo>
                    <a:pt x="868" y="55"/>
                  </a:lnTo>
                  <a:lnTo>
                    <a:pt x="866" y="71"/>
                  </a:lnTo>
                  <a:lnTo>
                    <a:pt x="855" y="110"/>
                  </a:lnTo>
                  <a:lnTo>
                    <a:pt x="855" y="123"/>
                  </a:lnTo>
                  <a:lnTo>
                    <a:pt x="855" y="132"/>
                  </a:lnTo>
                  <a:lnTo>
                    <a:pt x="856" y="132"/>
                  </a:lnTo>
                  <a:lnTo>
                    <a:pt x="858" y="119"/>
                  </a:lnTo>
                  <a:close/>
                  <a:moveTo>
                    <a:pt x="936" y="102"/>
                  </a:moveTo>
                  <a:lnTo>
                    <a:pt x="935" y="97"/>
                  </a:lnTo>
                  <a:lnTo>
                    <a:pt x="933" y="89"/>
                  </a:lnTo>
                  <a:lnTo>
                    <a:pt x="929" y="86"/>
                  </a:lnTo>
                  <a:lnTo>
                    <a:pt x="925" y="84"/>
                  </a:lnTo>
                  <a:lnTo>
                    <a:pt x="923" y="81"/>
                  </a:lnTo>
                  <a:lnTo>
                    <a:pt x="917" y="80"/>
                  </a:lnTo>
                  <a:lnTo>
                    <a:pt x="891" y="83"/>
                  </a:lnTo>
                  <a:lnTo>
                    <a:pt x="882" y="87"/>
                  </a:lnTo>
                  <a:lnTo>
                    <a:pt x="885" y="87"/>
                  </a:lnTo>
                  <a:lnTo>
                    <a:pt x="888" y="89"/>
                  </a:lnTo>
                  <a:lnTo>
                    <a:pt x="890" y="91"/>
                  </a:lnTo>
                  <a:lnTo>
                    <a:pt x="890" y="97"/>
                  </a:lnTo>
                  <a:lnTo>
                    <a:pt x="891" y="102"/>
                  </a:lnTo>
                  <a:lnTo>
                    <a:pt x="893" y="103"/>
                  </a:lnTo>
                  <a:lnTo>
                    <a:pt x="894" y="103"/>
                  </a:lnTo>
                  <a:lnTo>
                    <a:pt x="894" y="105"/>
                  </a:lnTo>
                  <a:lnTo>
                    <a:pt x="897" y="107"/>
                  </a:lnTo>
                  <a:lnTo>
                    <a:pt x="903" y="107"/>
                  </a:lnTo>
                  <a:lnTo>
                    <a:pt x="913" y="103"/>
                  </a:lnTo>
                  <a:lnTo>
                    <a:pt x="914" y="107"/>
                  </a:lnTo>
                  <a:lnTo>
                    <a:pt x="913" y="109"/>
                  </a:lnTo>
                  <a:lnTo>
                    <a:pt x="911" y="110"/>
                  </a:lnTo>
                  <a:lnTo>
                    <a:pt x="911" y="112"/>
                  </a:lnTo>
                  <a:lnTo>
                    <a:pt x="914" y="116"/>
                  </a:lnTo>
                  <a:lnTo>
                    <a:pt x="917" y="119"/>
                  </a:lnTo>
                  <a:lnTo>
                    <a:pt x="928" y="123"/>
                  </a:lnTo>
                  <a:lnTo>
                    <a:pt x="926" y="126"/>
                  </a:lnTo>
                  <a:lnTo>
                    <a:pt x="923" y="128"/>
                  </a:lnTo>
                  <a:lnTo>
                    <a:pt x="923" y="128"/>
                  </a:lnTo>
                  <a:lnTo>
                    <a:pt x="923" y="132"/>
                  </a:lnTo>
                  <a:lnTo>
                    <a:pt x="916" y="132"/>
                  </a:lnTo>
                  <a:lnTo>
                    <a:pt x="906" y="138"/>
                  </a:lnTo>
                  <a:lnTo>
                    <a:pt x="895" y="141"/>
                  </a:lnTo>
                  <a:lnTo>
                    <a:pt x="893" y="144"/>
                  </a:lnTo>
                  <a:lnTo>
                    <a:pt x="887" y="157"/>
                  </a:lnTo>
                  <a:lnTo>
                    <a:pt x="903" y="153"/>
                  </a:lnTo>
                  <a:lnTo>
                    <a:pt x="906" y="154"/>
                  </a:lnTo>
                  <a:lnTo>
                    <a:pt x="909" y="157"/>
                  </a:lnTo>
                  <a:lnTo>
                    <a:pt x="911" y="160"/>
                  </a:lnTo>
                  <a:lnTo>
                    <a:pt x="916" y="160"/>
                  </a:lnTo>
                  <a:lnTo>
                    <a:pt x="916" y="164"/>
                  </a:lnTo>
                  <a:lnTo>
                    <a:pt x="914" y="170"/>
                  </a:lnTo>
                  <a:lnTo>
                    <a:pt x="916" y="176"/>
                  </a:lnTo>
                  <a:lnTo>
                    <a:pt x="920" y="180"/>
                  </a:lnTo>
                  <a:lnTo>
                    <a:pt x="926" y="180"/>
                  </a:lnTo>
                  <a:lnTo>
                    <a:pt x="914" y="188"/>
                  </a:lnTo>
                  <a:lnTo>
                    <a:pt x="910" y="189"/>
                  </a:lnTo>
                  <a:lnTo>
                    <a:pt x="906" y="185"/>
                  </a:lnTo>
                  <a:lnTo>
                    <a:pt x="904" y="189"/>
                  </a:lnTo>
                  <a:lnTo>
                    <a:pt x="893" y="182"/>
                  </a:lnTo>
                  <a:lnTo>
                    <a:pt x="884" y="186"/>
                  </a:lnTo>
                  <a:lnTo>
                    <a:pt x="878" y="196"/>
                  </a:lnTo>
                  <a:lnTo>
                    <a:pt x="872" y="209"/>
                  </a:lnTo>
                  <a:lnTo>
                    <a:pt x="894" y="225"/>
                  </a:lnTo>
                  <a:lnTo>
                    <a:pt x="894" y="230"/>
                  </a:lnTo>
                  <a:lnTo>
                    <a:pt x="890" y="227"/>
                  </a:lnTo>
                  <a:lnTo>
                    <a:pt x="884" y="228"/>
                  </a:lnTo>
                  <a:lnTo>
                    <a:pt x="882" y="233"/>
                  </a:lnTo>
                  <a:lnTo>
                    <a:pt x="885" y="237"/>
                  </a:lnTo>
                  <a:lnTo>
                    <a:pt x="888" y="237"/>
                  </a:lnTo>
                  <a:lnTo>
                    <a:pt x="898" y="233"/>
                  </a:lnTo>
                  <a:lnTo>
                    <a:pt x="904" y="234"/>
                  </a:lnTo>
                  <a:lnTo>
                    <a:pt x="901" y="241"/>
                  </a:lnTo>
                  <a:lnTo>
                    <a:pt x="906" y="246"/>
                  </a:lnTo>
                  <a:lnTo>
                    <a:pt x="911" y="249"/>
                  </a:lnTo>
                  <a:lnTo>
                    <a:pt x="917" y="250"/>
                  </a:lnTo>
                  <a:lnTo>
                    <a:pt x="919" y="252"/>
                  </a:lnTo>
                  <a:lnTo>
                    <a:pt x="922" y="256"/>
                  </a:lnTo>
                  <a:lnTo>
                    <a:pt x="926" y="257"/>
                  </a:lnTo>
                  <a:lnTo>
                    <a:pt x="929" y="256"/>
                  </a:lnTo>
                  <a:lnTo>
                    <a:pt x="932" y="254"/>
                  </a:lnTo>
                  <a:lnTo>
                    <a:pt x="935" y="253"/>
                  </a:lnTo>
                  <a:lnTo>
                    <a:pt x="942" y="254"/>
                  </a:lnTo>
                  <a:lnTo>
                    <a:pt x="941" y="252"/>
                  </a:lnTo>
                  <a:lnTo>
                    <a:pt x="939" y="250"/>
                  </a:lnTo>
                  <a:lnTo>
                    <a:pt x="942" y="247"/>
                  </a:lnTo>
                  <a:lnTo>
                    <a:pt x="944" y="244"/>
                  </a:lnTo>
                  <a:lnTo>
                    <a:pt x="949" y="241"/>
                  </a:lnTo>
                  <a:lnTo>
                    <a:pt x="945" y="250"/>
                  </a:lnTo>
                  <a:lnTo>
                    <a:pt x="944" y="257"/>
                  </a:lnTo>
                  <a:lnTo>
                    <a:pt x="941" y="260"/>
                  </a:lnTo>
                  <a:lnTo>
                    <a:pt x="954" y="269"/>
                  </a:lnTo>
                  <a:lnTo>
                    <a:pt x="964" y="273"/>
                  </a:lnTo>
                  <a:lnTo>
                    <a:pt x="974" y="275"/>
                  </a:lnTo>
                  <a:lnTo>
                    <a:pt x="980" y="272"/>
                  </a:lnTo>
                  <a:lnTo>
                    <a:pt x="980" y="266"/>
                  </a:lnTo>
                  <a:lnTo>
                    <a:pt x="979" y="252"/>
                  </a:lnTo>
                  <a:lnTo>
                    <a:pt x="976" y="252"/>
                  </a:lnTo>
                  <a:lnTo>
                    <a:pt x="960" y="254"/>
                  </a:lnTo>
                  <a:lnTo>
                    <a:pt x="960" y="254"/>
                  </a:lnTo>
                  <a:lnTo>
                    <a:pt x="961" y="254"/>
                  </a:lnTo>
                  <a:lnTo>
                    <a:pt x="961" y="254"/>
                  </a:lnTo>
                  <a:lnTo>
                    <a:pt x="961" y="259"/>
                  </a:lnTo>
                  <a:lnTo>
                    <a:pt x="957" y="262"/>
                  </a:lnTo>
                  <a:lnTo>
                    <a:pt x="958" y="246"/>
                  </a:lnTo>
                  <a:lnTo>
                    <a:pt x="965" y="243"/>
                  </a:lnTo>
                  <a:lnTo>
                    <a:pt x="974" y="240"/>
                  </a:lnTo>
                  <a:lnTo>
                    <a:pt x="979" y="231"/>
                  </a:lnTo>
                  <a:lnTo>
                    <a:pt x="981" y="225"/>
                  </a:lnTo>
                  <a:lnTo>
                    <a:pt x="1000" y="209"/>
                  </a:lnTo>
                  <a:lnTo>
                    <a:pt x="1006" y="205"/>
                  </a:lnTo>
                  <a:lnTo>
                    <a:pt x="1041" y="201"/>
                  </a:lnTo>
                  <a:lnTo>
                    <a:pt x="1046" y="204"/>
                  </a:lnTo>
                  <a:lnTo>
                    <a:pt x="1047" y="208"/>
                  </a:lnTo>
                  <a:lnTo>
                    <a:pt x="1050" y="208"/>
                  </a:lnTo>
                  <a:lnTo>
                    <a:pt x="1056" y="204"/>
                  </a:lnTo>
                  <a:lnTo>
                    <a:pt x="1059" y="201"/>
                  </a:lnTo>
                  <a:lnTo>
                    <a:pt x="1063" y="201"/>
                  </a:lnTo>
                  <a:lnTo>
                    <a:pt x="1073" y="201"/>
                  </a:lnTo>
                  <a:lnTo>
                    <a:pt x="1073" y="205"/>
                  </a:lnTo>
                  <a:lnTo>
                    <a:pt x="1066" y="208"/>
                  </a:lnTo>
                  <a:lnTo>
                    <a:pt x="1047" y="221"/>
                  </a:lnTo>
                  <a:lnTo>
                    <a:pt x="1054" y="217"/>
                  </a:lnTo>
                  <a:lnTo>
                    <a:pt x="1062" y="214"/>
                  </a:lnTo>
                  <a:lnTo>
                    <a:pt x="1080" y="212"/>
                  </a:lnTo>
                  <a:lnTo>
                    <a:pt x="1078" y="220"/>
                  </a:lnTo>
                  <a:lnTo>
                    <a:pt x="1072" y="224"/>
                  </a:lnTo>
                  <a:lnTo>
                    <a:pt x="1059" y="230"/>
                  </a:lnTo>
                  <a:lnTo>
                    <a:pt x="1059" y="234"/>
                  </a:lnTo>
                  <a:lnTo>
                    <a:pt x="1063" y="236"/>
                  </a:lnTo>
                  <a:lnTo>
                    <a:pt x="1069" y="236"/>
                  </a:lnTo>
                  <a:lnTo>
                    <a:pt x="1075" y="233"/>
                  </a:lnTo>
                  <a:lnTo>
                    <a:pt x="1078" y="230"/>
                  </a:lnTo>
                  <a:lnTo>
                    <a:pt x="1080" y="230"/>
                  </a:lnTo>
                  <a:lnTo>
                    <a:pt x="1082" y="236"/>
                  </a:lnTo>
                  <a:lnTo>
                    <a:pt x="1080" y="240"/>
                  </a:lnTo>
                  <a:lnTo>
                    <a:pt x="1078" y="241"/>
                  </a:lnTo>
                  <a:lnTo>
                    <a:pt x="1073" y="241"/>
                  </a:lnTo>
                  <a:lnTo>
                    <a:pt x="1080" y="244"/>
                  </a:lnTo>
                  <a:lnTo>
                    <a:pt x="1083" y="244"/>
                  </a:lnTo>
                  <a:lnTo>
                    <a:pt x="1085" y="241"/>
                  </a:lnTo>
                  <a:lnTo>
                    <a:pt x="1085" y="231"/>
                  </a:lnTo>
                  <a:lnTo>
                    <a:pt x="1086" y="222"/>
                  </a:lnTo>
                  <a:lnTo>
                    <a:pt x="1089" y="214"/>
                  </a:lnTo>
                  <a:lnTo>
                    <a:pt x="1095" y="208"/>
                  </a:lnTo>
                  <a:lnTo>
                    <a:pt x="1099" y="205"/>
                  </a:lnTo>
                  <a:lnTo>
                    <a:pt x="1091" y="202"/>
                  </a:lnTo>
                  <a:lnTo>
                    <a:pt x="1085" y="193"/>
                  </a:lnTo>
                  <a:lnTo>
                    <a:pt x="1075" y="177"/>
                  </a:lnTo>
                  <a:lnTo>
                    <a:pt x="1067" y="171"/>
                  </a:lnTo>
                  <a:lnTo>
                    <a:pt x="1051" y="169"/>
                  </a:lnTo>
                  <a:lnTo>
                    <a:pt x="1044" y="164"/>
                  </a:lnTo>
                  <a:lnTo>
                    <a:pt x="1041" y="158"/>
                  </a:lnTo>
                  <a:lnTo>
                    <a:pt x="1037" y="150"/>
                  </a:lnTo>
                  <a:lnTo>
                    <a:pt x="1034" y="139"/>
                  </a:lnTo>
                  <a:lnTo>
                    <a:pt x="1032" y="129"/>
                  </a:lnTo>
                  <a:lnTo>
                    <a:pt x="1035" y="121"/>
                  </a:lnTo>
                  <a:lnTo>
                    <a:pt x="1044" y="113"/>
                  </a:lnTo>
                  <a:lnTo>
                    <a:pt x="1059" y="103"/>
                  </a:lnTo>
                  <a:lnTo>
                    <a:pt x="1067" y="89"/>
                  </a:lnTo>
                  <a:lnTo>
                    <a:pt x="1066" y="72"/>
                  </a:lnTo>
                  <a:lnTo>
                    <a:pt x="1056" y="61"/>
                  </a:lnTo>
                  <a:lnTo>
                    <a:pt x="1040" y="58"/>
                  </a:lnTo>
                  <a:lnTo>
                    <a:pt x="995" y="67"/>
                  </a:lnTo>
                  <a:lnTo>
                    <a:pt x="980" y="62"/>
                  </a:lnTo>
                  <a:lnTo>
                    <a:pt x="974" y="56"/>
                  </a:lnTo>
                  <a:lnTo>
                    <a:pt x="970" y="51"/>
                  </a:lnTo>
                  <a:lnTo>
                    <a:pt x="967" y="42"/>
                  </a:lnTo>
                  <a:lnTo>
                    <a:pt x="965" y="32"/>
                  </a:lnTo>
                  <a:lnTo>
                    <a:pt x="968" y="23"/>
                  </a:lnTo>
                  <a:lnTo>
                    <a:pt x="974" y="17"/>
                  </a:lnTo>
                  <a:lnTo>
                    <a:pt x="981" y="13"/>
                  </a:lnTo>
                  <a:lnTo>
                    <a:pt x="987" y="8"/>
                  </a:lnTo>
                  <a:lnTo>
                    <a:pt x="987" y="6"/>
                  </a:lnTo>
                  <a:lnTo>
                    <a:pt x="979" y="0"/>
                  </a:lnTo>
                  <a:lnTo>
                    <a:pt x="968" y="0"/>
                  </a:lnTo>
                  <a:lnTo>
                    <a:pt x="920" y="14"/>
                  </a:lnTo>
                  <a:lnTo>
                    <a:pt x="917" y="17"/>
                  </a:lnTo>
                  <a:lnTo>
                    <a:pt x="913" y="22"/>
                  </a:lnTo>
                  <a:lnTo>
                    <a:pt x="911" y="24"/>
                  </a:lnTo>
                  <a:lnTo>
                    <a:pt x="911" y="32"/>
                  </a:lnTo>
                  <a:lnTo>
                    <a:pt x="913" y="33"/>
                  </a:lnTo>
                  <a:lnTo>
                    <a:pt x="919" y="29"/>
                  </a:lnTo>
                  <a:lnTo>
                    <a:pt x="933" y="24"/>
                  </a:lnTo>
                  <a:lnTo>
                    <a:pt x="935" y="27"/>
                  </a:lnTo>
                  <a:lnTo>
                    <a:pt x="933" y="33"/>
                  </a:lnTo>
                  <a:lnTo>
                    <a:pt x="932" y="39"/>
                  </a:lnTo>
                  <a:lnTo>
                    <a:pt x="932" y="42"/>
                  </a:lnTo>
                  <a:lnTo>
                    <a:pt x="926" y="46"/>
                  </a:lnTo>
                  <a:lnTo>
                    <a:pt x="922" y="56"/>
                  </a:lnTo>
                  <a:lnTo>
                    <a:pt x="920" y="67"/>
                  </a:lnTo>
                  <a:lnTo>
                    <a:pt x="920" y="74"/>
                  </a:lnTo>
                  <a:lnTo>
                    <a:pt x="928" y="77"/>
                  </a:lnTo>
                  <a:lnTo>
                    <a:pt x="933" y="71"/>
                  </a:lnTo>
                  <a:lnTo>
                    <a:pt x="939" y="65"/>
                  </a:lnTo>
                  <a:lnTo>
                    <a:pt x="948" y="61"/>
                  </a:lnTo>
                  <a:lnTo>
                    <a:pt x="954" y="52"/>
                  </a:lnTo>
                  <a:lnTo>
                    <a:pt x="957" y="49"/>
                  </a:lnTo>
                  <a:lnTo>
                    <a:pt x="961" y="46"/>
                  </a:lnTo>
                  <a:lnTo>
                    <a:pt x="962" y="48"/>
                  </a:lnTo>
                  <a:lnTo>
                    <a:pt x="965" y="54"/>
                  </a:lnTo>
                  <a:lnTo>
                    <a:pt x="968" y="58"/>
                  </a:lnTo>
                  <a:lnTo>
                    <a:pt x="970" y="62"/>
                  </a:lnTo>
                  <a:lnTo>
                    <a:pt x="971" y="65"/>
                  </a:lnTo>
                  <a:lnTo>
                    <a:pt x="977" y="67"/>
                  </a:lnTo>
                  <a:lnTo>
                    <a:pt x="980" y="68"/>
                  </a:lnTo>
                  <a:lnTo>
                    <a:pt x="983" y="72"/>
                  </a:lnTo>
                  <a:lnTo>
                    <a:pt x="984" y="77"/>
                  </a:lnTo>
                  <a:lnTo>
                    <a:pt x="986" y="78"/>
                  </a:lnTo>
                  <a:lnTo>
                    <a:pt x="997" y="80"/>
                  </a:lnTo>
                  <a:lnTo>
                    <a:pt x="1002" y="78"/>
                  </a:lnTo>
                  <a:lnTo>
                    <a:pt x="1005" y="77"/>
                  </a:lnTo>
                  <a:lnTo>
                    <a:pt x="1006" y="74"/>
                  </a:lnTo>
                  <a:lnTo>
                    <a:pt x="1009" y="71"/>
                  </a:lnTo>
                  <a:lnTo>
                    <a:pt x="1013" y="71"/>
                  </a:lnTo>
                  <a:lnTo>
                    <a:pt x="1013" y="74"/>
                  </a:lnTo>
                  <a:lnTo>
                    <a:pt x="1011" y="75"/>
                  </a:lnTo>
                  <a:lnTo>
                    <a:pt x="1009" y="75"/>
                  </a:lnTo>
                  <a:lnTo>
                    <a:pt x="1008" y="77"/>
                  </a:lnTo>
                  <a:lnTo>
                    <a:pt x="1006" y="78"/>
                  </a:lnTo>
                  <a:lnTo>
                    <a:pt x="1006" y="83"/>
                  </a:lnTo>
                  <a:lnTo>
                    <a:pt x="1009" y="86"/>
                  </a:lnTo>
                  <a:lnTo>
                    <a:pt x="1011" y="90"/>
                  </a:lnTo>
                  <a:lnTo>
                    <a:pt x="1013" y="99"/>
                  </a:lnTo>
                  <a:lnTo>
                    <a:pt x="1013" y="103"/>
                  </a:lnTo>
                  <a:lnTo>
                    <a:pt x="1012" y="105"/>
                  </a:lnTo>
                  <a:lnTo>
                    <a:pt x="1009" y="107"/>
                  </a:lnTo>
                  <a:lnTo>
                    <a:pt x="1006" y="115"/>
                  </a:lnTo>
                  <a:lnTo>
                    <a:pt x="1009" y="119"/>
                  </a:lnTo>
                  <a:lnTo>
                    <a:pt x="992" y="121"/>
                  </a:lnTo>
                  <a:lnTo>
                    <a:pt x="983" y="118"/>
                  </a:lnTo>
                  <a:lnTo>
                    <a:pt x="976" y="107"/>
                  </a:lnTo>
                  <a:lnTo>
                    <a:pt x="977" y="99"/>
                  </a:lnTo>
                  <a:lnTo>
                    <a:pt x="974" y="90"/>
                  </a:lnTo>
                  <a:lnTo>
                    <a:pt x="967" y="83"/>
                  </a:lnTo>
                  <a:lnTo>
                    <a:pt x="964" y="74"/>
                  </a:lnTo>
                  <a:lnTo>
                    <a:pt x="960" y="78"/>
                  </a:lnTo>
                  <a:lnTo>
                    <a:pt x="960" y="83"/>
                  </a:lnTo>
                  <a:lnTo>
                    <a:pt x="962" y="84"/>
                  </a:lnTo>
                  <a:lnTo>
                    <a:pt x="965" y="86"/>
                  </a:lnTo>
                  <a:lnTo>
                    <a:pt x="968" y="87"/>
                  </a:lnTo>
                  <a:lnTo>
                    <a:pt x="965" y="94"/>
                  </a:lnTo>
                  <a:lnTo>
                    <a:pt x="962" y="97"/>
                  </a:lnTo>
                  <a:lnTo>
                    <a:pt x="960" y="99"/>
                  </a:lnTo>
                  <a:lnTo>
                    <a:pt x="954" y="99"/>
                  </a:lnTo>
                  <a:lnTo>
                    <a:pt x="957" y="90"/>
                  </a:lnTo>
                  <a:lnTo>
                    <a:pt x="960" y="87"/>
                  </a:lnTo>
                  <a:lnTo>
                    <a:pt x="957" y="84"/>
                  </a:lnTo>
                  <a:lnTo>
                    <a:pt x="955" y="83"/>
                  </a:lnTo>
                  <a:lnTo>
                    <a:pt x="954" y="83"/>
                  </a:lnTo>
                  <a:lnTo>
                    <a:pt x="952" y="83"/>
                  </a:lnTo>
                  <a:lnTo>
                    <a:pt x="955" y="80"/>
                  </a:lnTo>
                  <a:lnTo>
                    <a:pt x="957" y="74"/>
                  </a:lnTo>
                  <a:lnTo>
                    <a:pt x="961" y="62"/>
                  </a:lnTo>
                  <a:lnTo>
                    <a:pt x="955" y="64"/>
                  </a:lnTo>
                  <a:lnTo>
                    <a:pt x="948" y="70"/>
                  </a:lnTo>
                  <a:lnTo>
                    <a:pt x="942" y="75"/>
                  </a:lnTo>
                  <a:lnTo>
                    <a:pt x="938" y="83"/>
                  </a:lnTo>
                  <a:lnTo>
                    <a:pt x="941" y="91"/>
                  </a:lnTo>
                  <a:lnTo>
                    <a:pt x="939" y="99"/>
                  </a:lnTo>
                  <a:lnTo>
                    <a:pt x="936" y="10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13">
              <a:extLst>
                <a:ext uri="{FF2B5EF4-FFF2-40B4-BE49-F238E27FC236}">
                  <a16:creationId xmlns:a16="http://schemas.microsoft.com/office/drawing/2014/main" id="{C3EE96A4-E33B-428B-B09D-ECDDCFBDD041}"/>
                </a:ext>
              </a:extLst>
            </p:cNvPr>
            <p:cNvSpPr>
              <a:spLocks noEditPoints="1"/>
            </p:cNvSpPr>
            <p:nvPr/>
          </p:nvSpPr>
          <p:spPr bwMode="gray">
            <a:xfrm>
              <a:off x="4011613" y="1114425"/>
              <a:ext cx="2714625" cy="2355850"/>
            </a:xfrm>
            <a:custGeom>
              <a:avLst/>
              <a:gdLst>
                <a:gd name="T0" fmla="*/ 422 w 1710"/>
                <a:gd name="T1" fmla="*/ 61 h 1484"/>
                <a:gd name="T2" fmla="*/ 514 w 1710"/>
                <a:gd name="T3" fmla="*/ 102 h 1484"/>
                <a:gd name="T4" fmla="*/ 40 w 1710"/>
                <a:gd name="T5" fmla="*/ 170 h 1484"/>
                <a:gd name="T6" fmla="*/ 1628 w 1710"/>
                <a:gd name="T7" fmla="*/ 480 h 1484"/>
                <a:gd name="T8" fmla="*/ 1452 w 1710"/>
                <a:gd name="T9" fmla="*/ 368 h 1484"/>
                <a:gd name="T10" fmla="*/ 1200 w 1710"/>
                <a:gd name="T11" fmla="*/ 268 h 1484"/>
                <a:gd name="T12" fmla="*/ 1124 w 1710"/>
                <a:gd name="T13" fmla="*/ 259 h 1484"/>
                <a:gd name="T14" fmla="*/ 1017 w 1710"/>
                <a:gd name="T15" fmla="*/ 176 h 1484"/>
                <a:gd name="T16" fmla="*/ 677 w 1710"/>
                <a:gd name="T17" fmla="*/ 6 h 1484"/>
                <a:gd name="T18" fmla="*/ 635 w 1710"/>
                <a:gd name="T19" fmla="*/ 255 h 1484"/>
                <a:gd name="T20" fmla="*/ 552 w 1710"/>
                <a:gd name="T21" fmla="*/ 282 h 1484"/>
                <a:gd name="T22" fmla="*/ 499 w 1710"/>
                <a:gd name="T23" fmla="*/ 169 h 1484"/>
                <a:gd name="T24" fmla="*/ 140 w 1710"/>
                <a:gd name="T25" fmla="*/ 217 h 1484"/>
                <a:gd name="T26" fmla="*/ 183 w 1710"/>
                <a:gd name="T27" fmla="*/ 422 h 1484"/>
                <a:gd name="T28" fmla="*/ 14 w 1710"/>
                <a:gd name="T29" fmla="*/ 737 h 1484"/>
                <a:gd name="T30" fmla="*/ 109 w 1710"/>
                <a:gd name="T31" fmla="*/ 833 h 1484"/>
                <a:gd name="T32" fmla="*/ 304 w 1710"/>
                <a:gd name="T33" fmla="*/ 876 h 1484"/>
                <a:gd name="T34" fmla="*/ 357 w 1710"/>
                <a:gd name="T35" fmla="*/ 828 h 1484"/>
                <a:gd name="T36" fmla="*/ 443 w 1710"/>
                <a:gd name="T37" fmla="*/ 916 h 1484"/>
                <a:gd name="T38" fmla="*/ 440 w 1710"/>
                <a:gd name="T39" fmla="*/ 977 h 1484"/>
                <a:gd name="T40" fmla="*/ 431 w 1710"/>
                <a:gd name="T41" fmla="*/ 1044 h 1484"/>
                <a:gd name="T42" fmla="*/ 614 w 1710"/>
                <a:gd name="T43" fmla="*/ 1009 h 1484"/>
                <a:gd name="T44" fmla="*/ 587 w 1710"/>
                <a:gd name="T45" fmla="*/ 836 h 1484"/>
                <a:gd name="T46" fmla="*/ 712 w 1710"/>
                <a:gd name="T47" fmla="*/ 821 h 1484"/>
                <a:gd name="T48" fmla="*/ 811 w 1710"/>
                <a:gd name="T49" fmla="*/ 828 h 1484"/>
                <a:gd name="T50" fmla="*/ 836 w 1710"/>
                <a:gd name="T51" fmla="*/ 892 h 1484"/>
                <a:gd name="T52" fmla="*/ 829 w 1710"/>
                <a:gd name="T53" fmla="*/ 962 h 1484"/>
                <a:gd name="T54" fmla="*/ 836 w 1710"/>
                <a:gd name="T55" fmla="*/ 1010 h 1484"/>
                <a:gd name="T56" fmla="*/ 878 w 1710"/>
                <a:gd name="T57" fmla="*/ 1087 h 1484"/>
                <a:gd name="T58" fmla="*/ 913 w 1710"/>
                <a:gd name="T59" fmla="*/ 1105 h 1484"/>
                <a:gd name="T60" fmla="*/ 970 w 1710"/>
                <a:gd name="T61" fmla="*/ 1163 h 1484"/>
                <a:gd name="T62" fmla="*/ 955 w 1710"/>
                <a:gd name="T63" fmla="*/ 1227 h 1484"/>
                <a:gd name="T64" fmla="*/ 944 w 1710"/>
                <a:gd name="T65" fmla="*/ 1281 h 1484"/>
                <a:gd name="T66" fmla="*/ 1003 w 1710"/>
                <a:gd name="T67" fmla="*/ 1290 h 1484"/>
                <a:gd name="T68" fmla="*/ 1035 w 1710"/>
                <a:gd name="T69" fmla="*/ 1328 h 1484"/>
                <a:gd name="T70" fmla="*/ 1034 w 1710"/>
                <a:gd name="T71" fmla="*/ 1383 h 1484"/>
                <a:gd name="T72" fmla="*/ 1012 w 1710"/>
                <a:gd name="T73" fmla="*/ 1441 h 1484"/>
                <a:gd name="T74" fmla="*/ 1082 w 1710"/>
                <a:gd name="T75" fmla="*/ 1463 h 1484"/>
                <a:gd name="T76" fmla="*/ 1089 w 1710"/>
                <a:gd name="T77" fmla="*/ 1428 h 1484"/>
                <a:gd name="T78" fmla="*/ 1113 w 1710"/>
                <a:gd name="T79" fmla="*/ 1421 h 1484"/>
                <a:gd name="T80" fmla="*/ 1187 w 1710"/>
                <a:gd name="T81" fmla="*/ 1412 h 1484"/>
                <a:gd name="T82" fmla="*/ 1235 w 1710"/>
                <a:gd name="T83" fmla="*/ 1380 h 1484"/>
                <a:gd name="T84" fmla="*/ 1293 w 1710"/>
                <a:gd name="T85" fmla="*/ 1326 h 1484"/>
                <a:gd name="T86" fmla="*/ 1389 w 1710"/>
                <a:gd name="T87" fmla="*/ 1326 h 1484"/>
                <a:gd name="T88" fmla="*/ 1373 w 1710"/>
                <a:gd name="T89" fmla="*/ 1221 h 1484"/>
                <a:gd name="T90" fmla="*/ 1384 w 1710"/>
                <a:gd name="T91" fmla="*/ 1154 h 1484"/>
                <a:gd name="T92" fmla="*/ 1365 w 1710"/>
                <a:gd name="T93" fmla="*/ 1095 h 1484"/>
                <a:gd name="T94" fmla="*/ 1494 w 1710"/>
                <a:gd name="T95" fmla="*/ 1055 h 1484"/>
                <a:gd name="T96" fmla="*/ 1523 w 1710"/>
                <a:gd name="T97" fmla="*/ 990 h 1484"/>
                <a:gd name="T98" fmla="*/ 1534 w 1710"/>
                <a:gd name="T99" fmla="*/ 949 h 1484"/>
                <a:gd name="T100" fmla="*/ 1516 w 1710"/>
                <a:gd name="T101" fmla="*/ 907 h 1484"/>
                <a:gd name="T102" fmla="*/ 1512 w 1710"/>
                <a:gd name="T103" fmla="*/ 860 h 1484"/>
                <a:gd name="T104" fmla="*/ 1491 w 1710"/>
                <a:gd name="T105" fmla="*/ 777 h 1484"/>
                <a:gd name="T106" fmla="*/ 1446 w 1710"/>
                <a:gd name="T107" fmla="*/ 681 h 1484"/>
                <a:gd name="T108" fmla="*/ 1438 w 1710"/>
                <a:gd name="T109" fmla="*/ 607 h 1484"/>
                <a:gd name="T110" fmla="*/ 1566 w 1710"/>
                <a:gd name="T111" fmla="*/ 575 h 1484"/>
                <a:gd name="T112" fmla="*/ 1682 w 1710"/>
                <a:gd name="T113" fmla="*/ 552 h 1484"/>
                <a:gd name="T114" fmla="*/ 786 w 1710"/>
                <a:gd name="T115" fmla="*/ 504 h 1484"/>
                <a:gd name="T116" fmla="*/ 693 w 1710"/>
                <a:gd name="T117" fmla="*/ 453 h 1484"/>
                <a:gd name="T118" fmla="*/ 711 w 1710"/>
                <a:gd name="T119" fmla="*/ 409 h 1484"/>
                <a:gd name="T120" fmla="*/ 785 w 1710"/>
                <a:gd name="T121" fmla="*/ 434 h 1484"/>
                <a:gd name="T122" fmla="*/ 81 w 1710"/>
                <a:gd name="T123" fmla="*/ 157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10" h="1484">
                  <a:moveTo>
                    <a:pt x="265" y="100"/>
                  </a:moveTo>
                  <a:lnTo>
                    <a:pt x="268" y="99"/>
                  </a:lnTo>
                  <a:lnTo>
                    <a:pt x="269" y="99"/>
                  </a:lnTo>
                  <a:lnTo>
                    <a:pt x="271" y="96"/>
                  </a:lnTo>
                  <a:lnTo>
                    <a:pt x="265" y="93"/>
                  </a:lnTo>
                  <a:lnTo>
                    <a:pt x="259" y="92"/>
                  </a:lnTo>
                  <a:lnTo>
                    <a:pt x="252" y="92"/>
                  </a:lnTo>
                  <a:lnTo>
                    <a:pt x="246" y="96"/>
                  </a:lnTo>
                  <a:lnTo>
                    <a:pt x="252" y="96"/>
                  </a:lnTo>
                  <a:lnTo>
                    <a:pt x="265" y="100"/>
                  </a:lnTo>
                  <a:close/>
                  <a:moveTo>
                    <a:pt x="287" y="96"/>
                  </a:moveTo>
                  <a:lnTo>
                    <a:pt x="297" y="96"/>
                  </a:lnTo>
                  <a:lnTo>
                    <a:pt x="297" y="86"/>
                  </a:lnTo>
                  <a:lnTo>
                    <a:pt x="309" y="83"/>
                  </a:lnTo>
                  <a:lnTo>
                    <a:pt x="335" y="84"/>
                  </a:lnTo>
                  <a:lnTo>
                    <a:pt x="335" y="83"/>
                  </a:lnTo>
                  <a:lnTo>
                    <a:pt x="336" y="83"/>
                  </a:lnTo>
                  <a:lnTo>
                    <a:pt x="336" y="83"/>
                  </a:lnTo>
                  <a:lnTo>
                    <a:pt x="336" y="80"/>
                  </a:lnTo>
                  <a:lnTo>
                    <a:pt x="329" y="76"/>
                  </a:lnTo>
                  <a:lnTo>
                    <a:pt x="298" y="76"/>
                  </a:lnTo>
                  <a:lnTo>
                    <a:pt x="288" y="77"/>
                  </a:lnTo>
                  <a:lnTo>
                    <a:pt x="284" y="80"/>
                  </a:lnTo>
                  <a:lnTo>
                    <a:pt x="282" y="86"/>
                  </a:lnTo>
                  <a:lnTo>
                    <a:pt x="282" y="95"/>
                  </a:lnTo>
                  <a:lnTo>
                    <a:pt x="287" y="96"/>
                  </a:lnTo>
                  <a:close/>
                  <a:moveTo>
                    <a:pt x="422" y="61"/>
                  </a:moveTo>
                  <a:lnTo>
                    <a:pt x="429" y="61"/>
                  </a:lnTo>
                  <a:lnTo>
                    <a:pt x="444" y="64"/>
                  </a:lnTo>
                  <a:lnTo>
                    <a:pt x="447" y="64"/>
                  </a:lnTo>
                  <a:lnTo>
                    <a:pt x="451" y="64"/>
                  </a:lnTo>
                  <a:lnTo>
                    <a:pt x="441" y="58"/>
                  </a:lnTo>
                  <a:lnTo>
                    <a:pt x="437" y="57"/>
                  </a:lnTo>
                  <a:lnTo>
                    <a:pt x="431" y="57"/>
                  </a:lnTo>
                  <a:lnTo>
                    <a:pt x="424" y="57"/>
                  </a:lnTo>
                  <a:lnTo>
                    <a:pt x="418" y="60"/>
                  </a:lnTo>
                  <a:lnTo>
                    <a:pt x="415" y="62"/>
                  </a:lnTo>
                  <a:lnTo>
                    <a:pt x="422" y="68"/>
                  </a:lnTo>
                  <a:lnTo>
                    <a:pt x="422" y="61"/>
                  </a:lnTo>
                  <a:close/>
                  <a:moveTo>
                    <a:pt x="354" y="79"/>
                  </a:moveTo>
                  <a:lnTo>
                    <a:pt x="357" y="77"/>
                  </a:lnTo>
                  <a:lnTo>
                    <a:pt x="360" y="71"/>
                  </a:lnTo>
                  <a:lnTo>
                    <a:pt x="368" y="77"/>
                  </a:lnTo>
                  <a:lnTo>
                    <a:pt x="378" y="77"/>
                  </a:lnTo>
                  <a:lnTo>
                    <a:pt x="389" y="73"/>
                  </a:lnTo>
                  <a:lnTo>
                    <a:pt x="396" y="68"/>
                  </a:lnTo>
                  <a:lnTo>
                    <a:pt x="402" y="68"/>
                  </a:lnTo>
                  <a:lnTo>
                    <a:pt x="402" y="64"/>
                  </a:lnTo>
                  <a:lnTo>
                    <a:pt x="371" y="62"/>
                  </a:lnTo>
                  <a:lnTo>
                    <a:pt x="357" y="65"/>
                  </a:lnTo>
                  <a:lnTo>
                    <a:pt x="348" y="76"/>
                  </a:lnTo>
                  <a:lnTo>
                    <a:pt x="351" y="79"/>
                  </a:lnTo>
                  <a:lnTo>
                    <a:pt x="354" y="79"/>
                  </a:lnTo>
                  <a:close/>
                  <a:moveTo>
                    <a:pt x="514" y="102"/>
                  </a:moveTo>
                  <a:lnTo>
                    <a:pt x="515" y="103"/>
                  </a:lnTo>
                  <a:lnTo>
                    <a:pt x="518" y="105"/>
                  </a:lnTo>
                  <a:lnTo>
                    <a:pt x="520" y="103"/>
                  </a:lnTo>
                  <a:lnTo>
                    <a:pt x="526" y="97"/>
                  </a:lnTo>
                  <a:lnTo>
                    <a:pt x="529" y="96"/>
                  </a:lnTo>
                  <a:lnTo>
                    <a:pt x="534" y="96"/>
                  </a:lnTo>
                  <a:lnTo>
                    <a:pt x="527" y="90"/>
                  </a:lnTo>
                  <a:lnTo>
                    <a:pt x="520" y="90"/>
                  </a:lnTo>
                  <a:lnTo>
                    <a:pt x="512" y="93"/>
                  </a:lnTo>
                  <a:lnTo>
                    <a:pt x="508" y="100"/>
                  </a:lnTo>
                  <a:lnTo>
                    <a:pt x="508" y="105"/>
                  </a:lnTo>
                  <a:lnTo>
                    <a:pt x="511" y="102"/>
                  </a:lnTo>
                  <a:lnTo>
                    <a:pt x="514" y="102"/>
                  </a:lnTo>
                  <a:close/>
                  <a:moveTo>
                    <a:pt x="13" y="188"/>
                  </a:moveTo>
                  <a:lnTo>
                    <a:pt x="14" y="188"/>
                  </a:lnTo>
                  <a:lnTo>
                    <a:pt x="20" y="185"/>
                  </a:lnTo>
                  <a:lnTo>
                    <a:pt x="23" y="185"/>
                  </a:lnTo>
                  <a:lnTo>
                    <a:pt x="26" y="185"/>
                  </a:lnTo>
                  <a:lnTo>
                    <a:pt x="30" y="191"/>
                  </a:lnTo>
                  <a:lnTo>
                    <a:pt x="35" y="192"/>
                  </a:lnTo>
                  <a:lnTo>
                    <a:pt x="32" y="188"/>
                  </a:lnTo>
                  <a:lnTo>
                    <a:pt x="29" y="183"/>
                  </a:lnTo>
                  <a:lnTo>
                    <a:pt x="26" y="182"/>
                  </a:lnTo>
                  <a:lnTo>
                    <a:pt x="22" y="180"/>
                  </a:lnTo>
                  <a:lnTo>
                    <a:pt x="22" y="176"/>
                  </a:lnTo>
                  <a:lnTo>
                    <a:pt x="29" y="175"/>
                  </a:lnTo>
                  <a:lnTo>
                    <a:pt x="40" y="170"/>
                  </a:lnTo>
                  <a:lnTo>
                    <a:pt x="48" y="169"/>
                  </a:lnTo>
                  <a:lnTo>
                    <a:pt x="43" y="159"/>
                  </a:lnTo>
                  <a:lnTo>
                    <a:pt x="30" y="160"/>
                  </a:lnTo>
                  <a:lnTo>
                    <a:pt x="4" y="169"/>
                  </a:lnTo>
                  <a:lnTo>
                    <a:pt x="0" y="172"/>
                  </a:lnTo>
                  <a:lnTo>
                    <a:pt x="1" y="179"/>
                  </a:lnTo>
                  <a:lnTo>
                    <a:pt x="7" y="185"/>
                  </a:lnTo>
                  <a:lnTo>
                    <a:pt x="13" y="188"/>
                  </a:lnTo>
                  <a:close/>
                  <a:moveTo>
                    <a:pt x="221" y="106"/>
                  </a:moveTo>
                  <a:lnTo>
                    <a:pt x="237" y="99"/>
                  </a:lnTo>
                  <a:lnTo>
                    <a:pt x="239" y="99"/>
                  </a:lnTo>
                  <a:lnTo>
                    <a:pt x="239" y="99"/>
                  </a:lnTo>
                  <a:lnTo>
                    <a:pt x="239" y="96"/>
                  </a:lnTo>
                  <a:lnTo>
                    <a:pt x="199" y="96"/>
                  </a:lnTo>
                  <a:lnTo>
                    <a:pt x="180" y="99"/>
                  </a:lnTo>
                  <a:lnTo>
                    <a:pt x="164" y="108"/>
                  </a:lnTo>
                  <a:lnTo>
                    <a:pt x="179" y="112"/>
                  </a:lnTo>
                  <a:lnTo>
                    <a:pt x="221" y="106"/>
                  </a:lnTo>
                  <a:close/>
                  <a:moveTo>
                    <a:pt x="1694" y="488"/>
                  </a:moveTo>
                  <a:lnTo>
                    <a:pt x="1685" y="486"/>
                  </a:lnTo>
                  <a:lnTo>
                    <a:pt x="1679" y="483"/>
                  </a:lnTo>
                  <a:lnTo>
                    <a:pt x="1669" y="473"/>
                  </a:lnTo>
                  <a:lnTo>
                    <a:pt x="1660" y="470"/>
                  </a:lnTo>
                  <a:lnTo>
                    <a:pt x="1653" y="472"/>
                  </a:lnTo>
                  <a:lnTo>
                    <a:pt x="1642" y="480"/>
                  </a:lnTo>
                  <a:lnTo>
                    <a:pt x="1636" y="482"/>
                  </a:lnTo>
                  <a:lnTo>
                    <a:pt x="1628" y="480"/>
                  </a:lnTo>
                  <a:lnTo>
                    <a:pt x="1627" y="480"/>
                  </a:lnTo>
                  <a:lnTo>
                    <a:pt x="1623" y="477"/>
                  </a:lnTo>
                  <a:lnTo>
                    <a:pt x="1609" y="463"/>
                  </a:lnTo>
                  <a:lnTo>
                    <a:pt x="1599" y="444"/>
                  </a:lnTo>
                  <a:lnTo>
                    <a:pt x="1598" y="441"/>
                  </a:lnTo>
                  <a:lnTo>
                    <a:pt x="1592" y="437"/>
                  </a:lnTo>
                  <a:lnTo>
                    <a:pt x="1589" y="434"/>
                  </a:lnTo>
                  <a:lnTo>
                    <a:pt x="1586" y="431"/>
                  </a:lnTo>
                  <a:lnTo>
                    <a:pt x="1583" y="432"/>
                  </a:lnTo>
                  <a:lnTo>
                    <a:pt x="1579" y="438"/>
                  </a:lnTo>
                  <a:lnTo>
                    <a:pt x="1576" y="438"/>
                  </a:lnTo>
                  <a:lnTo>
                    <a:pt x="1573" y="431"/>
                  </a:lnTo>
                  <a:lnTo>
                    <a:pt x="1570" y="428"/>
                  </a:lnTo>
                  <a:lnTo>
                    <a:pt x="1567" y="424"/>
                  </a:lnTo>
                  <a:lnTo>
                    <a:pt x="1566" y="421"/>
                  </a:lnTo>
                  <a:lnTo>
                    <a:pt x="1563" y="419"/>
                  </a:lnTo>
                  <a:lnTo>
                    <a:pt x="1558" y="419"/>
                  </a:lnTo>
                  <a:lnTo>
                    <a:pt x="1556" y="422"/>
                  </a:lnTo>
                  <a:lnTo>
                    <a:pt x="1553" y="425"/>
                  </a:lnTo>
                  <a:lnTo>
                    <a:pt x="1547" y="429"/>
                  </a:lnTo>
                  <a:lnTo>
                    <a:pt x="1544" y="434"/>
                  </a:lnTo>
                  <a:lnTo>
                    <a:pt x="1540" y="435"/>
                  </a:lnTo>
                  <a:lnTo>
                    <a:pt x="1535" y="432"/>
                  </a:lnTo>
                  <a:lnTo>
                    <a:pt x="1532" y="429"/>
                  </a:lnTo>
                  <a:lnTo>
                    <a:pt x="1522" y="424"/>
                  </a:lnTo>
                  <a:lnTo>
                    <a:pt x="1484" y="387"/>
                  </a:lnTo>
                  <a:lnTo>
                    <a:pt x="1452" y="368"/>
                  </a:lnTo>
                  <a:lnTo>
                    <a:pt x="1442" y="360"/>
                  </a:lnTo>
                  <a:lnTo>
                    <a:pt x="1435" y="349"/>
                  </a:lnTo>
                  <a:lnTo>
                    <a:pt x="1430" y="345"/>
                  </a:lnTo>
                  <a:lnTo>
                    <a:pt x="1424" y="343"/>
                  </a:lnTo>
                  <a:lnTo>
                    <a:pt x="1419" y="341"/>
                  </a:lnTo>
                  <a:lnTo>
                    <a:pt x="1416" y="333"/>
                  </a:lnTo>
                  <a:lnTo>
                    <a:pt x="1416" y="323"/>
                  </a:lnTo>
                  <a:lnTo>
                    <a:pt x="1416" y="316"/>
                  </a:lnTo>
                  <a:lnTo>
                    <a:pt x="1408" y="306"/>
                  </a:lnTo>
                  <a:lnTo>
                    <a:pt x="1395" y="303"/>
                  </a:lnTo>
                  <a:lnTo>
                    <a:pt x="1371" y="304"/>
                  </a:lnTo>
                  <a:lnTo>
                    <a:pt x="1359" y="309"/>
                  </a:lnTo>
                  <a:lnTo>
                    <a:pt x="1344" y="304"/>
                  </a:lnTo>
                  <a:lnTo>
                    <a:pt x="1295" y="274"/>
                  </a:lnTo>
                  <a:lnTo>
                    <a:pt x="1283" y="269"/>
                  </a:lnTo>
                  <a:lnTo>
                    <a:pt x="1274" y="269"/>
                  </a:lnTo>
                  <a:lnTo>
                    <a:pt x="1260" y="269"/>
                  </a:lnTo>
                  <a:lnTo>
                    <a:pt x="1257" y="269"/>
                  </a:lnTo>
                  <a:lnTo>
                    <a:pt x="1254" y="272"/>
                  </a:lnTo>
                  <a:lnTo>
                    <a:pt x="1245" y="282"/>
                  </a:lnTo>
                  <a:lnTo>
                    <a:pt x="1245" y="284"/>
                  </a:lnTo>
                  <a:lnTo>
                    <a:pt x="1226" y="285"/>
                  </a:lnTo>
                  <a:lnTo>
                    <a:pt x="1220" y="284"/>
                  </a:lnTo>
                  <a:lnTo>
                    <a:pt x="1215" y="279"/>
                  </a:lnTo>
                  <a:lnTo>
                    <a:pt x="1210" y="275"/>
                  </a:lnTo>
                  <a:lnTo>
                    <a:pt x="1207" y="269"/>
                  </a:lnTo>
                  <a:lnTo>
                    <a:pt x="1200" y="268"/>
                  </a:lnTo>
                  <a:lnTo>
                    <a:pt x="1196" y="265"/>
                  </a:lnTo>
                  <a:lnTo>
                    <a:pt x="1190" y="258"/>
                  </a:lnTo>
                  <a:lnTo>
                    <a:pt x="1187" y="258"/>
                  </a:lnTo>
                  <a:lnTo>
                    <a:pt x="1174" y="262"/>
                  </a:lnTo>
                  <a:lnTo>
                    <a:pt x="1172" y="263"/>
                  </a:lnTo>
                  <a:lnTo>
                    <a:pt x="1171" y="265"/>
                  </a:lnTo>
                  <a:lnTo>
                    <a:pt x="1171" y="266"/>
                  </a:lnTo>
                  <a:lnTo>
                    <a:pt x="1171" y="268"/>
                  </a:lnTo>
                  <a:lnTo>
                    <a:pt x="1172" y="268"/>
                  </a:lnTo>
                  <a:lnTo>
                    <a:pt x="1172" y="269"/>
                  </a:lnTo>
                  <a:lnTo>
                    <a:pt x="1171" y="271"/>
                  </a:lnTo>
                  <a:lnTo>
                    <a:pt x="1171" y="272"/>
                  </a:lnTo>
                  <a:lnTo>
                    <a:pt x="1165" y="275"/>
                  </a:lnTo>
                  <a:lnTo>
                    <a:pt x="1156" y="279"/>
                  </a:lnTo>
                  <a:lnTo>
                    <a:pt x="1152" y="279"/>
                  </a:lnTo>
                  <a:lnTo>
                    <a:pt x="1151" y="279"/>
                  </a:lnTo>
                  <a:lnTo>
                    <a:pt x="1143" y="275"/>
                  </a:lnTo>
                  <a:lnTo>
                    <a:pt x="1142" y="274"/>
                  </a:lnTo>
                  <a:lnTo>
                    <a:pt x="1140" y="275"/>
                  </a:lnTo>
                  <a:lnTo>
                    <a:pt x="1133" y="278"/>
                  </a:lnTo>
                  <a:lnTo>
                    <a:pt x="1130" y="278"/>
                  </a:lnTo>
                  <a:lnTo>
                    <a:pt x="1130" y="277"/>
                  </a:lnTo>
                  <a:lnTo>
                    <a:pt x="1129" y="275"/>
                  </a:lnTo>
                  <a:lnTo>
                    <a:pt x="1129" y="269"/>
                  </a:lnTo>
                  <a:lnTo>
                    <a:pt x="1129" y="263"/>
                  </a:lnTo>
                  <a:lnTo>
                    <a:pt x="1126" y="260"/>
                  </a:lnTo>
                  <a:lnTo>
                    <a:pt x="1124" y="259"/>
                  </a:lnTo>
                  <a:lnTo>
                    <a:pt x="1123" y="259"/>
                  </a:lnTo>
                  <a:lnTo>
                    <a:pt x="1120" y="260"/>
                  </a:lnTo>
                  <a:lnTo>
                    <a:pt x="1119" y="262"/>
                  </a:lnTo>
                  <a:lnTo>
                    <a:pt x="1114" y="268"/>
                  </a:lnTo>
                  <a:lnTo>
                    <a:pt x="1113" y="269"/>
                  </a:lnTo>
                  <a:lnTo>
                    <a:pt x="1111" y="268"/>
                  </a:lnTo>
                  <a:lnTo>
                    <a:pt x="1100" y="258"/>
                  </a:lnTo>
                  <a:lnTo>
                    <a:pt x="1097" y="255"/>
                  </a:lnTo>
                  <a:lnTo>
                    <a:pt x="1095" y="252"/>
                  </a:lnTo>
                  <a:lnTo>
                    <a:pt x="1094" y="247"/>
                  </a:lnTo>
                  <a:lnTo>
                    <a:pt x="1092" y="244"/>
                  </a:lnTo>
                  <a:lnTo>
                    <a:pt x="1091" y="239"/>
                  </a:lnTo>
                  <a:lnTo>
                    <a:pt x="1089" y="237"/>
                  </a:lnTo>
                  <a:lnTo>
                    <a:pt x="1088" y="236"/>
                  </a:lnTo>
                  <a:lnTo>
                    <a:pt x="1086" y="234"/>
                  </a:lnTo>
                  <a:lnTo>
                    <a:pt x="1085" y="233"/>
                  </a:lnTo>
                  <a:lnTo>
                    <a:pt x="1085" y="231"/>
                  </a:lnTo>
                  <a:lnTo>
                    <a:pt x="1085" y="230"/>
                  </a:lnTo>
                  <a:lnTo>
                    <a:pt x="1084" y="228"/>
                  </a:lnTo>
                  <a:lnTo>
                    <a:pt x="1081" y="224"/>
                  </a:lnTo>
                  <a:lnTo>
                    <a:pt x="1079" y="204"/>
                  </a:lnTo>
                  <a:lnTo>
                    <a:pt x="1079" y="201"/>
                  </a:lnTo>
                  <a:lnTo>
                    <a:pt x="1056" y="196"/>
                  </a:lnTo>
                  <a:lnTo>
                    <a:pt x="1035" y="182"/>
                  </a:lnTo>
                  <a:lnTo>
                    <a:pt x="1031" y="180"/>
                  </a:lnTo>
                  <a:lnTo>
                    <a:pt x="1022" y="179"/>
                  </a:lnTo>
                  <a:lnTo>
                    <a:pt x="1017" y="176"/>
                  </a:lnTo>
                  <a:lnTo>
                    <a:pt x="1011" y="172"/>
                  </a:lnTo>
                  <a:lnTo>
                    <a:pt x="987" y="137"/>
                  </a:lnTo>
                  <a:lnTo>
                    <a:pt x="982" y="118"/>
                  </a:lnTo>
                  <a:lnTo>
                    <a:pt x="977" y="112"/>
                  </a:lnTo>
                  <a:lnTo>
                    <a:pt x="967" y="105"/>
                  </a:lnTo>
                  <a:lnTo>
                    <a:pt x="954" y="87"/>
                  </a:lnTo>
                  <a:lnTo>
                    <a:pt x="920" y="28"/>
                  </a:lnTo>
                  <a:lnTo>
                    <a:pt x="912" y="17"/>
                  </a:lnTo>
                  <a:lnTo>
                    <a:pt x="909" y="16"/>
                  </a:lnTo>
                  <a:lnTo>
                    <a:pt x="897" y="16"/>
                  </a:lnTo>
                  <a:lnTo>
                    <a:pt x="891" y="16"/>
                  </a:lnTo>
                  <a:lnTo>
                    <a:pt x="887" y="12"/>
                  </a:lnTo>
                  <a:lnTo>
                    <a:pt x="881" y="16"/>
                  </a:lnTo>
                  <a:lnTo>
                    <a:pt x="853" y="16"/>
                  </a:lnTo>
                  <a:lnTo>
                    <a:pt x="826" y="23"/>
                  </a:lnTo>
                  <a:lnTo>
                    <a:pt x="820" y="30"/>
                  </a:lnTo>
                  <a:lnTo>
                    <a:pt x="805" y="29"/>
                  </a:lnTo>
                  <a:lnTo>
                    <a:pt x="781" y="35"/>
                  </a:lnTo>
                  <a:lnTo>
                    <a:pt x="765" y="36"/>
                  </a:lnTo>
                  <a:lnTo>
                    <a:pt x="738" y="29"/>
                  </a:lnTo>
                  <a:lnTo>
                    <a:pt x="725" y="22"/>
                  </a:lnTo>
                  <a:lnTo>
                    <a:pt x="712" y="12"/>
                  </a:lnTo>
                  <a:lnTo>
                    <a:pt x="703" y="1"/>
                  </a:lnTo>
                  <a:lnTo>
                    <a:pt x="700" y="0"/>
                  </a:lnTo>
                  <a:lnTo>
                    <a:pt x="693" y="0"/>
                  </a:lnTo>
                  <a:lnTo>
                    <a:pt x="684" y="1"/>
                  </a:lnTo>
                  <a:lnTo>
                    <a:pt x="677" y="6"/>
                  </a:lnTo>
                  <a:lnTo>
                    <a:pt x="670" y="13"/>
                  </a:lnTo>
                  <a:lnTo>
                    <a:pt x="665" y="20"/>
                  </a:lnTo>
                  <a:lnTo>
                    <a:pt x="660" y="36"/>
                  </a:lnTo>
                  <a:lnTo>
                    <a:pt x="651" y="71"/>
                  </a:lnTo>
                  <a:lnTo>
                    <a:pt x="638" y="103"/>
                  </a:lnTo>
                  <a:lnTo>
                    <a:pt x="635" y="112"/>
                  </a:lnTo>
                  <a:lnTo>
                    <a:pt x="635" y="122"/>
                  </a:lnTo>
                  <a:lnTo>
                    <a:pt x="635" y="132"/>
                  </a:lnTo>
                  <a:lnTo>
                    <a:pt x="641" y="145"/>
                  </a:lnTo>
                  <a:lnTo>
                    <a:pt x="642" y="156"/>
                  </a:lnTo>
                  <a:lnTo>
                    <a:pt x="645" y="161"/>
                  </a:lnTo>
                  <a:lnTo>
                    <a:pt x="647" y="164"/>
                  </a:lnTo>
                  <a:lnTo>
                    <a:pt x="649" y="173"/>
                  </a:lnTo>
                  <a:lnTo>
                    <a:pt x="652" y="176"/>
                  </a:lnTo>
                  <a:lnTo>
                    <a:pt x="661" y="199"/>
                  </a:lnTo>
                  <a:lnTo>
                    <a:pt x="663" y="202"/>
                  </a:lnTo>
                  <a:lnTo>
                    <a:pt x="660" y="218"/>
                  </a:lnTo>
                  <a:lnTo>
                    <a:pt x="660" y="218"/>
                  </a:lnTo>
                  <a:lnTo>
                    <a:pt x="652" y="226"/>
                  </a:lnTo>
                  <a:lnTo>
                    <a:pt x="644" y="231"/>
                  </a:lnTo>
                  <a:lnTo>
                    <a:pt x="639" y="244"/>
                  </a:lnTo>
                  <a:lnTo>
                    <a:pt x="639" y="260"/>
                  </a:lnTo>
                  <a:lnTo>
                    <a:pt x="642" y="297"/>
                  </a:lnTo>
                  <a:lnTo>
                    <a:pt x="641" y="311"/>
                  </a:lnTo>
                  <a:lnTo>
                    <a:pt x="636" y="301"/>
                  </a:lnTo>
                  <a:lnTo>
                    <a:pt x="635" y="287"/>
                  </a:lnTo>
                  <a:lnTo>
                    <a:pt x="635" y="255"/>
                  </a:lnTo>
                  <a:lnTo>
                    <a:pt x="636" y="237"/>
                  </a:lnTo>
                  <a:lnTo>
                    <a:pt x="642" y="224"/>
                  </a:lnTo>
                  <a:lnTo>
                    <a:pt x="649" y="215"/>
                  </a:lnTo>
                  <a:lnTo>
                    <a:pt x="658" y="208"/>
                  </a:lnTo>
                  <a:lnTo>
                    <a:pt x="658" y="204"/>
                  </a:lnTo>
                  <a:lnTo>
                    <a:pt x="645" y="198"/>
                  </a:lnTo>
                  <a:lnTo>
                    <a:pt x="614" y="192"/>
                  </a:lnTo>
                  <a:lnTo>
                    <a:pt x="601" y="185"/>
                  </a:lnTo>
                  <a:lnTo>
                    <a:pt x="597" y="179"/>
                  </a:lnTo>
                  <a:lnTo>
                    <a:pt x="593" y="170"/>
                  </a:lnTo>
                  <a:lnTo>
                    <a:pt x="587" y="163"/>
                  </a:lnTo>
                  <a:lnTo>
                    <a:pt x="581" y="160"/>
                  </a:lnTo>
                  <a:lnTo>
                    <a:pt x="566" y="161"/>
                  </a:lnTo>
                  <a:lnTo>
                    <a:pt x="561" y="163"/>
                  </a:lnTo>
                  <a:lnTo>
                    <a:pt x="556" y="169"/>
                  </a:lnTo>
                  <a:lnTo>
                    <a:pt x="553" y="176"/>
                  </a:lnTo>
                  <a:lnTo>
                    <a:pt x="550" y="196"/>
                  </a:lnTo>
                  <a:lnTo>
                    <a:pt x="547" y="207"/>
                  </a:lnTo>
                  <a:lnTo>
                    <a:pt x="546" y="214"/>
                  </a:lnTo>
                  <a:lnTo>
                    <a:pt x="553" y="215"/>
                  </a:lnTo>
                  <a:lnTo>
                    <a:pt x="568" y="212"/>
                  </a:lnTo>
                  <a:lnTo>
                    <a:pt x="578" y="224"/>
                  </a:lnTo>
                  <a:lnTo>
                    <a:pt x="575" y="244"/>
                  </a:lnTo>
                  <a:lnTo>
                    <a:pt x="568" y="263"/>
                  </a:lnTo>
                  <a:lnTo>
                    <a:pt x="561" y="277"/>
                  </a:lnTo>
                  <a:lnTo>
                    <a:pt x="556" y="281"/>
                  </a:lnTo>
                  <a:lnTo>
                    <a:pt x="552" y="282"/>
                  </a:lnTo>
                  <a:lnTo>
                    <a:pt x="549" y="284"/>
                  </a:lnTo>
                  <a:lnTo>
                    <a:pt x="543" y="284"/>
                  </a:lnTo>
                  <a:lnTo>
                    <a:pt x="537" y="281"/>
                  </a:lnTo>
                  <a:lnTo>
                    <a:pt x="534" y="277"/>
                  </a:lnTo>
                  <a:lnTo>
                    <a:pt x="531" y="271"/>
                  </a:lnTo>
                  <a:lnTo>
                    <a:pt x="529" y="268"/>
                  </a:lnTo>
                  <a:lnTo>
                    <a:pt x="526" y="266"/>
                  </a:lnTo>
                  <a:lnTo>
                    <a:pt x="520" y="259"/>
                  </a:lnTo>
                  <a:lnTo>
                    <a:pt x="515" y="256"/>
                  </a:lnTo>
                  <a:lnTo>
                    <a:pt x="510" y="256"/>
                  </a:lnTo>
                  <a:lnTo>
                    <a:pt x="505" y="258"/>
                  </a:lnTo>
                  <a:lnTo>
                    <a:pt x="501" y="260"/>
                  </a:lnTo>
                  <a:lnTo>
                    <a:pt x="496" y="255"/>
                  </a:lnTo>
                  <a:lnTo>
                    <a:pt x="494" y="247"/>
                  </a:lnTo>
                  <a:lnTo>
                    <a:pt x="486" y="228"/>
                  </a:lnTo>
                  <a:lnTo>
                    <a:pt x="492" y="224"/>
                  </a:lnTo>
                  <a:lnTo>
                    <a:pt x="507" y="223"/>
                  </a:lnTo>
                  <a:lnTo>
                    <a:pt x="512" y="220"/>
                  </a:lnTo>
                  <a:lnTo>
                    <a:pt x="520" y="214"/>
                  </a:lnTo>
                  <a:lnTo>
                    <a:pt x="524" y="208"/>
                  </a:lnTo>
                  <a:lnTo>
                    <a:pt x="524" y="198"/>
                  </a:lnTo>
                  <a:lnTo>
                    <a:pt x="521" y="192"/>
                  </a:lnTo>
                  <a:lnTo>
                    <a:pt x="512" y="191"/>
                  </a:lnTo>
                  <a:lnTo>
                    <a:pt x="508" y="188"/>
                  </a:lnTo>
                  <a:lnTo>
                    <a:pt x="511" y="180"/>
                  </a:lnTo>
                  <a:lnTo>
                    <a:pt x="511" y="176"/>
                  </a:lnTo>
                  <a:lnTo>
                    <a:pt x="499" y="169"/>
                  </a:lnTo>
                  <a:lnTo>
                    <a:pt x="485" y="150"/>
                  </a:lnTo>
                  <a:lnTo>
                    <a:pt x="475" y="128"/>
                  </a:lnTo>
                  <a:lnTo>
                    <a:pt x="478" y="112"/>
                  </a:lnTo>
                  <a:lnTo>
                    <a:pt x="478" y="108"/>
                  </a:lnTo>
                  <a:lnTo>
                    <a:pt x="450" y="100"/>
                  </a:lnTo>
                  <a:lnTo>
                    <a:pt x="345" y="115"/>
                  </a:lnTo>
                  <a:lnTo>
                    <a:pt x="294" y="125"/>
                  </a:lnTo>
                  <a:lnTo>
                    <a:pt x="285" y="124"/>
                  </a:lnTo>
                  <a:lnTo>
                    <a:pt x="282" y="118"/>
                  </a:lnTo>
                  <a:lnTo>
                    <a:pt x="278" y="115"/>
                  </a:lnTo>
                  <a:lnTo>
                    <a:pt x="224" y="121"/>
                  </a:lnTo>
                  <a:lnTo>
                    <a:pt x="198" y="132"/>
                  </a:lnTo>
                  <a:lnTo>
                    <a:pt x="185" y="145"/>
                  </a:lnTo>
                  <a:lnTo>
                    <a:pt x="177" y="150"/>
                  </a:lnTo>
                  <a:lnTo>
                    <a:pt x="164" y="164"/>
                  </a:lnTo>
                  <a:lnTo>
                    <a:pt x="154" y="172"/>
                  </a:lnTo>
                  <a:lnTo>
                    <a:pt x="148" y="179"/>
                  </a:lnTo>
                  <a:lnTo>
                    <a:pt x="150" y="186"/>
                  </a:lnTo>
                  <a:lnTo>
                    <a:pt x="154" y="191"/>
                  </a:lnTo>
                  <a:lnTo>
                    <a:pt x="164" y="196"/>
                  </a:lnTo>
                  <a:lnTo>
                    <a:pt x="167" y="201"/>
                  </a:lnTo>
                  <a:lnTo>
                    <a:pt x="167" y="208"/>
                  </a:lnTo>
                  <a:lnTo>
                    <a:pt x="166" y="214"/>
                  </a:lnTo>
                  <a:lnTo>
                    <a:pt x="161" y="215"/>
                  </a:lnTo>
                  <a:lnTo>
                    <a:pt x="160" y="220"/>
                  </a:lnTo>
                  <a:lnTo>
                    <a:pt x="147" y="217"/>
                  </a:lnTo>
                  <a:lnTo>
                    <a:pt x="140" y="217"/>
                  </a:lnTo>
                  <a:lnTo>
                    <a:pt x="137" y="223"/>
                  </a:lnTo>
                  <a:lnTo>
                    <a:pt x="135" y="231"/>
                  </a:lnTo>
                  <a:lnTo>
                    <a:pt x="128" y="249"/>
                  </a:lnTo>
                  <a:lnTo>
                    <a:pt x="126" y="258"/>
                  </a:lnTo>
                  <a:lnTo>
                    <a:pt x="126" y="301"/>
                  </a:lnTo>
                  <a:lnTo>
                    <a:pt x="132" y="317"/>
                  </a:lnTo>
                  <a:lnTo>
                    <a:pt x="145" y="323"/>
                  </a:lnTo>
                  <a:lnTo>
                    <a:pt x="224" y="326"/>
                  </a:lnTo>
                  <a:lnTo>
                    <a:pt x="237" y="332"/>
                  </a:lnTo>
                  <a:lnTo>
                    <a:pt x="246" y="343"/>
                  </a:lnTo>
                  <a:lnTo>
                    <a:pt x="240" y="341"/>
                  </a:lnTo>
                  <a:lnTo>
                    <a:pt x="227" y="333"/>
                  </a:lnTo>
                  <a:lnTo>
                    <a:pt x="220" y="332"/>
                  </a:lnTo>
                  <a:lnTo>
                    <a:pt x="212" y="332"/>
                  </a:lnTo>
                  <a:lnTo>
                    <a:pt x="207" y="335"/>
                  </a:lnTo>
                  <a:lnTo>
                    <a:pt x="198" y="348"/>
                  </a:lnTo>
                  <a:lnTo>
                    <a:pt x="201" y="354"/>
                  </a:lnTo>
                  <a:lnTo>
                    <a:pt x="199" y="361"/>
                  </a:lnTo>
                  <a:lnTo>
                    <a:pt x="196" y="367"/>
                  </a:lnTo>
                  <a:lnTo>
                    <a:pt x="193" y="371"/>
                  </a:lnTo>
                  <a:lnTo>
                    <a:pt x="189" y="376"/>
                  </a:lnTo>
                  <a:lnTo>
                    <a:pt x="186" y="377"/>
                  </a:lnTo>
                  <a:lnTo>
                    <a:pt x="188" y="393"/>
                  </a:lnTo>
                  <a:lnTo>
                    <a:pt x="188" y="403"/>
                  </a:lnTo>
                  <a:lnTo>
                    <a:pt x="188" y="403"/>
                  </a:lnTo>
                  <a:lnTo>
                    <a:pt x="186" y="412"/>
                  </a:lnTo>
                  <a:lnTo>
                    <a:pt x="183" y="422"/>
                  </a:lnTo>
                  <a:lnTo>
                    <a:pt x="179" y="435"/>
                  </a:lnTo>
                  <a:lnTo>
                    <a:pt x="179" y="440"/>
                  </a:lnTo>
                  <a:lnTo>
                    <a:pt x="179" y="440"/>
                  </a:lnTo>
                  <a:lnTo>
                    <a:pt x="179" y="447"/>
                  </a:lnTo>
                  <a:lnTo>
                    <a:pt x="180" y="450"/>
                  </a:lnTo>
                  <a:lnTo>
                    <a:pt x="182" y="453"/>
                  </a:lnTo>
                  <a:lnTo>
                    <a:pt x="183" y="459"/>
                  </a:lnTo>
                  <a:lnTo>
                    <a:pt x="186" y="499"/>
                  </a:lnTo>
                  <a:lnTo>
                    <a:pt x="186" y="499"/>
                  </a:lnTo>
                  <a:lnTo>
                    <a:pt x="185" y="520"/>
                  </a:lnTo>
                  <a:lnTo>
                    <a:pt x="182" y="539"/>
                  </a:lnTo>
                  <a:lnTo>
                    <a:pt x="174" y="558"/>
                  </a:lnTo>
                  <a:lnTo>
                    <a:pt x="147" y="603"/>
                  </a:lnTo>
                  <a:lnTo>
                    <a:pt x="144" y="610"/>
                  </a:lnTo>
                  <a:lnTo>
                    <a:pt x="140" y="620"/>
                  </a:lnTo>
                  <a:lnTo>
                    <a:pt x="137" y="639"/>
                  </a:lnTo>
                  <a:lnTo>
                    <a:pt x="134" y="700"/>
                  </a:lnTo>
                  <a:lnTo>
                    <a:pt x="131" y="721"/>
                  </a:lnTo>
                  <a:lnTo>
                    <a:pt x="125" y="734"/>
                  </a:lnTo>
                  <a:lnTo>
                    <a:pt x="112" y="729"/>
                  </a:lnTo>
                  <a:lnTo>
                    <a:pt x="107" y="726"/>
                  </a:lnTo>
                  <a:lnTo>
                    <a:pt x="90" y="729"/>
                  </a:lnTo>
                  <a:lnTo>
                    <a:pt x="71" y="724"/>
                  </a:lnTo>
                  <a:lnTo>
                    <a:pt x="39" y="725"/>
                  </a:lnTo>
                  <a:lnTo>
                    <a:pt x="27" y="728"/>
                  </a:lnTo>
                  <a:lnTo>
                    <a:pt x="20" y="732"/>
                  </a:lnTo>
                  <a:lnTo>
                    <a:pt x="14" y="737"/>
                  </a:lnTo>
                  <a:lnTo>
                    <a:pt x="14" y="737"/>
                  </a:lnTo>
                  <a:lnTo>
                    <a:pt x="17" y="742"/>
                  </a:lnTo>
                  <a:lnTo>
                    <a:pt x="17" y="742"/>
                  </a:lnTo>
                  <a:lnTo>
                    <a:pt x="17" y="748"/>
                  </a:lnTo>
                  <a:lnTo>
                    <a:pt x="16" y="753"/>
                  </a:lnTo>
                  <a:lnTo>
                    <a:pt x="16" y="753"/>
                  </a:lnTo>
                  <a:lnTo>
                    <a:pt x="16" y="757"/>
                  </a:lnTo>
                  <a:lnTo>
                    <a:pt x="19" y="761"/>
                  </a:lnTo>
                  <a:lnTo>
                    <a:pt x="29" y="772"/>
                  </a:lnTo>
                  <a:lnTo>
                    <a:pt x="29" y="772"/>
                  </a:lnTo>
                  <a:lnTo>
                    <a:pt x="10" y="780"/>
                  </a:lnTo>
                  <a:lnTo>
                    <a:pt x="4" y="782"/>
                  </a:lnTo>
                  <a:lnTo>
                    <a:pt x="4" y="782"/>
                  </a:lnTo>
                  <a:lnTo>
                    <a:pt x="8" y="790"/>
                  </a:lnTo>
                  <a:lnTo>
                    <a:pt x="10" y="801"/>
                  </a:lnTo>
                  <a:lnTo>
                    <a:pt x="10" y="811"/>
                  </a:lnTo>
                  <a:lnTo>
                    <a:pt x="13" y="818"/>
                  </a:lnTo>
                  <a:lnTo>
                    <a:pt x="19" y="827"/>
                  </a:lnTo>
                  <a:lnTo>
                    <a:pt x="29" y="831"/>
                  </a:lnTo>
                  <a:lnTo>
                    <a:pt x="56" y="836"/>
                  </a:lnTo>
                  <a:lnTo>
                    <a:pt x="74" y="841"/>
                  </a:lnTo>
                  <a:lnTo>
                    <a:pt x="84" y="843"/>
                  </a:lnTo>
                  <a:lnTo>
                    <a:pt x="93" y="843"/>
                  </a:lnTo>
                  <a:lnTo>
                    <a:pt x="102" y="840"/>
                  </a:lnTo>
                  <a:lnTo>
                    <a:pt x="105" y="837"/>
                  </a:lnTo>
                  <a:lnTo>
                    <a:pt x="107" y="834"/>
                  </a:lnTo>
                  <a:lnTo>
                    <a:pt x="109" y="833"/>
                  </a:lnTo>
                  <a:lnTo>
                    <a:pt x="131" y="868"/>
                  </a:lnTo>
                  <a:lnTo>
                    <a:pt x="135" y="882"/>
                  </a:lnTo>
                  <a:lnTo>
                    <a:pt x="135" y="882"/>
                  </a:lnTo>
                  <a:lnTo>
                    <a:pt x="132" y="903"/>
                  </a:lnTo>
                  <a:lnTo>
                    <a:pt x="125" y="919"/>
                  </a:lnTo>
                  <a:lnTo>
                    <a:pt x="122" y="927"/>
                  </a:lnTo>
                  <a:lnTo>
                    <a:pt x="122" y="938"/>
                  </a:lnTo>
                  <a:lnTo>
                    <a:pt x="125" y="949"/>
                  </a:lnTo>
                  <a:lnTo>
                    <a:pt x="128" y="954"/>
                  </a:lnTo>
                  <a:lnTo>
                    <a:pt x="137" y="954"/>
                  </a:lnTo>
                  <a:lnTo>
                    <a:pt x="151" y="948"/>
                  </a:lnTo>
                  <a:lnTo>
                    <a:pt x="156" y="945"/>
                  </a:lnTo>
                  <a:lnTo>
                    <a:pt x="158" y="942"/>
                  </a:lnTo>
                  <a:lnTo>
                    <a:pt x="161" y="940"/>
                  </a:lnTo>
                  <a:lnTo>
                    <a:pt x="208" y="938"/>
                  </a:lnTo>
                  <a:lnTo>
                    <a:pt x="223" y="935"/>
                  </a:lnTo>
                  <a:lnTo>
                    <a:pt x="240" y="923"/>
                  </a:lnTo>
                  <a:lnTo>
                    <a:pt x="244" y="919"/>
                  </a:lnTo>
                  <a:lnTo>
                    <a:pt x="246" y="917"/>
                  </a:lnTo>
                  <a:lnTo>
                    <a:pt x="247" y="917"/>
                  </a:lnTo>
                  <a:lnTo>
                    <a:pt x="258" y="914"/>
                  </a:lnTo>
                  <a:lnTo>
                    <a:pt x="260" y="913"/>
                  </a:lnTo>
                  <a:lnTo>
                    <a:pt x="263" y="911"/>
                  </a:lnTo>
                  <a:lnTo>
                    <a:pt x="281" y="892"/>
                  </a:lnTo>
                  <a:lnTo>
                    <a:pt x="297" y="879"/>
                  </a:lnTo>
                  <a:lnTo>
                    <a:pt x="298" y="878"/>
                  </a:lnTo>
                  <a:lnTo>
                    <a:pt x="304" y="876"/>
                  </a:lnTo>
                  <a:lnTo>
                    <a:pt x="306" y="876"/>
                  </a:lnTo>
                  <a:lnTo>
                    <a:pt x="313" y="878"/>
                  </a:lnTo>
                  <a:lnTo>
                    <a:pt x="313" y="878"/>
                  </a:lnTo>
                  <a:lnTo>
                    <a:pt x="314" y="878"/>
                  </a:lnTo>
                  <a:lnTo>
                    <a:pt x="316" y="876"/>
                  </a:lnTo>
                  <a:lnTo>
                    <a:pt x="317" y="873"/>
                  </a:lnTo>
                  <a:lnTo>
                    <a:pt x="317" y="872"/>
                  </a:lnTo>
                  <a:lnTo>
                    <a:pt x="319" y="872"/>
                  </a:lnTo>
                  <a:lnTo>
                    <a:pt x="319" y="872"/>
                  </a:lnTo>
                  <a:lnTo>
                    <a:pt x="320" y="868"/>
                  </a:lnTo>
                  <a:lnTo>
                    <a:pt x="323" y="859"/>
                  </a:lnTo>
                  <a:lnTo>
                    <a:pt x="323" y="856"/>
                  </a:lnTo>
                  <a:lnTo>
                    <a:pt x="326" y="855"/>
                  </a:lnTo>
                  <a:lnTo>
                    <a:pt x="327" y="853"/>
                  </a:lnTo>
                  <a:lnTo>
                    <a:pt x="327" y="852"/>
                  </a:lnTo>
                  <a:lnTo>
                    <a:pt x="327" y="850"/>
                  </a:lnTo>
                  <a:lnTo>
                    <a:pt x="325" y="847"/>
                  </a:lnTo>
                  <a:lnTo>
                    <a:pt x="322" y="846"/>
                  </a:lnTo>
                  <a:lnTo>
                    <a:pt x="322" y="843"/>
                  </a:lnTo>
                  <a:lnTo>
                    <a:pt x="320" y="841"/>
                  </a:lnTo>
                  <a:lnTo>
                    <a:pt x="325" y="823"/>
                  </a:lnTo>
                  <a:lnTo>
                    <a:pt x="326" y="821"/>
                  </a:lnTo>
                  <a:lnTo>
                    <a:pt x="327" y="820"/>
                  </a:lnTo>
                  <a:lnTo>
                    <a:pt x="329" y="820"/>
                  </a:lnTo>
                  <a:lnTo>
                    <a:pt x="330" y="820"/>
                  </a:lnTo>
                  <a:lnTo>
                    <a:pt x="355" y="827"/>
                  </a:lnTo>
                  <a:lnTo>
                    <a:pt x="357" y="828"/>
                  </a:lnTo>
                  <a:lnTo>
                    <a:pt x="358" y="830"/>
                  </a:lnTo>
                  <a:lnTo>
                    <a:pt x="360" y="831"/>
                  </a:lnTo>
                  <a:lnTo>
                    <a:pt x="360" y="834"/>
                  </a:lnTo>
                  <a:lnTo>
                    <a:pt x="362" y="855"/>
                  </a:lnTo>
                  <a:lnTo>
                    <a:pt x="364" y="856"/>
                  </a:lnTo>
                  <a:lnTo>
                    <a:pt x="365" y="857"/>
                  </a:lnTo>
                  <a:lnTo>
                    <a:pt x="374" y="860"/>
                  </a:lnTo>
                  <a:lnTo>
                    <a:pt x="397" y="876"/>
                  </a:lnTo>
                  <a:lnTo>
                    <a:pt x="399" y="876"/>
                  </a:lnTo>
                  <a:lnTo>
                    <a:pt x="402" y="882"/>
                  </a:lnTo>
                  <a:lnTo>
                    <a:pt x="405" y="882"/>
                  </a:lnTo>
                  <a:lnTo>
                    <a:pt x="406" y="884"/>
                  </a:lnTo>
                  <a:lnTo>
                    <a:pt x="429" y="873"/>
                  </a:lnTo>
                  <a:lnTo>
                    <a:pt x="431" y="875"/>
                  </a:lnTo>
                  <a:lnTo>
                    <a:pt x="434" y="875"/>
                  </a:lnTo>
                  <a:lnTo>
                    <a:pt x="435" y="878"/>
                  </a:lnTo>
                  <a:lnTo>
                    <a:pt x="438" y="882"/>
                  </a:lnTo>
                  <a:lnTo>
                    <a:pt x="441" y="885"/>
                  </a:lnTo>
                  <a:lnTo>
                    <a:pt x="445" y="892"/>
                  </a:lnTo>
                  <a:lnTo>
                    <a:pt x="453" y="904"/>
                  </a:lnTo>
                  <a:lnTo>
                    <a:pt x="456" y="908"/>
                  </a:lnTo>
                  <a:lnTo>
                    <a:pt x="457" y="910"/>
                  </a:lnTo>
                  <a:lnTo>
                    <a:pt x="457" y="911"/>
                  </a:lnTo>
                  <a:lnTo>
                    <a:pt x="456" y="913"/>
                  </a:lnTo>
                  <a:lnTo>
                    <a:pt x="454" y="914"/>
                  </a:lnTo>
                  <a:lnTo>
                    <a:pt x="444" y="916"/>
                  </a:lnTo>
                  <a:lnTo>
                    <a:pt x="443" y="916"/>
                  </a:lnTo>
                  <a:lnTo>
                    <a:pt x="441" y="917"/>
                  </a:lnTo>
                  <a:lnTo>
                    <a:pt x="441" y="919"/>
                  </a:lnTo>
                  <a:lnTo>
                    <a:pt x="443" y="922"/>
                  </a:lnTo>
                  <a:lnTo>
                    <a:pt x="443" y="924"/>
                  </a:lnTo>
                  <a:lnTo>
                    <a:pt x="444" y="926"/>
                  </a:lnTo>
                  <a:lnTo>
                    <a:pt x="445" y="929"/>
                  </a:lnTo>
                  <a:lnTo>
                    <a:pt x="447" y="932"/>
                  </a:lnTo>
                  <a:lnTo>
                    <a:pt x="447" y="933"/>
                  </a:lnTo>
                  <a:lnTo>
                    <a:pt x="447" y="935"/>
                  </a:lnTo>
                  <a:lnTo>
                    <a:pt x="444" y="938"/>
                  </a:lnTo>
                  <a:lnTo>
                    <a:pt x="438" y="945"/>
                  </a:lnTo>
                  <a:lnTo>
                    <a:pt x="437" y="946"/>
                  </a:lnTo>
                  <a:lnTo>
                    <a:pt x="437" y="948"/>
                  </a:lnTo>
                  <a:lnTo>
                    <a:pt x="437" y="949"/>
                  </a:lnTo>
                  <a:lnTo>
                    <a:pt x="438" y="951"/>
                  </a:lnTo>
                  <a:lnTo>
                    <a:pt x="440" y="955"/>
                  </a:lnTo>
                  <a:lnTo>
                    <a:pt x="440" y="956"/>
                  </a:lnTo>
                  <a:lnTo>
                    <a:pt x="440" y="958"/>
                  </a:lnTo>
                  <a:lnTo>
                    <a:pt x="440" y="961"/>
                  </a:lnTo>
                  <a:lnTo>
                    <a:pt x="437" y="964"/>
                  </a:lnTo>
                  <a:lnTo>
                    <a:pt x="432" y="968"/>
                  </a:lnTo>
                  <a:lnTo>
                    <a:pt x="431" y="971"/>
                  </a:lnTo>
                  <a:lnTo>
                    <a:pt x="431" y="972"/>
                  </a:lnTo>
                  <a:lnTo>
                    <a:pt x="432" y="975"/>
                  </a:lnTo>
                  <a:lnTo>
                    <a:pt x="434" y="977"/>
                  </a:lnTo>
                  <a:lnTo>
                    <a:pt x="437" y="977"/>
                  </a:lnTo>
                  <a:lnTo>
                    <a:pt x="440" y="977"/>
                  </a:lnTo>
                  <a:lnTo>
                    <a:pt x="443" y="978"/>
                  </a:lnTo>
                  <a:lnTo>
                    <a:pt x="443" y="978"/>
                  </a:lnTo>
                  <a:lnTo>
                    <a:pt x="444" y="981"/>
                  </a:lnTo>
                  <a:lnTo>
                    <a:pt x="444" y="984"/>
                  </a:lnTo>
                  <a:lnTo>
                    <a:pt x="445" y="986"/>
                  </a:lnTo>
                  <a:lnTo>
                    <a:pt x="448" y="987"/>
                  </a:lnTo>
                  <a:lnTo>
                    <a:pt x="453" y="987"/>
                  </a:lnTo>
                  <a:lnTo>
                    <a:pt x="459" y="986"/>
                  </a:lnTo>
                  <a:lnTo>
                    <a:pt x="463" y="986"/>
                  </a:lnTo>
                  <a:lnTo>
                    <a:pt x="469" y="988"/>
                  </a:lnTo>
                  <a:lnTo>
                    <a:pt x="470" y="988"/>
                  </a:lnTo>
                  <a:lnTo>
                    <a:pt x="472" y="990"/>
                  </a:lnTo>
                  <a:lnTo>
                    <a:pt x="472" y="993"/>
                  </a:lnTo>
                  <a:lnTo>
                    <a:pt x="470" y="996"/>
                  </a:lnTo>
                  <a:lnTo>
                    <a:pt x="467" y="1003"/>
                  </a:lnTo>
                  <a:lnTo>
                    <a:pt x="464" y="1010"/>
                  </a:lnTo>
                  <a:lnTo>
                    <a:pt x="464" y="1013"/>
                  </a:lnTo>
                  <a:lnTo>
                    <a:pt x="464" y="1016"/>
                  </a:lnTo>
                  <a:lnTo>
                    <a:pt x="463" y="1019"/>
                  </a:lnTo>
                  <a:lnTo>
                    <a:pt x="459" y="1019"/>
                  </a:lnTo>
                  <a:lnTo>
                    <a:pt x="454" y="1019"/>
                  </a:lnTo>
                  <a:lnTo>
                    <a:pt x="448" y="1021"/>
                  </a:lnTo>
                  <a:lnTo>
                    <a:pt x="440" y="1025"/>
                  </a:lnTo>
                  <a:lnTo>
                    <a:pt x="432" y="1031"/>
                  </a:lnTo>
                  <a:lnTo>
                    <a:pt x="429" y="1035"/>
                  </a:lnTo>
                  <a:lnTo>
                    <a:pt x="428" y="1038"/>
                  </a:lnTo>
                  <a:lnTo>
                    <a:pt x="431" y="1044"/>
                  </a:lnTo>
                  <a:lnTo>
                    <a:pt x="432" y="1048"/>
                  </a:lnTo>
                  <a:lnTo>
                    <a:pt x="435" y="1057"/>
                  </a:lnTo>
                  <a:lnTo>
                    <a:pt x="437" y="1057"/>
                  </a:lnTo>
                  <a:lnTo>
                    <a:pt x="438" y="1058"/>
                  </a:lnTo>
                  <a:lnTo>
                    <a:pt x="448" y="1061"/>
                  </a:lnTo>
                  <a:lnTo>
                    <a:pt x="454" y="1064"/>
                  </a:lnTo>
                  <a:lnTo>
                    <a:pt x="456" y="1067"/>
                  </a:lnTo>
                  <a:lnTo>
                    <a:pt x="457" y="1067"/>
                  </a:lnTo>
                  <a:lnTo>
                    <a:pt x="459" y="1066"/>
                  </a:lnTo>
                  <a:lnTo>
                    <a:pt x="475" y="1051"/>
                  </a:lnTo>
                  <a:lnTo>
                    <a:pt x="479" y="1048"/>
                  </a:lnTo>
                  <a:lnTo>
                    <a:pt x="492" y="1047"/>
                  </a:lnTo>
                  <a:lnTo>
                    <a:pt x="504" y="1051"/>
                  </a:lnTo>
                  <a:lnTo>
                    <a:pt x="529" y="1041"/>
                  </a:lnTo>
                  <a:lnTo>
                    <a:pt x="536" y="1038"/>
                  </a:lnTo>
                  <a:lnTo>
                    <a:pt x="540" y="1034"/>
                  </a:lnTo>
                  <a:lnTo>
                    <a:pt x="542" y="1029"/>
                  </a:lnTo>
                  <a:lnTo>
                    <a:pt x="547" y="1022"/>
                  </a:lnTo>
                  <a:lnTo>
                    <a:pt x="559" y="1013"/>
                  </a:lnTo>
                  <a:lnTo>
                    <a:pt x="603" y="1025"/>
                  </a:lnTo>
                  <a:lnTo>
                    <a:pt x="606" y="1025"/>
                  </a:lnTo>
                  <a:lnTo>
                    <a:pt x="607" y="1023"/>
                  </a:lnTo>
                  <a:lnTo>
                    <a:pt x="607" y="1023"/>
                  </a:lnTo>
                  <a:lnTo>
                    <a:pt x="609" y="1021"/>
                  </a:lnTo>
                  <a:lnTo>
                    <a:pt x="612" y="1013"/>
                  </a:lnTo>
                  <a:lnTo>
                    <a:pt x="613" y="1010"/>
                  </a:lnTo>
                  <a:lnTo>
                    <a:pt x="614" y="1009"/>
                  </a:lnTo>
                  <a:lnTo>
                    <a:pt x="628" y="1000"/>
                  </a:lnTo>
                  <a:lnTo>
                    <a:pt x="632" y="997"/>
                  </a:lnTo>
                  <a:lnTo>
                    <a:pt x="633" y="994"/>
                  </a:lnTo>
                  <a:lnTo>
                    <a:pt x="635" y="993"/>
                  </a:lnTo>
                  <a:lnTo>
                    <a:pt x="636" y="988"/>
                  </a:lnTo>
                  <a:lnTo>
                    <a:pt x="639" y="984"/>
                  </a:lnTo>
                  <a:lnTo>
                    <a:pt x="639" y="983"/>
                  </a:lnTo>
                  <a:lnTo>
                    <a:pt x="639" y="981"/>
                  </a:lnTo>
                  <a:lnTo>
                    <a:pt x="635" y="978"/>
                  </a:lnTo>
                  <a:lnTo>
                    <a:pt x="628" y="972"/>
                  </a:lnTo>
                  <a:lnTo>
                    <a:pt x="628" y="972"/>
                  </a:lnTo>
                  <a:lnTo>
                    <a:pt x="626" y="967"/>
                  </a:lnTo>
                  <a:lnTo>
                    <a:pt x="626" y="946"/>
                  </a:lnTo>
                  <a:lnTo>
                    <a:pt x="626" y="926"/>
                  </a:lnTo>
                  <a:lnTo>
                    <a:pt x="626" y="916"/>
                  </a:lnTo>
                  <a:lnTo>
                    <a:pt x="625" y="907"/>
                  </a:lnTo>
                  <a:lnTo>
                    <a:pt x="622" y="897"/>
                  </a:lnTo>
                  <a:lnTo>
                    <a:pt x="619" y="888"/>
                  </a:lnTo>
                  <a:lnTo>
                    <a:pt x="617" y="884"/>
                  </a:lnTo>
                  <a:lnTo>
                    <a:pt x="614" y="881"/>
                  </a:lnTo>
                  <a:lnTo>
                    <a:pt x="604" y="873"/>
                  </a:lnTo>
                  <a:lnTo>
                    <a:pt x="582" y="863"/>
                  </a:lnTo>
                  <a:lnTo>
                    <a:pt x="579" y="859"/>
                  </a:lnTo>
                  <a:lnTo>
                    <a:pt x="578" y="856"/>
                  </a:lnTo>
                  <a:lnTo>
                    <a:pt x="571" y="833"/>
                  </a:lnTo>
                  <a:lnTo>
                    <a:pt x="578" y="836"/>
                  </a:lnTo>
                  <a:lnTo>
                    <a:pt x="587" y="836"/>
                  </a:lnTo>
                  <a:lnTo>
                    <a:pt x="588" y="836"/>
                  </a:lnTo>
                  <a:lnTo>
                    <a:pt x="591" y="837"/>
                  </a:lnTo>
                  <a:lnTo>
                    <a:pt x="594" y="839"/>
                  </a:lnTo>
                  <a:lnTo>
                    <a:pt x="613" y="836"/>
                  </a:lnTo>
                  <a:lnTo>
                    <a:pt x="619" y="833"/>
                  </a:lnTo>
                  <a:lnTo>
                    <a:pt x="622" y="831"/>
                  </a:lnTo>
                  <a:lnTo>
                    <a:pt x="623" y="830"/>
                  </a:lnTo>
                  <a:lnTo>
                    <a:pt x="623" y="827"/>
                  </a:lnTo>
                  <a:lnTo>
                    <a:pt x="626" y="812"/>
                  </a:lnTo>
                  <a:lnTo>
                    <a:pt x="626" y="812"/>
                  </a:lnTo>
                  <a:lnTo>
                    <a:pt x="628" y="811"/>
                  </a:lnTo>
                  <a:lnTo>
                    <a:pt x="628" y="809"/>
                  </a:lnTo>
                  <a:lnTo>
                    <a:pt x="630" y="808"/>
                  </a:lnTo>
                  <a:lnTo>
                    <a:pt x="633" y="806"/>
                  </a:lnTo>
                  <a:lnTo>
                    <a:pt x="636" y="804"/>
                  </a:lnTo>
                  <a:lnTo>
                    <a:pt x="639" y="802"/>
                  </a:lnTo>
                  <a:lnTo>
                    <a:pt x="645" y="801"/>
                  </a:lnTo>
                  <a:lnTo>
                    <a:pt x="663" y="801"/>
                  </a:lnTo>
                  <a:lnTo>
                    <a:pt x="668" y="801"/>
                  </a:lnTo>
                  <a:lnTo>
                    <a:pt x="686" y="792"/>
                  </a:lnTo>
                  <a:lnTo>
                    <a:pt x="687" y="792"/>
                  </a:lnTo>
                  <a:lnTo>
                    <a:pt x="689" y="792"/>
                  </a:lnTo>
                  <a:lnTo>
                    <a:pt x="695" y="793"/>
                  </a:lnTo>
                  <a:lnTo>
                    <a:pt x="697" y="796"/>
                  </a:lnTo>
                  <a:lnTo>
                    <a:pt x="700" y="799"/>
                  </a:lnTo>
                  <a:lnTo>
                    <a:pt x="711" y="817"/>
                  </a:lnTo>
                  <a:lnTo>
                    <a:pt x="712" y="821"/>
                  </a:lnTo>
                  <a:lnTo>
                    <a:pt x="712" y="825"/>
                  </a:lnTo>
                  <a:lnTo>
                    <a:pt x="712" y="827"/>
                  </a:lnTo>
                  <a:lnTo>
                    <a:pt x="711" y="833"/>
                  </a:lnTo>
                  <a:lnTo>
                    <a:pt x="711" y="836"/>
                  </a:lnTo>
                  <a:lnTo>
                    <a:pt x="711" y="839"/>
                  </a:lnTo>
                  <a:lnTo>
                    <a:pt x="712" y="840"/>
                  </a:lnTo>
                  <a:lnTo>
                    <a:pt x="712" y="843"/>
                  </a:lnTo>
                  <a:lnTo>
                    <a:pt x="714" y="844"/>
                  </a:lnTo>
                  <a:lnTo>
                    <a:pt x="714" y="846"/>
                  </a:lnTo>
                  <a:lnTo>
                    <a:pt x="712" y="852"/>
                  </a:lnTo>
                  <a:lnTo>
                    <a:pt x="712" y="855"/>
                  </a:lnTo>
                  <a:lnTo>
                    <a:pt x="712" y="857"/>
                  </a:lnTo>
                  <a:lnTo>
                    <a:pt x="712" y="860"/>
                  </a:lnTo>
                  <a:lnTo>
                    <a:pt x="712" y="862"/>
                  </a:lnTo>
                  <a:lnTo>
                    <a:pt x="714" y="863"/>
                  </a:lnTo>
                  <a:lnTo>
                    <a:pt x="714" y="863"/>
                  </a:lnTo>
                  <a:lnTo>
                    <a:pt x="718" y="865"/>
                  </a:lnTo>
                  <a:lnTo>
                    <a:pt x="753" y="868"/>
                  </a:lnTo>
                  <a:lnTo>
                    <a:pt x="765" y="868"/>
                  </a:lnTo>
                  <a:lnTo>
                    <a:pt x="775" y="863"/>
                  </a:lnTo>
                  <a:lnTo>
                    <a:pt x="776" y="862"/>
                  </a:lnTo>
                  <a:lnTo>
                    <a:pt x="799" y="857"/>
                  </a:lnTo>
                  <a:lnTo>
                    <a:pt x="801" y="856"/>
                  </a:lnTo>
                  <a:lnTo>
                    <a:pt x="802" y="855"/>
                  </a:lnTo>
                  <a:lnTo>
                    <a:pt x="802" y="853"/>
                  </a:lnTo>
                  <a:lnTo>
                    <a:pt x="808" y="837"/>
                  </a:lnTo>
                  <a:lnTo>
                    <a:pt x="811" y="828"/>
                  </a:lnTo>
                  <a:lnTo>
                    <a:pt x="813" y="827"/>
                  </a:lnTo>
                  <a:lnTo>
                    <a:pt x="823" y="817"/>
                  </a:lnTo>
                  <a:lnTo>
                    <a:pt x="842" y="806"/>
                  </a:lnTo>
                  <a:lnTo>
                    <a:pt x="843" y="806"/>
                  </a:lnTo>
                  <a:lnTo>
                    <a:pt x="845" y="806"/>
                  </a:lnTo>
                  <a:lnTo>
                    <a:pt x="848" y="808"/>
                  </a:lnTo>
                  <a:lnTo>
                    <a:pt x="852" y="815"/>
                  </a:lnTo>
                  <a:lnTo>
                    <a:pt x="853" y="815"/>
                  </a:lnTo>
                  <a:lnTo>
                    <a:pt x="853" y="817"/>
                  </a:lnTo>
                  <a:lnTo>
                    <a:pt x="855" y="817"/>
                  </a:lnTo>
                  <a:lnTo>
                    <a:pt x="856" y="818"/>
                  </a:lnTo>
                  <a:lnTo>
                    <a:pt x="859" y="818"/>
                  </a:lnTo>
                  <a:lnTo>
                    <a:pt x="861" y="820"/>
                  </a:lnTo>
                  <a:lnTo>
                    <a:pt x="861" y="821"/>
                  </a:lnTo>
                  <a:lnTo>
                    <a:pt x="859" y="825"/>
                  </a:lnTo>
                  <a:lnTo>
                    <a:pt x="858" y="827"/>
                  </a:lnTo>
                  <a:lnTo>
                    <a:pt x="856" y="830"/>
                  </a:lnTo>
                  <a:lnTo>
                    <a:pt x="855" y="830"/>
                  </a:lnTo>
                  <a:lnTo>
                    <a:pt x="852" y="831"/>
                  </a:lnTo>
                  <a:lnTo>
                    <a:pt x="852" y="833"/>
                  </a:lnTo>
                  <a:lnTo>
                    <a:pt x="852" y="836"/>
                  </a:lnTo>
                  <a:lnTo>
                    <a:pt x="852" y="839"/>
                  </a:lnTo>
                  <a:lnTo>
                    <a:pt x="858" y="857"/>
                  </a:lnTo>
                  <a:lnTo>
                    <a:pt x="846" y="876"/>
                  </a:lnTo>
                  <a:lnTo>
                    <a:pt x="840" y="889"/>
                  </a:lnTo>
                  <a:lnTo>
                    <a:pt x="839" y="891"/>
                  </a:lnTo>
                  <a:lnTo>
                    <a:pt x="836" y="892"/>
                  </a:lnTo>
                  <a:lnTo>
                    <a:pt x="833" y="894"/>
                  </a:lnTo>
                  <a:lnTo>
                    <a:pt x="830" y="897"/>
                  </a:lnTo>
                  <a:lnTo>
                    <a:pt x="827" y="897"/>
                  </a:lnTo>
                  <a:lnTo>
                    <a:pt x="820" y="895"/>
                  </a:lnTo>
                  <a:lnTo>
                    <a:pt x="818" y="895"/>
                  </a:lnTo>
                  <a:lnTo>
                    <a:pt x="817" y="897"/>
                  </a:lnTo>
                  <a:lnTo>
                    <a:pt x="815" y="898"/>
                  </a:lnTo>
                  <a:lnTo>
                    <a:pt x="814" y="900"/>
                  </a:lnTo>
                  <a:lnTo>
                    <a:pt x="813" y="905"/>
                  </a:lnTo>
                  <a:lnTo>
                    <a:pt x="811" y="910"/>
                  </a:lnTo>
                  <a:lnTo>
                    <a:pt x="810" y="926"/>
                  </a:lnTo>
                  <a:lnTo>
                    <a:pt x="810" y="930"/>
                  </a:lnTo>
                  <a:lnTo>
                    <a:pt x="808" y="933"/>
                  </a:lnTo>
                  <a:lnTo>
                    <a:pt x="808" y="936"/>
                  </a:lnTo>
                  <a:lnTo>
                    <a:pt x="807" y="938"/>
                  </a:lnTo>
                  <a:lnTo>
                    <a:pt x="808" y="939"/>
                  </a:lnTo>
                  <a:lnTo>
                    <a:pt x="808" y="940"/>
                  </a:lnTo>
                  <a:lnTo>
                    <a:pt x="810" y="942"/>
                  </a:lnTo>
                  <a:lnTo>
                    <a:pt x="811" y="943"/>
                  </a:lnTo>
                  <a:lnTo>
                    <a:pt x="817" y="945"/>
                  </a:lnTo>
                  <a:lnTo>
                    <a:pt x="829" y="951"/>
                  </a:lnTo>
                  <a:lnTo>
                    <a:pt x="836" y="952"/>
                  </a:lnTo>
                  <a:lnTo>
                    <a:pt x="839" y="952"/>
                  </a:lnTo>
                  <a:lnTo>
                    <a:pt x="839" y="954"/>
                  </a:lnTo>
                  <a:lnTo>
                    <a:pt x="837" y="955"/>
                  </a:lnTo>
                  <a:lnTo>
                    <a:pt x="830" y="959"/>
                  </a:lnTo>
                  <a:lnTo>
                    <a:pt x="829" y="962"/>
                  </a:lnTo>
                  <a:lnTo>
                    <a:pt x="827" y="965"/>
                  </a:lnTo>
                  <a:lnTo>
                    <a:pt x="827" y="967"/>
                  </a:lnTo>
                  <a:lnTo>
                    <a:pt x="827" y="968"/>
                  </a:lnTo>
                  <a:lnTo>
                    <a:pt x="829" y="970"/>
                  </a:lnTo>
                  <a:lnTo>
                    <a:pt x="830" y="972"/>
                  </a:lnTo>
                  <a:lnTo>
                    <a:pt x="830" y="977"/>
                  </a:lnTo>
                  <a:lnTo>
                    <a:pt x="830" y="978"/>
                  </a:lnTo>
                  <a:lnTo>
                    <a:pt x="829" y="980"/>
                  </a:lnTo>
                  <a:lnTo>
                    <a:pt x="820" y="978"/>
                  </a:lnTo>
                  <a:lnTo>
                    <a:pt x="810" y="981"/>
                  </a:lnTo>
                  <a:lnTo>
                    <a:pt x="811" y="988"/>
                  </a:lnTo>
                  <a:lnTo>
                    <a:pt x="815" y="996"/>
                  </a:lnTo>
                  <a:lnTo>
                    <a:pt x="815" y="997"/>
                  </a:lnTo>
                  <a:lnTo>
                    <a:pt x="815" y="1000"/>
                  </a:lnTo>
                  <a:lnTo>
                    <a:pt x="817" y="1002"/>
                  </a:lnTo>
                  <a:lnTo>
                    <a:pt x="815" y="1005"/>
                  </a:lnTo>
                  <a:lnTo>
                    <a:pt x="815" y="1006"/>
                  </a:lnTo>
                  <a:lnTo>
                    <a:pt x="815" y="1007"/>
                  </a:lnTo>
                  <a:lnTo>
                    <a:pt x="814" y="1007"/>
                  </a:lnTo>
                  <a:lnTo>
                    <a:pt x="813" y="1010"/>
                  </a:lnTo>
                  <a:lnTo>
                    <a:pt x="813" y="1013"/>
                  </a:lnTo>
                  <a:lnTo>
                    <a:pt x="813" y="1013"/>
                  </a:lnTo>
                  <a:lnTo>
                    <a:pt x="815" y="1013"/>
                  </a:lnTo>
                  <a:lnTo>
                    <a:pt x="818" y="1012"/>
                  </a:lnTo>
                  <a:lnTo>
                    <a:pt x="824" y="1010"/>
                  </a:lnTo>
                  <a:lnTo>
                    <a:pt x="829" y="1012"/>
                  </a:lnTo>
                  <a:lnTo>
                    <a:pt x="836" y="1010"/>
                  </a:lnTo>
                  <a:lnTo>
                    <a:pt x="861" y="1013"/>
                  </a:lnTo>
                  <a:lnTo>
                    <a:pt x="864" y="1015"/>
                  </a:lnTo>
                  <a:lnTo>
                    <a:pt x="865" y="1018"/>
                  </a:lnTo>
                  <a:lnTo>
                    <a:pt x="864" y="1021"/>
                  </a:lnTo>
                  <a:lnTo>
                    <a:pt x="862" y="1023"/>
                  </a:lnTo>
                  <a:lnTo>
                    <a:pt x="862" y="1025"/>
                  </a:lnTo>
                  <a:lnTo>
                    <a:pt x="862" y="1026"/>
                  </a:lnTo>
                  <a:lnTo>
                    <a:pt x="862" y="1028"/>
                  </a:lnTo>
                  <a:lnTo>
                    <a:pt x="865" y="1031"/>
                  </a:lnTo>
                  <a:lnTo>
                    <a:pt x="875" y="1035"/>
                  </a:lnTo>
                  <a:lnTo>
                    <a:pt x="880" y="1041"/>
                  </a:lnTo>
                  <a:lnTo>
                    <a:pt x="880" y="1044"/>
                  </a:lnTo>
                  <a:lnTo>
                    <a:pt x="880" y="1045"/>
                  </a:lnTo>
                  <a:lnTo>
                    <a:pt x="880" y="1047"/>
                  </a:lnTo>
                  <a:lnTo>
                    <a:pt x="875" y="1054"/>
                  </a:lnTo>
                  <a:lnTo>
                    <a:pt x="875" y="1055"/>
                  </a:lnTo>
                  <a:lnTo>
                    <a:pt x="875" y="1055"/>
                  </a:lnTo>
                  <a:lnTo>
                    <a:pt x="875" y="1058"/>
                  </a:lnTo>
                  <a:lnTo>
                    <a:pt x="878" y="1067"/>
                  </a:lnTo>
                  <a:lnTo>
                    <a:pt x="883" y="1077"/>
                  </a:lnTo>
                  <a:lnTo>
                    <a:pt x="883" y="1079"/>
                  </a:lnTo>
                  <a:lnTo>
                    <a:pt x="883" y="1080"/>
                  </a:lnTo>
                  <a:lnTo>
                    <a:pt x="883" y="1082"/>
                  </a:lnTo>
                  <a:lnTo>
                    <a:pt x="881" y="1083"/>
                  </a:lnTo>
                  <a:lnTo>
                    <a:pt x="881" y="1085"/>
                  </a:lnTo>
                  <a:lnTo>
                    <a:pt x="880" y="1086"/>
                  </a:lnTo>
                  <a:lnTo>
                    <a:pt x="878" y="1087"/>
                  </a:lnTo>
                  <a:lnTo>
                    <a:pt x="875" y="1089"/>
                  </a:lnTo>
                  <a:lnTo>
                    <a:pt x="875" y="1089"/>
                  </a:lnTo>
                  <a:lnTo>
                    <a:pt x="875" y="1090"/>
                  </a:lnTo>
                  <a:lnTo>
                    <a:pt x="875" y="1090"/>
                  </a:lnTo>
                  <a:lnTo>
                    <a:pt x="875" y="1092"/>
                  </a:lnTo>
                  <a:lnTo>
                    <a:pt x="875" y="1093"/>
                  </a:lnTo>
                  <a:lnTo>
                    <a:pt x="875" y="1093"/>
                  </a:lnTo>
                  <a:lnTo>
                    <a:pt x="874" y="1095"/>
                  </a:lnTo>
                  <a:lnTo>
                    <a:pt x="874" y="1095"/>
                  </a:lnTo>
                  <a:lnTo>
                    <a:pt x="872" y="1096"/>
                  </a:lnTo>
                  <a:lnTo>
                    <a:pt x="875" y="1098"/>
                  </a:lnTo>
                  <a:lnTo>
                    <a:pt x="878" y="1099"/>
                  </a:lnTo>
                  <a:lnTo>
                    <a:pt x="887" y="1104"/>
                  </a:lnTo>
                  <a:lnTo>
                    <a:pt x="890" y="1105"/>
                  </a:lnTo>
                  <a:lnTo>
                    <a:pt x="891" y="1104"/>
                  </a:lnTo>
                  <a:lnTo>
                    <a:pt x="891" y="1104"/>
                  </a:lnTo>
                  <a:lnTo>
                    <a:pt x="891" y="1102"/>
                  </a:lnTo>
                  <a:lnTo>
                    <a:pt x="891" y="1102"/>
                  </a:lnTo>
                  <a:lnTo>
                    <a:pt x="893" y="1101"/>
                  </a:lnTo>
                  <a:lnTo>
                    <a:pt x="893" y="1099"/>
                  </a:lnTo>
                  <a:lnTo>
                    <a:pt x="894" y="1099"/>
                  </a:lnTo>
                  <a:lnTo>
                    <a:pt x="896" y="1098"/>
                  </a:lnTo>
                  <a:lnTo>
                    <a:pt x="897" y="1098"/>
                  </a:lnTo>
                  <a:lnTo>
                    <a:pt x="899" y="1098"/>
                  </a:lnTo>
                  <a:lnTo>
                    <a:pt x="900" y="1098"/>
                  </a:lnTo>
                  <a:lnTo>
                    <a:pt x="913" y="1104"/>
                  </a:lnTo>
                  <a:lnTo>
                    <a:pt x="913" y="1105"/>
                  </a:lnTo>
                  <a:lnTo>
                    <a:pt x="913" y="1108"/>
                  </a:lnTo>
                  <a:lnTo>
                    <a:pt x="909" y="1124"/>
                  </a:lnTo>
                  <a:lnTo>
                    <a:pt x="909" y="1124"/>
                  </a:lnTo>
                  <a:lnTo>
                    <a:pt x="907" y="1127"/>
                  </a:lnTo>
                  <a:lnTo>
                    <a:pt x="906" y="1128"/>
                  </a:lnTo>
                  <a:lnTo>
                    <a:pt x="903" y="1131"/>
                  </a:lnTo>
                  <a:lnTo>
                    <a:pt x="903" y="1131"/>
                  </a:lnTo>
                  <a:lnTo>
                    <a:pt x="903" y="1133"/>
                  </a:lnTo>
                  <a:lnTo>
                    <a:pt x="904" y="1133"/>
                  </a:lnTo>
                  <a:lnTo>
                    <a:pt x="915" y="1131"/>
                  </a:lnTo>
                  <a:lnTo>
                    <a:pt x="919" y="1131"/>
                  </a:lnTo>
                  <a:lnTo>
                    <a:pt x="926" y="1136"/>
                  </a:lnTo>
                  <a:lnTo>
                    <a:pt x="929" y="1138"/>
                  </a:lnTo>
                  <a:lnTo>
                    <a:pt x="929" y="1140"/>
                  </a:lnTo>
                  <a:lnTo>
                    <a:pt x="929" y="1141"/>
                  </a:lnTo>
                  <a:lnTo>
                    <a:pt x="931" y="1144"/>
                  </a:lnTo>
                  <a:lnTo>
                    <a:pt x="931" y="1149"/>
                  </a:lnTo>
                  <a:lnTo>
                    <a:pt x="931" y="1154"/>
                  </a:lnTo>
                  <a:lnTo>
                    <a:pt x="925" y="1169"/>
                  </a:lnTo>
                  <a:lnTo>
                    <a:pt x="929" y="1169"/>
                  </a:lnTo>
                  <a:lnTo>
                    <a:pt x="932" y="1169"/>
                  </a:lnTo>
                  <a:lnTo>
                    <a:pt x="939" y="1166"/>
                  </a:lnTo>
                  <a:lnTo>
                    <a:pt x="941" y="1166"/>
                  </a:lnTo>
                  <a:lnTo>
                    <a:pt x="957" y="1166"/>
                  </a:lnTo>
                  <a:lnTo>
                    <a:pt x="964" y="1165"/>
                  </a:lnTo>
                  <a:lnTo>
                    <a:pt x="967" y="1165"/>
                  </a:lnTo>
                  <a:lnTo>
                    <a:pt x="970" y="1163"/>
                  </a:lnTo>
                  <a:lnTo>
                    <a:pt x="971" y="1162"/>
                  </a:lnTo>
                  <a:lnTo>
                    <a:pt x="973" y="1163"/>
                  </a:lnTo>
                  <a:lnTo>
                    <a:pt x="974" y="1163"/>
                  </a:lnTo>
                  <a:lnTo>
                    <a:pt x="973" y="1168"/>
                  </a:lnTo>
                  <a:lnTo>
                    <a:pt x="971" y="1169"/>
                  </a:lnTo>
                  <a:lnTo>
                    <a:pt x="970" y="1172"/>
                  </a:lnTo>
                  <a:lnTo>
                    <a:pt x="967" y="1176"/>
                  </a:lnTo>
                  <a:lnTo>
                    <a:pt x="967" y="1178"/>
                  </a:lnTo>
                  <a:lnTo>
                    <a:pt x="967" y="1179"/>
                  </a:lnTo>
                  <a:lnTo>
                    <a:pt x="968" y="1181"/>
                  </a:lnTo>
                  <a:lnTo>
                    <a:pt x="970" y="1181"/>
                  </a:lnTo>
                  <a:lnTo>
                    <a:pt x="973" y="1182"/>
                  </a:lnTo>
                  <a:lnTo>
                    <a:pt x="974" y="1182"/>
                  </a:lnTo>
                  <a:lnTo>
                    <a:pt x="974" y="1184"/>
                  </a:lnTo>
                  <a:lnTo>
                    <a:pt x="974" y="1185"/>
                  </a:lnTo>
                  <a:lnTo>
                    <a:pt x="971" y="1187"/>
                  </a:lnTo>
                  <a:lnTo>
                    <a:pt x="971" y="1188"/>
                  </a:lnTo>
                  <a:lnTo>
                    <a:pt x="971" y="1191"/>
                  </a:lnTo>
                  <a:lnTo>
                    <a:pt x="971" y="1197"/>
                  </a:lnTo>
                  <a:lnTo>
                    <a:pt x="970" y="1201"/>
                  </a:lnTo>
                  <a:lnTo>
                    <a:pt x="968" y="1208"/>
                  </a:lnTo>
                  <a:lnTo>
                    <a:pt x="966" y="1217"/>
                  </a:lnTo>
                  <a:lnTo>
                    <a:pt x="964" y="1219"/>
                  </a:lnTo>
                  <a:lnTo>
                    <a:pt x="963" y="1221"/>
                  </a:lnTo>
                  <a:lnTo>
                    <a:pt x="960" y="1223"/>
                  </a:lnTo>
                  <a:lnTo>
                    <a:pt x="955" y="1226"/>
                  </a:lnTo>
                  <a:lnTo>
                    <a:pt x="955" y="1227"/>
                  </a:lnTo>
                  <a:lnTo>
                    <a:pt x="954" y="1227"/>
                  </a:lnTo>
                  <a:lnTo>
                    <a:pt x="954" y="1229"/>
                  </a:lnTo>
                  <a:lnTo>
                    <a:pt x="954" y="1232"/>
                  </a:lnTo>
                  <a:lnTo>
                    <a:pt x="952" y="1233"/>
                  </a:lnTo>
                  <a:lnTo>
                    <a:pt x="952" y="1235"/>
                  </a:lnTo>
                  <a:lnTo>
                    <a:pt x="951" y="1235"/>
                  </a:lnTo>
                  <a:lnTo>
                    <a:pt x="951" y="1236"/>
                  </a:lnTo>
                  <a:lnTo>
                    <a:pt x="950" y="1236"/>
                  </a:lnTo>
                  <a:lnTo>
                    <a:pt x="950" y="1237"/>
                  </a:lnTo>
                  <a:lnTo>
                    <a:pt x="950" y="1240"/>
                  </a:lnTo>
                  <a:lnTo>
                    <a:pt x="950" y="1243"/>
                  </a:lnTo>
                  <a:lnTo>
                    <a:pt x="950" y="1246"/>
                  </a:lnTo>
                  <a:lnTo>
                    <a:pt x="950" y="1253"/>
                  </a:lnTo>
                  <a:lnTo>
                    <a:pt x="951" y="1256"/>
                  </a:lnTo>
                  <a:lnTo>
                    <a:pt x="950" y="1258"/>
                  </a:lnTo>
                  <a:lnTo>
                    <a:pt x="950" y="1259"/>
                  </a:lnTo>
                  <a:lnTo>
                    <a:pt x="948" y="1261"/>
                  </a:lnTo>
                  <a:lnTo>
                    <a:pt x="948" y="1262"/>
                  </a:lnTo>
                  <a:lnTo>
                    <a:pt x="948" y="1265"/>
                  </a:lnTo>
                  <a:lnTo>
                    <a:pt x="950" y="1269"/>
                  </a:lnTo>
                  <a:lnTo>
                    <a:pt x="948" y="1271"/>
                  </a:lnTo>
                  <a:lnTo>
                    <a:pt x="948" y="1272"/>
                  </a:lnTo>
                  <a:lnTo>
                    <a:pt x="945" y="1274"/>
                  </a:lnTo>
                  <a:lnTo>
                    <a:pt x="945" y="1274"/>
                  </a:lnTo>
                  <a:lnTo>
                    <a:pt x="944" y="1275"/>
                  </a:lnTo>
                  <a:lnTo>
                    <a:pt x="944" y="1278"/>
                  </a:lnTo>
                  <a:lnTo>
                    <a:pt x="944" y="1281"/>
                  </a:lnTo>
                  <a:lnTo>
                    <a:pt x="944" y="1284"/>
                  </a:lnTo>
                  <a:lnTo>
                    <a:pt x="944" y="1286"/>
                  </a:lnTo>
                  <a:lnTo>
                    <a:pt x="944" y="1287"/>
                  </a:lnTo>
                  <a:lnTo>
                    <a:pt x="944" y="1288"/>
                  </a:lnTo>
                  <a:lnTo>
                    <a:pt x="945" y="1290"/>
                  </a:lnTo>
                  <a:lnTo>
                    <a:pt x="951" y="1290"/>
                  </a:lnTo>
                  <a:lnTo>
                    <a:pt x="967" y="1286"/>
                  </a:lnTo>
                  <a:lnTo>
                    <a:pt x="970" y="1287"/>
                  </a:lnTo>
                  <a:lnTo>
                    <a:pt x="976" y="1281"/>
                  </a:lnTo>
                  <a:lnTo>
                    <a:pt x="982" y="1281"/>
                  </a:lnTo>
                  <a:lnTo>
                    <a:pt x="983" y="1283"/>
                  </a:lnTo>
                  <a:lnTo>
                    <a:pt x="984" y="1284"/>
                  </a:lnTo>
                  <a:lnTo>
                    <a:pt x="984" y="1287"/>
                  </a:lnTo>
                  <a:lnTo>
                    <a:pt x="984" y="1288"/>
                  </a:lnTo>
                  <a:lnTo>
                    <a:pt x="984" y="1290"/>
                  </a:lnTo>
                  <a:lnTo>
                    <a:pt x="984" y="1291"/>
                  </a:lnTo>
                  <a:lnTo>
                    <a:pt x="984" y="1293"/>
                  </a:lnTo>
                  <a:lnTo>
                    <a:pt x="986" y="1294"/>
                  </a:lnTo>
                  <a:lnTo>
                    <a:pt x="987" y="1296"/>
                  </a:lnTo>
                  <a:lnTo>
                    <a:pt x="990" y="1296"/>
                  </a:lnTo>
                  <a:lnTo>
                    <a:pt x="995" y="1297"/>
                  </a:lnTo>
                  <a:lnTo>
                    <a:pt x="998" y="1296"/>
                  </a:lnTo>
                  <a:lnTo>
                    <a:pt x="999" y="1296"/>
                  </a:lnTo>
                  <a:lnTo>
                    <a:pt x="999" y="1294"/>
                  </a:lnTo>
                  <a:lnTo>
                    <a:pt x="1001" y="1293"/>
                  </a:lnTo>
                  <a:lnTo>
                    <a:pt x="1002" y="1291"/>
                  </a:lnTo>
                  <a:lnTo>
                    <a:pt x="1003" y="1290"/>
                  </a:lnTo>
                  <a:lnTo>
                    <a:pt x="1005" y="1290"/>
                  </a:lnTo>
                  <a:lnTo>
                    <a:pt x="1006" y="1290"/>
                  </a:lnTo>
                  <a:lnTo>
                    <a:pt x="1006" y="1291"/>
                  </a:lnTo>
                  <a:lnTo>
                    <a:pt x="1008" y="1293"/>
                  </a:lnTo>
                  <a:lnTo>
                    <a:pt x="1009" y="1296"/>
                  </a:lnTo>
                  <a:lnTo>
                    <a:pt x="1014" y="1297"/>
                  </a:lnTo>
                  <a:lnTo>
                    <a:pt x="1017" y="1297"/>
                  </a:lnTo>
                  <a:lnTo>
                    <a:pt x="1019" y="1297"/>
                  </a:lnTo>
                  <a:lnTo>
                    <a:pt x="1024" y="1297"/>
                  </a:lnTo>
                  <a:lnTo>
                    <a:pt x="1028" y="1296"/>
                  </a:lnTo>
                  <a:lnTo>
                    <a:pt x="1030" y="1294"/>
                  </a:lnTo>
                  <a:lnTo>
                    <a:pt x="1030" y="1296"/>
                  </a:lnTo>
                  <a:lnTo>
                    <a:pt x="1031" y="1299"/>
                  </a:lnTo>
                  <a:lnTo>
                    <a:pt x="1031" y="1302"/>
                  </a:lnTo>
                  <a:lnTo>
                    <a:pt x="1033" y="1303"/>
                  </a:lnTo>
                  <a:lnTo>
                    <a:pt x="1040" y="1306"/>
                  </a:lnTo>
                  <a:lnTo>
                    <a:pt x="1041" y="1307"/>
                  </a:lnTo>
                  <a:lnTo>
                    <a:pt x="1041" y="1310"/>
                  </a:lnTo>
                  <a:lnTo>
                    <a:pt x="1043" y="1315"/>
                  </a:lnTo>
                  <a:lnTo>
                    <a:pt x="1046" y="1320"/>
                  </a:lnTo>
                  <a:lnTo>
                    <a:pt x="1051" y="1328"/>
                  </a:lnTo>
                  <a:lnTo>
                    <a:pt x="1049" y="1334"/>
                  </a:lnTo>
                  <a:lnTo>
                    <a:pt x="1047" y="1335"/>
                  </a:lnTo>
                  <a:lnTo>
                    <a:pt x="1046" y="1335"/>
                  </a:lnTo>
                  <a:lnTo>
                    <a:pt x="1037" y="1328"/>
                  </a:lnTo>
                  <a:lnTo>
                    <a:pt x="1037" y="1328"/>
                  </a:lnTo>
                  <a:lnTo>
                    <a:pt x="1035" y="1328"/>
                  </a:lnTo>
                  <a:lnTo>
                    <a:pt x="1035" y="1328"/>
                  </a:lnTo>
                  <a:lnTo>
                    <a:pt x="1034" y="1328"/>
                  </a:lnTo>
                  <a:lnTo>
                    <a:pt x="1034" y="1329"/>
                  </a:lnTo>
                  <a:lnTo>
                    <a:pt x="1034" y="1331"/>
                  </a:lnTo>
                  <a:lnTo>
                    <a:pt x="1034" y="1334"/>
                  </a:lnTo>
                  <a:lnTo>
                    <a:pt x="1038" y="1339"/>
                  </a:lnTo>
                  <a:lnTo>
                    <a:pt x="1037" y="1339"/>
                  </a:lnTo>
                  <a:lnTo>
                    <a:pt x="1037" y="1341"/>
                  </a:lnTo>
                  <a:lnTo>
                    <a:pt x="1035" y="1341"/>
                  </a:lnTo>
                  <a:lnTo>
                    <a:pt x="1034" y="1341"/>
                  </a:lnTo>
                  <a:lnTo>
                    <a:pt x="1033" y="1341"/>
                  </a:lnTo>
                  <a:lnTo>
                    <a:pt x="1030" y="1339"/>
                  </a:lnTo>
                  <a:lnTo>
                    <a:pt x="1028" y="1339"/>
                  </a:lnTo>
                  <a:lnTo>
                    <a:pt x="1028" y="1341"/>
                  </a:lnTo>
                  <a:lnTo>
                    <a:pt x="1028" y="1344"/>
                  </a:lnTo>
                  <a:lnTo>
                    <a:pt x="1028" y="1350"/>
                  </a:lnTo>
                  <a:lnTo>
                    <a:pt x="1027" y="1352"/>
                  </a:lnTo>
                  <a:lnTo>
                    <a:pt x="1027" y="1355"/>
                  </a:lnTo>
                  <a:lnTo>
                    <a:pt x="1025" y="1355"/>
                  </a:lnTo>
                  <a:lnTo>
                    <a:pt x="1024" y="1357"/>
                  </a:lnTo>
                  <a:lnTo>
                    <a:pt x="1021" y="1357"/>
                  </a:lnTo>
                  <a:lnTo>
                    <a:pt x="1021" y="1358"/>
                  </a:lnTo>
                  <a:lnTo>
                    <a:pt x="1021" y="1361"/>
                  </a:lnTo>
                  <a:lnTo>
                    <a:pt x="1028" y="1377"/>
                  </a:lnTo>
                  <a:lnTo>
                    <a:pt x="1030" y="1380"/>
                  </a:lnTo>
                  <a:lnTo>
                    <a:pt x="1031" y="1382"/>
                  </a:lnTo>
                  <a:lnTo>
                    <a:pt x="1034" y="1383"/>
                  </a:lnTo>
                  <a:lnTo>
                    <a:pt x="1035" y="1385"/>
                  </a:lnTo>
                  <a:lnTo>
                    <a:pt x="1035" y="1386"/>
                  </a:lnTo>
                  <a:lnTo>
                    <a:pt x="1035" y="1387"/>
                  </a:lnTo>
                  <a:lnTo>
                    <a:pt x="1033" y="1390"/>
                  </a:lnTo>
                  <a:lnTo>
                    <a:pt x="1033" y="1390"/>
                  </a:lnTo>
                  <a:lnTo>
                    <a:pt x="1033" y="1393"/>
                  </a:lnTo>
                  <a:lnTo>
                    <a:pt x="1034" y="1395"/>
                  </a:lnTo>
                  <a:lnTo>
                    <a:pt x="1035" y="1398"/>
                  </a:lnTo>
                  <a:lnTo>
                    <a:pt x="1035" y="1401"/>
                  </a:lnTo>
                  <a:lnTo>
                    <a:pt x="1034" y="1402"/>
                  </a:lnTo>
                  <a:lnTo>
                    <a:pt x="1034" y="1405"/>
                  </a:lnTo>
                  <a:lnTo>
                    <a:pt x="1035" y="1418"/>
                  </a:lnTo>
                  <a:lnTo>
                    <a:pt x="1034" y="1421"/>
                  </a:lnTo>
                  <a:lnTo>
                    <a:pt x="1034" y="1422"/>
                  </a:lnTo>
                  <a:lnTo>
                    <a:pt x="1024" y="1424"/>
                  </a:lnTo>
                  <a:lnTo>
                    <a:pt x="1021" y="1425"/>
                  </a:lnTo>
                  <a:lnTo>
                    <a:pt x="1019" y="1425"/>
                  </a:lnTo>
                  <a:lnTo>
                    <a:pt x="1017" y="1424"/>
                  </a:lnTo>
                  <a:lnTo>
                    <a:pt x="1017" y="1424"/>
                  </a:lnTo>
                  <a:lnTo>
                    <a:pt x="1015" y="1425"/>
                  </a:lnTo>
                  <a:lnTo>
                    <a:pt x="1014" y="1427"/>
                  </a:lnTo>
                  <a:lnTo>
                    <a:pt x="1014" y="1428"/>
                  </a:lnTo>
                  <a:lnTo>
                    <a:pt x="1012" y="1430"/>
                  </a:lnTo>
                  <a:lnTo>
                    <a:pt x="1009" y="1433"/>
                  </a:lnTo>
                  <a:lnTo>
                    <a:pt x="1009" y="1434"/>
                  </a:lnTo>
                  <a:lnTo>
                    <a:pt x="1009" y="1437"/>
                  </a:lnTo>
                  <a:lnTo>
                    <a:pt x="1012" y="1441"/>
                  </a:lnTo>
                  <a:lnTo>
                    <a:pt x="1012" y="1443"/>
                  </a:lnTo>
                  <a:lnTo>
                    <a:pt x="1012" y="1444"/>
                  </a:lnTo>
                  <a:lnTo>
                    <a:pt x="1011" y="1446"/>
                  </a:lnTo>
                  <a:lnTo>
                    <a:pt x="1009" y="1446"/>
                  </a:lnTo>
                  <a:lnTo>
                    <a:pt x="1006" y="1444"/>
                  </a:lnTo>
                  <a:lnTo>
                    <a:pt x="1001" y="1443"/>
                  </a:lnTo>
                  <a:lnTo>
                    <a:pt x="999" y="1443"/>
                  </a:lnTo>
                  <a:lnTo>
                    <a:pt x="999" y="1444"/>
                  </a:lnTo>
                  <a:lnTo>
                    <a:pt x="1002" y="1447"/>
                  </a:lnTo>
                  <a:lnTo>
                    <a:pt x="1011" y="1456"/>
                  </a:lnTo>
                  <a:lnTo>
                    <a:pt x="1018" y="1457"/>
                  </a:lnTo>
                  <a:lnTo>
                    <a:pt x="1041" y="1468"/>
                  </a:lnTo>
                  <a:lnTo>
                    <a:pt x="1044" y="1469"/>
                  </a:lnTo>
                  <a:lnTo>
                    <a:pt x="1046" y="1468"/>
                  </a:lnTo>
                  <a:lnTo>
                    <a:pt x="1051" y="1470"/>
                  </a:lnTo>
                  <a:lnTo>
                    <a:pt x="1060" y="1484"/>
                  </a:lnTo>
                  <a:lnTo>
                    <a:pt x="1065" y="1484"/>
                  </a:lnTo>
                  <a:lnTo>
                    <a:pt x="1066" y="1484"/>
                  </a:lnTo>
                  <a:lnTo>
                    <a:pt x="1069" y="1482"/>
                  </a:lnTo>
                  <a:lnTo>
                    <a:pt x="1078" y="1473"/>
                  </a:lnTo>
                  <a:lnTo>
                    <a:pt x="1081" y="1470"/>
                  </a:lnTo>
                  <a:lnTo>
                    <a:pt x="1082" y="1469"/>
                  </a:lnTo>
                  <a:lnTo>
                    <a:pt x="1082" y="1468"/>
                  </a:lnTo>
                  <a:lnTo>
                    <a:pt x="1082" y="1466"/>
                  </a:lnTo>
                  <a:lnTo>
                    <a:pt x="1082" y="1465"/>
                  </a:lnTo>
                  <a:lnTo>
                    <a:pt x="1082" y="1465"/>
                  </a:lnTo>
                  <a:lnTo>
                    <a:pt x="1082" y="1463"/>
                  </a:lnTo>
                  <a:lnTo>
                    <a:pt x="1084" y="1463"/>
                  </a:lnTo>
                  <a:lnTo>
                    <a:pt x="1084" y="1462"/>
                  </a:lnTo>
                  <a:lnTo>
                    <a:pt x="1084" y="1462"/>
                  </a:lnTo>
                  <a:lnTo>
                    <a:pt x="1085" y="1462"/>
                  </a:lnTo>
                  <a:lnTo>
                    <a:pt x="1085" y="1460"/>
                  </a:lnTo>
                  <a:lnTo>
                    <a:pt x="1086" y="1459"/>
                  </a:lnTo>
                  <a:lnTo>
                    <a:pt x="1086" y="1459"/>
                  </a:lnTo>
                  <a:lnTo>
                    <a:pt x="1086" y="1457"/>
                  </a:lnTo>
                  <a:lnTo>
                    <a:pt x="1086" y="1457"/>
                  </a:lnTo>
                  <a:lnTo>
                    <a:pt x="1085" y="1456"/>
                  </a:lnTo>
                  <a:lnTo>
                    <a:pt x="1085" y="1456"/>
                  </a:lnTo>
                  <a:lnTo>
                    <a:pt x="1084" y="1456"/>
                  </a:lnTo>
                  <a:lnTo>
                    <a:pt x="1081" y="1456"/>
                  </a:lnTo>
                  <a:lnTo>
                    <a:pt x="1078" y="1460"/>
                  </a:lnTo>
                  <a:lnTo>
                    <a:pt x="1076" y="1462"/>
                  </a:lnTo>
                  <a:lnTo>
                    <a:pt x="1076" y="1462"/>
                  </a:lnTo>
                  <a:lnTo>
                    <a:pt x="1075" y="1462"/>
                  </a:lnTo>
                  <a:lnTo>
                    <a:pt x="1072" y="1460"/>
                  </a:lnTo>
                  <a:lnTo>
                    <a:pt x="1063" y="1451"/>
                  </a:lnTo>
                  <a:lnTo>
                    <a:pt x="1062" y="1449"/>
                  </a:lnTo>
                  <a:lnTo>
                    <a:pt x="1062" y="1446"/>
                  </a:lnTo>
                  <a:lnTo>
                    <a:pt x="1062" y="1446"/>
                  </a:lnTo>
                  <a:lnTo>
                    <a:pt x="1062" y="1444"/>
                  </a:lnTo>
                  <a:lnTo>
                    <a:pt x="1062" y="1444"/>
                  </a:lnTo>
                  <a:lnTo>
                    <a:pt x="1076" y="1435"/>
                  </a:lnTo>
                  <a:lnTo>
                    <a:pt x="1081" y="1431"/>
                  </a:lnTo>
                  <a:lnTo>
                    <a:pt x="1089" y="1428"/>
                  </a:lnTo>
                  <a:lnTo>
                    <a:pt x="1091" y="1427"/>
                  </a:lnTo>
                  <a:lnTo>
                    <a:pt x="1092" y="1425"/>
                  </a:lnTo>
                  <a:lnTo>
                    <a:pt x="1091" y="1424"/>
                  </a:lnTo>
                  <a:lnTo>
                    <a:pt x="1091" y="1422"/>
                  </a:lnTo>
                  <a:lnTo>
                    <a:pt x="1091" y="1421"/>
                  </a:lnTo>
                  <a:lnTo>
                    <a:pt x="1091" y="1419"/>
                  </a:lnTo>
                  <a:lnTo>
                    <a:pt x="1091" y="1419"/>
                  </a:lnTo>
                  <a:lnTo>
                    <a:pt x="1092" y="1418"/>
                  </a:lnTo>
                  <a:lnTo>
                    <a:pt x="1094" y="1419"/>
                  </a:lnTo>
                  <a:lnTo>
                    <a:pt x="1101" y="1422"/>
                  </a:lnTo>
                  <a:lnTo>
                    <a:pt x="1102" y="1425"/>
                  </a:lnTo>
                  <a:lnTo>
                    <a:pt x="1104" y="1427"/>
                  </a:lnTo>
                  <a:lnTo>
                    <a:pt x="1105" y="1428"/>
                  </a:lnTo>
                  <a:lnTo>
                    <a:pt x="1107" y="1434"/>
                  </a:lnTo>
                  <a:lnTo>
                    <a:pt x="1108" y="1437"/>
                  </a:lnTo>
                  <a:lnTo>
                    <a:pt x="1110" y="1438"/>
                  </a:lnTo>
                  <a:lnTo>
                    <a:pt x="1111" y="1438"/>
                  </a:lnTo>
                  <a:lnTo>
                    <a:pt x="1113" y="1438"/>
                  </a:lnTo>
                  <a:lnTo>
                    <a:pt x="1114" y="1438"/>
                  </a:lnTo>
                  <a:lnTo>
                    <a:pt x="1117" y="1435"/>
                  </a:lnTo>
                  <a:lnTo>
                    <a:pt x="1119" y="1434"/>
                  </a:lnTo>
                  <a:lnTo>
                    <a:pt x="1119" y="1433"/>
                  </a:lnTo>
                  <a:lnTo>
                    <a:pt x="1116" y="1425"/>
                  </a:lnTo>
                  <a:lnTo>
                    <a:pt x="1114" y="1425"/>
                  </a:lnTo>
                  <a:lnTo>
                    <a:pt x="1114" y="1424"/>
                  </a:lnTo>
                  <a:lnTo>
                    <a:pt x="1113" y="1422"/>
                  </a:lnTo>
                  <a:lnTo>
                    <a:pt x="1113" y="1421"/>
                  </a:lnTo>
                  <a:lnTo>
                    <a:pt x="1113" y="1419"/>
                  </a:lnTo>
                  <a:lnTo>
                    <a:pt x="1113" y="1418"/>
                  </a:lnTo>
                  <a:lnTo>
                    <a:pt x="1114" y="1418"/>
                  </a:lnTo>
                  <a:lnTo>
                    <a:pt x="1116" y="1418"/>
                  </a:lnTo>
                  <a:lnTo>
                    <a:pt x="1120" y="1418"/>
                  </a:lnTo>
                  <a:lnTo>
                    <a:pt x="1121" y="1417"/>
                  </a:lnTo>
                  <a:lnTo>
                    <a:pt x="1123" y="1415"/>
                  </a:lnTo>
                  <a:lnTo>
                    <a:pt x="1124" y="1414"/>
                  </a:lnTo>
                  <a:lnTo>
                    <a:pt x="1126" y="1412"/>
                  </a:lnTo>
                  <a:lnTo>
                    <a:pt x="1127" y="1414"/>
                  </a:lnTo>
                  <a:lnTo>
                    <a:pt x="1127" y="1414"/>
                  </a:lnTo>
                  <a:lnTo>
                    <a:pt x="1129" y="1417"/>
                  </a:lnTo>
                  <a:lnTo>
                    <a:pt x="1129" y="1421"/>
                  </a:lnTo>
                  <a:lnTo>
                    <a:pt x="1129" y="1421"/>
                  </a:lnTo>
                  <a:lnTo>
                    <a:pt x="1132" y="1425"/>
                  </a:lnTo>
                  <a:lnTo>
                    <a:pt x="1143" y="1434"/>
                  </a:lnTo>
                  <a:lnTo>
                    <a:pt x="1161" y="1419"/>
                  </a:lnTo>
                  <a:lnTo>
                    <a:pt x="1165" y="1414"/>
                  </a:lnTo>
                  <a:lnTo>
                    <a:pt x="1167" y="1412"/>
                  </a:lnTo>
                  <a:lnTo>
                    <a:pt x="1172" y="1411"/>
                  </a:lnTo>
                  <a:lnTo>
                    <a:pt x="1174" y="1408"/>
                  </a:lnTo>
                  <a:lnTo>
                    <a:pt x="1175" y="1406"/>
                  </a:lnTo>
                  <a:lnTo>
                    <a:pt x="1175" y="1405"/>
                  </a:lnTo>
                  <a:lnTo>
                    <a:pt x="1177" y="1406"/>
                  </a:lnTo>
                  <a:lnTo>
                    <a:pt x="1184" y="1412"/>
                  </a:lnTo>
                  <a:lnTo>
                    <a:pt x="1186" y="1412"/>
                  </a:lnTo>
                  <a:lnTo>
                    <a:pt x="1187" y="1412"/>
                  </a:lnTo>
                  <a:lnTo>
                    <a:pt x="1188" y="1409"/>
                  </a:lnTo>
                  <a:lnTo>
                    <a:pt x="1190" y="1406"/>
                  </a:lnTo>
                  <a:lnTo>
                    <a:pt x="1196" y="1405"/>
                  </a:lnTo>
                  <a:lnTo>
                    <a:pt x="1213" y="1406"/>
                  </a:lnTo>
                  <a:lnTo>
                    <a:pt x="1212" y="1403"/>
                  </a:lnTo>
                  <a:lnTo>
                    <a:pt x="1212" y="1402"/>
                  </a:lnTo>
                  <a:lnTo>
                    <a:pt x="1212" y="1401"/>
                  </a:lnTo>
                  <a:lnTo>
                    <a:pt x="1213" y="1399"/>
                  </a:lnTo>
                  <a:lnTo>
                    <a:pt x="1218" y="1399"/>
                  </a:lnTo>
                  <a:lnTo>
                    <a:pt x="1219" y="1398"/>
                  </a:lnTo>
                  <a:lnTo>
                    <a:pt x="1220" y="1396"/>
                  </a:lnTo>
                  <a:lnTo>
                    <a:pt x="1223" y="1392"/>
                  </a:lnTo>
                  <a:lnTo>
                    <a:pt x="1225" y="1389"/>
                  </a:lnTo>
                  <a:lnTo>
                    <a:pt x="1225" y="1389"/>
                  </a:lnTo>
                  <a:lnTo>
                    <a:pt x="1223" y="1387"/>
                  </a:lnTo>
                  <a:lnTo>
                    <a:pt x="1223" y="1387"/>
                  </a:lnTo>
                  <a:lnTo>
                    <a:pt x="1223" y="1386"/>
                  </a:lnTo>
                  <a:lnTo>
                    <a:pt x="1223" y="1385"/>
                  </a:lnTo>
                  <a:lnTo>
                    <a:pt x="1223" y="1383"/>
                  </a:lnTo>
                  <a:lnTo>
                    <a:pt x="1225" y="1383"/>
                  </a:lnTo>
                  <a:lnTo>
                    <a:pt x="1226" y="1382"/>
                  </a:lnTo>
                  <a:lnTo>
                    <a:pt x="1226" y="1380"/>
                  </a:lnTo>
                  <a:lnTo>
                    <a:pt x="1229" y="1379"/>
                  </a:lnTo>
                  <a:lnTo>
                    <a:pt x="1232" y="1379"/>
                  </a:lnTo>
                  <a:lnTo>
                    <a:pt x="1234" y="1379"/>
                  </a:lnTo>
                  <a:lnTo>
                    <a:pt x="1235" y="1380"/>
                  </a:lnTo>
                  <a:lnTo>
                    <a:pt x="1235" y="1380"/>
                  </a:lnTo>
                  <a:lnTo>
                    <a:pt x="1235" y="1382"/>
                  </a:lnTo>
                  <a:lnTo>
                    <a:pt x="1235" y="1383"/>
                  </a:lnTo>
                  <a:lnTo>
                    <a:pt x="1237" y="1383"/>
                  </a:lnTo>
                  <a:lnTo>
                    <a:pt x="1237" y="1385"/>
                  </a:lnTo>
                  <a:lnTo>
                    <a:pt x="1238" y="1385"/>
                  </a:lnTo>
                  <a:lnTo>
                    <a:pt x="1242" y="1385"/>
                  </a:lnTo>
                  <a:lnTo>
                    <a:pt x="1244" y="1383"/>
                  </a:lnTo>
                  <a:lnTo>
                    <a:pt x="1260" y="1374"/>
                  </a:lnTo>
                  <a:lnTo>
                    <a:pt x="1261" y="1373"/>
                  </a:lnTo>
                  <a:lnTo>
                    <a:pt x="1263" y="1373"/>
                  </a:lnTo>
                  <a:lnTo>
                    <a:pt x="1263" y="1371"/>
                  </a:lnTo>
                  <a:lnTo>
                    <a:pt x="1264" y="1369"/>
                  </a:lnTo>
                  <a:lnTo>
                    <a:pt x="1264" y="1366"/>
                  </a:lnTo>
                  <a:lnTo>
                    <a:pt x="1266" y="1364"/>
                  </a:lnTo>
                  <a:lnTo>
                    <a:pt x="1267" y="1363"/>
                  </a:lnTo>
                  <a:lnTo>
                    <a:pt x="1273" y="1358"/>
                  </a:lnTo>
                  <a:lnTo>
                    <a:pt x="1277" y="1357"/>
                  </a:lnTo>
                  <a:lnTo>
                    <a:pt x="1277" y="1355"/>
                  </a:lnTo>
                  <a:lnTo>
                    <a:pt x="1279" y="1355"/>
                  </a:lnTo>
                  <a:lnTo>
                    <a:pt x="1279" y="1354"/>
                  </a:lnTo>
                  <a:lnTo>
                    <a:pt x="1280" y="1352"/>
                  </a:lnTo>
                  <a:lnTo>
                    <a:pt x="1286" y="1348"/>
                  </a:lnTo>
                  <a:lnTo>
                    <a:pt x="1287" y="1344"/>
                  </a:lnTo>
                  <a:lnTo>
                    <a:pt x="1292" y="1334"/>
                  </a:lnTo>
                  <a:lnTo>
                    <a:pt x="1292" y="1331"/>
                  </a:lnTo>
                  <a:lnTo>
                    <a:pt x="1293" y="1328"/>
                  </a:lnTo>
                  <a:lnTo>
                    <a:pt x="1293" y="1326"/>
                  </a:lnTo>
                  <a:lnTo>
                    <a:pt x="1293" y="1325"/>
                  </a:lnTo>
                  <a:lnTo>
                    <a:pt x="1292" y="1325"/>
                  </a:lnTo>
                  <a:lnTo>
                    <a:pt x="1292" y="1323"/>
                  </a:lnTo>
                  <a:lnTo>
                    <a:pt x="1290" y="1322"/>
                  </a:lnTo>
                  <a:lnTo>
                    <a:pt x="1290" y="1322"/>
                  </a:lnTo>
                  <a:lnTo>
                    <a:pt x="1290" y="1320"/>
                  </a:lnTo>
                  <a:lnTo>
                    <a:pt x="1292" y="1320"/>
                  </a:lnTo>
                  <a:lnTo>
                    <a:pt x="1292" y="1319"/>
                  </a:lnTo>
                  <a:lnTo>
                    <a:pt x="1295" y="1319"/>
                  </a:lnTo>
                  <a:lnTo>
                    <a:pt x="1301" y="1319"/>
                  </a:lnTo>
                  <a:lnTo>
                    <a:pt x="1305" y="1318"/>
                  </a:lnTo>
                  <a:lnTo>
                    <a:pt x="1308" y="1316"/>
                  </a:lnTo>
                  <a:lnTo>
                    <a:pt x="1311" y="1318"/>
                  </a:lnTo>
                  <a:lnTo>
                    <a:pt x="1327" y="1326"/>
                  </a:lnTo>
                  <a:lnTo>
                    <a:pt x="1340" y="1336"/>
                  </a:lnTo>
                  <a:lnTo>
                    <a:pt x="1344" y="1336"/>
                  </a:lnTo>
                  <a:lnTo>
                    <a:pt x="1355" y="1336"/>
                  </a:lnTo>
                  <a:lnTo>
                    <a:pt x="1356" y="1336"/>
                  </a:lnTo>
                  <a:lnTo>
                    <a:pt x="1373" y="1328"/>
                  </a:lnTo>
                  <a:lnTo>
                    <a:pt x="1376" y="1326"/>
                  </a:lnTo>
                  <a:lnTo>
                    <a:pt x="1378" y="1328"/>
                  </a:lnTo>
                  <a:lnTo>
                    <a:pt x="1382" y="1332"/>
                  </a:lnTo>
                  <a:lnTo>
                    <a:pt x="1384" y="1334"/>
                  </a:lnTo>
                  <a:lnTo>
                    <a:pt x="1385" y="1334"/>
                  </a:lnTo>
                  <a:lnTo>
                    <a:pt x="1387" y="1334"/>
                  </a:lnTo>
                  <a:lnTo>
                    <a:pt x="1388" y="1331"/>
                  </a:lnTo>
                  <a:lnTo>
                    <a:pt x="1389" y="1326"/>
                  </a:lnTo>
                  <a:lnTo>
                    <a:pt x="1388" y="1325"/>
                  </a:lnTo>
                  <a:lnTo>
                    <a:pt x="1388" y="1323"/>
                  </a:lnTo>
                  <a:lnTo>
                    <a:pt x="1387" y="1322"/>
                  </a:lnTo>
                  <a:lnTo>
                    <a:pt x="1384" y="1319"/>
                  </a:lnTo>
                  <a:lnTo>
                    <a:pt x="1382" y="1315"/>
                  </a:lnTo>
                  <a:lnTo>
                    <a:pt x="1381" y="1313"/>
                  </a:lnTo>
                  <a:lnTo>
                    <a:pt x="1379" y="1312"/>
                  </a:lnTo>
                  <a:lnTo>
                    <a:pt x="1379" y="1310"/>
                  </a:lnTo>
                  <a:lnTo>
                    <a:pt x="1381" y="1309"/>
                  </a:lnTo>
                  <a:lnTo>
                    <a:pt x="1387" y="1302"/>
                  </a:lnTo>
                  <a:lnTo>
                    <a:pt x="1404" y="1291"/>
                  </a:lnTo>
                  <a:lnTo>
                    <a:pt x="1394" y="1274"/>
                  </a:lnTo>
                  <a:lnTo>
                    <a:pt x="1394" y="1261"/>
                  </a:lnTo>
                  <a:lnTo>
                    <a:pt x="1394" y="1258"/>
                  </a:lnTo>
                  <a:lnTo>
                    <a:pt x="1392" y="1252"/>
                  </a:lnTo>
                  <a:lnTo>
                    <a:pt x="1391" y="1251"/>
                  </a:lnTo>
                  <a:lnTo>
                    <a:pt x="1389" y="1249"/>
                  </a:lnTo>
                  <a:lnTo>
                    <a:pt x="1385" y="1245"/>
                  </a:lnTo>
                  <a:lnTo>
                    <a:pt x="1385" y="1245"/>
                  </a:lnTo>
                  <a:lnTo>
                    <a:pt x="1382" y="1239"/>
                  </a:lnTo>
                  <a:lnTo>
                    <a:pt x="1381" y="1235"/>
                  </a:lnTo>
                  <a:lnTo>
                    <a:pt x="1379" y="1233"/>
                  </a:lnTo>
                  <a:lnTo>
                    <a:pt x="1378" y="1227"/>
                  </a:lnTo>
                  <a:lnTo>
                    <a:pt x="1378" y="1226"/>
                  </a:lnTo>
                  <a:lnTo>
                    <a:pt x="1376" y="1223"/>
                  </a:lnTo>
                  <a:lnTo>
                    <a:pt x="1375" y="1223"/>
                  </a:lnTo>
                  <a:lnTo>
                    <a:pt x="1373" y="1221"/>
                  </a:lnTo>
                  <a:lnTo>
                    <a:pt x="1371" y="1220"/>
                  </a:lnTo>
                  <a:lnTo>
                    <a:pt x="1369" y="1217"/>
                  </a:lnTo>
                  <a:lnTo>
                    <a:pt x="1368" y="1217"/>
                  </a:lnTo>
                  <a:lnTo>
                    <a:pt x="1366" y="1214"/>
                  </a:lnTo>
                  <a:lnTo>
                    <a:pt x="1365" y="1213"/>
                  </a:lnTo>
                  <a:lnTo>
                    <a:pt x="1365" y="1211"/>
                  </a:lnTo>
                  <a:lnTo>
                    <a:pt x="1363" y="1210"/>
                  </a:lnTo>
                  <a:lnTo>
                    <a:pt x="1363" y="1203"/>
                  </a:lnTo>
                  <a:lnTo>
                    <a:pt x="1362" y="1201"/>
                  </a:lnTo>
                  <a:lnTo>
                    <a:pt x="1362" y="1200"/>
                  </a:lnTo>
                  <a:lnTo>
                    <a:pt x="1362" y="1198"/>
                  </a:lnTo>
                  <a:lnTo>
                    <a:pt x="1363" y="1184"/>
                  </a:lnTo>
                  <a:lnTo>
                    <a:pt x="1363" y="1175"/>
                  </a:lnTo>
                  <a:lnTo>
                    <a:pt x="1363" y="1173"/>
                  </a:lnTo>
                  <a:lnTo>
                    <a:pt x="1365" y="1172"/>
                  </a:lnTo>
                  <a:lnTo>
                    <a:pt x="1371" y="1170"/>
                  </a:lnTo>
                  <a:lnTo>
                    <a:pt x="1371" y="1169"/>
                  </a:lnTo>
                  <a:lnTo>
                    <a:pt x="1372" y="1168"/>
                  </a:lnTo>
                  <a:lnTo>
                    <a:pt x="1373" y="1165"/>
                  </a:lnTo>
                  <a:lnTo>
                    <a:pt x="1375" y="1163"/>
                  </a:lnTo>
                  <a:lnTo>
                    <a:pt x="1376" y="1162"/>
                  </a:lnTo>
                  <a:lnTo>
                    <a:pt x="1379" y="1162"/>
                  </a:lnTo>
                  <a:lnTo>
                    <a:pt x="1379" y="1160"/>
                  </a:lnTo>
                  <a:lnTo>
                    <a:pt x="1381" y="1159"/>
                  </a:lnTo>
                  <a:lnTo>
                    <a:pt x="1382" y="1156"/>
                  </a:lnTo>
                  <a:lnTo>
                    <a:pt x="1382" y="1154"/>
                  </a:lnTo>
                  <a:lnTo>
                    <a:pt x="1384" y="1154"/>
                  </a:lnTo>
                  <a:lnTo>
                    <a:pt x="1384" y="1153"/>
                  </a:lnTo>
                  <a:lnTo>
                    <a:pt x="1384" y="1152"/>
                  </a:lnTo>
                  <a:lnTo>
                    <a:pt x="1384" y="1149"/>
                  </a:lnTo>
                  <a:lnTo>
                    <a:pt x="1382" y="1140"/>
                  </a:lnTo>
                  <a:lnTo>
                    <a:pt x="1382" y="1138"/>
                  </a:lnTo>
                  <a:lnTo>
                    <a:pt x="1381" y="1137"/>
                  </a:lnTo>
                  <a:lnTo>
                    <a:pt x="1375" y="1133"/>
                  </a:lnTo>
                  <a:lnTo>
                    <a:pt x="1375" y="1131"/>
                  </a:lnTo>
                  <a:lnTo>
                    <a:pt x="1373" y="1131"/>
                  </a:lnTo>
                  <a:lnTo>
                    <a:pt x="1375" y="1125"/>
                  </a:lnTo>
                  <a:lnTo>
                    <a:pt x="1376" y="1120"/>
                  </a:lnTo>
                  <a:lnTo>
                    <a:pt x="1378" y="1118"/>
                  </a:lnTo>
                  <a:lnTo>
                    <a:pt x="1379" y="1117"/>
                  </a:lnTo>
                  <a:lnTo>
                    <a:pt x="1384" y="1115"/>
                  </a:lnTo>
                  <a:lnTo>
                    <a:pt x="1385" y="1114"/>
                  </a:lnTo>
                  <a:lnTo>
                    <a:pt x="1385" y="1112"/>
                  </a:lnTo>
                  <a:lnTo>
                    <a:pt x="1385" y="1111"/>
                  </a:lnTo>
                  <a:lnTo>
                    <a:pt x="1384" y="1111"/>
                  </a:lnTo>
                  <a:lnTo>
                    <a:pt x="1382" y="1112"/>
                  </a:lnTo>
                  <a:lnTo>
                    <a:pt x="1379" y="1112"/>
                  </a:lnTo>
                  <a:lnTo>
                    <a:pt x="1378" y="1111"/>
                  </a:lnTo>
                  <a:lnTo>
                    <a:pt x="1376" y="1108"/>
                  </a:lnTo>
                  <a:lnTo>
                    <a:pt x="1375" y="1106"/>
                  </a:lnTo>
                  <a:lnTo>
                    <a:pt x="1366" y="1102"/>
                  </a:lnTo>
                  <a:lnTo>
                    <a:pt x="1366" y="1098"/>
                  </a:lnTo>
                  <a:lnTo>
                    <a:pt x="1365" y="1096"/>
                  </a:lnTo>
                  <a:lnTo>
                    <a:pt x="1365" y="1095"/>
                  </a:lnTo>
                  <a:lnTo>
                    <a:pt x="1360" y="1089"/>
                  </a:lnTo>
                  <a:lnTo>
                    <a:pt x="1359" y="1087"/>
                  </a:lnTo>
                  <a:lnTo>
                    <a:pt x="1359" y="1087"/>
                  </a:lnTo>
                  <a:lnTo>
                    <a:pt x="1359" y="1087"/>
                  </a:lnTo>
                  <a:lnTo>
                    <a:pt x="1359" y="1086"/>
                  </a:lnTo>
                  <a:lnTo>
                    <a:pt x="1359" y="1085"/>
                  </a:lnTo>
                  <a:lnTo>
                    <a:pt x="1360" y="1083"/>
                  </a:lnTo>
                  <a:lnTo>
                    <a:pt x="1363" y="1082"/>
                  </a:lnTo>
                  <a:lnTo>
                    <a:pt x="1373" y="1083"/>
                  </a:lnTo>
                  <a:lnTo>
                    <a:pt x="1375" y="1083"/>
                  </a:lnTo>
                  <a:lnTo>
                    <a:pt x="1378" y="1082"/>
                  </a:lnTo>
                  <a:lnTo>
                    <a:pt x="1382" y="1079"/>
                  </a:lnTo>
                  <a:lnTo>
                    <a:pt x="1385" y="1074"/>
                  </a:lnTo>
                  <a:lnTo>
                    <a:pt x="1388" y="1071"/>
                  </a:lnTo>
                  <a:lnTo>
                    <a:pt x="1388" y="1070"/>
                  </a:lnTo>
                  <a:lnTo>
                    <a:pt x="1388" y="1069"/>
                  </a:lnTo>
                  <a:lnTo>
                    <a:pt x="1388" y="1067"/>
                  </a:lnTo>
                  <a:lnTo>
                    <a:pt x="1388" y="1066"/>
                  </a:lnTo>
                  <a:lnTo>
                    <a:pt x="1388" y="1064"/>
                  </a:lnTo>
                  <a:lnTo>
                    <a:pt x="1391" y="1063"/>
                  </a:lnTo>
                  <a:lnTo>
                    <a:pt x="1410" y="1060"/>
                  </a:lnTo>
                  <a:lnTo>
                    <a:pt x="1456" y="1060"/>
                  </a:lnTo>
                  <a:lnTo>
                    <a:pt x="1465" y="1055"/>
                  </a:lnTo>
                  <a:lnTo>
                    <a:pt x="1473" y="1055"/>
                  </a:lnTo>
                  <a:lnTo>
                    <a:pt x="1490" y="1055"/>
                  </a:lnTo>
                  <a:lnTo>
                    <a:pt x="1493" y="1055"/>
                  </a:lnTo>
                  <a:lnTo>
                    <a:pt x="1494" y="1055"/>
                  </a:lnTo>
                  <a:lnTo>
                    <a:pt x="1496" y="1054"/>
                  </a:lnTo>
                  <a:lnTo>
                    <a:pt x="1497" y="1054"/>
                  </a:lnTo>
                  <a:lnTo>
                    <a:pt x="1497" y="1051"/>
                  </a:lnTo>
                  <a:lnTo>
                    <a:pt x="1499" y="1050"/>
                  </a:lnTo>
                  <a:lnTo>
                    <a:pt x="1499" y="1045"/>
                  </a:lnTo>
                  <a:lnTo>
                    <a:pt x="1499" y="1042"/>
                  </a:lnTo>
                  <a:lnTo>
                    <a:pt x="1497" y="1041"/>
                  </a:lnTo>
                  <a:lnTo>
                    <a:pt x="1497" y="1041"/>
                  </a:lnTo>
                  <a:lnTo>
                    <a:pt x="1491" y="1037"/>
                  </a:lnTo>
                  <a:lnTo>
                    <a:pt x="1491" y="1035"/>
                  </a:lnTo>
                  <a:lnTo>
                    <a:pt x="1490" y="1035"/>
                  </a:lnTo>
                  <a:lnTo>
                    <a:pt x="1490" y="1034"/>
                  </a:lnTo>
                  <a:lnTo>
                    <a:pt x="1491" y="1032"/>
                  </a:lnTo>
                  <a:lnTo>
                    <a:pt x="1491" y="1031"/>
                  </a:lnTo>
                  <a:lnTo>
                    <a:pt x="1494" y="1029"/>
                  </a:lnTo>
                  <a:lnTo>
                    <a:pt x="1506" y="1025"/>
                  </a:lnTo>
                  <a:lnTo>
                    <a:pt x="1513" y="1021"/>
                  </a:lnTo>
                  <a:lnTo>
                    <a:pt x="1522" y="1013"/>
                  </a:lnTo>
                  <a:lnTo>
                    <a:pt x="1523" y="1012"/>
                  </a:lnTo>
                  <a:lnTo>
                    <a:pt x="1525" y="1009"/>
                  </a:lnTo>
                  <a:lnTo>
                    <a:pt x="1528" y="1005"/>
                  </a:lnTo>
                  <a:lnTo>
                    <a:pt x="1529" y="1002"/>
                  </a:lnTo>
                  <a:lnTo>
                    <a:pt x="1529" y="999"/>
                  </a:lnTo>
                  <a:lnTo>
                    <a:pt x="1528" y="993"/>
                  </a:lnTo>
                  <a:lnTo>
                    <a:pt x="1526" y="991"/>
                  </a:lnTo>
                  <a:lnTo>
                    <a:pt x="1525" y="990"/>
                  </a:lnTo>
                  <a:lnTo>
                    <a:pt x="1523" y="990"/>
                  </a:lnTo>
                  <a:lnTo>
                    <a:pt x="1522" y="990"/>
                  </a:lnTo>
                  <a:lnTo>
                    <a:pt x="1521" y="990"/>
                  </a:lnTo>
                  <a:lnTo>
                    <a:pt x="1519" y="988"/>
                  </a:lnTo>
                  <a:lnTo>
                    <a:pt x="1518" y="988"/>
                  </a:lnTo>
                  <a:lnTo>
                    <a:pt x="1518" y="987"/>
                  </a:lnTo>
                  <a:lnTo>
                    <a:pt x="1516" y="986"/>
                  </a:lnTo>
                  <a:lnTo>
                    <a:pt x="1515" y="983"/>
                  </a:lnTo>
                  <a:lnTo>
                    <a:pt x="1515" y="981"/>
                  </a:lnTo>
                  <a:lnTo>
                    <a:pt x="1516" y="978"/>
                  </a:lnTo>
                  <a:lnTo>
                    <a:pt x="1519" y="972"/>
                  </a:lnTo>
                  <a:lnTo>
                    <a:pt x="1521" y="970"/>
                  </a:lnTo>
                  <a:lnTo>
                    <a:pt x="1522" y="968"/>
                  </a:lnTo>
                  <a:lnTo>
                    <a:pt x="1529" y="965"/>
                  </a:lnTo>
                  <a:lnTo>
                    <a:pt x="1534" y="965"/>
                  </a:lnTo>
                  <a:lnTo>
                    <a:pt x="1535" y="964"/>
                  </a:lnTo>
                  <a:lnTo>
                    <a:pt x="1537" y="962"/>
                  </a:lnTo>
                  <a:lnTo>
                    <a:pt x="1538" y="961"/>
                  </a:lnTo>
                  <a:lnTo>
                    <a:pt x="1538" y="959"/>
                  </a:lnTo>
                  <a:lnTo>
                    <a:pt x="1538" y="958"/>
                  </a:lnTo>
                  <a:lnTo>
                    <a:pt x="1538" y="952"/>
                  </a:lnTo>
                  <a:lnTo>
                    <a:pt x="1538" y="951"/>
                  </a:lnTo>
                  <a:lnTo>
                    <a:pt x="1538" y="949"/>
                  </a:lnTo>
                  <a:lnTo>
                    <a:pt x="1535" y="946"/>
                  </a:lnTo>
                  <a:lnTo>
                    <a:pt x="1535" y="946"/>
                  </a:lnTo>
                  <a:lnTo>
                    <a:pt x="1534" y="946"/>
                  </a:lnTo>
                  <a:lnTo>
                    <a:pt x="1534" y="948"/>
                  </a:lnTo>
                  <a:lnTo>
                    <a:pt x="1534" y="949"/>
                  </a:lnTo>
                  <a:lnTo>
                    <a:pt x="1532" y="949"/>
                  </a:lnTo>
                  <a:lnTo>
                    <a:pt x="1532" y="951"/>
                  </a:lnTo>
                  <a:lnTo>
                    <a:pt x="1531" y="951"/>
                  </a:lnTo>
                  <a:lnTo>
                    <a:pt x="1531" y="949"/>
                  </a:lnTo>
                  <a:lnTo>
                    <a:pt x="1531" y="946"/>
                  </a:lnTo>
                  <a:lnTo>
                    <a:pt x="1531" y="942"/>
                  </a:lnTo>
                  <a:lnTo>
                    <a:pt x="1529" y="940"/>
                  </a:lnTo>
                  <a:lnTo>
                    <a:pt x="1528" y="940"/>
                  </a:lnTo>
                  <a:lnTo>
                    <a:pt x="1525" y="940"/>
                  </a:lnTo>
                  <a:lnTo>
                    <a:pt x="1523" y="940"/>
                  </a:lnTo>
                  <a:lnTo>
                    <a:pt x="1523" y="939"/>
                  </a:lnTo>
                  <a:lnTo>
                    <a:pt x="1522" y="936"/>
                  </a:lnTo>
                  <a:lnTo>
                    <a:pt x="1521" y="935"/>
                  </a:lnTo>
                  <a:lnTo>
                    <a:pt x="1518" y="933"/>
                  </a:lnTo>
                  <a:lnTo>
                    <a:pt x="1513" y="926"/>
                  </a:lnTo>
                  <a:lnTo>
                    <a:pt x="1513" y="924"/>
                  </a:lnTo>
                  <a:lnTo>
                    <a:pt x="1515" y="923"/>
                  </a:lnTo>
                  <a:lnTo>
                    <a:pt x="1516" y="922"/>
                  </a:lnTo>
                  <a:lnTo>
                    <a:pt x="1519" y="919"/>
                  </a:lnTo>
                  <a:lnTo>
                    <a:pt x="1521" y="917"/>
                  </a:lnTo>
                  <a:lnTo>
                    <a:pt x="1521" y="916"/>
                  </a:lnTo>
                  <a:lnTo>
                    <a:pt x="1519" y="913"/>
                  </a:lnTo>
                  <a:lnTo>
                    <a:pt x="1518" y="911"/>
                  </a:lnTo>
                  <a:lnTo>
                    <a:pt x="1518" y="911"/>
                  </a:lnTo>
                  <a:lnTo>
                    <a:pt x="1518" y="910"/>
                  </a:lnTo>
                  <a:lnTo>
                    <a:pt x="1518" y="908"/>
                  </a:lnTo>
                  <a:lnTo>
                    <a:pt x="1516" y="907"/>
                  </a:lnTo>
                  <a:lnTo>
                    <a:pt x="1516" y="907"/>
                  </a:lnTo>
                  <a:lnTo>
                    <a:pt x="1516" y="905"/>
                  </a:lnTo>
                  <a:lnTo>
                    <a:pt x="1513" y="904"/>
                  </a:lnTo>
                  <a:lnTo>
                    <a:pt x="1510" y="903"/>
                  </a:lnTo>
                  <a:lnTo>
                    <a:pt x="1509" y="903"/>
                  </a:lnTo>
                  <a:lnTo>
                    <a:pt x="1509" y="901"/>
                  </a:lnTo>
                  <a:lnTo>
                    <a:pt x="1509" y="900"/>
                  </a:lnTo>
                  <a:lnTo>
                    <a:pt x="1509" y="897"/>
                  </a:lnTo>
                  <a:lnTo>
                    <a:pt x="1509" y="895"/>
                  </a:lnTo>
                  <a:lnTo>
                    <a:pt x="1509" y="895"/>
                  </a:lnTo>
                  <a:lnTo>
                    <a:pt x="1509" y="894"/>
                  </a:lnTo>
                  <a:lnTo>
                    <a:pt x="1512" y="892"/>
                  </a:lnTo>
                  <a:lnTo>
                    <a:pt x="1515" y="891"/>
                  </a:lnTo>
                  <a:lnTo>
                    <a:pt x="1525" y="889"/>
                  </a:lnTo>
                  <a:lnTo>
                    <a:pt x="1531" y="888"/>
                  </a:lnTo>
                  <a:lnTo>
                    <a:pt x="1532" y="887"/>
                  </a:lnTo>
                  <a:lnTo>
                    <a:pt x="1532" y="885"/>
                  </a:lnTo>
                  <a:lnTo>
                    <a:pt x="1534" y="882"/>
                  </a:lnTo>
                  <a:lnTo>
                    <a:pt x="1534" y="879"/>
                  </a:lnTo>
                  <a:lnTo>
                    <a:pt x="1534" y="878"/>
                  </a:lnTo>
                  <a:lnTo>
                    <a:pt x="1532" y="875"/>
                  </a:lnTo>
                  <a:lnTo>
                    <a:pt x="1532" y="873"/>
                  </a:lnTo>
                  <a:lnTo>
                    <a:pt x="1522" y="865"/>
                  </a:lnTo>
                  <a:lnTo>
                    <a:pt x="1518" y="863"/>
                  </a:lnTo>
                  <a:lnTo>
                    <a:pt x="1516" y="863"/>
                  </a:lnTo>
                  <a:lnTo>
                    <a:pt x="1513" y="862"/>
                  </a:lnTo>
                  <a:lnTo>
                    <a:pt x="1512" y="860"/>
                  </a:lnTo>
                  <a:lnTo>
                    <a:pt x="1487" y="827"/>
                  </a:lnTo>
                  <a:lnTo>
                    <a:pt x="1489" y="821"/>
                  </a:lnTo>
                  <a:lnTo>
                    <a:pt x="1489" y="818"/>
                  </a:lnTo>
                  <a:lnTo>
                    <a:pt x="1489" y="817"/>
                  </a:lnTo>
                  <a:lnTo>
                    <a:pt x="1490" y="815"/>
                  </a:lnTo>
                  <a:lnTo>
                    <a:pt x="1490" y="815"/>
                  </a:lnTo>
                  <a:lnTo>
                    <a:pt x="1490" y="814"/>
                  </a:lnTo>
                  <a:lnTo>
                    <a:pt x="1490" y="812"/>
                  </a:lnTo>
                  <a:lnTo>
                    <a:pt x="1490" y="811"/>
                  </a:lnTo>
                  <a:lnTo>
                    <a:pt x="1491" y="809"/>
                  </a:lnTo>
                  <a:lnTo>
                    <a:pt x="1491" y="808"/>
                  </a:lnTo>
                  <a:lnTo>
                    <a:pt x="1493" y="808"/>
                  </a:lnTo>
                  <a:lnTo>
                    <a:pt x="1496" y="806"/>
                  </a:lnTo>
                  <a:lnTo>
                    <a:pt x="1497" y="805"/>
                  </a:lnTo>
                  <a:lnTo>
                    <a:pt x="1499" y="805"/>
                  </a:lnTo>
                  <a:lnTo>
                    <a:pt x="1500" y="805"/>
                  </a:lnTo>
                  <a:lnTo>
                    <a:pt x="1506" y="806"/>
                  </a:lnTo>
                  <a:lnTo>
                    <a:pt x="1509" y="806"/>
                  </a:lnTo>
                  <a:lnTo>
                    <a:pt x="1509" y="806"/>
                  </a:lnTo>
                  <a:lnTo>
                    <a:pt x="1509" y="804"/>
                  </a:lnTo>
                  <a:lnTo>
                    <a:pt x="1506" y="801"/>
                  </a:lnTo>
                  <a:lnTo>
                    <a:pt x="1497" y="785"/>
                  </a:lnTo>
                  <a:lnTo>
                    <a:pt x="1496" y="783"/>
                  </a:lnTo>
                  <a:lnTo>
                    <a:pt x="1494" y="783"/>
                  </a:lnTo>
                  <a:lnTo>
                    <a:pt x="1493" y="780"/>
                  </a:lnTo>
                  <a:lnTo>
                    <a:pt x="1493" y="779"/>
                  </a:lnTo>
                  <a:lnTo>
                    <a:pt x="1491" y="777"/>
                  </a:lnTo>
                  <a:lnTo>
                    <a:pt x="1491" y="774"/>
                  </a:lnTo>
                  <a:lnTo>
                    <a:pt x="1490" y="769"/>
                  </a:lnTo>
                  <a:lnTo>
                    <a:pt x="1490" y="767"/>
                  </a:lnTo>
                  <a:lnTo>
                    <a:pt x="1490" y="757"/>
                  </a:lnTo>
                  <a:lnTo>
                    <a:pt x="1490" y="756"/>
                  </a:lnTo>
                  <a:lnTo>
                    <a:pt x="1490" y="754"/>
                  </a:lnTo>
                  <a:lnTo>
                    <a:pt x="1491" y="753"/>
                  </a:lnTo>
                  <a:lnTo>
                    <a:pt x="1491" y="753"/>
                  </a:lnTo>
                  <a:lnTo>
                    <a:pt x="1497" y="745"/>
                  </a:lnTo>
                  <a:lnTo>
                    <a:pt x="1500" y="744"/>
                  </a:lnTo>
                  <a:lnTo>
                    <a:pt x="1500" y="742"/>
                  </a:lnTo>
                  <a:lnTo>
                    <a:pt x="1500" y="741"/>
                  </a:lnTo>
                  <a:lnTo>
                    <a:pt x="1500" y="740"/>
                  </a:lnTo>
                  <a:lnTo>
                    <a:pt x="1499" y="737"/>
                  </a:lnTo>
                  <a:lnTo>
                    <a:pt x="1496" y="735"/>
                  </a:lnTo>
                  <a:lnTo>
                    <a:pt x="1494" y="735"/>
                  </a:lnTo>
                  <a:lnTo>
                    <a:pt x="1491" y="735"/>
                  </a:lnTo>
                  <a:lnTo>
                    <a:pt x="1491" y="737"/>
                  </a:lnTo>
                  <a:lnTo>
                    <a:pt x="1487" y="741"/>
                  </a:lnTo>
                  <a:lnTo>
                    <a:pt x="1486" y="741"/>
                  </a:lnTo>
                  <a:lnTo>
                    <a:pt x="1484" y="740"/>
                  </a:lnTo>
                  <a:lnTo>
                    <a:pt x="1481" y="737"/>
                  </a:lnTo>
                  <a:lnTo>
                    <a:pt x="1468" y="719"/>
                  </a:lnTo>
                  <a:lnTo>
                    <a:pt x="1455" y="693"/>
                  </a:lnTo>
                  <a:lnTo>
                    <a:pt x="1452" y="686"/>
                  </a:lnTo>
                  <a:lnTo>
                    <a:pt x="1449" y="683"/>
                  </a:lnTo>
                  <a:lnTo>
                    <a:pt x="1446" y="681"/>
                  </a:lnTo>
                  <a:lnTo>
                    <a:pt x="1443" y="681"/>
                  </a:lnTo>
                  <a:lnTo>
                    <a:pt x="1440" y="681"/>
                  </a:lnTo>
                  <a:lnTo>
                    <a:pt x="1439" y="678"/>
                  </a:lnTo>
                  <a:lnTo>
                    <a:pt x="1438" y="671"/>
                  </a:lnTo>
                  <a:lnTo>
                    <a:pt x="1438" y="668"/>
                  </a:lnTo>
                  <a:lnTo>
                    <a:pt x="1438" y="664"/>
                  </a:lnTo>
                  <a:lnTo>
                    <a:pt x="1436" y="662"/>
                  </a:lnTo>
                  <a:lnTo>
                    <a:pt x="1432" y="658"/>
                  </a:lnTo>
                  <a:lnTo>
                    <a:pt x="1430" y="655"/>
                  </a:lnTo>
                  <a:lnTo>
                    <a:pt x="1426" y="646"/>
                  </a:lnTo>
                  <a:lnTo>
                    <a:pt x="1424" y="645"/>
                  </a:lnTo>
                  <a:lnTo>
                    <a:pt x="1424" y="643"/>
                  </a:lnTo>
                  <a:lnTo>
                    <a:pt x="1424" y="642"/>
                  </a:lnTo>
                  <a:lnTo>
                    <a:pt x="1424" y="641"/>
                  </a:lnTo>
                  <a:lnTo>
                    <a:pt x="1424" y="638"/>
                  </a:lnTo>
                  <a:lnTo>
                    <a:pt x="1426" y="633"/>
                  </a:lnTo>
                  <a:lnTo>
                    <a:pt x="1426" y="632"/>
                  </a:lnTo>
                  <a:lnTo>
                    <a:pt x="1426" y="630"/>
                  </a:lnTo>
                  <a:lnTo>
                    <a:pt x="1424" y="627"/>
                  </a:lnTo>
                  <a:lnTo>
                    <a:pt x="1424" y="624"/>
                  </a:lnTo>
                  <a:lnTo>
                    <a:pt x="1424" y="623"/>
                  </a:lnTo>
                  <a:lnTo>
                    <a:pt x="1424" y="622"/>
                  </a:lnTo>
                  <a:lnTo>
                    <a:pt x="1426" y="619"/>
                  </a:lnTo>
                  <a:lnTo>
                    <a:pt x="1426" y="617"/>
                  </a:lnTo>
                  <a:lnTo>
                    <a:pt x="1424" y="614"/>
                  </a:lnTo>
                  <a:lnTo>
                    <a:pt x="1426" y="611"/>
                  </a:lnTo>
                  <a:lnTo>
                    <a:pt x="1438" y="607"/>
                  </a:lnTo>
                  <a:lnTo>
                    <a:pt x="1454" y="606"/>
                  </a:lnTo>
                  <a:lnTo>
                    <a:pt x="1468" y="607"/>
                  </a:lnTo>
                  <a:lnTo>
                    <a:pt x="1474" y="606"/>
                  </a:lnTo>
                  <a:lnTo>
                    <a:pt x="1478" y="603"/>
                  </a:lnTo>
                  <a:lnTo>
                    <a:pt x="1489" y="600"/>
                  </a:lnTo>
                  <a:lnTo>
                    <a:pt x="1494" y="597"/>
                  </a:lnTo>
                  <a:lnTo>
                    <a:pt x="1499" y="592"/>
                  </a:lnTo>
                  <a:lnTo>
                    <a:pt x="1505" y="587"/>
                  </a:lnTo>
                  <a:lnTo>
                    <a:pt x="1506" y="585"/>
                  </a:lnTo>
                  <a:lnTo>
                    <a:pt x="1506" y="585"/>
                  </a:lnTo>
                  <a:lnTo>
                    <a:pt x="1506" y="584"/>
                  </a:lnTo>
                  <a:lnTo>
                    <a:pt x="1506" y="581"/>
                  </a:lnTo>
                  <a:lnTo>
                    <a:pt x="1506" y="579"/>
                  </a:lnTo>
                  <a:lnTo>
                    <a:pt x="1507" y="578"/>
                  </a:lnTo>
                  <a:lnTo>
                    <a:pt x="1507" y="575"/>
                  </a:lnTo>
                  <a:lnTo>
                    <a:pt x="1507" y="574"/>
                  </a:lnTo>
                  <a:lnTo>
                    <a:pt x="1507" y="574"/>
                  </a:lnTo>
                  <a:lnTo>
                    <a:pt x="1509" y="572"/>
                  </a:lnTo>
                  <a:lnTo>
                    <a:pt x="1509" y="572"/>
                  </a:lnTo>
                  <a:lnTo>
                    <a:pt x="1509" y="572"/>
                  </a:lnTo>
                  <a:lnTo>
                    <a:pt x="1513" y="569"/>
                  </a:lnTo>
                  <a:lnTo>
                    <a:pt x="1521" y="569"/>
                  </a:lnTo>
                  <a:lnTo>
                    <a:pt x="1526" y="569"/>
                  </a:lnTo>
                  <a:lnTo>
                    <a:pt x="1537" y="572"/>
                  </a:lnTo>
                  <a:lnTo>
                    <a:pt x="1542" y="575"/>
                  </a:lnTo>
                  <a:lnTo>
                    <a:pt x="1545" y="576"/>
                  </a:lnTo>
                  <a:lnTo>
                    <a:pt x="1566" y="575"/>
                  </a:lnTo>
                  <a:lnTo>
                    <a:pt x="1583" y="578"/>
                  </a:lnTo>
                  <a:lnTo>
                    <a:pt x="1585" y="578"/>
                  </a:lnTo>
                  <a:lnTo>
                    <a:pt x="1585" y="579"/>
                  </a:lnTo>
                  <a:lnTo>
                    <a:pt x="1586" y="581"/>
                  </a:lnTo>
                  <a:lnTo>
                    <a:pt x="1588" y="582"/>
                  </a:lnTo>
                  <a:lnTo>
                    <a:pt x="1592" y="584"/>
                  </a:lnTo>
                  <a:lnTo>
                    <a:pt x="1592" y="584"/>
                  </a:lnTo>
                  <a:lnTo>
                    <a:pt x="1593" y="585"/>
                  </a:lnTo>
                  <a:lnTo>
                    <a:pt x="1593" y="587"/>
                  </a:lnTo>
                  <a:lnTo>
                    <a:pt x="1595" y="588"/>
                  </a:lnTo>
                  <a:lnTo>
                    <a:pt x="1595" y="590"/>
                  </a:lnTo>
                  <a:lnTo>
                    <a:pt x="1596" y="590"/>
                  </a:lnTo>
                  <a:lnTo>
                    <a:pt x="1596" y="590"/>
                  </a:lnTo>
                  <a:lnTo>
                    <a:pt x="1598" y="590"/>
                  </a:lnTo>
                  <a:lnTo>
                    <a:pt x="1601" y="590"/>
                  </a:lnTo>
                  <a:lnTo>
                    <a:pt x="1604" y="587"/>
                  </a:lnTo>
                  <a:lnTo>
                    <a:pt x="1605" y="585"/>
                  </a:lnTo>
                  <a:lnTo>
                    <a:pt x="1608" y="585"/>
                  </a:lnTo>
                  <a:lnTo>
                    <a:pt x="1609" y="587"/>
                  </a:lnTo>
                  <a:lnTo>
                    <a:pt x="1617" y="585"/>
                  </a:lnTo>
                  <a:lnTo>
                    <a:pt x="1639" y="576"/>
                  </a:lnTo>
                  <a:lnTo>
                    <a:pt x="1650" y="574"/>
                  </a:lnTo>
                  <a:lnTo>
                    <a:pt x="1652" y="572"/>
                  </a:lnTo>
                  <a:lnTo>
                    <a:pt x="1672" y="553"/>
                  </a:lnTo>
                  <a:lnTo>
                    <a:pt x="1675" y="553"/>
                  </a:lnTo>
                  <a:lnTo>
                    <a:pt x="1682" y="552"/>
                  </a:lnTo>
                  <a:lnTo>
                    <a:pt x="1682" y="552"/>
                  </a:lnTo>
                  <a:lnTo>
                    <a:pt x="1684" y="552"/>
                  </a:lnTo>
                  <a:lnTo>
                    <a:pt x="1682" y="547"/>
                  </a:lnTo>
                  <a:lnTo>
                    <a:pt x="1682" y="544"/>
                  </a:lnTo>
                  <a:lnTo>
                    <a:pt x="1681" y="542"/>
                  </a:lnTo>
                  <a:lnTo>
                    <a:pt x="1681" y="540"/>
                  </a:lnTo>
                  <a:lnTo>
                    <a:pt x="1681" y="537"/>
                  </a:lnTo>
                  <a:lnTo>
                    <a:pt x="1682" y="525"/>
                  </a:lnTo>
                  <a:lnTo>
                    <a:pt x="1682" y="524"/>
                  </a:lnTo>
                  <a:lnTo>
                    <a:pt x="1685" y="518"/>
                  </a:lnTo>
                  <a:lnTo>
                    <a:pt x="1685" y="517"/>
                  </a:lnTo>
                  <a:lnTo>
                    <a:pt x="1688" y="515"/>
                  </a:lnTo>
                  <a:lnTo>
                    <a:pt x="1691" y="514"/>
                  </a:lnTo>
                  <a:lnTo>
                    <a:pt x="1692" y="514"/>
                  </a:lnTo>
                  <a:lnTo>
                    <a:pt x="1695" y="515"/>
                  </a:lnTo>
                  <a:lnTo>
                    <a:pt x="1700" y="515"/>
                  </a:lnTo>
                  <a:lnTo>
                    <a:pt x="1704" y="514"/>
                  </a:lnTo>
                  <a:lnTo>
                    <a:pt x="1710" y="495"/>
                  </a:lnTo>
                  <a:lnTo>
                    <a:pt x="1694" y="488"/>
                  </a:lnTo>
                  <a:close/>
                  <a:moveTo>
                    <a:pt x="810" y="466"/>
                  </a:moveTo>
                  <a:lnTo>
                    <a:pt x="807" y="469"/>
                  </a:lnTo>
                  <a:lnTo>
                    <a:pt x="807" y="472"/>
                  </a:lnTo>
                  <a:lnTo>
                    <a:pt x="805" y="476"/>
                  </a:lnTo>
                  <a:lnTo>
                    <a:pt x="805" y="483"/>
                  </a:lnTo>
                  <a:lnTo>
                    <a:pt x="804" y="486"/>
                  </a:lnTo>
                  <a:lnTo>
                    <a:pt x="804" y="489"/>
                  </a:lnTo>
                  <a:lnTo>
                    <a:pt x="799" y="495"/>
                  </a:lnTo>
                  <a:lnTo>
                    <a:pt x="786" y="504"/>
                  </a:lnTo>
                  <a:lnTo>
                    <a:pt x="783" y="505"/>
                  </a:lnTo>
                  <a:lnTo>
                    <a:pt x="767" y="492"/>
                  </a:lnTo>
                  <a:lnTo>
                    <a:pt x="767" y="492"/>
                  </a:lnTo>
                  <a:lnTo>
                    <a:pt x="767" y="493"/>
                  </a:lnTo>
                  <a:lnTo>
                    <a:pt x="767" y="495"/>
                  </a:lnTo>
                  <a:lnTo>
                    <a:pt x="767" y="496"/>
                  </a:lnTo>
                  <a:lnTo>
                    <a:pt x="766" y="498"/>
                  </a:lnTo>
                  <a:lnTo>
                    <a:pt x="765" y="498"/>
                  </a:lnTo>
                  <a:lnTo>
                    <a:pt x="759" y="499"/>
                  </a:lnTo>
                  <a:lnTo>
                    <a:pt x="756" y="499"/>
                  </a:lnTo>
                  <a:lnTo>
                    <a:pt x="753" y="499"/>
                  </a:lnTo>
                  <a:lnTo>
                    <a:pt x="737" y="488"/>
                  </a:lnTo>
                  <a:lnTo>
                    <a:pt x="734" y="488"/>
                  </a:lnTo>
                  <a:lnTo>
                    <a:pt x="732" y="488"/>
                  </a:lnTo>
                  <a:lnTo>
                    <a:pt x="730" y="489"/>
                  </a:lnTo>
                  <a:lnTo>
                    <a:pt x="716" y="492"/>
                  </a:lnTo>
                  <a:lnTo>
                    <a:pt x="711" y="491"/>
                  </a:lnTo>
                  <a:lnTo>
                    <a:pt x="711" y="491"/>
                  </a:lnTo>
                  <a:lnTo>
                    <a:pt x="711" y="489"/>
                  </a:lnTo>
                  <a:lnTo>
                    <a:pt x="711" y="489"/>
                  </a:lnTo>
                  <a:lnTo>
                    <a:pt x="711" y="489"/>
                  </a:lnTo>
                  <a:lnTo>
                    <a:pt x="711" y="488"/>
                  </a:lnTo>
                  <a:lnTo>
                    <a:pt x="711" y="473"/>
                  </a:lnTo>
                  <a:lnTo>
                    <a:pt x="711" y="470"/>
                  </a:lnTo>
                  <a:lnTo>
                    <a:pt x="709" y="470"/>
                  </a:lnTo>
                  <a:lnTo>
                    <a:pt x="706" y="469"/>
                  </a:lnTo>
                  <a:lnTo>
                    <a:pt x="693" y="453"/>
                  </a:lnTo>
                  <a:lnTo>
                    <a:pt x="687" y="444"/>
                  </a:lnTo>
                  <a:lnTo>
                    <a:pt x="687" y="441"/>
                  </a:lnTo>
                  <a:lnTo>
                    <a:pt x="686" y="438"/>
                  </a:lnTo>
                  <a:lnTo>
                    <a:pt x="686" y="438"/>
                  </a:lnTo>
                  <a:lnTo>
                    <a:pt x="686" y="426"/>
                  </a:lnTo>
                  <a:lnTo>
                    <a:pt x="680" y="416"/>
                  </a:lnTo>
                  <a:lnTo>
                    <a:pt x="679" y="415"/>
                  </a:lnTo>
                  <a:lnTo>
                    <a:pt x="671" y="416"/>
                  </a:lnTo>
                  <a:lnTo>
                    <a:pt x="667" y="415"/>
                  </a:lnTo>
                  <a:lnTo>
                    <a:pt x="658" y="409"/>
                  </a:lnTo>
                  <a:lnTo>
                    <a:pt x="644" y="403"/>
                  </a:lnTo>
                  <a:lnTo>
                    <a:pt x="641" y="397"/>
                  </a:lnTo>
                  <a:lnTo>
                    <a:pt x="641" y="393"/>
                  </a:lnTo>
                  <a:lnTo>
                    <a:pt x="638" y="390"/>
                  </a:lnTo>
                  <a:lnTo>
                    <a:pt x="647" y="389"/>
                  </a:lnTo>
                  <a:lnTo>
                    <a:pt x="649" y="389"/>
                  </a:lnTo>
                  <a:lnTo>
                    <a:pt x="661" y="396"/>
                  </a:lnTo>
                  <a:lnTo>
                    <a:pt x="663" y="397"/>
                  </a:lnTo>
                  <a:lnTo>
                    <a:pt x="663" y="397"/>
                  </a:lnTo>
                  <a:lnTo>
                    <a:pt x="670" y="394"/>
                  </a:lnTo>
                  <a:lnTo>
                    <a:pt x="671" y="394"/>
                  </a:lnTo>
                  <a:lnTo>
                    <a:pt x="681" y="400"/>
                  </a:lnTo>
                  <a:lnTo>
                    <a:pt x="702" y="409"/>
                  </a:lnTo>
                  <a:lnTo>
                    <a:pt x="706" y="410"/>
                  </a:lnTo>
                  <a:lnTo>
                    <a:pt x="709" y="410"/>
                  </a:lnTo>
                  <a:lnTo>
                    <a:pt x="711" y="409"/>
                  </a:lnTo>
                  <a:lnTo>
                    <a:pt x="711" y="409"/>
                  </a:lnTo>
                  <a:lnTo>
                    <a:pt x="712" y="409"/>
                  </a:lnTo>
                  <a:lnTo>
                    <a:pt x="714" y="409"/>
                  </a:lnTo>
                  <a:lnTo>
                    <a:pt x="721" y="408"/>
                  </a:lnTo>
                  <a:lnTo>
                    <a:pt x="725" y="409"/>
                  </a:lnTo>
                  <a:lnTo>
                    <a:pt x="725" y="409"/>
                  </a:lnTo>
                  <a:lnTo>
                    <a:pt x="727" y="409"/>
                  </a:lnTo>
                  <a:lnTo>
                    <a:pt x="727" y="410"/>
                  </a:lnTo>
                  <a:lnTo>
                    <a:pt x="727" y="410"/>
                  </a:lnTo>
                  <a:lnTo>
                    <a:pt x="727" y="412"/>
                  </a:lnTo>
                  <a:lnTo>
                    <a:pt x="727" y="413"/>
                  </a:lnTo>
                  <a:lnTo>
                    <a:pt x="727" y="415"/>
                  </a:lnTo>
                  <a:lnTo>
                    <a:pt x="730" y="416"/>
                  </a:lnTo>
                  <a:lnTo>
                    <a:pt x="737" y="421"/>
                  </a:lnTo>
                  <a:lnTo>
                    <a:pt x="738" y="422"/>
                  </a:lnTo>
                  <a:lnTo>
                    <a:pt x="748" y="421"/>
                  </a:lnTo>
                  <a:lnTo>
                    <a:pt x="753" y="422"/>
                  </a:lnTo>
                  <a:lnTo>
                    <a:pt x="753" y="422"/>
                  </a:lnTo>
                  <a:lnTo>
                    <a:pt x="759" y="428"/>
                  </a:lnTo>
                  <a:lnTo>
                    <a:pt x="765" y="432"/>
                  </a:lnTo>
                  <a:lnTo>
                    <a:pt x="778" y="440"/>
                  </a:lnTo>
                  <a:lnTo>
                    <a:pt x="781" y="440"/>
                  </a:lnTo>
                  <a:lnTo>
                    <a:pt x="782" y="440"/>
                  </a:lnTo>
                  <a:lnTo>
                    <a:pt x="783" y="438"/>
                  </a:lnTo>
                  <a:lnTo>
                    <a:pt x="783" y="438"/>
                  </a:lnTo>
                  <a:lnTo>
                    <a:pt x="785" y="437"/>
                  </a:lnTo>
                  <a:lnTo>
                    <a:pt x="785" y="435"/>
                  </a:lnTo>
                  <a:lnTo>
                    <a:pt x="785" y="434"/>
                  </a:lnTo>
                  <a:lnTo>
                    <a:pt x="785" y="432"/>
                  </a:lnTo>
                  <a:lnTo>
                    <a:pt x="788" y="428"/>
                  </a:lnTo>
                  <a:lnTo>
                    <a:pt x="788" y="426"/>
                  </a:lnTo>
                  <a:lnTo>
                    <a:pt x="789" y="426"/>
                  </a:lnTo>
                  <a:lnTo>
                    <a:pt x="791" y="425"/>
                  </a:lnTo>
                  <a:lnTo>
                    <a:pt x="791" y="425"/>
                  </a:lnTo>
                  <a:lnTo>
                    <a:pt x="792" y="425"/>
                  </a:lnTo>
                  <a:lnTo>
                    <a:pt x="797" y="429"/>
                  </a:lnTo>
                  <a:lnTo>
                    <a:pt x="804" y="438"/>
                  </a:lnTo>
                  <a:lnTo>
                    <a:pt x="805" y="440"/>
                  </a:lnTo>
                  <a:lnTo>
                    <a:pt x="805" y="441"/>
                  </a:lnTo>
                  <a:lnTo>
                    <a:pt x="804" y="442"/>
                  </a:lnTo>
                  <a:lnTo>
                    <a:pt x="799" y="447"/>
                  </a:lnTo>
                  <a:lnTo>
                    <a:pt x="799" y="448"/>
                  </a:lnTo>
                  <a:lnTo>
                    <a:pt x="799" y="448"/>
                  </a:lnTo>
                  <a:lnTo>
                    <a:pt x="801" y="453"/>
                  </a:lnTo>
                  <a:lnTo>
                    <a:pt x="808" y="461"/>
                  </a:lnTo>
                  <a:lnTo>
                    <a:pt x="810" y="463"/>
                  </a:lnTo>
                  <a:lnTo>
                    <a:pt x="810" y="464"/>
                  </a:lnTo>
                  <a:lnTo>
                    <a:pt x="810" y="466"/>
                  </a:lnTo>
                  <a:close/>
                  <a:moveTo>
                    <a:pt x="135" y="116"/>
                  </a:moveTo>
                  <a:lnTo>
                    <a:pt x="87" y="122"/>
                  </a:lnTo>
                  <a:lnTo>
                    <a:pt x="75" y="128"/>
                  </a:lnTo>
                  <a:lnTo>
                    <a:pt x="148" y="121"/>
                  </a:lnTo>
                  <a:lnTo>
                    <a:pt x="135" y="116"/>
                  </a:lnTo>
                  <a:close/>
                  <a:moveTo>
                    <a:pt x="75" y="156"/>
                  </a:moveTo>
                  <a:lnTo>
                    <a:pt x="81" y="157"/>
                  </a:lnTo>
                  <a:lnTo>
                    <a:pt x="91" y="147"/>
                  </a:lnTo>
                  <a:lnTo>
                    <a:pt x="90" y="144"/>
                  </a:lnTo>
                  <a:lnTo>
                    <a:pt x="81" y="141"/>
                  </a:lnTo>
                  <a:lnTo>
                    <a:pt x="75" y="141"/>
                  </a:lnTo>
                  <a:lnTo>
                    <a:pt x="74" y="143"/>
                  </a:lnTo>
                  <a:lnTo>
                    <a:pt x="73" y="144"/>
                  </a:lnTo>
                  <a:lnTo>
                    <a:pt x="71" y="145"/>
                  </a:lnTo>
                  <a:lnTo>
                    <a:pt x="71" y="151"/>
                  </a:lnTo>
                  <a:lnTo>
                    <a:pt x="75" y="15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14">
              <a:extLst>
                <a:ext uri="{FF2B5EF4-FFF2-40B4-BE49-F238E27FC236}">
                  <a16:creationId xmlns:a16="http://schemas.microsoft.com/office/drawing/2014/main" id="{CE7B0A38-13F0-43C4-99B9-95CAAE22A7D6}"/>
                </a:ext>
              </a:extLst>
            </p:cNvPr>
            <p:cNvSpPr>
              <a:spLocks/>
            </p:cNvSpPr>
            <p:nvPr/>
          </p:nvSpPr>
          <p:spPr bwMode="gray">
            <a:xfrm>
              <a:off x="4625976" y="3148013"/>
              <a:ext cx="1357313" cy="1955800"/>
            </a:xfrm>
            <a:custGeom>
              <a:avLst/>
              <a:gdLst>
                <a:gd name="T0" fmla="*/ 766 w 855"/>
                <a:gd name="T1" fmla="*/ 204 h 1232"/>
                <a:gd name="T2" fmla="*/ 810 w 855"/>
                <a:gd name="T3" fmla="*/ 243 h 1232"/>
                <a:gd name="T4" fmla="*/ 844 w 855"/>
                <a:gd name="T5" fmla="*/ 300 h 1232"/>
                <a:gd name="T6" fmla="*/ 822 w 855"/>
                <a:gd name="T7" fmla="*/ 296 h 1232"/>
                <a:gd name="T8" fmla="*/ 842 w 855"/>
                <a:gd name="T9" fmla="*/ 339 h 1232"/>
                <a:gd name="T10" fmla="*/ 810 w 855"/>
                <a:gd name="T11" fmla="*/ 360 h 1232"/>
                <a:gd name="T12" fmla="*/ 758 w 855"/>
                <a:gd name="T13" fmla="*/ 398 h 1232"/>
                <a:gd name="T14" fmla="*/ 775 w 855"/>
                <a:gd name="T15" fmla="*/ 406 h 1232"/>
                <a:gd name="T16" fmla="*/ 759 w 855"/>
                <a:gd name="T17" fmla="*/ 462 h 1232"/>
                <a:gd name="T18" fmla="*/ 752 w 855"/>
                <a:gd name="T19" fmla="*/ 501 h 1232"/>
                <a:gd name="T20" fmla="*/ 734 w 855"/>
                <a:gd name="T21" fmla="*/ 565 h 1232"/>
                <a:gd name="T22" fmla="*/ 764 w 855"/>
                <a:gd name="T23" fmla="*/ 546 h 1232"/>
                <a:gd name="T24" fmla="*/ 791 w 855"/>
                <a:gd name="T25" fmla="*/ 584 h 1232"/>
                <a:gd name="T26" fmla="*/ 746 w 855"/>
                <a:gd name="T27" fmla="*/ 684 h 1232"/>
                <a:gd name="T28" fmla="*/ 683 w 855"/>
                <a:gd name="T29" fmla="*/ 747 h 1232"/>
                <a:gd name="T30" fmla="*/ 621 w 855"/>
                <a:gd name="T31" fmla="*/ 786 h 1232"/>
                <a:gd name="T32" fmla="*/ 600 w 855"/>
                <a:gd name="T33" fmla="*/ 814 h 1232"/>
                <a:gd name="T34" fmla="*/ 561 w 855"/>
                <a:gd name="T35" fmla="*/ 845 h 1232"/>
                <a:gd name="T36" fmla="*/ 478 w 855"/>
                <a:gd name="T37" fmla="*/ 856 h 1232"/>
                <a:gd name="T38" fmla="*/ 430 w 855"/>
                <a:gd name="T39" fmla="*/ 868 h 1232"/>
                <a:gd name="T40" fmla="*/ 445 w 855"/>
                <a:gd name="T41" fmla="*/ 917 h 1232"/>
                <a:gd name="T42" fmla="*/ 459 w 855"/>
                <a:gd name="T43" fmla="*/ 993 h 1232"/>
                <a:gd name="T44" fmla="*/ 468 w 855"/>
                <a:gd name="T45" fmla="*/ 1038 h 1232"/>
                <a:gd name="T46" fmla="*/ 465 w 855"/>
                <a:gd name="T47" fmla="*/ 1098 h 1232"/>
                <a:gd name="T48" fmla="*/ 459 w 855"/>
                <a:gd name="T49" fmla="*/ 1149 h 1232"/>
                <a:gd name="T50" fmla="*/ 434 w 855"/>
                <a:gd name="T51" fmla="*/ 1175 h 1232"/>
                <a:gd name="T52" fmla="*/ 395 w 855"/>
                <a:gd name="T53" fmla="*/ 1206 h 1232"/>
                <a:gd name="T54" fmla="*/ 363 w 855"/>
                <a:gd name="T55" fmla="*/ 1216 h 1232"/>
                <a:gd name="T56" fmla="*/ 389 w 855"/>
                <a:gd name="T57" fmla="*/ 1179 h 1232"/>
                <a:gd name="T58" fmla="*/ 319 w 855"/>
                <a:gd name="T59" fmla="*/ 1137 h 1232"/>
                <a:gd name="T60" fmla="*/ 293 w 855"/>
                <a:gd name="T61" fmla="*/ 1152 h 1232"/>
                <a:gd name="T62" fmla="*/ 239 w 855"/>
                <a:gd name="T63" fmla="*/ 1046 h 1232"/>
                <a:gd name="T64" fmla="*/ 82 w 855"/>
                <a:gd name="T65" fmla="*/ 909 h 1232"/>
                <a:gd name="T66" fmla="*/ 40 w 855"/>
                <a:gd name="T67" fmla="*/ 843 h 1232"/>
                <a:gd name="T68" fmla="*/ 44 w 855"/>
                <a:gd name="T69" fmla="*/ 815 h 1232"/>
                <a:gd name="T70" fmla="*/ 91 w 855"/>
                <a:gd name="T71" fmla="*/ 775 h 1232"/>
                <a:gd name="T72" fmla="*/ 89 w 855"/>
                <a:gd name="T73" fmla="*/ 703 h 1232"/>
                <a:gd name="T74" fmla="*/ 79 w 855"/>
                <a:gd name="T75" fmla="*/ 651 h 1232"/>
                <a:gd name="T76" fmla="*/ 125 w 855"/>
                <a:gd name="T77" fmla="*/ 616 h 1232"/>
                <a:gd name="T78" fmla="*/ 136 w 855"/>
                <a:gd name="T79" fmla="*/ 526 h 1232"/>
                <a:gd name="T80" fmla="*/ 125 w 855"/>
                <a:gd name="T81" fmla="*/ 484 h 1232"/>
                <a:gd name="T82" fmla="*/ 209 w 855"/>
                <a:gd name="T83" fmla="*/ 438 h 1232"/>
                <a:gd name="T84" fmla="*/ 257 w 855"/>
                <a:gd name="T85" fmla="*/ 374 h 1232"/>
                <a:gd name="T86" fmla="*/ 309 w 855"/>
                <a:gd name="T87" fmla="*/ 315 h 1232"/>
                <a:gd name="T88" fmla="*/ 340 w 855"/>
                <a:gd name="T89" fmla="*/ 255 h 1232"/>
                <a:gd name="T90" fmla="*/ 318 w 855"/>
                <a:gd name="T91" fmla="*/ 220 h 1232"/>
                <a:gd name="T92" fmla="*/ 283 w 855"/>
                <a:gd name="T93" fmla="*/ 219 h 1232"/>
                <a:gd name="T94" fmla="*/ 324 w 855"/>
                <a:gd name="T95" fmla="*/ 162 h 1232"/>
                <a:gd name="T96" fmla="*/ 408 w 855"/>
                <a:gd name="T97" fmla="*/ 134 h 1232"/>
                <a:gd name="T98" fmla="*/ 427 w 855"/>
                <a:gd name="T99" fmla="*/ 85 h 1232"/>
                <a:gd name="T100" fmla="*/ 496 w 855"/>
                <a:gd name="T101" fmla="*/ 111 h 1232"/>
                <a:gd name="T102" fmla="*/ 533 w 855"/>
                <a:gd name="T103" fmla="*/ 70 h 1232"/>
                <a:gd name="T104" fmla="*/ 544 w 855"/>
                <a:gd name="T105" fmla="*/ 26 h 1232"/>
                <a:gd name="T106" fmla="*/ 615 w 855"/>
                <a:gd name="T107" fmla="*/ 10 h 1232"/>
                <a:gd name="T108" fmla="*/ 662 w 855"/>
                <a:gd name="T109" fmla="*/ 53 h 1232"/>
                <a:gd name="T110" fmla="*/ 640 w 855"/>
                <a:gd name="T111" fmla="*/ 74 h 1232"/>
                <a:gd name="T112" fmla="*/ 647 w 855"/>
                <a:gd name="T113" fmla="*/ 141 h 1232"/>
                <a:gd name="T114" fmla="*/ 624 w 855"/>
                <a:gd name="T115" fmla="*/ 175 h 1232"/>
                <a:gd name="T116" fmla="*/ 699 w 855"/>
                <a:gd name="T117" fmla="*/ 178 h 1232"/>
                <a:gd name="T118" fmla="*/ 705 w 855"/>
                <a:gd name="T119" fmla="*/ 144 h 1232"/>
                <a:gd name="T120" fmla="*/ 727 w 855"/>
                <a:gd name="T121" fmla="*/ 143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55" h="1232">
                  <a:moveTo>
                    <a:pt x="756" y="153"/>
                  </a:moveTo>
                  <a:lnTo>
                    <a:pt x="750" y="159"/>
                  </a:lnTo>
                  <a:lnTo>
                    <a:pt x="749" y="160"/>
                  </a:lnTo>
                  <a:lnTo>
                    <a:pt x="748" y="165"/>
                  </a:lnTo>
                  <a:lnTo>
                    <a:pt x="748" y="166"/>
                  </a:lnTo>
                  <a:lnTo>
                    <a:pt x="748" y="169"/>
                  </a:lnTo>
                  <a:lnTo>
                    <a:pt x="749" y="169"/>
                  </a:lnTo>
                  <a:lnTo>
                    <a:pt x="749" y="170"/>
                  </a:lnTo>
                  <a:lnTo>
                    <a:pt x="749" y="175"/>
                  </a:lnTo>
                  <a:lnTo>
                    <a:pt x="749" y="176"/>
                  </a:lnTo>
                  <a:lnTo>
                    <a:pt x="750" y="178"/>
                  </a:lnTo>
                  <a:lnTo>
                    <a:pt x="752" y="179"/>
                  </a:lnTo>
                  <a:lnTo>
                    <a:pt x="753" y="181"/>
                  </a:lnTo>
                  <a:lnTo>
                    <a:pt x="755" y="184"/>
                  </a:lnTo>
                  <a:lnTo>
                    <a:pt x="755" y="188"/>
                  </a:lnTo>
                  <a:lnTo>
                    <a:pt x="755" y="194"/>
                  </a:lnTo>
                  <a:lnTo>
                    <a:pt x="756" y="195"/>
                  </a:lnTo>
                  <a:lnTo>
                    <a:pt x="756" y="197"/>
                  </a:lnTo>
                  <a:lnTo>
                    <a:pt x="758" y="195"/>
                  </a:lnTo>
                  <a:lnTo>
                    <a:pt x="759" y="197"/>
                  </a:lnTo>
                  <a:lnTo>
                    <a:pt x="762" y="198"/>
                  </a:lnTo>
                  <a:lnTo>
                    <a:pt x="765" y="203"/>
                  </a:lnTo>
                  <a:lnTo>
                    <a:pt x="766" y="204"/>
                  </a:lnTo>
                  <a:lnTo>
                    <a:pt x="768" y="205"/>
                  </a:lnTo>
                  <a:lnTo>
                    <a:pt x="771" y="205"/>
                  </a:lnTo>
                  <a:lnTo>
                    <a:pt x="774" y="205"/>
                  </a:lnTo>
                  <a:lnTo>
                    <a:pt x="775" y="205"/>
                  </a:lnTo>
                  <a:lnTo>
                    <a:pt x="782" y="208"/>
                  </a:lnTo>
                  <a:lnTo>
                    <a:pt x="788" y="210"/>
                  </a:lnTo>
                  <a:lnTo>
                    <a:pt x="791" y="211"/>
                  </a:lnTo>
                  <a:lnTo>
                    <a:pt x="793" y="213"/>
                  </a:lnTo>
                  <a:lnTo>
                    <a:pt x="793" y="214"/>
                  </a:lnTo>
                  <a:lnTo>
                    <a:pt x="791" y="219"/>
                  </a:lnTo>
                  <a:lnTo>
                    <a:pt x="791" y="221"/>
                  </a:lnTo>
                  <a:lnTo>
                    <a:pt x="791" y="223"/>
                  </a:lnTo>
                  <a:lnTo>
                    <a:pt x="793" y="224"/>
                  </a:lnTo>
                  <a:lnTo>
                    <a:pt x="799" y="229"/>
                  </a:lnTo>
                  <a:lnTo>
                    <a:pt x="799" y="232"/>
                  </a:lnTo>
                  <a:lnTo>
                    <a:pt x="800" y="237"/>
                  </a:lnTo>
                  <a:lnTo>
                    <a:pt x="801" y="239"/>
                  </a:lnTo>
                  <a:lnTo>
                    <a:pt x="803" y="240"/>
                  </a:lnTo>
                  <a:lnTo>
                    <a:pt x="804" y="240"/>
                  </a:lnTo>
                  <a:lnTo>
                    <a:pt x="806" y="242"/>
                  </a:lnTo>
                  <a:lnTo>
                    <a:pt x="807" y="243"/>
                  </a:lnTo>
                  <a:lnTo>
                    <a:pt x="809" y="243"/>
                  </a:lnTo>
                  <a:lnTo>
                    <a:pt x="810" y="243"/>
                  </a:lnTo>
                  <a:lnTo>
                    <a:pt x="813" y="245"/>
                  </a:lnTo>
                  <a:lnTo>
                    <a:pt x="815" y="245"/>
                  </a:lnTo>
                  <a:lnTo>
                    <a:pt x="819" y="246"/>
                  </a:lnTo>
                  <a:lnTo>
                    <a:pt x="820" y="246"/>
                  </a:lnTo>
                  <a:lnTo>
                    <a:pt x="823" y="249"/>
                  </a:lnTo>
                  <a:lnTo>
                    <a:pt x="826" y="249"/>
                  </a:lnTo>
                  <a:lnTo>
                    <a:pt x="828" y="249"/>
                  </a:lnTo>
                  <a:lnTo>
                    <a:pt x="831" y="249"/>
                  </a:lnTo>
                  <a:lnTo>
                    <a:pt x="833" y="251"/>
                  </a:lnTo>
                  <a:lnTo>
                    <a:pt x="839" y="253"/>
                  </a:lnTo>
                  <a:lnTo>
                    <a:pt x="842" y="256"/>
                  </a:lnTo>
                  <a:lnTo>
                    <a:pt x="850" y="261"/>
                  </a:lnTo>
                  <a:lnTo>
                    <a:pt x="854" y="262"/>
                  </a:lnTo>
                  <a:lnTo>
                    <a:pt x="855" y="264"/>
                  </a:lnTo>
                  <a:lnTo>
                    <a:pt x="855" y="265"/>
                  </a:lnTo>
                  <a:lnTo>
                    <a:pt x="855" y="265"/>
                  </a:lnTo>
                  <a:lnTo>
                    <a:pt x="854" y="268"/>
                  </a:lnTo>
                  <a:lnTo>
                    <a:pt x="848" y="275"/>
                  </a:lnTo>
                  <a:lnTo>
                    <a:pt x="847" y="280"/>
                  </a:lnTo>
                  <a:lnTo>
                    <a:pt x="847" y="283"/>
                  </a:lnTo>
                  <a:lnTo>
                    <a:pt x="847" y="286"/>
                  </a:lnTo>
                  <a:lnTo>
                    <a:pt x="845" y="297"/>
                  </a:lnTo>
                  <a:lnTo>
                    <a:pt x="844" y="300"/>
                  </a:lnTo>
                  <a:lnTo>
                    <a:pt x="842" y="300"/>
                  </a:lnTo>
                  <a:lnTo>
                    <a:pt x="842" y="299"/>
                  </a:lnTo>
                  <a:lnTo>
                    <a:pt x="841" y="296"/>
                  </a:lnTo>
                  <a:lnTo>
                    <a:pt x="841" y="296"/>
                  </a:lnTo>
                  <a:lnTo>
                    <a:pt x="838" y="294"/>
                  </a:lnTo>
                  <a:lnTo>
                    <a:pt x="838" y="293"/>
                  </a:lnTo>
                  <a:lnTo>
                    <a:pt x="838" y="293"/>
                  </a:lnTo>
                  <a:lnTo>
                    <a:pt x="839" y="291"/>
                  </a:lnTo>
                  <a:lnTo>
                    <a:pt x="839" y="290"/>
                  </a:lnTo>
                  <a:lnTo>
                    <a:pt x="838" y="288"/>
                  </a:lnTo>
                  <a:lnTo>
                    <a:pt x="836" y="286"/>
                  </a:lnTo>
                  <a:lnTo>
                    <a:pt x="835" y="284"/>
                  </a:lnTo>
                  <a:lnTo>
                    <a:pt x="832" y="284"/>
                  </a:lnTo>
                  <a:lnTo>
                    <a:pt x="829" y="284"/>
                  </a:lnTo>
                  <a:lnTo>
                    <a:pt x="820" y="286"/>
                  </a:lnTo>
                  <a:lnTo>
                    <a:pt x="819" y="287"/>
                  </a:lnTo>
                  <a:lnTo>
                    <a:pt x="817" y="288"/>
                  </a:lnTo>
                  <a:lnTo>
                    <a:pt x="819" y="290"/>
                  </a:lnTo>
                  <a:lnTo>
                    <a:pt x="820" y="290"/>
                  </a:lnTo>
                  <a:lnTo>
                    <a:pt x="820" y="291"/>
                  </a:lnTo>
                  <a:lnTo>
                    <a:pt x="822" y="293"/>
                  </a:lnTo>
                  <a:lnTo>
                    <a:pt x="822" y="294"/>
                  </a:lnTo>
                  <a:lnTo>
                    <a:pt x="822" y="296"/>
                  </a:lnTo>
                  <a:lnTo>
                    <a:pt x="823" y="297"/>
                  </a:lnTo>
                  <a:lnTo>
                    <a:pt x="823" y="297"/>
                  </a:lnTo>
                  <a:lnTo>
                    <a:pt x="825" y="297"/>
                  </a:lnTo>
                  <a:lnTo>
                    <a:pt x="832" y="299"/>
                  </a:lnTo>
                  <a:lnTo>
                    <a:pt x="833" y="300"/>
                  </a:lnTo>
                  <a:lnTo>
                    <a:pt x="832" y="303"/>
                  </a:lnTo>
                  <a:lnTo>
                    <a:pt x="832" y="307"/>
                  </a:lnTo>
                  <a:lnTo>
                    <a:pt x="826" y="315"/>
                  </a:lnTo>
                  <a:lnTo>
                    <a:pt x="825" y="319"/>
                  </a:lnTo>
                  <a:lnTo>
                    <a:pt x="825" y="323"/>
                  </a:lnTo>
                  <a:lnTo>
                    <a:pt x="823" y="328"/>
                  </a:lnTo>
                  <a:lnTo>
                    <a:pt x="823" y="331"/>
                  </a:lnTo>
                  <a:lnTo>
                    <a:pt x="823" y="334"/>
                  </a:lnTo>
                  <a:lnTo>
                    <a:pt x="825" y="334"/>
                  </a:lnTo>
                  <a:lnTo>
                    <a:pt x="828" y="334"/>
                  </a:lnTo>
                  <a:lnTo>
                    <a:pt x="829" y="335"/>
                  </a:lnTo>
                  <a:lnTo>
                    <a:pt x="831" y="335"/>
                  </a:lnTo>
                  <a:lnTo>
                    <a:pt x="832" y="336"/>
                  </a:lnTo>
                  <a:lnTo>
                    <a:pt x="833" y="338"/>
                  </a:lnTo>
                  <a:lnTo>
                    <a:pt x="835" y="338"/>
                  </a:lnTo>
                  <a:lnTo>
                    <a:pt x="839" y="338"/>
                  </a:lnTo>
                  <a:lnTo>
                    <a:pt x="841" y="339"/>
                  </a:lnTo>
                  <a:lnTo>
                    <a:pt x="842" y="339"/>
                  </a:lnTo>
                  <a:lnTo>
                    <a:pt x="844" y="342"/>
                  </a:lnTo>
                  <a:lnTo>
                    <a:pt x="845" y="347"/>
                  </a:lnTo>
                  <a:lnTo>
                    <a:pt x="847" y="348"/>
                  </a:lnTo>
                  <a:lnTo>
                    <a:pt x="847" y="350"/>
                  </a:lnTo>
                  <a:lnTo>
                    <a:pt x="847" y="352"/>
                  </a:lnTo>
                  <a:lnTo>
                    <a:pt x="842" y="364"/>
                  </a:lnTo>
                  <a:lnTo>
                    <a:pt x="841" y="366"/>
                  </a:lnTo>
                  <a:lnTo>
                    <a:pt x="839" y="366"/>
                  </a:lnTo>
                  <a:lnTo>
                    <a:pt x="832" y="366"/>
                  </a:lnTo>
                  <a:lnTo>
                    <a:pt x="823" y="367"/>
                  </a:lnTo>
                  <a:lnTo>
                    <a:pt x="822" y="367"/>
                  </a:lnTo>
                  <a:lnTo>
                    <a:pt x="820" y="367"/>
                  </a:lnTo>
                  <a:lnTo>
                    <a:pt x="819" y="366"/>
                  </a:lnTo>
                  <a:lnTo>
                    <a:pt x="817" y="364"/>
                  </a:lnTo>
                  <a:lnTo>
                    <a:pt x="816" y="364"/>
                  </a:lnTo>
                  <a:lnTo>
                    <a:pt x="816" y="364"/>
                  </a:lnTo>
                  <a:lnTo>
                    <a:pt x="816" y="363"/>
                  </a:lnTo>
                  <a:lnTo>
                    <a:pt x="817" y="360"/>
                  </a:lnTo>
                  <a:lnTo>
                    <a:pt x="817" y="360"/>
                  </a:lnTo>
                  <a:lnTo>
                    <a:pt x="816" y="358"/>
                  </a:lnTo>
                  <a:lnTo>
                    <a:pt x="815" y="358"/>
                  </a:lnTo>
                  <a:lnTo>
                    <a:pt x="812" y="360"/>
                  </a:lnTo>
                  <a:lnTo>
                    <a:pt x="810" y="360"/>
                  </a:lnTo>
                  <a:lnTo>
                    <a:pt x="806" y="358"/>
                  </a:lnTo>
                  <a:lnTo>
                    <a:pt x="796" y="358"/>
                  </a:lnTo>
                  <a:lnTo>
                    <a:pt x="791" y="360"/>
                  </a:lnTo>
                  <a:lnTo>
                    <a:pt x="782" y="366"/>
                  </a:lnTo>
                  <a:lnTo>
                    <a:pt x="782" y="373"/>
                  </a:lnTo>
                  <a:lnTo>
                    <a:pt x="784" y="377"/>
                  </a:lnTo>
                  <a:lnTo>
                    <a:pt x="784" y="377"/>
                  </a:lnTo>
                  <a:lnTo>
                    <a:pt x="785" y="379"/>
                  </a:lnTo>
                  <a:lnTo>
                    <a:pt x="787" y="382"/>
                  </a:lnTo>
                  <a:lnTo>
                    <a:pt x="790" y="385"/>
                  </a:lnTo>
                  <a:lnTo>
                    <a:pt x="790" y="392"/>
                  </a:lnTo>
                  <a:lnTo>
                    <a:pt x="790" y="395"/>
                  </a:lnTo>
                  <a:lnTo>
                    <a:pt x="788" y="396"/>
                  </a:lnTo>
                  <a:lnTo>
                    <a:pt x="782" y="398"/>
                  </a:lnTo>
                  <a:lnTo>
                    <a:pt x="778" y="398"/>
                  </a:lnTo>
                  <a:lnTo>
                    <a:pt x="766" y="398"/>
                  </a:lnTo>
                  <a:lnTo>
                    <a:pt x="765" y="396"/>
                  </a:lnTo>
                  <a:lnTo>
                    <a:pt x="765" y="396"/>
                  </a:lnTo>
                  <a:lnTo>
                    <a:pt x="764" y="395"/>
                  </a:lnTo>
                  <a:lnTo>
                    <a:pt x="764" y="395"/>
                  </a:lnTo>
                  <a:lnTo>
                    <a:pt x="761" y="395"/>
                  </a:lnTo>
                  <a:lnTo>
                    <a:pt x="759" y="396"/>
                  </a:lnTo>
                  <a:lnTo>
                    <a:pt x="758" y="398"/>
                  </a:lnTo>
                  <a:lnTo>
                    <a:pt x="758" y="399"/>
                  </a:lnTo>
                  <a:lnTo>
                    <a:pt x="758" y="402"/>
                  </a:lnTo>
                  <a:lnTo>
                    <a:pt x="758" y="403"/>
                  </a:lnTo>
                  <a:lnTo>
                    <a:pt x="759" y="405"/>
                  </a:lnTo>
                  <a:lnTo>
                    <a:pt x="761" y="405"/>
                  </a:lnTo>
                  <a:lnTo>
                    <a:pt x="761" y="403"/>
                  </a:lnTo>
                  <a:lnTo>
                    <a:pt x="762" y="402"/>
                  </a:lnTo>
                  <a:lnTo>
                    <a:pt x="764" y="402"/>
                  </a:lnTo>
                  <a:lnTo>
                    <a:pt x="764" y="405"/>
                  </a:lnTo>
                  <a:lnTo>
                    <a:pt x="764" y="411"/>
                  </a:lnTo>
                  <a:lnTo>
                    <a:pt x="764" y="414"/>
                  </a:lnTo>
                  <a:lnTo>
                    <a:pt x="765" y="415"/>
                  </a:lnTo>
                  <a:lnTo>
                    <a:pt x="766" y="415"/>
                  </a:lnTo>
                  <a:lnTo>
                    <a:pt x="768" y="415"/>
                  </a:lnTo>
                  <a:lnTo>
                    <a:pt x="768" y="414"/>
                  </a:lnTo>
                  <a:lnTo>
                    <a:pt x="769" y="412"/>
                  </a:lnTo>
                  <a:lnTo>
                    <a:pt x="769" y="411"/>
                  </a:lnTo>
                  <a:lnTo>
                    <a:pt x="771" y="409"/>
                  </a:lnTo>
                  <a:lnTo>
                    <a:pt x="771" y="409"/>
                  </a:lnTo>
                  <a:lnTo>
                    <a:pt x="772" y="408"/>
                  </a:lnTo>
                  <a:lnTo>
                    <a:pt x="774" y="408"/>
                  </a:lnTo>
                  <a:lnTo>
                    <a:pt x="774" y="408"/>
                  </a:lnTo>
                  <a:lnTo>
                    <a:pt x="775" y="406"/>
                  </a:lnTo>
                  <a:lnTo>
                    <a:pt x="777" y="406"/>
                  </a:lnTo>
                  <a:lnTo>
                    <a:pt x="777" y="408"/>
                  </a:lnTo>
                  <a:lnTo>
                    <a:pt x="778" y="408"/>
                  </a:lnTo>
                  <a:lnTo>
                    <a:pt x="781" y="411"/>
                  </a:lnTo>
                  <a:lnTo>
                    <a:pt x="785" y="414"/>
                  </a:lnTo>
                  <a:lnTo>
                    <a:pt x="787" y="415"/>
                  </a:lnTo>
                  <a:lnTo>
                    <a:pt x="788" y="418"/>
                  </a:lnTo>
                  <a:lnTo>
                    <a:pt x="790" y="422"/>
                  </a:lnTo>
                  <a:lnTo>
                    <a:pt x="791" y="425"/>
                  </a:lnTo>
                  <a:lnTo>
                    <a:pt x="794" y="428"/>
                  </a:lnTo>
                  <a:lnTo>
                    <a:pt x="784" y="440"/>
                  </a:lnTo>
                  <a:lnTo>
                    <a:pt x="782" y="441"/>
                  </a:lnTo>
                  <a:lnTo>
                    <a:pt x="782" y="444"/>
                  </a:lnTo>
                  <a:lnTo>
                    <a:pt x="784" y="447"/>
                  </a:lnTo>
                  <a:lnTo>
                    <a:pt x="782" y="453"/>
                  </a:lnTo>
                  <a:lnTo>
                    <a:pt x="782" y="456"/>
                  </a:lnTo>
                  <a:lnTo>
                    <a:pt x="781" y="456"/>
                  </a:lnTo>
                  <a:lnTo>
                    <a:pt x="778" y="456"/>
                  </a:lnTo>
                  <a:lnTo>
                    <a:pt x="777" y="457"/>
                  </a:lnTo>
                  <a:lnTo>
                    <a:pt x="774" y="459"/>
                  </a:lnTo>
                  <a:lnTo>
                    <a:pt x="771" y="459"/>
                  </a:lnTo>
                  <a:lnTo>
                    <a:pt x="765" y="460"/>
                  </a:lnTo>
                  <a:lnTo>
                    <a:pt x="759" y="462"/>
                  </a:lnTo>
                  <a:lnTo>
                    <a:pt x="758" y="463"/>
                  </a:lnTo>
                  <a:lnTo>
                    <a:pt x="756" y="465"/>
                  </a:lnTo>
                  <a:lnTo>
                    <a:pt x="756" y="466"/>
                  </a:lnTo>
                  <a:lnTo>
                    <a:pt x="756" y="468"/>
                  </a:lnTo>
                  <a:lnTo>
                    <a:pt x="755" y="472"/>
                  </a:lnTo>
                  <a:lnTo>
                    <a:pt x="755" y="473"/>
                  </a:lnTo>
                  <a:lnTo>
                    <a:pt x="753" y="475"/>
                  </a:lnTo>
                  <a:lnTo>
                    <a:pt x="753" y="478"/>
                  </a:lnTo>
                  <a:lnTo>
                    <a:pt x="755" y="479"/>
                  </a:lnTo>
                  <a:lnTo>
                    <a:pt x="755" y="482"/>
                  </a:lnTo>
                  <a:lnTo>
                    <a:pt x="755" y="484"/>
                  </a:lnTo>
                  <a:lnTo>
                    <a:pt x="755" y="486"/>
                  </a:lnTo>
                  <a:lnTo>
                    <a:pt x="755" y="488"/>
                  </a:lnTo>
                  <a:lnTo>
                    <a:pt x="755" y="488"/>
                  </a:lnTo>
                  <a:lnTo>
                    <a:pt x="753" y="486"/>
                  </a:lnTo>
                  <a:lnTo>
                    <a:pt x="753" y="486"/>
                  </a:lnTo>
                  <a:lnTo>
                    <a:pt x="752" y="486"/>
                  </a:lnTo>
                  <a:lnTo>
                    <a:pt x="750" y="488"/>
                  </a:lnTo>
                  <a:lnTo>
                    <a:pt x="749" y="488"/>
                  </a:lnTo>
                  <a:lnTo>
                    <a:pt x="746" y="494"/>
                  </a:lnTo>
                  <a:lnTo>
                    <a:pt x="750" y="498"/>
                  </a:lnTo>
                  <a:lnTo>
                    <a:pt x="752" y="501"/>
                  </a:lnTo>
                  <a:lnTo>
                    <a:pt x="752" y="501"/>
                  </a:lnTo>
                  <a:lnTo>
                    <a:pt x="752" y="505"/>
                  </a:lnTo>
                  <a:lnTo>
                    <a:pt x="752" y="508"/>
                  </a:lnTo>
                  <a:lnTo>
                    <a:pt x="750" y="510"/>
                  </a:lnTo>
                  <a:lnTo>
                    <a:pt x="750" y="513"/>
                  </a:lnTo>
                  <a:lnTo>
                    <a:pt x="745" y="521"/>
                  </a:lnTo>
                  <a:lnTo>
                    <a:pt x="743" y="526"/>
                  </a:lnTo>
                  <a:lnTo>
                    <a:pt x="743" y="529"/>
                  </a:lnTo>
                  <a:lnTo>
                    <a:pt x="745" y="530"/>
                  </a:lnTo>
                  <a:lnTo>
                    <a:pt x="745" y="532"/>
                  </a:lnTo>
                  <a:lnTo>
                    <a:pt x="742" y="536"/>
                  </a:lnTo>
                  <a:lnTo>
                    <a:pt x="740" y="536"/>
                  </a:lnTo>
                  <a:lnTo>
                    <a:pt x="740" y="537"/>
                  </a:lnTo>
                  <a:lnTo>
                    <a:pt x="739" y="537"/>
                  </a:lnTo>
                  <a:lnTo>
                    <a:pt x="737" y="539"/>
                  </a:lnTo>
                  <a:lnTo>
                    <a:pt x="736" y="542"/>
                  </a:lnTo>
                  <a:lnTo>
                    <a:pt x="733" y="546"/>
                  </a:lnTo>
                  <a:lnTo>
                    <a:pt x="732" y="549"/>
                  </a:lnTo>
                  <a:lnTo>
                    <a:pt x="732" y="552"/>
                  </a:lnTo>
                  <a:lnTo>
                    <a:pt x="732" y="555"/>
                  </a:lnTo>
                  <a:lnTo>
                    <a:pt x="732" y="559"/>
                  </a:lnTo>
                  <a:lnTo>
                    <a:pt x="732" y="562"/>
                  </a:lnTo>
                  <a:lnTo>
                    <a:pt x="733" y="564"/>
                  </a:lnTo>
                  <a:lnTo>
                    <a:pt x="734" y="565"/>
                  </a:lnTo>
                  <a:lnTo>
                    <a:pt x="737" y="564"/>
                  </a:lnTo>
                  <a:lnTo>
                    <a:pt x="739" y="564"/>
                  </a:lnTo>
                  <a:lnTo>
                    <a:pt x="740" y="562"/>
                  </a:lnTo>
                  <a:lnTo>
                    <a:pt x="742" y="562"/>
                  </a:lnTo>
                  <a:lnTo>
                    <a:pt x="743" y="562"/>
                  </a:lnTo>
                  <a:lnTo>
                    <a:pt x="749" y="567"/>
                  </a:lnTo>
                  <a:lnTo>
                    <a:pt x="750" y="568"/>
                  </a:lnTo>
                  <a:lnTo>
                    <a:pt x="755" y="568"/>
                  </a:lnTo>
                  <a:lnTo>
                    <a:pt x="756" y="568"/>
                  </a:lnTo>
                  <a:lnTo>
                    <a:pt x="758" y="568"/>
                  </a:lnTo>
                  <a:lnTo>
                    <a:pt x="758" y="567"/>
                  </a:lnTo>
                  <a:lnTo>
                    <a:pt x="759" y="564"/>
                  </a:lnTo>
                  <a:lnTo>
                    <a:pt x="761" y="561"/>
                  </a:lnTo>
                  <a:lnTo>
                    <a:pt x="761" y="561"/>
                  </a:lnTo>
                  <a:lnTo>
                    <a:pt x="759" y="559"/>
                  </a:lnTo>
                  <a:lnTo>
                    <a:pt x="756" y="555"/>
                  </a:lnTo>
                  <a:lnTo>
                    <a:pt x="756" y="553"/>
                  </a:lnTo>
                  <a:lnTo>
                    <a:pt x="756" y="552"/>
                  </a:lnTo>
                  <a:lnTo>
                    <a:pt x="756" y="551"/>
                  </a:lnTo>
                  <a:lnTo>
                    <a:pt x="756" y="549"/>
                  </a:lnTo>
                  <a:lnTo>
                    <a:pt x="758" y="549"/>
                  </a:lnTo>
                  <a:lnTo>
                    <a:pt x="758" y="548"/>
                  </a:lnTo>
                  <a:lnTo>
                    <a:pt x="764" y="546"/>
                  </a:lnTo>
                  <a:lnTo>
                    <a:pt x="766" y="545"/>
                  </a:lnTo>
                  <a:lnTo>
                    <a:pt x="771" y="542"/>
                  </a:lnTo>
                  <a:lnTo>
                    <a:pt x="774" y="542"/>
                  </a:lnTo>
                  <a:lnTo>
                    <a:pt x="775" y="540"/>
                  </a:lnTo>
                  <a:lnTo>
                    <a:pt x="777" y="542"/>
                  </a:lnTo>
                  <a:lnTo>
                    <a:pt x="782" y="543"/>
                  </a:lnTo>
                  <a:lnTo>
                    <a:pt x="788" y="543"/>
                  </a:lnTo>
                  <a:lnTo>
                    <a:pt x="793" y="545"/>
                  </a:lnTo>
                  <a:lnTo>
                    <a:pt x="794" y="546"/>
                  </a:lnTo>
                  <a:lnTo>
                    <a:pt x="796" y="548"/>
                  </a:lnTo>
                  <a:lnTo>
                    <a:pt x="796" y="549"/>
                  </a:lnTo>
                  <a:lnTo>
                    <a:pt x="800" y="558"/>
                  </a:lnTo>
                  <a:lnTo>
                    <a:pt x="800" y="571"/>
                  </a:lnTo>
                  <a:lnTo>
                    <a:pt x="800" y="572"/>
                  </a:lnTo>
                  <a:lnTo>
                    <a:pt x="800" y="574"/>
                  </a:lnTo>
                  <a:lnTo>
                    <a:pt x="799" y="572"/>
                  </a:lnTo>
                  <a:lnTo>
                    <a:pt x="797" y="572"/>
                  </a:lnTo>
                  <a:lnTo>
                    <a:pt x="794" y="574"/>
                  </a:lnTo>
                  <a:lnTo>
                    <a:pt x="791" y="578"/>
                  </a:lnTo>
                  <a:lnTo>
                    <a:pt x="790" y="580"/>
                  </a:lnTo>
                  <a:lnTo>
                    <a:pt x="790" y="581"/>
                  </a:lnTo>
                  <a:lnTo>
                    <a:pt x="791" y="583"/>
                  </a:lnTo>
                  <a:lnTo>
                    <a:pt x="791" y="584"/>
                  </a:lnTo>
                  <a:lnTo>
                    <a:pt x="791" y="585"/>
                  </a:lnTo>
                  <a:lnTo>
                    <a:pt x="791" y="596"/>
                  </a:lnTo>
                  <a:lnTo>
                    <a:pt x="791" y="597"/>
                  </a:lnTo>
                  <a:lnTo>
                    <a:pt x="791" y="599"/>
                  </a:lnTo>
                  <a:lnTo>
                    <a:pt x="791" y="600"/>
                  </a:lnTo>
                  <a:lnTo>
                    <a:pt x="791" y="601"/>
                  </a:lnTo>
                  <a:lnTo>
                    <a:pt x="794" y="607"/>
                  </a:lnTo>
                  <a:lnTo>
                    <a:pt x="794" y="610"/>
                  </a:lnTo>
                  <a:lnTo>
                    <a:pt x="791" y="620"/>
                  </a:lnTo>
                  <a:lnTo>
                    <a:pt x="790" y="623"/>
                  </a:lnTo>
                  <a:lnTo>
                    <a:pt x="790" y="625"/>
                  </a:lnTo>
                  <a:lnTo>
                    <a:pt x="790" y="626"/>
                  </a:lnTo>
                  <a:lnTo>
                    <a:pt x="791" y="628"/>
                  </a:lnTo>
                  <a:lnTo>
                    <a:pt x="793" y="628"/>
                  </a:lnTo>
                  <a:lnTo>
                    <a:pt x="791" y="635"/>
                  </a:lnTo>
                  <a:lnTo>
                    <a:pt x="791" y="636"/>
                  </a:lnTo>
                  <a:lnTo>
                    <a:pt x="790" y="638"/>
                  </a:lnTo>
                  <a:lnTo>
                    <a:pt x="790" y="639"/>
                  </a:lnTo>
                  <a:lnTo>
                    <a:pt x="782" y="651"/>
                  </a:lnTo>
                  <a:lnTo>
                    <a:pt x="778" y="658"/>
                  </a:lnTo>
                  <a:lnTo>
                    <a:pt x="774" y="666"/>
                  </a:lnTo>
                  <a:lnTo>
                    <a:pt x="768" y="671"/>
                  </a:lnTo>
                  <a:lnTo>
                    <a:pt x="746" y="684"/>
                  </a:lnTo>
                  <a:lnTo>
                    <a:pt x="726" y="692"/>
                  </a:lnTo>
                  <a:lnTo>
                    <a:pt x="721" y="693"/>
                  </a:lnTo>
                  <a:lnTo>
                    <a:pt x="718" y="693"/>
                  </a:lnTo>
                  <a:lnTo>
                    <a:pt x="717" y="693"/>
                  </a:lnTo>
                  <a:lnTo>
                    <a:pt x="714" y="692"/>
                  </a:lnTo>
                  <a:lnTo>
                    <a:pt x="711" y="689"/>
                  </a:lnTo>
                  <a:lnTo>
                    <a:pt x="710" y="687"/>
                  </a:lnTo>
                  <a:lnTo>
                    <a:pt x="707" y="683"/>
                  </a:lnTo>
                  <a:lnTo>
                    <a:pt x="707" y="682"/>
                  </a:lnTo>
                  <a:lnTo>
                    <a:pt x="705" y="682"/>
                  </a:lnTo>
                  <a:lnTo>
                    <a:pt x="704" y="682"/>
                  </a:lnTo>
                  <a:lnTo>
                    <a:pt x="704" y="682"/>
                  </a:lnTo>
                  <a:lnTo>
                    <a:pt x="699" y="683"/>
                  </a:lnTo>
                  <a:lnTo>
                    <a:pt x="698" y="684"/>
                  </a:lnTo>
                  <a:lnTo>
                    <a:pt x="694" y="690"/>
                  </a:lnTo>
                  <a:lnTo>
                    <a:pt x="685" y="721"/>
                  </a:lnTo>
                  <a:lnTo>
                    <a:pt x="686" y="728"/>
                  </a:lnTo>
                  <a:lnTo>
                    <a:pt x="686" y="731"/>
                  </a:lnTo>
                  <a:lnTo>
                    <a:pt x="686" y="734"/>
                  </a:lnTo>
                  <a:lnTo>
                    <a:pt x="686" y="738"/>
                  </a:lnTo>
                  <a:lnTo>
                    <a:pt x="686" y="743"/>
                  </a:lnTo>
                  <a:lnTo>
                    <a:pt x="685" y="746"/>
                  </a:lnTo>
                  <a:lnTo>
                    <a:pt x="683" y="747"/>
                  </a:lnTo>
                  <a:lnTo>
                    <a:pt x="678" y="751"/>
                  </a:lnTo>
                  <a:lnTo>
                    <a:pt x="672" y="754"/>
                  </a:lnTo>
                  <a:lnTo>
                    <a:pt x="667" y="754"/>
                  </a:lnTo>
                  <a:lnTo>
                    <a:pt x="663" y="757"/>
                  </a:lnTo>
                  <a:lnTo>
                    <a:pt x="660" y="760"/>
                  </a:lnTo>
                  <a:lnTo>
                    <a:pt x="657" y="763"/>
                  </a:lnTo>
                  <a:lnTo>
                    <a:pt x="656" y="770"/>
                  </a:lnTo>
                  <a:lnTo>
                    <a:pt x="656" y="775"/>
                  </a:lnTo>
                  <a:lnTo>
                    <a:pt x="656" y="778"/>
                  </a:lnTo>
                  <a:lnTo>
                    <a:pt x="657" y="779"/>
                  </a:lnTo>
                  <a:lnTo>
                    <a:pt x="657" y="781"/>
                  </a:lnTo>
                  <a:lnTo>
                    <a:pt x="656" y="782"/>
                  </a:lnTo>
                  <a:lnTo>
                    <a:pt x="646" y="785"/>
                  </a:lnTo>
                  <a:lnTo>
                    <a:pt x="640" y="788"/>
                  </a:lnTo>
                  <a:lnTo>
                    <a:pt x="634" y="788"/>
                  </a:lnTo>
                  <a:lnTo>
                    <a:pt x="632" y="786"/>
                  </a:lnTo>
                  <a:lnTo>
                    <a:pt x="631" y="786"/>
                  </a:lnTo>
                  <a:lnTo>
                    <a:pt x="631" y="785"/>
                  </a:lnTo>
                  <a:lnTo>
                    <a:pt x="630" y="785"/>
                  </a:lnTo>
                  <a:lnTo>
                    <a:pt x="630" y="785"/>
                  </a:lnTo>
                  <a:lnTo>
                    <a:pt x="628" y="785"/>
                  </a:lnTo>
                  <a:lnTo>
                    <a:pt x="627" y="785"/>
                  </a:lnTo>
                  <a:lnTo>
                    <a:pt x="621" y="786"/>
                  </a:lnTo>
                  <a:lnTo>
                    <a:pt x="621" y="786"/>
                  </a:lnTo>
                  <a:lnTo>
                    <a:pt x="619" y="786"/>
                  </a:lnTo>
                  <a:lnTo>
                    <a:pt x="619" y="785"/>
                  </a:lnTo>
                  <a:lnTo>
                    <a:pt x="618" y="782"/>
                  </a:lnTo>
                  <a:lnTo>
                    <a:pt x="616" y="781"/>
                  </a:lnTo>
                  <a:lnTo>
                    <a:pt x="615" y="781"/>
                  </a:lnTo>
                  <a:lnTo>
                    <a:pt x="615" y="781"/>
                  </a:lnTo>
                  <a:lnTo>
                    <a:pt x="614" y="781"/>
                  </a:lnTo>
                  <a:lnTo>
                    <a:pt x="611" y="782"/>
                  </a:lnTo>
                  <a:lnTo>
                    <a:pt x="609" y="782"/>
                  </a:lnTo>
                  <a:lnTo>
                    <a:pt x="608" y="782"/>
                  </a:lnTo>
                  <a:lnTo>
                    <a:pt x="605" y="781"/>
                  </a:lnTo>
                  <a:lnTo>
                    <a:pt x="603" y="781"/>
                  </a:lnTo>
                  <a:lnTo>
                    <a:pt x="602" y="782"/>
                  </a:lnTo>
                  <a:lnTo>
                    <a:pt x="602" y="786"/>
                  </a:lnTo>
                  <a:lnTo>
                    <a:pt x="603" y="797"/>
                  </a:lnTo>
                  <a:lnTo>
                    <a:pt x="603" y="799"/>
                  </a:lnTo>
                  <a:lnTo>
                    <a:pt x="600" y="807"/>
                  </a:lnTo>
                  <a:lnTo>
                    <a:pt x="600" y="808"/>
                  </a:lnTo>
                  <a:lnTo>
                    <a:pt x="599" y="811"/>
                  </a:lnTo>
                  <a:lnTo>
                    <a:pt x="600" y="811"/>
                  </a:lnTo>
                  <a:lnTo>
                    <a:pt x="600" y="813"/>
                  </a:lnTo>
                  <a:lnTo>
                    <a:pt x="600" y="814"/>
                  </a:lnTo>
                  <a:lnTo>
                    <a:pt x="600" y="814"/>
                  </a:lnTo>
                  <a:lnTo>
                    <a:pt x="602" y="814"/>
                  </a:lnTo>
                  <a:lnTo>
                    <a:pt x="608" y="815"/>
                  </a:lnTo>
                  <a:lnTo>
                    <a:pt x="609" y="815"/>
                  </a:lnTo>
                  <a:lnTo>
                    <a:pt x="609" y="817"/>
                  </a:lnTo>
                  <a:lnTo>
                    <a:pt x="611" y="817"/>
                  </a:lnTo>
                  <a:lnTo>
                    <a:pt x="611" y="818"/>
                  </a:lnTo>
                  <a:lnTo>
                    <a:pt x="609" y="820"/>
                  </a:lnTo>
                  <a:lnTo>
                    <a:pt x="606" y="829"/>
                  </a:lnTo>
                  <a:lnTo>
                    <a:pt x="605" y="832"/>
                  </a:lnTo>
                  <a:lnTo>
                    <a:pt x="603" y="834"/>
                  </a:lnTo>
                  <a:lnTo>
                    <a:pt x="605" y="836"/>
                  </a:lnTo>
                  <a:lnTo>
                    <a:pt x="606" y="846"/>
                  </a:lnTo>
                  <a:lnTo>
                    <a:pt x="605" y="848"/>
                  </a:lnTo>
                  <a:lnTo>
                    <a:pt x="603" y="850"/>
                  </a:lnTo>
                  <a:lnTo>
                    <a:pt x="581" y="859"/>
                  </a:lnTo>
                  <a:lnTo>
                    <a:pt x="576" y="859"/>
                  </a:lnTo>
                  <a:lnTo>
                    <a:pt x="568" y="858"/>
                  </a:lnTo>
                  <a:lnTo>
                    <a:pt x="565" y="856"/>
                  </a:lnTo>
                  <a:lnTo>
                    <a:pt x="563" y="852"/>
                  </a:lnTo>
                  <a:lnTo>
                    <a:pt x="563" y="850"/>
                  </a:lnTo>
                  <a:lnTo>
                    <a:pt x="561" y="846"/>
                  </a:lnTo>
                  <a:lnTo>
                    <a:pt x="561" y="845"/>
                  </a:lnTo>
                  <a:lnTo>
                    <a:pt x="560" y="845"/>
                  </a:lnTo>
                  <a:lnTo>
                    <a:pt x="558" y="842"/>
                  </a:lnTo>
                  <a:lnTo>
                    <a:pt x="554" y="839"/>
                  </a:lnTo>
                  <a:lnTo>
                    <a:pt x="541" y="833"/>
                  </a:lnTo>
                  <a:lnTo>
                    <a:pt x="539" y="833"/>
                  </a:lnTo>
                  <a:lnTo>
                    <a:pt x="535" y="833"/>
                  </a:lnTo>
                  <a:lnTo>
                    <a:pt x="533" y="833"/>
                  </a:lnTo>
                  <a:lnTo>
                    <a:pt x="530" y="832"/>
                  </a:lnTo>
                  <a:lnTo>
                    <a:pt x="529" y="832"/>
                  </a:lnTo>
                  <a:lnTo>
                    <a:pt x="514" y="832"/>
                  </a:lnTo>
                  <a:lnTo>
                    <a:pt x="510" y="830"/>
                  </a:lnTo>
                  <a:lnTo>
                    <a:pt x="509" y="830"/>
                  </a:lnTo>
                  <a:lnTo>
                    <a:pt x="506" y="830"/>
                  </a:lnTo>
                  <a:lnTo>
                    <a:pt x="496" y="834"/>
                  </a:lnTo>
                  <a:lnTo>
                    <a:pt x="494" y="834"/>
                  </a:lnTo>
                  <a:lnTo>
                    <a:pt x="493" y="836"/>
                  </a:lnTo>
                  <a:lnTo>
                    <a:pt x="493" y="837"/>
                  </a:lnTo>
                  <a:lnTo>
                    <a:pt x="493" y="840"/>
                  </a:lnTo>
                  <a:lnTo>
                    <a:pt x="493" y="842"/>
                  </a:lnTo>
                  <a:lnTo>
                    <a:pt x="493" y="843"/>
                  </a:lnTo>
                  <a:lnTo>
                    <a:pt x="485" y="850"/>
                  </a:lnTo>
                  <a:lnTo>
                    <a:pt x="481" y="855"/>
                  </a:lnTo>
                  <a:lnTo>
                    <a:pt x="478" y="856"/>
                  </a:lnTo>
                  <a:lnTo>
                    <a:pt x="478" y="856"/>
                  </a:lnTo>
                  <a:lnTo>
                    <a:pt x="478" y="855"/>
                  </a:lnTo>
                  <a:lnTo>
                    <a:pt x="478" y="853"/>
                  </a:lnTo>
                  <a:lnTo>
                    <a:pt x="479" y="850"/>
                  </a:lnTo>
                  <a:lnTo>
                    <a:pt x="481" y="849"/>
                  </a:lnTo>
                  <a:lnTo>
                    <a:pt x="481" y="848"/>
                  </a:lnTo>
                  <a:lnTo>
                    <a:pt x="479" y="848"/>
                  </a:lnTo>
                  <a:lnTo>
                    <a:pt x="475" y="846"/>
                  </a:lnTo>
                  <a:lnTo>
                    <a:pt x="474" y="845"/>
                  </a:lnTo>
                  <a:lnTo>
                    <a:pt x="469" y="842"/>
                  </a:lnTo>
                  <a:lnTo>
                    <a:pt x="468" y="840"/>
                  </a:lnTo>
                  <a:lnTo>
                    <a:pt x="466" y="840"/>
                  </a:lnTo>
                  <a:lnTo>
                    <a:pt x="465" y="840"/>
                  </a:lnTo>
                  <a:lnTo>
                    <a:pt x="463" y="840"/>
                  </a:lnTo>
                  <a:lnTo>
                    <a:pt x="446" y="849"/>
                  </a:lnTo>
                  <a:lnTo>
                    <a:pt x="434" y="852"/>
                  </a:lnTo>
                  <a:lnTo>
                    <a:pt x="433" y="852"/>
                  </a:lnTo>
                  <a:lnTo>
                    <a:pt x="431" y="853"/>
                  </a:lnTo>
                  <a:lnTo>
                    <a:pt x="431" y="855"/>
                  </a:lnTo>
                  <a:lnTo>
                    <a:pt x="430" y="856"/>
                  </a:lnTo>
                  <a:lnTo>
                    <a:pt x="430" y="858"/>
                  </a:lnTo>
                  <a:lnTo>
                    <a:pt x="430" y="861"/>
                  </a:lnTo>
                  <a:lnTo>
                    <a:pt x="430" y="868"/>
                  </a:lnTo>
                  <a:lnTo>
                    <a:pt x="428" y="871"/>
                  </a:lnTo>
                  <a:lnTo>
                    <a:pt x="428" y="872"/>
                  </a:lnTo>
                  <a:lnTo>
                    <a:pt x="427" y="874"/>
                  </a:lnTo>
                  <a:lnTo>
                    <a:pt x="427" y="874"/>
                  </a:lnTo>
                  <a:lnTo>
                    <a:pt x="426" y="874"/>
                  </a:lnTo>
                  <a:lnTo>
                    <a:pt x="424" y="874"/>
                  </a:lnTo>
                  <a:lnTo>
                    <a:pt x="423" y="875"/>
                  </a:lnTo>
                  <a:lnTo>
                    <a:pt x="420" y="878"/>
                  </a:lnTo>
                  <a:lnTo>
                    <a:pt x="418" y="880"/>
                  </a:lnTo>
                  <a:lnTo>
                    <a:pt x="421" y="881"/>
                  </a:lnTo>
                  <a:lnTo>
                    <a:pt x="424" y="884"/>
                  </a:lnTo>
                  <a:lnTo>
                    <a:pt x="426" y="884"/>
                  </a:lnTo>
                  <a:lnTo>
                    <a:pt x="427" y="882"/>
                  </a:lnTo>
                  <a:lnTo>
                    <a:pt x="430" y="881"/>
                  </a:lnTo>
                  <a:lnTo>
                    <a:pt x="434" y="882"/>
                  </a:lnTo>
                  <a:lnTo>
                    <a:pt x="436" y="884"/>
                  </a:lnTo>
                  <a:lnTo>
                    <a:pt x="436" y="885"/>
                  </a:lnTo>
                  <a:lnTo>
                    <a:pt x="437" y="897"/>
                  </a:lnTo>
                  <a:lnTo>
                    <a:pt x="442" y="901"/>
                  </a:lnTo>
                  <a:lnTo>
                    <a:pt x="440" y="909"/>
                  </a:lnTo>
                  <a:lnTo>
                    <a:pt x="442" y="909"/>
                  </a:lnTo>
                  <a:lnTo>
                    <a:pt x="442" y="912"/>
                  </a:lnTo>
                  <a:lnTo>
                    <a:pt x="445" y="917"/>
                  </a:lnTo>
                  <a:lnTo>
                    <a:pt x="445" y="917"/>
                  </a:lnTo>
                  <a:lnTo>
                    <a:pt x="445" y="919"/>
                  </a:lnTo>
                  <a:lnTo>
                    <a:pt x="443" y="919"/>
                  </a:lnTo>
                  <a:lnTo>
                    <a:pt x="436" y="916"/>
                  </a:lnTo>
                  <a:lnTo>
                    <a:pt x="436" y="955"/>
                  </a:lnTo>
                  <a:lnTo>
                    <a:pt x="436" y="958"/>
                  </a:lnTo>
                  <a:lnTo>
                    <a:pt x="440" y="971"/>
                  </a:lnTo>
                  <a:lnTo>
                    <a:pt x="443" y="980"/>
                  </a:lnTo>
                  <a:lnTo>
                    <a:pt x="447" y="995"/>
                  </a:lnTo>
                  <a:lnTo>
                    <a:pt x="449" y="996"/>
                  </a:lnTo>
                  <a:lnTo>
                    <a:pt x="450" y="997"/>
                  </a:lnTo>
                  <a:lnTo>
                    <a:pt x="450" y="999"/>
                  </a:lnTo>
                  <a:lnTo>
                    <a:pt x="450" y="999"/>
                  </a:lnTo>
                  <a:lnTo>
                    <a:pt x="452" y="999"/>
                  </a:lnTo>
                  <a:lnTo>
                    <a:pt x="452" y="999"/>
                  </a:lnTo>
                  <a:lnTo>
                    <a:pt x="453" y="999"/>
                  </a:lnTo>
                  <a:lnTo>
                    <a:pt x="453" y="997"/>
                  </a:lnTo>
                  <a:lnTo>
                    <a:pt x="455" y="993"/>
                  </a:lnTo>
                  <a:lnTo>
                    <a:pt x="456" y="993"/>
                  </a:lnTo>
                  <a:lnTo>
                    <a:pt x="458" y="992"/>
                  </a:lnTo>
                  <a:lnTo>
                    <a:pt x="458" y="992"/>
                  </a:lnTo>
                  <a:lnTo>
                    <a:pt x="458" y="993"/>
                  </a:lnTo>
                  <a:lnTo>
                    <a:pt x="459" y="993"/>
                  </a:lnTo>
                  <a:lnTo>
                    <a:pt x="459" y="995"/>
                  </a:lnTo>
                  <a:lnTo>
                    <a:pt x="459" y="996"/>
                  </a:lnTo>
                  <a:lnTo>
                    <a:pt x="458" y="1000"/>
                  </a:lnTo>
                  <a:lnTo>
                    <a:pt x="458" y="1005"/>
                  </a:lnTo>
                  <a:lnTo>
                    <a:pt x="458" y="1008"/>
                  </a:lnTo>
                  <a:lnTo>
                    <a:pt x="461" y="1014"/>
                  </a:lnTo>
                  <a:lnTo>
                    <a:pt x="461" y="1015"/>
                  </a:lnTo>
                  <a:lnTo>
                    <a:pt x="462" y="1018"/>
                  </a:lnTo>
                  <a:lnTo>
                    <a:pt x="465" y="1019"/>
                  </a:lnTo>
                  <a:lnTo>
                    <a:pt x="466" y="1019"/>
                  </a:lnTo>
                  <a:lnTo>
                    <a:pt x="468" y="1019"/>
                  </a:lnTo>
                  <a:lnTo>
                    <a:pt x="469" y="1018"/>
                  </a:lnTo>
                  <a:lnTo>
                    <a:pt x="471" y="1018"/>
                  </a:lnTo>
                  <a:lnTo>
                    <a:pt x="472" y="1018"/>
                  </a:lnTo>
                  <a:lnTo>
                    <a:pt x="472" y="1018"/>
                  </a:lnTo>
                  <a:lnTo>
                    <a:pt x="474" y="1019"/>
                  </a:lnTo>
                  <a:lnTo>
                    <a:pt x="475" y="1021"/>
                  </a:lnTo>
                  <a:lnTo>
                    <a:pt x="475" y="1022"/>
                  </a:lnTo>
                  <a:lnTo>
                    <a:pt x="475" y="1025"/>
                  </a:lnTo>
                  <a:lnTo>
                    <a:pt x="474" y="1028"/>
                  </a:lnTo>
                  <a:lnTo>
                    <a:pt x="469" y="1034"/>
                  </a:lnTo>
                  <a:lnTo>
                    <a:pt x="468" y="1037"/>
                  </a:lnTo>
                  <a:lnTo>
                    <a:pt x="468" y="1038"/>
                  </a:lnTo>
                  <a:lnTo>
                    <a:pt x="469" y="1041"/>
                  </a:lnTo>
                  <a:lnTo>
                    <a:pt x="472" y="1043"/>
                  </a:lnTo>
                  <a:lnTo>
                    <a:pt x="478" y="1044"/>
                  </a:lnTo>
                  <a:lnTo>
                    <a:pt x="478" y="1046"/>
                  </a:lnTo>
                  <a:lnTo>
                    <a:pt x="478" y="1048"/>
                  </a:lnTo>
                  <a:lnTo>
                    <a:pt x="474" y="1057"/>
                  </a:lnTo>
                  <a:lnTo>
                    <a:pt x="472" y="1060"/>
                  </a:lnTo>
                  <a:lnTo>
                    <a:pt x="472" y="1062"/>
                  </a:lnTo>
                  <a:lnTo>
                    <a:pt x="472" y="1064"/>
                  </a:lnTo>
                  <a:lnTo>
                    <a:pt x="474" y="1067"/>
                  </a:lnTo>
                  <a:lnTo>
                    <a:pt x="474" y="1069"/>
                  </a:lnTo>
                  <a:lnTo>
                    <a:pt x="474" y="1070"/>
                  </a:lnTo>
                  <a:lnTo>
                    <a:pt x="472" y="1072"/>
                  </a:lnTo>
                  <a:lnTo>
                    <a:pt x="471" y="1073"/>
                  </a:lnTo>
                  <a:lnTo>
                    <a:pt x="469" y="1075"/>
                  </a:lnTo>
                  <a:lnTo>
                    <a:pt x="468" y="1076"/>
                  </a:lnTo>
                  <a:lnTo>
                    <a:pt x="466" y="1076"/>
                  </a:lnTo>
                  <a:lnTo>
                    <a:pt x="463" y="1076"/>
                  </a:lnTo>
                  <a:lnTo>
                    <a:pt x="462" y="1076"/>
                  </a:lnTo>
                  <a:lnTo>
                    <a:pt x="461" y="1076"/>
                  </a:lnTo>
                  <a:lnTo>
                    <a:pt x="461" y="1079"/>
                  </a:lnTo>
                  <a:lnTo>
                    <a:pt x="462" y="1083"/>
                  </a:lnTo>
                  <a:lnTo>
                    <a:pt x="465" y="1098"/>
                  </a:lnTo>
                  <a:lnTo>
                    <a:pt x="465" y="1101"/>
                  </a:lnTo>
                  <a:lnTo>
                    <a:pt x="465" y="1104"/>
                  </a:lnTo>
                  <a:lnTo>
                    <a:pt x="463" y="1105"/>
                  </a:lnTo>
                  <a:lnTo>
                    <a:pt x="462" y="1107"/>
                  </a:lnTo>
                  <a:lnTo>
                    <a:pt x="461" y="1107"/>
                  </a:lnTo>
                  <a:lnTo>
                    <a:pt x="458" y="1110"/>
                  </a:lnTo>
                  <a:lnTo>
                    <a:pt x="455" y="1113"/>
                  </a:lnTo>
                  <a:lnTo>
                    <a:pt x="453" y="1114"/>
                  </a:lnTo>
                  <a:lnTo>
                    <a:pt x="453" y="1115"/>
                  </a:lnTo>
                  <a:lnTo>
                    <a:pt x="452" y="1117"/>
                  </a:lnTo>
                  <a:lnTo>
                    <a:pt x="452" y="1120"/>
                  </a:lnTo>
                  <a:lnTo>
                    <a:pt x="453" y="1121"/>
                  </a:lnTo>
                  <a:lnTo>
                    <a:pt x="461" y="1127"/>
                  </a:lnTo>
                  <a:lnTo>
                    <a:pt x="465" y="1136"/>
                  </a:lnTo>
                  <a:lnTo>
                    <a:pt x="462" y="1142"/>
                  </a:lnTo>
                  <a:lnTo>
                    <a:pt x="461" y="1142"/>
                  </a:lnTo>
                  <a:lnTo>
                    <a:pt x="459" y="1142"/>
                  </a:lnTo>
                  <a:lnTo>
                    <a:pt x="455" y="1137"/>
                  </a:lnTo>
                  <a:lnTo>
                    <a:pt x="453" y="1137"/>
                  </a:lnTo>
                  <a:lnTo>
                    <a:pt x="452" y="1139"/>
                  </a:lnTo>
                  <a:lnTo>
                    <a:pt x="452" y="1140"/>
                  </a:lnTo>
                  <a:lnTo>
                    <a:pt x="453" y="1143"/>
                  </a:lnTo>
                  <a:lnTo>
                    <a:pt x="459" y="1149"/>
                  </a:lnTo>
                  <a:lnTo>
                    <a:pt x="461" y="1152"/>
                  </a:lnTo>
                  <a:lnTo>
                    <a:pt x="462" y="1155"/>
                  </a:lnTo>
                  <a:lnTo>
                    <a:pt x="463" y="1156"/>
                  </a:lnTo>
                  <a:lnTo>
                    <a:pt x="466" y="1162"/>
                  </a:lnTo>
                  <a:lnTo>
                    <a:pt x="471" y="1168"/>
                  </a:lnTo>
                  <a:lnTo>
                    <a:pt x="471" y="1171"/>
                  </a:lnTo>
                  <a:lnTo>
                    <a:pt x="471" y="1172"/>
                  </a:lnTo>
                  <a:lnTo>
                    <a:pt x="469" y="1172"/>
                  </a:lnTo>
                  <a:lnTo>
                    <a:pt x="469" y="1172"/>
                  </a:lnTo>
                  <a:lnTo>
                    <a:pt x="468" y="1172"/>
                  </a:lnTo>
                  <a:lnTo>
                    <a:pt x="466" y="1172"/>
                  </a:lnTo>
                  <a:lnTo>
                    <a:pt x="466" y="1171"/>
                  </a:lnTo>
                  <a:lnTo>
                    <a:pt x="463" y="1168"/>
                  </a:lnTo>
                  <a:lnTo>
                    <a:pt x="462" y="1166"/>
                  </a:lnTo>
                  <a:lnTo>
                    <a:pt x="462" y="1166"/>
                  </a:lnTo>
                  <a:lnTo>
                    <a:pt x="461" y="1166"/>
                  </a:lnTo>
                  <a:lnTo>
                    <a:pt x="456" y="1166"/>
                  </a:lnTo>
                  <a:lnTo>
                    <a:pt x="453" y="1166"/>
                  </a:lnTo>
                  <a:lnTo>
                    <a:pt x="450" y="1166"/>
                  </a:lnTo>
                  <a:lnTo>
                    <a:pt x="442" y="1174"/>
                  </a:lnTo>
                  <a:lnTo>
                    <a:pt x="440" y="1175"/>
                  </a:lnTo>
                  <a:lnTo>
                    <a:pt x="439" y="1175"/>
                  </a:lnTo>
                  <a:lnTo>
                    <a:pt x="434" y="1175"/>
                  </a:lnTo>
                  <a:lnTo>
                    <a:pt x="433" y="1174"/>
                  </a:lnTo>
                  <a:lnTo>
                    <a:pt x="430" y="1174"/>
                  </a:lnTo>
                  <a:lnTo>
                    <a:pt x="412" y="1174"/>
                  </a:lnTo>
                  <a:lnTo>
                    <a:pt x="411" y="1175"/>
                  </a:lnTo>
                  <a:lnTo>
                    <a:pt x="411" y="1175"/>
                  </a:lnTo>
                  <a:lnTo>
                    <a:pt x="411" y="1175"/>
                  </a:lnTo>
                  <a:lnTo>
                    <a:pt x="411" y="1177"/>
                  </a:lnTo>
                  <a:lnTo>
                    <a:pt x="402" y="1185"/>
                  </a:lnTo>
                  <a:lnTo>
                    <a:pt x="401" y="1187"/>
                  </a:lnTo>
                  <a:lnTo>
                    <a:pt x="401" y="1187"/>
                  </a:lnTo>
                  <a:lnTo>
                    <a:pt x="402" y="1188"/>
                  </a:lnTo>
                  <a:lnTo>
                    <a:pt x="404" y="1190"/>
                  </a:lnTo>
                  <a:lnTo>
                    <a:pt x="405" y="1193"/>
                  </a:lnTo>
                  <a:lnTo>
                    <a:pt x="407" y="1196"/>
                  </a:lnTo>
                  <a:lnTo>
                    <a:pt x="407" y="1197"/>
                  </a:lnTo>
                  <a:lnTo>
                    <a:pt x="408" y="1200"/>
                  </a:lnTo>
                  <a:lnTo>
                    <a:pt x="407" y="1201"/>
                  </a:lnTo>
                  <a:lnTo>
                    <a:pt x="405" y="1204"/>
                  </a:lnTo>
                  <a:lnTo>
                    <a:pt x="399" y="1209"/>
                  </a:lnTo>
                  <a:lnTo>
                    <a:pt x="396" y="1210"/>
                  </a:lnTo>
                  <a:lnTo>
                    <a:pt x="395" y="1209"/>
                  </a:lnTo>
                  <a:lnTo>
                    <a:pt x="395" y="1209"/>
                  </a:lnTo>
                  <a:lnTo>
                    <a:pt x="395" y="1206"/>
                  </a:lnTo>
                  <a:lnTo>
                    <a:pt x="394" y="1204"/>
                  </a:lnTo>
                  <a:lnTo>
                    <a:pt x="392" y="1204"/>
                  </a:lnTo>
                  <a:lnTo>
                    <a:pt x="392" y="1206"/>
                  </a:lnTo>
                  <a:lnTo>
                    <a:pt x="391" y="1207"/>
                  </a:lnTo>
                  <a:lnTo>
                    <a:pt x="389" y="1213"/>
                  </a:lnTo>
                  <a:lnTo>
                    <a:pt x="389" y="1214"/>
                  </a:lnTo>
                  <a:lnTo>
                    <a:pt x="389" y="1216"/>
                  </a:lnTo>
                  <a:lnTo>
                    <a:pt x="385" y="1222"/>
                  </a:lnTo>
                  <a:lnTo>
                    <a:pt x="379" y="1229"/>
                  </a:lnTo>
                  <a:lnTo>
                    <a:pt x="375" y="1230"/>
                  </a:lnTo>
                  <a:lnTo>
                    <a:pt x="373" y="1232"/>
                  </a:lnTo>
                  <a:lnTo>
                    <a:pt x="370" y="1230"/>
                  </a:lnTo>
                  <a:lnTo>
                    <a:pt x="367" y="1230"/>
                  </a:lnTo>
                  <a:lnTo>
                    <a:pt x="363" y="1229"/>
                  </a:lnTo>
                  <a:lnTo>
                    <a:pt x="361" y="1228"/>
                  </a:lnTo>
                  <a:lnTo>
                    <a:pt x="361" y="1228"/>
                  </a:lnTo>
                  <a:lnTo>
                    <a:pt x="361" y="1226"/>
                  </a:lnTo>
                  <a:lnTo>
                    <a:pt x="360" y="1225"/>
                  </a:lnTo>
                  <a:lnTo>
                    <a:pt x="361" y="1220"/>
                  </a:lnTo>
                  <a:lnTo>
                    <a:pt x="361" y="1217"/>
                  </a:lnTo>
                  <a:lnTo>
                    <a:pt x="361" y="1217"/>
                  </a:lnTo>
                  <a:lnTo>
                    <a:pt x="363" y="1216"/>
                  </a:lnTo>
                  <a:lnTo>
                    <a:pt x="363" y="1216"/>
                  </a:lnTo>
                  <a:lnTo>
                    <a:pt x="367" y="1214"/>
                  </a:lnTo>
                  <a:lnTo>
                    <a:pt x="367" y="1213"/>
                  </a:lnTo>
                  <a:lnTo>
                    <a:pt x="369" y="1212"/>
                  </a:lnTo>
                  <a:lnTo>
                    <a:pt x="369" y="1210"/>
                  </a:lnTo>
                  <a:lnTo>
                    <a:pt x="369" y="1209"/>
                  </a:lnTo>
                  <a:lnTo>
                    <a:pt x="367" y="1201"/>
                  </a:lnTo>
                  <a:lnTo>
                    <a:pt x="367" y="1198"/>
                  </a:lnTo>
                  <a:lnTo>
                    <a:pt x="367" y="1197"/>
                  </a:lnTo>
                  <a:lnTo>
                    <a:pt x="367" y="1194"/>
                  </a:lnTo>
                  <a:lnTo>
                    <a:pt x="367" y="1193"/>
                  </a:lnTo>
                  <a:lnTo>
                    <a:pt x="369" y="1191"/>
                  </a:lnTo>
                  <a:lnTo>
                    <a:pt x="375" y="1185"/>
                  </a:lnTo>
                  <a:lnTo>
                    <a:pt x="375" y="1184"/>
                  </a:lnTo>
                  <a:lnTo>
                    <a:pt x="376" y="1184"/>
                  </a:lnTo>
                  <a:lnTo>
                    <a:pt x="379" y="1187"/>
                  </a:lnTo>
                  <a:lnTo>
                    <a:pt x="379" y="1188"/>
                  </a:lnTo>
                  <a:lnTo>
                    <a:pt x="382" y="1190"/>
                  </a:lnTo>
                  <a:lnTo>
                    <a:pt x="383" y="1190"/>
                  </a:lnTo>
                  <a:lnTo>
                    <a:pt x="383" y="1190"/>
                  </a:lnTo>
                  <a:lnTo>
                    <a:pt x="386" y="1185"/>
                  </a:lnTo>
                  <a:lnTo>
                    <a:pt x="388" y="1184"/>
                  </a:lnTo>
                  <a:lnTo>
                    <a:pt x="389" y="1181"/>
                  </a:lnTo>
                  <a:lnTo>
                    <a:pt x="389" y="1179"/>
                  </a:lnTo>
                  <a:lnTo>
                    <a:pt x="389" y="1178"/>
                  </a:lnTo>
                  <a:lnTo>
                    <a:pt x="389" y="1177"/>
                  </a:lnTo>
                  <a:lnTo>
                    <a:pt x="389" y="1177"/>
                  </a:lnTo>
                  <a:lnTo>
                    <a:pt x="389" y="1175"/>
                  </a:lnTo>
                  <a:lnTo>
                    <a:pt x="389" y="1174"/>
                  </a:lnTo>
                  <a:lnTo>
                    <a:pt x="372" y="1175"/>
                  </a:lnTo>
                  <a:lnTo>
                    <a:pt x="367" y="1175"/>
                  </a:lnTo>
                  <a:lnTo>
                    <a:pt x="366" y="1174"/>
                  </a:lnTo>
                  <a:lnTo>
                    <a:pt x="364" y="1172"/>
                  </a:lnTo>
                  <a:lnTo>
                    <a:pt x="364" y="1172"/>
                  </a:lnTo>
                  <a:lnTo>
                    <a:pt x="363" y="1166"/>
                  </a:lnTo>
                  <a:lnTo>
                    <a:pt x="361" y="1165"/>
                  </a:lnTo>
                  <a:lnTo>
                    <a:pt x="360" y="1163"/>
                  </a:lnTo>
                  <a:lnTo>
                    <a:pt x="359" y="1163"/>
                  </a:lnTo>
                  <a:lnTo>
                    <a:pt x="351" y="1165"/>
                  </a:lnTo>
                  <a:lnTo>
                    <a:pt x="345" y="1163"/>
                  </a:lnTo>
                  <a:lnTo>
                    <a:pt x="338" y="1161"/>
                  </a:lnTo>
                  <a:lnTo>
                    <a:pt x="328" y="1153"/>
                  </a:lnTo>
                  <a:lnTo>
                    <a:pt x="327" y="1152"/>
                  </a:lnTo>
                  <a:lnTo>
                    <a:pt x="325" y="1150"/>
                  </a:lnTo>
                  <a:lnTo>
                    <a:pt x="325" y="1149"/>
                  </a:lnTo>
                  <a:lnTo>
                    <a:pt x="324" y="1147"/>
                  </a:lnTo>
                  <a:lnTo>
                    <a:pt x="319" y="1137"/>
                  </a:lnTo>
                  <a:lnTo>
                    <a:pt x="318" y="1131"/>
                  </a:lnTo>
                  <a:lnTo>
                    <a:pt x="318" y="1130"/>
                  </a:lnTo>
                  <a:lnTo>
                    <a:pt x="318" y="1130"/>
                  </a:lnTo>
                  <a:lnTo>
                    <a:pt x="319" y="1129"/>
                  </a:lnTo>
                  <a:lnTo>
                    <a:pt x="319" y="1127"/>
                  </a:lnTo>
                  <a:lnTo>
                    <a:pt x="319" y="1126"/>
                  </a:lnTo>
                  <a:lnTo>
                    <a:pt x="319" y="1124"/>
                  </a:lnTo>
                  <a:lnTo>
                    <a:pt x="319" y="1121"/>
                  </a:lnTo>
                  <a:lnTo>
                    <a:pt x="316" y="1117"/>
                  </a:lnTo>
                  <a:lnTo>
                    <a:pt x="315" y="1115"/>
                  </a:lnTo>
                  <a:lnTo>
                    <a:pt x="315" y="1111"/>
                  </a:lnTo>
                  <a:lnTo>
                    <a:pt x="313" y="1111"/>
                  </a:lnTo>
                  <a:lnTo>
                    <a:pt x="312" y="1111"/>
                  </a:lnTo>
                  <a:lnTo>
                    <a:pt x="289" y="1117"/>
                  </a:lnTo>
                  <a:lnTo>
                    <a:pt x="287" y="1117"/>
                  </a:lnTo>
                  <a:lnTo>
                    <a:pt x="287" y="1118"/>
                  </a:lnTo>
                  <a:lnTo>
                    <a:pt x="287" y="1120"/>
                  </a:lnTo>
                  <a:lnTo>
                    <a:pt x="289" y="1130"/>
                  </a:lnTo>
                  <a:lnTo>
                    <a:pt x="289" y="1131"/>
                  </a:lnTo>
                  <a:lnTo>
                    <a:pt x="293" y="1145"/>
                  </a:lnTo>
                  <a:lnTo>
                    <a:pt x="293" y="1147"/>
                  </a:lnTo>
                  <a:lnTo>
                    <a:pt x="293" y="1150"/>
                  </a:lnTo>
                  <a:lnTo>
                    <a:pt x="293" y="1152"/>
                  </a:lnTo>
                  <a:lnTo>
                    <a:pt x="293" y="1152"/>
                  </a:lnTo>
                  <a:lnTo>
                    <a:pt x="293" y="1153"/>
                  </a:lnTo>
                  <a:lnTo>
                    <a:pt x="292" y="1155"/>
                  </a:lnTo>
                  <a:lnTo>
                    <a:pt x="290" y="1155"/>
                  </a:lnTo>
                  <a:lnTo>
                    <a:pt x="286" y="1156"/>
                  </a:lnTo>
                  <a:lnTo>
                    <a:pt x="286" y="1158"/>
                  </a:lnTo>
                  <a:lnTo>
                    <a:pt x="284" y="1158"/>
                  </a:lnTo>
                  <a:lnTo>
                    <a:pt x="283" y="1159"/>
                  </a:lnTo>
                  <a:lnTo>
                    <a:pt x="276" y="1162"/>
                  </a:lnTo>
                  <a:lnTo>
                    <a:pt x="252" y="1137"/>
                  </a:lnTo>
                  <a:lnTo>
                    <a:pt x="243" y="1130"/>
                  </a:lnTo>
                  <a:lnTo>
                    <a:pt x="239" y="1129"/>
                  </a:lnTo>
                  <a:lnTo>
                    <a:pt x="238" y="1129"/>
                  </a:lnTo>
                  <a:lnTo>
                    <a:pt x="235" y="1129"/>
                  </a:lnTo>
                  <a:lnTo>
                    <a:pt x="225" y="1134"/>
                  </a:lnTo>
                  <a:lnTo>
                    <a:pt x="219" y="1117"/>
                  </a:lnTo>
                  <a:lnTo>
                    <a:pt x="210" y="1101"/>
                  </a:lnTo>
                  <a:lnTo>
                    <a:pt x="204" y="1088"/>
                  </a:lnTo>
                  <a:lnTo>
                    <a:pt x="206" y="1075"/>
                  </a:lnTo>
                  <a:lnTo>
                    <a:pt x="211" y="1064"/>
                  </a:lnTo>
                  <a:lnTo>
                    <a:pt x="220" y="1057"/>
                  </a:lnTo>
                  <a:lnTo>
                    <a:pt x="232" y="1056"/>
                  </a:lnTo>
                  <a:lnTo>
                    <a:pt x="239" y="1046"/>
                  </a:lnTo>
                  <a:lnTo>
                    <a:pt x="243" y="1038"/>
                  </a:lnTo>
                  <a:lnTo>
                    <a:pt x="245" y="1034"/>
                  </a:lnTo>
                  <a:lnTo>
                    <a:pt x="239" y="1031"/>
                  </a:lnTo>
                  <a:lnTo>
                    <a:pt x="233" y="1032"/>
                  </a:lnTo>
                  <a:lnTo>
                    <a:pt x="226" y="1034"/>
                  </a:lnTo>
                  <a:lnTo>
                    <a:pt x="223" y="1028"/>
                  </a:lnTo>
                  <a:lnTo>
                    <a:pt x="223" y="1024"/>
                  </a:lnTo>
                  <a:lnTo>
                    <a:pt x="222" y="1019"/>
                  </a:lnTo>
                  <a:lnTo>
                    <a:pt x="214" y="1008"/>
                  </a:lnTo>
                  <a:lnTo>
                    <a:pt x="213" y="1003"/>
                  </a:lnTo>
                  <a:lnTo>
                    <a:pt x="213" y="999"/>
                  </a:lnTo>
                  <a:lnTo>
                    <a:pt x="211" y="993"/>
                  </a:lnTo>
                  <a:lnTo>
                    <a:pt x="209" y="986"/>
                  </a:lnTo>
                  <a:lnTo>
                    <a:pt x="200" y="974"/>
                  </a:lnTo>
                  <a:lnTo>
                    <a:pt x="197" y="967"/>
                  </a:lnTo>
                  <a:lnTo>
                    <a:pt x="203" y="948"/>
                  </a:lnTo>
                  <a:lnTo>
                    <a:pt x="195" y="931"/>
                  </a:lnTo>
                  <a:lnTo>
                    <a:pt x="159" y="888"/>
                  </a:lnTo>
                  <a:lnTo>
                    <a:pt x="153" y="884"/>
                  </a:lnTo>
                  <a:lnTo>
                    <a:pt x="149" y="884"/>
                  </a:lnTo>
                  <a:lnTo>
                    <a:pt x="140" y="884"/>
                  </a:lnTo>
                  <a:lnTo>
                    <a:pt x="96" y="898"/>
                  </a:lnTo>
                  <a:lnTo>
                    <a:pt x="82" y="909"/>
                  </a:lnTo>
                  <a:lnTo>
                    <a:pt x="66" y="917"/>
                  </a:lnTo>
                  <a:lnTo>
                    <a:pt x="51" y="922"/>
                  </a:lnTo>
                  <a:lnTo>
                    <a:pt x="37" y="923"/>
                  </a:lnTo>
                  <a:lnTo>
                    <a:pt x="31" y="913"/>
                  </a:lnTo>
                  <a:lnTo>
                    <a:pt x="29" y="907"/>
                  </a:lnTo>
                  <a:lnTo>
                    <a:pt x="26" y="903"/>
                  </a:lnTo>
                  <a:lnTo>
                    <a:pt x="5" y="882"/>
                  </a:lnTo>
                  <a:lnTo>
                    <a:pt x="0" y="881"/>
                  </a:lnTo>
                  <a:lnTo>
                    <a:pt x="0" y="880"/>
                  </a:lnTo>
                  <a:lnTo>
                    <a:pt x="13" y="869"/>
                  </a:lnTo>
                  <a:lnTo>
                    <a:pt x="19" y="865"/>
                  </a:lnTo>
                  <a:lnTo>
                    <a:pt x="23" y="862"/>
                  </a:lnTo>
                  <a:lnTo>
                    <a:pt x="25" y="861"/>
                  </a:lnTo>
                  <a:lnTo>
                    <a:pt x="25" y="856"/>
                  </a:lnTo>
                  <a:lnTo>
                    <a:pt x="25" y="853"/>
                  </a:lnTo>
                  <a:lnTo>
                    <a:pt x="26" y="850"/>
                  </a:lnTo>
                  <a:lnTo>
                    <a:pt x="28" y="846"/>
                  </a:lnTo>
                  <a:lnTo>
                    <a:pt x="31" y="845"/>
                  </a:lnTo>
                  <a:lnTo>
                    <a:pt x="32" y="843"/>
                  </a:lnTo>
                  <a:lnTo>
                    <a:pt x="34" y="845"/>
                  </a:lnTo>
                  <a:lnTo>
                    <a:pt x="35" y="845"/>
                  </a:lnTo>
                  <a:lnTo>
                    <a:pt x="37" y="845"/>
                  </a:lnTo>
                  <a:lnTo>
                    <a:pt x="40" y="843"/>
                  </a:lnTo>
                  <a:lnTo>
                    <a:pt x="42" y="843"/>
                  </a:lnTo>
                  <a:lnTo>
                    <a:pt x="42" y="843"/>
                  </a:lnTo>
                  <a:lnTo>
                    <a:pt x="44" y="845"/>
                  </a:lnTo>
                  <a:lnTo>
                    <a:pt x="47" y="846"/>
                  </a:lnTo>
                  <a:lnTo>
                    <a:pt x="47" y="848"/>
                  </a:lnTo>
                  <a:lnTo>
                    <a:pt x="48" y="849"/>
                  </a:lnTo>
                  <a:lnTo>
                    <a:pt x="51" y="850"/>
                  </a:lnTo>
                  <a:lnTo>
                    <a:pt x="51" y="849"/>
                  </a:lnTo>
                  <a:lnTo>
                    <a:pt x="53" y="848"/>
                  </a:lnTo>
                  <a:lnTo>
                    <a:pt x="53" y="846"/>
                  </a:lnTo>
                  <a:lnTo>
                    <a:pt x="53" y="845"/>
                  </a:lnTo>
                  <a:lnTo>
                    <a:pt x="53" y="842"/>
                  </a:lnTo>
                  <a:lnTo>
                    <a:pt x="54" y="837"/>
                  </a:lnTo>
                  <a:lnTo>
                    <a:pt x="56" y="836"/>
                  </a:lnTo>
                  <a:lnTo>
                    <a:pt x="56" y="834"/>
                  </a:lnTo>
                  <a:lnTo>
                    <a:pt x="54" y="833"/>
                  </a:lnTo>
                  <a:lnTo>
                    <a:pt x="53" y="833"/>
                  </a:lnTo>
                  <a:lnTo>
                    <a:pt x="47" y="829"/>
                  </a:lnTo>
                  <a:lnTo>
                    <a:pt x="45" y="829"/>
                  </a:lnTo>
                  <a:lnTo>
                    <a:pt x="44" y="826"/>
                  </a:lnTo>
                  <a:lnTo>
                    <a:pt x="42" y="824"/>
                  </a:lnTo>
                  <a:lnTo>
                    <a:pt x="42" y="821"/>
                  </a:lnTo>
                  <a:lnTo>
                    <a:pt x="44" y="815"/>
                  </a:lnTo>
                  <a:lnTo>
                    <a:pt x="48" y="807"/>
                  </a:lnTo>
                  <a:lnTo>
                    <a:pt x="50" y="802"/>
                  </a:lnTo>
                  <a:lnTo>
                    <a:pt x="53" y="799"/>
                  </a:lnTo>
                  <a:lnTo>
                    <a:pt x="58" y="798"/>
                  </a:lnTo>
                  <a:lnTo>
                    <a:pt x="63" y="794"/>
                  </a:lnTo>
                  <a:lnTo>
                    <a:pt x="72" y="789"/>
                  </a:lnTo>
                  <a:lnTo>
                    <a:pt x="74" y="786"/>
                  </a:lnTo>
                  <a:lnTo>
                    <a:pt x="76" y="785"/>
                  </a:lnTo>
                  <a:lnTo>
                    <a:pt x="77" y="785"/>
                  </a:lnTo>
                  <a:lnTo>
                    <a:pt x="77" y="785"/>
                  </a:lnTo>
                  <a:lnTo>
                    <a:pt x="79" y="786"/>
                  </a:lnTo>
                  <a:lnTo>
                    <a:pt x="80" y="788"/>
                  </a:lnTo>
                  <a:lnTo>
                    <a:pt x="82" y="789"/>
                  </a:lnTo>
                  <a:lnTo>
                    <a:pt x="83" y="791"/>
                  </a:lnTo>
                  <a:lnTo>
                    <a:pt x="85" y="791"/>
                  </a:lnTo>
                  <a:lnTo>
                    <a:pt x="88" y="792"/>
                  </a:lnTo>
                  <a:lnTo>
                    <a:pt x="89" y="791"/>
                  </a:lnTo>
                  <a:lnTo>
                    <a:pt x="89" y="788"/>
                  </a:lnTo>
                  <a:lnTo>
                    <a:pt x="93" y="782"/>
                  </a:lnTo>
                  <a:lnTo>
                    <a:pt x="95" y="781"/>
                  </a:lnTo>
                  <a:lnTo>
                    <a:pt x="93" y="779"/>
                  </a:lnTo>
                  <a:lnTo>
                    <a:pt x="91" y="775"/>
                  </a:lnTo>
                  <a:lnTo>
                    <a:pt x="91" y="775"/>
                  </a:lnTo>
                  <a:lnTo>
                    <a:pt x="91" y="772"/>
                  </a:lnTo>
                  <a:lnTo>
                    <a:pt x="92" y="769"/>
                  </a:lnTo>
                  <a:lnTo>
                    <a:pt x="93" y="766"/>
                  </a:lnTo>
                  <a:lnTo>
                    <a:pt x="95" y="766"/>
                  </a:lnTo>
                  <a:lnTo>
                    <a:pt x="112" y="766"/>
                  </a:lnTo>
                  <a:lnTo>
                    <a:pt x="118" y="765"/>
                  </a:lnTo>
                  <a:lnTo>
                    <a:pt x="120" y="765"/>
                  </a:lnTo>
                  <a:lnTo>
                    <a:pt x="121" y="763"/>
                  </a:lnTo>
                  <a:lnTo>
                    <a:pt x="121" y="762"/>
                  </a:lnTo>
                  <a:lnTo>
                    <a:pt x="121" y="760"/>
                  </a:lnTo>
                  <a:lnTo>
                    <a:pt x="121" y="759"/>
                  </a:lnTo>
                  <a:lnTo>
                    <a:pt x="121" y="757"/>
                  </a:lnTo>
                  <a:lnTo>
                    <a:pt x="120" y="754"/>
                  </a:lnTo>
                  <a:lnTo>
                    <a:pt x="117" y="740"/>
                  </a:lnTo>
                  <a:lnTo>
                    <a:pt x="114" y="735"/>
                  </a:lnTo>
                  <a:lnTo>
                    <a:pt x="114" y="735"/>
                  </a:lnTo>
                  <a:lnTo>
                    <a:pt x="109" y="733"/>
                  </a:lnTo>
                  <a:lnTo>
                    <a:pt x="107" y="730"/>
                  </a:lnTo>
                  <a:lnTo>
                    <a:pt x="105" y="725"/>
                  </a:lnTo>
                  <a:lnTo>
                    <a:pt x="98" y="711"/>
                  </a:lnTo>
                  <a:lnTo>
                    <a:pt x="96" y="708"/>
                  </a:lnTo>
                  <a:lnTo>
                    <a:pt x="91" y="705"/>
                  </a:lnTo>
                  <a:lnTo>
                    <a:pt x="89" y="703"/>
                  </a:lnTo>
                  <a:lnTo>
                    <a:pt x="89" y="702"/>
                  </a:lnTo>
                  <a:lnTo>
                    <a:pt x="89" y="699"/>
                  </a:lnTo>
                  <a:lnTo>
                    <a:pt x="88" y="698"/>
                  </a:lnTo>
                  <a:lnTo>
                    <a:pt x="86" y="698"/>
                  </a:lnTo>
                  <a:lnTo>
                    <a:pt x="72" y="695"/>
                  </a:lnTo>
                  <a:lnTo>
                    <a:pt x="70" y="693"/>
                  </a:lnTo>
                  <a:lnTo>
                    <a:pt x="70" y="692"/>
                  </a:lnTo>
                  <a:lnTo>
                    <a:pt x="70" y="689"/>
                  </a:lnTo>
                  <a:lnTo>
                    <a:pt x="74" y="686"/>
                  </a:lnTo>
                  <a:lnTo>
                    <a:pt x="76" y="680"/>
                  </a:lnTo>
                  <a:lnTo>
                    <a:pt x="77" y="674"/>
                  </a:lnTo>
                  <a:lnTo>
                    <a:pt x="79" y="670"/>
                  </a:lnTo>
                  <a:lnTo>
                    <a:pt x="85" y="664"/>
                  </a:lnTo>
                  <a:lnTo>
                    <a:pt x="85" y="663"/>
                  </a:lnTo>
                  <a:lnTo>
                    <a:pt x="86" y="663"/>
                  </a:lnTo>
                  <a:lnTo>
                    <a:pt x="85" y="661"/>
                  </a:lnTo>
                  <a:lnTo>
                    <a:pt x="82" y="660"/>
                  </a:lnTo>
                  <a:lnTo>
                    <a:pt x="80" y="658"/>
                  </a:lnTo>
                  <a:lnTo>
                    <a:pt x="80" y="658"/>
                  </a:lnTo>
                  <a:lnTo>
                    <a:pt x="79" y="657"/>
                  </a:lnTo>
                  <a:lnTo>
                    <a:pt x="79" y="655"/>
                  </a:lnTo>
                  <a:lnTo>
                    <a:pt x="79" y="652"/>
                  </a:lnTo>
                  <a:lnTo>
                    <a:pt x="79" y="651"/>
                  </a:lnTo>
                  <a:lnTo>
                    <a:pt x="79" y="651"/>
                  </a:lnTo>
                  <a:lnTo>
                    <a:pt x="79" y="632"/>
                  </a:lnTo>
                  <a:lnTo>
                    <a:pt x="80" y="628"/>
                  </a:lnTo>
                  <a:lnTo>
                    <a:pt x="80" y="626"/>
                  </a:lnTo>
                  <a:lnTo>
                    <a:pt x="82" y="625"/>
                  </a:lnTo>
                  <a:lnTo>
                    <a:pt x="85" y="623"/>
                  </a:lnTo>
                  <a:lnTo>
                    <a:pt x="86" y="622"/>
                  </a:lnTo>
                  <a:lnTo>
                    <a:pt x="91" y="617"/>
                  </a:lnTo>
                  <a:lnTo>
                    <a:pt x="92" y="615"/>
                  </a:lnTo>
                  <a:lnTo>
                    <a:pt x="93" y="613"/>
                  </a:lnTo>
                  <a:lnTo>
                    <a:pt x="98" y="612"/>
                  </a:lnTo>
                  <a:lnTo>
                    <a:pt x="101" y="612"/>
                  </a:lnTo>
                  <a:lnTo>
                    <a:pt x="102" y="612"/>
                  </a:lnTo>
                  <a:lnTo>
                    <a:pt x="104" y="613"/>
                  </a:lnTo>
                  <a:lnTo>
                    <a:pt x="109" y="620"/>
                  </a:lnTo>
                  <a:lnTo>
                    <a:pt x="111" y="622"/>
                  </a:lnTo>
                  <a:lnTo>
                    <a:pt x="111" y="622"/>
                  </a:lnTo>
                  <a:lnTo>
                    <a:pt x="115" y="623"/>
                  </a:lnTo>
                  <a:lnTo>
                    <a:pt x="117" y="623"/>
                  </a:lnTo>
                  <a:lnTo>
                    <a:pt x="117" y="622"/>
                  </a:lnTo>
                  <a:lnTo>
                    <a:pt x="118" y="622"/>
                  </a:lnTo>
                  <a:lnTo>
                    <a:pt x="124" y="617"/>
                  </a:lnTo>
                  <a:lnTo>
                    <a:pt x="125" y="616"/>
                  </a:lnTo>
                  <a:lnTo>
                    <a:pt x="127" y="615"/>
                  </a:lnTo>
                  <a:lnTo>
                    <a:pt x="127" y="613"/>
                  </a:lnTo>
                  <a:lnTo>
                    <a:pt x="133" y="600"/>
                  </a:lnTo>
                  <a:lnTo>
                    <a:pt x="136" y="591"/>
                  </a:lnTo>
                  <a:lnTo>
                    <a:pt x="134" y="590"/>
                  </a:lnTo>
                  <a:lnTo>
                    <a:pt x="134" y="588"/>
                  </a:lnTo>
                  <a:lnTo>
                    <a:pt x="131" y="587"/>
                  </a:lnTo>
                  <a:lnTo>
                    <a:pt x="130" y="584"/>
                  </a:lnTo>
                  <a:lnTo>
                    <a:pt x="128" y="581"/>
                  </a:lnTo>
                  <a:lnTo>
                    <a:pt x="128" y="574"/>
                  </a:lnTo>
                  <a:lnTo>
                    <a:pt x="125" y="568"/>
                  </a:lnTo>
                  <a:lnTo>
                    <a:pt x="121" y="558"/>
                  </a:lnTo>
                  <a:lnTo>
                    <a:pt x="121" y="556"/>
                  </a:lnTo>
                  <a:lnTo>
                    <a:pt x="121" y="553"/>
                  </a:lnTo>
                  <a:lnTo>
                    <a:pt x="121" y="552"/>
                  </a:lnTo>
                  <a:lnTo>
                    <a:pt x="123" y="549"/>
                  </a:lnTo>
                  <a:lnTo>
                    <a:pt x="124" y="546"/>
                  </a:lnTo>
                  <a:lnTo>
                    <a:pt x="125" y="537"/>
                  </a:lnTo>
                  <a:lnTo>
                    <a:pt x="128" y="530"/>
                  </a:lnTo>
                  <a:lnTo>
                    <a:pt x="130" y="529"/>
                  </a:lnTo>
                  <a:lnTo>
                    <a:pt x="131" y="527"/>
                  </a:lnTo>
                  <a:lnTo>
                    <a:pt x="136" y="526"/>
                  </a:lnTo>
                  <a:lnTo>
                    <a:pt x="136" y="526"/>
                  </a:lnTo>
                  <a:lnTo>
                    <a:pt x="137" y="524"/>
                  </a:lnTo>
                  <a:lnTo>
                    <a:pt x="139" y="520"/>
                  </a:lnTo>
                  <a:lnTo>
                    <a:pt x="140" y="505"/>
                  </a:lnTo>
                  <a:lnTo>
                    <a:pt x="140" y="504"/>
                  </a:lnTo>
                  <a:lnTo>
                    <a:pt x="140" y="504"/>
                  </a:lnTo>
                  <a:lnTo>
                    <a:pt x="139" y="502"/>
                  </a:lnTo>
                  <a:lnTo>
                    <a:pt x="139" y="501"/>
                  </a:lnTo>
                  <a:lnTo>
                    <a:pt x="137" y="500"/>
                  </a:lnTo>
                  <a:lnTo>
                    <a:pt x="130" y="494"/>
                  </a:lnTo>
                  <a:lnTo>
                    <a:pt x="128" y="494"/>
                  </a:lnTo>
                  <a:lnTo>
                    <a:pt x="128" y="492"/>
                  </a:lnTo>
                  <a:lnTo>
                    <a:pt x="128" y="492"/>
                  </a:lnTo>
                  <a:lnTo>
                    <a:pt x="128" y="491"/>
                  </a:lnTo>
                  <a:lnTo>
                    <a:pt x="128" y="489"/>
                  </a:lnTo>
                  <a:lnTo>
                    <a:pt x="128" y="489"/>
                  </a:lnTo>
                  <a:lnTo>
                    <a:pt x="127" y="488"/>
                  </a:lnTo>
                  <a:lnTo>
                    <a:pt x="127" y="488"/>
                  </a:lnTo>
                  <a:lnTo>
                    <a:pt x="125" y="488"/>
                  </a:lnTo>
                  <a:lnTo>
                    <a:pt x="125" y="486"/>
                  </a:lnTo>
                  <a:lnTo>
                    <a:pt x="125" y="486"/>
                  </a:lnTo>
                  <a:lnTo>
                    <a:pt x="125" y="485"/>
                  </a:lnTo>
                  <a:lnTo>
                    <a:pt x="125" y="485"/>
                  </a:lnTo>
                  <a:lnTo>
                    <a:pt x="125" y="484"/>
                  </a:lnTo>
                  <a:lnTo>
                    <a:pt x="127" y="482"/>
                  </a:lnTo>
                  <a:lnTo>
                    <a:pt x="144" y="468"/>
                  </a:lnTo>
                  <a:lnTo>
                    <a:pt x="146" y="460"/>
                  </a:lnTo>
                  <a:lnTo>
                    <a:pt x="147" y="459"/>
                  </a:lnTo>
                  <a:lnTo>
                    <a:pt x="147" y="459"/>
                  </a:lnTo>
                  <a:lnTo>
                    <a:pt x="155" y="454"/>
                  </a:lnTo>
                  <a:lnTo>
                    <a:pt x="155" y="453"/>
                  </a:lnTo>
                  <a:lnTo>
                    <a:pt x="156" y="450"/>
                  </a:lnTo>
                  <a:lnTo>
                    <a:pt x="158" y="450"/>
                  </a:lnTo>
                  <a:lnTo>
                    <a:pt x="172" y="435"/>
                  </a:lnTo>
                  <a:lnTo>
                    <a:pt x="176" y="431"/>
                  </a:lnTo>
                  <a:lnTo>
                    <a:pt x="178" y="430"/>
                  </a:lnTo>
                  <a:lnTo>
                    <a:pt x="179" y="430"/>
                  </a:lnTo>
                  <a:lnTo>
                    <a:pt x="184" y="430"/>
                  </a:lnTo>
                  <a:lnTo>
                    <a:pt x="184" y="430"/>
                  </a:lnTo>
                  <a:lnTo>
                    <a:pt x="185" y="431"/>
                  </a:lnTo>
                  <a:lnTo>
                    <a:pt x="188" y="438"/>
                  </a:lnTo>
                  <a:lnTo>
                    <a:pt x="191" y="440"/>
                  </a:lnTo>
                  <a:lnTo>
                    <a:pt x="195" y="441"/>
                  </a:lnTo>
                  <a:lnTo>
                    <a:pt x="201" y="440"/>
                  </a:lnTo>
                  <a:lnTo>
                    <a:pt x="206" y="440"/>
                  </a:lnTo>
                  <a:lnTo>
                    <a:pt x="207" y="438"/>
                  </a:lnTo>
                  <a:lnTo>
                    <a:pt x="209" y="438"/>
                  </a:lnTo>
                  <a:lnTo>
                    <a:pt x="216" y="433"/>
                  </a:lnTo>
                  <a:lnTo>
                    <a:pt x="217" y="431"/>
                  </a:lnTo>
                  <a:lnTo>
                    <a:pt x="217" y="430"/>
                  </a:lnTo>
                  <a:lnTo>
                    <a:pt x="217" y="427"/>
                  </a:lnTo>
                  <a:lnTo>
                    <a:pt x="217" y="425"/>
                  </a:lnTo>
                  <a:lnTo>
                    <a:pt x="219" y="422"/>
                  </a:lnTo>
                  <a:lnTo>
                    <a:pt x="227" y="414"/>
                  </a:lnTo>
                  <a:lnTo>
                    <a:pt x="233" y="409"/>
                  </a:lnTo>
                  <a:lnTo>
                    <a:pt x="235" y="409"/>
                  </a:lnTo>
                  <a:lnTo>
                    <a:pt x="239" y="411"/>
                  </a:lnTo>
                  <a:lnTo>
                    <a:pt x="241" y="411"/>
                  </a:lnTo>
                  <a:lnTo>
                    <a:pt x="241" y="409"/>
                  </a:lnTo>
                  <a:lnTo>
                    <a:pt x="242" y="408"/>
                  </a:lnTo>
                  <a:lnTo>
                    <a:pt x="242" y="399"/>
                  </a:lnTo>
                  <a:lnTo>
                    <a:pt x="242" y="396"/>
                  </a:lnTo>
                  <a:lnTo>
                    <a:pt x="242" y="395"/>
                  </a:lnTo>
                  <a:lnTo>
                    <a:pt x="245" y="389"/>
                  </a:lnTo>
                  <a:lnTo>
                    <a:pt x="249" y="379"/>
                  </a:lnTo>
                  <a:lnTo>
                    <a:pt x="252" y="376"/>
                  </a:lnTo>
                  <a:lnTo>
                    <a:pt x="255" y="376"/>
                  </a:lnTo>
                  <a:lnTo>
                    <a:pt x="255" y="374"/>
                  </a:lnTo>
                  <a:lnTo>
                    <a:pt x="257" y="374"/>
                  </a:lnTo>
                  <a:lnTo>
                    <a:pt x="257" y="374"/>
                  </a:lnTo>
                  <a:lnTo>
                    <a:pt x="257" y="373"/>
                  </a:lnTo>
                  <a:lnTo>
                    <a:pt x="258" y="370"/>
                  </a:lnTo>
                  <a:lnTo>
                    <a:pt x="260" y="367"/>
                  </a:lnTo>
                  <a:lnTo>
                    <a:pt x="261" y="364"/>
                  </a:lnTo>
                  <a:lnTo>
                    <a:pt x="262" y="361"/>
                  </a:lnTo>
                  <a:lnTo>
                    <a:pt x="262" y="361"/>
                  </a:lnTo>
                  <a:lnTo>
                    <a:pt x="267" y="357"/>
                  </a:lnTo>
                  <a:lnTo>
                    <a:pt x="268" y="352"/>
                  </a:lnTo>
                  <a:lnTo>
                    <a:pt x="268" y="350"/>
                  </a:lnTo>
                  <a:lnTo>
                    <a:pt x="268" y="347"/>
                  </a:lnTo>
                  <a:lnTo>
                    <a:pt x="265" y="339"/>
                  </a:lnTo>
                  <a:lnTo>
                    <a:pt x="265" y="336"/>
                  </a:lnTo>
                  <a:lnTo>
                    <a:pt x="265" y="332"/>
                  </a:lnTo>
                  <a:lnTo>
                    <a:pt x="267" y="331"/>
                  </a:lnTo>
                  <a:lnTo>
                    <a:pt x="265" y="329"/>
                  </a:lnTo>
                  <a:lnTo>
                    <a:pt x="265" y="326"/>
                  </a:lnTo>
                  <a:lnTo>
                    <a:pt x="262" y="322"/>
                  </a:lnTo>
                  <a:lnTo>
                    <a:pt x="261" y="319"/>
                  </a:lnTo>
                  <a:lnTo>
                    <a:pt x="260" y="318"/>
                  </a:lnTo>
                  <a:lnTo>
                    <a:pt x="261" y="312"/>
                  </a:lnTo>
                  <a:lnTo>
                    <a:pt x="297" y="312"/>
                  </a:lnTo>
                  <a:lnTo>
                    <a:pt x="308" y="315"/>
                  </a:lnTo>
                  <a:lnTo>
                    <a:pt x="309" y="315"/>
                  </a:lnTo>
                  <a:lnTo>
                    <a:pt x="309" y="315"/>
                  </a:lnTo>
                  <a:lnTo>
                    <a:pt x="310" y="315"/>
                  </a:lnTo>
                  <a:lnTo>
                    <a:pt x="315" y="310"/>
                  </a:lnTo>
                  <a:lnTo>
                    <a:pt x="324" y="306"/>
                  </a:lnTo>
                  <a:lnTo>
                    <a:pt x="325" y="304"/>
                  </a:lnTo>
                  <a:lnTo>
                    <a:pt x="325" y="303"/>
                  </a:lnTo>
                  <a:lnTo>
                    <a:pt x="325" y="302"/>
                  </a:lnTo>
                  <a:lnTo>
                    <a:pt x="324" y="300"/>
                  </a:lnTo>
                  <a:lnTo>
                    <a:pt x="321" y="294"/>
                  </a:lnTo>
                  <a:lnTo>
                    <a:pt x="321" y="294"/>
                  </a:lnTo>
                  <a:lnTo>
                    <a:pt x="321" y="293"/>
                  </a:lnTo>
                  <a:lnTo>
                    <a:pt x="321" y="293"/>
                  </a:lnTo>
                  <a:lnTo>
                    <a:pt x="321" y="291"/>
                  </a:lnTo>
                  <a:lnTo>
                    <a:pt x="322" y="290"/>
                  </a:lnTo>
                  <a:lnTo>
                    <a:pt x="328" y="281"/>
                  </a:lnTo>
                  <a:lnTo>
                    <a:pt x="340" y="268"/>
                  </a:lnTo>
                  <a:lnTo>
                    <a:pt x="340" y="267"/>
                  </a:lnTo>
                  <a:lnTo>
                    <a:pt x="341" y="265"/>
                  </a:lnTo>
                  <a:lnTo>
                    <a:pt x="341" y="262"/>
                  </a:lnTo>
                  <a:lnTo>
                    <a:pt x="341" y="261"/>
                  </a:lnTo>
                  <a:lnTo>
                    <a:pt x="340" y="258"/>
                  </a:lnTo>
                  <a:lnTo>
                    <a:pt x="340" y="255"/>
                  </a:lnTo>
                  <a:lnTo>
                    <a:pt x="340" y="255"/>
                  </a:lnTo>
                  <a:lnTo>
                    <a:pt x="340" y="253"/>
                  </a:lnTo>
                  <a:lnTo>
                    <a:pt x="338" y="248"/>
                  </a:lnTo>
                  <a:lnTo>
                    <a:pt x="338" y="245"/>
                  </a:lnTo>
                  <a:lnTo>
                    <a:pt x="335" y="236"/>
                  </a:lnTo>
                  <a:lnTo>
                    <a:pt x="335" y="235"/>
                  </a:lnTo>
                  <a:lnTo>
                    <a:pt x="335" y="233"/>
                  </a:lnTo>
                  <a:lnTo>
                    <a:pt x="334" y="226"/>
                  </a:lnTo>
                  <a:lnTo>
                    <a:pt x="334" y="226"/>
                  </a:lnTo>
                  <a:lnTo>
                    <a:pt x="332" y="224"/>
                  </a:lnTo>
                  <a:lnTo>
                    <a:pt x="329" y="223"/>
                  </a:lnTo>
                  <a:lnTo>
                    <a:pt x="329" y="223"/>
                  </a:lnTo>
                  <a:lnTo>
                    <a:pt x="329" y="223"/>
                  </a:lnTo>
                  <a:lnTo>
                    <a:pt x="329" y="221"/>
                  </a:lnTo>
                  <a:lnTo>
                    <a:pt x="331" y="217"/>
                  </a:lnTo>
                  <a:lnTo>
                    <a:pt x="331" y="217"/>
                  </a:lnTo>
                  <a:lnTo>
                    <a:pt x="331" y="216"/>
                  </a:lnTo>
                  <a:lnTo>
                    <a:pt x="331" y="216"/>
                  </a:lnTo>
                  <a:lnTo>
                    <a:pt x="329" y="214"/>
                  </a:lnTo>
                  <a:lnTo>
                    <a:pt x="329" y="214"/>
                  </a:lnTo>
                  <a:lnTo>
                    <a:pt x="328" y="214"/>
                  </a:lnTo>
                  <a:lnTo>
                    <a:pt x="327" y="214"/>
                  </a:lnTo>
                  <a:lnTo>
                    <a:pt x="325" y="216"/>
                  </a:lnTo>
                  <a:lnTo>
                    <a:pt x="318" y="220"/>
                  </a:lnTo>
                  <a:lnTo>
                    <a:pt x="310" y="223"/>
                  </a:lnTo>
                  <a:lnTo>
                    <a:pt x="303" y="223"/>
                  </a:lnTo>
                  <a:lnTo>
                    <a:pt x="302" y="224"/>
                  </a:lnTo>
                  <a:lnTo>
                    <a:pt x="300" y="224"/>
                  </a:lnTo>
                  <a:lnTo>
                    <a:pt x="300" y="224"/>
                  </a:lnTo>
                  <a:lnTo>
                    <a:pt x="300" y="226"/>
                  </a:lnTo>
                  <a:lnTo>
                    <a:pt x="297" y="229"/>
                  </a:lnTo>
                  <a:lnTo>
                    <a:pt x="297" y="230"/>
                  </a:lnTo>
                  <a:lnTo>
                    <a:pt x="296" y="230"/>
                  </a:lnTo>
                  <a:lnTo>
                    <a:pt x="296" y="232"/>
                  </a:lnTo>
                  <a:lnTo>
                    <a:pt x="293" y="232"/>
                  </a:lnTo>
                  <a:lnTo>
                    <a:pt x="290" y="230"/>
                  </a:lnTo>
                  <a:lnTo>
                    <a:pt x="289" y="230"/>
                  </a:lnTo>
                  <a:lnTo>
                    <a:pt x="289" y="229"/>
                  </a:lnTo>
                  <a:lnTo>
                    <a:pt x="287" y="229"/>
                  </a:lnTo>
                  <a:lnTo>
                    <a:pt x="287" y="227"/>
                  </a:lnTo>
                  <a:lnTo>
                    <a:pt x="287" y="227"/>
                  </a:lnTo>
                  <a:lnTo>
                    <a:pt x="287" y="226"/>
                  </a:lnTo>
                  <a:lnTo>
                    <a:pt x="286" y="223"/>
                  </a:lnTo>
                  <a:lnTo>
                    <a:pt x="286" y="223"/>
                  </a:lnTo>
                  <a:lnTo>
                    <a:pt x="286" y="221"/>
                  </a:lnTo>
                  <a:lnTo>
                    <a:pt x="284" y="220"/>
                  </a:lnTo>
                  <a:lnTo>
                    <a:pt x="283" y="219"/>
                  </a:lnTo>
                  <a:lnTo>
                    <a:pt x="280" y="217"/>
                  </a:lnTo>
                  <a:lnTo>
                    <a:pt x="280" y="217"/>
                  </a:lnTo>
                  <a:lnTo>
                    <a:pt x="280" y="216"/>
                  </a:lnTo>
                  <a:lnTo>
                    <a:pt x="280" y="216"/>
                  </a:lnTo>
                  <a:lnTo>
                    <a:pt x="278" y="214"/>
                  </a:lnTo>
                  <a:lnTo>
                    <a:pt x="280" y="213"/>
                  </a:lnTo>
                  <a:lnTo>
                    <a:pt x="280" y="211"/>
                  </a:lnTo>
                  <a:lnTo>
                    <a:pt x="284" y="204"/>
                  </a:lnTo>
                  <a:lnTo>
                    <a:pt x="286" y="200"/>
                  </a:lnTo>
                  <a:lnTo>
                    <a:pt x="293" y="191"/>
                  </a:lnTo>
                  <a:lnTo>
                    <a:pt x="305" y="179"/>
                  </a:lnTo>
                  <a:lnTo>
                    <a:pt x="305" y="178"/>
                  </a:lnTo>
                  <a:lnTo>
                    <a:pt x="306" y="176"/>
                  </a:lnTo>
                  <a:lnTo>
                    <a:pt x="306" y="175"/>
                  </a:lnTo>
                  <a:lnTo>
                    <a:pt x="306" y="175"/>
                  </a:lnTo>
                  <a:lnTo>
                    <a:pt x="306" y="173"/>
                  </a:lnTo>
                  <a:lnTo>
                    <a:pt x="309" y="170"/>
                  </a:lnTo>
                  <a:lnTo>
                    <a:pt x="313" y="169"/>
                  </a:lnTo>
                  <a:lnTo>
                    <a:pt x="315" y="165"/>
                  </a:lnTo>
                  <a:lnTo>
                    <a:pt x="315" y="165"/>
                  </a:lnTo>
                  <a:lnTo>
                    <a:pt x="316" y="163"/>
                  </a:lnTo>
                  <a:lnTo>
                    <a:pt x="318" y="163"/>
                  </a:lnTo>
                  <a:lnTo>
                    <a:pt x="324" y="162"/>
                  </a:lnTo>
                  <a:lnTo>
                    <a:pt x="332" y="157"/>
                  </a:lnTo>
                  <a:lnTo>
                    <a:pt x="334" y="157"/>
                  </a:lnTo>
                  <a:lnTo>
                    <a:pt x="340" y="157"/>
                  </a:lnTo>
                  <a:lnTo>
                    <a:pt x="347" y="156"/>
                  </a:lnTo>
                  <a:lnTo>
                    <a:pt x="356" y="153"/>
                  </a:lnTo>
                  <a:lnTo>
                    <a:pt x="360" y="153"/>
                  </a:lnTo>
                  <a:lnTo>
                    <a:pt x="361" y="153"/>
                  </a:lnTo>
                  <a:lnTo>
                    <a:pt x="364" y="153"/>
                  </a:lnTo>
                  <a:lnTo>
                    <a:pt x="366" y="153"/>
                  </a:lnTo>
                  <a:lnTo>
                    <a:pt x="367" y="154"/>
                  </a:lnTo>
                  <a:lnTo>
                    <a:pt x="375" y="156"/>
                  </a:lnTo>
                  <a:lnTo>
                    <a:pt x="376" y="156"/>
                  </a:lnTo>
                  <a:lnTo>
                    <a:pt x="376" y="156"/>
                  </a:lnTo>
                  <a:lnTo>
                    <a:pt x="378" y="156"/>
                  </a:lnTo>
                  <a:lnTo>
                    <a:pt x="386" y="150"/>
                  </a:lnTo>
                  <a:lnTo>
                    <a:pt x="389" y="149"/>
                  </a:lnTo>
                  <a:lnTo>
                    <a:pt x="404" y="147"/>
                  </a:lnTo>
                  <a:lnTo>
                    <a:pt x="405" y="146"/>
                  </a:lnTo>
                  <a:lnTo>
                    <a:pt x="407" y="144"/>
                  </a:lnTo>
                  <a:lnTo>
                    <a:pt x="408" y="140"/>
                  </a:lnTo>
                  <a:lnTo>
                    <a:pt x="410" y="137"/>
                  </a:lnTo>
                  <a:lnTo>
                    <a:pt x="410" y="136"/>
                  </a:lnTo>
                  <a:lnTo>
                    <a:pt x="408" y="134"/>
                  </a:lnTo>
                  <a:lnTo>
                    <a:pt x="407" y="133"/>
                  </a:lnTo>
                  <a:lnTo>
                    <a:pt x="407" y="133"/>
                  </a:lnTo>
                  <a:lnTo>
                    <a:pt x="399" y="131"/>
                  </a:lnTo>
                  <a:lnTo>
                    <a:pt x="398" y="131"/>
                  </a:lnTo>
                  <a:lnTo>
                    <a:pt x="398" y="131"/>
                  </a:lnTo>
                  <a:lnTo>
                    <a:pt x="398" y="130"/>
                  </a:lnTo>
                  <a:lnTo>
                    <a:pt x="398" y="128"/>
                  </a:lnTo>
                  <a:lnTo>
                    <a:pt x="398" y="124"/>
                  </a:lnTo>
                  <a:lnTo>
                    <a:pt x="398" y="122"/>
                  </a:lnTo>
                  <a:lnTo>
                    <a:pt x="396" y="117"/>
                  </a:lnTo>
                  <a:lnTo>
                    <a:pt x="396" y="115"/>
                  </a:lnTo>
                  <a:lnTo>
                    <a:pt x="395" y="112"/>
                  </a:lnTo>
                  <a:lnTo>
                    <a:pt x="395" y="112"/>
                  </a:lnTo>
                  <a:lnTo>
                    <a:pt x="392" y="108"/>
                  </a:lnTo>
                  <a:lnTo>
                    <a:pt x="392" y="106"/>
                  </a:lnTo>
                  <a:lnTo>
                    <a:pt x="391" y="105"/>
                  </a:lnTo>
                  <a:lnTo>
                    <a:pt x="391" y="104"/>
                  </a:lnTo>
                  <a:lnTo>
                    <a:pt x="392" y="102"/>
                  </a:lnTo>
                  <a:lnTo>
                    <a:pt x="392" y="101"/>
                  </a:lnTo>
                  <a:lnTo>
                    <a:pt x="392" y="99"/>
                  </a:lnTo>
                  <a:lnTo>
                    <a:pt x="394" y="98"/>
                  </a:lnTo>
                  <a:lnTo>
                    <a:pt x="412" y="89"/>
                  </a:lnTo>
                  <a:lnTo>
                    <a:pt x="427" y="85"/>
                  </a:lnTo>
                  <a:lnTo>
                    <a:pt x="431" y="82"/>
                  </a:lnTo>
                  <a:lnTo>
                    <a:pt x="434" y="83"/>
                  </a:lnTo>
                  <a:lnTo>
                    <a:pt x="437" y="85"/>
                  </a:lnTo>
                  <a:lnTo>
                    <a:pt x="445" y="89"/>
                  </a:lnTo>
                  <a:lnTo>
                    <a:pt x="449" y="92"/>
                  </a:lnTo>
                  <a:lnTo>
                    <a:pt x="450" y="92"/>
                  </a:lnTo>
                  <a:lnTo>
                    <a:pt x="452" y="92"/>
                  </a:lnTo>
                  <a:lnTo>
                    <a:pt x="453" y="92"/>
                  </a:lnTo>
                  <a:lnTo>
                    <a:pt x="453" y="93"/>
                  </a:lnTo>
                  <a:lnTo>
                    <a:pt x="456" y="96"/>
                  </a:lnTo>
                  <a:lnTo>
                    <a:pt x="456" y="102"/>
                  </a:lnTo>
                  <a:lnTo>
                    <a:pt x="456" y="104"/>
                  </a:lnTo>
                  <a:lnTo>
                    <a:pt x="456" y="104"/>
                  </a:lnTo>
                  <a:lnTo>
                    <a:pt x="456" y="109"/>
                  </a:lnTo>
                  <a:lnTo>
                    <a:pt x="456" y="109"/>
                  </a:lnTo>
                  <a:lnTo>
                    <a:pt x="456" y="111"/>
                  </a:lnTo>
                  <a:lnTo>
                    <a:pt x="458" y="114"/>
                  </a:lnTo>
                  <a:lnTo>
                    <a:pt x="465" y="118"/>
                  </a:lnTo>
                  <a:lnTo>
                    <a:pt x="477" y="121"/>
                  </a:lnTo>
                  <a:lnTo>
                    <a:pt x="479" y="121"/>
                  </a:lnTo>
                  <a:lnTo>
                    <a:pt x="481" y="121"/>
                  </a:lnTo>
                  <a:lnTo>
                    <a:pt x="494" y="111"/>
                  </a:lnTo>
                  <a:lnTo>
                    <a:pt x="496" y="111"/>
                  </a:lnTo>
                  <a:lnTo>
                    <a:pt x="500" y="111"/>
                  </a:lnTo>
                  <a:lnTo>
                    <a:pt x="500" y="111"/>
                  </a:lnTo>
                  <a:lnTo>
                    <a:pt x="501" y="109"/>
                  </a:lnTo>
                  <a:lnTo>
                    <a:pt x="501" y="108"/>
                  </a:lnTo>
                  <a:lnTo>
                    <a:pt x="503" y="106"/>
                  </a:lnTo>
                  <a:lnTo>
                    <a:pt x="503" y="105"/>
                  </a:lnTo>
                  <a:lnTo>
                    <a:pt x="503" y="104"/>
                  </a:lnTo>
                  <a:lnTo>
                    <a:pt x="503" y="102"/>
                  </a:lnTo>
                  <a:lnTo>
                    <a:pt x="503" y="101"/>
                  </a:lnTo>
                  <a:lnTo>
                    <a:pt x="503" y="99"/>
                  </a:lnTo>
                  <a:lnTo>
                    <a:pt x="503" y="98"/>
                  </a:lnTo>
                  <a:lnTo>
                    <a:pt x="504" y="96"/>
                  </a:lnTo>
                  <a:lnTo>
                    <a:pt x="504" y="95"/>
                  </a:lnTo>
                  <a:lnTo>
                    <a:pt x="506" y="93"/>
                  </a:lnTo>
                  <a:lnTo>
                    <a:pt x="507" y="90"/>
                  </a:lnTo>
                  <a:lnTo>
                    <a:pt x="514" y="88"/>
                  </a:lnTo>
                  <a:lnTo>
                    <a:pt x="517" y="86"/>
                  </a:lnTo>
                  <a:lnTo>
                    <a:pt x="520" y="83"/>
                  </a:lnTo>
                  <a:lnTo>
                    <a:pt x="525" y="80"/>
                  </a:lnTo>
                  <a:lnTo>
                    <a:pt x="529" y="77"/>
                  </a:lnTo>
                  <a:lnTo>
                    <a:pt x="530" y="76"/>
                  </a:lnTo>
                  <a:lnTo>
                    <a:pt x="532" y="74"/>
                  </a:lnTo>
                  <a:lnTo>
                    <a:pt x="533" y="70"/>
                  </a:lnTo>
                  <a:lnTo>
                    <a:pt x="535" y="67"/>
                  </a:lnTo>
                  <a:lnTo>
                    <a:pt x="536" y="64"/>
                  </a:lnTo>
                  <a:lnTo>
                    <a:pt x="539" y="61"/>
                  </a:lnTo>
                  <a:lnTo>
                    <a:pt x="542" y="60"/>
                  </a:lnTo>
                  <a:lnTo>
                    <a:pt x="544" y="57"/>
                  </a:lnTo>
                  <a:lnTo>
                    <a:pt x="545" y="53"/>
                  </a:lnTo>
                  <a:lnTo>
                    <a:pt x="546" y="50"/>
                  </a:lnTo>
                  <a:lnTo>
                    <a:pt x="546" y="48"/>
                  </a:lnTo>
                  <a:lnTo>
                    <a:pt x="546" y="48"/>
                  </a:lnTo>
                  <a:lnTo>
                    <a:pt x="546" y="45"/>
                  </a:lnTo>
                  <a:lnTo>
                    <a:pt x="548" y="42"/>
                  </a:lnTo>
                  <a:lnTo>
                    <a:pt x="548" y="41"/>
                  </a:lnTo>
                  <a:lnTo>
                    <a:pt x="549" y="37"/>
                  </a:lnTo>
                  <a:lnTo>
                    <a:pt x="549" y="37"/>
                  </a:lnTo>
                  <a:lnTo>
                    <a:pt x="549" y="35"/>
                  </a:lnTo>
                  <a:lnTo>
                    <a:pt x="549" y="35"/>
                  </a:lnTo>
                  <a:lnTo>
                    <a:pt x="549" y="34"/>
                  </a:lnTo>
                  <a:lnTo>
                    <a:pt x="549" y="34"/>
                  </a:lnTo>
                  <a:lnTo>
                    <a:pt x="545" y="31"/>
                  </a:lnTo>
                  <a:lnTo>
                    <a:pt x="544" y="29"/>
                  </a:lnTo>
                  <a:lnTo>
                    <a:pt x="542" y="28"/>
                  </a:lnTo>
                  <a:lnTo>
                    <a:pt x="542" y="28"/>
                  </a:lnTo>
                  <a:lnTo>
                    <a:pt x="544" y="26"/>
                  </a:lnTo>
                  <a:lnTo>
                    <a:pt x="546" y="25"/>
                  </a:lnTo>
                  <a:lnTo>
                    <a:pt x="571" y="16"/>
                  </a:lnTo>
                  <a:lnTo>
                    <a:pt x="574" y="13"/>
                  </a:lnTo>
                  <a:lnTo>
                    <a:pt x="580" y="5"/>
                  </a:lnTo>
                  <a:lnTo>
                    <a:pt x="583" y="6"/>
                  </a:lnTo>
                  <a:lnTo>
                    <a:pt x="589" y="0"/>
                  </a:lnTo>
                  <a:lnTo>
                    <a:pt x="595" y="0"/>
                  </a:lnTo>
                  <a:lnTo>
                    <a:pt x="596" y="2"/>
                  </a:lnTo>
                  <a:lnTo>
                    <a:pt x="597" y="3"/>
                  </a:lnTo>
                  <a:lnTo>
                    <a:pt x="597" y="6"/>
                  </a:lnTo>
                  <a:lnTo>
                    <a:pt x="597" y="7"/>
                  </a:lnTo>
                  <a:lnTo>
                    <a:pt x="597" y="9"/>
                  </a:lnTo>
                  <a:lnTo>
                    <a:pt x="597" y="10"/>
                  </a:lnTo>
                  <a:lnTo>
                    <a:pt x="597" y="12"/>
                  </a:lnTo>
                  <a:lnTo>
                    <a:pt x="599" y="13"/>
                  </a:lnTo>
                  <a:lnTo>
                    <a:pt x="600" y="15"/>
                  </a:lnTo>
                  <a:lnTo>
                    <a:pt x="603" y="15"/>
                  </a:lnTo>
                  <a:lnTo>
                    <a:pt x="608" y="16"/>
                  </a:lnTo>
                  <a:lnTo>
                    <a:pt x="611" y="15"/>
                  </a:lnTo>
                  <a:lnTo>
                    <a:pt x="612" y="15"/>
                  </a:lnTo>
                  <a:lnTo>
                    <a:pt x="612" y="13"/>
                  </a:lnTo>
                  <a:lnTo>
                    <a:pt x="614" y="12"/>
                  </a:lnTo>
                  <a:lnTo>
                    <a:pt x="615" y="10"/>
                  </a:lnTo>
                  <a:lnTo>
                    <a:pt x="616" y="9"/>
                  </a:lnTo>
                  <a:lnTo>
                    <a:pt x="618" y="9"/>
                  </a:lnTo>
                  <a:lnTo>
                    <a:pt x="619" y="9"/>
                  </a:lnTo>
                  <a:lnTo>
                    <a:pt x="619" y="10"/>
                  </a:lnTo>
                  <a:lnTo>
                    <a:pt x="621" y="12"/>
                  </a:lnTo>
                  <a:lnTo>
                    <a:pt x="622" y="15"/>
                  </a:lnTo>
                  <a:lnTo>
                    <a:pt x="627" y="16"/>
                  </a:lnTo>
                  <a:lnTo>
                    <a:pt x="630" y="16"/>
                  </a:lnTo>
                  <a:lnTo>
                    <a:pt x="632" y="16"/>
                  </a:lnTo>
                  <a:lnTo>
                    <a:pt x="637" y="16"/>
                  </a:lnTo>
                  <a:lnTo>
                    <a:pt x="641" y="15"/>
                  </a:lnTo>
                  <a:lnTo>
                    <a:pt x="643" y="13"/>
                  </a:lnTo>
                  <a:lnTo>
                    <a:pt x="643" y="15"/>
                  </a:lnTo>
                  <a:lnTo>
                    <a:pt x="644" y="18"/>
                  </a:lnTo>
                  <a:lnTo>
                    <a:pt x="644" y="21"/>
                  </a:lnTo>
                  <a:lnTo>
                    <a:pt x="646" y="22"/>
                  </a:lnTo>
                  <a:lnTo>
                    <a:pt x="653" y="25"/>
                  </a:lnTo>
                  <a:lnTo>
                    <a:pt x="654" y="26"/>
                  </a:lnTo>
                  <a:lnTo>
                    <a:pt x="654" y="29"/>
                  </a:lnTo>
                  <a:lnTo>
                    <a:pt x="656" y="34"/>
                  </a:lnTo>
                  <a:lnTo>
                    <a:pt x="659" y="39"/>
                  </a:lnTo>
                  <a:lnTo>
                    <a:pt x="664" y="47"/>
                  </a:lnTo>
                  <a:lnTo>
                    <a:pt x="662" y="53"/>
                  </a:lnTo>
                  <a:lnTo>
                    <a:pt x="660" y="54"/>
                  </a:lnTo>
                  <a:lnTo>
                    <a:pt x="659" y="54"/>
                  </a:lnTo>
                  <a:lnTo>
                    <a:pt x="650" y="47"/>
                  </a:lnTo>
                  <a:lnTo>
                    <a:pt x="650" y="47"/>
                  </a:lnTo>
                  <a:lnTo>
                    <a:pt x="648" y="47"/>
                  </a:lnTo>
                  <a:lnTo>
                    <a:pt x="648" y="47"/>
                  </a:lnTo>
                  <a:lnTo>
                    <a:pt x="647" y="47"/>
                  </a:lnTo>
                  <a:lnTo>
                    <a:pt x="647" y="48"/>
                  </a:lnTo>
                  <a:lnTo>
                    <a:pt x="647" y="50"/>
                  </a:lnTo>
                  <a:lnTo>
                    <a:pt x="647" y="53"/>
                  </a:lnTo>
                  <a:lnTo>
                    <a:pt x="651" y="58"/>
                  </a:lnTo>
                  <a:lnTo>
                    <a:pt x="650" y="58"/>
                  </a:lnTo>
                  <a:lnTo>
                    <a:pt x="650" y="60"/>
                  </a:lnTo>
                  <a:lnTo>
                    <a:pt x="648" y="60"/>
                  </a:lnTo>
                  <a:lnTo>
                    <a:pt x="647" y="60"/>
                  </a:lnTo>
                  <a:lnTo>
                    <a:pt x="646" y="60"/>
                  </a:lnTo>
                  <a:lnTo>
                    <a:pt x="643" y="58"/>
                  </a:lnTo>
                  <a:lnTo>
                    <a:pt x="641" y="58"/>
                  </a:lnTo>
                  <a:lnTo>
                    <a:pt x="641" y="60"/>
                  </a:lnTo>
                  <a:lnTo>
                    <a:pt x="641" y="63"/>
                  </a:lnTo>
                  <a:lnTo>
                    <a:pt x="641" y="69"/>
                  </a:lnTo>
                  <a:lnTo>
                    <a:pt x="640" y="71"/>
                  </a:lnTo>
                  <a:lnTo>
                    <a:pt x="640" y="74"/>
                  </a:lnTo>
                  <a:lnTo>
                    <a:pt x="638" y="74"/>
                  </a:lnTo>
                  <a:lnTo>
                    <a:pt x="637" y="76"/>
                  </a:lnTo>
                  <a:lnTo>
                    <a:pt x="634" y="76"/>
                  </a:lnTo>
                  <a:lnTo>
                    <a:pt x="634" y="77"/>
                  </a:lnTo>
                  <a:lnTo>
                    <a:pt x="634" y="80"/>
                  </a:lnTo>
                  <a:lnTo>
                    <a:pt x="641" y="96"/>
                  </a:lnTo>
                  <a:lnTo>
                    <a:pt x="643" y="99"/>
                  </a:lnTo>
                  <a:lnTo>
                    <a:pt x="644" y="101"/>
                  </a:lnTo>
                  <a:lnTo>
                    <a:pt x="647" y="102"/>
                  </a:lnTo>
                  <a:lnTo>
                    <a:pt x="648" y="104"/>
                  </a:lnTo>
                  <a:lnTo>
                    <a:pt x="648" y="105"/>
                  </a:lnTo>
                  <a:lnTo>
                    <a:pt x="648" y="106"/>
                  </a:lnTo>
                  <a:lnTo>
                    <a:pt x="646" y="109"/>
                  </a:lnTo>
                  <a:lnTo>
                    <a:pt x="646" y="109"/>
                  </a:lnTo>
                  <a:lnTo>
                    <a:pt x="646" y="112"/>
                  </a:lnTo>
                  <a:lnTo>
                    <a:pt x="647" y="114"/>
                  </a:lnTo>
                  <a:lnTo>
                    <a:pt x="648" y="117"/>
                  </a:lnTo>
                  <a:lnTo>
                    <a:pt x="648" y="120"/>
                  </a:lnTo>
                  <a:lnTo>
                    <a:pt x="647" y="121"/>
                  </a:lnTo>
                  <a:lnTo>
                    <a:pt x="647" y="124"/>
                  </a:lnTo>
                  <a:lnTo>
                    <a:pt x="648" y="137"/>
                  </a:lnTo>
                  <a:lnTo>
                    <a:pt x="647" y="140"/>
                  </a:lnTo>
                  <a:lnTo>
                    <a:pt x="647" y="141"/>
                  </a:lnTo>
                  <a:lnTo>
                    <a:pt x="637" y="143"/>
                  </a:lnTo>
                  <a:lnTo>
                    <a:pt x="634" y="144"/>
                  </a:lnTo>
                  <a:lnTo>
                    <a:pt x="632" y="144"/>
                  </a:lnTo>
                  <a:lnTo>
                    <a:pt x="630" y="143"/>
                  </a:lnTo>
                  <a:lnTo>
                    <a:pt x="630" y="143"/>
                  </a:lnTo>
                  <a:lnTo>
                    <a:pt x="628" y="144"/>
                  </a:lnTo>
                  <a:lnTo>
                    <a:pt x="627" y="146"/>
                  </a:lnTo>
                  <a:lnTo>
                    <a:pt x="627" y="147"/>
                  </a:lnTo>
                  <a:lnTo>
                    <a:pt x="625" y="149"/>
                  </a:lnTo>
                  <a:lnTo>
                    <a:pt x="622" y="152"/>
                  </a:lnTo>
                  <a:lnTo>
                    <a:pt x="622" y="153"/>
                  </a:lnTo>
                  <a:lnTo>
                    <a:pt x="622" y="156"/>
                  </a:lnTo>
                  <a:lnTo>
                    <a:pt x="625" y="160"/>
                  </a:lnTo>
                  <a:lnTo>
                    <a:pt x="625" y="162"/>
                  </a:lnTo>
                  <a:lnTo>
                    <a:pt x="625" y="163"/>
                  </a:lnTo>
                  <a:lnTo>
                    <a:pt x="624" y="165"/>
                  </a:lnTo>
                  <a:lnTo>
                    <a:pt x="622" y="165"/>
                  </a:lnTo>
                  <a:lnTo>
                    <a:pt x="619" y="163"/>
                  </a:lnTo>
                  <a:lnTo>
                    <a:pt x="614" y="162"/>
                  </a:lnTo>
                  <a:lnTo>
                    <a:pt x="612" y="162"/>
                  </a:lnTo>
                  <a:lnTo>
                    <a:pt x="612" y="163"/>
                  </a:lnTo>
                  <a:lnTo>
                    <a:pt x="615" y="166"/>
                  </a:lnTo>
                  <a:lnTo>
                    <a:pt x="624" y="175"/>
                  </a:lnTo>
                  <a:lnTo>
                    <a:pt x="631" y="176"/>
                  </a:lnTo>
                  <a:lnTo>
                    <a:pt x="654" y="187"/>
                  </a:lnTo>
                  <a:lnTo>
                    <a:pt x="657" y="188"/>
                  </a:lnTo>
                  <a:lnTo>
                    <a:pt x="659" y="187"/>
                  </a:lnTo>
                  <a:lnTo>
                    <a:pt x="664" y="189"/>
                  </a:lnTo>
                  <a:lnTo>
                    <a:pt x="673" y="203"/>
                  </a:lnTo>
                  <a:lnTo>
                    <a:pt x="678" y="203"/>
                  </a:lnTo>
                  <a:lnTo>
                    <a:pt x="679" y="203"/>
                  </a:lnTo>
                  <a:lnTo>
                    <a:pt x="682" y="201"/>
                  </a:lnTo>
                  <a:lnTo>
                    <a:pt x="691" y="192"/>
                  </a:lnTo>
                  <a:lnTo>
                    <a:pt x="694" y="189"/>
                  </a:lnTo>
                  <a:lnTo>
                    <a:pt x="695" y="188"/>
                  </a:lnTo>
                  <a:lnTo>
                    <a:pt x="695" y="187"/>
                  </a:lnTo>
                  <a:lnTo>
                    <a:pt x="695" y="185"/>
                  </a:lnTo>
                  <a:lnTo>
                    <a:pt x="695" y="184"/>
                  </a:lnTo>
                  <a:lnTo>
                    <a:pt x="695" y="184"/>
                  </a:lnTo>
                  <a:lnTo>
                    <a:pt x="695" y="182"/>
                  </a:lnTo>
                  <a:lnTo>
                    <a:pt x="697" y="182"/>
                  </a:lnTo>
                  <a:lnTo>
                    <a:pt x="697" y="181"/>
                  </a:lnTo>
                  <a:lnTo>
                    <a:pt x="697" y="181"/>
                  </a:lnTo>
                  <a:lnTo>
                    <a:pt x="698" y="181"/>
                  </a:lnTo>
                  <a:lnTo>
                    <a:pt x="698" y="179"/>
                  </a:lnTo>
                  <a:lnTo>
                    <a:pt x="699" y="178"/>
                  </a:lnTo>
                  <a:lnTo>
                    <a:pt x="699" y="178"/>
                  </a:lnTo>
                  <a:lnTo>
                    <a:pt x="699" y="176"/>
                  </a:lnTo>
                  <a:lnTo>
                    <a:pt x="699" y="176"/>
                  </a:lnTo>
                  <a:lnTo>
                    <a:pt x="698" y="175"/>
                  </a:lnTo>
                  <a:lnTo>
                    <a:pt x="698" y="175"/>
                  </a:lnTo>
                  <a:lnTo>
                    <a:pt x="697" y="175"/>
                  </a:lnTo>
                  <a:lnTo>
                    <a:pt x="694" y="175"/>
                  </a:lnTo>
                  <a:lnTo>
                    <a:pt x="691" y="179"/>
                  </a:lnTo>
                  <a:lnTo>
                    <a:pt x="689" y="181"/>
                  </a:lnTo>
                  <a:lnTo>
                    <a:pt x="689" y="181"/>
                  </a:lnTo>
                  <a:lnTo>
                    <a:pt x="688" y="181"/>
                  </a:lnTo>
                  <a:lnTo>
                    <a:pt x="685" y="179"/>
                  </a:lnTo>
                  <a:lnTo>
                    <a:pt x="676" y="170"/>
                  </a:lnTo>
                  <a:lnTo>
                    <a:pt x="675" y="168"/>
                  </a:lnTo>
                  <a:lnTo>
                    <a:pt x="675" y="165"/>
                  </a:lnTo>
                  <a:lnTo>
                    <a:pt x="675" y="165"/>
                  </a:lnTo>
                  <a:lnTo>
                    <a:pt x="675" y="163"/>
                  </a:lnTo>
                  <a:lnTo>
                    <a:pt x="675" y="163"/>
                  </a:lnTo>
                  <a:lnTo>
                    <a:pt x="689" y="154"/>
                  </a:lnTo>
                  <a:lnTo>
                    <a:pt x="694" y="150"/>
                  </a:lnTo>
                  <a:lnTo>
                    <a:pt x="702" y="147"/>
                  </a:lnTo>
                  <a:lnTo>
                    <a:pt x="704" y="146"/>
                  </a:lnTo>
                  <a:lnTo>
                    <a:pt x="705" y="144"/>
                  </a:lnTo>
                  <a:lnTo>
                    <a:pt x="704" y="143"/>
                  </a:lnTo>
                  <a:lnTo>
                    <a:pt x="704" y="141"/>
                  </a:lnTo>
                  <a:lnTo>
                    <a:pt x="704" y="140"/>
                  </a:lnTo>
                  <a:lnTo>
                    <a:pt x="704" y="138"/>
                  </a:lnTo>
                  <a:lnTo>
                    <a:pt x="704" y="138"/>
                  </a:lnTo>
                  <a:lnTo>
                    <a:pt x="705" y="137"/>
                  </a:lnTo>
                  <a:lnTo>
                    <a:pt x="707" y="138"/>
                  </a:lnTo>
                  <a:lnTo>
                    <a:pt x="714" y="141"/>
                  </a:lnTo>
                  <a:lnTo>
                    <a:pt x="715" y="144"/>
                  </a:lnTo>
                  <a:lnTo>
                    <a:pt x="717" y="146"/>
                  </a:lnTo>
                  <a:lnTo>
                    <a:pt x="718" y="147"/>
                  </a:lnTo>
                  <a:lnTo>
                    <a:pt x="720" y="153"/>
                  </a:lnTo>
                  <a:lnTo>
                    <a:pt x="721" y="156"/>
                  </a:lnTo>
                  <a:lnTo>
                    <a:pt x="723" y="157"/>
                  </a:lnTo>
                  <a:lnTo>
                    <a:pt x="724" y="157"/>
                  </a:lnTo>
                  <a:lnTo>
                    <a:pt x="726" y="157"/>
                  </a:lnTo>
                  <a:lnTo>
                    <a:pt x="727" y="157"/>
                  </a:lnTo>
                  <a:lnTo>
                    <a:pt x="730" y="154"/>
                  </a:lnTo>
                  <a:lnTo>
                    <a:pt x="732" y="153"/>
                  </a:lnTo>
                  <a:lnTo>
                    <a:pt x="732" y="152"/>
                  </a:lnTo>
                  <a:lnTo>
                    <a:pt x="729" y="144"/>
                  </a:lnTo>
                  <a:lnTo>
                    <a:pt x="727" y="144"/>
                  </a:lnTo>
                  <a:lnTo>
                    <a:pt x="727" y="143"/>
                  </a:lnTo>
                  <a:lnTo>
                    <a:pt x="726" y="141"/>
                  </a:lnTo>
                  <a:lnTo>
                    <a:pt x="726" y="140"/>
                  </a:lnTo>
                  <a:lnTo>
                    <a:pt x="726" y="138"/>
                  </a:lnTo>
                  <a:lnTo>
                    <a:pt x="726" y="137"/>
                  </a:lnTo>
                  <a:lnTo>
                    <a:pt x="727" y="137"/>
                  </a:lnTo>
                  <a:lnTo>
                    <a:pt x="729" y="137"/>
                  </a:lnTo>
                  <a:lnTo>
                    <a:pt x="733" y="137"/>
                  </a:lnTo>
                  <a:lnTo>
                    <a:pt x="734" y="136"/>
                  </a:lnTo>
                  <a:lnTo>
                    <a:pt x="736" y="134"/>
                  </a:lnTo>
                  <a:lnTo>
                    <a:pt x="737" y="133"/>
                  </a:lnTo>
                  <a:lnTo>
                    <a:pt x="739" y="131"/>
                  </a:lnTo>
                  <a:lnTo>
                    <a:pt x="740" y="133"/>
                  </a:lnTo>
                  <a:lnTo>
                    <a:pt x="740" y="133"/>
                  </a:lnTo>
                  <a:lnTo>
                    <a:pt x="742" y="136"/>
                  </a:lnTo>
                  <a:lnTo>
                    <a:pt x="742" y="140"/>
                  </a:lnTo>
                  <a:lnTo>
                    <a:pt x="742" y="140"/>
                  </a:lnTo>
                  <a:lnTo>
                    <a:pt x="745" y="144"/>
                  </a:lnTo>
                  <a:lnTo>
                    <a:pt x="756" y="15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15">
              <a:extLst>
                <a:ext uri="{FF2B5EF4-FFF2-40B4-BE49-F238E27FC236}">
                  <a16:creationId xmlns:a16="http://schemas.microsoft.com/office/drawing/2014/main" id="{37102B40-531E-43C9-8939-E43B727A59A4}"/>
                </a:ext>
              </a:extLst>
            </p:cNvPr>
            <p:cNvSpPr>
              <a:spLocks/>
            </p:cNvSpPr>
            <p:nvPr/>
          </p:nvSpPr>
          <p:spPr bwMode="gray">
            <a:xfrm>
              <a:off x="5710238" y="1266825"/>
              <a:ext cx="323850" cy="300038"/>
            </a:xfrm>
            <a:custGeom>
              <a:avLst/>
              <a:gdLst>
                <a:gd name="T0" fmla="*/ 187 w 204"/>
                <a:gd name="T1" fmla="*/ 173 h 189"/>
                <a:gd name="T2" fmla="*/ 175 w 204"/>
                <a:gd name="T3" fmla="*/ 188 h 189"/>
                <a:gd name="T4" fmla="*/ 145 w 204"/>
                <a:gd name="T5" fmla="*/ 183 h 189"/>
                <a:gd name="T6" fmla="*/ 130 w 204"/>
                <a:gd name="T7" fmla="*/ 172 h 189"/>
                <a:gd name="T8" fmla="*/ 117 w 204"/>
                <a:gd name="T9" fmla="*/ 162 h 189"/>
                <a:gd name="T10" fmla="*/ 101 w 204"/>
                <a:gd name="T11" fmla="*/ 169 h 189"/>
                <a:gd name="T12" fmla="*/ 102 w 204"/>
                <a:gd name="T13" fmla="*/ 172 h 189"/>
                <a:gd name="T14" fmla="*/ 101 w 204"/>
                <a:gd name="T15" fmla="*/ 176 h 189"/>
                <a:gd name="T16" fmla="*/ 82 w 204"/>
                <a:gd name="T17" fmla="*/ 183 h 189"/>
                <a:gd name="T18" fmla="*/ 72 w 204"/>
                <a:gd name="T19" fmla="*/ 178 h 189"/>
                <a:gd name="T20" fmla="*/ 60 w 204"/>
                <a:gd name="T21" fmla="*/ 182 h 189"/>
                <a:gd name="T22" fmla="*/ 59 w 204"/>
                <a:gd name="T23" fmla="*/ 173 h 189"/>
                <a:gd name="T24" fmla="*/ 54 w 204"/>
                <a:gd name="T25" fmla="*/ 163 h 189"/>
                <a:gd name="T26" fmla="*/ 49 w 204"/>
                <a:gd name="T27" fmla="*/ 166 h 189"/>
                <a:gd name="T28" fmla="*/ 41 w 204"/>
                <a:gd name="T29" fmla="*/ 172 h 189"/>
                <a:gd name="T30" fmla="*/ 25 w 204"/>
                <a:gd name="T31" fmla="*/ 156 h 189"/>
                <a:gd name="T32" fmla="*/ 21 w 204"/>
                <a:gd name="T33" fmla="*/ 143 h 189"/>
                <a:gd name="T34" fmla="*/ 16 w 204"/>
                <a:gd name="T35" fmla="*/ 138 h 189"/>
                <a:gd name="T36" fmla="*/ 15 w 204"/>
                <a:gd name="T37" fmla="*/ 134 h 189"/>
                <a:gd name="T38" fmla="*/ 9 w 204"/>
                <a:gd name="T39" fmla="*/ 108 h 189"/>
                <a:gd name="T40" fmla="*/ 32 w 204"/>
                <a:gd name="T41" fmla="*/ 108 h 189"/>
                <a:gd name="T42" fmla="*/ 0 w 204"/>
                <a:gd name="T43" fmla="*/ 92 h 189"/>
                <a:gd name="T44" fmla="*/ 5 w 204"/>
                <a:gd name="T45" fmla="*/ 73 h 189"/>
                <a:gd name="T46" fmla="*/ 6 w 204"/>
                <a:gd name="T47" fmla="*/ 68 h 189"/>
                <a:gd name="T48" fmla="*/ 9 w 204"/>
                <a:gd name="T49" fmla="*/ 64 h 189"/>
                <a:gd name="T50" fmla="*/ 12 w 204"/>
                <a:gd name="T51" fmla="*/ 58 h 189"/>
                <a:gd name="T52" fmla="*/ 21 w 204"/>
                <a:gd name="T53" fmla="*/ 61 h 189"/>
                <a:gd name="T54" fmla="*/ 25 w 204"/>
                <a:gd name="T55" fmla="*/ 64 h 189"/>
                <a:gd name="T56" fmla="*/ 24 w 204"/>
                <a:gd name="T57" fmla="*/ 74 h 189"/>
                <a:gd name="T58" fmla="*/ 24 w 204"/>
                <a:gd name="T59" fmla="*/ 77 h 189"/>
                <a:gd name="T60" fmla="*/ 25 w 204"/>
                <a:gd name="T61" fmla="*/ 79 h 189"/>
                <a:gd name="T62" fmla="*/ 66 w 204"/>
                <a:gd name="T63" fmla="*/ 48 h 189"/>
                <a:gd name="T64" fmla="*/ 85 w 204"/>
                <a:gd name="T65" fmla="*/ 48 h 189"/>
                <a:gd name="T66" fmla="*/ 92 w 204"/>
                <a:gd name="T67" fmla="*/ 36 h 189"/>
                <a:gd name="T68" fmla="*/ 99 w 204"/>
                <a:gd name="T69" fmla="*/ 31 h 189"/>
                <a:gd name="T70" fmla="*/ 110 w 204"/>
                <a:gd name="T71" fmla="*/ 32 h 189"/>
                <a:gd name="T72" fmla="*/ 118 w 204"/>
                <a:gd name="T73" fmla="*/ 9 h 189"/>
                <a:gd name="T74" fmla="*/ 121 w 204"/>
                <a:gd name="T75" fmla="*/ 6 h 189"/>
                <a:gd name="T76" fmla="*/ 140 w 204"/>
                <a:gd name="T77" fmla="*/ 9 h 189"/>
                <a:gd name="T78" fmla="*/ 150 w 204"/>
                <a:gd name="T79" fmla="*/ 1 h 189"/>
                <a:gd name="T80" fmla="*/ 156 w 204"/>
                <a:gd name="T81" fmla="*/ 0 h 189"/>
                <a:gd name="T82" fmla="*/ 159 w 204"/>
                <a:gd name="T83" fmla="*/ 3 h 189"/>
                <a:gd name="T84" fmla="*/ 153 w 204"/>
                <a:gd name="T85" fmla="*/ 13 h 189"/>
                <a:gd name="T86" fmla="*/ 149 w 204"/>
                <a:gd name="T87" fmla="*/ 26 h 189"/>
                <a:gd name="T88" fmla="*/ 162 w 204"/>
                <a:gd name="T89" fmla="*/ 38 h 189"/>
                <a:gd name="T90" fmla="*/ 164 w 204"/>
                <a:gd name="T91" fmla="*/ 45 h 189"/>
                <a:gd name="T92" fmla="*/ 167 w 204"/>
                <a:gd name="T93" fmla="*/ 51 h 189"/>
                <a:gd name="T94" fmla="*/ 168 w 204"/>
                <a:gd name="T95" fmla="*/ 60 h 189"/>
                <a:gd name="T96" fmla="*/ 167 w 204"/>
                <a:gd name="T97" fmla="*/ 67 h 189"/>
                <a:gd name="T98" fmla="*/ 165 w 204"/>
                <a:gd name="T99" fmla="*/ 83 h 189"/>
                <a:gd name="T100" fmla="*/ 162 w 204"/>
                <a:gd name="T101" fmla="*/ 86 h 189"/>
                <a:gd name="T102" fmla="*/ 152 w 204"/>
                <a:gd name="T103" fmla="*/ 89 h 189"/>
                <a:gd name="T104" fmla="*/ 152 w 204"/>
                <a:gd name="T105" fmla="*/ 95 h 189"/>
                <a:gd name="T106" fmla="*/ 155 w 204"/>
                <a:gd name="T107" fmla="*/ 114 h 189"/>
                <a:gd name="T108" fmla="*/ 159 w 204"/>
                <a:gd name="T109" fmla="*/ 121 h 189"/>
                <a:gd name="T110" fmla="*/ 177 w 204"/>
                <a:gd name="T111" fmla="*/ 140 h 189"/>
                <a:gd name="T112" fmla="*/ 200 w 204"/>
                <a:gd name="T113" fmla="*/ 160 h 189"/>
                <a:gd name="T114" fmla="*/ 201 w 204"/>
                <a:gd name="T115" fmla="*/ 159 h 189"/>
                <a:gd name="T116" fmla="*/ 204 w 204"/>
                <a:gd name="T117" fmla="*/ 17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4" h="189">
                  <a:moveTo>
                    <a:pt x="204" y="173"/>
                  </a:moveTo>
                  <a:lnTo>
                    <a:pt x="190" y="173"/>
                  </a:lnTo>
                  <a:lnTo>
                    <a:pt x="187" y="173"/>
                  </a:lnTo>
                  <a:lnTo>
                    <a:pt x="184" y="176"/>
                  </a:lnTo>
                  <a:lnTo>
                    <a:pt x="175" y="186"/>
                  </a:lnTo>
                  <a:lnTo>
                    <a:pt x="175" y="188"/>
                  </a:lnTo>
                  <a:lnTo>
                    <a:pt x="156" y="189"/>
                  </a:lnTo>
                  <a:lnTo>
                    <a:pt x="150" y="188"/>
                  </a:lnTo>
                  <a:lnTo>
                    <a:pt x="145" y="183"/>
                  </a:lnTo>
                  <a:lnTo>
                    <a:pt x="140" y="179"/>
                  </a:lnTo>
                  <a:lnTo>
                    <a:pt x="137" y="173"/>
                  </a:lnTo>
                  <a:lnTo>
                    <a:pt x="130" y="172"/>
                  </a:lnTo>
                  <a:lnTo>
                    <a:pt x="126" y="169"/>
                  </a:lnTo>
                  <a:lnTo>
                    <a:pt x="120" y="162"/>
                  </a:lnTo>
                  <a:lnTo>
                    <a:pt x="117" y="162"/>
                  </a:lnTo>
                  <a:lnTo>
                    <a:pt x="104" y="166"/>
                  </a:lnTo>
                  <a:lnTo>
                    <a:pt x="102" y="167"/>
                  </a:lnTo>
                  <a:lnTo>
                    <a:pt x="101" y="169"/>
                  </a:lnTo>
                  <a:lnTo>
                    <a:pt x="101" y="170"/>
                  </a:lnTo>
                  <a:lnTo>
                    <a:pt x="101" y="172"/>
                  </a:lnTo>
                  <a:lnTo>
                    <a:pt x="102" y="172"/>
                  </a:lnTo>
                  <a:lnTo>
                    <a:pt x="102" y="173"/>
                  </a:lnTo>
                  <a:lnTo>
                    <a:pt x="101" y="175"/>
                  </a:lnTo>
                  <a:lnTo>
                    <a:pt x="101" y="176"/>
                  </a:lnTo>
                  <a:lnTo>
                    <a:pt x="95" y="179"/>
                  </a:lnTo>
                  <a:lnTo>
                    <a:pt x="86" y="183"/>
                  </a:lnTo>
                  <a:lnTo>
                    <a:pt x="82" y="183"/>
                  </a:lnTo>
                  <a:lnTo>
                    <a:pt x="81" y="183"/>
                  </a:lnTo>
                  <a:lnTo>
                    <a:pt x="73" y="179"/>
                  </a:lnTo>
                  <a:lnTo>
                    <a:pt x="72" y="178"/>
                  </a:lnTo>
                  <a:lnTo>
                    <a:pt x="70" y="179"/>
                  </a:lnTo>
                  <a:lnTo>
                    <a:pt x="63" y="182"/>
                  </a:lnTo>
                  <a:lnTo>
                    <a:pt x="60" y="182"/>
                  </a:lnTo>
                  <a:lnTo>
                    <a:pt x="60" y="181"/>
                  </a:lnTo>
                  <a:lnTo>
                    <a:pt x="59" y="179"/>
                  </a:lnTo>
                  <a:lnTo>
                    <a:pt x="59" y="173"/>
                  </a:lnTo>
                  <a:lnTo>
                    <a:pt x="59" y="167"/>
                  </a:lnTo>
                  <a:lnTo>
                    <a:pt x="56" y="164"/>
                  </a:lnTo>
                  <a:lnTo>
                    <a:pt x="54" y="163"/>
                  </a:lnTo>
                  <a:lnTo>
                    <a:pt x="53" y="163"/>
                  </a:lnTo>
                  <a:lnTo>
                    <a:pt x="50" y="164"/>
                  </a:lnTo>
                  <a:lnTo>
                    <a:pt x="49" y="166"/>
                  </a:lnTo>
                  <a:lnTo>
                    <a:pt x="44" y="172"/>
                  </a:lnTo>
                  <a:lnTo>
                    <a:pt x="43" y="173"/>
                  </a:lnTo>
                  <a:lnTo>
                    <a:pt x="41" y="172"/>
                  </a:lnTo>
                  <a:lnTo>
                    <a:pt x="30" y="162"/>
                  </a:lnTo>
                  <a:lnTo>
                    <a:pt x="27" y="159"/>
                  </a:lnTo>
                  <a:lnTo>
                    <a:pt x="25" y="156"/>
                  </a:lnTo>
                  <a:lnTo>
                    <a:pt x="24" y="151"/>
                  </a:lnTo>
                  <a:lnTo>
                    <a:pt x="22" y="148"/>
                  </a:lnTo>
                  <a:lnTo>
                    <a:pt x="21" y="143"/>
                  </a:lnTo>
                  <a:lnTo>
                    <a:pt x="19" y="141"/>
                  </a:lnTo>
                  <a:lnTo>
                    <a:pt x="18" y="140"/>
                  </a:lnTo>
                  <a:lnTo>
                    <a:pt x="16" y="138"/>
                  </a:lnTo>
                  <a:lnTo>
                    <a:pt x="15" y="137"/>
                  </a:lnTo>
                  <a:lnTo>
                    <a:pt x="15" y="135"/>
                  </a:lnTo>
                  <a:lnTo>
                    <a:pt x="15" y="134"/>
                  </a:lnTo>
                  <a:lnTo>
                    <a:pt x="14" y="132"/>
                  </a:lnTo>
                  <a:lnTo>
                    <a:pt x="11" y="128"/>
                  </a:lnTo>
                  <a:lnTo>
                    <a:pt x="9" y="108"/>
                  </a:lnTo>
                  <a:lnTo>
                    <a:pt x="9" y="105"/>
                  </a:lnTo>
                  <a:lnTo>
                    <a:pt x="28" y="109"/>
                  </a:lnTo>
                  <a:lnTo>
                    <a:pt x="32" y="108"/>
                  </a:lnTo>
                  <a:lnTo>
                    <a:pt x="28" y="100"/>
                  </a:lnTo>
                  <a:lnTo>
                    <a:pt x="15" y="93"/>
                  </a:lnTo>
                  <a:lnTo>
                    <a:pt x="0" y="92"/>
                  </a:lnTo>
                  <a:lnTo>
                    <a:pt x="3" y="80"/>
                  </a:lnTo>
                  <a:lnTo>
                    <a:pt x="5" y="76"/>
                  </a:lnTo>
                  <a:lnTo>
                    <a:pt x="5" y="73"/>
                  </a:lnTo>
                  <a:lnTo>
                    <a:pt x="5" y="70"/>
                  </a:lnTo>
                  <a:lnTo>
                    <a:pt x="6" y="70"/>
                  </a:lnTo>
                  <a:lnTo>
                    <a:pt x="6" y="68"/>
                  </a:lnTo>
                  <a:lnTo>
                    <a:pt x="8" y="67"/>
                  </a:lnTo>
                  <a:lnTo>
                    <a:pt x="9" y="65"/>
                  </a:lnTo>
                  <a:lnTo>
                    <a:pt x="9" y="64"/>
                  </a:lnTo>
                  <a:lnTo>
                    <a:pt x="11" y="60"/>
                  </a:lnTo>
                  <a:lnTo>
                    <a:pt x="11" y="58"/>
                  </a:lnTo>
                  <a:lnTo>
                    <a:pt x="12" y="58"/>
                  </a:lnTo>
                  <a:lnTo>
                    <a:pt x="14" y="58"/>
                  </a:lnTo>
                  <a:lnTo>
                    <a:pt x="18" y="60"/>
                  </a:lnTo>
                  <a:lnTo>
                    <a:pt x="21" y="61"/>
                  </a:lnTo>
                  <a:lnTo>
                    <a:pt x="21" y="61"/>
                  </a:lnTo>
                  <a:lnTo>
                    <a:pt x="24" y="64"/>
                  </a:lnTo>
                  <a:lnTo>
                    <a:pt x="25" y="64"/>
                  </a:lnTo>
                  <a:lnTo>
                    <a:pt x="25" y="67"/>
                  </a:lnTo>
                  <a:lnTo>
                    <a:pt x="24" y="71"/>
                  </a:lnTo>
                  <a:lnTo>
                    <a:pt x="24" y="74"/>
                  </a:lnTo>
                  <a:lnTo>
                    <a:pt x="24" y="76"/>
                  </a:lnTo>
                  <a:lnTo>
                    <a:pt x="24" y="77"/>
                  </a:lnTo>
                  <a:lnTo>
                    <a:pt x="24" y="77"/>
                  </a:lnTo>
                  <a:lnTo>
                    <a:pt x="25" y="77"/>
                  </a:lnTo>
                  <a:lnTo>
                    <a:pt x="25" y="79"/>
                  </a:lnTo>
                  <a:lnTo>
                    <a:pt x="25" y="79"/>
                  </a:lnTo>
                  <a:lnTo>
                    <a:pt x="27" y="79"/>
                  </a:lnTo>
                  <a:lnTo>
                    <a:pt x="31" y="77"/>
                  </a:lnTo>
                  <a:lnTo>
                    <a:pt x="66" y="48"/>
                  </a:lnTo>
                  <a:lnTo>
                    <a:pt x="75" y="45"/>
                  </a:lnTo>
                  <a:lnTo>
                    <a:pt x="85" y="48"/>
                  </a:lnTo>
                  <a:lnTo>
                    <a:pt x="85" y="48"/>
                  </a:lnTo>
                  <a:lnTo>
                    <a:pt x="88" y="47"/>
                  </a:lnTo>
                  <a:lnTo>
                    <a:pt x="89" y="45"/>
                  </a:lnTo>
                  <a:lnTo>
                    <a:pt x="92" y="36"/>
                  </a:lnTo>
                  <a:lnTo>
                    <a:pt x="94" y="33"/>
                  </a:lnTo>
                  <a:lnTo>
                    <a:pt x="95" y="32"/>
                  </a:lnTo>
                  <a:lnTo>
                    <a:pt x="99" y="31"/>
                  </a:lnTo>
                  <a:lnTo>
                    <a:pt x="102" y="31"/>
                  </a:lnTo>
                  <a:lnTo>
                    <a:pt x="105" y="31"/>
                  </a:lnTo>
                  <a:lnTo>
                    <a:pt x="110" y="32"/>
                  </a:lnTo>
                  <a:lnTo>
                    <a:pt x="113" y="29"/>
                  </a:lnTo>
                  <a:lnTo>
                    <a:pt x="114" y="28"/>
                  </a:lnTo>
                  <a:lnTo>
                    <a:pt x="118" y="9"/>
                  </a:lnTo>
                  <a:lnTo>
                    <a:pt x="120" y="7"/>
                  </a:lnTo>
                  <a:lnTo>
                    <a:pt x="121" y="6"/>
                  </a:lnTo>
                  <a:lnTo>
                    <a:pt x="121" y="6"/>
                  </a:lnTo>
                  <a:lnTo>
                    <a:pt x="123" y="4"/>
                  </a:lnTo>
                  <a:lnTo>
                    <a:pt x="123" y="4"/>
                  </a:lnTo>
                  <a:lnTo>
                    <a:pt x="140" y="9"/>
                  </a:lnTo>
                  <a:lnTo>
                    <a:pt x="143" y="9"/>
                  </a:lnTo>
                  <a:lnTo>
                    <a:pt x="145" y="7"/>
                  </a:lnTo>
                  <a:lnTo>
                    <a:pt x="150" y="1"/>
                  </a:lnTo>
                  <a:lnTo>
                    <a:pt x="152" y="0"/>
                  </a:lnTo>
                  <a:lnTo>
                    <a:pt x="155" y="0"/>
                  </a:lnTo>
                  <a:lnTo>
                    <a:pt x="156" y="0"/>
                  </a:lnTo>
                  <a:lnTo>
                    <a:pt x="158" y="1"/>
                  </a:lnTo>
                  <a:lnTo>
                    <a:pt x="158" y="1"/>
                  </a:lnTo>
                  <a:lnTo>
                    <a:pt x="159" y="3"/>
                  </a:lnTo>
                  <a:lnTo>
                    <a:pt x="158" y="6"/>
                  </a:lnTo>
                  <a:lnTo>
                    <a:pt x="158" y="7"/>
                  </a:lnTo>
                  <a:lnTo>
                    <a:pt x="153" y="13"/>
                  </a:lnTo>
                  <a:lnTo>
                    <a:pt x="150" y="20"/>
                  </a:lnTo>
                  <a:lnTo>
                    <a:pt x="149" y="25"/>
                  </a:lnTo>
                  <a:lnTo>
                    <a:pt x="149" y="26"/>
                  </a:lnTo>
                  <a:lnTo>
                    <a:pt x="149" y="28"/>
                  </a:lnTo>
                  <a:lnTo>
                    <a:pt x="150" y="29"/>
                  </a:lnTo>
                  <a:lnTo>
                    <a:pt x="162" y="38"/>
                  </a:lnTo>
                  <a:lnTo>
                    <a:pt x="162" y="39"/>
                  </a:lnTo>
                  <a:lnTo>
                    <a:pt x="162" y="42"/>
                  </a:lnTo>
                  <a:lnTo>
                    <a:pt x="164" y="45"/>
                  </a:lnTo>
                  <a:lnTo>
                    <a:pt x="164" y="49"/>
                  </a:lnTo>
                  <a:lnTo>
                    <a:pt x="165" y="51"/>
                  </a:lnTo>
                  <a:lnTo>
                    <a:pt x="167" y="51"/>
                  </a:lnTo>
                  <a:lnTo>
                    <a:pt x="168" y="52"/>
                  </a:lnTo>
                  <a:lnTo>
                    <a:pt x="168" y="55"/>
                  </a:lnTo>
                  <a:lnTo>
                    <a:pt x="168" y="60"/>
                  </a:lnTo>
                  <a:lnTo>
                    <a:pt x="168" y="61"/>
                  </a:lnTo>
                  <a:lnTo>
                    <a:pt x="167" y="64"/>
                  </a:lnTo>
                  <a:lnTo>
                    <a:pt x="167" y="67"/>
                  </a:lnTo>
                  <a:lnTo>
                    <a:pt x="165" y="74"/>
                  </a:lnTo>
                  <a:lnTo>
                    <a:pt x="165" y="82"/>
                  </a:lnTo>
                  <a:lnTo>
                    <a:pt x="165" y="83"/>
                  </a:lnTo>
                  <a:lnTo>
                    <a:pt x="164" y="84"/>
                  </a:lnTo>
                  <a:lnTo>
                    <a:pt x="164" y="84"/>
                  </a:lnTo>
                  <a:lnTo>
                    <a:pt x="162" y="86"/>
                  </a:lnTo>
                  <a:lnTo>
                    <a:pt x="159" y="87"/>
                  </a:lnTo>
                  <a:lnTo>
                    <a:pt x="153" y="89"/>
                  </a:lnTo>
                  <a:lnTo>
                    <a:pt x="152" y="89"/>
                  </a:lnTo>
                  <a:lnTo>
                    <a:pt x="152" y="90"/>
                  </a:lnTo>
                  <a:lnTo>
                    <a:pt x="150" y="92"/>
                  </a:lnTo>
                  <a:lnTo>
                    <a:pt x="152" y="95"/>
                  </a:lnTo>
                  <a:lnTo>
                    <a:pt x="153" y="105"/>
                  </a:lnTo>
                  <a:lnTo>
                    <a:pt x="155" y="109"/>
                  </a:lnTo>
                  <a:lnTo>
                    <a:pt x="155" y="114"/>
                  </a:lnTo>
                  <a:lnTo>
                    <a:pt x="155" y="116"/>
                  </a:lnTo>
                  <a:lnTo>
                    <a:pt x="156" y="119"/>
                  </a:lnTo>
                  <a:lnTo>
                    <a:pt x="159" y="121"/>
                  </a:lnTo>
                  <a:lnTo>
                    <a:pt x="165" y="122"/>
                  </a:lnTo>
                  <a:lnTo>
                    <a:pt x="168" y="125"/>
                  </a:lnTo>
                  <a:lnTo>
                    <a:pt x="177" y="140"/>
                  </a:lnTo>
                  <a:lnTo>
                    <a:pt x="185" y="144"/>
                  </a:lnTo>
                  <a:lnTo>
                    <a:pt x="188" y="147"/>
                  </a:lnTo>
                  <a:lnTo>
                    <a:pt x="200" y="160"/>
                  </a:lnTo>
                  <a:lnTo>
                    <a:pt x="200" y="160"/>
                  </a:lnTo>
                  <a:lnTo>
                    <a:pt x="200" y="159"/>
                  </a:lnTo>
                  <a:lnTo>
                    <a:pt x="201" y="159"/>
                  </a:lnTo>
                  <a:lnTo>
                    <a:pt x="203" y="159"/>
                  </a:lnTo>
                  <a:lnTo>
                    <a:pt x="203" y="162"/>
                  </a:lnTo>
                  <a:lnTo>
                    <a:pt x="204" y="17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16">
              <a:extLst>
                <a:ext uri="{FF2B5EF4-FFF2-40B4-BE49-F238E27FC236}">
                  <a16:creationId xmlns:a16="http://schemas.microsoft.com/office/drawing/2014/main" id="{29E617E3-9978-440D-AC28-EB7206461E2F}"/>
                </a:ext>
              </a:extLst>
            </p:cNvPr>
            <p:cNvSpPr>
              <a:spLocks/>
            </p:cNvSpPr>
            <p:nvPr/>
          </p:nvSpPr>
          <p:spPr bwMode="gray">
            <a:xfrm>
              <a:off x="5024438" y="1731963"/>
              <a:ext cx="273050" cy="184150"/>
            </a:xfrm>
            <a:custGeom>
              <a:avLst/>
              <a:gdLst>
                <a:gd name="T0" fmla="*/ 25 w 172"/>
                <a:gd name="T1" fmla="*/ 8 h 116"/>
                <a:gd name="T2" fmla="*/ 32 w 172"/>
                <a:gd name="T3" fmla="*/ 5 h 116"/>
                <a:gd name="T4" fmla="*/ 43 w 172"/>
                <a:gd name="T5" fmla="*/ 11 h 116"/>
                <a:gd name="T6" fmla="*/ 68 w 172"/>
                <a:gd name="T7" fmla="*/ 21 h 116"/>
                <a:gd name="T8" fmla="*/ 73 w 172"/>
                <a:gd name="T9" fmla="*/ 20 h 116"/>
                <a:gd name="T10" fmla="*/ 74 w 172"/>
                <a:gd name="T11" fmla="*/ 20 h 116"/>
                <a:gd name="T12" fmla="*/ 83 w 172"/>
                <a:gd name="T13" fmla="*/ 19 h 116"/>
                <a:gd name="T14" fmla="*/ 87 w 172"/>
                <a:gd name="T15" fmla="*/ 20 h 116"/>
                <a:gd name="T16" fmla="*/ 89 w 172"/>
                <a:gd name="T17" fmla="*/ 21 h 116"/>
                <a:gd name="T18" fmla="*/ 89 w 172"/>
                <a:gd name="T19" fmla="*/ 23 h 116"/>
                <a:gd name="T20" fmla="*/ 89 w 172"/>
                <a:gd name="T21" fmla="*/ 26 h 116"/>
                <a:gd name="T22" fmla="*/ 99 w 172"/>
                <a:gd name="T23" fmla="*/ 32 h 116"/>
                <a:gd name="T24" fmla="*/ 110 w 172"/>
                <a:gd name="T25" fmla="*/ 32 h 116"/>
                <a:gd name="T26" fmla="*/ 115 w 172"/>
                <a:gd name="T27" fmla="*/ 33 h 116"/>
                <a:gd name="T28" fmla="*/ 127 w 172"/>
                <a:gd name="T29" fmla="*/ 43 h 116"/>
                <a:gd name="T30" fmla="*/ 143 w 172"/>
                <a:gd name="T31" fmla="*/ 51 h 116"/>
                <a:gd name="T32" fmla="*/ 145 w 172"/>
                <a:gd name="T33" fmla="*/ 49 h 116"/>
                <a:gd name="T34" fmla="*/ 147 w 172"/>
                <a:gd name="T35" fmla="*/ 48 h 116"/>
                <a:gd name="T36" fmla="*/ 147 w 172"/>
                <a:gd name="T37" fmla="*/ 45 h 116"/>
                <a:gd name="T38" fmla="*/ 150 w 172"/>
                <a:gd name="T39" fmla="*/ 39 h 116"/>
                <a:gd name="T40" fmla="*/ 151 w 172"/>
                <a:gd name="T41" fmla="*/ 37 h 116"/>
                <a:gd name="T42" fmla="*/ 153 w 172"/>
                <a:gd name="T43" fmla="*/ 36 h 116"/>
                <a:gd name="T44" fmla="*/ 159 w 172"/>
                <a:gd name="T45" fmla="*/ 40 h 116"/>
                <a:gd name="T46" fmla="*/ 167 w 172"/>
                <a:gd name="T47" fmla="*/ 51 h 116"/>
                <a:gd name="T48" fmla="*/ 166 w 172"/>
                <a:gd name="T49" fmla="*/ 53 h 116"/>
                <a:gd name="T50" fmla="*/ 161 w 172"/>
                <a:gd name="T51" fmla="*/ 59 h 116"/>
                <a:gd name="T52" fmla="*/ 163 w 172"/>
                <a:gd name="T53" fmla="*/ 64 h 116"/>
                <a:gd name="T54" fmla="*/ 172 w 172"/>
                <a:gd name="T55" fmla="*/ 74 h 116"/>
                <a:gd name="T56" fmla="*/ 172 w 172"/>
                <a:gd name="T57" fmla="*/ 77 h 116"/>
                <a:gd name="T58" fmla="*/ 169 w 172"/>
                <a:gd name="T59" fmla="*/ 83 h 116"/>
                <a:gd name="T60" fmla="*/ 167 w 172"/>
                <a:gd name="T61" fmla="*/ 94 h 116"/>
                <a:gd name="T62" fmla="*/ 166 w 172"/>
                <a:gd name="T63" fmla="*/ 100 h 116"/>
                <a:gd name="T64" fmla="*/ 148 w 172"/>
                <a:gd name="T65" fmla="*/ 115 h 116"/>
                <a:gd name="T66" fmla="*/ 129 w 172"/>
                <a:gd name="T67" fmla="*/ 103 h 116"/>
                <a:gd name="T68" fmla="*/ 129 w 172"/>
                <a:gd name="T69" fmla="*/ 104 h 116"/>
                <a:gd name="T70" fmla="*/ 129 w 172"/>
                <a:gd name="T71" fmla="*/ 107 h 116"/>
                <a:gd name="T72" fmla="*/ 127 w 172"/>
                <a:gd name="T73" fmla="*/ 109 h 116"/>
                <a:gd name="T74" fmla="*/ 118 w 172"/>
                <a:gd name="T75" fmla="*/ 110 h 116"/>
                <a:gd name="T76" fmla="*/ 99 w 172"/>
                <a:gd name="T77" fmla="*/ 99 h 116"/>
                <a:gd name="T78" fmla="*/ 94 w 172"/>
                <a:gd name="T79" fmla="*/ 99 h 116"/>
                <a:gd name="T80" fmla="*/ 78 w 172"/>
                <a:gd name="T81" fmla="*/ 103 h 116"/>
                <a:gd name="T82" fmla="*/ 73 w 172"/>
                <a:gd name="T83" fmla="*/ 102 h 116"/>
                <a:gd name="T84" fmla="*/ 73 w 172"/>
                <a:gd name="T85" fmla="*/ 100 h 116"/>
                <a:gd name="T86" fmla="*/ 73 w 172"/>
                <a:gd name="T87" fmla="*/ 99 h 116"/>
                <a:gd name="T88" fmla="*/ 73 w 172"/>
                <a:gd name="T89" fmla="*/ 81 h 116"/>
                <a:gd name="T90" fmla="*/ 68 w 172"/>
                <a:gd name="T91" fmla="*/ 80 h 116"/>
                <a:gd name="T92" fmla="*/ 49 w 172"/>
                <a:gd name="T93" fmla="*/ 55 h 116"/>
                <a:gd name="T94" fmla="*/ 48 w 172"/>
                <a:gd name="T95" fmla="*/ 49 h 116"/>
                <a:gd name="T96" fmla="*/ 48 w 172"/>
                <a:gd name="T97" fmla="*/ 37 h 116"/>
                <a:gd name="T98" fmla="*/ 41 w 172"/>
                <a:gd name="T99" fmla="*/ 26 h 116"/>
                <a:gd name="T100" fmla="*/ 29 w 172"/>
                <a:gd name="T101" fmla="*/ 26 h 116"/>
                <a:gd name="T102" fmla="*/ 6 w 172"/>
                <a:gd name="T103" fmla="*/ 14 h 116"/>
                <a:gd name="T104" fmla="*/ 3 w 172"/>
                <a:gd name="T105" fmla="*/ 4 h 116"/>
                <a:gd name="T106" fmla="*/ 9 w 172"/>
                <a:gd name="T107" fmla="*/ 0 h 116"/>
                <a:gd name="T108" fmla="*/ 23 w 172"/>
                <a:gd name="T109" fmla="*/ 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116">
                  <a:moveTo>
                    <a:pt x="23" y="7"/>
                  </a:moveTo>
                  <a:lnTo>
                    <a:pt x="25" y="8"/>
                  </a:lnTo>
                  <a:lnTo>
                    <a:pt x="25" y="8"/>
                  </a:lnTo>
                  <a:lnTo>
                    <a:pt x="32" y="5"/>
                  </a:lnTo>
                  <a:lnTo>
                    <a:pt x="33" y="5"/>
                  </a:lnTo>
                  <a:lnTo>
                    <a:pt x="43" y="11"/>
                  </a:lnTo>
                  <a:lnTo>
                    <a:pt x="64" y="20"/>
                  </a:lnTo>
                  <a:lnTo>
                    <a:pt x="68" y="21"/>
                  </a:lnTo>
                  <a:lnTo>
                    <a:pt x="71" y="21"/>
                  </a:lnTo>
                  <a:lnTo>
                    <a:pt x="73" y="20"/>
                  </a:lnTo>
                  <a:lnTo>
                    <a:pt x="73" y="20"/>
                  </a:lnTo>
                  <a:lnTo>
                    <a:pt x="74" y="20"/>
                  </a:lnTo>
                  <a:lnTo>
                    <a:pt x="76" y="20"/>
                  </a:lnTo>
                  <a:lnTo>
                    <a:pt x="83" y="19"/>
                  </a:lnTo>
                  <a:lnTo>
                    <a:pt x="87" y="20"/>
                  </a:lnTo>
                  <a:lnTo>
                    <a:pt x="87" y="20"/>
                  </a:lnTo>
                  <a:lnTo>
                    <a:pt x="89" y="20"/>
                  </a:lnTo>
                  <a:lnTo>
                    <a:pt x="89" y="21"/>
                  </a:lnTo>
                  <a:lnTo>
                    <a:pt x="89" y="21"/>
                  </a:lnTo>
                  <a:lnTo>
                    <a:pt x="89" y="23"/>
                  </a:lnTo>
                  <a:lnTo>
                    <a:pt x="89" y="24"/>
                  </a:lnTo>
                  <a:lnTo>
                    <a:pt x="89" y="26"/>
                  </a:lnTo>
                  <a:lnTo>
                    <a:pt x="92" y="27"/>
                  </a:lnTo>
                  <a:lnTo>
                    <a:pt x="99" y="32"/>
                  </a:lnTo>
                  <a:lnTo>
                    <a:pt x="100" y="33"/>
                  </a:lnTo>
                  <a:lnTo>
                    <a:pt x="110" y="32"/>
                  </a:lnTo>
                  <a:lnTo>
                    <a:pt x="115" y="33"/>
                  </a:lnTo>
                  <a:lnTo>
                    <a:pt x="115" y="33"/>
                  </a:lnTo>
                  <a:lnTo>
                    <a:pt x="121" y="39"/>
                  </a:lnTo>
                  <a:lnTo>
                    <a:pt x="127" y="43"/>
                  </a:lnTo>
                  <a:lnTo>
                    <a:pt x="140" y="51"/>
                  </a:lnTo>
                  <a:lnTo>
                    <a:pt x="143" y="51"/>
                  </a:lnTo>
                  <a:lnTo>
                    <a:pt x="144" y="51"/>
                  </a:lnTo>
                  <a:lnTo>
                    <a:pt x="145" y="49"/>
                  </a:lnTo>
                  <a:lnTo>
                    <a:pt x="145" y="49"/>
                  </a:lnTo>
                  <a:lnTo>
                    <a:pt x="147" y="48"/>
                  </a:lnTo>
                  <a:lnTo>
                    <a:pt x="147" y="46"/>
                  </a:lnTo>
                  <a:lnTo>
                    <a:pt x="147" y="45"/>
                  </a:lnTo>
                  <a:lnTo>
                    <a:pt x="147" y="43"/>
                  </a:lnTo>
                  <a:lnTo>
                    <a:pt x="150" y="39"/>
                  </a:lnTo>
                  <a:lnTo>
                    <a:pt x="150" y="37"/>
                  </a:lnTo>
                  <a:lnTo>
                    <a:pt x="151" y="37"/>
                  </a:lnTo>
                  <a:lnTo>
                    <a:pt x="153" y="36"/>
                  </a:lnTo>
                  <a:lnTo>
                    <a:pt x="153" y="36"/>
                  </a:lnTo>
                  <a:lnTo>
                    <a:pt x="154" y="36"/>
                  </a:lnTo>
                  <a:lnTo>
                    <a:pt x="159" y="40"/>
                  </a:lnTo>
                  <a:lnTo>
                    <a:pt x="166" y="49"/>
                  </a:lnTo>
                  <a:lnTo>
                    <a:pt x="167" y="51"/>
                  </a:lnTo>
                  <a:lnTo>
                    <a:pt x="167" y="52"/>
                  </a:lnTo>
                  <a:lnTo>
                    <a:pt x="166" y="53"/>
                  </a:lnTo>
                  <a:lnTo>
                    <a:pt x="161" y="58"/>
                  </a:lnTo>
                  <a:lnTo>
                    <a:pt x="161" y="59"/>
                  </a:lnTo>
                  <a:lnTo>
                    <a:pt x="161" y="59"/>
                  </a:lnTo>
                  <a:lnTo>
                    <a:pt x="163" y="64"/>
                  </a:lnTo>
                  <a:lnTo>
                    <a:pt x="170" y="72"/>
                  </a:lnTo>
                  <a:lnTo>
                    <a:pt x="172" y="74"/>
                  </a:lnTo>
                  <a:lnTo>
                    <a:pt x="172" y="75"/>
                  </a:lnTo>
                  <a:lnTo>
                    <a:pt x="172" y="77"/>
                  </a:lnTo>
                  <a:lnTo>
                    <a:pt x="169" y="80"/>
                  </a:lnTo>
                  <a:lnTo>
                    <a:pt x="169" y="83"/>
                  </a:lnTo>
                  <a:lnTo>
                    <a:pt x="167" y="87"/>
                  </a:lnTo>
                  <a:lnTo>
                    <a:pt x="167" y="94"/>
                  </a:lnTo>
                  <a:lnTo>
                    <a:pt x="166" y="97"/>
                  </a:lnTo>
                  <a:lnTo>
                    <a:pt x="166" y="100"/>
                  </a:lnTo>
                  <a:lnTo>
                    <a:pt x="161" y="106"/>
                  </a:lnTo>
                  <a:lnTo>
                    <a:pt x="148" y="115"/>
                  </a:lnTo>
                  <a:lnTo>
                    <a:pt x="145" y="116"/>
                  </a:lnTo>
                  <a:lnTo>
                    <a:pt x="129" y="103"/>
                  </a:lnTo>
                  <a:lnTo>
                    <a:pt x="129" y="103"/>
                  </a:lnTo>
                  <a:lnTo>
                    <a:pt x="129" y="104"/>
                  </a:lnTo>
                  <a:lnTo>
                    <a:pt x="129" y="106"/>
                  </a:lnTo>
                  <a:lnTo>
                    <a:pt x="129" y="107"/>
                  </a:lnTo>
                  <a:lnTo>
                    <a:pt x="128" y="109"/>
                  </a:lnTo>
                  <a:lnTo>
                    <a:pt x="127" y="109"/>
                  </a:lnTo>
                  <a:lnTo>
                    <a:pt x="121" y="110"/>
                  </a:lnTo>
                  <a:lnTo>
                    <a:pt x="118" y="110"/>
                  </a:lnTo>
                  <a:lnTo>
                    <a:pt x="115" y="110"/>
                  </a:lnTo>
                  <a:lnTo>
                    <a:pt x="99" y="99"/>
                  </a:lnTo>
                  <a:lnTo>
                    <a:pt x="96" y="99"/>
                  </a:lnTo>
                  <a:lnTo>
                    <a:pt x="94" y="99"/>
                  </a:lnTo>
                  <a:lnTo>
                    <a:pt x="92" y="100"/>
                  </a:lnTo>
                  <a:lnTo>
                    <a:pt x="78" y="103"/>
                  </a:lnTo>
                  <a:lnTo>
                    <a:pt x="73" y="102"/>
                  </a:lnTo>
                  <a:lnTo>
                    <a:pt x="73" y="102"/>
                  </a:lnTo>
                  <a:lnTo>
                    <a:pt x="73" y="100"/>
                  </a:lnTo>
                  <a:lnTo>
                    <a:pt x="73" y="100"/>
                  </a:lnTo>
                  <a:lnTo>
                    <a:pt x="73" y="100"/>
                  </a:lnTo>
                  <a:lnTo>
                    <a:pt x="73" y="99"/>
                  </a:lnTo>
                  <a:lnTo>
                    <a:pt x="73" y="84"/>
                  </a:lnTo>
                  <a:lnTo>
                    <a:pt x="73" y="81"/>
                  </a:lnTo>
                  <a:lnTo>
                    <a:pt x="71" y="81"/>
                  </a:lnTo>
                  <a:lnTo>
                    <a:pt x="68" y="80"/>
                  </a:lnTo>
                  <a:lnTo>
                    <a:pt x="55" y="64"/>
                  </a:lnTo>
                  <a:lnTo>
                    <a:pt x="49" y="55"/>
                  </a:lnTo>
                  <a:lnTo>
                    <a:pt x="49" y="52"/>
                  </a:lnTo>
                  <a:lnTo>
                    <a:pt x="48" y="49"/>
                  </a:lnTo>
                  <a:lnTo>
                    <a:pt x="48" y="49"/>
                  </a:lnTo>
                  <a:lnTo>
                    <a:pt x="48" y="37"/>
                  </a:lnTo>
                  <a:lnTo>
                    <a:pt x="42" y="27"/>
                  </a:lnTo>
                  <a:lnTo>
                    <a:pt x="41" y="26"/>
                  </a:lnTo>
                  <a:lnTo>
                    <a:pt x="33" y="27"/>
                  </a:lnTo>
                  <a:lnTo>
                    <a:pt x="29" y="26"/>
                  </a:lnTo>
                  <a:lnTo>
                    <a:pt x="20" y="20"/>
                  </a:lnTo>
                  <a:lnTo>
                    <a:pt x="6" y="14"/>
                  </a:lnTo>
                  <a:lnTo>
                    <a:pt x="3" y="8"/>
                  </a:lnTo>
                  <a:lnTo>
                    <a:pt x="3" y="4"/>
                  </a:lnTo>
                  <a:lnTo>
                    <a:pt x="0" y="1"/>
                  </a:lnTo>
                  <a:lnTo>
                    <a:pt x="9" y="0"/>
                  </a:lnTo>
                  <a:lnTo>
                    <a:pt x="11" y="0"/>
                  </a:lnTo>
                  <a:lnTo>
                    <a:pt x="23" y="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17">
              <a:extLst>
                <a:ext uri="{FF2B5EF4-FFF2-40B4-BE49-F238E27FC236}">
                  <a16:creationId xmlns:a16="http://schemas.microsoft.com/office/drawing/2014/main" id="{6BFE2C26-6FCF-4807-A1A1-95E8F6413A5C}"/>
                </a:ext>
              </a:extLst>
            </p:cNvPr>
            <p:cNvSpPr>
              <a:spLocks noEditPoints="1"/>
            </p:cNvSpPr>
            <p:nvPr/>
          </p:nvSpPr>
          <p:spPr bwMode="gray">
            <a:xfrm>
              <a:off x="6557963" y="1438275"/>
              <a:ext cx="1924050" cy="1982788"/>
            </a:xfrm>
            <a:custGeom>
              <a:avLst/>
              <a:gdLst>
                <a:gd name="T0" fmla="*/ 708 w 1212"/>
                <a:gd name="T1" fmla="*/ 527 h 1249"/>
                <a:gd name="T2" fmla="*/ 695 w 1212"/>
                <a:gd name="T3" fmla="*/ 522 h 1249"/>
                <a:gd name="T4" fmla="*/ 657 w 1212"/>
                <a:gd name="T5" fmla="*/ 546 h 1249"/>
                <a:gd name="T6" fmla="*/ 645 w 1212"/>
                <a:gd name="T7" fmla="*/ 611 h 1249"/>
                <a:gd name="T8" fmla="*/ 636 w 1212"/>
                <a:gd name="T9" fmla="*/ 640 h 1249"/>
                <a:gd name="T10" fmla="*/ 655 w 1212"/>
                <a:gd name="T11" fmla="*/ 659 h 1249"/>
                <a:gd name="T12" fmla="*/ 702 w 1212"/>
                <a:gd name="T13" fmla="*/ 651 h 1249"/>
                <a:gd name="T14" fmla="*/ 748 w 1212"/>
                <a:gd name="T15" fmla="*/ 662 h 1249"/>
                <a:gd name="T16" fmla="*/ 772 w 1212"/>
                <a:gd name="T17" fmla="*/ 659 h 1249"/>
                <a:gd name="T18" fmla="*/ 823 w 1212"/>
                <a:gd name="T19" fmla="*/ 688 h 1249"/>
                <a:gd name="T20" fmla="*/ 845 w 1212"/>
                <a:gd name="T21" fmla="*/ 662 h 1249"/>
                <a:gd name="T22" fmla="*/ 855 w 1212"/>
                <a:gd name="T23" fmla="*/ 624 h 1249"/>
                <a:gd name="T24" fmla="*/ 773 w 1212"/>
                <a:gd name="T25" fmla="*/ 537 h 1249"/>
                <a:gd name="T26" fmla="*/ 919 w 1212"/>
                <a:gd name="T27" fmla="*/ 68 h 1249"/>
                <a:gd name="T28" fmla="*/ 983 w 1212"/>
                <a:gd name="T29" fmla="*/ 157 h 1249"/>
                <a:gd name="T30" fmla="*/ 1097 w 1212"/>
                <a:gd name="T31" fmla="*/ 166 h 1249"/>
                <a:gd name="T32" fmla="*/ 1070 w 1212"/>
                <a:gd name="T33" fmla="*/ 276 h 1249"/>
                <a:gd name="T34" fmla="*/ 990 w 1212"/>
                <a:gd name="T35" fmla="*/ 400 h 1249"/>
                <a:gd name="T36" fmla="*/ 1161 w 1212"/>
                <a:gd name="T37" fmla="*/ 549 h 1249"/>
                <a:gd name="T38" fmla="*/ 1169 w 1212"/>
                <a:gd name="T39" fmla="*/ 735 h 1249"/>
                <a:gd name="T40" fmla="*/ 1206 w 1212"/>
                <a:gd name="T41" fmla="*/ 849 h 1249"/>
                <a:gd name="T42" fmla="*/ 1151 w 1212"/>
                <a:gd name="T43" fmla="*/ 994 h 1249"/>
                <a:gd name="T44" fmla="*/ 1193 w 1212"/>
                <a:gd name="T45" fmla="*/ 1141 h 1249"/>
                <a:gd name="T46" fmla="*/ 970 w 1212"/>
                <a:gd name="T47" fmla="*/ 1179 h 1249"/>
                <a:gd name="T48" fmla="*/ 796 w 1212"/>
                <a:gd name="T49" fmla="*/ 1239 h 1249"/>
                <a:gd name="T50" fmla="*/ 687 w 1212"/>
                <a:gd name="T51" fmla="*/ 1227 h 1249"/>
                <a:gd name="T52" fmla="*/ 661 w 1212"/>
                <a:gd name="T53" fmla="*/ 1214 h 1249"/>
                <a:gd name="T54" fmla="*/ 673 w 1212"/>
                <a:gd name="T55" fmla="*/ 1169 h 1249"/>
                <a:gd name="T56" fmla="*/ 648 w 1212"/>
                <a:gd name="T57" fmla="*/ 1115 h 1249"/>
                <a:gd name="T58" fmla="*/ 655 w 1212"/>
                <a:gd name="T59" fmla="*/ 1029 h 1249"/>
                <a:gd name="T60" fmla="*/ 648 w 1212"/>
                <a:gd name="T61" fmla="*/ 965 h 1249"/>
                <a:gd name="T62" fmla="*/ 546 w 1212"/>
                <a:gd name="T63" fmla="*/ 917 h 1249"/>
                <a:gd name="T64" fmla="*/ 425 w 1212"/>
                <a:gd name="T65" fmla="*/ 883 h 1249"/>
                <a:gd name="T66" fmla="*/ 378 w 1212"/>
                <a:gd name="T67" fmla="*/ 862 h 1249"/>
                <a:gd name="T68" fmla="*/ 322 w 1212"/>
                <a:gd name="T69" fmla="*/ 771 h 1249"/>
                <a:gd name="T70" fmla="*/ 324 w 1212"/>
                <a:gd name="T71" fmla="*/ 710 h 1249"/>
                <a:gd name="T72" fmla="*/ 333 w 1212"/>
                <a:gd name="T73" fmla="*/ 665 h 1249"/>
                <a:gd name="T74" fmla="*/ 352 w 1212"/>
                <a:gd name="T75" fmla="*/ 610 h 1249"/>
                <a:gd name="T76" fmla="*/ 341 w 1212"/>
                <a:gd name="T77" fmla="*/ 594 h 1249"/>
                <a:gd name="T78" fmla="*/ 316 w 1212"/>
                <a:gd name="T79" fmla="*/ 592 h 1249"/>
                <a:gd name="T80" fmla="*/ 303 w 1212"/>
                <a:gd name="T81" fmla="*/ 572 h 1249"/>
                <a:gd name="T82" fmla="*/ 324 w 1212"/>
                <a:gd name="T83" fmla="*/ 518 h 1249"/>
                <a:gd name="T84" fmla="*/ 319 w 1212"/>
                <a:gd name="T85" fmla="*/ 467 h 1249"/>
                <a:gd name="T86" fmla="*/ 326 w 1212"/>
                <a:gd name="T87" fmla="*/ 399 h 1249"/>
                <a:gd name="T88" fmla="*/ 260 w 1212"/>
                <a:gd name="T89" fmla="*/ 380 h 1249"/>
                <a:gd name="T90" fmla="*/ 164 w 1212"/>
                <a:gd name="T91" fmla="*/ 319 h 1249"/>
                <a:gd name="T92" fmla="*/ 90 w 1212"/>
                <a:gd name="T93" fmla="*/ 284 h 1249"/>
                <a:gd name="T94" fmla="*/ 35 w 1212"/>
                <a:gd name="T95" fmla="*/ 252 h 1249"/>
                <a:gd name="T96" fmla="*/ 91 w 1212"/>
                <a:gd name="T97" fmla="*/ 196 h 1249"/>
                <a:gd name="T98" fmla="*/ 204 w 1212"/>
                <a:gd name="T99" fmla="*/ 170 h 1249"/>
                <a:gd name="T100" fmla="*/ 291 w 1212"/>
                <a:gd name="T101" fmla="*/ 105 h 1249"/>
                <a:gd name="T102" fmla="*/ 333 w 1212"/>
                <a:gd name="T103" fmla="*/ 118 h 1249"/>
                <a:gd name="T104" fmla="*/ 425 w 1212"/>
                <a:gd name="T105" fmla="*/ 158 h 1249"/>
                <a:gd name="T106" fmla="*/ 515 w 1212"/>
                <a:gd name="T107" fmla="*/ 204 h 1249"/>
                <a:gd name="T108" fmla="*/ 582 w 1212"/>
                <a:gd name="T109" fmla="*/ 202 h 1249"/>
                <a:gd name="T110" fmla="*/ 616 w 1212"/>
                <a:gd name="T111" fmla="*/ 201 h 1249"/>
                <a:gd name="T112" fmla="*/ 648 w 1212"/>
                <a:gd name="T113" fmla="*/ 169 h 1249"/>
                <a:gd name="T114" fmla="*/ 689 w 1212"/>
                <a:gd name="T115" fmla="*/ 156 h 1249"/>
                <a:gd name="T116" fmla="*/ 786 w 1212"/>
                <a:gd name="T117" fmla="*/ 86 h 1249"/>
                <a:gd name="T118" fmla="*/ 903 w 1212"/>
                <a:gd name="T119" fmla="*/ 33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12" h="1249">
                  <a:moveTo>
                    <a:pt x="763" y="508"/>
                  </a:moveTo>
                  <a:lnTo>
                    <a:pt x="754" y="515"/>
                  </a:lnTo>
                  <a:lnTo>
                    <a:pt x="753" y="517"/>
                  </a:lnTo>
                  <a:lnTo>
                    <a:pt x="753" y="520"/>
                  </a:lnTo>
                  <a:lnTo>
                    <a:pt x="751" y="521"/>
                  </a:lnTo>
                  <a:lnTo>
                    <a:pt x="750" y="521"/>
                  </a:lnTo>
                  <a:lnTo>
                    <a:pt x="750" y="521"/>
                  </a:lnTo>
                  <a:lnTo>
                    <a:pt x="743" y="517"/>
                  </a:lnTo>
                  <a:lnTo>
                    <a:pt x="735" y="522"/>
                  </a:lnTo>
                  <a:lnTo>
                    <a:pt x="732" y="527"/>
                  </a:lnTo>
                  <a:lnTo>
                    <a:pt x="732" y="528"/>
                  </a:lnTo>
                  <a:lnTo>
                    <a:pt x="731" y="530"/>
                  </a:lnTo>
                  <a:lnTo>
                    <a:pt x="729" y="530"/>
                  </a:lnTo>
                  <a:lnTo>
                    <a:pt x="727" y="531"/>
                  </a:lnTo>
                  <a:lnTo>
                    <a:pt x="713" y="530"/>
                  </a:lnTo>
                  <a:lnTo>
                    <a:pt x="708" y="527"/>
                  </a:lnTo>
                  <a:lnTo>
                    <a:pt x="706" y="527"/>
                  </a:lnTo>
                  <a:lnTo>
                    <a:pt x="706" y="525"/>
                  </a:lnTo>
                  <a:lnTo>
                    <a:pt x="705" y="524"/>
                  </a:lnTo>
                  <a:lnTo>
                    <a:pt x="705" y="518"/>
                  </a:lnTo>
                  <a:lnTo>
                    <a:pt x="705" y="517"/>
                  </a:lnTo>
                  <a:lnTo>
                    <a:pt x="703" y="515"/>
                  </a:lnTo>
                  <a:lnTo>
                    <a:pt x="705" y="514"/>
                  </a:lnTo>
                  <a:lnTo>
                    <a:pt x="705" y="512"/>
                  </a:lnTo>
                  <a:lnTo>
                    <a:pt x="705" y="512"/>
                  </a:lnTo>
                  <a:lnTo>
                    <a:pt x="705" y="512"/>
                  </a:lnTo>
                  <a:lnTo>
                    <a:pt x="700" y="512"/>
                  </a:lnTo>
                  <a:lnTo>
                    <a:pt x="699" y="512"/>
                  </a:lnTo>
                  <a:lnTo>
                    <a:pt x="697" y="514"/>
                  </a:lnTo>
                  <a:lnTo>
                    <a:pt x="697" y="517"/>
                  </a:lnTo>
                  <a:lnTo>
                    <a:pt x="696" y="520"/>
                  </a:lnTo>
                  <a:lnTo>
                    <a:pt x="695" y="522"/>
                  </a:lnTo>
                  <a:lnTo>
                    <a:pt x="690" y="525"/>
                  </a:lnTo>
                  <a:lnTo>
                    <a:pt x="687" y="527"/>
                  </a:lnTo>
                  <a:lnTo>
                    <a:pt x="677" y="528"/>
                  </a:lnTo>
                  <a:lnTo>
                    <a:pt x="677" y="530"/>
                  </a:lnTo>
                  <a:lnTo>
                    <a:pt x="673" y="538"/>
                  </a:lnTo>
                  <a:lnTo>
                    <a:pt x="673" y="540"/>
                  </a:lnTo>
                  <a:lnTo>
                    <a:pt x="673" y="541"/>
                  </a:lnTo>
                  <a:lnTo>
                    <a:pt x="673" y="544"/>
                  </a:lnTo>
                  <a:lnTo>
                    <a:pt x="673" y="546"/>
                  </a:lnTo>
                  <a:lnTo>
                    <a:pt x="673" y="546"/>
                  </a:lnTo>
                  <a:lnTo>
                    <a:pt x="674" y="549"/>
                  </a:lnTo>
                  <a:lnTo>
                    <a:pt x="674" y="549"/>
                  </a:lnTo>
                  <a:lnTo>
                    <a:pt x="676" y="550"/>
                  </a:lnTo>
                  <a:lnTo>
                    <a:pt x="676" y="552"/>
                  </a:lnTo>
                  <a:lnTo>
                    <a:pt x="671" y="552"/>
                  </a:lnTo>
                  <a:lnTo>
                    <a:pt x="657" y="546"/>
                  </a:lnTo>
                  <a:lnTo>
                    <a:pt x="654" y="544"/>
                  </a:lnTo>
                  <a:lnTo>
                    <a:pt x="654" y="544"/>
                  </a:lnTo>
                  <a:lnTo>
                    <a:pt x="652" y="546"/>
                  </a:lnTo>
                  <a:lnTo>
                    <a:pt x="651" y="549"/>
                  </a:lnTo>
                  <a:lnTo>
                    <a:pt x="651" y="550"/>
                  </a:lnTo>
                  <a:lnTo>
                    <a:pt x="651" y="552"/>
                  </a:lnTo>
                  <a:lnTo>
                    <a:pt x="649" y="553"/>
                  </a:lnTo>
                  <a:lnTo>
                    <a:pt x="651" y="554"/>
                  </a:lnTo>
                  <a:lnTo>
                    <a:pt x="651" y="557"/>
                  </a:lnTo>
                  <a:lnTo>
                    <a:pt x="651" y="563"/>
                  </a:lnTo>
                  <a:lnTo>
                    <a:pt x="649" y="572"/>
                  </a:lnTo>
                  <a:lnTo>
                    <a:pt x="648" y="588"/>
                  </a:lnTo>
                  <a:lnTo>
                    <a:pt x="654" y="597"/>
                  </a:lnTo>
                  <a:lnTo>
                    <a:pt x="654" y="598"/>
                  </a:lnTo>
                  <a:lnTo>
                    <a:pt x="654" y="601"/>
                  </a:lnTo>
                  <a:lnTo>
                    <a:pt x="645" y="611"/>
                  </a:lnTo>
                  <a:lnTo>
                    <a:pt x="644" y="613"/>
                  </a:lnTo>
                  <a:lnTo>
                    <a:pt x="641" y="614"/>
                  </a:lnTo>
                  <a:lnTo>
                    <a:pt x="641" y="614"/>
                  </a:lnTo>
                  <a:lnTo>
                    <a:pt x="639" y="616"/>
                  </a:lnTo>
                  <a:lnTo>
                    <a:pt x="639" y="617"/>
                  </a:lnTo>
                  <a:lnTo>
                    <a:pt x="638" y="621"/>
                  </a:lnTo>
                  <a:lnTo>
                    <a:pt x="638" y="624"/>
                  </a:lnTo>
                  <a:lnTo>
                    <a:pt x="638" y="627"/>
                  </a:lnTo>
                  <a:lnTo>
                    <a:pt x="638" y="630"/>
                  </a:lnTo>
                  <a:lnTo>
                    <a:pt x="639" y="632"/>
                  </a:lnTo>
                  <a:lnTo>
                    <a:pt x="641" y="635"/>
                  </a:lnTo>
                  <a:lnTo>
                    <a:pt x="641" y="635"/>
                  </a:lnTo>
                  <a:lnTo>
                    <a:pt x="639" y="636"/>
                  </a:lnTo>
                  <a:lnTo>
                    <a:pt x="638" y="637"/>
                  </a:lnTo>
                  <a:lnTo>
                    <a:pt x="636" y="639"/>
                  </a:lnTo>
                  <a:lnTo>
                    <a:pt x="636" y="640"/>
                  </a:lnTo>
                  <a:lnTo>
                    <a:pt x="636" y="640"/>
                  </a:lnTo>
                  <a:lnTo>
                    <a:pt x="636" y="642"/>
                  </a:lnTo>
                  <a:lnTo>
                    <a:pt x="636" y="643"/>
                  </a:lnTo>
                  <a:lnTo>
                    <a:pt x="635" y="643"/>
                  </a:lnTo>
                  <a:lnTo>
                    <a:pt x="632" y="648"/>
                  </a:lnTo>
                  <a:lnTo>
                    <a:pt x="632" y="649"/>
                  </a:lnTo>
                  <a:lnTo>
                    <a:pt x="632" y="649"/>
                  </a:lnTo>
                  <a:lnTo>
                    <a:pt x="632" y="651"/>
                  </a:lnTo>
                  <a:lnTo>
                    <a:pt x="632" y="651"/>
                  </a:lnTo>
                  <a:lnTo>
                    <a:pt x="632" y="651"/>
                  </a:lnTo>
                  <a:lnTo>
                    <a:pt x="633" y="651"/>
                  </a:lnTo>
                  <a:lnTo>
                    <a:pt x="639" y="656"/>
                  </a:lnTo>
                  <a:lnTo>
                    <a:pt x="641" y="656"/>
                  </a:lnTo>
                  <a:lnTo>
                    <a:pt x="642" y="658"/>
                  </a:lnTo>
                  <a:lnTo>
                    <a:pt x="654" y="659"/>
                  </a:lnTo>
                  <a:lnTo>
                    <a:pt x="655" y="659"/>
                  </a:lnTo>
                  <a:lnTo>
                    <a:pt x="657" y="659"/>
                  </a:lnTo>
                  <a:lnTo>
                    <a:pt x="658" y="658"/>
                  </a:lnTo>
                  <a:lnTo>
                    <a:pt x="658" y="656"/>
                  </a:lnTo>
                  <a:lnTo>
                    <a:pt x="660" y="655"/>
                  </a:lnTo>
                  <a:lnTo>
                    <a:pt x="674" y="648"/>
                  </a:lnTo>
                  <a:lnTo>
                    <a:pt x="676" y="648"/>
                  </a:lnTo>
                  <a:lnTo>
                    <a:pt x="678" y="649"/>
                  </a:lnTo>
                  <a:lnTo>
                    <a:pt x="683" y="652"/>
                  </a:lnTo>
                  <a:lnTo>
                    <a:pt x="686" y="655"/>
                  </a:lnTo>
                  <a:lnTo>
                    <a:pt x="687" y="655"/>
                  </a:lnTo>
                  <a:lnTo>
                    <a:pt x="689" y="655"/>
                  </a:lnTo>
                  <a:lnTo>
                    <a:pt x="699" y="651"/>
                  </a:lnTo>
                  <a:lnTo>
                    <a:pt x="700" y="651"/>
                  </a:lnTo>
                  <a:lnTo>
                    <a:pt x="702" y="649"/>
                  </a:lnTo>
                  <a:lnTo>
                    <a:pt x="702" y="649"/>
                  </a:lnTo>
                  <a:lnTo>
                    <a:pt x="702" y="651"/>
                  </a:lnTo>
                  <a:lnTo>
                    <a:pt x="703" y="652"/>
                  </a:lnTo>
                  <a:lnTo>
                    <a:pt x="706" y="656"/>
                  </a:lnTo>
                  <a:lnTo>
                    <a:pt x="708" y="658"/>
                  </a:lnTo>
                  <a:lnTo>
                    <a:pt x="708" y="658"/>
                  </a:lnTo>
                  <a:lnTo>
                    <a:pt x="716" y="655"/>
                  </a:lnTo>
                  <a:lnTo>
                    <a:pt x="719" y="653"/>
                  </a:lnTo>
                  <a:lnTo>
                    <a:pt x="721" y="655"/>
                  </a:lnTo>
                  <a:lnTo>
                    <a:pt x="722" y="656"/>
                  </a:lnTo>
                  <a:lnTo>
                    <a:pt x="727" y="661"/>
                  </a:lnTo>
                  <a:lnTo>
                    <a:pt x="729" y="664"/>
                  </a:lnTo>
                  <a:lnTo>
                    <a:pt x="731" y="665"/>
                  </a:lnTo>
                  <a:lnTo>
                    <a:pt x="737" y="668"/>
                  </a:lnTo>
                  <a:lnTo>
                    <a:pt x="747" y="668"/>
                  </a:lnTo>
                  <a:lnTo>
                    <a:pt x="748" y="665"/>
                  </a:lnTo>
                  <a:lnTo>
                    <a:pt x="748" y="664"/>
                  </a:lnTo>
                  <a:lnTo>
                    <a:pt x="748" y="662"/>
                  </a:lnTo>
                  <a:lnTo>
                    <a:pt x="747" y="659"/>
                  </a:lnTo>
                  <a:lnTo>
                    <a:pt x="747" y="656"/>
                  </a:lnTo>
                  <a:lnTo>
                    <a:pt x="747" y="655"/>
                  </a:lnTo>
                  <a:lnTo>
                    <a:pt x="747" y="653"/>
                  </a:lnTo>
                  <a:lnTo>
                    <a:pt x="748" y="652"/>
                  </a:lnTo>
                  <a:lnTo>
                    <a:pt x="748" y="652"/>
                  </a:lnTo>
                  <a:lnTo>
                    <a:pt x="750" y="651"/>
                  </a:lnTo>
                  <a:lnTo>
                    <a:pt x="756" y="649"/>
                  </a:lnTo>
                  <a:lnTo>
                    <a:pt x="759" y="649"/>
                  </a:lnTo>
                  <a:lnTo>
                    <a:pt x="760" y="649"/>
                  </a:lnTo>
                  <a:lnTo>
                    <a:pt x="763" y="651"/>
                  </a:lnTo>
                  <a:lnTo>
                    <a:pt x="764" y="653"/>
                  </a:lnTo>
                  <a:lnTo>
                    <a:pt x="764" y="656"/>
                  </a:lnTo>
                  <a:lnTo>
                    <a:pt x="766" y="658"/>
                  </a:lnTo>
                  <a:lnTo>
                    <a:pt x="767" y="659"/>
                  </a:lnTo>
                  <a:lnTo>
                    <a:pt x="772" y="659"/>
                  </a:lnTo>
                  <a:lnTo>
                    <a:pt x="775" y="659"/>
                  </a:lnTo>
                  <a:lnTo>
                    <a:pt x="776" y="659"/>
                  </a:lnTo>
                  <a:lnTo>
                    <a:pt x="776" y="658"/>
                  </a:lnTo>
                  <a:lnTo>
                    <a:pt x="778" y="656"/>
                  </a:lnTo>
                  <a:lnTo>
                    <a:pt x="779" y="656"/>
                  </a:lnTo>
                  <a:lnTo>
                    <a:pt x="780" y="655"/>
                  </a:lnTo>
                  <a:lnTo>
                    <a:pt x="783" y="655"/>
                  </a:lnTo>
                  <a:lnTo>
                    <a:pt x="796" y="661"/>
                  </a:lnTo>
                  <a:lnTo>
                    <a:pt x="802" y="664"/>
                  </a:lnTo>
                  <a:lnTo>
                    <a:pt x="811" y="667"/>
                  </a:lnTo>
                  <a:lnTo>
                    <a:pt x="814" y="668"/>
                  </a:lnTo>
                  <a:lnTo>
                    <a:pt x="817" y="667"/>
                  </a:lnTo>
                  <a:lnTo>
                    <a:pt x="820" y="668"/>
                  </a:lnTo>
                  <a:lnTo>
                    <a:pt x="821" y="671"/>
                  </a:lnTo>
                  <a:lnTo>
                    <a:pt x="823" y="680"/>
                  </a:lnTo>
                  <a:lnTo>
                    <a:pt x="823" y="688"/>
                  </a:lnTo>
                  <a:lnTo>
                    <a:pt x="823" y="690"/>
                  </a:lnTo>
                  <a:lnTo>
                    <a:pt x="823" y="690"/>
                  </a:lnTo>
                  <a:lnTo>
                    <a:pt x="824" y="691"/>
                  </a:lnTo>
                  <a:lnTo>
                    <a:pt x="827" y="691"/>
                  </a:lnTo>
                  <a:lnTo>
                    <a:pt x="831" y="681"/>
                  </a:lnTo>
                  <a:lnTo>
                    <a:pt x="833" y="680"/>
                  </a:lnTo>
                  <a:lnTo>
                    <a:pt x="833" y="680"/>
                  </a:lnTo>
                  <a:lnTo>
                    <a:pt x="842" y="677"/>
                  </a:lnTo>
                  <a:lnTo>
                    <a:pt x="842" y="677"/>
                  </a:lnTo>
                  <a:lnTo>
                    <a:pt x="843" y="675"/>
                  </a:lnTo>
                  <a:lnTo>
                    <a:pt x="843" y="675"/>
                  </a:lnTo>
                  <a:lnTo>
                    <a:pt x="845" y="674"/>
                  </a:lnTo>
                  <a:lnTo>
                    <a:pt x="845" y="672"/>
                  </a:lnTo>
                  <a:lnTo>
                    <a:pt x="845" y="671"/>
                  </a:lnTo>
                  <a:lnTo>
                    <a:pt x="845" y="668"/>
                  </a:lnTo>
                  <a:lnTo>
                    <a:pt x="845" y="662"/>
                  </a:lnTo>
                  <a:lnTo>
                    <a:pt x="845" y="659"/>
                  </a:lnTo>
                  <a:lnTo>
                    <a:pt x="846" y="655"/>
                  </a:lnTo>
                  <a:lnTo>
                    <a:pt x="847" y="653"/>
                  </a:lnTo>
                  <a:lnTo>
                    <a:pt x="849" y="652"/>
                  </a:lnTo>
                  <a:lnTo>
                    <a:pt x="855" y="646"/>
                  </a:lnTo>
                  <a:lnTo>
                    <a:pt x="856" y="645"/>
                  </a:lnTo>
                  <a:lnTo>
                    <a:pt x="856" y="643"/>
                  </a:lnTo>
                  <a:lnTo>
                    <a:pt x="856" y="639"/>
                  </a:lnTo>
                  <a:lnTo>
                    <a:pt x="856" y="637"/>
                  </a:lnTo>
                  <a:lnTo>
                    <a:pt x="856" y="636"/>
                  </a:lnTo>
                  <a:lnTo>
                    <a:pt x="858" y="635"/>
                  </a:lnTo>
                  <a:lnTo>
                    <a:pt x="861" y="633"/>
                  </a:lnTo>
                  <a:lnTo>
                    <a:pt x="861" y="632"/>
                  </a:lnTo>
                  <a:lnTo>
                    <a:pt x="861" y="630"/>
                  </a:lnTo>
                  <a:lnTo>
                    <a:pt x="858" y="626"/>
                  </a:lnTo>
                  <a:lnTo>
                    <a:pt x="855" y="624"/>
                  </a:lnTo>
                  <a:lnTo>
                    <a:pt x="842" y="617"/>
                  </a:lnTo>
                  <a:lnTo>
                    <a:pt x="834" y="610"/>
                  </a:lnTo>
                  <a:lnTo>
                    <a:pt x="830" y="607"/>
                  </a:lnTo>
                  <a:lnTo>
                    <a:pt x="817" y="608"/>
                  </a:lnTo>
                  <a:lnTo>
                    <a:pt x="817" y="607"/>
                  </a:lnTo>
                  <a:lnTo>
                    <a:pt x="817" y="602"/>
                  </a:lnTo>
                  <a:lnTo>
                    <a:pt x="826" y="584"/>
                  </a:lnTo>
                  <a:lnTo>
                    <a:pt x="824" y="579"/>
                  </a:lnTo>
                  <a:lnTo>
                    <a:pt x="817" y="578"/>
                  </a:lnTo>
                  <a:lnTo>
                    <a:pt x="813" y="575"/>
                  </a:lnTo>
                  <a:lnTo>
                    <a:pt x="810" y="572"/>
                  </a:lnTo>
                  <a:lnTo>
                    <a:pt x="805" y="570"/>
                  </a:lnTo>
                  <a:lnTo>
                    <a:pt x="798" y="565"/>
                  </a:lnTo>
                  <a:lnTo>
                    <a:pt x="775" y="538"/>
                  </a:lnTo>
                  <a:lnTo>
                    <a:pt x="773" y="537"/>
                  </a:lnTo>
                  <a:lnTo>
                    <a:pt x="773" y="537"/>
                  </a:lnTo>
                  <a:lnTo>
                    <a:pt x="773" y="533"/>
                  </a:lnTo>
                  <a:lnTo>
                    <a:pt x="773" y="530"/>
                  </a:lnTo>
                  <a:lnTo>
                    <a:pt x="773" y="527"/>
                  </a:lnTo>
                  <a:lnTo>
                    <a:pt x="775" y="522"/>
                  </a:lnTo>
                  <a:lnTo>
                    <a:pt x="775" y="521"/>
                  </a:lnTo>
                  <a:lnTo>
                    <a:pt x="773" y="520"/>
                  </a:lnTo>
                  <a:lnTo>
                    <a:pt x="773" y="518"/>
                  </a:lnTo>
                  <a:lnTo>
                    <a:pt x="767" y="514"/>
                  </a:lnTo>
                  <a:lnTo>
                    <a:pt x="766" y="511"/>
                  </a:lnTo>
                  <a:lnTo>
                    <a:pt x="766" y="509"/>
                  </a:lnTo>
                  <a:lnTo>
                    <a:pt x="764" y="508"/>
                  </a:lnTo>
                  <a:lnTo>
                    <a:pt x="763" y="508"/>
                  </a:lnTo>
                  <a:close/>
                  <a:moveTo>
                    <a:pt x="903" y="33"/>
                  </a:moveTo>
                  <a:lnTo>
                    <a:pt x="913" y="52"/>
                  </a:lnTo>
                  <a:lnTo>
                    <a:pt x="914" y="59"/>
                  </a:lnTo>
                  <a:lnTo>
                    <a:pt x="919" y="68"/>
                  </a:lnTo>
                  <a:lnTo>
                    <a:pt x="944" y="67"/>
                  </a:lnTo>
                  <a:lnTo>
                    <a:pt x="964" y="68"/>
                  </a:lnTo>
                  <a:lnTo>
                    <a:pt x="971" y="71"/>
                  </a:lnTo>
                  <a:lnTo>
                    <a:pt x="980" y="73"/>
                  </a:lnTo>
                  <a:lnTo>
                    <a:pt x="987" y="62"/>
                  </a:lnTo>
                  <a:lnTo>
                    <a:pt x="996" y="61"/>
                  </a:lnTo>
                  <a:lnTo>
                    <a:pt x="1009" y="67"/>
                  </a:lnTo>
                  <a:lnTo>
                    <a:pt x="1024" y="67"/>
                  </a:lnTo>
                  <a:lnTo>
                    <a:pt x="1031" y="68"/>
                  </a:lnTo>
                  <a:lnTo>
                    <a:pt x="1032" y="83"/>
                  </a:lnTo>
                  <a:lnTo>
                    <a:pt x="1031" y="94"/>
                  </a:lnTo>
                  <a:lnTo>
                    <a:pt x="1025" y="106"/>
                  </a:lnTo>
                  <a:lnTo>
                    <a:pt x="1012" y="126"/>
                  </a:lnTo>
                  <a:lnTo>
                    <a:pt x="983" y="147"/>
                  </a:lnTo>
                  <a:lnTo>
                    <a:pt x="983" y="151"/>
                  </a:lnTo>
                  <a:lnTo>
                    <a:pt x="983" y="157"/>
                  </a:lnTo>
                  <a:lnTo>
                    <a:pt x="998" y="160"/>
                  </a:lnTo>
                  <a:lnTo>
                    <a:pt x="1011" y="163"/>
                  </a:lnTo>
                  <a:lnTo>
                    <a:pt x="1034" y="166"/>
                  </a:lnTo>
                  <a:lnTo>
                    <a:pt x="1038" y="161"/>
                  </a:lnTo>
                  <a:lnTo>
                    <a:pt x="1041" y="154"/>
                  </a:lnTo>
                  <a:lnTo>
                    <a:pt x="1050" y="150"/>
                  </a:lnTo>
                  <a:lnTo>
                    <a:pt x="1060" y="137"/>
                  </a:lnTo>
                  <a:lnTo>
                    <a:pt x="1083" y="122"/>
                  </a:lnTo>
                  <a:lnTo>
                    <a:pt x="1083" y="122"/>
                  </a:lnTo>
                  <a:lnTo>
                    <a:pt x="1085" y="132"/>
                  </a:lnTo>
                  <a:lnTo>
                    <a:pt x="1086" y="138"/>
                  </a:lnTo>
                  <a:lnTo>
                    <a:pt x="1086" y="148"/>
                  </a:lnTo>
                  <a:lnTo>
                    <a:pt x="1088" y="154"/>
                  </a:lnTo>
                  <a:lnTo>
                    <a:pt x="1089" y="157"/>
                  </a:lnTo>
                  <a:lnTo>
                    <a:pt x="1095" y="161"/>
                  </a:lnTo>
                  <a:lnTo>
                    <a:pt x="1097" y="166"/>
                  </a:lnTo>
                  <a:lnTo>
                    <a:pt x="1101" y="169"/>
                  </a:lnTo>
                  <a:lnTo>
                    <a:pt x="1094" y="183"/>
                  </a:lnTo>
                  <a:lnTo>
                    <a:pt x="1091" y="188"/>
                  </a:lnTo>
                  <a:lnTo>
                    <a:pt x="1089" y="190"/>
                  </a:lnTo>
                  <a:lnTo>
                    <a:pt x="1089" y="190"/>
                  </a:lnTo>
                  <a:lnTo>
                    <a:pt x="1089" y="190"/>
                  </a:lnTo>
                  <a:lnTo>
                    <a:pt x="1085" y="193"/>
                  </a:lnTo>
                  <a:lnTo>
                    <a:pt x="1082" y="198"/>
                  </a:lnTo>
                  <a:lnTo>
                    <a:pt x="1082" y="198"/>
                  </a:lnTo>
                  <a:lnTo>
                    <a:pt x="1079" y="205"/>
                  </a:lnTo>
                  <a:lnTo>
                    <a:pt x="1078" y="212"/>
                  </a:lnTo>
                  <a:lnTo>
                    <a:pt x="1079" y="222"/>
                  </a:lnTo>
                  <a:lnTo>
                    <a:pt x="1082" y="230"/>
                  </a:lnTo>
                  <a:lnTo>
                    <a:pt x="1082" y="238"/>
                  </a:lnTo>
                  <a:lnTo>
                    <a:pt x="1072" y="272"/>
                  </a:lnTo>
                  <a:lnTo>
                    <a:pt x="1070" y="276"/>
                  </a:lnTo>
                  <a:lnTo>
                    <a:pt x="1066" y="287"/>
                  </a:lnTo>
                  <a:lnTo>
                    <a:pt x="1066" y="287"/>
                  </a:lnTo>
                  <a:lnTo>
                    <a:pt x="1056" y="298"/>
                  </a:lnTo>
                  <a:lnTo>
                    <a:pt x="1035" y="314"/>
                  </a:lnTo>
                  <a:lnTo>
                    <a:pt x="1014" y="326"/>
                  </a:lnTo>
                  <a:lnTo>
                    <a:pt x="998" y="338"/>
                  </a:lnTo>
                  <a:lnTo>
                    <a:pt x="998" y="338"/>
                  </a:lnTo>
                  <a:lnTo>
                    <a:pt x="998" y="342"/>
                  </a:lnTo>
                  <a:lnTo>
                    <a:pt x="999" y="348"/>
                  </a:lnTo>
                  <a:lnTo>
                    <a:pt x="1003" y="368"/>
                  </a:lnTo>
                  <a:lnTo>
                    <a:pt x="1005" y="375"/>
                  </a:lnTo>
                  <a:lnTo>
                    <a:pt x="1003" y="386"/>
                  </a:lnTo>
                  <a:lnTo>
                    <a:pt x="1000" y="390"/>
                  </a:lnTo>
                  <a:lnTo>
                    <a:pt x="999" y="393"/>
                  </a:lnTo>
                  <a:lnTo>
                    <a:pt x="990" y="400"/>
                  </a:lnTo>
                  <a:lnTo>
                    <a:pt x="990" y="400"/>
                  </a:lnTo>
                  <a:lnTo>
                    <a:pt x="995" y="409"/>
                  </a:lnTo>
                  <a:lnTo>
                    <a:pt x="1000" y="413"/>
                  </a:lnTo>
                  <a:lnTo>
                    <a:pt x="1008" y="416"/>
                  </a:lnTo>
                  <a:lnTo>
                    <a:pt x="1015" y="416"/>
                  </a:lnTo>
                  <a:lnTo>
                    <a:pt x="1022" y="419"/>
                  </a:lnTo>
                  <a:lnTo>
                    <a:pt x="1034" y="432"/>
                  </a:lnTo>
                  <a:lnTo>
                    <a:pt x="1043" y="438"/>
                  </a:lnTo>
                  <a:lnTo>
                    <a:pt x="1081" y="466"/>
                  </a:lnTo>
                  <a:lnTo>
                    <a:pt x="1085" y="471"/>
                  </a:lnTo>
                  <a:lnTo>
                    <a:pt x="1097" y="495"/>
                  </a:lnTo>
                  <a:lnTo>
                    <a:pt x="1101" y="498"/>
                  </a:lnTo>
                  <a:lnTo>
                    <a:pt x="1107" y="502"/>
                  </a:lnTo>
                  <a:lnTo>
                    <a:pt x="1117" y="515"/>
                  </a:lnTo>
                  <a:lnTo>
                    <a:pt x="1139" y="524"/>
                  </a:lnTo>
                  <a:lnTo>
                    <a:pt x="1158" y="546"/>
                  </a:lnTo>
                  <a:lnTo>
                    <a:pt x="1161" y="549"/>
                  </a:lnTo>
                  <a:lnTo>
                    <a:pt x="1171" y="557"/>
                  </a:lnTo>
                  <a:lnTo>
                    <a:pt x="1161" y="578"/>
                  </a:lnTo>
                  <a:lnTo>
                    <a:pt x="1159" y="591"/>
                  </a:lnTo>
                  <a:lnTo>
                    <a:pt x="1165" y="597"/>
                  </a:lnTo>
                  <a:lnTo>
                    <a:pt x="1167" y="602"/>
                  </a:lnTo>
                  <a:lnTo>
                    <a:pt x="1161" y="616"/>
                  </a:lnTo>
                  <a:lnTo>
                    <a:pt x="1161" y="616"/>
                  </a:lnTo>
                  <a:lnTo>
                    <a:pt x="1152" y="630"/>
                  </a:lnTo>
                  <a:lnTo>
                    <a:pt x="1134" y="645"/>
                  </a:lnTo>
                  <a:lnTo>
                    <a:pt x="1134" y="645"/>
                  </a:lnTo>
                  <a:lnTo>
                    <a:pt x="1136" y="668"/>
                  </a:lnTo>
                  <a:lnTo>
                    <a:pt x="1145" y="693"/>
                  </a:lnTo>
                  <a:lnTo>
                    <a:pt x="1152" y="709"/>
                  </a:lnTo>
                  <a:lnTo>
                    <a:pt x="1151" y="719"/>
                  </a:lnTo>
                  <a:lnTo>
                    <a:pt x="1158" y="728"/>
                  </a:lnTo>
                  <a:lnTo>
                    <a:pt x="1169" y="735"/>
                  </a:lnTo>
                  <a:lnTo>
                    <a:pt x="1180" y="736"/>
                  </a:lnTo>
                  <a:lnTo>
                    <a:pt x="1190" y="741"/>
                  </a:lnTo>
                  <a:lnTo>
                    <a:pt x="1194" y="751"/>
                  </a:lnTo>
                  <a:lnTo>
                    <a:pt x="1194" y="763"/>
                  </a:lnTo>
                  <a:lnTo>
                    <a:pt x="1194" y="763"/>
                  </a:lnTo>
                  <a:lnTo>
                    <a:pt x="1188" y="771"/>
                  </a:lnTo>
                  <a:lnTo>
                    <a:pt x="1188" y="771"/>
                  </a:lnTo>
                  <a:lnTo>
                    <a:pt x="1188" y="774"/>
                  </a:lnTo>
                  <a:lnTo>
                    <a:pt x="1193" y="783"/>
                  </a:lnTo>
                  <a:lnTo>
                    <a:pt x="1191" y="790"/>
                  </a:lnTo>
                  <a:lnTo>
                    <a:pt x="1188" y="801"/>
                  </a:lnTo>
                  <a:lnTo>
                    <a:pt x="1185" y="815"/>
                  </a:lnTo>
                  <a:lnTo>
                    <a:pt x="1188" y="824"/>
                  </a:lnTo>
                  <a:lnTo>
                    <a:pt x="1212" y="841"/>
                  </a:lnTo>
                  <a:lnTo>
                    <a:pt x="1212" y="841"/>
                  </a:lnTo>
                  <a:lnTo>
                    <a:pt x="1206" y="849"/>
                  </a:lnTo>
                  <a:lnTo>
                    <a:pt x="1203" y="851"/>
                  </a:lnTo>
                  <a:lnTo>
                    <a:pt x="1203" y="853"/>
                  </a:lnTo>
                  <a:lnTo>
                    <a:pt x="1201" y="859"/>
                  </a:lnTo>
                  <a:lnTo>
                    <a:pt x="1201" y="863"/>
                  </a:lnTo>
                  <a:lnTo>
                    <a:pt x="1200" y="869"/>
                  </a:lnTo>
                  <a:lnTo>
                    <a:pt x="1191" y="882"/>
                  </a:lnTo>
                  <a:lnTo>
                    <a:pt x="1190" y="888"/>
                  </a:lnTo>
                  <a:lnTo>
                    <a:pt x="1188" y="923"/>
                  </a:lnTo>
                  <a:lnTo>
                    <a:pt x="1185" y="933"/>
                  </a:lnTo>
                  <a:lnTo>
                    <a:pt x="1181" y="943"/>
                  </a:lnTo>
                  <a:lnTo>
                    <a:pt x="1181" y="943"/>
                  </a:lnTo>
                  <a:lnTo>
                    <a:pt x="1174" y="952"/>
                  </a:lnTo>
                  <a:lnTo>
                    <a:pt x="1153" y="972"/>
                  </a:lnTo>
                  <a:lnTo>
                    <a:pt x="1153" y="972"/>
                  </a:lnTo>
                  <a:lnTo>
                    <a:pt x="1149" y="983"/>
                  </a:lnTo>
                  <a:lnTo>
                    <a:pt x="1151" y="994"/>
                  </a:lnTo>
                  <a:lnTo>
                    <a:pt x="1156" y="1003"/>
                  </a:lnTo>
                  <a:lnTo>
                    <a:pt x="1162" y="1007"/>
                  </a:lnTo>
                  <a:lnTo>
                    <a:pt x="1168" y="1013"/>
                  </a:lnTo>
                  <a:lnTo>
                    <a:pt x="1169" y="1028"/>
                  </a:lnTo>
                  <a:lnTo>
                    <a:pt x="1172" y="1042"/>
                  </a:lnTo>
                  <a:lnTo>
                    <a:pt x="1180" y="1052"/>
                  </a:lnTo>
                  <a:lnTo>
                    <a:pt x="1197" y="1065"/>
                  </a:lnTo>
                  <a:lnTo>
                    <a:pt x="1201" y="1076"/>
                  </a:lnTo>
                  <a:lnTo>
                    <a:pt x="1204" y="1090"/>
                  </a:lnTo>
                  <a:lnTo>
                    <a:pt x="1206" y="1105"/>
                  </a:lnTo>
                  <a:lnTo>
                    <a:pt x="1201" y="1115"/>
                  </a:lnTo>
                  <a:lnTo>
                    <a:pt x="1201" y="1115"/>
                  </a:lnTo>
                  <a:lnTo>
                    <a:pt x="1194" y="1127"/>
                  </a:lnTo>
                  <a:lnTo>
                    <a:pt x="1194" y="1127"/>
                  </a:lnTo>
                  <a:lnTo>
                    <a:pt x="1191" y="1137"/>
                  </a:lnTo>
                  <a:lnTo>
                    <a:pt x="1193" y="1141"/>
                  </a:lnTo>
                  <a:lnTo>
                    <a:pt x="1193" y="1141"/>
                  </a:lnTo>
                  <a:lnTo>
                    <a:pt x="1178" y="1140"/>
                  </a:lnTo>
                  <a:lnTo>
                    <a:pt x="1162" y="1134"/>
                  </a:lnTo>
                  <a:lnTo>
                    <a:pt x="1153" y="1130"/>
                  </a:lnTo>
                  <a:lnTo>
                    <a:pt x="1146" y="1128"/>
                  </a:lnTo>
                  <a:lnTo>
                    <a:pt x="1139" y="1128"/>
                  </a:lnTo>
                  <a:lnTo>
                    <a:pt x="1124" y="1132"/>
                  </a:lnTo>
                  <a:lnTo>
                    <a:pt x="1078" y="1156"/>
                  </a:lnTo>
                  <a:lnTo>
                    <a:pt x="1065" y="1159"/>
                  </a:lnTo>
                  <a:lnTo>
                    <a:pt x="1053" y="1150"/>
                  </a:lnTo>
                  <a:lnTo>
                    <a:pt x="1041" y="1146"/>
                  </a:lnTo>
                  <a:lnTo>
                    <a:pt x="1024" y="1144"/>
                  </a:lnTo>
                  <a:lnTo>
                    <a:pt x="1002" y="1148"/>
                  </a:lnTo>
                  <a:lnTo>
                    <a:pt x="989" y="1157"/>
                  </a:lnTo>
                  <a:lnTo>
                    <a:pt x="984" y="1160"/>
                  </a:lnTo>
                  <a:lnTo>
                    <a:pt x="970" y="1179"/>
                  </a:lnTo>
                  <a:lnTo>
                    <a:pt x="968" y="1182"/>
                  </a:lnTo>
                  <a:lnTo>
                    <a:pt x="968" y="1186"/>
                  </a:lnTo>
                  <a:lnTo>
                    <a:pt x="968" y="1191"/>
                  </a:lnTo>
                  <a:lnTo>
                    <a:pt x="963" y="1204"/>
                  </a:lnTo>
                  <a:lnTo>
                    <a:pt x="944" y="1231"/>
                  </a:lnTo>
                  <a:lnTo>
                    <a:pt x="936" y="1242"/>
                  </a:lnTo>
                  <a:lnTo>
                    <a:pt x="935" y="1243"/>
                  </a:lnTo>
                  <a:lnTo>
                    <a:pt x="933" y="1243"/>
                  </a:lnTo>
                  <a:lnTo>
                    <a:pt x="932" y="1242"/>
                  </a:lnTo>
                  <a:lnTo>
                    <a:pt x="928" y="1242"/>
                  </a:lnTo>
                  <a:lnTo>
                    <a:pt x="926" y="1240"/>
                  </a:lnTo>
                  <a:lnTo>
                    <a:pt x="903" y="1243"/>
                  </a:lnTo>
                  <a:lnTo>
                    <a:pt x="866" y="1249"/>
                  </a:lnTo>
                  <a:lnTo>
                    <a:pt x="853" y="1247"/>
                  </a:lnTo>
                  <a:lnTo>
                    <a:pt x="813" y="1245"/>
                  </a:lnTo>
                  <a:lnTo>
                    <a:pt x="796" y="1239"/>
                  </a:lnTo>
                  <a:lnTo>
                    <a:pt x="792" y="1239"/>
                  </a:lnTo>
                  <a:lnTo>
                    <a:pt x="789" y="1239"/>
                  </a:lnTo>
                  <a:lnTo>
                    <a:pt x="785" y="1240"/>
                  </a:lnTo>
                  <a:lnTo>
                    <a:pt x="780" y="1237"/>
                  </a:lnTo>
                  <a:lnTo>
                    <a:pt x="775" y="1229"/>
                  </a:lnTo>
                  <a:lnTo>
                    <a:pt x="770" y="1226"/>
                  </a:lnTo>
                  <a:lnTo>
                    <a:pt x="766" y="1223"/>
                  </a:lnTo>
                  <a:lnTo>
                    <a:pt x="763" y="1220"/>
                  </a:lnTo>
                  <a:lnTo>
                    <a:pt x="759" y="1215"/>
                  </a:lnTo>
                  <a:lnTo>
                    <a:pt x="743" y="1208"/>
                  </a:lnTo>
                  <a:lnTo>
                    <a:pt x="738" y="1207"/>
                  </a:lnTo>
                  <a:lnTo>
                    <a:pt x="734" y="1208"/>
                  </a:lnTo>
                  <a:lnTo>
                    <a:pt x="731" y="1213"/>
                  </a:lnTo>
                  <a:lnTo>
                    <a:pt x="725" y="1215"/>
                  </a:lnTo>
                  <a:lnTo>
                    <a:pt x="693" y="1226"/>
                  </a:lnTo>
                  <a:lnTo>
                    <a:pt x="687" y="1227"/>
                  </a:lnTo>
                  <a:lnTo>
                    <a:pt x="683" y="1220"/>
                  </a:lnTo>
                  <a:lnTo>
                    <a:pt x="680" y="1218"/>
                  </a:lnTo>
                  <a:lnTo>
                    <a:pt x="676" y="1218"/>
                  </a:lnTo>
                  <a:lnTo>
                    <a:pt x="674" y="1221"/>
                  </a:lnTo>
                  <a:lnTo>
                    <a:pt x="670" y="1221"/>
                  </a:lnTo>
                  <a:lnTo>
                    <a:pt x="668" y="1223"/>
                  </a:lnTo>
                  <a:lnTo>
                    <a:pt x="667" y="1224"/>
                  </a:lnTo>
                  <a:lnTo>
                    <a:pt x="665" y="1227"/>
                  </a:lnTo>
                  <a:lnTo>
                    <a:pt x="664" y="1227"/>
                  </a:lnTo>
                  <a:lnTo>
                    <a:pt x="662" y="1226"/>
                  </a:lnTo>
                  <a:lnTo>
                    <a:pt x="661" y="1223"/>
                  </a:lnTo>
                  <a:lnTo>
                    <a:pt x="661" y="1221"/>
                  </a:lnTo>
                  <a:lnTo>
                    <a:pt x="661" y="1220"/>
                  </a:lnTo>
                  <a:lnTo>
                    <a:pt x="660" y="1217"/>
                  </a:lnTo>
                  <a:lnTo>
                    <a:pt x="660" y="1215"/>
                  </a:lnTo>
                  <a:lnTo>
                    <a:pt x="661" y="1214"/>
                  </a:lnTo>
                  <a:lnTo>
                    <a:pt x="661" y="1213"/>
                  </a:lnTo>
                  <a:lnTo>
                    <a:pt x="665" y="1210"/>
                  </a:lnTo>
                  <a:lnTo>
                    <a:pt x="665" y="1208"/>
                  </a:lnTo>
                  <a:lnTo>
                    <a:pt x="667" y="1207"/>
                  </a:lnTo>
                  <a:lnTo>
                    <a:pt x="668" y="1201"/>
                  </a:lnTo>
                  <a:lnTo>
                    <a:pt x="668" y="1194"/>
                  </a:lnTo>
                  <a:lnTo>
                    <a:pt x="670" y="1188"/>
                  </a:lnTo>
                  <a:lnTo>
                    <a:pt x="668" y="1182"/>
                  </a:lnTo>
                  <a:lnTo>
                    <a:pt x="667" y="1181"/>
                  </a:lnTo>
                  <a:lnTo>
                    <a:pt x="665" y="1178"/>
                  </a:lnTo>
                  <a:lnTo>
                    <a:pt x="665" y="1176"/>
                  </a:lnTo>
                  <a:lnTo>
                    <a:pt x="667" y="1175"/>
                  </a:lnTo>
                  <a:lnTo>
                    <a:pt x="668" y="1175"/>
                  </a:lnTo>
                  <a:lnTo>
                    <a:pt x="670" y="1173"/>
                  </a:lnTo>
                  <a:lnTo>
                    <a:pt x="671" y="1172"/>
                  </a:lnTo>
                  <a:lnTo>
                    <a:pt x="673" y="1169"/>
                  </a:lnTo>
                  <a:lnTo>
                    <a:pt x="673" y="1166"/>
                  </a:lnTo>
                  <a:lnTo>
                    <a:pt x="673" y="1162"/>
                  </a:lnTo>
                  <a:lnTo>
                    <a:pt x="670" y="1154"/>
                  </a:lnTo>
                  <a:lnTo>
                    <a:pt x="668" y="1150"/>
                  </a:lnTo>
                  <a:lnTo>
                    <a:pt x="668" y="1148"/>
                  </a:lnTo>
                  <a:lnTo>
                    <a:pt x="661" y="1144"/>
                  </a:lnTo>
                  <a:lnTo>
                    <a:pt x="657" y="1138"/>
                  </a:lnTo>
                  <a:lnTo>
                    <a:pt x="657" y="1135"/>
                  </a:lnTo>
                  <a:lnTo>
                    <a:pt x="658" y="1134"/>
                  </a:lnTo>
                  <a:lnTo>
                    <a:pt x="658" y="1131"/>
                  </a:lnTo>
                  <a:lnTo>
                    <a:pt x="660" y="1127"/>
                  </a:lnTo>
                  <a:lnTo>
                    <a:pt x="658" y="1125"/>
                  </a:lnTo>
                  <a:lnTo>
                    <a:pt x="657" y="1124"/>
                  </a:lnTo>
                  <a:lnTo>
                    <a:pt x="654" y="1121"/>
                  </a:lnTo>
                  <a:lnTo>
                    <a:pt x="648" y="1116"/>
                  </a:lnTo>
                  <a:lnTo>
                    <a:pt x="648" y="1115"/>
                  </a:lnTo>
                  <a:lnTo>
                    <a:pt x="646" y="1115"/>
                  </a:lnTo>
                  <a:lnTo>
                    <a:pt x="645" y="1116"/>
                  </a:lnTo>
                  <a:lnTo>
                    <a:pt x="644" y="1116"/>
                  </a:lnTo>
                  <a:lnTo>
                    <a:pt x="642" y="1118"/>
                  </a:lnTo>
                  <a:lnTo>
                    <a:pt x="639" y="1116"/>
                  </a:lnTo>
                  <a:lnTo>
                    <a:pt x="635" y="1114"/>
                  </a:lnTo>
                  <a:lnTo>
                    <a:pt x="625" y="1102"/>
                  </a:lnTo>
                  <a:lnTo>
                    <a:pt x="622" y="1100"/>
                  </a:lnTo>
                  <a:lnTo>
                    <a:pt x="628" y="1087"/>
                  </a:lnTo>
                  <a:lnTo>
                    <a:pt x="630" y="1084"/>
                  </a:lnTo>
                  <a:lnTo>
                    <a:pt x="652" y="1067"/>
                  </a:lnTo>
                  <a:lnTo>
                    <a:pt x="661" y="1054"/>
                  </a:lnTo>
                  <a:lnTo>
                    <a:pt x="662" y="1048"/>
                  </a:lnTo>
                  <a:lnTo>
                    <a:pt x="660" y="1041"/>
                  </a:lnTo>
                  <a:lnTo>
                    <a:pt x="657" y="1035"/>
                  </a:lnTo>
                  <a:lnTo>
                    <a:pt x="655" y="1029"/>
                  </a:lnTo>
                  <a:lnTo>
                    <a:pt x="654" y="1025"/>
                  </a:lnTo>
                  <a:lnTo>
                    <a:pt x="654" y="1010"/>
                  </a:lnTo>
                  <a:lnTo>
                    <a:pt x="655" y="1006"/>
                  </a:lnTo>
                  <a:lnTo>
                    <a:pt x="657" y="1003"/>
                  </a:lnTo>
                  <a:lnTo>
                    <a:pt x="667" y="985"/>
                  </a:lnTo>
                  <a:lnTo>
                    <a:pt x="678" y="972"/>
                  </a:lnTo>
                  <a:lnTo>
                    <a:pt x="681" y="965"/>
                  </a:lnTo>
                  <a:lnTo>
                    <a:pt x="676" y="962"/>
                  </a:lnTo>
                  <a:lnTo>
                    <a:pt x="664" y="962"/>
                  </a:lnTo>
                  <a:lnTo>
                    <a:pt x="662" y="962"/>
                  </a:lnTo>
                  <a:lnTo>
                    <a:pt x="660" y="964"/>
                  </a:lnTo>
                  <a:lnTo>
                    <a:pt x="657" y="969"/>
                  </a:lnTo>
                  <a:lnTo>
                    <a:pt x="655" y="971"/>
                  </a:lnTo>
                  <a:lnTo>
                    <a:pt x="652" y="971"/>
                  </a:lnTo>
                  <a:lnTo>
                    <a:pt x="651" y="968"/>
                  </a:lnTo>
                  <a:lnTo>
                    <a:pt x="648" y="965"/>
                  </a:lnTo>
                  <a:lnTo>
                    <a:pt x="645" y="964"/>
                  </a:lnTo>
                  <a:lnTo>
                    <a:pt x="623" y="966"/>
                  </a:lnTo>
                  <a:lnTo>
                    <a:pt x="616" y="965"/>
                  </a:lnTo>
                  <a:lnTo>
                    <a:pt x="597" y="950"/>
                  </a:lnTo>
                  <a:lnTo>
                    <a:pt x="594" y="948"/>
                  </a:lnTo>
                  <a:lnTo>
                    <a:pt x="593" y="945"/>
                  </a:lnTo>
                  <a:lnTo>
                    <a:pt x="591" y="942"/>
                  </a:lnTo>
                  <a:lnTo>
                    <a:pt x="587" y="939"/>
                  </a:lnTo>
                  <a:lnTo>
                    <a:pt x="582" y="936"/>
                  </a:lnTo>
                  <a:lnTo>
                    <a:pt x="575" y="934"/>
                  </a:lnTo>
                  <a:lnTo>
                    <a:pt x="559" y="934"/>
                  </a:lnTo>
                  <a:lnTo>
                    <a:pt x="556" y="934"/>
                  </a:lnTo>
                  <a:lnTo>
                    <a:pt x="555" y="933"/>
                  </a:lnTo>
                  <a:lnTo>
                    <a:pt x="552" y="924"/>
                  </a:lnTo>
                  <a:lnTo>
                    <a:pt x="550" y="920"/>
                  </a:lnTo>
                  <a:lnTo>
                    <a:pt x="546" y="917"/>
                  </a:lnTo>
                  <a:lnTo>
                    <a:pt x="533" y="916"/>
                  </a:lnTo>
                  <a:lnTo>
                    <a:pt x="528" y="914"/>
                  </a:lnTo>
                  <a:lnTo>
                    <a:pt x="498" y="895"/>
                  </a:lnTo>
                  <a:lnTo>
                    <a:pt x="483" y="888"/>
                  </a:lnTo>
                  <a:lnTo>
                    <a:pt x="482" y="886"/>
                  </a:lnTo>
                  <a:lnTo>
                    <a:pt x="480" y="888"/>
                  </a:lnTo>
                  <a:lnTo>
                    <a:pt x="479" y="888"/>
                  </a:lnTo>
                  <a:lnTo>
                    <a:pt x="479" y="891"/>
                  </a:lnTo>
                  <a:lnTo>
                    <a:pt x="479" y="892"/>
                  </a:lnTo>
                  <a:lnTo>
                    <a:pt x="477" y="894"/>
                  </a:lnTo>
                  <a:lnTo>
                    <a:pt x="473" y="897"/>
                  </a:lnTo>
                  <a:lnTo>
                    <a:pt x="469" y="898"/>
                  </a:lnTo>
                  <a:lnTo>
                    <a:pt x="463" y="904"/>
                  </a:lnTo>
                  <a:lnTo>
                    <a:pt x="447" y="900"/>
                  </a:lnTo>
                  <a:lnTo>
                    <a:pt x="441" y="897"/>
                  </a:lnTo>
                  <a:lnTo>
                    <a:pt x="425" y="883"/>
                  </a:lnTo>
                  <a:lnTo>
                    <a:pt x="418" y="875"/>
                  </a:lnTo>
                  <a:lnTo>
                    <a:pt x="416" y="873"/>
                  </a:lnTo>
                  <a:lnTo>
                    <a:pt x="415" y="872"/>
                  </a:lnTo>
                  <a:lnTo>
                    <a:pt x="413" y="872"/>
                  </a:lnTo>
                  <a:lnTo>
                    <a:pt x="412" y="873"/>
                  </a:lnTo>
                  <a:lnTo>
                    <a:pt x="410" y="875"/>
                  </a:lnTo>
                  <a:lnTo>
                    <a:pt x="410" y="876"/>
                  </a:lnTo>
                  <a:lnTo>
                    <a:pt x="409" y="878"/>
                  </a:lnTo>
                  <a:lnTo>
                    <a:pt x="406" y="879"/>
                  </a:lnTo>
                  <a:lnTo>
                    <a:pt x="402" y="879"/>
                  </a:lnTo>
                  <a:lnTo>
                    <a:pt x="400" y="878"/>
                  </a:lnTo>
                  <a:lnTo>
                    <a:pt x="399" y="878"/>
                  </a:lnTo>
                  <a:lnTo>
                    <a:pt x="394" y="873"/>
                  </a:lnTo>
                  <a:lnTo>
                    <a:pt x="384" y="866"/>
                  </a:lnTo>
                  <a:lnTo>
                    <a:pt x="381" y="863"/>
                  </a:lnTo>
                  <a:lnTo>
                    <a:pt x="378" y="862"/>
                  </a:lnTo>
                  <a:lnTo>
                    <a:pt x="378" y="859"/>
                  </a:lnTo>
                  <a:lnTo>
                    <a:pt x="378" y="857"/>
                  </a:lnTo>
                  <a:lnTo>
                    <a:pt x="378" y="856"/>
                  </a:lnTo>
                  <a:lnTo>
                    <a:pt x="378" y="851"/>
                  </a:lnTo>
                  <a:lnTo>
                    <a:pt x="357" y="822"/>
                  </a:lnTo>
                  <a:lnTo>
                    <a:pt x="349" y="815"/>
                  </a:lnTo>
                  <a:lnTo>
                    <a:pt x="342" y="812"/>
                  </a:lnTo>
                  <a:lnTo>
                    <a:pt x="341" y="811"/>
                  </a:lnTo>
                  <a:lnTo>
                    <a:pt x="341" y="808"/>
                  </a:lnTo>
                  <a:lnTo>
                    <a:pt x="338" y="801"/>
                  </a:lnTo>
                  <a:lnTo>
                    <a:pt x="329" y="792"/>
                  </a:lnTo>
                  <a:lnTo>
                    <a:pt x="327" y="790"/>
                  </a:lnTo>
                  <a:lnTo>
                    <a:pt x="324" y="783"/>
                  </a:lnTo>
                  <a:lnTo>
                    <a:pt x="322" y="774"/>
                  </a:lnTo>
                  <a:lnTo>
                    <a:pt x="322" y="773"/>
                  </a:lnTo>
                  <a:lnTo>
                    <a:pt x="322" y="771"/>
                  </a:lnTo>
                  <a:lnTo>
                    <a:pt x="324" y="767"/>
                  </a:lnTo>
                  <a:lnTo>
                    <a:pt x="329" y="752"/>
                  </a:lnTo>
                  <a:lnTo>
                    <a:pt x="338" y="745"/>
                  </a:lnTo>
                  <a:lnTo>
                    <a:pt x="338" y="744"/>
                  </a:lnTo>
                  <a:lnTo>
                    <a:pt x="338" y="742"/>
                  </a:lnTo>
                  <a:lnTo>
                    <a:pt x="338" y="741"/>
                  </a:lnTo>
                  <a:lnTo>
                    <a:pt x="336" y="738"/>
                  </a:lnTo>
                  <a:lnTo>
                    <a:pt x="335" y="735"/>
                  </a:lnTo>
                  <a:lnTo>
                    <a:pt x="333" y="734"/>
                  </a:lnTo>
                  <a:lnTo>
                    <a:pt x="332" y="732"/>
                  </a:lnTo>
                  <a:lnTo>
                    <a:pt x="329" y="732"/>
                  </a:lnTo>
                  <a:lnTo>
                    <a:pt x="326" y="729"/>
                  </a:lnTo>
                  <a:lnTo>
                    <a:pt x="324" y="726"/>
                  </a:lnTo>
                  <a:lnTo>
                    <a:pt x="324" y="718"/>
                  </a:lnTo>
                  <a:lnTo>
                    <a:pt x="323" y="713"/>
                  </a:lnTo>
                  <a:lnTo>
                    <a:pt x="324" y="710"/>
                  </a:lnTo>
                  <a:lnTo>
                    <a:pt x="324" y="709"/>
                  </a:lnTo>
                  <a:lnTo>
                    <a:pt x="327" y="704"/>
                  </a:lnTo>
                  <a:lnTo>
                    <a:pt x="327" y="700"/>
                  </a:lnTo>
                  <a:lnTo>
                    <a:pt x="327" y="699"/>
                  </a:lnTo>
                  <a:lnTo>
                    <a:pt x="329" y="696"/>
                  </a:lnTo>
                  <a:lnTo>
                    <a:pt x="333" y="688"/>
                  </a:lnTo>
                  <a:lnTo>
                    <a:pt x="333" y="687"/>
                  </a:lnTo>
                  <a:lnTo>
                    <a:pt x="333" y="684"/>
                  </a:lnTo>
                  <a:lnTo>
                    <a:pt x="333" y="683"/>
                  </a:lnTo>
                  <a:lnTo>
                    <a:pt x="333" y="680"/>
                  </a:lnTo>
                  <a:lnTo>
                    <a:pt x="332" y="675"/>
                  </a:lnTo>
                  <a:lnTo>
                    <a:pt x="332" y="674"/>
                  </a:lnTo>
                  <a:lnTo>
                    <a:pt x="333" y="672"/>
                  </a:lnTo>
                  <a:lnTo>
                    <a:pt x="333" y="669"/>
                  </a:lnTo>
                  <a:lnTo>
                    <a:pt x="333" y="668"/>
                  </a:lnTo>
                  <a:lnTo>
                    <a:pt x="333" y="665"/>
                  </a:lnTo>
                  <a:lnTo>
                    <a:pt x="333" y="664"/>
                  </a:lnTo>
                  <a:lnTo>
                    <a:pt x="338" y="656"/>
                  </a:lnTo>
                  <a:lnTo>
                    <a:pt x="339" y="653"/>
                  </a:lnTo>
                  <a:lnTo>
                    <a:pt x="341" y="646"/>
                  </a:lnTo>
                  <a:lnTo>
                    <a:pt x="342" y="643"/>
                  </a:lnTo>
                  <a:lnTo>
                    <a:pt x="342" y="640"/>
                  </a:lnTo>
                  <a:lnTo>
                    <a:pt x="341" y="639"/>
                  </a:lnTo>
                  <a:lnTo>
                    <a:pt x="339" y="637"/>
                  </a:lnTo>
                  <a:lnTo>
                    <a:pt x="339" y="636"/>
                  </a:lnTo>
                  <a:lnTo>
                    <a:pt x="338" y="635"/>
                  </a:lnTo>
                  <a:lnTo>
                    <a:pt x="338" y="633"/>
                  </a:lnTo>
                  <a:lnTo>
                    <a:pt x="339" y="632"/>
                  </a:lnTo>
                  <a:lnTo>
                    <a:pt x="342" y="629"/>
                  </a:lnTo>
                  <a:lnTo>
                    <a:pt x="345" y="626"/>
                  </a:lnTo>
                  <a:lnTo>
                    <a:pt x="348" y="617"/>
                  </a:lnTo>
                  <a:lnTo>
                    <a:pt x="352" y="610"/>
                  </a:lnTo>
                  <a:lnTo>
                    <a:pt x="352" y="608"/>
                  </a:lnTo>
                  <a:lnTo>
                    <a:pt x="352" y="605"/>
                  </a:lnTo>
                  <a:lnTo>
                    <a:pt x="352" y="601"/>
                  </a:lnTo>
                  <a:lnTo>
                    <a:pt x="352" y="598"/>
                  </a:lnTo>
                  <a:lnTo>
                    <a:pt x="354" y="595"/>
                  </a:lnTo>
                  <a:lnTo>
                    <a:pt x="355" y="592"/>
                  </a:lnTo>
                  <a:lnTo>
                    <a:pt x="354" y="591"/>
                  </a:lnTo>
                  <a:lnTo>
                    <a:pt x="354" y="591"/>
                  </a:lnTo>
                  <a:lnTo>
                    <a:pt x="351" y="592"/>
                  </a:lnTo>
                  <a:lnTo>
                    <a:pt x="349" y="592"/>
                  </a:lnTo>
                  <a:lnTo>
                    <a:pt x="348" y="592"/>
                  </a:lnTo>
                  <a:lnTo>
                    <a:pt x="346" y="592"/>
                  </a:lnTo>
                  <a:lnTo>
                    <a:pt x="345" y="592"/>
                  </a:lnTo>
                  <a:lnTo>
                    <a:pt x="343" y="592"/>
                  </a:lnTo>
                  <a:lnTo>
                    <a:pt x="343" y="594"/>
                  </a:lnTo>
                  <a:lnTo>
                    <a:pt x="341" y="594"/>
                  </a:lnTo>
                  <a:lnTo>
                    <a:pt x="339" y="591"/>
                  </a:lnTo>
                  <a:lnTo>
                    <a:pt x="333" y="582"/>
                  </a:lnTo>
                  <a:lnTo>
                    <a:pt x="332" y="581"/>
                  </a:lnTo>
                  <a:lnTo>
                    <a:pt x="329" y="578"/>
                  </a:lnTo>
                  <a:lnTo>
                    <a:pt x="327" y="578"/>
                  </a:lnTo>
                  <a:lnTo>
                    <a:pt x="326" y="578"/>
                  </a:lnTo>
                  <a:lnTo>
                    <a:pt x="324" y="578"/>
                  </a:lnTo>
                  <a:lnTo>
                    <a:pt x="323" y="579"/>
                  </a:lnTo>
                  <a:lnTo>
                    <a:pt x="323" y="581"/>
                  </a:lnTo>
                  <a:lnTo>
                    <a:pt x="323" y="585"/>
                  </a:lnTo>
                  <a:lnTo>
                    <a:pt x="322" y="586"/>
                  </a:lnTo>
                  <a:lnTo>
                    <a:pt x="322" y="588"/>
                  </a:lnTo>
                  <a:lnTo>
                    <a:pt x="320" y="589"/>
                  </a:lnTo>
                  <a:lnTo>
                    <a:pt x="319" y="591"/>
                  </a:lnTo>
                  <a:lnTo>
                    <a:pt x="319" y="591"/>
                  </a:lnTo>
                  <a:lnTo>
                    <a:pt x="316" y="592"/>
                  </a:lnTo>
                  <a:lnTo>
                    <a:pt x="311" y="594"/>
                  </a:lnTo>
                  <a:lnTo>
                    <a:pt x="307" y="592"/>
                  </a:lnTo>
                  <a:lnTo>
                    <a:pt x="306" y="591"/>
                  </a:lnTo>
                  <a:lnTo>
                    <a:pt x="304" y="589"/>
                  </a:lnTo>
                  <a:lnTo>
                    <a:pt x="304" y="588"/>
                  </a:lnTo>
                  <a:lnTo>
                    <a:pt x="303" y="585"/>
                  </a:lnTo>
                  <a:lnTo>
                    <a:pt x="303" y="584"/>
                  </a:lnTo>
                  <a:lnTo>
                    <a:pt x="304" y="581"/>
                  </a:lnTo>
                  <a:lnTo>
                    <a:pt x="306" y="579"/>
                  </a:lnTo>
                  <a:lnTo>
                    <a:pt x="306" y="578"/>
                  </a:lnTo>
                  <a:lnTo>
                    <a:pt x="307" y="576"/>
                  </a:lnTo>
                  <a:lnTo>
                    <a:pt x="308" y="575"/>
                  </a:lnTo>
                  <a:lnTo>
                    <a:pt x="308" y="573"/>
                  </a:lnTo>
                  <a:lnTo>
                    <a:pt x="307" y="572"/>
                  </a:lnTo>
                  <a:lnTo>
                    <a:pt x="306" y="572"/>
                  </a:lnTo>
                  <a:lnTo>
                    <a:pt x="303" y="572"/>
                  </a:lnTo>
                  <a:lnTo>
                    <a:pt x="300" y="573"/>
                  </a:lnTo>
                  <a:lnTo>
                    <a:pt x="297" y="573"/>
                  </a:lnTo>
                  <a:lnTo>
                    <a:pt x="295" y="572"/>
                  </a:lnTo>
                  <a:lnTo>
                    <a:pt x="295" y="570"/>
                  </a:lnTo>
                  <a:lnTo>
                    <a:pt x="295" y="570"/>
                  </a:lnTo>
                  <a:lnTo>
                    <a:pt x="304" y="556"/>
                  </a:lnTo>
                  <a:lnTo>
                    <a:pt x="306" y="552"/>
                  </a:lnTo>
                  <a:lnTo>
                    <a:pt x="306" y="546"/>
                  </a:lnTo>
                  <a:lnTo>
                    <a:pt x="307" y="533"/>
                  </a:lnTo>
                  <a:lnTo>
                    <a:pt x="307" y="527"/>
                  </a:lnTo>
                  <a:lnTo>
                    <a:pt x="308" y="524"/>
                  </a:lnTo>
                  <a:lnTo>
                    <a:pt x="310" y="524"/>
                  </a:lnTo>
                  <a:lnTo>
                    <a:pt x="317" y="524"/>
                  </a:lnTo>
                  <a:lnTo>
                    <a:pt x="320" y="522"/>
                  </a:lnTo>
                  <a:lnTo>
                    <a:pt x="323" y="521"/>
                  </a:lnTo>
                  <a:lnTo>
                    <a:pt x="324" y="518"/>
                  </a:lnTo>
                  <a:lnTo>
                    <a:pt x="327" y="514"/>
                  </a:lnTo>
                  <a:lnTo>
                    <a:pt x="330" y="502"/>
                  </a:lnTo>
                  <a:lnTo>
                    <a:pt x="332" y="498"/>
                  </a:lnTo>
                  <a:lnTo>
                    <a:pt x="332" y="493"/>
                  </a:lnTo>
                  <a:lnTo>
                    <a:pt x="330" y="490"/>
                  </a:lnTo>
                  <a:lnTo>
                    <a:pt x="329" y="490"/>
                  </a:lnTo>
                  <a:lnTo>
                    <a:pt x="326" y="487"/>
                  </a:lnTo>
                  <a:lnTo>
                    <a:pt x="324" y="486"/>
                  </a:lnTo>
                  <a:lnTo>
                    <a:pt x="324" y="483"/>
                  </a:lnTo>
                  <a:lnTo>
                    <a:pt x="323" y="480"/>
                  </a:lnTo>
                  <a:lnTo>
                    <a:pt x="323" y="477"/>
                  </a:lnTo>
                  <a:lnTo>
                    <a:pt x="322" y="476"/>
                  </a:lnTo>
                  <a:lnTo>
                    <a:pt x="320" y="473"/>
                  </a:lnTo>
                  <a:lnTo>
                    <a:pt x="319" y="471"/>
                  </a:lnTo>
                  <a:lnTo>
                    <a:pt x="319" y="469"/>
                  </a:lnTo>
                  <a:lnTo>
                    <a:pt x="319" y="467"/>
                  </a:lnTo>
                  <a:lnTo>
                    <a:pt x="319" y="464"/>
                  </a:lnTo>
                  <a:lnTo>
                    <a:pt x="320" y="463"/>
                  </a:lnTo>
                  <a:lnTo>
                    <a:pt x="323" y="460"/>
                  </a:lnTo>
                  <a:lnTo>
                    <a:pt x="324" y="457"/>
                  </a:lnTo>
                  <a:lnTo>
                    <a:pt x="324" y="455"/>
                  </a:lnTo>
                  <a:lnTo>
                    <a:pt x="324" y="454"/>
                  </a:lnTo>
                  <a:lnTo>
                    <a:pt x="323" y="453"/>
                  </a:lnTo>
                  <a:lnTo>
                    <a:pt x="322" y="451"/>
                  </a:lnTo>
                  <a:lnTo>
                    <a:pt x="320" y="448"/>
                  </a:lnTo>
                  <a:lnTo>
                    <a:pt x="320" y="444"/>
                  </a:lnTo>
                  <a:lnTo>
                    <a:pt x="320" y="442"/>
                  </a:lnTo>
                  <a:lnTo>
                    <a:pt x="320" y="439"/>
                  </a:lnTo>
                  <a:lnTo>
                    <a:pt x="332" y="431"/>
                  </a:lnTo>
                  <a:lnTo>
                    <a:pt x="333" y="425"/>
                  </a:lnTo>
                  <a:lnTo>
                    <a:pt x="333" y="420"/>
                  </a:lnTo>
                  <a:lnTo>
                    <a:pt x="326" y="399"/>
                  </a:lnTo>
                  <a:lnTo>
                    <a:pt x="324" y="394"/>
                  </a:lnTo>
                  <a:lnTo>
                    <a:pt x="323" y="391"/>
                  </a:lnTo>
                  <a:lnTo>
                    <a:pt x="319" y="391"/>
                  </a:lnTo>
                  <a:lnTo>
                    <a:pt x="314" y="388"/>
                  </a:lnTo>
                  <a:lnTo>
                    <a:pt x="313" y="388"/>
                  </a:lnTo>
                  <a:lnTo>
                    <a:pt x="311" y="388"/>
                  </a:lnTo>
                  <a:lnTo>
                    <a:pt x="300" y="391"/>
                  </a:lnTo>
                  <a:lnTo>
                    <a:pt x="295" y="393"/>
                  </a:lnTo>
                  <a:lnTo>
                    <a:pt x="291" y="391"/>
                  </a:lnTo>
                  <a:lnTo>
                    <a:pt x="291" y="386"/>
                  </a:lnTo>
                  <a:lnTo>
                    <a:pt x="291" y="383"/>
                  </a:lnTo>
                  <a:lnTo>
                    <a:pt x="290" y="381"/>
                  </a:lnTo>
                  <a:lnTo>
                    <a:pt x="287" y="378"/>
                  </a:lnTo>
                  <a:lnTo>
                    <a:pt x="285" y="378"/>
                  </a:lnTo>
                  <a:lnTo>
                    <a:pt x="284" y="377"/>
                  </a:lnTo>
                  <a:lnTo>
                    <a:pt x="260" y="380"/>
                  </a:lnTo>
                  <a:lnTo>
                    <a:pt x="252" y="380"/>
                  </a:lnTo>
                  <a:lnTo>
                    <a:pt x="246" y="383"/>
                  </a:lnTo>
                  <a:lnTo>
                    <a:pt x="240" y="381"/>
                  </a:lnTo>
                  <a:lnTo>
                    <a:pt x="231" y="375"/>
                  </a:lnTo>
                  <a:lnTo>
                    <a:pt x="225" y="374"/>
                  </a:lnTo>
                  <a:lnTo>
                    <a:pt x="220" y="372"/>
                  </a:lnTo>
                  <a:lnTo>
                    <a:pt x="217" y="371"/>
                  </a:lnTo>
                  <a:lnTo>
                    <a:pt x="193" y="356"/>
                  </a:lnTo>
                  <a:lnTo>
                    <a:pt x="195" y="354"/>
                  </a:lnTo>
                  <a:lnTo>
                    <a:pt x="198" y="348"/>
                  </a:lnTo>
                  <a:lnTo>
                    <a:pt x="201" y="340"/>
                  </a:lnTo>
                  <a:lnTo>
                    <a:pt x="196" y="339"/>
                  </a:lnTo>
                  <a:lnTo>
                    <a:pt x="185" y="338"/>
                  </a:lnTo>
                  <a:lnTo>
                    <a:pt x="180" y="333"/>
                  </a:lnTo>
                  <a:lnTo>
                    <a:pt x="170" y="317"/>
                  </a:lnTo>
                  <a:lnTo>
                    <a:pt x="164" y="319"/>
                  </a:lnTo>
                  <a:lnTo>
                    <a:pt x="156" y="324"/>
                  </a:lnTo>
                  <a:lnTo>
                    <a:pt x="153" y="326"/>
                  </a:lnTo>
                  <a:lnTo>
                    <a:pt x="145" y="324"/>
                  </a:lnTo>
                  <a:lnTo>
                    <a:pt x="144" y="320"/>
                  </a:lnTo>
                  <a:lnTo>
                    <a:pt x="144" y="316"/>
                  </a:lnTo>
                  <a:lnTo>
                    <a:pt x="141" y="308"/>
                  </a:lnTo>
                  <a:lnTo>
                    <a:pt x="137" y="305"/>
                  </a:lnTo>
                  <a:lnTo>
                    <a:pt x="125" y="304"/>
                  </a:lnTo>
                  <a:lnTo>
                    <a:pt x="121" y="303"/>
                  </a:lnTo>
                  <a:lnTo>
                    <a:pt x="123" y="300"/>
                  </a:lnTo>
                  <a:lnTo>
                    <a:pt x="126" y="294"/>
                  </a:lnTo>
                  <a:lnTo>
                    <a:pt x="126" y="292"/>
                  </a:lnTo>
                  <a:lnTo>
                    <a:pt x="125" y="288"/>
                  </a:lnTo>
                  <a:lnTo>
                    <a:pt x="122" y="287"/>
                  </a:lnTo>
                  <a:lnTo>
                    <a:pt x="106" y="291"/>
                  </a:lnTo>
                  <a:lnTo>
                    <a:pt x="90" y="284"/>
                  </a:lnTo>
                  <a:lnTo>
                    <a:pt x="81" y="282"/>
                  </a:lnTo>
                  <a:lnTo>
                    <a:pt x="75" y="279"/>
                  </a:lnTo>
                  <a:lnTo>
                    <a:pt x="65" y="269"/>
                  </a:lnTo>
                  <a:lnTo>
                    <a:pt x="56" y="266"/>
                  </a:lnTo>
                  <a:lnTo>
                    <a:pt x="49" y="268"/>
                  </a:lnTo>
                  <a:lnTo>
                    <a:pt x="38" y="276"/>
                  </a:lnTo>
                  <a:lnTo>
                    <a:pt x="32" y="278"/>
                  </a:lnTo>
                  <a:lnTo>
                    <a:pt x="23" y="276"/>
                  </a:lnTo>
                  <a:lnTo>
                    <a:pt x="21" y="276"/>
                  </a:lnTo>
                  <a:lnTo>
                    <a:pt x="19" y="273"/>
                  </a:lnTo>
                  <a:lnTo>
                    <a:pt x="5" y="259"/>
                  </a:lnTo>
                  <a:lnTo>
                    <a:pt x="0" y="247"/>
                  </a:lnTo>
                  <a:lnTo>
                    <a:pt x="7" y="246"/>
                  </a:lnTo>
                  <a:lnTo>
                    <a:pt x="16" y="249"/>
                  </a:lnTo>
                  <a:lnTo>
                    <a:pt x="27" y="249"/>
                  </a:lnTo>
                  <a:lnTo>
                    <a:pt x="35" y="252"/>
                  </a:lnTo>
                  <a:lnTo>
                    <a:pt x="42" y="253"/>
                  </a:lnTo>
                  <a:lnTo>
                    <a:pt x="42" y="244"/>
                  </a:lnTo>
                  <a:lnTo>
                    <a:pt x="43" y="238"/>
                  </a:lnTo>
                  <a:lnTo>
                    <a:pt x="49" y="236"/>
                  </a:lnTo>
                  <a:lnTo>
                    <a:pt x="59" y="236"/>
                  </a:lnTo>
                  <a:lnTo>
                    <a:pt x="78" y="246"/>
                  </a:lnTo>
                  <a:lnTo>
                    <a:pt x="88" y="246"/>
                  </a:lnTo>
                  <a:lnTo>
                    <a:pt x="96" y="240"/>
                  </a:lnTo>
                  <a:lnTo>
                    <a:pt x="97" y="231"/>
                  </a:lnTo>
                  <a:lnTo>
                    <a:pt x="96" y="227"/>
                  </a:lnTo>
                  <a:lnTo>
                    <a:pt x="96" y="217"/>
                  </a:lnTo>
                  <a:lnTo>
                    <a:pt x="94" y="212"/>
                  </a:lnTo>
                  <a:lnTo>
                    <a:pt x="93" y="209"/>
                  </a:lnTo>
                  <a:lnTo>
                    <a:pt x="90" y="206"/>
                  </a:lnTo>
                  <a:lnTo>
                    <a:pt x="88" y="202"/>
                  </a:lnTo>
                  <a:lnTo>
                    <a:pt x="91" y="196"/>
                  </a:lnTo>
                  <a:lnTo>
                    <a:pt x="106" y="182"/>
                  </a:lnTo>
                  <a:lnTo>
                    <a:pt x="113" y="177"/>
                  </a:lnTo>
                  <a:lnTo>
                    <a:pt x="132" y="170"/>
                  </a:lnTo>
                  <a:lnTo>
                    <a:pt x="144" y="170"/>
                  </a:lnTo>
                  <a:lnTo>
                    <a:pt x="148" y="172"/>
                  </a:lnTo>
                  <a:lnTo>
                    <a:pt x="158" y="180"/>
                  </a:lnTo>
                  <a:lnTo>
                    <a:pt x="163" y="190"/>
                  </a:lnTo>
                  <a:lnTo>
                    <a:pt x="170" y="186"/>
                  </a:lnTo>
                  <a:lnTo>
                    <a:pt x="177" y="183"/>
                  </a:lnTo>
                  <a:lnTo>
                    <a:pt x="186" y="183"/>
                  </a:lnTo>
                  <a:lnTo>
                    <a:pt x="196" y="185"/>
                  </a:lnTo>
                  <a:lnTo>
                    <a:pt x="195" y="176"/>
                  </a:lnTo>
                  <a:lnTo>
                    <a:pt x="188" y="170"/>
                  </a:lnTo>
                  <a:lnTo>
                    <a:pt x="192" y="169"/>
                  </a:lnTo>
                  <a:lnTo>
                    <a:pt x="195" y="167"/>
                  </a:lnTo>
                  <a:lnTo>
                    <a:pt x="204" y="170"/>
                  </a:lnTo>
                  <a:lnTo>
                    <a:pt x="212" y="160"/>
                  </a:lnTo>
                  <a:lnTo>
                    <a:pt x="225" y="153"/>
                  </a:lnTo>
                  <a:lnTo>
                    <a:pt x="228" y="153"/>
                  </a:lnTo>
                  <a:lnTo>
                    <a:pt x="231" y="151"/>
                  </a:lnTo>
                  <a:lnTo>
                    <a:pt x="239" y="154"/>
                  </a:lnTo>
                  <a:lnTo>
                    <a:pt x="244" y="147"/>
                  </a:lnTo>
                  <a:lnTo>
                    <a:pt x="250" y="142"/>
                  </a:lnTo>
                  <a:lnTo>
                    <a:pt x="256" y="142"/>
                  </a:lnTo>
                  <a:lnTo>
                    <a:pt x="259" y="132"/>
                  </a:lnTo>
                  <a:lnTo>
                    <a:pt x="260" y="125"/>
                  </a:lnTo>
                  <a:lnTo>
                    <a:pt x="269" y="119"/>
                  </a:lnTo>
                  <a:lnTo>
                    <a:pt x="275" y="109"/>
                  </a:lnTo>
                  <a:lnTo>
                    <a:pt x="276" y="109"/>
                  </a:lnTo>
                  <a:lnTo>
                    <a:pt x="279" y="107"/>
                  </a:lnTo>
                  <a:lnTo>
                    <a:pt x="285" y="105"/>
                  </a:lnTo>
                  <a:lnTo>
                    <a:pt x="291" y="105"/>
                  </a:lnTo>
                  <a:lnTo>
                    <a:pt x="294" y="103"/>
                  </a:lnTo>
                  <a:lnTo>
                    <a:pt x="295" y="103"/>
                  </a:lnTo>
                  <a:lnTo>
                    <a:pt x="297" y="103"/>
                  </a:lnTo>
                  <a:lnTo>
                    <a:pt x="303" y="109"/>
                  </a:lnTo>
                  <a:lnTo>
                    <a:pt x="304" y="110"/>
                  </a:lnTo>
                  <a:lnTo>
                    <a:pt x="306" y="109"/>
                  </a:lnTo>
                  <a:lnTo>
                    <a:pt x="307" y="109"/>
                  </a:lnTo>
                  <a:lnTo>
                    <a:pt x="314" y="103"/>
                  </a:lnTo>
                  <a:lnTo>
                    <a:pt x="317" y="102"/>
                  </a:lnTo>
                  <a:lnTo>
                    <a:pt x="319" y="102"/>
                  </a:lnTo>
                  <a:lnTo>
                    <a:pt x="320" y="102"/>
                  </a:lnTo>
                  <a:lnTo>
                    <a:pt x="323" y="103"/>
                  </a:lnTo>
                  <a:lnTo>
                    <a:pt x="324" y="106"/>
                  </a:lnTo>
                  <a:lnTo>
                    <a:pt x="329" y="113"/>
                  </a:lnTo>
                  <a:lnTo>
                    <a:pt x="330" y="116"/>
                  </a:lnTo>
                  <a:lnTo>
                    <a:pt x="333" y="118"/>
                  </a:lnTo>
                  <a:lnTo>
                    <a:pt x="355" y="123"/>
                  </a:lnTo>
                  <a:lnTo>
                    <a:pt x="368" y="131"/>
                  </a:lnTo>
                  <a:lnTo>
                    <a:pt x="370" y="132"/>
                  </a:lnTo>
                  <a:lnTo>
                    <a:pt x="380" y="141"/>
                  </a:lnTo>
                  <a:lnTo>
                    <a:pt x="381" y="142"/>
                  </a:lnTo>
                  <a:lnTo>
                    <a:pt x="384" y="144"/>
                  </a:lnTo>
                  <a:lnTo>
                    <a:pt x="384" y="145"/>
                  </a:lnTo>
                  <a:lnTo>
                    <a:pt x="387" y="147"/>
                  </a:lnTo>
                  <a:lnTo>
                    <a:pt x="396" y="153"/>
                  </a:lnTo>
                  <a:lnTo>
                    <a:pt x="397" y="154"/>
                  </a:lnTo>
                  <a:lnTo>
                    <a:pt x="400" y="158"/>
                  </a:lnTo>
                  <a:lnTo>
                    <a:pt x="402" y="160"/>
                  </a:lnTo>
                  <a:lnTo>
                    <a:pt x="403" y="161"/>
                  </a:lnTo>
                  <a:lnTo>
                    <a:pt x="408" y="161"/>
                  </a:lnTo>
                  <a:lnTo>
                    <a:pt x="419" y="160"/>
                  </a:lnTo>
                  <a:lnTo>
                    <a:pt x="425" y="158"/>
                  </a:lnTo>
                  <a:lnTo>
                    <a:pt x="431" y="157"/>
                  </a:lnTo>
                  <a:lnTo>
                    <a:pt x="467" y="167"/>
                  </a:lnTo>
                  <a:lnTo>
                    <a:pt x="469" y="167"/>
                  </a:lnTo>
                  <a:lnTo>
                    <a:pt x="473" y="169"/>
                  </a:lnTo>
                  <a:lnTo>
                    <a:pt x="483" y="179"/>
                  </a:lnTo>
                  <a:lnTo>
                    <a:pt x="498" y="183"/>
                  </a:lnTo>
                  <a:lnTo>
                    <a:pt x="507" y="183"/>
                  </a:lnTo>
                  <a:lnTo>
                    <a:pt x="510" y="185"/>
                  </a:lnTo>
                  <a:lnTo>
                    <a:pt x="510" y="193"/>
                  </a:lnTo>
                  <a:lnTo>
                    <a:pt x="510" y="198"/>
                  </a:lnTo>
                  <a:lnTo>
                    <a:pt x="510" y="199"/>
                  </a:lnTo>
                  <a:lnTo>
                    <a:pt x="511" y="201"/>
                  </a:lnTo>
                  <a:lnTo>
                    <a:pt x="511" y="201"/>
                  </a:lnTo>
                  <a:lnTo>
                    <a:pt x="512" y="202"/>
                  </a:lnTo>
                  <a:lnTo>
                    <a:pt x="514" y="204"/>
                  </a:lnTo>
                  <a:lnTo>
                    <a:pt x="515" y="204"/>
                  </a:lnTo>
                  <a:lnTo>
                    <a:pt x="518" y="204"/>
                  </a:lnTo>
                  <a:lnTo>
                    <a:pt x="533" y="201"/>
                  </a:lnTo>
                  <a:lnTo>
                    <a:pt x="539" y="201"/>
                  </a:lnTo>
                  <a:lnTo>
                    <a:pt x="540" y="201"/>
                  </a:lnTo>
                  <a:lnTo>
                    <a:pt x="543" y="202"/>
                  </a:lnTo>
                  <a:lnTo>
                    <a:pt x="547" y="206"/>
                  </a:lnTo>
                  <a:lnTo>
                    <a:pt x="550" y="208"/>
                  </a:lnTo>
                  <a:lnTo>
                    <a:pt x="553" y="208"/>
                  </a:lnTo>
                  <a:lnTo>
                    <a:pt x="559" y="208"/>
                  </a:lnTo>
                  <a:lnTo>
                    <a:pt x="562" y="206"/>
                  </a:lnTo>
                  <a:lnTo>
                    <a:pt x="565" y="205"/>
                  </a:lnTo>
                  <a:lnTo>
                    <a:pt x="566" y="205"/>
                  </a:lnTo>
                  <a:lnTo>
                    <a:pt x="577" y="205"/>
                  </a:lnTo>
                  <a:lnTo>
                    <a:pt x="579" y="204"/>
                  </a:lnTo>
                  <a:lnTo>
                    <a:pt x="581" y="204"/>
                  </a:lnTo>
                  <a:lnTo>
                    <a:pt x="582" y="202"/>
                  </a:lnTo>
                  <a:lnTo>
                    <a:pt x="584" y="202"/>
                  </a:lnTo>
                  <a:lnTo>
                    <a:pt x="585" y="204"/>
                  </a:lnTo>
                  <a:lnTo>
                    <a:pt x="585" y="206"/>
                  </a:lnTo>
                  <a:lnTo>
                    <a:pt x="585" y="208"/>
                  </a:lnTo>
                  <a:lnTo>
                    <a:pt x="584" y="209"/>
                  </a:lnTo>
                  <a:lnTo>
                    <a:pt x="582" y="211"/>
                  </a:lnTo>
                  <a:lnTo>
                    <a:pt x="581" y="211"/>
                  </a:lnTo>
                  <a:lnTo>
                    <a:pt x="581" y="212"/>
                  </a:lnTo>
                  <a:lnTo>
                    <a:pt x="581" y="215"/>
                  </a:lnTo>
                  <a:lnTo>
                    <a:pt x="582" y="217"/>
                  </a:lnTo>
                  <a:lnTo>
                    <a:pt x="591" y="220"/>
                  </a:lnTo>
                  <a:lnTo>
                    <a:pt x="600" y="218"/>
                  </a:lnTo>
                  <a:lnTo>
                    <a:pt x="609" y="209"/>
                  </a:lnTo>
                  <a:lnTo>
                    <a:pt x="610" y="206"/>
                  </a:lnTo>
                  <a:lnTo>
                    <a:pt x="614" y="202"/>
                  </a:lnTo>
                  <a:lnTo>
                    <a:pt x="616" y="201"/>
                  </a:lnTo>
                  <a:lnTo>
                    <a:pt x="626" y="195"/>
                  </a:lnTo>
                  <a:lnTo>
                    <a:pt x="630" y="190"/>
                  </a:lnTo>
                  <a:lnTo>
                    <a:pt x="633" y="188"/>
                  </a:lnTo>
                  <a:lnTo>
                    <a:pt x="635" y="186"/>
                  </a:lnTo>
                  <a:lnTo>
                    <a:pt x="636" y="185"/>
                  </a:lnTo>
                  <a:lnTo>
                    <a:pt x="636" y="183"/>
                  </a:lnTo>
                  <a:lnTo>
                    <a:pt x="636" y="183"/>
                  </a:lnTo>
                  <a:lnTo>
                    <a:pt x="638" y="182"/>
                  </a:lnTo>
                  <a:lnTo>
                    <a:pt x="638" y="180"/>
                  </a:lnTo>
                  <a:lnTo>
                    <a:pt x="638" y="177"/>
                  </a:lnTo>
                  <a:lnTo>
                    <a:pt x="639" y="176"/>
                  </a:lnTo>
                  <a:lnTo>
                    <a:pt x="641" y="174"/>
                  </a:lnTo>
                  <a:lnTo>
                    <a:pt x="642" y="173"/>
                  </a:lnTo>
                  <a:lnTo>
                    <a:pt x="645" y="172"/>
                  </a:lnTo>
                  <a:lnTo>
                    <a:pt x="646" y="170"/>
                  </a:lnTo>
                  <a:lnTo>
                    <a:pt x="648" y="169"/>
                  </a:lnTo>
                  <a:lnTo>
                    <a:pt x="649" y="167"/>
                  </a:lnTo>
                  <a:lnTo>
                    <a:pt x="651" y="166"/>
                  </a:lnTo>
                  <a:lnTo>
                    <a:pt x="654" y="166"/>
                  </a:lnTo>
                  <a:lnTo>
                    <a:pt x="655" y="166"/>
                  </a:lnTo>
                  <a:lnTo>
                    <a:pt x="658" y="167"/>
                  </a:lnTo>
                  <a:lnTo>
                    <a:pt x="662" y="173"/>
                  </a:lnTo>
                  <a:lnTo>
                    <a:pt x="665" y="177"/>
                  </a:lnTo>
                  <a:lnTo>
                    <a:pt x="665" y="179"/>
                  </a:lnTo>
                  <a:lnTo>
                    <a:pt x="670" y="180"/>
                  </a:lnTo>
                  <a:lnTo>
                    <a:pt x="680" y="180"/>
                  </a:lnTo>
                  <a:lnTo>
                    <a:pt x="681" y="174"/>
                  </a:lnTo>
                  <a:lnTo>
                    <a:pt x="681" y="170"/>
                  </a:lnTo>
                  <a:lnTo>
                    <a:pt x="681" y="169"/>
                  </a:lnTo>
                  <a:lnTo>
                    <a:pt x="683" y="166"/>
                  </a:lnTo>
                  <a:lnTo>
                    <a:pt x="686" y="158"/>
                  </a:lnTo>
                  <a:lnTo>
                    <a:pt x="689" y="156"/>
                  </a:lnTo>
                  <a:lnTo>
                    <a:pt x="692" y="151"/>
                  </a:lnTo>
                  <a:lnTo>
                    <a:pt x="697" y="148"/>
                  </a:lnTo>
                  <a:lnTo>
                    <a:pt x="706" y="148"/>
                  </a:lnTo>
                  <a:lnTo>
                    <a:pt x="713" y="150"/>
                  </a:lnTo>
                  <a:lnTo>
                    <a:pt x="722" y="153"/>
                  </a:lnTo>
                  <a:lnTo>
                    <a:pt x="728" y="157"/>
                  </a:lnTo>
                  <a:lnTo>
                    <a:pt x="734" y="158"/>
                  </a:lnTo>
                  <a:lnTo>
                    <a:pt x="741" y="157"/>
                  </a:lnTo>
                  <a:lnTo>
                    <a:pt x="759" y="141"/>
                  </a:lnTo>
                  <a:lnTo>
                    <a:pt x="763" y="141"/>
                  </a:lnTo>
                  <a:lnTo>
                    <a:pt x="766" y="137"/>
                  </a:lnTo>
                  <a:lnTo>
                    <a:pt x="772" y="131"/>
                  </a:lnTo>
                  <a:lnTo>
                    <a:pt x="776" y="118"/>
                  </a:lnTo>
                  <a:lnTo>
                    <a:pt x="782" y="103"/>
                  </a:lnTo>
                  <a:lnTo>
                    <a:pt x="785" y="91"/>
                  </a:lnTo>
                  <a:lnTo>
                    <a:pt x="786" y="86"/>
                  </a:lnTo>
                  <a:lnTo>
                    <a:pt x="792" y="81"/>
                  </a:lnTo>
                  <a:lnTo>
                    <a:pt x="798" y="77"/>
                  </a:lnTo>
                  <a:lnTo>
                    <a:pt x="811" y="77"/>
                  </a:lnTo>
                  <a:lnTo>
                    <a:pt x="818" y="70"/>
                  </a:lnTo>
                  <a:lnTo>
                    <a:pt x="826" y="58"/>
                  </a:lnTo>
                  <a:lnTo>
                    <a:pt x="846" y="39"/>
                  </a:lnTo>
                  <a:lnTo>
                    <a:pt x="859" y="38"/>
                  </a:lnTo>
                  <a:lnTo>
                    <a:pt x="871" y="39"/>
                  </a:lnTo>
                  <a:lnTo>
                    <a:pt x="881" y="35"/>
                  </a:lnTo>
                  <a:lnTo>
                    <a:pt x="880" y="27"/>
                  </a:lnTo>
                  <a:lnTo>
                    <a:pt x="871" y="11"/>
                  </a:lnTo>
                  <a:lnTo>
                    <a:pt x="871" y="0"/>
                  </a:lnTo>
                  <a:lnTo>
                    <a:pt x="877" y="1"/>
                  </a:lnTo>
                  <a:lnTo>
                    <a:pt x="885" y="14"/>
                  </a:lnTo>
                  <a:lnTo>
                    <a:pt x="901" y="20"/>
                  </a:lnTo>
                  <a:lnTo>
                    <a:pt x="903" y="3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18">
              <a:extLst>
                <a:ext uri="{FF2B5EF4-FFF2-40B4-BE49-F238E27FC236}">
                  <a16:creationId xmlns:a16="http://schemas.microsoft.com/office/drawing/2014/main" id="{7D681632-A3FE-456B-AFDD-910E38F154B9}"/>
                </a:ext>
              </a:extLst>
            </p:cNvPr>
            <p:cNvSpPr>
              <a:spLocks/>
            </p:cNvSpPr>
            <p:nvPr/>
          </p:nvSpPr>
          <p:spPr bwMode="gray">
            <a:xfrm>
              <a:off x="7561263" y="2244725"/>
              <a:ext cx="363538" cy="290513"/>
            </a:xfrm>
            <a:custGeom>
              <a:avLst/>
              <a:gdLst>
                <a:gd name="T0" fmla="*/ 141 w 229"/>
                <a:gd name="T1" fmla="*/ 19 h 183"/>
                <a:gd name="T2" fmla="*/ 141 w 229"/>
                <a:gd name="T3" fmla="*/ 29 h 183"/>
                <a:gd name="T4" fmla="*/ 178 w 229"/>
                <a:gd name="T5" fmla="*/ 64 h 183"/>
                <a:gd name="T6" fmla="*/ 194 w 229"/>
                <a:gd name="T7" fmla="*/ 76 h 183"/>
                <a:gd name="T8" fmla="*/ 198 w 229"/>
                <a:gd name="T9" fmla="*/ 99 h 183"/>
                <a:gd name="T10" fmla="*/ 226 w 229"/>
                <a:gd name="T11" fmla="*/ 118 h 183"/>
                <a:gd name="T12" fmla="*/ 226 w 229"/>
                <a:gd name="T13" fmla="*/ 127 h 183"/>
                <a:gd name="T14" fmla="*/ 224 w 229"/>
                <a:gd name="T15" fmla="*/ 135 h 183"/>
                <a:gd name="T16" fmla="*/ 215 w 229"/>
                <a:gd name="T17" fmla="*/ 145 h 183"/>
                <a:gd name="T18" fmla="*/ 213 w 229"/>
                <a:gd name="T19" fmla="*/ 160 h 183"/>
                <a:gd name="T20" fmla="*/ 211 w 229"/>
                <a:gd name="T21" fmla="*/ 167 h 183"/>
                <a:gd name="T22" fmla="*/ 201 w 229"/>
                <a:gd name="T23" fmla="*/ 172 h 183"/>
                <a:gd name="T24" fmla="*/ 192 w 229"/>
                <a:gd name="T25" fmla="*/ 183 h 183"/>
                <a:gd name="T26" fmla="*/ 191 w 229"/>
                <a:gd name="T27" fmla="*/ 172 h 183"/>
                <a:gd name="T28" fmla="*/ 182 w 229"/>
                <a:gd name="T29" fmla="*/ 160 h 183"/>
                <a:gd name="T30" fmla="*/ 151 w 229"/>
                <a:gd name="T31" fmla="*/ 147 h 183"/>
                <a:gd name="T32" fmla="*/ 144 w 229"/>
                <a:gd name="T33" fmla="*/ 150 h 183"/>
                <a:gd name="T34" fmla="*/ 135 w 229"/>
                <a:gd name="T35" fmla="*/ 151 h 183"/>
                <a:gd name="T36" fmla="*/ 131 w 229"/>
                <a:gd name="T37" fmla="*/ 143 h 183"/>
                <a:gd name="T38" fmla="*/ 118 w 229"/>
                <a:gd name="T39" fmla="*/ 143 h 183"/>
                <a:gd name="T40" fmla="*/ 115 w 229"/>
                <a:gd name="T41" fmla="*/ 147 h 183"/>
                <a:gd name="T42" fmla="*/ 116 w 229"/>
                <a:gd name="T43" fmla="*/ 156 h 183"/>
                <a:gd name="T44" fmla="*/ 99 w 229"/>
                <a:gd name="T45" fmla="*/ 157 h 183"/>
                <a:gd name="T46" fmla="*/ 89 w 229"/>
                <a:gd name="T47" fmla="*/ 147 h 183"/>
                <a:gd name="T48" fmla="*/ 76 w 229"/>
                <a:gd name="T49" fmla="*/ 150 h 183"/>
                <a:gd name="T50" fmla="*/ 70 w 229"/>
                <a:gd name="T51" fmla="*/ 141 h 183"/>
                <a:gd name="T52" fmla="*/ 57 w 229"/>
                <a:gd name="T53" fmla="*/ 147 h 183"/>
                <a:gd name="T54" fmla="*/ 46 w 229"/>
                <a:gd name="T55" fmla="*/ 141 h 183"/>
                <a:gd name="T56" fmla="*/ 26 w 229"/>
                <a:gd name="T57" fmla="*/ 148 h 183"/>
                <a:gd name="T58" fmla="*/ 22 w 229"/>
                <a:gd name="T59" fmla="*/ 151 h 183"/>
                <a:gd name="T60" fmla="*/ 1 w 229"/>
                <a:gd name="T61" fmla="*/ 143 h 183"/>
                <a:gd name="T62" fmla="*/ 0 w 229"/>
                <a:gd name="T63" fmla="*/ 141 h 183"/>
                <a:gd name="T64" fmla="*/ 4 w 229"/>
                <a:gd name="T65" fmla="*/ 135 h 183"/>
                <a:gd name="T66" fmla="*/ 4 w 229"/>
                <a:gd name="T67" fmla="*/ 131 h 183"/>
                <a:gd name="T68" fmla="*/ 9 w 229"/>
                <a:gd name="T69" fmla="*/ 127 h 183"/>
                <a:gd name="T70" fmla="*/ 6 w 229"/>
                <a:gd name="T71" fmla="*/ 116 h 183"/>
                <a:gd name="T72" fmla="*/ 9 w 229"/>
                <a:gd name="T73" fmla="*/ 106 h 183"/>
                <a:gd name="T74" fmla="*/ 22 w 229"/>
                <a:gd name="T75" fmla="*/ 93 h 183"/>
                <a:gd name="T76" fmla="*/ 17 w 229"/>
                <a:gd name="T77" fmla="*/ 64 h 183"/>
                <a:gd name="T78" fmla="*/ 17 w 229"/>
                <a:gd name="T79" fmla="*/ 45 h 183"/>
                <a:gd name="T80" fmla="*/ 20 w 229"/>
                <a:gd name="T81" fmla="*/ 38 h 183"/>
                <a:gd name="T82" fmla="*/ 39 w 229"/>
                <a:gd name="T83" fmla="*/ 44 h 183"/>
                <a:gd name="T84" fmla="*/ 42 w 229"/>
                <a:gd name="T85" fmla="*/ 41 h 183"/>
                <a:gd name="T86" fmla="*/ 41 w 229"/>
                <a:gd name="T87" fmla="*/ 33 h 183"/>
                <a:gd name="T88" fmla="*/ 45 w 229"/>
                <a:gd name="T89" fmla="*/ 20 h 183"/>
                <a:gd name="T90" fmla="*/ 64 w 229"/>
                <a:gd name="T91" fmla="*/ 12 h 183"/>
                <a:gd name="T92" fmla="*/ 68 w 229"/>
                <a:gd name="T93" fmla="*/ 4 h 183"/>
                <a:gd name="T94" fmla="*/ 73 w 229"/>
                <a:gd name="T95" fmla="*/ 6 h 183"/>
                <a:gd name="T96" fmla="*/ 73 w 229"/>
                <a:gd name="T97" fmla="*/ 16 h 183"/>
                <a:gd name="T98" fmla="*/ 81 w 229"/>
                <a:gd name="T99" fmla="*/ 22 h 183"/>
                <a:gd name="T100" fmla="*/ 100 w 229"/>
                <a:gd name="T101" fmla="*/ 20 h 183"/>
                <a:gd name="T102" fmla="*/ 118 w 229"/>
                <a:gd name="T103" fmla="*/ 13 h 183"/>
                <a:gd name="T104" fmla="*/ 121 w 229"/>
                <a:gd name="T105" fmla="*/ 9 h 183"/>
                <a:gd name="T106" fmla="*/ 134 w 229"/>
                <a:gd name="T107" fmla="*/ 1 h 183"/>
                <a:gd name="T108" fmla="*/ 141 w 229"/>
                <a:gd name="T109" fmla="*/ 1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9" h="183">
                  <a:moveTo>
                    <a:pt x="141" y="12"/>
                  </a:moveTo>
                  <a:lnTo>
                    <a:pt x="143" y="13"/>
                  </a:lnTo>
                  <a:lnTo>
                    <a:pt x="143" y="14"/>
                  </a:lnTo>
                  <a:lnTo>
                    <a:pt x="141" y="19"/>
                  </a:lnTo>
                  <a:lnTo>
                    <a:pt x="141" y="22"/>
                  </a:lnTo>
                  <a:lnTo>
                    <a:pt x="141" y="25"/>
                  </a:lnTo>
                  <a:lnTo>
                    <a:pt x="141" y="29"/>
                  </a:lnTo>
                  <a:lnTo>
                    <a:pt x="141" y="29"/>
                  </a:lnTo>
                  <a:lnTo>
                    <a:pt x="143" y="30"/>
                  </a:lnTo>
                  <a:lnTo>
                    <a:pt x="166" y="57"/>
                  </a:lnTo>
                  <a:lnTo>
                    <a:pt x="173" y="62"/>
                  </a:lnTo>
                  <a:lnTo>
                    <a:pt x="178" y="64"/>
                  </a:lnTo>
                  <a:lnTo>
                    <a:pt x="181" y="67"/>
                  </a:lnTo>
                  <a:lnTo>
                    <a:pt x="185" y="70"/>
                  </a:lnTo>
                  <a:lnTo>
                    <a:pt x="192" y="71"/>
                  </a:lnTo>
                  <a:lnTo>
                    <a:pt x="194" y="76"/>
                  </a:lnTo>
                  <a:lnTo>
                    <a:pt x="185" y="94"/>
                  </a:lnTo>
                  <a:lnTo>
                    <a:pt x="185" y="99"/>
                  </a:lnTo>
                  <a:lnTo>
                    <a:pt x="185" y="100"/>
                  </a:lnTo>
                  <a:lnTo>
                    <a:pt x="198" y="99"/>
                  </a:lnTo>
                  <a:lnTo>
                    <a:pt x="202" y="102"/>
                  </a:lnTo>
                  <a:lnTo>
                    <a:pt x="210" y="109"/>
                  </a:lnTo>
                  <a:lnTo>
                    <a:pt x="223" y="116"/>
                  </a:lnTo>
                  <a:lnTo>
                    <a:pt x="226" y="118"/>
                  </a:lnTo>
                  <a:lnTo>
                    <a:pt x="229" y="122"/>
                  </a:lnTo>
                  <a:lnTo>
                    <a:pt x="229" y="124"/>
                  </a:lnTo>
                  <a:lnTo>
                    <a:pt x="229" y="125"/>
                  </a:lnTo>
                  <a:lnTo>
                    <a:pt x="226" y="127"/>
                  </a:lnTo>
                  <a:lnTo>
                    <a:pt x="224" y="128"/>
                  </a:lnTo>
                  <a:lnTo>
                    <a:pt x="224" y="129"/>
                  </a:lnTo>
                  <a:lnTo>
                    <a:pt x="224" y="131"/>
                  </a:lnTo>
                  <a:lnTo>
                    <a:pt x="224" y="135"/>
                  </a:lnTo>
                  <a:lnTo>
                    <a:pt x="224" y="137"/>
                  </a:lnTo>
                  <a:lnTo>
                    <a:pt x="223" y="138"/>
                  </a:lnTo>
                  <a:lnTo>
                    <a:pt x="217" y="144"/>
                  </a:lnTo>
                  <a:lnTo>
                    <a:pt x="215" y="145"/>
                  </a:lnTo>
                  <a:lnTo>
                    <a:pt x="214" y="147"/>
                  </a:lnTo>
                  <a:lnTo>
                    <a:pt x="213" y="151"/>
                  </a:lnTo>
                  <a:lnTo>
                    <a:pt x="213" y="154"/>
                  </a:lnTo>
                  <a:lnTo>
                    <a:pt x="213" y="160"/>
                  </a:lnTo>
                  <a:lnTo>
                    <a:pt x="213" y="163"/>
                  </a:lnTo>
                  <a:lnTo>
                    <a:pt x="213" y="164"/>
                  </a:lnTo>
                  <a:lnTo>
                    <a:pt x="213" y="166"/>
                  </a:lnTo>
                  <a:lnTo>
                    <a:pt x="211" y="167"/>
                  </a:lnTo>
                  <a:lnTo>
                    <a:pt x="211" y="167"/>
                  </a:lnTo>
                  <a:lnTo>
                    <a:pt x="210" y="169"/>
                  </a:lnTo>
                  <a:lnTo>
                    <a:pt x="210" y="169"/>
                  </a:lnTo>
                  <a:lnTo>
                    <a:pt x="201" y="172"/>
                  </a:lnTo>
                  <a:lnTo>
                    <a:pt x="201" y="172"/>
                  </a:lnTo>
                  <a:lnTo>
                    <a:pt x="199" y="173"/>
                  </a:lnTo>
                  <a:lnTo>
                    <a:pt x="195" y="183"/>
                  </a:lnTo>
                  <a:lnTo>
                    <a:pt x="192" y="183"/>
                  </a:lnTo>
                  <a:lnTo>
                    <a:pt x="191" y="182"/>
                  </a:lnTo>
                  <a:lnTo>
                    <a:pt x="191" y="182"/>
                  </a:lnTo>
                  <a:lnTo>
                    <a:pt x="191" y="180"/>
                  </a:lnTo>
                  <a:lnTo>
                    <a:pt x="191" y="172"/>
                  </a:lnTo>
                  <a:lnTo>
                    <a:pt x="189" y="163"/>
                  </a:lnTo>
                  <a:lnTo>
                    <a:pt x="188" y="160"/>
                  </a:lnTo>
                  <a:lnTo>
                    <a:pt x="185" y="159"/>
                  </a:lnTo>
                  <a:lnTo>
                    <a:pt x="182" y="160"/>
                  </a:lnTo>
                  <a:lnTo>
                    <a:pt x="179" y="159"/>
                  </a:lnTo>
                  <a:lnTo>
                    <a:pt x="170" y="156"/>
                  </a:lnTo>
                  <a:lnTo>
                    <a:pt x="164" y="153"/>
                  </a:lnTo>
                  <a:lnTo>
                    <a:pt x="151" y="147"/>
                  </a:lnTo>
                  <a:lnTo>
                    <a:pt x="148" y="147"/>
                  </a:lnTo>
                  <a:lnTo>
                    <a:pt x="147" y="148"/>
                  </a:lnTo>
                  <a:lnTo>
                    <a:pt x="146" y="148"/>
                  </a:lnTo>
                  <a:lnTo>
                    <a:pt x="144" y="150"/>
                  </a:lnTo>
                  <a:lnTo>
                    <a:pt x="144" y="151"/>
                  </a:lnTo>
                  <a:lnTo>
                    <a:pt x="143" y="151"/>
                  </a:lnTo>
                  <a:lnTo>
                    <a:pt x="140" y="151"/>
                  </a:lnTo>
                  <a:lnTo>
                    <a:pt x="135" y="151"/>
                  </a:lnTo>
                  <a:lnTo>
                    <a:pt x="134" y="150"/>
                  </a:lnTo>
                  <a:lnTo>
                    <a:pt x="132" y="148"/>
                  </a:lnTo>
                  <a:lnTo>
                    <a:pt x="132" y="145"/>
                  </a:lnTo>
                  <a:lnTo>
                    <a:pt x="131" y="143"/>
                  </a:lnTo>
                  <a:lnTo>
                    <a:pt x="128" y="141"/>
                  </a:lnTo>
                  <a:lnTo>
                    <a:pt x="127" y="141"/>
                  </a:lnTo>
                  <a:lnTo>
                    <a:pt x="124" y="141"/>
                  </a:lnTo>
                  <a:lnTo>
                    <a:pt x="118" y="143"/>
                  </a:lnTo>
                  <a:lnTo>
                    <a:pt x="116" y="144"/>
                  </a:lnTo>
                  <a:lnTo>
                    <a:pt x="116" y="144"/>
                  </a:lnTo>
                  <a:lnTo>
                    <a:pt x="115" y="145"/>
                  </a:lnTo>
                  <a:lnTo>
                    <a:pt x="115" y="147"/>
                  </a:lnTo>
                  <a:lnTo>
                    <a:pt x="115" y="148"/>
                  </a:lnTo>
                  <a:lnTo>
                    <a:pt x="115" y="151"/>
                  </a:lnTo>
                  <a:lnTo>
                    <a:pt x="116" y="154"/>
                  </a:lnTo>
                  <a:lnTo>
                    <a:pt x="116" y="156"/>
                  </a:lnTo>
                  <a:lnTo>
                    <a:pt x="116" y="157"/>
                  </a:lnTo>
                  <a:lnTo>
                    <a:pt x="115" y="160"/>
                  </a:lnTo>
                  <a:lnTo>
                    <a:pt x="105" y="160"/>
                  </a:lnTo>
                  <a:lnTo>
                    <a:pt x="99" y="157"/>
                  </a:lnTo>
                  <a:lnTo>
                    <a:pt x="97" y="156"/>
                  </a:lnTo>
                  <a:lnTo>
                    <a:pt x="95" y="153"/>
                  </a:lnTo>
                  <a:lnTo>
                    <a:pt x="90" y="148"/>
                  </a:lnTo>
                  <a:lnTo>
                    <a:pt x="89" y="147"/>
                  </a:lnTo>
                  <a:lnTo>
                    <a:pt x="87" y="145"/>
                  </a:lnTo>
                  <a:lnTo>
                    <a:pt x="84" y="147"/>
                  </a:lnTo>
                  <a:lnTo>
                    <a:pt x="76" y="150"/>
                  </a:lnTo>
                  <a:lnTo>
                    <a:pt x="76" y="150"/>
                  </a:lnTo>
                  <a:lnTo>
                    <a:pt x="74" y="148"/>
                  </a:lnTo>
                  <a:lnTo>
                    <a:pt x="71" y="144"/>
                  </a:lnTo>
                  <a:lnTo>
                    <a:pt x="70" y="143"/>
                  </a:lnTo>
                  <a:lnTo>
                    <a:pt x="70" y="141"/>
                  </a:lnTo>
                  <a:lnTo>
                    <a:pt x="70" y="141"/>
                  </a:lnTo>
                  <a:lnTo>
                    <a:pt x="68" y="143"/>
                  </a:lnTo>
                  <a:lnTo>
                    <a:pt x="67" y="143"/>
                  </a:lnTo>
                  <a:lnTo>
                    <a:pt x="57" y="147"/>
                  </a:lnTo>
                  <a:lnTo>
                    <a:pt x="55" y="147"/>
                  </a:lnTo>
                  <a:lnTo>
                    <a:pt x="54" y="147"/>
                  </a:lnTo>
                  <a:lnTo>
                    <a:pt x="51" y="144"/>
                  </a:lnTo>
                  <a:lnTo>
                    <a:pt x="46" y="141"/>
                  </a:lnTo>
                  <a:lnTo>
                    <a:pt x="44" y="140"/>
                  </a:lnTo>
                  <a:lnTo>
                    <a:pt x="42" y="140"/>
                  </a:lnTo>
                  <a:lnTo>
                    <a:pt x="28" y="147"/>
                  </a:lnTo>
                  <a:lnTo>
                    <a:pt x="26" y="148"/>
                  </a:lnTo>
                  <a:lnTo>
                    <a:pt x="26" y="150"/>
                  </a:lnTo>
                  <a:lnTo>
                    <a:pt x="25" y="151"/>
                  </a:lnTo>
                  <a:lnTo>
                    <a:pt x="23" y="151"/>
                  </a:lnTo>
                  <a:lnTo>
                    <a:pt x="22" y="151"/>
                  </a:lnTo>
                  <a:lnTo>
                    <a:pt x="10" y="150"/>
                  </a:lnTo>
                  <a:lnTo>
                    <a:pt x="9" y="148"/>
                  </a:lnTo>
                  <a:lnTo>
                    <a:pt x="7" y="148"/>
                  </a:lnTo>
                  <a:lnTo>
                    <a:pt x="1" y="143"/>
                  </a:lnTo>
                  <a:lnTo>
                    <a:pt x="0" y="143"/>
                  </a:lnTo>
                  <a:lnTo>
                    <a:pt x="0" y="143"/>
                  </a:lnTo>
                  <a:lnTo>
                    <a:pt x="0" y="143"/>
                  </a:lnTo>
                  <a:lnTo>
                    <a:pt x="0" y="141"/>
                  </a:lnTo>
                  <a:lnTo>
                    <a:pt x="0" y="141"/>
                  </a:lnTo>
                  <a:lnTo>
                    <a:pt x="0" y="140"/>
                  </a:lnTo>
                  <a:lnTo>
                    <a:pt x="3" y="135"/>
                  </a:lnTo>
                  <a:lnTo>
                    <a:pt x="4" y="135"/>
                  </a:lnTo>
                  <a:lnTo>
                    <a:pt x="4" y="134"/>
                  </a:lnTo>
                  <a:lnTo>
                    <a:pt x="4" y="132"/>
                  </a:lnTo>
                  <a:lnTo>
                    <a:pt x="4" y="132"/>
                  </a:lnTo>
                  <a:lnTo>
                    <a:pt x="4" y="131"/>
                  </a:lnTo>
                  <a:lnTo>
                    <a:pt x="6" y="129"/>
                  </a:lnTo>
                  <a:lnTo>
                    <a:pt x="7" y="128"/>
                  </a:lnTo>
                  <a:lnTo>
                    <a:pt x="9" y="127"/>
                  </a:lnTo>
                  <a:lnTo>
                    <a:pt x="9" y="127"/>
                  </a:lnTo>
                  <a:lnTo>
                    <a:pt x="7" y="124"/>
                  </a:lnTo>
                  <a:lnTo>
                    <a:pt x="6" y="122"/>
                  </a:lnTo>
                  <a:lnTo>
                    <a:pt x="6" y="119"/>
                  </a:lnTo>
                  <a:lnTo>
                    <a:pt x="6" y="116"/>
                  </a:lnTo>
                  <a:lnTo>
                    <a:pt x="6" y="113"/>
                  </a:lnTo>
                  <a:lnTo>
                    <a:pt x="7" y="109"/>
                  </a:lnTo>
                  <a:lnTo>
                    <a:pt x="7" y="108"/>
                  </a:lnTo>
                  <a:lnTo>
                    <a:pt x="9" y="106"/>
                  </a:lnTo>
                  <a:lnTo>
                    <a:pt x="9" y="106"/>
                  </a:lnTo>
                  <a:lnTo>
                    <a:pt x="12" y="105"/>
                  </a:lnTo>
                  <a:lnTo>
                    <a:pt x="13" y="103"/>
                  </a:lnTo>
                  <a:lnTo>
                    <a:pt x="22" y="93"/>
                  </a:lnTo>
                  <a:lnTo>
                    <a:pt x="22" y="90"/>
                  </a:lnTo>
                  <a:lnTo>
                    <a:pt x="22" y="89"/>
                  </a:lnTo>
                  <a:lnTo>
                    <a:pt x="16" y="80"/>
                  </a:lnTo>
                  <a:lnTo>
                    <a:pt x="17" y="64"/>
                  </a:lnTo>
                  <a:lnTo>
                    <a:pt x="19" y="55"/>
                  </a:lnTo>
                  <a:lnTo>
                    <a:pt x="19" y="49"/>
                  </a:lnTo>
                  <a:lnTo>
                    <a:pt x="19" y="46"/>
                  </a:lnTo>
                  <a:lnTo>
                    <a:pt x="17" y="45"/>
                  </a:lnTo>
                  <a:lnTo>
                    <a:pt x="19" y="44"/>
                  </a:lnTo>
                  <a:lnTo>
                    <a:pt x="19" y="42"/>
                  </a:lnTo>
                  <a:lnTo>
                    <a:pt x="19" y="41"/>
                  </a:lnTo>
                  <a:lnTo>
                    <a:pt x="20" y="38"/>
                  </a:lnTo>
                  <a:lnTo>
                    <a:pt x="22" y="36"/>
                  </a:lnTo>
                  <a:lnTo>
                    <a:pt x="22" y="36"/>
                  </a:lnTo>
                  <a:lnTo>
                    <a:pt x="25" y="38"/>
                  </a:lnTo>
                  <a:lnTo>
                    <a:pt x="39" y="44"/>
                  </a:lnTo>
                  <a:lnTo>
                    <a:pt x="44" y="44"/>
                  </a:lnTo>
                  <a:lnTo>
                    <a:pt x="44" y="42"/>
                  </a:lnTo>
                  <a:lnTo>
                    <a:pt x="42" y="41"/>
                  </a:lnTo>
                  <a:lnTo>
                    <a:pt x="42" y="41"/>
                  </a:lnTo>
                  <a:lnTo>
                    <a:pt x="41" y="38"/>
                  </a:lnTo>
                  <a:lnTo>
                    <a:pt x="41" y="38"/>
                  </a:lnTo>
                  <a:lnTo>
                    <a:pt x="41" y="36"/>
                  </a:lnTo>
                  <a:lnTo>
                    <a:pt x="41" y="33"/>
                  </a:lnTo>
                  <a:lnTo>
                    <a:pt x="41" y="32"/>
                  </a:lnTo>
                  <a:lnTo>
                    <a:pt x="41" y="30"/>
                  </a:lnTo>
                  <a:lnTo>
                    <a:pt x="45" y="22"/>
                  </a:lnTo>
                  <a:lnTo>
                    <a:pt x="45" y="20"/>
                  </a:lnTo>
                  <a:lnTo>
                    <a:pt x="55" y="19"/>
                  </a:lnTo>
                  <a:lnTo>
                    <a:pt x="58" y="17"/>
                  </a:lnTo>
                  <a:lnTo>
                    <a:pt x="63" y="14"/>
                  </a:lnTo>
                  <a:lnTo>
                    <a:pt x="64" y="12"/>
                  </a:lnTo>
                  <a:lnTo>
                    <a:pt x="65" y="9"/>
                  </a:lnTo>
                  <a:lnTo>
                    <a:pt x="65" y="6"/>
                  </a:lnTo>
                  <a:lnTo>
                    <a:pt x="67" y="4"/>
                  </a:lnTo>
                  <a:lnTo>
                    <a:pt x="68" y="4"/>
                  </a:lnTo>
                  <a:lnTo>
                    <a:pt x="73" y="4"/>
                  </a:lnTo>
                  <a:lnTo>
                    <a:pt x="73" y="4"/>
                  </a:lnTo>
                  <a:lnTo>
                    <a:pt x="73" y="4"/>
                  </a:lnTo>
                  <a:lnTo>
                    <a:pt x="73" y="6"/>
                  </a:lnTo>
                  <a:lnTo>
                    <a:pt x="71" y="7"/>
                  </a:lnTo>
                  <a:lnTo>
                    <a:pt x="73" y="9"/>
                  </a:lnTo>
                  <a:lnTo>
                    <a:pt x="73" y="10"/>
                  </a:lnTo>
                  <a:lnTo>
                    <a:pt x="73" y="16"/>
                  </a:lnTo>
                  <a:lnTo>
                    <a:pt x="74" y="17"/>
                  </a:lnTo>
                  <a:lnTo>
                    <a:pt x="74" y="19"/>
                  </a:lnTo>
                  <a:lnTo>
                    <a:pt x="76" y="19"/>
                  </a:lnTo>
                  <a:lnTo>
                    <a:pt x="81" y="22"/>
                  </a:lnTo>
                  <a:lnTo>
                    <a:pt x="95" y="23"/>
                  </a:lnTo>
                  <a:lnTo>
                    <a:pt x="97" y="22"/>
                  </a:lnTo>
                  <a:lnTo>
                    <a:pt x="99" y="22"/>
                  </a:lnTo>
                  <a:lnTo>
                    <a:pt x="100" y="20"/>
                  </a:lnTo>
                  <a:lnTo>
                    <a:pt x="100" y="19"/>
                  </a:lnTo>
                  <a:lnTo>
                    <a:pt x="103" y="14"/>
                  </a:lnTo>
                  <a:lnTo>
                    <a:pt x="111" y="9"/>
                  </a:lnTo>
                  <a:lnTo>
                    <a:pt x="118" y="13"/>
                  </a:lnTo>
                  <a:lnTo>
                    <a:pt x="118" y="13"/>
                  </a:lnTo>
                  <a:lnTo>
                    <a:pt x="119" y="13"/>
                  </a:lnTo>
                  <a:lnTo>
                    <a:pt x="121" y="12"/>
                  </a:lnTo>
                  <a:lnTo>
                    <a:pt x="121" y="9"/>
                  </a:lnTo>
                  <a:lnTo>
                    <a:pt x="122" y="7"/>
                  </a:lnTo>
                  <a:lnTo>
                    <a:pt x="131" y="0"/>
                  </a:lnTo>
                  <a:lnTo>
                    <a:pt x="132" y="0"/>
                  </a:lnTo>
                  <a:lnTo>
                    <a:pt x="134" y="1"/>
                  </a:lnTo>
                  <a:lnTo>
                    <a:pt x="134" y="3"/>
                  </a:lnTo>
                  <a:lnTo>
                    <a:pt x="135" y="6"/>
                  </a:lnTo>
                  <a:lnTo>
                    <a:pt x="141" y="10"/>
                  </a:lnTo>
                  <a:lnTo>
                    <a:pt x="14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19">
              <a:extLst>
                <a:ext uri="{FF2B5EF4-FFF2-40B4-BE49-F238E27FC236}">
                  <a16:creationId xmlns:a16="http://schemas.microsoft.com/office/drawing/2014/main" id="{57F19D01-4C48-4662-98A5-1A7A47258F21}"/>
                </a:ext>
              </a:extLst>
            </p:cNvPr>
            <p:cNvSpPr>
              <a:spLocks/>
            </p:cNvSpPr>
            <p:nvPr/>
          </p:nvSpPr>
          <p:spPr bwMode="gray">
            <a:xfrm>
              <a:off x="5289551" y="4105275"/>
              <a:ext cx="2671763" cy="2754313"/>
            </a:xfrm>
            <a:custGeom>
              <a:avLst/>
              <a:gdLst>
                <a:gd name="T0" fmla="*/ 484 w 1683"/>
                <a:gd name="T1" fmla="*/ 67 h 1735"/>
                <a:gd name="T2" fmla="*/ 539 w 1683"/>
                <a:gd name="T3" fmla="*/ 115 h 1735"/>
                <a:gd name="T4" fmla="*/ 599 w 1683"/>
                <a:gd name="T5" fmla="*/ 189 h 1735"/>
                <a:gd name="T6" fmla="*/ 647 w 1683"/>
                <a:gd name="T7" fmla="*/ 159 h 1735"/>
                <a:gd name="T8" fmla="*/ 617 w 1683"/>
                <a:gd name="T9" fmla="*/ 112 h 1735"/>
                <a:gd name="T10" fmla="*/ 666 w 1683"/>
                <a:gd name="T11" fmla="*/ 97 h 1735"/>
                <a:gd name="T12" fmla="*/ 742 w 1683"/>
                <a:gd name="T13" fmla="*/ 108 h 1735"/>
                <a:gd name="T14" fmla="*/ 793 w 1683"/>
                <a:gd name="T15" fmla="*/ 150 h 1735"/>
                <a:gd name="T16" fmla="*/ 796 w 1683"/>
                <a:gd name="T17" fmla="*/ 92 h 1735"/>
                <a:gd name="T18" fmla="*/ 823 w 1683"/>
                <a:gd name="T19" fmla="*/ 25 h 1735"/>
                <a:gd name="T20" fmla="*/ 883 w 1683"/>
                <a:gd name="T21" fmla="*/ 99 h 1735"/>
                <a:gd name="T22" fmla="*/ 989 w 1683"/>
                <a:gd name="T23" fmla="*/ 89 h 1735"/>
                <a:gd name="T24" fmla="*/ 1067 w 1683"/>
                <a:gd name="T25" fmla="*/ 128 h 1735"/>
                <a:gd name="T26" fmla="*/ 1132 w 1683"/>
                <a:gd name="T27" fmla="*/ 262 h 1735"/>
                <a:gd name="T28" fmla="*/ 1185 w 1683"/>
                <a:gd name="T29" fmla="*/ 443 h 1735"/>
                <a:gd name="T30" fmla="*/ 1265 w 1683"/>
                <a:gd name="T31" fmla="*/ 566 h 1735"/>
                <a:gd name="T32" fmla="*/ 1418 w 1683"/>
                <a:gd name="T33" fmla="*/ 712 h 1735"/>
                <a:gd name="T34" fmla="*/ 1645 w 1683"/>
                <a:gd name="T35" fmla="*/ 906 h 1735"/>
                <a:gd name="T36" fmla="*/ 1616 w 1683"/>
                <a:gd name="T37" fmla="*/ 1067 h 1735"/>
                <a:gd name="T38" fmla="*/ 1376 w 1683"/>
                <a:gd name="T39" fmla="*/ 1252 h 1735"/>
                <a:gd name="T40" fmla="*/ 1373 w 1683"/>
                <a:gd name="T41" fmla="*/ 1476 h 1735"/>
                <a:gd name="T42" fmla="*/ 1409 w 1683"/>
                <a:gd name="T43" fmla="*/ 1596 h 1735"/>
                <a:gd name="T44" fmla="*/ 1316 w 1683"/>
                <a:gd name="T45" fmla="*/ 1533 h 1735"/>
                <a:gd name="T46" fmla="*/ 1134 w 1683"/>
                <a:gd name="T47" fmla="*/ 1500 h 1735"/>
                <a:gd name="T48" fmla="*/ 895 w 1683"/>
                <a:gd name="T49" fmla="*/ 1612 h 1735"/>
                <a:gd name="T50" fmla="*/ 691 w 1683"/>
                <a:gd name="T51" fmla="*/ 1655 h 1735"/>
                <a:gd name="T52" fmla="*/ 516 w 1683"/>
                <a:gd name="T53" fmla="*/ 1583 h 1735"/>
                <a:gd name="T54" fmla="*/ 410 w 1683"/>
                <a:gd name="T55" fmla="*/ 1734 h 1735"/>
                <a:gd name="T56" fmla="*/ 360 w 1683"/>
                <a:gd name="T57" fmla="*/ 1626 h 1735"/>
                <a:gd name="T58" fmla="*/ 222 w 1683"/>
                <a:gd name="T59" fmla="*/ 1607 h 1735"/>
                <a:gd name="T60" fmla="*/ 376 w 1683"/>
                <a:gd name="T61" fmla="*/ 1527 h 1735"/>
                <a:gd name="T62" fmla="*/ 391 w 1683"/>
                <a:gd name="T63" fmla="*/ 1479 h 1735"/>
                <a:gd name="T64" fmla="*/ 386 w 1683"/>
                <a:gd name="T65" fmla="*/ 1433 h 1735"/>
                <a:gd name="T66" fmla="*/ 404 w 1683"/>
                <a:gd name="T67" fmla="*/ 1306 h 1735"/>
                <a:gd name="T68" fmla="*/ 398 w 1683"/>
                <a:gd name="T69" fmla="*/ 1108 h 1735"/>
                <a:gd name="T70" fmla="*/ 465 w 1683"/>
                <a:gd name="T71" fmla="*/ 1082 h 1735"/>
                <a:gd name="T72" fmla="*/ 456 w 1683"/>
                <a:gd name="T73" fmla="*/ 1025 h 1735"/>
                <a:gd name="T74" fmla="*/ 503 w 1683"/>
                <a:gd name="T75" fmla="*/ 996 h 1735"/>
                <a:gd name="T76" fmla="*/ 507 w 1683"/>
                <a:gd name="T77" fmla="*/ 971 h 1735"/>
                <a:gd name="T78" fmla="*/ 513 w 1683"/>
                <a:gd name="T79" fmla="*/ 914 h 1735"/>
                <a:gd name="T80" fmla="*/ 485 w 1683"/>
                <a:gd name="T81" fmla="*/ 836 h 1735"/>
                <a:gd name="T82" fmla="*/ 446 w 1683"/>
                <a:gd name="T83" fmla="*/ 791 h 1735"/>
                <a:gd name="T84" fmla="*/ 439 w 1683"/>
                <a:gd name="T85" fmla="*/ 754 h 1735"/>
                <a:gd name="T86" fmla="*/ 401 w 1683"/>
                <a:gd name="T87" fmla="*/ 700 h 1735"/>
                <a:gd name="T88" fmla="*/ 398 w 1683"/>
                <a:gd name="T89" fmla="*/ 652 h 1735"/>
                <a:gd name="T90" fmla="*/ 397 w 1683"/>
                <a:gd name="T91" fmla="*/ 565 h 1735"/>
                <a:gd name="T92" fmla="*/ 363 w 1683"/>
                <a:gd name="T93" fmla="*/ 584 h 1735"/>
                <a:gd name="T94" fmla="*/ 321 w 1683"/>
                <a:gd name="T95" fmla="*/ 533 h 1735"/>
                <a:gd name="T96" fmla="*/ 315 w 1683"/>
                <a:gd name="T97" fmla="*/ 517 h 1735"/>
                <a:gd name="T98" fmla="*/ 260 w 1683"/>
                <a:gd name="T99" fmla="*/ 472 h 1735"/>
                <a:gd name="T100" fmla="*/ 230 w 1683"/>
                <a:gd name="T101" fmla="*/ 459 h 1735"/>
                <a:gd name="T102" fmla="*/ 228 w 1683"/>
                <a:gd name="T103" fmla="*/ 425 h 1735"/>
                <a:gd name="T104" fmla="*/ 137 w 1683"/>
                <a:gd name="T105" fmla="*/ 459 h 1735"/>
                <a:gd name="T106" fmla="*/ 146 w 1683"/>
                <a:gd name="T107" fmla="*/ 498 h 1735"/>
                <a:gd name="T108" fmla="*/ 35 w 1683"/>
                <a:gd name="T109" fmla="*/ 518 h 1735"/>
                <a:gd name="T110" fmla="*/ 60 w 1683"/>
                <a:gd name="T111" fmla="*/ 445 h 1735"/>
                <a:gd name="T112" fmla="*/ 40 w 1683"/>
                <a:gd name="T113" fmla="*/ 389 h 1735"/>
                <a:gd name="T114" fmla="*/ 12 w 1683"/>
                <a:gd name="T115" fmla="*/ 278 h 1735"/>
                <a:gd name="T116" fmla="*/ 61 w 1683"/>
                <a:gd name="T117" fmla="*/ 245 h 1735"/>
                <a:gd name="T118" fmla="*/ 143 w 1683"/>
                <a:gd name="T119" fmla="*/ 242 h 1735"/>
                <a:gd name="T120" fmla="*/ 185 w 1683"/>
                <a:gd name="T121" fmla="*/ 194 h 1735"/>
                <a:gd name="T122" fmla="*/ 238 w 1683"/>
                <a:gd name="T123" fmla="*/ 175 h 1735"/>
                <a:gd name="T124" fmla="*/ 303 w 1683"/>
                <a:gd name="T125" fmla="*/ 90 h 1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83" h="1735">
                  <a:moveTo>
                    <a:pt x="402" y="9"/>
                  </a:moveTo>
                  <a:lnTo>
                    <a:pt x="404" y="9"/>
                  </a:lnTo>
                  <a:lnTo>
                    <a:pt x="421" y="7"/>
                  </a:lnTo>
                  <a:lnTo>
                    <a:pt x="424" y="9"/>
                  </a:lnTo>
                  <a:lnTo>
                    <a:pt x="427" y="9"/>
                  </a:lnTo>
                  <a:lnTo>
                    <a:pt x="427" y="10"/>
                  </a:lnTo>
                  <a:lnTo>
                    <a:pt x="429" y="12"/>
                  </a:lnTo>
                  <a:lnTo>
                    <a:pt x="430" y="13"/>
                  </a:lnTo>
                  <a:lnTo>
                    <a:pt x="432" y="14"/>
                  </a:lnTo>
                  <a:lnTo>
                    <a:pt x="433" y="16"/>
                  </a:lnTo>
                  <a:lnTo>
                    <a:pt x="433" y="19"/>
                  </a:lnTo>
                  <a:lnTo>
                    <a:pt x="434" y="23"/>
                  </a:lnTo>
                  <a:lnTo>
                    <a:pt x="436" y="26"/>
                  </a:lnTo>
                  <a:lnTo>
                    <a:pt x="436" y="28"/>
                  </a:lnTo>
                  <a:lnTo>
                    <a:pt x="439" y="29"/>
                  </a:lnTo>
                  <a:lnTo>
                    <a:pt x="466" y="39"/>
                  </a:lnTo>
                  <a:lnTo>
                    <a:pt x="469" y="41"/>
                  </a:lnTo>
                  <a:lnTo>
                    <a:pt x="472" y="42"/>
                  </a:lnTo>
                  <a:lnTo>
                    <a:pt x="472" y="44"/>
                  </a:lnTo>
                  <a:lnTo>
                    <a:pt x="474" y="47"/>
                  </a:lnTo>
                  <a:lnTo>
                    <a:pt x="474" y="48"/>
                  </a:lnTo>
                  <a:lnTo>
                    <a:pt x="474" y="49"/>
                  </a:lnTo>
                  <a:lnTo>
                    <a:pt x="474" y="52"/>
                  </a:lnTo>
                  <a:lnTo>
                    <a:pt x="474" y="54"/>
                  </a:lnTo>
                  <a:lnTo>
                    <a:pt x="474" y="55"/>
                  </a:lnTo>
                  <a:lnTo>
                    <a:pt x="475" y="57"/>
                  </a:lnTo>
                  <a:lnTo>
                    <a:pt x="480" y="61"/>
                  </a:lnTo>
                  <a:lnTo>
                    <a:pt x="481" y="63"/>
                  </a:lnTo>
                  <a:lnTo>
                    <a:pt x="482" y="65"/>
                  </a:lnTo>
                  <a:lnTo>
                    <a:pt x="484" y="67"/>
                  </a:lnTo>
                  <a:lnTo>
                    <a:pt x="485" y="68"/>
                  </a:lnTo>
                  <a:lnTo>
                    <a:pt x="496" y="76"/>
                  </a:lnTo>
                  <a:lnTo>
                    <a:pt x="496" y="79"/>
                  </a:lnTo>
                  <a:lnTo>
                    <a:pt x="496" y="80"/>
                  </a:lnTo>
                  <a:lnTo>
                    <a:pt x="494" y="80"/>
                  </a:lnTo>
                  <a:lnTo>
                    <a:pt x="493" y="83"/>
                  </a:lnTo>
                  <a:lnTo>
                    <a:pt x="493" y="84"/>
                  </a:lnTo>
                  <a:lnTo>
                    <a:pt x="493" y="86"/>
                  </a:lnTo>
                  <a:lnTo>
                    <a:pt x="494" y="89"/>
                  </a:lnTo>
                  <a:lnTo>
                    <a:pt x="496" y="90"/>
                  </a:lnTo>
                  <a:lnTo>
                    <a:pt x="497" y="92"/>
                  </a:lnTo>
                  <a:lnTo>
                    <a:pt x="504" y="92"/>
                  </a:lnTo>
                  <a:lnTo>
                    <a:pt x="507" y="92"/>
                  </a:lnTo>
                  <a:lnTo>
                    <a:pt x="510" y="90"/>
                  </a:lnTo>
                  <a:lnTo>
                    <a:pt x="512" y="89"/>
                  </a:lnTo>
                  <a:lnTo>
                    <a:pt x="513" y="90"/>
                  </a:lnTo>
                  <a:lnTo>
                    <a:pt x="513" y="92"/>
                  </a:lnTo>
                  <a:lnTo>
                    <a:pt x="515" y="93"/>
                  </a:lnTo>
                  <a:lnTo>
                    <a:pt x="515" y="96"/>
                  </a:lnTo>
                  <a:lnTo>
                    <a:pt x="516" y="97"/>
                  </a:lnTo>
                  <a:lnTo>
                    <a:pt x="517" y="99"/>
                  </a:lnTo>
                  <a:lnTo>
                    <a:pt x="528" y="108"/>
                  </a:lnTo>
                  <a:lnTo>
                    <a:pt x="528" y="109"/>
                  </a:lnTo>
                  <a:lnTo>
                    <a:pt x="529" y="111"/>
                  </a:lnTo>
                  <a:lnTo>
                    <a:pt x="528" y="112"/>
                  </a:lnTo>
                  <a:lnTo>
                    <a:pt x="529" y="113"/>
                  </a:lnTo>
                  <a:lnTo>
                    <a:pt x="529" y="113"/>
                  </a:lnTo>
                  <a:lnTo>
                    <a:pt x="535" y="115"/>
                  </a:lnTo>
                  <a:lnTo>
                    <a:pt x="538" y="115"/>
                  </a:lnTo>
                  <a:lnTo>
                    <a:pt x="539" y="115"/>
                  </a:lnTo>
                  <a:lnTo>
                    <a:pt x="539" y="113"/>
                  </a:lnTo>
                  <a:lnTo>
                    <a:pt x="542" y="112"/>
                  </a:lnTo>
                  <a:lnTo>
                    <a:pt x="548" y="111"/>
                  </a:lnTo>
                  <a:lnTo>
                    <a:pt x="552" y="121"/>
                  </a:lnTo>
                  <a:lnTo>
                    <a:pt x="555" y="125"/>
                  </a:lnTo>
                  <a:lnTo>
                    <a:pt x="561" y="128"/>
                  </a:lnTo>
                  <a:lnTo>
                    <a:pt x="561" y="130"/>
                  </a:lnTo>
                  <a:lnTo>
                    <a:pt x="563" y="131"/>
                  </a:lnTo>
                  <a:lnTo>
                    <a:pt x="563" y="134"/>
                  </a:lnTo>
                  <a:lnTo>
                    <a:pt x="563" y="137"/>
                  </a:lnTo>
                  <a:lnTo>
                    <a:pt x="564" y="144"/>
                  </a:lnTo>
                  <a:lnTo>
                    <a:pt x="564" y="147"/>
                  </a:lnTo>
                  <a:lnTo>
                    <a:pt x="564" y="150"/>
                  </a:lnTo>
                  <a:lnTo>
                    <a:pt x="564" y="151"/>
                  </a:lnTo>
                  <a:lnTo>
                    <a:pt x="564" y="154"/>
                  </a:lnTo>
                  <a:lnTo>
                    <a:pt x="563" y="156"/>
                  </a:lnTo>
                  <a:lnTo>
                    <a:pt x="563" y="159"/>
                  </a:lnTo>
                  <a:lnTo>
                    <a:pt x="563" y="160"/>
                  </a:lnTo>
                  <a:lnTo>
                    <a:pt x="564" y="164"/>
                  </a:lnTo>
                  <a:lnTo>
                    <a:pt x="567" y="170"/>
                  </a:lnTo>
                  <a:lnTo>
                    <a:pt x="567" y="172"/>
                  </a:lnTo>
                  <a:lnTo>
                    <a:pt x="567" y="173"/>
                  </a:lnTo>
                  <a:lnTo>
                    <a:pt x="566" y="175"/>
                  </a:lnTo>
                  <a:lnTo>
                    <a:pt x="566" y="176"/>
                  </a:lnTo>
                  <a:lnTo>
                    <a:pt x="566" y="178"/>
                  </a:lnTo>
                  <a:lnTo>
                    <a:pt x="568" y="180"/>
                  </a:lnTo>
                  <a:lnTo>
                    <a:pt x="570" y="183"/>
                  </a:lnTo>
                  <a:lnTo>
                    <a:pt x="586" y="183"/>
                  </a:lnTo>
                  <a:lnTo>
                    <a:pt x="595" y="186"/>
                  </a:lnTo>
                  <a:lnTo>
                    <a:pt x="599" y="189"/>
                  </a:lnTo>
                  <a:lnTo>
                    <a:pt x="603" y="192"/>
                  </a:lnTo>
                  <a:lnTo>
                    <a:pt x="606" y="194"/>
                  </a:lnTo>
                  <a:lnTo>
                    <a:pt x="608" y="194"/>
                  </a:lnTo>
                  <a:lnTo>
                    <a:pt x="609" y="192"/>
                  </a:lnTo>
                  <a:lnTo>
                    <a:pt x="609" y="191"/>
                  </a:lnTo>
                  <a:lnTo>
                    <a:pt x="609" y="186"/>
                  </a:lnTo>
                  <a:lnTo>
                    <a:pt x="611" y="175"/>
                  </a:lnTo>
                  <a:lnTo>
                    <a:pt x="612" y="172"/>
                  </a:lnTo>
                  <a:lnTo>
                    <a:pt x="614" y="172"/>
                  </a:lnTo>
                  <a:lnTo>
                    <a:pt x="615" y="172"/>
                  </a:lnTo>
                  <a:lnTo>
                    <a:pt x="617" y="172"/>
                  </a:lnTo>
                  <a:lnTo>
                    <a:pt x="618" y="173"/>
                  </a:lnTo>
                  <a:lnTo>
                    <a:pt x="619" y="173"/>
                  </a:lnTo>
                  <a:lnTo>
                    <a:pt x="622" y="173"/>
                  </a:lnTo>
                  <a:lnTo>
                    <a:pt x="634" y="172"/>
                  </a:lnTo>
                  <a:lnTo>
                    <a:pt x="635" y="172"/>
                  </a:lnTo>
                  <a:lnTo>
                    <a:pt x="640" y="175"/>
                  </a:lnTo>
                  <a:lnTo>
                    <a:pt x="644" y="175"/>
                  </a:lnTo>
                  <a:lnTo>
                    <a:pt x="647" y="175"/>
                  </a:lnTo>
                  <a:lnTo>
                    <a:pt x="649" y="175"/>
                  </a:lnTo>
                  <a:lnTo>
                    <a:pt x="649" y="173"/>
                  </a:lnTo>
                  <a:lnTo>
                    <a:pt x="650" y="172"/>
                  </a:lnTo>
                  <a:lnTo>
                    <a:pt x="650" y="170"/>
                  </a:lnTo>
                  <a:lnTo>
                    <a:pt x="650" y="167"/>
                  </a:lnTo>
                  <a:lnTo>
                    <a:pt x="650" y="166"/>
                  </a:lnTo>
                  <a:lnTo>
                    <a:pt x="650" y="164"/>
                  </a:lnTo>
                  <a:lnTo>
                    <a:pt x="650" y="162"/>
                  </a:lnTo>
                  <a:lnTo>
                    <a:pt x="649" y="160"/>
                  </a:lnTo>
                  <a:lnTo>
                    <a:pt x="649" y="159"/>
                  </a:lnTo>
                  <a:lnTo>
                    <a:pt x="647" y="159"/>
                  </a:lnTo>
                  <a:lnTo>
                    <a:pt x="641" y="157"/>
                  </a:lnTo>
                  <a:lnTo>
                    <a:pt x="640" y="156"/>
                  </a:lnTo>
                  <a:lnTo>
                    <a:pt x="638" y="156"/>
                  </a:lnTo>
                  <a:lnTo>
                    <a:pt x="637" y="154"/>
                  </a:lnTo>
                  <a:lnTo>
                    <a:pt x="637" y="153"/>
                  </a:lnTo>
                  <a:lnTo>
                    <a:pt x="637" y="153"/>
                  </a:lnTo>
                  <a:lnTo>
                    <a:pt x="635" y="150"/>
                  </a:lnTo>
                  <a:lnTo>
                    <a:pt x="635" y="148"/>
                  </a:lnTo>
                  <a:lnTo>
                    <a:pt x="634" y="147"/>
                  </a:lnTo>
                  <a:lnTo>
                    <a:pt x="633" y="147"/>
                  </a:lnTo>
                  <a:lnTo>
                    <a:pt x="627" y="148"/>
                  </a:lnTo>
                  <a:lnTo>
                    <a:pt x="625" y="147"/>
                  </a:lnTo>
                  <a:lnTo>
                    <a:pt x="624" y="147"/>
                  </a:lnTo>
                  <a:lnTo>
                    <a:pt x="622" y="146"/>
                  </a:lnTo>
                  <a:lnTo>
                    <a:pt x="621" y="146"/>
                  </a:lnTo>
                  <a:lnTo>
                    <a:pt x="617" y="141"/>
                  </a:lnTo>
                  <a:lnTo>
                    <a:pt x="617" y="140"/>
                  </a:lnTo>
                  <a:lnTo>
                    <a:pt x="612" y="137"/>
                  </a:lnTo>
                  <a:lnTo>
                    <a:pt x="609" y="135"/>
                  </a:lnTo>
                  <a:lnTo>
                    <a:pt x="608" y="134"/>
                  </a:lnTo>
                  <a:lnTo>
                    <a:pt x="606" y="134"/>
                  </a:lnTo>
                  <a:lnTo>
                    <a:pt x="605" y="131"/>
                  </a:lnTo>
                  <a:lnTo>
                    <a:pt x="605" y="128"/>
                  </a:lnTo>
                  <a:lnTo>
                    <a:pt x="605" y="115"/>
                  </a:lnTo>
                  <a:lnTo>
                    <a:pt x="606" y="112"/>
                  </a:lnTo>
                  <a:lnTo>
                    <a:pt x="608" y="111"/>
                  </a:lnTo>
                  <a:lnTo>
                    <a:pt x="609" y="111"/>
                  </a:lnTo>
                  <a:lnTo>
                    <a:pt x="612" y="111"/>
                  </a:lnTo>
                  <a:lnTo>
                    <a:pt x="617" y="112"/>
                  </a:lnTo>
                  <a:lnTo>
                    <a:pt x="617" y="112"/>
                  </a:lnTo>
                  <a:lnTo>
                    <a:pt x="618" y="112"/>
                  </a:lnTo>
                  <a:lnTo>
                    <a:pt x="619" y="112"/>
                  </a:lnTo>
                  <a:lnTo>
                    <a:pt x="621" y="111"/>
                  </a:lnTo>
                  <a:lnTo>
                    <a:pt x="621" y="109"/>
                  </a:lnTo>
                  <a:lnTo>
                    <a:pt x="622" y="108"/>
                  </a:lnTo>
                  <a:lnTo>
                    <a:pt x="627" y="99"/>
                  </a:lnTo>
                  <a:lnTo>
                    <a:pt x="628" y="97"/>
                  </a:lnTo>
                  <a:lnTo>
                    <a:pt x="630" y="96"/>
                  </a:lnTo>
                  <a:lnTo>
                    <a:pt x="631" y="96"/>
                  </a:lnTo>
                  <a:lnTo>
                    <a:pt x="633" y="96"/>
                  </a:lnTo>
                  <a:lnTo>
                    <a:pt x="635" y="97"/>
                  </a:lnTo>
                  <a:lnTo>
                    <a:pt x="637" y="99"/>
                  </a:lnTo>
                  <a:lnTo>
                    <a:pt x="637" y="99"/>
                  </a:lnTo>
                  <a:lnTo>
                    <a:pt x="640" y="97"/>
                  </a:lnTo>
                  <a:lnTo>
                    <a:pt x="641" y="97"/>
                  </a:lnTo>
                  <a:lnTo>
                    <a:pt x="646" y="95"/>
                  </a:lnTo>
                  <a:lnTo>
                    <a:pt x="647" y="93"/>
                  </a:lnTo>
                  <a:lnTo>
                    <a:pt x="649" y="93"/>
                  </a:lnTo>
                  <a:lnTo>
                    <a:pt x="654" y="95"/>
                  </a:lnTo>
                  <a:lnTo>
                    <a:pt x="657" y="93"/>
                  </a:lnTo>
                  <a:lnTo>
                    <a:pt x="659" y="92"/>
                  </a:lnTo>
                  <a:lnTo>
                    <a:pt x="660" y="92"/>
                  </a:lnTo>
                  <a:lnTo>
                    <a:pt x="662" y="92"/>
                  </a:lnTo>
                  <a:lnTo>
                    <a:pt x="662" y="92"/>
                  </a:lnTo>
                  <a:lnTo>
                    <a:pt x="663" y="93"/>
                  </a:lnTo>
                  <a:lnTo>
                    <a:pt x="663" y="95"/>
                  </a:lnTo>
                  <a:lnTo>
                    <a:pt x="665" y="95"/>
                  </a:lnTo>
                  <a:lnTo>
                    <a:pt x="665" y="96"/>
                  </a:lnTo>
                  <a:lnTo>
                    <a:pt x="666" y="97"/>
                  </a:lnTo>
                  <a:lnTo>
                    <a:pt x="666" y="97"/>
                  </a:lnTo>
                  <a:lnTo>
                    <a:pt x="668" y="99"/>
                  </a:lnTo>
                  <a:lnTo>
                    <a:pt x="669" y="99"/>
                  </a:lnTo>
                  <a:lnTo>
                    <a:pt x="669" y="99"/>
                  </a:lnTo>
                  <a:lnTo>
                    <a:pt x="679" y="96"/>
                  </a:lnTo>
                  <a:lnTo>
                    <a:pt x="681" y="95"/>
                  </a:lnTo>
                  <a:lnTo>
                    <a:pt x="684" y="96"/>
                  </a:lnTo>
                  <a:lnTo>
                    <a:pt x="695" y="113"/>
                  </a:lnTo>
                  <a:lnTo>
                    <a:pt x="697" y="115"/>
                  </a:lnTo>
                  <a:lnTo>
                    <a:pt x="700" y="116"/>
                  </a:lnTo>
                  <a:lnTo>
                    <a:pt x="700" y="115"/>
                  </a:lnTo>
                  <a:lnTo>
                    <a:pt x="701" y="113"/>
                  </a:lnTo>
                  <a:lnTo>
                    <a:pt x="701" y="113"/>
                  </a:lnTo>
                  <a:lnTo>
                    <a:pt x="701" y="109"/>
                  </a:lnTo>
                  <a:lnTo>
                    <a:pt x="702" y="109"/>
                  </a:lnTo>
                  <a:lnTo>
                    <a:pt x="702" y="109"/>
                  </a:lnTo>
                  <a:lnTo>
                    <a:pt x="713" y="111"/>
                  </a:lnTo>
                  <a:lnTo>
                    <a:pt x="714" y="111"/>
                  </a:lnTo>
                  <a:lnTo>
                    <a:pt x="717" y="113"/>
                  </a:lnTo>
                  <a:lnTo>
                    <a:pt x="718" y="116"/>
                  </a:lnTo>
                  <a:lnTo>
                    <a:pt x="720" y="116"/>
                  </a:lnTo>
                  <a:lnTo>
                    <a:pt x="721" y="118"/>
                  </a:lnTo>
                  <a:lnTo>
                    <a:pt x="726" y="115"/>
                  </a:lnTo>
                  <a:lnTo>
                    <a:pt x="727" y="115"/>
                  </a:lnTo>
                  <a:lnTo>
                    <a:pt x="732" y="113"/>
                  </a:lnTo>
                  <a:lnTo>
                    <a:pt x="733" y="113"/>
                  </a:lnTo>
                  <a:lnTo>
                    <a:pt x="735" y="112"/>
                  </a:lnTo>
                  <a:lnTo>
                    <a:pt x="735" y="112"/>
                  </a:lnTo>
                  <a:lnTo>
                    <a:pt x="736" y="111"/>
                  </a:lnTo>
                  <a:lnTo>
                    <a:pt x="737" y="109"/>
                  </a:lnTo>
                  <a:lnTo>
                    <a:pt x="742" y="108"/>
                  </a:lnTo>
                  <a:lnTo>
                    <a:pt x="743" y="108"/>
                  </a:lnTo>
                  <a:lnTo>
                    <a:pt x="743" y="109"/>
                  </a:lnTo>
                  <a:lnTo>
                    <a:pt x="745" y="112"/>
                  </a:lnTo>
                  <a:lnTo>
                    <a:pt x="746" y="113"/>
                  </a:lnTo>
                  <a:lnTo>
                    <a:pt x="748" y="115"/>
                  </a:lnTo>
                  <a:lnTo>
                    <a:pt x="749" y="115"/>
                  </a:lnTo>
                  <a:lnTo>
                    <a:pt x="751" y="115"/>
                  </a:lnTo>
                  <a:lnTo>
                    <a:pt x="752" y="115"/>
                  </a:lnTo>
                  <a:lnTo>
                    <a:pt x="753" y="121"/>
                  </a:lnTo>
                  <a:lnTo>
                    <a:pt x="756" y="122"/>
                  </a:lnTo>
                  <a:lnTo>
                    <a:pt x="756" y="125"/>
                  </a:lnTo>
                  <a:lnTo>
                    <a:pt x="758" y="127"/>
                  </a:lnTo>
                  <a:lnTo>
                    <a:pt x="758" y="127"/>
                  </a:lnTo>
                  <a:lnTo>
                    <a:pt x="758" y="128"/>
                  </a:lnTo>
                  <a:lnTo>
                    <a:pt x="758" y="130"/>
                  </a:lnTo>
                  <a:lnTo>
                    <a:pt x="758" y="131"/>
                  </a:lnTo>
                  <a:lnTo>
                    <a:pt x="751" y="138"/>
                  </a:lnTo>
                  <a:lnTo>
                    <a:pt x="753" y="143"/>
                  </a:lnTo>
                  <a:lnTo>
                    <a:pt x="771" y="159"/>
                  </a:lnTo>
                  <a:lnTo>
                    <a:pt x="774" y="151"/>
                  </a:lnTo>
                  <a:lnTo>
                    <a:pt x="775" y="151"/>
                  </a:lnTo>
                  <a:lnTo>
                    <a:pt x="778" y="154"/>
                  </a:lnTo>
                  <a:lnTo>
                    <a:pt x="781" y="156"/>
                  </a:lnTo>
                  <a:lnTo>
                    <a:pt x="788" y="157"/>
                  </a:lnTo>
                  <a:lnTo>
                    <a:pt x="791" y="157"/>
                  </a:lnTo>
                  <a:lnTo>
                    <a:pt x="793" y="157"/>
                  </a:lnTo>
                  <a:lnTo>
                    <a:pt x="793" y="156"/>
                  </a:lnTo>
                  <a:lnTo>
                    <a:pt x="793" y="154"/>
                  </a:lnTo>
                  <a:lnTo>
                    <a:pt x="793" y="153"/>
                  </a:lnTo>
                  <a:lnTo>
                    <a:pt x="793" y="150"/>
                  </a:lnTo>
                  <a:lnTo>
                    <a:pt x="793" y="148"/>
                  </a:lnTo>
                  <a:lnTo>
                    <a:pt x="793" y="146"/>
                  </a:lnTo>
                  <a:lnTo>
                    <a:pt x="796" y="143"/>
                  </a:lnTo>
                  <a:lnTo>
                    <a:pt x="796" y="140"/>
                  </a:lnTo>
                  <a:lnTo>
                    <a:pt x="796" y="138"/>
                  </a:lnTo>
                  <a:lnTo>
                    <a:pt x="796" y="137"/>
                  </a:lnTo>
                  <a:lnTo>
                    <a:pt x="794" y="134"/>
                  </a:lnTo>
                  <a:lnTo>
                    <a:pt x="794" y="132"/>
                  </a:lnTo>
                  <a:lnTo>
                    <a:pt x="794" y="130"/>
                  </a:lnTo>
                  <a:lnTo>
                    <a:pt x="797" y="122"/>
                  </a:lnTo>
                  <a:lnTo>
                    <a:pt x="797" y="121"/>
                  </a:lnTo>
                  <a:lnTo>
                    <a:pt x="797" y="119"/>
                  </a:lnTo>
                  <a:lnTo>
                    <a:pt x="797" y="118"/>
                  </a:lnTo>
                  <a:lnTo>
                    <a:pt x="797" y="115"/>
                  </a:lnTo>
                  <a:lnTo>
                    <a:pt x="797" y="115"/>
                  </a:lnTo>
                  <a:lnTo>
                    <a:pt x="797" y="113"/>
                  </a:lnTo>
                  <a:lnTo>
                    <a:pt x="800" y="113"/>
                  </a:lnTo>
                  <a:lnTo>
                    <a:pt x="802" y="112"/>
                  </a:lnTo>
                  <a:lnTo>
                    <a:pt x="802" y="111"/>
                  </a:lnTo>
                  <a:lnTo>
                    <a:pt x="800" y="109"/>
                  </a:lnTo>
                  <a:lnTo>
                    <a:pt x="800" y="108"/>
                  </a:lnTo>
                  <a:lnTo>
                    <a:pt x="800" y="106"/>
                  </a:lnTo>
                  <a:lnTo>
                    <a:pt x="800" y="105"/>
                  </a:lnTo>
                  <a:lnTo>
                    <a:pt x="800" y="103"/>
                  </a:lnTo>
                  <a:lnTo>
                    <a:pt x="800" y="102"/>
                  </a:lnTo>
                  <a:lnTo>
                    <a:pt x="799" y="100"/>
                  </a:lnTo>
                  <a:lnTo>
                    <a:pt x="796" y="97"/>
                  </a:lnTo>
                  <a:lnTo>
                    <a:pt x="796" y="96"/>
                  </a:lnTo>
                  <a:lnTo>
                    <a:pt x="796" y="95"/>
                  </a:lnTo>
                  <a:lnTo>
                    <a:pt x="796" y="92"/>
                  </a:lnTo>
                  <a:lnTo>
                    <a:pt x="796" y="90"/>
                  </a:lnTo>
                  <a:lnTo>
                    <a:pt x="794" y="89"/>
                  </a:lnTo>
                  <a:lnTo>
                    <a:pt x="794" y="87"/>
                  </a:lnTo>
                  <a:lnTo>
                    <a:pt x="794" y="84"/>
                  </a:lnTo>
                  <a:lnTo>
                    <a:pt x="794" y="76"/>
                  </a:lnTo>
                  <a:lnTo>
                    <a:pt x="794" y="74"/>
                  </a:lnTo>
                  <a:lnTo>
                    <a:pt x="794" y="73"/>
                  </a:lnTo>
                  <a:lnTo>
                    <a:pt x="794" y="70"/>
                  </a:lnTo>
                  <a:lnTo>
                    <a:pt x="794" y="68"/>
                  </a:lnTo>
                  <a:lnTo>
                    <a:pt x="793" y="67"/>
                  </a:lnTo>
                  <a:lnTo>
                    <a:pt x="793" y="64"/>
                  </a:lnTo>
                  <a:lnTo>
                    <a:pt x="791" y="63"/>
                  </a:lnTo>
                  <a:lnTo>
                    <a:pt x="793" y="60"/>
                  </a:lnTo>
                  <a:lnTo>
                    <a:pt x="793" y="60"/>
                  </a:lnTo>
                  <a:lnTo>
                    <a:pt x="793" y="58"/>
                  </a:lnTo>
                  <a:lnTo>
                    <a:pt x="791" y="55"/>
                  </a:lnTo>
                  <a:lnTo>
                    <a:pt x="790" y="49"/>
                  </a:lnTo>
                  <a:lnTo>
                    <a:pt x="800" y="45"/>
                  </a:lnTo>
                  <a:lnTo>
                    <a:pt x="806" y="44"/>
                  </a:lnTo>
                  <a:lnTo>
                    <a:pt x="813" y="38"/>
                  </a:lnTo>
                  <a:lnTo>
                    <a:pt x="815" y="36"/>
                  </a:lnTo>
                  <a:lnTo>
                    <a:pt x="815" y="36"/>
                  </a:lnTo>
                  <a:lnTo>
                    <a:pt x="815" y="35"/>
                  </a:lnTo>
                  <a:lnTo>
                    <a:pt x="815" y="35"/>
                  </a:lnTo>
                  <a:lnTo>
                    <a:pt x="815" y="33"/>
                  </a:lnTo>
                  <a:lnTo>
                    <a:pt x="815" y="32"/>
                  </a:lnTo>
                  <a:lnTo>
                    <a:pt x="816" y="30"/>
                  </a:lnTo>
                  <a:lnTo>
                    <a:pt x="819" y="29"/>
                  </a:lnTo>
                  <a:lnTo>
                    <a:pt x="820" y="28"/>
                  </a:lnTo>
                  <a:lnTo>
                    <a:pt x="823" y="25"/>
                  </a:lnTo>
                  <a:lnTo>
                    <a:pt x="847" y="25"/>
                  </a:lnTo>
                  <a:lnTo>
                    <a:pt x="853" y="28"/>
                  </a:lnTo>
                  <a:lnTo>
                    <a:pt x="855" y="33"/>
                  </a:lnTo>
                  <a:lnTo>
                    <a:pt x="855" y="35"/>
                  </a:lnTo>
                  <a:lnTo>
                    <a:pt x="855" y="35"/>
                  </a:lnTo>
                  <a:lnTo>
                    <a:pt x="855" y="36"/>
                  </a:lnTo>
                  <a:lnTo>
                    <a:pt x="855" y="38"/>
                  </a:lnTo>
                  <a:lnTo>
                    <a:pt x="855" y="38"/>
                  </a:lnTo>
                  <a:lnTo>
                    <a:pt x="853" y="41"/>
                  </a:lnTo>
                  <a:lnTo>
                    <a:pt x="850" y="42"/>
                  </a:lnTo>
                  <a:lnTo>
                    <a:pt x="850" y="61"/>
                  </a:lnTo>
                  <a:lnTo>
                    <a:pt x="850" y="63"/>
                  </a:lnTo>
                  <a:lnTo>
                    <a:pt x="850" y="65"/>
                  </a:lnTo>
                  <a:lnTo>
                    <a:pt x="854" y="67"/>
                  </a:lnTo>
                  <a:lnTo>
                    <a:pt x="857" y="70"/>
                  </a:lnTo>
                  <a:lnTo>
                    <a:pt x="860" y="73"/>
                  </a:lnTo>
                  <a:lnTo>
                    <a:pt x="861" y="74"/>
                  </a:lnTo>
                  <a:lnTo>
                    <a:pt x="863" y="74"/>
                  </a:lnTo>
                  <a:lnTo>
                    <a:pt x="864" y="73"/>
                  </a:lnTo>
                  <a:lnTo>
                    <a:pt x="866" y="73"/>
                  </a:lnTo>
                  <a:lnTo>
                    <a:pt x="867" y="73"/>
                  </a:lnTo>
                  <a:lnTo>
                    <a:pt x="870" y="74"/>
                  </a:lnTo>
                  <a:lnTo>
                    <a:pt x="870" y="76"/>
                  </a:lnTo>
                  <a:lnTo>
                    <a:pt x="871" y="77"/>
                  </a:lnTo>
                  <a:lnTo>
                    <a:pt x="871" y="81"/>
                  </a:lnTo>
                  <a:lnTo>
                    <a:pt x="871" y="89"/>
                  </a:lnTo>
                  <a:lnTo>
                    <a:pt x="873" y="90"/>
                  </a:lnTo>
                  <a:lnTo>
                    <a:pt x="874" y="92"/>
                  </a:lnTo>
                  <a:lnTo>
                    <a:pt x="879" y="95"/>
                  </a:lnTo>
                  <a:lnTo>
                    <a:pt x="883" y="99"/>
                  </a:lnTo>
                  <a:lnTo>
                    <a:pt x="886" y="100"/>
                  </a:lnTo>
                  <a:lnTo>
                    <a:pt x="889" y="100"/>
                  </a:lnTo>
                  <a:lnTo>
                    <a:pt x="890" y="99"/>
                  </a:lnTo>
                  <a:lnTo>
                    <a:pt x="896" y="99"/>
                  </a:lnTo>
                  <a:lnTo>
                    <a:pt x="896" y="99"/>
                  </a:lnTo>
                  <a:lnTo>
                    <a:pt x="898" y="97"/>
                  </a:lnTo>
                  <a:lnTo>
                    <a:pt x="899" y="96"/>
                  </a:lnTo>
                  <a:lnTo>
                    <a:pt x="899" y="93"/>
                  </a:lnTo>
                  <a:lnTo>
                    <a:pt x="901" y="92"/>
                  </a:lnTo>
                  <a:lnTo>
                    <a:pt x="902" y="92"/>
                  </a:lnTo>
                  <a:lnTo>
                    <a:pt x="905" y="92"/>
                  </a:lnTo>
                  <a:lnTo>
                    <a:pt x="909" y="92"/>
                  </a:lnTo>
                  <a:lnTo>
                    <a:pt x="920" y="96"/>
                  </a:lnTo>
                  <a:lnTo>
                    <a:pt x="960" y="87"/>
                  </a:lnTo>
                  <a:lnTo>
                    <a:pt x="966" y="86"/>
                  </a:lnTo>
                  <a:lnTo>
                    <a:pt x="968" y="84"/>
                  </a:lnTo>
                  <a:lnTo>
                    <a:pt x="968" y="84"/>
                  </a:lnTo>
                  <a:lnTo>
                    <a:pt x="968" y="83"/>
                  </a:lnTo>
                  <a:lnTo>
                    <a:pt x="971" y="81"/>
                  </a:lnTo>
                  <a:lnTo>
                    <a:pt x="976" y="81"/>
                  </a:lnTo>
                  <a:lnTo>
                    <a:pt x="979" y="81"/>
                  </a:lnTo>
                  <a:lnTo>
                    <a:pt x="981" y="81"/>
                  </a:lnTo>
                  <a:lnTo>
                    <a:pt x="981" y="81"/>
                  </a:lnTo>
                  <a:lnTo>
                    <a:pt x="981" y="83"/>
                  </a:lnTo>
                  <a:lnTo>
                    <a:pt x="982" y="83"/>
                  </a:lnTo>
                  <a:lnTo>
                    <a:pt x="982" y="84"/>
                  </a:lnTo>
                  <a:lnTo>
                    <a:pt x="984" y="84"/>
                  </a:lnTo>
                  <a:lnTo>
                    <a:pt x="985" y="86"/>
                  </a:lnTo>
                  <a:lnTo>
                    <a:pt x="988" y="87"/>
                  </a:lnTo>
                  <a:lnTo>
                    <a:pt x="989" y="89"/>
                  </a:lnTo>
                  <a:lnTo>
                    <a:pt x="989" y="89"/>
                  </a:lnTo>
                  <a:lnTo>
                    <a:pt x="989" y="90"/>
                  </a:lnTo>
                  <a:lnTo>
                    <a:pt x="989" y="92"/>
                  </a:lnTo>
                  <a:lnTo>
                    <a:pt x="989" y="93"/>
                  </a:lnTo>
                  <a:lnTo>
                    <a:pt x="991" y="93"/>
                  </a:lnTo>
                  <a:lnTo>
                    <a:pt x="992" y="93"/>
                  </a:lnTo>
                  <a:lnTo>
                    <a:pt x="994" y="92"/>
                  </a:lnTo>
                  <a:lnTo>
                    <a:pt x="995" y="92"/>
                  </a:lnTo>
                  <a:lnTo>
                    <a:pt x="998" y="90"/>
                  </a:lnTo>
                  <a:lnTo>
                    <a:pt x="1005" y="89"/>
                  </a:lnTo>
                  <a:lnTo>
                    <a:pt x="1007" y="87"/>
                  </a:lnTo>
                  <a:lnTo>
                    <a:pt x="1010" y="84"/>
                  </a:lnTo>
                  <a:lnTo>
                    <a:pt x="1019" y="80"/>
                  </a:lnTo>
                  <a:lnTo>
                    <a:pt x="1027" y="80"/>
                  </a:lnTo>
                  <a:lnTo>
                    <a:pt x="1030" y="81"/>
                  </a:lnTo>
                  <a:lnTo>
                    <a:pt x="1032" y="83"/>
                  </a:lnTo>
                  <a:lnTo>
                    <a:pt x="1032" y="84"/>
                  </a:lnTo>
                  <a:lnTo>
                    <a:pt x="1033" y="84"/>
                  </a:lnTo>
                  <a:lnTo>
                    <a:pt x="1033" y="86"/>
                  </a:lnTo>
                  <a:lnTo>
                    <a:pt x="1038" y="92"/>
                  </a:lnTo>
                  <a:lnTo>
                    <a:pt x="1045" y="96"/>
                  </a:lnTo>
                  <a:lnTo>
                    <a:pt x="1046" y="99"/>
                  </a:lnTo>
                  <a:lnTo>
                    <a:pt x="1045" y="100"/>
                  </a:lnTo>
                  <a:lnTo>
                    <a:pt x="1045" y="102"/>
                  </a:lnTo>
                  <a:lnTo>
                    <a:pt x="1045" y="105"/>
                  </a:lnTo>
                  <a:lnTo>
                    <a:pt x="1046" y="115"/>
                  </a:lnTo>
                  <a:lnTo>
                    <a:pt x="1048" y="116"/>
                  </a:lnTo>
                  <a:lnTo>
                    <a:pt x="1051" y="118"/>
                  </a:lnTo>
                  <a:lnTo>
                    <a:pt x="1065" y="128"/>
                  </a:lnTo>
                  <a:lnTo>
                    <a:pt x="1067" y="128"/>
                  </a:lnTo>
                  <a:lnTo>
                    <a:pt x="1068" y="128"/>
                  </a:lnTo>
                  <a:lnTo>
                    <a:pt x="1070" y="128"/>
                  </a:lnTo>
                  <a:lnTo>
                    <a:pt x="1074" y="128"/>
                  </a:lnTo>
                  <a:lnTo>
                    <a:pt x="1084" y="131"/>
                  </a:lnTo>
                  <a:lnTo>
                    <a:pt x="1086" y="135"/>
                  </a:lnTo>
                  <a:lnTo>
                    <a:pt x="1077" y="134"/>
                  </a:lnTo>
                  <a:lnTo>
                    <a:pt x="1077" y="135"/>
                  </a:lnTo>
                  <a:lnTo>
                    <a:pt x="1086" y="143"/>
                  </a:lnTo>
                  <a:lnTo>
                    <a:pt x="1089" y="148"/>
                  </a:lnTo>
                  <a:lnTo>
                    <a:pt x="1090" y="156"/>
                  </a:lnTo>
                  <a:lnTo>
                    <a:pt x="1090" y="156"/>
                  </a:lnTo>
                  <a:lnTo>
                    <a:pt x="1089" y="163"/>
                  </a:lnTo>
                  <a:lnTo>
                    <a:pt x="1087" y="164"/>
                  </a:lnTo>
                  <a:lnTo>
                    <a:pt x="1083" y="167"/>
                  </a:lnTo>
                  <a:lnTo>
                    <a:pt x="1078" y="173"/>
                  </a:lnTo>
                  <a:lnTo>
                    <a:pt x="1078" y="173"/>
                  </a:lnTo>
                  <a:lnTo>
                    <a:pt x="1083" y="180"/>
                  </a:lnTo>
                  <a:lnTo>
                    <a:pt x="1099" y="191"/>
                  </a:lnTo>
                  <a:lnTo>
                    <a:pt x="1107" y="201"/>
                  </a:lnTo>
                  <a:lnTo>
                    <a:pt x="1112" y="207"/>
                  </a:lnTo>
                  <a:lnTo>
                    <a:pt x="1115" y="212"/>
                  </a:lnTo>
                  <a:lnTo>
                    <a:pt x="1116" y="221"/>
                  </a:lnTo>
                  <a:lnTo>
                    <a:pt x="1115" y="221"/>
                  </a:lnTo>
                  <a:lnTo>
                    <a:pt x="1113" y="233"/>
                  </a:lnTo>
                  <a:lnTo>
                    <a:pt x="1113" y="233"/>
                  </a:lnTo>
                  <a:lnTo>
                    <a:pt x="1113" y="242"/>
                  </a:lnTo>
                  <a:lnTo>
                    <a:pt x="1116" y="249"/>
                  </a:lnTo>
                  <a:lnTo>
                    <a:pt x="1121" y="255"/>
                  </a:lnTo>
                  <a:lnTo>
                    <a:pt x="1126" y="258"/>
                  </a:lnTo>
                  <a:lnTo>
                    <a:pt x="1132" y="262"/>
                  </a:lnTo>
                  <a:lnTo>
                    <a:pt x="1135" y="266"/>
                  </a:lnTo>
                  <a:lnTo>
                    <a:pt x="1135" y="272"/>
                  </a:lnTo>
                  <a:lnTo>
                    <a:pt x="1135" y="278"/>
                  </a:lnTo>
                  <a:lnTo>
                    <a:pt x="1137" y="281"/>
                  </a:lnTo>
                  <a:lnTo>
                    <a:pt x="1189" y="309"/>
                  </a:lnTo>
                  <a:lnTo>
                    <a:pt x="1189" y="309"/>
                  </a:lnTo>
                  <a:lnTo>
                    <a:pt x="1195" y="314"/>
                  </a:lnTo>
                  <a:lnTo>
                    <a:pt x="1208" y="316"/>
                  </a:lnTo>
                  <a:lnTo>
                    <a:pt x="1214" y="322"/>
                  </a:lnTo>
                  <a:lnTo>
                    <a:pt x="1215" y="329"/>
                  </a:lnTo>
                  <a:lnTo>
                    <a:pt x="1215" y="329"/>
                  </a:lnTo>
                  <a:lnTo>
                    <a:pt x="1212" y="336"/>
                  </a:lnTo>
                  <a:lnTo>
                    <a:pt x="1212" y="342"/>
                  </a:lnTo>
                  <a:lnTo>
                    <a:pt x="1212" y="342"/>
                  </a:lnTo>
                  <a:lnTo>
                    <a:pt x="1225" y="351"/>
                  </a:lnTo>
                  <a:lnTo>
                    <a:pt x="1231" y="352"/>
                  </a:lnTo>
                  <a:lnTo>
                    <a:pt x="1233" y="357"/>
                  </a:lnTo>
                  <a:lnTo>
                    <a:pt x="1233" y="357"/>
                  </a:lnTo>
                  <a:lnTo>
                    <a:pt x="1233" y="367"/>
                  </a:lnTo>
                  <a:lnTo>
                    <a:pt x="1230" y="374"/>
                  </a:lnTo>
                  <a:lnTo>
                    <a:pt x="1221" y="390"/>
                  </a:lnTo>
                  <a:lnTo>
                    <a:pt x="1218" y="397"/>
                  </a:lnTo>
                  <a:lnTo>
                    <a:pt x="1212" y="396"/>
                  </a:lnTo>
                  <a:lnTo>
                    <a:pt x="1209" y="403"/>
                  </a:lnTo>
                  <a:lnTo>
                    <a:pt x="1209" y="415"/>
                  </a:lnTo>
                  <a:lnTo>
                    <a:pt x="1208" y="424"/>
                  </a:lnTo>
                  <a:lnTo>
                    <a:pt x="1202" y="429"/>
                  </a:lnTo>
                  <a:lnTo>
                    <a:pt x="1189" y="435"/>
                  </a:lnTo>
                  <a:lnTo>
                    <a:pt x="1185" y="443"/>
                  </a:lnTo>
                  <a:lnTo>
                    <a:pt x="1185" y="443"/>
                  </a:lnTo>
                  <a:lnTo>
                    <a:pt x="1186" y="448"/>
                  </a:lnTo>
                  <a:lnTo>
                    <a:pt x="1189" y="456"/>
                  </a:lnTo>
                  <a:lnTo>
                    <a:pt x="1196" y="466"/>
                  </a:lnTo>
                  <a:lnTo>
                    <a:pt x="1202" y="470"/>
                  </a:lnTo>
                  <a:lnTo>
                    <a:pt x="1207" y="475"/>
                  </a:lnTo>
                  <a:lnTo>
                    <a:pt x="1218" y="479"/>
                  </a:lnTo>
                  <a:lnTo>
                    <a:pt x="1224" y="482"/>
                  </a:lnTo>
                  <a:lnTo>
                    <a:pt x="1227" y="488"/>
                  </a:lnTo>
                  <a:lnTo>
                    <a:pt x="1227" y="495"/>
                  </a:lnTo>
                  <a:lnTo>
                    <a:pt x="1227" y="495"/>
                  </a:lnTo>
                  <a:lnTo>
                    <a:pt x="1224" y="502"/>
                  </a:lnTo>
                  <a:lnTo>
                    <a:pt x="1224" y="502"/>
                  </a:lnTo>
                  <a:lnTo>
                    <a:pt x="1224" y="502"/>
                  </a:lnTo>
                  <a:lnTo>
                    <a:pt x="1227" y="504"/>
                  </a:lnTo>
                  <a:lnTo>
                    <a:pt x="1227" y="504"/>
                  </a:lnTo>
                  <a:lnTo>
                    <a:pt x="1225" y="508"/>
                  </a:lnTo>
                  <a:lnTo>
                    <a:pt x="1225" y="510"/>
                  </a:lnTo>
                  <a:lnTo>
                    <a:pt x="1225" y="510"/>
                  </a:lnTo>
                  <a:lnTo>
                    <a:pt x="1228" y="514"/>
                  </a:lnTo>
                  <a:lnTo>
                    <a:pt x="1237" y="518"/>
                  </a:lnTo>
                  <a:lnTo>
                    <a:pt x="1241" y="523"/>
                  </a:lnTo>
                  <a:lnTo>
                    <a:pt x="1243" y="528"/>
                  </a:lnTo>
                  <a:lnTo>
                    <a:pt x="1244" y="540"/>
                  </a:lnTo>
                  <a:lnTo>
                    <a:pt x="1246" y="546"/>
                  </a:lnTo>
                  <a:lnTo>
                    <a:pt x="1249" y="552"/>
                  </a:lnTo>
                  <a:lnTo>
                    <a:pt x="1250" y="558"/>
                  </a:lnTo>
                  <a:lnTo>
                    <a:pt x="1253" y="560"/>
                  </a:lnTo>
                  <a:lnTo>
                    <a:pt x="1258" y="565"/>
                  </a:lnTo>
                  <a:lnTo>
                    <a:pt x="1262" y="566"/>
                  </a:lnTo>
                  <a:lnTo>
                    <a:pt x="1265" y="566"/>
                  </a:lnTo>
                  <a:lnTo>
                    <a:pt x="1268" y="568"/>
                  </a:lnTo>
                  <a:lnTo>
                    <a:pt x="1268" y="576"/>
                  </a:lnTo>
                  <a:lnTo>
                    <a:pt x="1269" y="594"/>
                  </a:lnTo>
                  <a:lnTo>
                    <a:pt x="1271" y="603"/>
                  </a:lnTo>
                  <a:lnTo>
                    <a:pt x="1275" y="610"/>
                  </a:lnTo>
                  <a:lnTo>
                    <a:pt x="1281" y="616"/>
                  </a:lnTo>
                  <a:lnTo>
                    <a:pt x="1297" y="623"/>
                  </a:lnTo>
                  <a:lnTo>
                    <a:pt x="1304" y="630"/>
                  </a:lnTo>
                  <a:lnTo>
                    <a:pt x="1316" y="657"/>
                  </a:lnTo>
                  <a:lnTo>
                    <a:pt x="1322" y="662"/>
                  </a:lnTo>
                  <a:lnTo>
                    <a:pt x="1329" y="665"/>
                  </a:lnTo>
                  <a:lnTo>
                    <a:pt x="1349" y="668"/>
                  </a:lnTo>
                  <a:lnTo>
                    <a:pt x="1355" y="667"/>
                  </a:lnTo>
                  <a:lnTo>
                    <a:pt x="1355" y="667"/>
                  </a:lnTo>
                  <a:lnTo>
                    <a:pt x="1354" y="659"/>
                  </a:lnTo>
                  <a:lnTo>
                    <a:pt x="1354" y="659"/>
                  </a:lnTo>
                  <a:lnTo>
                    <a:pt x="1358" y="658"/>
                  </a:lnTo>
                  <a:lnTo>
                    <a:pt x="1371" y="662"/>
                  </a:lnTo>
                  <a:lnTo>
                    <a:pt x="1377" y="665"/>
                  </a:lnTo>
                  <a:lnTo>
                    <a:pt x="1383" y="670"/>
                  </a:lnTo>
                  <a:lnTo>
                    <a:pt x="1393" y="680"/>
                  </a:lnTo>
                  <a:lnTo>
                    <a:pt x="1399" y="683"/>
                  </a:lnTo>
                  <a:lnTo>
                    <a:pt x="1400" y="687"/>
                  </a:lnTo>
                  <a:lnTo>
                    <a:pt x="1400" y="692"/>
                  </a:lnTo>
                  <a:lnTo>
                    <a:pt x="1402" y="696"/>
                  </a:lnTo>
                  <a:lnTo>
                    <a:pt x="1413" y="710"/>
                  </a:lnTo>
                  <a:lnTo>
                    <a:pt x="1413" y="710"/>
                  </a:lnTo>
                  <a:lnTo>
                    <a:pt x="1413" y="710"/>
                  </a:lnTo>
                  <a:lnTo>
                    <a:pt x="1413" y="710"/>
                  </a:lnTo>
                  <a:lnTo>
                    <a:pt x="1418" y="712"/>
                  </a:lnTo>
                  <a:lnTo>
                    <a:pt x="1450" y="757"/>
                  </a:lnTo>
                  <a:lnTo>
                    <a:pt x="1456" y="767"/>
                  </a:lnTo>
                  <a:lnTo>
                    <a:pt x="1460" y="776"/>
                  </a:lnTo>
                  <a:lnTo>
                    <a:pt x="1470" y="782"/>
                  </a:lnTo>
                  <a:lnTo>
                    <a:pt x="1492" y="782"/>
                  </a:lnTo>
                  <a:lnTo>
                    <a:pt x="1498" y="785"/>
                  </a:lnTo>
                  <a:lnTo>
                    <a:pt x="1502" y="789"/>
                  </a:lnTo>
                  <a:lnTo>
                    <a:pt x="1512" y="804"/>
                  </a:lnTo>
                  <a:lnTo>
                    <a:pt x="1528" y="818"/>
                  </a:lnTo>
                  <a:lnTo>
                    <a:pt x="1531" y="827"/>
                  </a:lnTo>
                  <a:lnTo>
                    <a:pt x="1531" y="841"/>
                  </a:lnTo>
                  <a:lnTo>
                    <a:pt x="1537" y="850"/>
                  </a:lnTo>
                  <a:lnTo>
                    <a:pt x="1547" y="859"/>
                  </a:lnTo>
                  <a:lnTo>
                    <a:pt x="1558" y="868"/>
                  </a:lnTo>
                  <a:lnTo>
                    <a:pt x="1566" y="871"/>
                  </a:lnTo>
                  <a:lnTo>
                    <a:pt x="1569" y="862"/>
                  </a:lnTo>
                  <a:lnTo>
                    <a:pt x="1574" y="856"/>
                  </a:lnTo>
                  <a:lnTo>
                    <a:pt x="1578" y="855"/>
                  </a:lnTo>
                  <a:lnTo>
                    <a:pt x="1579" y="855"/>
                  </a:lnTo>
                  <a:lnTo>
                    <a:pt x="1585" y="856"/>
                  </a:lnTo>
                  <a:lnTo>
                    <a:pt x="1593" y="859"/>
                  </a:lnTo>
                  <a:lnTo>
                    <a:pt x="1598" y="865"/>
                  </a:lnTo>
                  <a:lnTo>
                    <a:pt x="1604" y="868"/>
                  </a:lnTo>
                  <a:lnTo>
                    <a:pt x="1610" y="866"/>
                  </a:lnTo>
                  <a:lnTo>
                    <a:pt x="1612" y="876"/>
                  </a:lnTo>
                  <a:lnTo>
                    <a:pt x="1614" y="887"/>
                  </a:lnTo>
                  <a:lnTo>
                    <a:pt x="1620" y="894"/>
                  </a:lnTo>
                  <a:lnTo>
                    <a:pt x="1626" y="900"/>
                  </a:lnTo>
                  <a:lnTo>
                    <a:pt x="1632" y="904"/>
                  </a:lnTo>
                  <a:lnTo>
                    <a:pt x="1645" y="906"/>
                  </a:lnTo>
                  <a:lnTo>
                    <a:pt x="1651" y="908"/>
                  </a:lnTo>
                  <a:lnTo>
                    <a:pt x="1658" y="922"/>
                  </a:lnTo>
                  <a:lnTo>
                    <a:pt x="1676" y="954"/>
                  </a:lnTo>
                  <a:lnTo>
                    <a:pt x="1681" y="961"/>
                  </a:lnTo>
                  <a:lnTo>
                    <a:pt x="1681" y="961"/>
                  </a:lnTo>
                  <a:lnTo>
                    <a:pt x="1671" y="983"/>
                  </a:lnTo>
                  <a:lnTo>
                    <a:pt x="1671" y="989"/>
                  </a:lnTo>
                  <a:lnTo>
                    <a:pt x="1673" y="987"/>
                  </a:lnTo>
                  <a:lnTo>
                    <a:pt x="1676" y="994"/>
                  </a:lnTo>
                  <a:lnTo>
                    <a:pt x="1679" y="996"/>
                  </a:lnTo>
                  <a:lnTo>
                    <a:pt x="1683" y="999"/>
                  </a:lnTo>
                  <a:lnTo>
                    <a:pt x="1677" y="1003"/>
                  </a:lnTo>
                  <a:lnTo>
                    <a:pt x="1677" y="1009"/>
                  </a:lnTo>
                  <a:lnTo>
                    <a:pt x="1679" y="1026"/>
                  </a:lnTo>
                  <a:lnTo>
                    <a:pt x="1679" y="1035"/>
                  </a:lnTo>
                  <a:lnTo>
                    <a:pt x="1677" y="1042"/>
                  </a:lnTo>
                  <a:lnTo>
                    <a:pt x="1676" y="1050"/>
                  </a:lnTo>
                  <a:lnTo>
                    <a:pt x="1670" y="1063"/>
                  </a:lnTo>
                  <a:lnTo>
                    <a:pt x="1667" y="1064"/>
                  </a:lnTo>
                  <a:lnTo>
                    <a:pt x="1665" y="1067"/>
                  </a:lnTo>
                  <a:lnTo>
                    <a:pt x="1663" y="1069"/>
                  </a:lnTo>
                  <a:lnTo>
                    <a:pt x="1655" y="1070"/>
                  </a:lnTo>
                  <a:lnTo>
                    <a:pt x="1654" y="1070"/>
                  </a:lnTo>
                  <a:lnTo>
                    <a:pt x="1651" y="1076"/>
                  </a:lnTo>
                  <a:lnTo>
                    <a:pt x="1648" y="1089"/>
                  </a:lnTo>
                  <a:lnTo>
                    <a:pt x="1646" y="1089"/>
                  </a:lnTo>
                  <a:lnTo>
                    <a:pt x="1632" y="1082"/>
                  </a:lnTo>
                  <a:lnTo>
                    <a:pt x="1628" y="1074"/>
                  </a:lnTo>
                  <a:lnTo>
                    <a:pt x="1622" y="1070"/>
                  </a:lnTo>
                  <a:lnTo>
                    <a:pt x="1616" y="1067"/>
                  </a:lnTo>
                  <a:lnTo>
                    <a:pt x="1579" y="1057"/>
                  </a:lnTo>
                  <a:lnTo>
                    <a:pt x="1568" y="1058"/>
                  </a:lnTo>
                  <a:lnTo>
                    <a:pt x="1556" y="1063"/>
                  </a:lnTo>
                  <a:lnTo>
                    <a:pt x="1553" y="1066"/>
                  </a:lnTo>
                  <a:lnTo>
                    <a:pt x="1552" y="1069"/>
                  </a:lnTo>
                  <a:lnTo>
                    <a:pt x="1552" y="1072"/>
                  </a:lnTo>
                  <a:lnTo>
                    <a:pt x="1553" y="1073"/>
                  </a:lnTo>
                  <a:lnTo>
                    <a:pt x="1555" y="1083"/>
                  </a:lnTo>
                  <a:lnTo>
                    <a:pt x="1558" y="1088"/>
                  </a:lnTo>
                  <a:lnTo>
                    <a:pt x="1558" y="1092"/>
                  </a:lnTo>
                  <a:lnTo>
                    <a:pt x="1558" y="1098"/>
                  </a:lnTo>
                  <a:lnTo>
                    <a:pt x="1552" y="1108"/>
                  </a:lnTo>
                  <a:lnTo>
                    <a:pt x="1550" y="1112"/>
                  </a:lnTo>
                  <a:lnTo>
                    <a:pt x="1550" y="1117"/>
                  </a:lnTo>
                  <a:lnTo>
                    <a:pt x="1550" y="1131"/>
                  </a:lnTo>
                  <a:lnTo>
                    <a:pt x="1550" y="1137"/>
                  </a:lnTo>
                  <a:lnTo>
                    <a:pt x="1549" y="1141"/>
                  </a:lnTo>
                  <a:lnTo>
                    <a:pt x="1547" y="1143"/>
                  </a:lnTo>
                  <a:lnTo>
                    <a:pt x="1546" y="1146"/>
                  </a:lnTo>
                  <a:lnTo>
                    <a:pt x="1545" y="1157"/>
                  </a:lnTo>
                  <a:lnTo>
                    <a:pt x="1540" y="1165"/>
                  </a:lnTo>
                  <a:lnTo>
                    <a:pt x="1505" y="1195"/>
                  </a:lnTo>
                  <a:lnTo>
                    <a:pt x="1494" y="1201"/>
                  </a:lnTo>
                  <a:lnTo>
                    <a:pt x="1445" y="1210"/>
                  </a:lnTo>
                  <a:lnTo>
                    <a:pt x="1410" y="1224"/>
                  </a:lnTo>
                  <a:lnTo>
                    <a:pt x="1405" y="1229"/>
                  </a:lnTo>
                  <a:lnTo>
                    <a:pt x="1392" y="1240"/>
                  </a:lnTo>
                  <a:lnTo>
                    <a:pt x="1380" y="1246"/>
                  </a:lnTo>
                  <a:lnTo>
                    <a:pt x="1374" y="1251"/>
                  </a:lnTo>
                  <a:lnTo>
                    <a:pt x="1376" y="1252"/>
                  </a:lnTo>
                  <a:lnTo>
                    <a:pt x="1357" y="1256"/>
                  </a:lnTo>
                  <a:lnTo>
                    <a:pt x="1351" y="1259"/>
                  </a:lnTo>
                  <a:lnTo>
                    <a:pt x="1348" y="1262"/>
                  </a:lnTo>
                  <a:lnTo>
                    <a:pt x="1341" y="1272"/>
                  </a:lnTo>
                  <a:lnTo>
                    <a:pt x="1336" y="1278"/>
                  </a:lnTo>
                  <a:lnTo>
                    <a:pt x="1323" y="1287"/>
                  </a:lnTo>
                  <a:lnTo>
                    <a:pt x="1322" y="1288"/>
                  </a:lnTo>
                  <a:lnTo>
                    <a:pt x="1317" y="1297"/>
                  </a:lnTo>
                  <a:lnTo>
                    <a:pt x="1314" y="1297"/>
                  </a:lnTo>
                  <a:lnTo>
                    <a:pt x="1311" y="1297"/>
                  </a:lnTo>
                  <a:lnTo>
                    <a:pt x="1310" y="1299"/>
                  </a:lnTo>
                  <a:lnTo>
                    <a:pt x="1309" y="1302"/>
                  </a:lnTo>
                  <a:lnTo>
                    <a:pt x="1307" y="1309"/>
                  </a:lnTo>
                  <a:lnTo>
                    <a:pt x="1309" y="1316"/>
                  </a:lnTo>
                  <a:lnTo>
                    <a:pt x="1311" y="1322"/>
                  </a:lnTo>
                  <a:lnTo>
                    <a:pt x="1316" y="1328"/>
                  </a:lnTo>
                  <a:lnTo>
                    <a:pt x="1339" y="1352"/>
                  </a:lnTo>
                  <a:lnTo>
                    <a:pt x="1345" y="1364"/>
                  </a:lnTo>
                  <a:lnTo>
                    <a:pt x="1346" y="1370"/>
                  </a:lnTo>
                  <a:lnTo>
                    <a:pt x="1346" y="1371"/>
                  </a:lnTo>
                  <a:lnTo>
                    <a:pt x="1348" y="1376"/>
                  </a:lnTo>
                  <a:lnTo>
                    <a:pt x="1351" y="1380"/>
                  </a:lnTo>
                  <a:lnTo>
                    <a:pt x="1359" y="1386"/>
                  </a:lnTo>
                  <a:lnTo>
                    <a:pt x="1365" y="1392"/>
                  </a:lnTo>
                  <a:lnTo>
                    <a:pt x="1368" y="1395"/>
                  </a:lnTo>
                  <a:lnTo>
                    <a:pt x="1374" y="1399"/>
                  </a:lnTo>
                  <a:lnTo>
                    <a:pt x="1386" y="1427"/>
                  </a:lnTo>
                  <a:lnTo>
                    <a:pt x="1394" y="1438"/>
                  </a:lnTo>
                  <a:lnTo>
                    <a:pt x="1396" y="1440"/>
                  </a:lnTo>
                  <a:lnTo>
                    <a:pt x="1373" y="1476"/>
                  </a:lnTo>
                  <a:lnTo>
                    <a:pt x="1371" y="1481"/>
                  </a:lnTo>
                  <a:lnTo>
                    <a:pt x="1371" y="1484"/>
                  </a:lnTo>
                  <a:lnTo>
                    <a:pt x="1370" y="1486"/>
                  </a:lnTo>
                  <a:lnTo>
                    <a:pt x="1370" y="1489"/>
                  </a:lnTo>
                  <a:lnTo>
                    <a:pt x="1367" y="1494"/>
                  </a:lnTo>
                  <a:lnTo>
                    <a:pt x="1367" y="1494"/>
                  </a:lnTo>
                  <a:lnTo>
                    <a:pt x="1367" y="1494"/>
                  </a:lnTo>
                  <a:lnTo>
                    <a:pt x="1367" y="1494"/>
                  </a:lnTo>
                  <a:lnTo>
                    <a:pt x="1361" y="1504"/>
                  </a:lnTo>
                  <a:lnTo>
                    <a:pt x="1367" y="1510"/>
                  </a:lnTo>
                  <a:lnTo>
                    <a:pt x="1386" y="1513"/>
                  </a:lnTo>
                  <a:lnTo>
                    <a:pt x="1392" y="1513"/>
                  </a:lnTo>
                  <a:lnTo>
                    <a:pt x="1400" y="1508"/>
                  </a:lnTo>
                  <a:lnTo>
                    <a:pt x="1406" y="1510"/>
                  </a:lnTo>
                  <a:lnTo>
                    <a:pt x="1409" y="1513"/>
                  </a:lnTo>
                  <a:lnTo>
                    <a:pt x="1413" y="1517"/>
                  </a:lnTo>
                  <a:lnTo>
                    <a:pt x="1421" y="1529"/>
                  </a:lnTo>
                  <a:lnTo>
                    <a:pt x="1424" y="1536"/>
                  </a:lnTo>
                  <a:lnTo>
                    <a:pt x="1425" y="1543"/>
                  </a:lnTo>
                  <a:lnTo>
                    <a:pt x="1424" y="1549"/>
                  </a:lnTo>
                  <a:lnTo>
                    <a:pt x="1424" y="1556"/>
                  </a:lnTo>
                  <a:lnTo>
                    <a:pt x="1422" y="1556"/>
                  </a:lnTo>
                  <a:lnTo>
                    <a:pt x="1419" y="1566"/>
                  </a:lnTo>
                  <a:lnTo>
                    <a:pt x="1418" y="1568"/>
                  </a:lnTo>
                  <a:lnTo>
                    <a:pt x="1413" y="1575"/>
                  </a:lnTo>
                  <a:lnTo>
                    <a:pt x="1412" y="1575"/>
                  </a:lnTo>
                  <a:lnTo>
                    <a:pt x="1412" y="1587"/>
                  </a:lnTo>
                  <a:lnTo>
                    <a:pt x="1413" y="1587"/>
                  </a:lnTo>
                  <a:lnTo>
                    <a:pt x="1412" y="1587"/>
                  </a:lnTo>
                  <a:lnTo>
                    <a:pt x="1409" y="1596"/>
                  </a:lnTo>
                  <a:lnTo>
                    <a:pt x="1409" y="1597"/>
                  </a:lnTo>
                  <a:lnTo>
                    <a:pt x="1409" y="1606"/>
                  </a:lnTo>
                  <a:lnTo>
                    <a:pt x="1409" y="1609"/>
                  </a:lnTo>
                  <a:lnTo>
                    <a:pt x="1409" y="1612"/>
                  </a:lnTo>
                  <a:lnTo>
                    <a:pt x="1410" y="1615"/>
                  </a:lnTo>
                  <a:lnTo>
                    <a:pt x="1412" y="1617"/>
                  </a:lnTo>
                  <a:lnTo>
                    <a:pt x="1412" y="1622"/>
                  </a:lnTo>
                  <a:lnTo>
                    <a:pt x="1402" y="1633"/>
                  </a:lnTo>
                  <a:lnTo>
                    <a:pt x="1399" y="1636"/>
                  </a:lnTo>
                  <a:lnTo>
                    <a:pt x="1396" y="1636"/>
                  </a:lnTo>
                  <a:lnTo>
                    <a:pt x="1393" y="1635"/>
                  </a:lnTo>
                  <a:lnTo>
                    <a:pt x="1392" y="1632"/>
                  </a:lnTo>
                  <a:lnTo>
                    <a:pt x="1389" y="1631"/>
                  </a:lnTo>
                  <a:lnTo>
                    <a:pt x="1384" y="1631"/>
                  </a:lnTo>
                  <a:lnTo>
                    <a:pt x="1381" y="1632"/>
                  </a:lnTo>
                  <a:lnTo>
                    <a:pt x="1378" y="1633"/>
                  </a:lnTo>
                  <a:lnTo>
                    <a:pt x="1374" y="1632"/>
                  </a:lnTo>
                  <a:lnTo>
                    <a:pt x="1358" y="1619"/>
                  </a:lnTo>
                  <a:lnTo>
                    <a:pt x="1342" y="1601"/>
                  </a:lnTo>
                  <a:lnTo>
                    <a:pt x="1339" y="1600"/>
                  </a:lnTo>
                  <a:lnTo>
                    <a:pt x="1336" y="1599"/>
                  </a:lnTo>
                  <a:lnTo>
                    <a:pt x="1330" y="1597"/>
                  </a:lnTo>
                  <a:lnTo>
                    <a:pt x="1322" y="1590"/>
                  </a:lnTo>
                  <a:lnTo>
                    <a:pt x="1320" y="1578"/>
                  </a:lnTo>
                  <a:lnTo>
                    <a:pt x="1325" y="1565"/>
                  </a:lnTo>
                  <a:lnTo>
                    <a:pt x="1333" y="1561"/>
                  </a:lnTo>
                  <a:lnTo>
                    <a:pt x="1326" y="1555"/>
                  </a:lnTo>
                  <a:lnTo>
                    <a:pt x="1317" y="1549"/>
                  </a:lnTo>
                  <a:lnTo>
                    <a:pt x="1313" y="1542"/>
                  </a:lnTo>
                  <a:lnTo>
                    <a:pt x="1316" y="1533"/>
                  </a:lnTo>
                  <a:lnTo>
                    <a:pt x="1310" y="1533"/>
                  </a:lnTo>
                  <a:lnTo>
                    <a:pt x="1291" y="1529"/>
                  </a:lnTo>
                  <a:lnTo>
                    <a:pt x="1278" y="1529"/>
                  </a:lnTo>
                  <a:lnTo>
                    <a:pt x="1266" y="1532"/>
                  </a:lnTo>
                  <a:lnTo>
                    <a:pt x="1259" y="1534"/>
                  </a:lnTo>
                  <a:lnTo>
                    <a:pt x="1243" y="1549"/>
                  </a:lnTo>
                  <a:lnTo>
                    <a:pt x="1239" y="1550"/>
                  </a:lnTo>
                  <a:lnTo>
                    <a:pt x="1231" y="1552"/>
                  </a:lnTo>
                  <a:lnTo>
                    <a:pt x="1224" y="1552"/>
                  </a:lnTo>
                  <a:lnTo>
                    <a:pt x="1218" y="1550"/>
                  </a:lnTo>
                  <a:lnTo>
                    <a:pt x="1208" y="1542"/>
                  </a:lnTo>
                  <a:lnTo>
                    <a:pt x="1205" y="1539"/>
                  </a:lnTo>
                  <a:lnTo>
                    <a:pt x="1204" y="1534"/>
                  </a:lnTo>
                  <a:lnTo>
                    <a:pt x="1201" y="1523"/>
                  </a:lnTo>
                  <a:lnTo>
                    <a:pt x="1198" y="1520"/>
                  </a:lnTo>
                  <a:lnTo>
                    <a:pt x="1192" y="1518"/>
                  </a:lnTo>
                  <a:lnTo>
                    <a:pt x="1179" y="1524"/>
                  </a:lnTo>
                  <a:lnTo>
                    <a:pt x="1173" y="1526"/>
                  </a:lnTo>
                  <a:lnTo>
                    <a:pt x="1153" y="1521"/>
                  </a:lnTo>
                  <a:lnTo>
                    <a:pt x="1145" y="1521"/>
                  </a:lnTo>
                  <a:lnTo>
                    <a:pt x="1138" y="1526"/>
                  </a:lnTo>
                  <a:lnTo>
                    <a:pt x="1134" y="1527"/>
                  </a:lnTo>
                  <a:lnTo>
                    <a:pt x="1131" y="1523"/>
                  </a:lnTo>
                  <a:lnTo>
                    <a:pt x="1128" y="1518"/>
                  </a:lnTo>
                  <a:lnTo>
                    <a:pt x="1129" y="1514"/>
                  </a:lnTo>
                  <a:lnTo>
                    <a:pt x="1132" y="1511"/>
                  </a:lnTo>
                  <a:lnTo>
                    <a:pt x="1134" y="1507"/>
                  </a:lnTo>
                  <a:lnTo>
                    <a:pt x="1134" y="1501"/>
                  </a:lnTo>
                  <a:lnTo>
                    <a:pt x="1135" y="1500"/>
                  </a:lnTo>
                  <a:lnTo>
                    <a:pt x="1134" y="1500"/>
                  </a:lnTo>
                  <a:lnTo>
                    <a:pt x="1129" y="1501"/>
                  </a:lnTo>
                  <a:lnTo>
                    <a:pt x="1126" y="1504"/>
                  </a:lnTo>
                  <a:lnTo>
                    <a:pt x="1118" y="1511"/>
                  </a:lnTo>
                  <a:lnTo>
                    <a:pt x="1112" y="1513"/>
                  </a:lnTo>
                  <a:lnTo>
                    <a:pt x="1113" y="1517"/>
                  </a:lnTo>
                  <a:lnTo>
                    <a:pt x="1115" y="1520"/>
                  </a:lnTo>
                  <a:lnTo>
                    <a:pt x="1116" y="1523"/>
                  </a:lnTo>
                  <a:lnTo>
                    <a:pt x="1119" y="1526"/>
                  </a:lnTo>
                  <a:lnTo>
                    <a:pt x="1122" y="1527"/>
                  </a:lnTo>
                  <a:lnTo>
                    <a:pt x="1122" y="1530"/>
                  </a:lnTo>
                  <a:lnTo>
                    <a:pt x="1123" y="1543"/>
                  </a:lnTo>
                  <a:lnTo>
                    <a:pt x="1122" y="1549"/>
                  </a:lnTo>
                  <a:lnTo>
                    <a:pt x="1121" y="1552"/>
                  </a:lnTo>
                  <a:lnTo>
                    <a:pt x="1112" y="1565"/>
                  </a:lnTo>
                  <a:lnTo>
                    <a:pt x="1109" y="1565"/>
                  </a:lnTo>
                  <a:lnTo>
                    <a:pt x="1029" y="1562"/>
                  </a:lnTo>
                  <a:lnTo>
                    <a:pt x="1000" y="1568"/>
                  </a:lnTo>
                  <a:lnTo>
                    <a:pt x="995" y="1569"/>
                  </a:lnTo>
                  <a:lnTo>
                    <a:pt x="992" y="1578"/>
                  </a:lnTo>
                  <a:lnTo>
                    <a:pt x="988" y="1580"/>
                  </a:lnTo>
                  <a:lnTo>
                    <a:pt x="969" y="1575"/>
                  </a:lnTo>
                  <a:lnTo>
                    <a:pt x="941" y="1575"/>
                  </a:lnTo>
                  <a:lnTo>
                    <a:pt x="925" y="1572"/>
                  </a:lnTo>
                  <a:lnTo>
                    <a:pt x="920" y="1572"/>
                  </a:lnTo>
                  <a:lnTo>
                    <a:pt x="918" y="1574"/>
                  </a:lnTo>
                  <a:lnTo>
                    <a:pt x="908" y="1583"/>
                  </a:lnTo>
                  <a:lnTo>
                    <a:pt x="906" y="1588"/>
                  </a:lnTo>
                  <a:lnTo>
                    <a:pt x="904" y="1600"/>
                  </a:lnTo>
                  <a:lnTo>
                    <a:pt x="902" y="1604"/>
                  </a:lnTo>
                  <a:lnTo>
                    <a:pt x="895" y="1612"/>
                  </a:lnTo>
                  <a:lnTo>
                    <a:pt x="887" y="1615"/>
                  </a:lnTo>
                  <a:lnTo>
                    <a:pt x="871" y="1617"/>
                  </a:lnTo>
                  <a:lnTo>
                    <a:pt x="863" y="1615"/>
                  </a:lnTo>
                  <a:lnTo>
                    <a:pt x="855" y="1613"/>
                  </a:lnTo>
                  <a:lnTo>
                    <a:pt x="847" y="1616"/>
                  </a:lnTo>
                  <a:lnTo>
                    <a:pt x="831" y="1633"/>
                  </a:lnTo>
                  <a:lnTo>
                    <a:pt x="835" y="1635"/>
                  </a:lnTo>
                  <a:lnTo>
                    <a:pt x="838" y="1638"/>
                  </a:lnTo>
                  <a:lnTo>
                    <a:pt x="839" y="1642"/>
                  </a:lnTo>
                  <a:lnTo>
                    <a:pt x="837" y="1647"/>
                  </a:lnTo>
                  <a:lnTo>
                    <a:pt x="831" y="1649"/>
                  </a:lnTo>
                  <a:lnTo>
                    <a:pt x="816" y="1649"/>
                  </a:lnTo>
                  <a:lnTo>
                    <a:pt x="810" y="1651"/>
                  </a:lnTo>
                  <a:lnTo>
                    <a:pt x="803" y="1658"/>
                  </a:lnTo>
                  <a:lnTo>
                    <a:pt x="799" y="1664"/>
                  </a:lnTo>
                  <a:lnTo>
                    <a:pt x="793" y="1670"/>
                  </a:lnTo>
                  <a:lnTo>
                    <a:pt x="786" y="1673"/>
                  </a:lnTo>
                  <a:lnTo>
                    <a:pt x="778" y="1671"/>
                  </a:lnTo>
                  <a:lnTo>
                    <a:pt x="778" y="1658"/>
                  </a:lnTo>
                  <a:lnTo>
                    <a:pt x="771" y="1655"/>
                  </a:lnTo>
                  <a:lnTo>
                    <a:pt x="762" y="1657"/>
                  </a:lnTo>
                  <a:lnTo>
                    <a:pt x="739" y="1673"/>
                  </a:lnTo>
                  <a:lnTo>
                    <a:pt x="733" y="1674"/>
                  </a:lnTo>
                  <a:lnTo>
                    <a:pt x="697" y="1674"/>
                  </a:lnTo>
                  <a:lnTo>
                    <a:pt x="691" y="1671"/>
                  </a:lnTo>
                  <a:lnTo>
                    <a:pt x="688" y="1664"/>
                  </a:lnTo>
                  <a:lnTo>
                    <a:pt x="689" y="1664"/>
                  </a:lnTo>
                  <a:lnTo>
                    <a:pt x="689" y="1663"/>
                  </a:lnTo>
                  <a:lnTo>
                    <a:pt x="691" y="1658"/>
                  </a:lnTo>
                  <a:lnTo>
                    <a:pt x="691" y="1655"/>
                  </a:lnTo>
                  <a:lnTo>
                    <a:pt x="689" y="1652"/>
                  </a:lnTo>
                  <a:lnTo>
                    <a:pt x="672" y="1635"/>
                  </a:lnTo>
                  <a:lnTo>
                    <a:pt x="654" y="1626"/>
                  </a:lnTo>
                  <a:lnTo>
                    <a:pt x="651" y="1622"/>
                  </a:lnTo>
                  <a:lnTo>
                    <a:pt x="663" y="1615"/>
                  </a:lnTo>
                  <a:lnTo>
                    <a:pt x="666" y="1610"/>
                  </a:lnTo>
                  <a:lnTo>
                    <a:pt x="659" y="1604"/>
                  </a:lnTo>
                  <a:lnTo>
                    <a:pt x="654" y="1603"/>
                  </a:lnTo>
                  <a:lnTo>
                    <a:pt x="650" y="1603"/>
                  </a:lnTo>
                  <a:lnTo>
                    <a:pt x="644" y="1604"/>
                  </a:lnTo>
                  <a:lnTo>
                    <a:pt x="631" y="1610"/>
                  </a:lnTo>
                  <a:lnTo>
                    <a:pt x="621" y="1612"/>
                  </a:lnTo>
                  <a:lnTo>
                    <a:pt x="618" y="1610"/>
                  </a:lnTo>
                  <a:lnTo>
                    <a:pt x="615" y="1609"/>
                  </a:lnTo>
                  <a:lnTo>
                    <a:pt x="615" y="1606"/>
                  </a:lnTo>
                  <a:lnTo>
                    <a:pt x="614" y="1604"/>
                  </a:lnTo>
                  <a:lnTo>
                    <a:pt x="567" y="1587"/>
                  </a:lnTo>
                  <a:lnTo>
                    <a:pt x="558" y="1587"/>
                  </a:lnTo>
                  <a:lnTo>
                    <a:pt x="554" y="1590"/>
                  </a:lnTo>
                  <a:lnTo>
                    <a:pt x="547" y="1600"/>
                  </a:lnTo>
                  <a:lnTo>
                    <a:pt x="542" y="1603"/>
                  </a:lnTo>
                  <a:lnTo>
                    <a:pt x="538" y="1604"/>
                  </a:lnTo>
                  <a:lnTo>
                    <a:pt x="523" y="1601"/>
                  </a:lnTo>
                  <a:lnTo>
                    <a:pt x="519" y="1599"/>
                  </a:lnTo>
                  <a:lnTo>
                    <a:pt x="516" y="1597"/>
                  </a:lnTo>
                  <a:lnTo>
                    <a:pt x="513" y="1594"/>
                  </a:lnTo>
                  <a:lnTo>
                    <a:pt x="513" y="1590"/>
                  </a:lnTo>
                  <a:lnTo>
                    <a:pt x="515" y="1587"/>
                  </a:lnTo>
                  <a:lnTo>
                    <a:pt x="516" y="1584"/>
                  </a:lnTo>
                  <a:lnTo>
                    <a:pt x="516" y="1583"/>
                  </a:lnTo>
                  <a:lnTo>
                    <a:pt x="515" y="1578"/>
                  </a:lnTo>
                  <a:lnTo>
                    <a:pt x="513" y="1577"/>
                  </a:lnTo>
                  <a:lnTo>
                    <a:pt x="512" y="1578"/>
                  </a:lnTo>
                  <a:lnTo>
                    <a:pt x="506" y="1580"/>
                  </a:lnTo>
                  <a:lnTo>
                    <a:pt x="500" y="1581"/>
                  </a:lnTo>
                  <a:lnTo>
                    <a:pt x="500" y="1585"/>
                  </a:lnTo>
                  <a:lnTo>
                    <a:pt x="503" y="1591"/>
                  </a:lnTo>
                  <a:lnTo>
                    <a:pt x="506" y="1597"/>
                  </a:lnTo>
                  <a:lnTo>
                    <a:pt x="506" y="1601"/>
                  </a:lnTo>
                  <a:lnTo>
                    <a:pt x="501" y="1622"/>
                  </a:lnTo>
                  <a:lnTo>
                    <a:pt x="507" y="1625"/>
                  </a:lnTo>
                  <a:lnTo>
                    <a:pt x="510" y="1628"/>
                  </a:lnTo>
                  <a:lnTo>
                    <a:pt x="512" y="1632"/>
                  </a:lnTo>
                  <a:lnTo>
                    <a:pt x="513" y="1639"/>
                  </a:lnTo>
                  <a:lnTo>
                    <a:pt x="513" y="1649"/>
                  </a:lnTo>
                  <a:lnTo>
                    <a:pt x="510" y="1661"/>
                  </a:lnTo>
                  <a:lnTo>
                    <a:pt x="504" y="1671"/>
                  </a:lnTo>
                  <a:lnTo>
                    <a:pt x="499" y="1679"/>
                  </a:lnTo>
                  <a:lnTo>
                    <a:pt x="496" y="1682"/>
                  </a:lnTo>
                  <a:lnTo>
                    <a:pt x="488" y="1684"/>
                  </a:lnTo>
                  <a:lnTo>
                    <a:pt x="485" y="1686"/>
                  </a:lnTo>
                  <a:lnTo>
                    <a:pt x="482" y="1689"/>
                  </a:lnTo>
                  <a:lnTo>
                    <a:pt x="475" y="1705"/>
                  </a:lnTo>
                  <a:lnTo>
                    <a:pt x="469" y="1714"/>
                  </a:lnTo>
                  <a:lnTo>
                    <a:pt x="462" y="1719"/>
                  </a:lnTo>
                  <a:lnTo>
                    <a:pt x="446" y="1730"/>
                  </a:lnTo>
                  <a:lnTo>
                    <a:pt x="439" y="1732"/>
                  </a:lnTo>
                  <a:lnTo>
                    <a:pt x="417" y="1735"/>
                  </a:lnTo>
                  <a:lnTo>
                    <a:pt x="411" y="1735"/>
                  </a:lnTo>
                  <a:lnTo>
                    <a:pt x="410" y="1734"/>
                  </a:lnTo>
                  <a:lnTo>
                    <a:pt x="411" y="1731"/>
                  </a:lnTo>
                  <a:lnTo>
                    <a:pt x="414" y="1725"/>
                  </a:lnTo>
                  <a:lnTo>
                    <a:pt x="415" y="1725"/>
                  </a:lnTo>
                  <a:lnTo>
                    <a:pt x="420" y="1724"/>
                  </a:lnTo>
                  <a:lnTo>
                    <a:pt x="423" y="1722"/>
                  </a:lnTo>
                  <a:lnTo>
                    <a:pt x="423" y="1718"/>
                  </a:lnTo>
                  <a:lnTo>
                    <a:pt x="423" y="1715"/>
                  </a:lnTo>
                  <a:lnTo>
                    <a:pt x="423" y="1712"/>
                  </a:lnTo>
                  <a:lnTo>
                    <a:pt x="429" y="1693"/>
                  </a:lnTo>
                  <a:lnTo>
                    <a:pt x="429" y="1683"/>
                  </a:lnTo>
                  <a:lnTo>
                    <a:pt x="423" y="1680"/>
                  </a:lnTo>
                  <a:lnTo>
                    <a:pt x="407" y="1683"/>
                  </a:lnTo>
                  <a:lnTo>
                    <a:pt x="402" y="1687"/>
                  </a:lnTo>
                  <a:lnTo>
                    <a:pt x="401" y="1689"/>
                  </a:lnTo>
                  <a:lnTo>
                    <a:pt x="399" y="1689"/>
                  </a:lnTo>
                  <a:lnTo>
                    <a:pt x="397" y="1686"/>
                  </a:lnTo>
                  <a:lnTo>
                    <a:pt x="394" y="1686"/>
                  </a:lnTo>
                  <a:lnTo>
                    <a:pt x="389" y="1689"/>
                  </a:lnTo>
                  <a:lnTo>
                    <a:pt x="386" y="1690"/>
                  </a:lnTo>
                  <a:lnTo>
                    <a:pt x="385" y="1690"/>
                  </a:lnTo>
                  <a:lnTo>
                    <a:pt x="382" y="1687"/>
                  </a:lnTo>
                  <a:lnTo>
                    <a:pt x="379" y="1683"/>
                  </a:lnTo>
                  <a:lnTo>
                    <a:pt x="379" y="1677"/>
                  </a:lnTo>
                  <a:lnTo>
                    <a:pt x="378" y="1671"/>
                  </a:lnTo>
                  <a:lnTo>
                    <a:pt x="375" y="1667"/>
                  </a:lnTo>
                  <a:lnTo>
                    <a:pt x="382" y="1661"/>
                  </a:lnTo>
                  <a:lnTo>
                    <a:pt x="383" y="1655"/>
                  </a:lnTo>
                  <a:lnTo>
                    <a:pt x="381" y="1649"/>
                  </a:lnTo>
                  <a:lnTo>
                    <a:pt x="364" y="1625"/>
                  </a:lnTo>
                  <a:lnTo>
                    <a:pt x="360" y="1626"/>
                  </a:lnTo>
                  <a:lnTo>
                    <a:pt x="357" y="1629"/>
                  </a:lnTo>
                  <a:lnTo>
                    <a:pt x="354" y="1631"/>
                  </a:lnTo>
                  <a:lnTo>
                    <a:pt x="350" y="1628"/>
                  </a:lnTo>
                  <a:lnTo>
                    <a:pt x="350" y="1625"/>
                  </a:lnTo>
                  <a:lnTo>
                    <a:pt x="350" y="1623"/>
                  </a:lnTo>
                  <a:lnTo>
                    <a:pt x="350" y="1622"/>
                  </a:lnTo>
                  <a:lnTo>
                    <a:pt x="346" y="1615"/>
                  </a:lnTo>
                  <a:lnTo>
                    <a:pt x="341" y="1610"/>
                  </a:lnTo>
                  <a:lnTo>
                    <a:pt x="338" y="1606"/>
                  </a:lnTo>
                  <a:lnTo>
                    <a:pt x="337" y="1597"/>
                  </a:lnTo>
                  <a:lnTo>
                    <a:pt x="332" y="1601"/>
                  </a:lnTo>
                  <a:lnTo>
                    <a:pt x="328" y="1601"/>
                  </a:lnTo>
                  <a:lnTo>
                    <a:pt x="318" y="1601"/>
                  </a:lnTo>
                  <a:lnTo>
                    <a:pt x="306" y="1597"/>
                  </a:lnTo>
                  <a:lnTo>
                    <a:pt x="305" y="1597"/>
                  </a:lnTo>
                  <a:lnTo>
                    <a:pt x="300" y="1600"/>
                  </a:lnTo>
                  <a:lnTo>
                    <a:pt x="297" y="1600"/>
                  </a:lnTo>
                  <a:lnTo>
                    <a:pt x="292" y="1597"/>
                  </a:lnTo>
                  <a:lnTo>
                    <a:pt x="290" y="1591"/>
                  </a:lnTo>
                  <a:lnTo>
                    <a:pt x="290" y="1585"/>
                  </a:lnTo>
                  <a:lnTo>
                    <a:pt x="289" y="1580"/>
                  </a:lnTo>
                  <a:lnTo>
                    <a:pt x="286" y="1575"/>
                  </a:lnTo>
                  <a:lnTo>
                    <a:pt x="280" y="1574"/>
                  </a:lnTo>
                  <a:lnTo>
                    <a:pt x="276" y="1574"/>
                  </a:lnTo>
                  <a:lnTo>
                    <a:pt x="270" y="1577"/>
                  </a:lnTo>
                  <a:lnTo>
                    <a:pt x="263" y="1585"/>
                  </a:lnTo>
                  <a:lnTo>
                    <a:pt x="258" y="1594"/>
                  </a:lnTo>
                  <a:lnTo>
                    <a:pt x="254" y="1603"/>
                  </a:lnTo>
                  <a:lnTo>
                    <a:pt x="244" y="1607"/>
                  </a:lnTo>
                  <a:lnTo>
                    <a:pt x="222" y="1607"/>
                  </a:lnTo>
                  <a:lnTo>
                    <a:pt x="201" y="1601"/>
                  </a:lnTo>
                  <a:lnTo>
                    <a:pt x="201" y="1601"/>
                  </a:lnTo>
                  <a:lnTo>
                    <a:pt x="217" y="1580"/>
                  </a:lnTo>
                  <a:lnTo>
                    <a:pt x="222" y="1574"/>
                  </a:lnTo>
                  <a:lnTo>
                    <a:pt x="222" y="1572"/>
                  </a:lnTo>
                  <a:lnTo>
                    <a:pt x="225" y="1572"/>
                  </a:lnTo>
                  <a:lnTo>
                    <a:pt x="233" y="1571"/>
                  </a:lnTo>
                  <a:lnTo>
                    <a:pt x="236" y="1569"/>
                  </a:lnTo>
                  <a:lnTo>
                    <a:pt x="238" y="1568"/>
                  </a:lnTo>
                  <a:lnTo>
                    <a:pt x="238" y="1568"/>
                  </a:lnTo>
                  <a:lnTo>
                    <a:pt x="238" y="1566"/>
                  </a:lnTo>
                  <a:lnTo>
                    <a:pt x="239" y="1564"/>
                  </a:lnTo>
                  <a:lnTo>
                    <a:pt x="245" y="1561"/>
                  </a:lnTo>
                  <a:lnTo>
                    <a:pt x="246" y="1562"/>
                  </a:lnTo>
                  <a:lnTo>
                    <a:pt x="257" y="1565"/>
                  </a:lnTo>
                  <a:lnTo>
                    <a:pt x="273" y="1556"/>
                  </a:lnTo>
                  <a:lnTo>
                    <a:pt x="299" y="1534"/>
                  </a:lnTo>
                  <a:lnTo>
                    <a:pt x="305" y="1530"/>
                  </a:lnTo>
                  <a:lnTo>
                    <a:pt x="309" y="1529"/>
                  </a:lnTo>
                  <a:lnTo>
                    <a:pt x="312" y="1530"/>
                  </a:lnTo>
                  <a:lnTo>
                    <a:pt x="324" y="1534"/>
                  </a:lnTo>
                  <a:lnTo>
                    <a:pt x="331" y="1537"/>
                  </a:lnTo>
                  <a:lnTo>
                    <a:pt x="340" y="1537"/>
                  </a:lnTo>
                  <a:lnTo>
                    <a:pt x="346" y="1536"/>
                  </a:lnTo>
                  <a:lnTo>
                    <a:pt x="351" y="1533"/>
                  </a:lnTo>
                  <a:lnTo>
                    <a:pt x="359" y="1529"/>
                  </a:lnTo>
                  <a:lnTo>
                    <a:pt x="367" y="1526"/>
                  </a:lnTo>
                  <a:lnTo>
                    <a:pt x="372" y="1526"/>
                  </a:lnTo>
                  <a:lnTo>
                    <a:pt x="375" y="1526"/>
                  </a:lnTo>
                  <a:lnTo>
                    <a:pt x="376" y="1527"/>
                  </a:lnTo>
                  <a:lnTo>
                    <a:pt x="378" y="1529"/>
                  </a:lnTo>
                  <a:lnTo>
                    <a:pt x="379" y="1534"/>
                  </a:lnTo>
                  <a:lnTo>
                    <a:pt x="381" y="1537"/>
                  </a:lnTo>
                  <a:lnTo>
                    <a:pt x="382" y="1542"/>
                  </a:lnTo>
                  <a:lnTo>
                    <a:pt x="386" y="1537"/>
                  </a:lnTo>
                  <a:lnTo>
                    <a:pt x="386" y="1530"/>
                  </a:lnTo>
                  <a:lnTo>
                    <a:pt x="386" y="1527"/>
                  </a:lnTo>
                  <a:lnTo>
                    <a:pt x="388" y="1527"/>
                  </a:lnTo>
                  <a:lnTo>
                    <a:pt x="388" y="1526"/>
                  </a:lnTo>
                  <a:lnTo>
                    <a:pt x="388" y="1526"/>
                  </a:lnTo>
                  <a:lnTo>
                    <a:pt x="395" y="1529"/>
                  </a:lnTo>
                  <a:lnTo>
                    <a:pt x="398" y="1529"/>
                  </a:lnTo>
                  <a:lnTo>
                    <a:pt x="399" y="1529"/>
                  </a:lnTo>
                  <a:lnTo>
                    <a:pt x="401" y="1527"/>
                  </a:lnTo>
                  <a:lnTo>
                    <a:pt x="401" y="1526"/>
                  </a:lnTo>
                  <a:lnTo>
                    <a:pt x="401" y="1524"/>
                  </a:lnTo>
                  <a:lnTo>
                    <a:pt x="402" y="1523"/>
                  </a:lnTo>
                  <a:lnTo>
                    <a:pt x="402" y="1520"/>
                  </a:lnTo>
                  <a:lnTo>
                    <a:pt x="401" y="1518"/>
                  </a:lnTo>
                  <a:lnTo>
                    <a:pt x="399" y="1516"/>
                  </a:lnTo>
                  <a:lnTo>
                    <a:pt x="398" y="1510"/>
                  </a:lnTo>
                  <a:lnTo>
                    <a:pt x="398" y="1501"/>
                  </a:lnTo>
                  <a:lnTo>
                    <a:pt x="397" y="1485"/>
                  </a:lnTo>
                  <a:lnTo>
                    <a:pt x="397" y="1484"/>
                  </a:lnTo>
                  <a:lnTo>
                    <a:pt x="397" y="1482"/>
                  </a:lnTo>
                  <a:lnTo>
                    <a:pt x="395" y="1481"/>
                  </a:lnTo>
                  <a:lnTo>
                    <a:pt x="395" y="1481"/>
                  </a:lnTo>
                  <a:lnTo>
                    <a:pt x="392" y="1481"/>
                  </a:lnTo>
                  <a:lnTo>
                    <a:pt x="391" y="1481"/>
                  </a:lnTo>
                  <a:lnTo>
                    <a:pt x="391" y="1479"/>
                  </a:lnTo>
                  <a:lnTo>
                    <a:pt x="389" y="1478"/>
                  </a:lnTo>
                  <a:lnTo>
                    <a:pt x="388" y="1475"/>
                  </a:lnTo>
                  <a:lnTo>
                    <a:pt x="386" y="1473"/>
                  </a:lnTo>
                  <a:lnTo>
                    <a:pt x="383" y="1470"/>
                  </a:lnTo>
                  <a:lnTo>
                    <a:pt x="383" y="1469"/>
                  </a:lnTo>
                  <a:lnTo>
                    <a:pt x="383" y="1467"/>
                  </a:lnTo>
                  <a:lnTo>
                    <a:pt x="386" y="1465"/>
                  </a:lnTo>
                  <a:lnTo>
                    <a:pt x="386" y="1465"/>
                  </a:lnTo>
                  <a:lnTo>
                    <a:pt x="388" y="1463"/>
                  </a:lnTo>
                  <a:lnTo>
                    <a:pt x="388" y="1463"/>
                  </a:lnTo>
                  <a:lnTo>
                    <a:pt x="394" y="1463"/>
                  </a:lnTo>
                  <a:lnTo>
                    <a:pt x="395" y="1463"/>
                  </a:lnTo>
                  <a:lnTo>
                    <a:pt x="397" y="1462"/>
                  </a:lnTo>
                  <a:lnTo>
                    <a:pt x="397" y="1459"/>
                  </a:lnTo>
                  <a:lnTo>
                    <a:pt x="397" y="1459"/>
                  </a:lnTo>
                  <a:lnTo>
                    <a:pt x="398" y="1457"/>
                  </a:lnTo>
                  <a:lnTo>
                    <a:pt x="398" y="1457"/>
                  </a:lnTo>
                  <a:lnTo>
                    <a:pt x="399" y="1457"/>
                  </a:lnTo>
                  <a:lnTo>
                    <a:pt x="401" y="1456"/>
                  </a:lnTo>
                  <a:lnTo>
                    <a:pt x="395" y="1441"/>
                  </a:lnTo>
                  <a:lnTo>
                    <a:pt x="394" y="1437"/>
                  </a:lnTo>
                  <a:lnTo>
                    <a:pt x="392" y="1434"/>
                  </a:lnTo>
                  <a:lnTo>
                    <a:pt x="392" y="1433"/>
                  </a:lnTo>
                  <a:lnTo>
                    <a:pt x="391" y="1433"/>
                  </a:lnTo>
                  <a:lnTo>
                    <a:pt x="391" y="1433"/>
                  </a:lnTo>
                  <a:lnTo>
                    <a:pt x="391" y="1433"/>
                  </a:lnTo>
                  <a:lnTo>
                    <a:pt x="389" y="1433"/>
                  </a:lnTo>
                  <a:lnTo>
                    <a:pt x="389" y="1433"/>
                  </a:lnTo>
                  <a:lnTo>
                    <a:pt x="388" y="1433"/>
                  </a:lnTo>
                  <a:lnTo>
                    <a:pt x="386" y="1433"/>
                  </a:lnTo>
                  <a:lnTo>
                    <a:pt x="386" y="1431"/>
                  </a:lnTo>
                  <a:lnTo>
                    <a:pt x="386" y="1431"/>
                  </a:lnTo>
                  <a:lnTo>
                    <a:pt x="386" y="1430"/>
                  </a:lnTo>
                  <a:lnTo>
                    <a:pt x="388" y="1428"/>
                  </a:lnTo>
                  <a:lnTo>
                    <a:pt x="388" y="1428"/>
                  </a:lnTo>
                  <a:lnTo>
                    <a:pt x="388" y="1428"/>
                  </a:lnTo>
                  <a:lnTo>
                    <a:pt x="389" y="1427"/>
                  </a:lnTo>
                  <a:lnTo>
                    <a:pt x="389" y="1425"/>
                  </a:lnTo>
                  <a:lnTo>
                    <a:pt x="391" y="1424"/>
                  </a:lnTo>
                  <a:lnTo>
                    <a:pt x="391" y="1418"/>
                  </a:lnTo>
                  <a:lnTo>
                    <a:pt x="392" y="1417"/>
                  </a:lnTo>
                  <a:lnTo>
                    <a:pt x="394" y="1414"/>
                  </a:lnTo>
                  <a:lnTo>
                    <a:pt x="394" y="1411"/>
                  </a:lnTo>
                  <a:lnTo>
                    <a:pt x="394" y="1408"/>
                  </a:lnTo>
                  <a:lnTo>
                    <a:pt x="395" y="1395"/>
                  </a:lnTo>
                  <a:lnTo>
                    <a:pt x="394" y="1393"/>
                  </a:lnTo>
                  <a:lnTo>
                    <a:pt x="389" y="1389"/>
                  </a:lnTo>
                  <a:lnTo>
                    <a:pt x="389" y="1387"/>
                  </a:lnTo>
                  <a:lnTo>
                    <a:pt x="386" y="1382"/>
                  </a:lnTo>
                  <a:lnTo>
                    <a:pt x="386" y="1379"/>
                  </a:lnTo>
                  <a:lnTo>
                    <a:pt x="386" y="1377"/>
                  </a:lnTo>
                  <a:lnTo>
                    <a:pt x="386" y="1374"/>
                  </a:lnTo>
                  <a:lnTo>
                    <a:pt x="388" y="1374"/>
                  </a:lnTo>
                  <a:lnTo>
                    <a:pt x="388" y="1373"/>
                  </a:lnTo>
                  <a:lnTo>
                    <a:pt x="391" y="1371"/>
                  </a:lnTo>
                  <a:lnTo>
                    <a:pt x="401" y="1344"/>
                  </a:lnTo>
                  <a:lnTo>
                    <a:pt x="404" y="1332"/>
                  </a:lnTo>
                  <a:lnTo>
                    <a:pt x="405" y="1318"/>
                  </a:lnTo>
                  <a:lnTo>
                    <a:pt x="404" y="1312"/>
                  </a:lnTo>
                  <a:lnTo>
                    <a:pt x="404" y="1306"/>
                  </a:lnTo>
                  <a:lnTo>
                    <a:pt x="394" y="1284"/>
                  </a:lnTo>
                  <a:lnTo>
                    <a:pt x="381" y="1221"/>
                  </a:lnTo>
                  <a:lnTo>
                    <a:pt x="375" y="1202"/>
                  </a:lnTo>
                  <a:lnTo>
                    <a:pt x="373" y="1200"/>
                  </a:lnTo>
                  <a:lnTo>
                    <a:pt x="369" y="1192"/>
                  </a:lnTo>
                  <a:lnTo>
                    <a:pt x="364" y="1184"/>
                  </a:lnTo>
                  <a:lnTo>
                    <a:pt x="357" y="1170"/>
                  </a:lnTo>
                  <a:lnTo>
                    <a:pt x="357" y="1169"/>
                  </a:lnTo>
                  <a:lnTo>
                    <a:pt x="357" y="1169"/>
                  </a:lnTo>
                  <a:lnTo>
                    <a:pt x="356" y="1169"/>
                  </a:lnTo>
                  <a:lnTo>
                    <a:pt x="356" y="1169"/>
                  </a:lnTo>
                  <a:lnTo>
                    <a:pt x="356" y="1169"/>
                  </a:lnTo>
                  <a:lnTo>
                    <a:pt x="354" y="1169"/>
                  </a:lnTo>
                  <a:lnTo>
                    <a:pt x="353" y="1169"/>
                  </a:lnTo>
                  <a:lnTo>
                    <a:pt x="350" y="1163"/>
                  </a:lnTo>
                  <a:lnTo>
                    <a:pt x="369" y="1136"/>
                  </a:lnTo>
                  <a:lnTo>
                    <a:pt x="372" y="1134"/>
                  </a:lnTo>
                  <a:lnTo>
                    <a:pt x="370" y="1131"/>
                  </a:lnTo>
                  <a:lnTo>
                    <a:pt x="370" y="1130"/>
                  </a:lnTo>
                  <a:lnTo>
                    <a:pt x="370" y="1127"/>
                  </a:lnTo>
                  <a:lnTo>
                    <a:pt x="372" y="1122"/>
                  </a:lnTo>
                  <a:lnTo>
                    <a:pt x="373" y="1121"/>
                  </a:lnTo>
                  <a:lnTo>
                    <a:pt x="376" y="1118"/>
                  </a:lnTo>
                  <a:lnTo>
                    <a:pt x="379" y="1117"/>
                  </a:lnTo>
                  <a:lnTo>
                    <a:pt x="379" y="1115"/>
                  </a:lnTo>
                  <a:lnTo>
                    <a:pt x="383" y="1115"/>
                  </a:lnTo>
                  <a:lnTo>
                    <a:pt x="391" y="1114"/>
                  </a:lnTo>
                  <a:lnTo>
                    <a:pt x="391" y="1114"/>
                  </a:lnTo>
                  <a:lnTo>
                    <a:pt x="394" y="1111"/>
                  </a:lnTo>
                  <a:lnTo>
                    <a:pt x="398" y="1108"/>
                  </a:lnTo>
                  <a:lnTo>
                    <a:pt x="399" y="1108"/>
                  </a:lnTo>
                  <a:lnTo>
                    <a:pt x="401" y="1108"/>
                  </a:lnTo>
                  <a:lnTo>
                    <a:pt x="402" y="1108"/>
                  </a:lnTo>
                  <a:lnTo>
                    <a:pt x="402" y="1108"/>
                  </a:lnTo>
                  <a:lnTo>
                    <a:pt x="404" y="1109"/>
                  </a:lnTo>
                  <a:lnTo>
                    <a:pt x="404" y="1109"/>
                  </a:lnTo>
                  <a:lnTo>
                    <a:pt x="404" y="1111"/>
                  </a:lnTo>
                  <a:lnTo>
                    <a:pt x="405" y="1112"/>
                  </a:lnTo>
                  <a:lnTo>
                    <a:pt x="405" y="1115"/>
                  </a:lnTo>
                  <a:lnTo>
                    <a:pt x="405" y="1117"/>
                  </a:lnTo>
                  <a:lnTo>
                    <a:pt x="405" y="1117"/>
                  </a:lnTo>
                  <a:lnTo>
                    <a:pt x="407" y="1118"/>
                  </a:lnTo>
                  <a:lnTo>
                    <a:pt x="407" y="1118"/>
                  </a:lnTo>
                  <a:lnTo>
                    <a:pt x="408" y="1118"/>
                  </a:lnTo>
                  <a:lnTo>
                    <a:pt x="410" y="1120"/>
                  </a:lnTo>
                  <a:lnTo>
                    <a:pt x="443" y="1098"/>
                  </a:lnTo>
                  <a:lnTo>
                    <a:pt x="445" y="1092"/>
                  </a:lnTo>
                  <a:lnTo>
                    <a:pt x="445" y="1092"/>
                  </a:lnTo>
                  <a:lnTo>
                    <a:pt x="445" y="1090"/>
                  </a:lnTo>
                  <a:lnTo>
                    <a:pt x="448" y="1088"/>
                  </a:lnTo>
                  <a:lnTo>
                    <a:pt x="449" y="1088"/>
                  </a:lnTo>
                  <a:lnTo>
                    <a:pt x="449" y="1086"/>
                  </a:lnTo>
                  <a:lnTo>
                    <a:pt x="452" y="1086"/>
                  </a:lnTo>
                  <a:lnTo>
                    <a:pt x="465" y="1085"/>
                  </a:lnTo>
                  <a:lnTo>
                    <a:pt x="466" y="1085"/>
                  </a:lnTo>
                  <a:lnTo>
                    <a:pt x="466" y="1085"/>
                  </a:lnTo>
                  <a:lnTo>
                    <a:pt x="466" y="1083"/>
                  </a:lnTo>
                  <a:lnTo>
                    <a:pt x="465" y="1083"/>
                  </a:lnTo>
                  <a:lnTo>
                    <a:pt x="465" y="1082"/>
                  </a:lnTo>
                  <a:lnTo>
                    <a:pt x="465" y="1082"/>
                  </a:lnTo>
                  <a:lnTo>
                    <a:pt x="465" y="1080"/>
                  </a:lnTo>
                  <a:lnTo>
                    <a:pt x="465" y="1079"/>
                  </a:lnTo>
                  <a:lnTo>
                    <a:pt x="468" y="1069"/>
                  </a:lnTo>
                  <a:lnTo>
                    <a:pt x="469" y="1066"/>
                  </a:lnTo>
                  <a:lnTo>
                    <a:pt x="469" y="1063"/>
                  </a:lnTo>
                  <a:lnTo>
                    <a:pt x="468" y="1060"/>
                  </a:lnTo>
                  <a:lnTo>
                    <a:pt x="468" y="1057"/>
                  </a:lnTo>
                  <a:lnTo>
                    <a:pt x="468" y="1056"/>
                  </a:lnTo>
                  <a:lnTo>
                    <a:pt x="466" y="1053"/>
                  </a:lnTo>
                  <a:lnTo>
                    <a:pt x="465" y="1051"/>
                  </a:lnTo>
                  <a:lnTo>
                    <a:pt x="465" y="1050"/>
                  </a:lnTo>
                  <a:lnTo>
                    <a:pt x="465" y="1048"/>
                  </a:lnTo>
                  <a:lnTo>
                    <a:pt x="464" y="1047"/>
                  </a:lnTo>
                  <a:lnTo>
                    <a:pt x="465" y="1045"/>
                  </a:lnTo>
                  <a:lnTo>
                    <a:pt x="465" y="1044"/>
                  </a:lnTo>
                  <a:lnTo>
                    <a:pt x="466" y="1044"/>
                  </a:lnTo>
                  <a:lnTo>
                    <a:pt x="469" y="1042"/>
                  </a:lnTo>
                  <a:lnTo>
                    <a:pt x="471" y="1041"/>
                  </a:lnTo>
                  <a:lnTo>
                    <a:pt x="472" y="1039"/>
                  </a:lnTo>
                  <a:lnTo>
                    <a:pt x="472" y="1038"/>
                  </a:lnTo>
                  <a:lnTo>
                    <a:pt x="472" y="1037"/>
                  </a:lnTo>
                  <a:lnTo>
                    <a:pt x="471" y="1035"/>
                  </a:lnTo>
                  <a:lnTo>
                    <a:pt x="471" y="1035"/>
                  </a:lnTo>
                  <a:lnTo>
                    <a:pt x="468" y="1034"/>
                  </a:lnTo>
                  <a:lnTo>
                    <a:pt x="465" y="1032"/>
                  </a:lnTo>
                  <a:lnTo>
                    <a:pt x="464" y="1029"/>
                  </a:lnTo>
                  <a:lnTo>
                    <a:pt x="462" y="1028"/>
                  </a:lnTo>
                  <a:lnTo>
                    <a:pt x="461" y="1026"/>
                  </a:lnTo>
                  <a:lnTo>
                    <a:pt x="458" y="1026"/>
                  </a:lnTo>
                  <a:lnTo>
                    <a:pt x="456" y="1025"/>
                  </a:lnTo>
                  <a:lnTo>
                    <a:pt x="456" y="1025"/>
                  </a:lnTo>
                  <a:lnTo>
                    <a:pt x="455" y="1023"/>
                  </a:lnTo>
                  <a:lnTo>
                    <a:pt x="455" y="1021"/>
                  </a:lnTo>
                  <a:lnTo>
                    <a:pt x="455" y="1021"/>
                  </a:lnTo>
                  <a:lnTo>
                    <a:pt x="453" y="1019"/>
                  </a:lnTo>
                  <a:lnTo>
                    <a:pt x="452" y="1018"/>
                  </a:lnTo>
                  <a:lnTo>
                    <a:pt x="450" y="1016"/>
                  </a:lnTo>
                  <a:lnTo>
                    <a:pt x="450" y="1012"/>
                  </a:lnTo>
                  <a:lnTo>
                    <a:pt x="450" y="1006"/>
                  </a:lnTo>
                  <a:lnTo>
                    <a:pt x="450" y="1005"/>
                  </a:lnTo>
                  <a:lnTo>
                    <a:pt x="450" y="1005"/>
                  </a:lnTo>
                  <a:lnTo>
                    <a:pt x="455" y="1002"/>
                  </a:lnTo>
                  <a:lnTo>
                    <a:pt x="456" y="996"/>
                  </a:lnTo>
                  <a:lnTo>
                    <a:pt x="458" y="994"/>
                  </a:lnTo>
                  <a:lnTo>
                    <a:pt x="459" y="994"/>
                  </a:lnTo>
                  <a:lnTo>
                    <a:pt x="461" y="996"/>
                  </a:lnTo>
                  <a:lnTo>
                    <a:pt x="465" y="1000"/>
                  </a:lnTo>
                  <a:lnTo>
                    <a:pt x="466" y="1002"/>
                  </a:lnTo>
                  <a:lnTo>
                    <a:pt x="468" y="1002"/>
                  </a:lnTo>
                  <a:lnTo>
                    <a:pt x="469" y="1002"/>
                  </a:lnTo>
                  <a:lnTo>
                    <a:pt x="477" y="1002"/>
                  </a:lnTo>
                  <a:lnTo>
                    <a:pt x="478" y="1002"/>
                  </a:lnTo>
                  <a:lnTo>
                    <a:pt x="480" y="1003"/>
                  </a:lnTo>
                  <a:lnTo>
                    <a:pt x="481" y="1010"/>
                  </a:lnTo>
                  <a:lnTo>
                    <a:pt x="484" y="1013"/>
                  </a:lnTo>
                  <a:lnTo>
                    <a:pt x="485" y="1015"/>
                  </a:lnTo>
                  <a:lnTo>
                    <a:pt x="485" y="1015"/>
                  </a:lnTo>
                  <a:lnTo>
                    <a:pt x="487" y="1015"/>
                  </a:lnTo>
                  <a:lnTo>
                    <a:pt x="488" y="1013"/>
                  </a:lnTo>
                  <a:lnTo>
                    <a:pt x="503" y="996"/>
                  </a:lnTo>
                  <a:lnTo>
                    <a:pt x="506" y="994"/>
                  </a:lnTo>
                  <a:lnTo>
                    <a:pt x="507" y="994"/>
                  </a:lnTo>
                  <a:lnTo>
                    <a:pt x="509" y="994"/>
                  </a:lnTo>
                  <a:lnTo>
                    <a:pt x="510" y="994"/>
                  </a:lnTo>
                  <a:lnTo>
                    <a:pt x="510" y="997"/>
                  </a:lnTo>
                  <a:lnTo>
                    <a:pt x="510" y="997"/>
                  </a:lnTo>
                  <a:lnTo>
                    <a:pt x="510" y="999"/>
                  </a:lnTo>
                  <a:lnTo>
                    <a:pt x="509" y="999"/>
                  </a:lnTo>
                  <a:lnTo>
                    <a:pt x="507" y="1000"/>
                  </a:lnTo>
                  <a:lnTo>
                    <a:pt x="509" y="1002"/>
                  </a:lnTo>
                  <a:lnTo>
                    <a:pt x="509" y="1003"/>
                  </a:lnTo>
                  <a:lnTo>
                    <a:pt x="507" y="1006"/>
                  </a:lnTo>
                  <a:lnTo>
                    <a:pt x="506" y="1007"/>
                  </a:lnTo>
                  <a:lnTo>
                    <a:pt x="506" y="1007"/>
                  </a:lnTo>
                  <a:lnTo>
                    <a:pt x="506" y="1009"/>
                  </a:lnTo>
                  <a:lnTo>
                    <a:pt x="506" y="1010"/>
                  </a:lnTo>
                  <a:lnTo>
                    <a:pt x="507" y="1012"/>
                  </a:lnTo>
                  <a:lnTo>
                    <a:pt x="507" y="1013"/>
                  </a:lnTo>
                  <a:lnTo>
                    <a:pt x="507" y="1013"/>
                  </a:lnTo>
                  <a:lnTo>
                    <a:pt x="509" y="1013"/>
                  </a:lnTo>
                  <a:lnTo>
                    <a:pt x="513" y="1010"/>
                  </a:lnTo>
                  <a:lnTo>
                    <a:pt x="528" y="997"/>
                  </a:lnTo>
                  <a:lnTo>
                    <a:pt x="522" y="986"/>
                  </a:lnTo>
                  <a:lnTo>
                    <a:pt x="520" y="981"/>
                  </a:lnTo>
                  <a:lnTo>
                    <a:pt x="520" y="978"/>
                  </a:lnTo>
                  <a:lnTo>
                    <a:pt x="519" y="978"/>
                  </a:lnTo>
                  <a:lnTo>
                    <a:pt x="519" y="977"/>
                  </a:lnTo>
                  <a:lnTo>
                    <a:pt x="516" y="978"/>
                  </a:lnTo>
                  <a:lnTo>
                    <a:pt x="509" y="974"/>
                  </a:lnTo>
                  <a:lnTo>
                    <a:pt x="507" y="971"/>
                  </a:lnTo>
                  <a:lnTo>
                    <a:pt x="507" y="971"/>
                  </a:lnTo>
                  <a:lnTo>
                    <a:pt x="506" y="970"/>
                  </a:lnTo>
                  <a:lnTo>
                    <a:pt x="506" y="967"/>
                  </a:lnTo>
                  <a:lnTo>
                    <a:pt x="506" y="964"/>
                  </a:lnTo>
                  <a:lnTo>
                    <a:pt x="506" y="964"/>
                  </a:lnTo>
                  <a:lnTo>
                    <a:pt x="506" y="962"/>
                  </a:lnTo>
                  <a:lnTo>
                    <a:pt x="507" y="961"/>
                  </a:lnTo>
                  <a:lnTo>
                    <a:pt x="507" y="959"/>
                  </a:lnTo>
                  <a:lnTo>
                    <a:pt x="507" y="959"/>
                  </a:lnTo>
                  <a:lnTo>
                    <a:pt x="509" y="958"/>
                  </a:lnTo>
                  <a:lnTo>
                    <a:pt x="509" y="956"/>
                  </a:lnTo>
                  <a:lnTo>
                    <a:pt x="509" y="954"/>
                  </a:lnTo>
                  <a:lnTo>
                    <a:pt x="509" y="948"/>
                  </a:lnTo>
                  <a:lnTo>
                    <a:pt x="509" y="943"/>
                  </a:lnTo>
                  <a:lnTo>
                    <a:pt x="509" y="942"/>
                  </a:lnTo>
                  <a:lnTo>
                    <a:pt x="510" y="940"/>
                  </a:lnTo>
                  <a:lnTo>
                    <a:pt x="513" y="939"/>
                  </a:lnTo>
                  <a:lnTo>
                    <a:pt x="513" y="938"/>
                  </a:lnTo>
                  <a:lnTo>
                    <a:pt x="515" y="936"/>
                  </a:lnTo>
                  <a:lnTo>
                    <a:pt x="515" y="935"/>
                  </a:lnTo>
                  <a:lnTo>
                    <a:pt x="516" y="930"/>
                  </a:lnTo>
                  <a:lnTo>
                    <a:pt x="516" y="927"/>
                  </a:lnTo>
                  <a:lnTo>
                    <a:pt x="516" y="926"/>
                  </a:lnTo>
                  <a:lnTo>
                    <a:pt x="515" y="926"/>
                  </a:lnTo>
                  <a:lnTo>
                    <a:pt x="515" y="924"/>
                  </a:lnTo>
                  <a:lnTo>
                    <a:pt x="512" y="920"/>
                  </a:lnTo>
                  <a:lnTo>
                    <a:pt x="512" y="919"/>
                  </a:lnTo>
                  <a:lnTo>
                    <a:pt x="512" y="917"/>
                  </a:lnTo>
                  <a:lnTo>
                    <a:pt x="512" y="917"/>
                  </a:lnTo>
                  <a:lnTo>
                    <a:pt x="513" y="914"/>
                  </a:lnTo>
                  <a:lnTo>
                    <a:pt x="513" y="913"/>
                  </a:lnTo>
                  <a:lnTo>
                    <a:pt x="513" y="911"/>
                  </a:lnTo>
                  <a:lnTo>
                    <a:pt x="515" y="898"/>
                  </a:lnTo>
                  <a:lnTo>
                    <a:pt x="515" y="894"/>
                  </a:lnTo>
                  <a:lnTo>
                    <a:pt x="515" y="892"/>
                  </a:lnTo>
                  <a:lnTo>
                    <a:pt x="513" y="891"/>
                  </a:lnTo>
                  <a:lnTo>
                    <a:pt x="512" y="888"/>
                  </a:lnTo>
                  <a:lnTo>
                    <a:pt x="510" y="888"/>
                  </a:lnTo>
                  <a:lnTo>
                    <a:pt x="512" y="887"/>
                  </a:lnTo>
                  <a:lnTo>
                    <a:pt x="512" y="887"/>
                  </a:lnTo>
                  <a:lnTo>
                    <a:pt x="516" y="885"/>
                  </a:lnTo>
                  <a:lnTo>
                    <a:pt x="517" y="885"/>
                  </a:lnTo>
                  <a:lnTo>
                    <a:pt x="519" y="884"/>
                  </a:lnTo>
                  <a:lnTo>
                    <a:pt x="519" y="882"/>
                  </a:lnTo>
                  <a:lnTo>
                    <a:pt x="519" y="881"/>
                  </a:lnTo>
                  <a:lnTo>
                    <a:pt x="517" y="875"/>
                  </a:lnTo>
                  <a:lnTo>
                    <a:pt x="516" y="872"/>
                  </a:lnTo>
                  <a:lnTo>
                    <a:pt x="516" y="871"/>
                  </a:lnTo>
                  <a:lnTo>
                    <a:pt x="515" y="869"/>
                  </a:lnTo>
                  <a:lnTo>
                    <a:pt x="515" y="868"/>
                  </a:lnTo>
                  <a:lnTo>
                    <a:pt x="512" y="866"/>
                  </a:lnTo>
                  <a:lnTo>
                    <a:pt x="512" y="865"/>
                  </a:lnTo>
                  <a:lnTo>
                    <a:pt x="510" y="860"/>
                  </a:lnTo>
                  <a:lnTo>
                    <a:pt x="509" y="860"/>
                  </a:lnTo>
                  <a:lnTo>
                    <a:pt x="509" y="859"/>
                  </a:lnTo>
                  <a:lnTo>
                    <a:pt x="509" y="859"/>
                  </a:lnTo>
                  <a:lnTo>
                    <a:pt x="507" y="857"/>
                  </a:lnTo>
                  <a:lnTo>
                    <a:pt x="503" y="853"/>
                  </a:lnTo>
                  <a:lnTo>
                    <a:pt x="500" y="847"/>
                  </a:lnTo>
                  <a:lnTo>
                    <a:pt x="485" y="836"/>
                  </a:lnTo>
                  <a:lnTo>
                    <a:pt x="484" y="833"/>
                  </a:lnTo>
                  <a:lnTo>
                    <a:pt x="482" y="827"/>
                  </a:lnTo>
                  <a:lnTo>
                    <a:pt x="481" y="824"/>
                  </a:lnTo>
                  <a:lnTo>
                    <a:pt x="480" y="823"/>
                  </a:lnTo>
                  <a:lnTo>
                    <a:pt x="480" y="821"/>
                  </a:lnTo>
                  <a:lnTo>
                    <a:pt x="475" y="821"/>
                  </a:lnTo>
                  <a:lnTo>
                    <a:pt x="474" y="821"/>
                  </a:lnTo>
                  <a:lnTo>
                    <a:pt x="474" y="821"/>
                  </a:lnTo>
                  <a:lnTo>
                    <a:pt x="468" y="817"/>
                  </a:lnTo>
                  <a:lnTo>
                    <a:pt x="466" y="817"/>
                  </a:lnTo>
                  <a:lnTo>
                    <a:pt x="465" y="817"/>
                  </a:lnTo>
                  <a:lnTo>
                    <a:pt x="462" y="817"/>
                  </a:lnTo>
                  <a:lnTo>
                    <a:pt x="461" y="817"/>
                  </a:lnTo>
                  <a:lnTo>
                    <a:pt x="455" y="814"/>
                  </a:lnTo>
                  <a:lnTo>
                    <a:pt x="452" y="812"/>
                  </a:lnTo>
                  <a:lnTo>
                    <a:pt x="452" y="812"/>
                  </a:lnTo>
                  <a:lnTo>
                    <a:pt x="452" y="811"/>
                  </a:lnTo>
                  <a:lnTo>
                    <a:pt x="452" y="811"/>
                  </a:lnTo>
                  <a:lnTo>
                    <a:pt x="452" y="809"/>
                  </a:lnTo>
                  <a:lnTo>
                    <a:pt x="452" y="808"/>
                  </a:lnTo>
                  <a:lnTo>
                    <a:pt x="453" y="807"/>
                  </a:lnTo>
                  <a:lnTo>
                    <a:pt x="453" y="804"/>
                  </a:lnTo>
                  <a:lnTo>
                    <a:pt x="448" y="799"/>
                  </a:lnTo>
                  <a:lnTo>
                    <a:pt x="446" y="796"/>
                  </a:lnTo>
                  <a:lnTo>
                    <a:pt x="446" y="796"/>
                  </a:lnTo>
                  <a:lnTo>
                    <a:pt x="446" y="795"/>
                  </a:lnTo>
                  <a:lnTo>
                    <a:pt x="448" y="793"/>
                  </a:lnTo>
                  <a:lnTo>
                    <a:pt x="448" y="792"/>
                  </a:lnTo>
                  <a:lnTo>
                    <a:pt x="448" y="791"/>
                  </a:lnTo>
                  <a:lnTo>
                    <a:pt x="446" y="791"/>
                  </a:lnTo>
                  <a:lnTo>
                    <a:pt x="445" y="789"/>
                  </a:lnTo>
                  <a:lnTo>
                    <a:pt x="442" y="789"/>
                  </a:lnTo>
                  <a:lnTo>
                    <a:pt x="437" y="786"/>
                  </a:lnTo>
                  <a:lnTo>
                    <a:pt x="436" y="785"/>
                  </a:lnTo>
                  <a:lnTo>
                    <a:pt x="436" y="785"/>
                  </a:lnTo>
                  <a:lnTo>
                    <a:pt x="436" y="783"/>
                  </a:lnTo>
                  <a:lnTo>
                    <a:pt x="437" y="783"/>
                  </a:lnTo>
                  <a:lnTo>
                    <a:pt x="437" y="782"/>
                  </a:lnTo>
                  <a:lnTo>
                    <a:pt x="439" y="782"/>
                  </a:lnTo>
                  <a:lnTo>
                    <a:pt x="440" y="783"/>
                  </a:lnTo>
                  <a:lnTo>
                    <a:pt x="442" y="783"/>
                  </a:lnTo>
                  <a:lnTo>
                    <a:pt x="442" y="782"/>
                  </a:lnTo>
                  <a:lnTo>
                    <a:pt x="443" y="782"/>
                  </a:lnTo>
                  <a:lnTo>
                    <a:pt x="443" y="782"/>
                  </a:lnTo>
                  <a:lnTo>
                    <a:pt x="445" y="780"/>
                  </a:lnTo>
                  <a:lnTo>
                    <a:pt x="445" y="780"/>
                  </a:lnTo>
                  <a:lnTo>
                    <a:pt x="445" y="777"/>
                  </a:lnTo>
                  <a:lnTo>
                    <a:pt x="446" y="777"/>
                  </a:lnTo>
                  <a:lnTo>
                    <a:pt x="446" y="776"/>
                  </a:lnTo>
                  <a:lnTo>
                    <a:pt x="446" y="776"/>
                  </a:lnTo>
                  <a:lnTo>
                    <a:pt x="448" y="775"/>
                  </a:lnTo>
                  <a:lnTo>
                    <a:pt x="448" y="772"/>
                  </a:lnTo>
                  <a:lnTo>
                    <a:pt x="449" y="766"/>
                  </a:lnTo>
                  <a:lnTo>
                    <a:pt x="448" y="763"/>
                  </a:lnTo>
                  <a:lnTo>
                    <a:pt x="448" y="760"/>
                  </a:lnTo>
                  <a:lnTo>
                    <a:pt x="448" y="760"/>
                  </a:lnTo>
                  <a:lnTo>
                    <a:pt x="442" y="754"/>
                  </a:lnTo>
                  <a:lnTo>
                    <a:pt x="440" y="754"/>
                  </a:lnTo>
                  <a:lnTo>
                    <a:pt x="440" y="754"/>
                  </a:lnTo>
                  <a:lnTo>
                    <a:pt x="439" y="754"/>
                  </a:lnTo>
                  <a:lnTo>
                    <a:pt x="439" y="754"/>
                  </a:lnTo>
                  <a:lnTo>
                    <a:pt x="437" y="754"/>
                  </a:lnTo>
                  <a:lnTo>
                    <a:pt x="434" y="757"/>
                  </a:lnTo>
                  <a:lnTo>
                    <a:pt x="433" y="757"/>
                  </a:lnTo>
                  <a:lnTo>
                    <a:pt x="432" y="757"/>
                  </a:lnTo>
                  <a:lnTo>
                    <a:pt x="427" y="751"/>
                  </a:lnTo>
                  <a:lnTo>
                    <a:pt x="420" y="742"/>
                  </a:lnTo>
                  <a:lnTo>
                    <a:pt x="418" y="740"/>
                  </a:lnTo>
                  <a:lnTo>
                    <a:pt x="417" y="740"/>
                  </a:lnTo>
                  <a:lnTo>
                    <a:pt x="411" y="735"/>
                  </a:lnTo>
                  <a:lnTo>
                    <a:pt x="408" y="732"/>
                  </a:lnTo>
                  <a:lnTo>
                    <a:pt x="407" y="731"/>
                  </a:lnTo>
                  <a:lnTo>
                    <a:pt x="407" y="729"/>
                  </a:lnTo>
                  <a:lnTo>
                    <a:pt x="408" y="729"/>
                  </a:lnTo>
                  <a:lnTo>
                    <a:pt x="408" y="729"/>
                  </a:lnTo>
                  <a:lnTo>
                    <a:pt x="410" y="729"/>
                  </a:lnTo>
                  <a:lnTo>
                    <a:pt x="411" y="728"/>
                  </a:lnTo>
                  <a:lnTo>
                    <a:pt x="411" y="728"/>
                  </a:lnTo>
                  <a:lnTo>
                    <a:pt x="413" y="726"/>
                  </a:lnTo>
                  <a:lnTo>
                    <a:pt x="411" y="725"/>
                  </a:lnTo>
                  <a:lnTo>
                    <a:pt x="411" y="724"/>
                  </a:lnTo>
                  <a:lnTo>
                    <a:pt x="408" y="721"/>
                  </a:lnTo>
                  <a:lnTo>
                    <a:pt x="407" y="719"/>
                  </a:lnTo>
                  <a:lnTo>
                    <a:pt x="407" y="718"/>
                  </a:lnTo>
                  <a:lnTo>
                    <a:pt x="407" y="715"/>
                  </a:lnTo>
                  <a:lnTo>
                    <a:pt x="407" y="713"/>
                  </a:lnTo>
                  <a:lnTo>
                    <a:pt x="407" y="709"/>
                  </a:lnTo>
                  <a:lnTo>
                    <a:pt x="407" y="706"/>
                  </a:lnTo>
                  <a:lnTo>
                    <a:pt x="407" y="706"/>
                  </a:lnTo>
                  <a:lnTo>
                    <a:pt x="401" y="700"/>
                  </a:lnTo>
                  <a:lnTo>
                    <a:pt x="401" y="699"/>
                  </a:lnTo>
                  <a:lnTo>
                    <a:pt x="399" y="697"/>
                  </a:lnTo>
                  <a:lnTo>
                    <a:pt x="401" y="696"/>
                  </a:lnTo>
                  <a:lnTo>
                    <a:pt x="401" y="694"/>
                  </a:lnTo>
                  <a:lnTo>
                    <a:pt x="401" y="694"/>
                  </a:lnTo>
                  <a:lnTo>
                    <a:pt x="402" y="694"/>
                  </a:lnTo>
                  <a:lnTo>
                    <a:pt x="404" y="696"/>
                  </a:lnTo>
                  <a:lnTo>
                    <a:pt x="405" y="696"/>
                  </a:lnTo>
                  <a:lnTo>
                    <a:pt x="408" y="697"/>
                  </a:lnTo>
                  <a:lnTo>
                    <a:pt x="410" y="697"/>
                  </a:lnTo>
                  <a:lnTo>
                    <a:pt x="411" y="697"/>
                  </a:lnTo>
                  <a:lnTo>
                    <a:pt x="411" y="696"/>
                  </a:lnTo>
                  <a:lnTo>
                    <a:pt x="411" y="693"/>
                  </a:lnTo>
                  <a:lnTo>
                    <a:pt x="411" y="690"/>
                  </a:lnTo>
                  <a:lnTo>
                    <a:pt x="408" y="684"/>
                  </a:lnTo>
                  <a:lnTo>
                    <a:pt x="407" y="681"/>
                  </a:lnTo>
                  <a:lnTo>
                    <a:pt x="407" y="680"/>
                  </a:lnTo>
                  <a:lnTo>
                    <a:pt x="410" y="673"/>
                  </a:lnTo>
                  <a:lnTo>
                    <a:pt x="410" y="671"/>
                  </a:lnTo>
                  <a:lnTo>
                    <a:pt x="410" y="670"/>
                  </a:lnTo>
                  <a:lnTo>
                    <a:pt x="408" y="670"/>
                  </a:lnTo>
                  <a:lnTo>
                    <a:pt x="408" y="668"/>
                  </a:lnTo>
                  <a:lnTo>
                    <a:pt x="407" y="668"/>
                  </a:lnTo>
                  <a:lnTo>
                    <a:pt x="405" y="668"/>
                  </a:lnTo>
                  <a:lnTo>
                    <a:pt x="404" y="667"/>
                  </a:lnTo>
                  <a:lnTo>
                    <a:pt x="402" y="665"/>
                  </a:lnTo>
                  <a:lnTo>
                    <a:pt x="398" y="661"/>
                  </a:lnTo>
                  <a:lnTo>
                    <a:pt x="398" y="658"/>
                  </a:lnTo>
                  <a:lnTo>
                    <a:pt x="398" y="654"/>
                  </a:lnTo>
                  <a:lnTo>
                    <a:pt x="398" y="652"/>
                  </a:lnTo>
                  <a:lnTo>
                    <a:pt x="398" y="642"/>
                  </a:lnTo>
                  <a:lnTo>
                    <a:pt x="405" y="635"/>
                  </a:lnTo>
                  <a:lnTo>
                    <a:pt x="407" y="635"/>
                  </a:lnTo>
                  <a:lnTo>
                    <a:pt x="408" y="635"/>
                  </a:lnTo>
                  <a:lnTo>
                    <a:pt x="411" y="636"/>
                  </a:lnTo>
                  <a:lnTo>
                    <a:pt x="413" y="636"/>
                  </a:lnTo>
                  <a:lnTo>
                    <a:pt x="415" y="638"/>
                  </a:lnTo>
                  <a:lnTo>
                    <a:pt x="415" y="636"/>
                  </a:lnTo>
                  <a:lnTo>
                    <a:pt x="415" y="635"/>
                  </a:lnTo>
                  <a:lnTo>
                    <a:pt x="405" y="610"/>
                  </a:lnTo>
                  <a:lnTo>
                    <a:pt x="405" y="609"/>
                  </a:lnTo>
                  <a:lnTo>
                    <a:pt x="404" y="609"/>
                  </a:lnTo>
                  <a:lnTo>
                    <a:pt x="402" y="607"/>
                  </a:lnTo>
                  <a:lnTo>
                    <a:pt x="397" y="606"/>
                  </a:lnTo>
                  <a:lnTo>
                    <a:pt x="395" y="604"/>
                  </a:lnTo>
                  <a:lnTo>
                    <a:pt x="395" y="603"/>
                  </a:lnTo>
                  <a:lnTo>
                    <a:pt x="397" y="601"/>
                  </a:lnTo>
                  <a:lnTo>
                    <a:pt x="398" y="600"/>
                  </a:lnTo>
                  <a:lnTo>
                    <a:pt x="399" y="597"/>
                  </a:lnTo>
                  <a:lnTo>
                    <a:pt x="402" y="588"/>
                  </a:lnTo>
                  <a:lnTo>
                    <a:pt x="398" y="579"/>
                  </a:lnTo>
                  <a:lnTo>
                    <a:pt x="398" y="578"/>
                  </a:lnTo>
                  <a:lnTo>
                    <a:pt x="398" y="576"/>
                  </a:lnTo>
                  <a:lnTo>
                    <a:pt x="399" y="574"/>
                  </a:lnTo>
                  <a:lnTo>
                    <a:pt x="401" y="571"/>
                  </a:lnTo>
                  <a:lnTo>
                    <a:pt x="401" y="569"/>
                  </a:lnTo>
                  <a:lnTo>
                    <a:pt x="401" y="568"/>
                  </a:lnTo>
                  <a:lnTo>
                    <a:pt x="399" y="566"/>
                  </a:lnTo>
                  <a:lnTo>
                    <a:pt x="398" y="565"/>
                  </a:lnTo>
                  <a:lnTo>
                    <a:pt x="397" y="565"/>
                  </a:lnTo>
                  <a:lnTo>
                    <a:pt x="397" y="565"/>
                  </a:lnTo>
                  <a:lnTo>
                    <a:pt x="395" y="565"/>
                  </a:lnTo>
                  <a:lnTo>
                    <a:pt x="394" y="565"/>
                  </a:lnTo>
                  <a:lnTo>
                    <a:pt x="392" y="565"/>
                  </a:lnTo>
                  <a:lnTo>
                    <a:pt x="391" y="563"/>
                  </a:lnTo>
                  <a:lnTo>
                    <a:pt x="389" y="562"/>
                  </a:lnTo>
                  <a:lnTo>
                    <a:pt x="389" y="560"/>
                  </a:lnTo>
                  <a:lnTo>
                    <a:pt x="389" y="559"/>
                  </a:lnTo>
                  <a:lnTo>
                    <a:pt x="391" y="559"/>
                  </a:lnTo>
                  <a:lnTo>
                    <a:pt x="391" y="558"/>
                  </a:lnTo>
                  <a:lnTo>
                    <a:pt x="392" y="555"/>
                  </a:lnTo>
                  <a:lnTo>
                    <a:pt x="392" y="555"/>
                  </a:lnTo>
                  <a:lnTo>
                    <a:pt x="391" y="553"/>
                  </a:lnTo>
                  <a:lnTo>
                    <a:pt x="389" y="552"/>
                  </a:lnTo>
                  <a:lnTo>
                    <a:pt x="388" y="550"/>
                  </a:lnTo>
                  <a:lnTo>
                    <a:pt x="386" y="550"/>
                  </a:lnTo>
                  <a:lnTo>
                    <a:pt x="378" y="556"/>
                  </a:lnTo>
                  <a:lnTo>
                    <a:pt x="376" y="559"/>
                  </a:lnTo>
                  <a:lnTo>
                    <a:pt x="376" y="559"/>
                  </a:lnTo>
                  <a:lnTo>
                    <a:pt x="376" y="559"/>
                  </a:lnTo>
                  <a:lnTo>
                    <a:pt x="378" y="560"/>
                  </a:lnTo>
                  <a:lnTo>
                    <a:pt x="378" y="560"/>
                  </a:lnTo>
                  <a:lnTo>
                    <a:pt x="378" y="562"/>
                  </a:lnTo>
                  <a:lnTo>
                    <a:pt x="379" y="563"/>
                  </a:lnTo>
                  <a:lnTo>
                    <a:pt x="379" y="563"/>
                  </a:lnTo>
                  <a:lnTo>
                    <a:pt x="379" y="566"/>
                  </a:lnTo>
                  <a:lnTo>
                    <a:pt x="379" y="568"/>
                  </a:lnTo>
                  <a:lnTo>
                    <a:pt x="369" y="579"/>
                  </a:lnTo>
                  <a:lnTo>
                    <a:pt x="366" y="582"/>
                  </a:lnTo>
                  <a:lnTo>
                    <a:pt x="363" y="584"/>
                  </a:lnTo>
                  <a:lnTo>
                    <a:pt x="338" y="584"/>
                  </a:lnTo>
                  <a:lnTo>
                    <a:pt x="335" y="584"/>
                  </a:lnTo>
                  <a:lnTo>
                    <a:pt x="334" y="582"/>
                  </a:lnTo>
                  <a:lnTo>
                    <a:pt x="334" y="582"/>
                  </a:lnTo>
                  <a:lnTo>
                    <a:pt x="334" y="581"/>
                  </a:lnTo>
                  <a:lnTo>
                    <a:pt x="334" y="581"/>
                  </a:lnTo>
                  <a:lnTo>
                    <a:pt x="332" y="569"/>
                  </a:lnTo>
                  <a:lnTo>
                    <a:pt x="332" y="568"/>
                  </a:lnTo>
                  <a:lnTo>
                    <a:pt x="332" y="566"/>
                  </a:lnTo>
                  <a:lnTo>
                    <a:pt x="332" y="563"/>
                  </a:lnTo>
                  <a:lnTo>
                    <a:pt x="334" y="560"/>
                  </a:lnTo>
                  <a:lnTo>
                    <a:pt x="334" y="558"/>
                  </a:lnTo>
                  <a:lnTo>
                    <a:pt x="332" y="553"/>
                  </a:lnTo>
                  <a:lnTo>
                    <a:pt x="331" y="546"/>
                  </a:lnTo>
                  <a:lnTo>
                    <a:pt x="331" y="546"/>
                  </a:lnTo>
                  <a:lnTo>
                    <a:pt x="331" y="544"/>
                  </a:lnTo>
                  <a:lnTo>
                    <a:pt x="325" y="540"/>
                  </a:lnTo>
                  <a:lnTo>
                    <a:pt x="325" y="540"/>
                  </a:lnTo>
                  <a:lnTo>
                    <a:pt x="325" y="540"/>
                  </a:lnTo>
                  <a:lnTo>
                    <a:pt x="327" y="539"/>
                  </a:lnTo>
                  <a:lnTo>
                    <a:pt x="327" y="537"/>
                  </a:lnTo>
                  <a:lnTo>
                    <a:pt x="328" y="536"/>
                  </a:lnTo>
                  <a:lnTo>
                    <a:pt x="328" y="534"/>
                  </a:lnTo>
                  <a:lnTo>
                    <a:pt x="328" y="534"/>
                  </a:lnTo>
                  <a:lnTo>
                    <a:pt x="327" y="533"/>
                  </a:lnTo>
                  <a:lnTo>
                    <a:pt x="325" y="531"/>
                  </a:lnTo>
                  <a:lnTo>
                    <a:pt x="325" y="531"/>
                  </a:lnTo>
                  <a:lnTo>
                    <a:pt x="324" y="531"/>
                  </a:lnTo>
                  <a:lnTo>
                    <a:pt x="322" y="531"/>
                  </a:lnTo>
                  <a:lnTo>
                    <a:pt x="321" y="533"/>
                  </a:lnTo>
                  <a:lnTo>
                    <a:pt x="319" y="536"/>
                  </a:lnTo>
                  <a:lnTo>
                    <a:pt x="318" y="537"/>
                  </a:lnTo>
                  <a:lnTo>
                    <a:pt x="318" y="539"/>
                  </a:lnTo>
                  <a:lnTo>
                    <a:pt x="316" y="539"/>
                  </a:lnTo>
                  <a:lnTo>
                    <a:pt x="315" y="539"/>
                  </a:lnTo>
                  <a:lnTo>
                    <a:pt x="314" y="540"/>
                  </a:lnTo>
                  <a:lnTo>
                    <a:pt x="312" y="540"/>
                  </a:lnTo>
                  <a:lnTo>
                    <a:pt x="312" y="542"/>
                  </a:lnTo>
                  <a:lnTo>
                    <a:pt x="311" y="546"/>
                  </a:lnTo>
                  <a:lnTo>
                    <a:pt x="311" y="547"/>
                  </a:lnTo>
                  <a:lnTo>
                    <a:pt x="309" y="549"/>
                  </a:lnTo>
                  <a:lnTo>
                    <a:pt x="306" y="550"/>
                  </a:lnTo>
                  <a:lnTo>
                    <a:pt x="303" y="550"/>
                  </a:lnTo>
                  <a:lnTo>
                    <a:pt x="300" y="549"/>
                  </a:lnTo>
                  <a:lnTo>
                    <a:pt x="300" y="547"/>
                  </a:lnTo>
                  <a:lnTo>
                    <a:pt x="300" y="546"/>
                  </a:lnTo>
                  <a:lnTo>
                    <a:pt x="302" y="544"/>
                  </a:lnTo>
                  <a:lnTo>
                    <a:pt x="306" y="539"/>
                  </a:lnTo>
                  <a:lnTo>
                    <a:pt x="306" y="539"/>
                  </a:lnTo>
                  <a:lnTo>
                    <a:pt x="308" y="537"/>
                  </a:lnTo>
                  <a:lnTo>
                    <a:pt x="308" y="536"/>
                  </a:lnTo>
                  <a:lnTo>
                    <a:pt x="308" y="534"/>
                  </a:lnTo>
                  <a:lnTo>
                    <a:pt x="308" y="531"/>
                  </a:lnTo>
                  <a:lnTo>
                    <a:pt x="308" y="530"/>
                  </a:lnTo>
                  <a:lnTo>
                    <a:pt x="308" y="528"/>
                  </a:lnTo>
                  <a:lnTo>
                    <a:pt x="308" y="526"/>
                  </a:lnTo>
                  <a:lnTo>
                    <a:pt x="311" y="521"/>
                  </a:lnTo>
                  <a:lnTo>
                    <a:pt x="314" y="518"/>
                  </a:lnTo>
                  <a:lnTo>
                    <a:pt x="315" y="518"/>
                  </a:lnTo>
                  <a:lnTo>
                    <a:pt x="315" y="517"/>
                  </a:lnTo>
                  <a:lnTo>
                    <a:pt x="315" y="515"/>
                  </a:lnTo>
                  <a:lnTo>
                    <a:pt x="315" y="515"/>
                  </a:lnTo>
                  <a:lnTo>
                    <a:pt x="315" y="514"/>
                  </a:lnTo>
                  <a:lnTo>
                    <a:pt x="315" y="512"/>
                  </a:lnTo>
                  <a:lnTo>
                    <a:pt x="315" y="511"/>
                  </a:lnTo>
                  <a:lnTo>
                    <a:pt x="312" y="508"/>
                  </a:lnTo>
                  <a:lnTo>
                    <a:pt x="300" y="496"/>
                  </a:lnTo>
                  <a:lnTo>
                    <a:pt x="299" y="493"/>
                  </a:lnTo>
                  <a:lnTo>
                    <a:pt x="299" y="492"/>
                  </a:lnTo>
                  <a:lnTo>
                    <a:pt x="299" y="492"/>
                  </a:lnTo>
                  <a:lnTo>
                    <a:pt x="297" y="486"/>
                  </a:lnTo>
                  <a:lnTo>
                    <a:pt x="299" y="476"/>
                  </a:lnTo>
                  <a:lnTo>
                    <a:pt x="297" y="473"/>
                  </a:lnTo>
                  <a:lnTo>
                    <a:pt x="297" y="473"/>
                  </a:lnTo>
                  <a:lnTo>
                    <a:pt x="297" y="472"/>
                  </a:lnTo>
                  <a:lnTo>
                    <a:pt x="287" y="460"/>
                  </a:lnTo>
                  <a:lnTo>
                    <a:pt x="286" y="456"/>
                  </a:lnTo>
                  <a:lnTo>
                    <a:pt x="284" y="456"/>
                  </a:lnTo>
                  <a:lnTo>
                    <a:pt x="284" y="454"/>
                  </a:lnTo>
                  <a:lnTo>
                    <a:pt x="281" y="457"/>
                  </a:lnTo>
                  <a:lnTo>
                    <a:pt x="276" y="459"/>
                  </a:lnTo>
                  <a:lnTo>
                    <a:pt x="274" y="460"/>
                  </a:lnTo>
                  <a:lnTo>
                    <a:pt x="273" y="461"/>
                  </a:lnTo>
                  <a:lnTo>
                    <a:pt x="273" y="461"/>
                  </a:lnTo>
                  <a:lnTo>
                    <a:pt x="265" y="469"/>
                  </a:lnTo>
                  <a:lnTo>
                    <a:pt x="264" y="472"/>
                  </a:lnTo>
                  <a:lnTo>
                    <a:pt x="263" y="472"/>
                  </a:lnTo>
                  <a:lnTo>
                    <a:pt x="261" y="473"/>
                  </a:lnTo>
                  <a:lnTo>
                    <a:pt x="260" y="473"/>
                  </a:lnTo>
                  <a:lnTo>
                    <a:pt x="260" y="472"/>
                  </a:lnTo>
                  <a:lnTo>
                    <a:pt x="257" y="464"/>
                  </a:lnTo>
                  <a:lnTo>
                    <a:pt x="255" y="463"/>
                  </a:lnTo>
                  <a:lnTo>
                    <a:pt x="255" y="461"/>
                  </a:lnTo>
                  <a:lnTo>
                    <a:pt x="255" y="459"/>
                  </a:lnTo>
                  <a:lnTo>
                    <a:pt x="255" y="456"/>
                  </a:lnTo>
                  <a:lnTo>
                    <a:pt x="254" y="456"/>
                  </a:lnTo>
                  <a:lnTo>
                    <a:pt x="254" y="456"/>
                  </a:lnTo>
                  <a:lnTo>
                    <a:pt x="254" y="456"/>
                  </a:lnTo>
                  <a:lnTo>
                    <a:pt x="252" y="456"/>
                  </a:lnTo>
                  <a:lnTo>
                    <a:pt x="251" y="459"/>
                  </a:lnTo>
                  <a:lnTo>
                    <a:pt x="251" y="460"/>
                  </a:lnTo>
                  <a:lnTo>
                    <a:pt x="246" y="461"/>
                  </a:lnTo>
                  <a:lnTo>
                    <a:pt x="245" y="463"/>
                  </a:lnTo>
                  <a:lnTo>
                    <a:pt x="245" y="463"/>
                  </a:lnTo>
                  <a:lnTo>
                    <a:pt x="245" y="466"/>
                  </a:lnTo>
                  <a:lnTo>
                    <a:pt x="245" y="469"/>
                  </a:lnTo>
                  <a:lnTo>
                    <a:pt x="245" y="470"/>
                  </a:lnTo>
                  <a:lnTo>
                    <a:pt x="244" y="472"/>
                  </a:lnTo>
                  <a:lnTo>
                    <a:pt x="242" y="473"/>
                  </a:lnTo>
                  <a:lnTo>
                    <a:pt x="241" y="473"/>
                  </a:lnTo>
                  <a:lnTo>
                    <a:pt x="235" y="473"/>
                  </a:lnTo>
                  <a:lnTo>
                    <a:pt x="232" y="472"/>
                  </a:lnTo>
                  <a:lnTo>
                    <a:pt x="229" y="470"/>
                  </a:lnTo>
                  <a:lnTo>
                    <a:pt x="228" y="469"/>
                  </a:lnTo>
                  <a:lnTo>
                    <a:pt x="228" y="467"/>
                  </a:lnTo>
                  <a:lnTo>
                    <a:pt x="228" y="467"/>
                  </a:lnTo>
                  <a:lnTo>
                    <a:pt x="228" y="466"/>
                  </a:lnTo>
                  <a:lnTo>
                    <a:pt x="228" y="464"/>
                  </a:lnTo>
                  <a:lnTo>
                    <a:pt x="230" y="460"/>
                  </a:lnTo>
                  <a:lnTo>
                    <a:pt x="230" y="459"/>
                  </a:lnTo>
                  <a:lnTo>
                    <a:pt x="230" y="457"/>
                  </a:lnTo>
                  <a:lnTo>
                    <a:pt x="230" y="454"/>
                  </a:lnTo>
                  <a:lnTo>
                    <a:pt x="230" y="454"/>
                  </a:lnTo>
                  <a:lnTo>
                    <a:pt x="230" y="453"/>
                  </a:lnTo>
                  <a:lnTo>
                    <a:pt x="233" y="451"/>
                  </a:lnTo>
                  <a:lnTo>
                    <a:pt x="233" y="451"/>
                  </a:lnTo>
                  <a:lnTo>
                    <a:pt x="233" y="450"/>
                  </a:lnTo>
                  <a:lnTo>
                    <a:pt x="233" y="447"/>
                  </a:lnTo>
                  <a:lnTo>
                    <a:pt x="233" y="445"/>
                  </a:lnTo>
                  <a:lnTo>
                    <a:pt x="233" y="444"/>
                  </a:lnTo>
                  <a:lnTo>
                    <a:pt x="233" y="443"/>
                  </a:lnTo>
                  <a:lnTo>
                    <a:pt x="233" y="441"/>
                  </a:lnTo>
                  <a:lnTo>
                    <a:pt x="235" y="440"/>
                  </a:lnTo>
                  <a:lnTo>
                    <a:pt x="235" y="440"/>
                  </a:lnTo>
                  <a:lnTo>
                    <a:pt x="235" y="438"/>
                  </a:lnTo>
                  <a:lnTo>
                    <a:pt x="235" y="437"/>
                  </a:lnTo>
                  <a:lnTo>
                    <a:pt x="233" y="435"/>
                  </a:lnTo>
                  <a:lnTo>
                    <a:pt x="233" y="432"/>
                  </a:lnTo>
                  <a:lnTo>
                    <a:pt x="233" y="431"/>
                  </a:lnTo>
                  <a:lnTo>
                    <a:pt x="233" y="429"/>
                  </a:lnTo>
                  <a:lnTo>
                    <a:pt x="235" y="429"/>
                  </a:lnTo>
                  <a:lnTo>
                    <a:pt x="235" y="428"/>
                  </a:lnTo>
                  <a:lnTo>
                    <a:pt x="236" y="427"/>
                  </a:lnTo>
                  <a:lnTo>
                    <a:pt x="236" y="425"/>
                  </a:lnTo>
                  <a:lnTo>
                    <a:pt x="235" y="422"/>
                  </a:lnTo>
                  <a:lnTo>
                    <a:pt x="235" y="422"/>
                  </a:lnTo>
                  <a:lnTo>
                    <a:pt x="233" y="422"/>
                  </a:lnTo>
                  <a:lnTo>
                    <a:pt x="232" y="422"/>
                  </a:lnTo>
                  <a:lnTo>
                    <a:pt x="230" y="424"/>
                  </a:lnTo>
                  <a:lnTo>
                    <a:pt x="228" y="425"/>
                  </a:lnTo>
                  <a:lnTo>
                    <a:pt x="222" y="428"/>
                  </a:lnTo>
                  <a:lnTo>
                    <a:pt x="217" y="428"/>
                  </a:lnTo>
                  <a:lnTo>
                    <a:pt x="209" y="422"/>
                  </a:lnTo>
                  <a:lnTo>
                    <a:pt x="206" y="424"/>
                  </a:lnTo>
                  <a:lnTo>
                    <a:pt x="203" y="425"/>
                  </a:lnTo>
                  <a:lnTo>
                    <a:pt x="198" y="424"/>
                  </a:lnTo>
                  <a:lnTo>
                    <a:pt x="179" y="415"/>
                  </a:lnTo>
                  <a:lnTo>
                    <a:pt x="172" y="415"/>
                  </a:lnTo>
                  <a:lnTo>
                    <a:pt x="161" y="416"/>
                  </a:lnTo>
                  <a:lnTo>
                    <a:pt x="147" y="422"/>
                  </a:lnTo>
                  <a:lnTo>
                    <a:pt x="131" y="421"/>
                  </a:lnTo>
                  <a:lnTo>
                    <a:pt x="127" y="422"/>
                  </a:lnTo>
                  <a:lnTo>
                    <a:pt x="123" y="425"/>
                  </a:lnTo>
                  <a:lnTo>
                    <a:pt x="118" y="428"/>
                  </a:lnTo>
                  <a:lnTo>
                    <a:pt x="117" y="431"/>
                  </a:lnTo>
                  <a:lnTo>
                    <a:pt x="120" y="438"/>
                  </a:lnTo>
                  <a:lnTo>
                    <a:pt x="120" y="440"/>
                  </a:lnTo>
                  <a:lnTo>
                    <a:pt x="120" y="440"/>
                  </a:lnTo>
                  <a:lnTo>
                    <a:pt x="120" y="441"/>
                  </a:lnTo>
                  <a:lnTo>
                    <a:pt x="120" y="443"/>
                  </a:lnTo>
                  <a:lnTo>
                    <a:pt x="117" y="445"/>
                  </a:lnTo>
                  <a:lnTo>
                    <a:pt x="117" y="447"/>
                  </a:lnTo>
                  <a:lnTo>
                    <a:pt x="117" y="450"/>
                  </a:lnTo>
                  <a:lnTo>
                    <a:pt x="118" y="450"/>
                  </a:lnTo>
                  <a:lnTo>
                    <a:pt x="120" y="451"/>
                  </a:lnTo>
                  <a:lnTo>
                    <a:pt x="123" y="453"/>
                  </a:lnTo>
                  <a:lnTo>
                    <a:pt x="134" y="454"/>
                  </a:lnTo>
                  <a:lnTo>
                    <a:pt x="136" y="456"/>
                  </a:lnTo>
                  <a:lnTo>
                    <a:pt x="137" y="456"/>
                  </a:lnTo>
                  <a:lnTo>
                    <a:pt x="137" y="459"/>
                  </a:lnTo>
                  <a:lnTo>
                    <a:pt x="137" y="460"/>
                  </a:lnTo>
                  <a:lnTo>
                    <a:pt x="136" y="464"/>
                  </a:lnTo>
                  <a:lnTo>
                    <a:pt x="136" y="466"/>
                  </a:lnTo>
                  <a:lnTo>
                    <a:pt x="137" y="467"/>
                  </a:lnTo>
                  <a:lnTo>
                    <a:pt x="139" y="467"/>
                  </a:lnTo>
                  <a:lnTo>
                    <a:pt x="139" y="467"/>
                  </a:lnTo>
                  <a:lnTo>
                    <a:pt x="140" y="467"/>
                  </a:lnTo>
                  <a:lnTo>
                    <a:pt x="142" y="466"/>
                  </a:lnTo>
                  <a:lnTo>
                    <a:pt x="143" y="466"/>
                  </a:lnTo>
                  <a:lnTo>
                    <a:pt x="143" y="463"/>
                  </a:lnTo>
                  <a:lnTo>
                    <a:pt x="145" y="459"/>
                  </a:lnTo>
                  <a:lnTo>
                    <a:pt x="145" y="459"/>
                  </a:lnTo>
                  <a:lnTo>
                    <a:pt x="145" y="457"/>
                  </a:lnTo>
                  <a:lnTo>
                    <a:pt x="146" y="457"/>
                  </a:lnTo>
                  <a:lnTo>
                    <a:pt x="146" y="457"/>
                  </a:lnTo>
                  <a:lnTo>
                    <a:pt x="147" y="457"/>
                  </a:lnTo>
                  <a:lnTo>
                    <a:pt x="149" y="457"/>
                  </a:lnTo>
                  <a:lnTo>
                    <a:pt x="155" y="460"/>
                  </a:lnTo>
                  <a:lnTo>
                    <a:pt x="156" y="460"/>
                  </a:lnTo>
                  <a:lnTo>
                    <a:pt x="156" y="461"/>
                  </a:lnTo>
                  <a:lnTo>
                    <a:pt x="158" y="461"/>
                  </a:lnTo>
                  <a:lnTo>
                    <a:pt x="153" y="483"/>
                  </a:lnTo>
                  <a:lnTo>
                    <a:pt x="153" y="486"/>
                  </a:lnTo>
                  <a:lnTo>
                    <a:pt x="153" y="486"/>
                  </a:lnTo>
                  <a:lnTo>
                    <a:pt x="153" y="486"/>
                  </a:lnTo>
                  <a:lnTo>
                    <a:pt x="155" y="489"/>
                  </a:lnTo>
                  <a:lnTo>
                    <a:pt x="156" y="492"/>
                  </a:lnTo>
                  <a:lnTo>
                    <a:pt x="149" y="498"/>
                  </a:lnTo>
                  <a:lnTo>
                    <a:pt x="147" y="499"/>
                  </a:lnTo>
                  <a:lnTo>
                    <a:pt x="146" y="498"/>
                  </a:lnTo>
                  <a:lnTo>
                    <a:pt x="142" y="493"/>
                  </a:lnTo>
                  <a:lnTo>
                    <a:pt x="140" y="493"/>
                  </a:lnTo>
                  <a:lnTo>
                    <a:pt x="140" y="493"/>
                  </a:lnTo>
                  <a:lnTo>
                    <a:pt x="130" y="498"/>
                  </a:lnTo>
                  <a:lnTo>
                    <a:pt x="126" y="498"/>
                  </a:lnTo>
                  <a:lnTo>
                    <a:pt x="121" y="498"/>
                  </a:lnTo>
                  <a:lnTo>
                    <a:pt x="118" y="498"/>
                  </a:lnTo>
                  <a:lnTo>
                    <a:pt x="115" y="499"/>
                  </a:lnTo>
                  <a:lnTo>
                    <a:pt x="111" y="502"/>
                  </a:lnTo>
                  <a:lnTo>
                    <a:pt x="110" y="504"/>
                  </a:lnTo>
                  <a:lnTo>
                    <a:pt x="108" y="505"/>
                  </a:lnTo>
                  <a:lnTo>
                    <a:pt x="110" y="512"/>
                  </a:lnTo>
                  <a:lnTo>
                    <a:pt x="110" y="514"/>
                  </a:lnTo>
                  <a:lnTo>
                    <a:pt x="110" y="514"/>
                  </a:lnTo>
                  <a:lnTo>
                    <a:pt x="108" y="515"/>
                  </a:lnTo>
                  <a:lnTo>
                    <a:pt x="105" y="518"/>
                  </a:lnTo>
                  <a:lnTo>
                    <a:pt x="104" y="520"/>
                  </a:lnTo>
                  <a:lnTo>
                    <a:pt x="104" y="521"/>
                  </a:lnTo>
                  <a:lnTo>
                    <a:pt x="102" y="526"/>
                  </a:lnTo>
                  <a:lnTo>
                    <a:pt x="102" y="527"/>
                  </a:lnTo>
                  <a:lnTo>
                    <a:pt x="101" y="530"/>
                  </a:lnTo>
                  <a:lnTo>
                    <a:pt x="98" y="531"/>
                  </a:lnTo>
                  <a:lnTo>
                    <a:pt x="96" y="531"/>
                  </a:lnTo>
                  <a:lnTo>
                    <a:pt x="76" y="531"/>
                  </a:lnTo>
                  <a:lnTo>
                    <a:pt x="70" y="531"/>
                  </a:lnTo>
                  <a:lnTo>
                    <a:pt x="51" y="536"/>
                  </a:lnTo>
                  <a:lnTo>
                    <a:pt x="50" y="536"/>
                  </a:lnTo>
                  <a:lnTo>
                    <a:pt x="47" y="533"/>
                  </a:lnTo>
                  <a:lnTo>
                    <a:pt x="43" y="524"/>
                  </a:lnTo>
                  <a:lnTo>
                    <a:pt x="35" y="518"/>
                  </a:lnTo>
                  <a:lnTo>
                    <a:pt x="34" y="517"/>
                  </a:lnTo>
                  <a:lnTo>
                    <a:pt x="34" y="514"/>
                  </a:lnTo>
                  <a:lnTo>
                    <a:pt x="35" y="512"/>
                  </a:lnTo>
                  <a:lnTo>
                    <a:pt x="35" y="511"/>
                  </a:lnTo>
                  <a:lnTo>
                    <a:pt x="37" y="510"/>
                  </a:lnTo>
                  <a:lnTo>
                    <a:pt x="40" y="507"/>
                  </a:lnTo>
                  <a:lnTo>
                    <a:pt x="43" y="504"/>
                  </a:lnTo>
                  <a:lnTo>
                    <a:pt x="44" y="504"/>
                  </a:lnTo>
                  <a:lnTo>
                    <a:pt x="45" y="502"/>
                  </a:lnTo>
                  <a:lnTo>
                    <a:pt x="47" y="501"/>
                  </a:lnTo>
                  <a:lnTo>
                    <a:pt x="47" y="498"/>
                  </a:lnTo>
                  <a:lnTo>
                    <a:pt x="47" y="495"/>
                  </a:lnTo>
                  <a:lnTo>
                    <a:pt x="44" y="480"/>
                  </a:lnTo>
                  <a:lnTo>
                    <a:pt x="43" y="476"/>
                  </a:lnTo>
                  <a:lnTo>
                    <a:pt x="43" y="473"/>
                  </a:lnTo>
                  <a:lnTo>
                    <a:pt x="44" y="473"/>
                  </a:lnTo>
                  <a:lnTo>
                    <a:pt x="45" y="473"/>
                  </a:lnTo>
                  <a:lnTo>
                    <a:pt x="48" y="473"/>
                  </a:lnTo>
                  <a:lnTo>
                    <a:pt x="50" y="473"/>
                  </a:lnTo>
                  <a:lnTo>
                    <a:pt x="51" y="472"/>
                  </a:lnTo>
                  <a:lnTo>
                    <a:pt x="53" y="470"/>
                  </a:lnTo>
                  <a:lnTo>
                    <a:pt x="54" y="469"/>
                  </a:lnTo>
                  <a:lnTo>
                    <a:pt x="56" y="467"/>
                  </a:lnTo>
                  <a:lnTo>
                    <a:pt x="56" y="466"/>
                  </a:lnTo>
                  <a:lnTo>
                    <a:pt x="56" y="464"/>
                  </a:lnTo>
                  <a:lnTo>
                    <a:pt x="54" y="461"/>
                  </a:lnTo>
                  <a:lnTo>
                    <a:pt x="54" y="459"/>
                  </a:lnTo>
                  <a:lnTo>
                    <a:pt x="54" y="457"/>
                  </a:lnTo>
                  <a:lnTo>
                    <a:pt x="56" y="454"/>
                  </a:lnTo>
                  <a:lnTo>
                    <a:pt x="60" y="445"/>
                  </a:lnTo>
                  <a:lnTo>
                    <a:pt x="60" y="443"/>
                  </a:lnTo>
                  <a:lnTo>
                    <a:pt x="60" y="441"/>
                  </a:lnTo>
                  <a:lnTo>
                    <a:pt x="54" y="440"/>
                  </a:lnTo>
                  <a:lnTo>
                    <a:pt x="51" y="438"/>
                  </a:lnTo>
                  <a:lnTo>
                    <a:pt x="50" y="435"/>
                  </a:lnTo>
                  <a:lnTo>
                    <a:pt x="50" y="434"/>
                  </a:lnTo>
                  <a:lnTo>
                    <a:pt x="51" y="431"/>
                  </a:lnTo>
                  <a:lnTo>
                    <a:pt x="56" y="425"/>
                  </a:lnTo>
                  <a:lnTo>
                    <a:pt x="57" y="422"/>
                  </a:lnTo>
                  <a:lnTo>
                    <a:pt x="57" y="419"/>
                  </a:lnTo>
                  <a:lnTo>
                    <a:pt x="57" y="418"/>
                  </a:lnTo>
                  <a:lnTo>
                    <a:pt x="56" y="416"/>
                  </a:lnTo>
                  <a:lnTo>
                    <a:pt x="54" y="415"/>
                  </a:lnTo>
                  <a:lnTo>
                    <a:pt x="54" y="415"/>
                  </a:lnTo>
                  <a:lnTo>
                    <a:pt x="53" y="415"/>
                  </a:lnTo>
                  <a:lnTo>
                    <a:pt x="51" y="415"/>
                  </a:lnTo>
                  <a:lnTo>
                    <a:pt x="50" y="416"/>
                  </a:lnTo>
                  <a:lnTo>
                    <a:pt x="48" y="416"/>
                  </a:lnTo>
                  <a:lnTo>
                    <a:pt x="47" y="416"/>
                  </a:lnTo>
                  <a:lnTo>
                    <a:pt x="44" y="415"/>
                  </a:lnTo>
                  <a:lnTo>
                    <a:pt x="43" y="412"/>
                  </a:lnTo>
                  <a:lnTo>
                    <a:pt x="43" y="411"/>
                  </a:lnTo>
                  <a:lnTo>
                    <a:pt x="40" y="405"/>
                  </a:lnTo>
                  <a:lnTo>
                    <a:pt x="40" y="402"/>
                  </a:lnTo>
                  <a:lnTo>
                    <a:pt x="40" y="397"/>
                  </a:lnTo>
                  <a:lnTo>
                    <a:pt x="41" y="393"/>
                  </a:lnTo>
                  <a:lnTo>
                    <a:pt x="41" y="392"/>
                  </a:lnTo>
                  <a:lnTo>
                    <a:pt x="41" y="390"/>
                  </a:lnTo>
                  <a:lnTo>
                    <a:pt x="40" y="390"/>
                  </a:lnTo>
                  <a:lnTo>
                    <a:pt x="40" y="389"/>
                  </a:lnTo>
                  <a:lnTo>
                    <a:pt x="40" y="389"/>
                  </a:lnTo>
                  <a:lnTo>
                    <a:pt x="38" y="390"/>
                  </a:lnTo>
                  <a:lnTo>
                    <a:pt x="37" y="390"/>
                  </a:lnTo>
                  <a:lnTo>
                    <a:pt x="35" y="394"/>
                  </a:lnTo>
                  <a:lnTo>
                    <a:pt x="35" y="396"/>
                  </a:lnTo>
                  <a:lnTo>
                    <a:pt x="34" y="396"/>
                  </a:lnTo>
                  <a:lnTo>
                    <a:pt x="34" y="396"/>
                  </a:lnTo>
                  <a:lnTo>
                    <a:pt x="32" y="396"/>
                  </a:lnTo>
                  <a:lnTo>
                    <a:pt x="32" y="396"/>
                  </a:lnTo>
                  <a:lnTo>
                    <a:pt x="32" y="394"/>
                  </a:lnTo>
                  <a:lnTo>
                    <a:pt x="31" y="393"/>
                  </a:lnTo>
                  <a:lnTo>
                    <a:pt x="29" y="392"/>
                  </a:lnTo>
                  <a:lnTo>
                    <a:pt x="25" y="377"/>
                  </a:lnTo>
                  <a:lnTo>
                    <a:pt x="22" y="368"/>
                  </a:lnTo>
                  <a:lnTo>
                    <a:pt x="18" y="355"/>
                  </a:lnTo>
                  <a:lnTo>
                    <a:pt x="18" y="352"/>
                  </a:lnTo>
                  <a:lnTo>
                    <a:pt x="18" y="313"/>
                  </a:lnTo>
                  <a:lnTo>
                    <a:pt x="25" y="316"/>
                  </a:lnTo>
                  <a:lnTo>
                    <a:pt x="27" y="316"/>
                  </a:lnTo>
                  <a:lnTo>
                    <a:pt x="27" y="314"/>
                  </a:lnTo>
                  <a:lnTo>
                    <a:pt x="27" y="314"/>
                  </a:lnTo>
                  <a:lnTo>
                    <a:pt x="24" y="309"/>
                  </a:lnTo>
                  <a:lnTo>
                    <a:pt x="24" y="306"/>
                  </a:lnTo>
                  <a:lnTo>
                    <a:pt x="22" y="306"/>
                  </a:lnTo>
                  <a:lnTo>
                    <a:pt x="24" y="298"/>
                  </a:lnTo>
                  <a:lnTo>
                    <a:pt x="19" y="294"/>
                  </a:lnTo>
                  <a:lnTo>
                    <a:pt x="18" y="282"/>
                  </a:lnTo>
                  <a:lnTo>
                    <a:pt x="18" y="281"/>
                  </a:lnTo>
                  <a:lnTo>
                    <a:pt x="16" y="279"/>
                  </a:lnTo>
                  <a:lnTo>
                    <a:pt x="12" y="278"/>
                  </a:lnTo>
                  <a:lnTo>
                    <a:pt x="9" y="279"/>
                  </a:lnTo>
                  <a:lnTo>
                    <a:pt x="8" y="281"/>
                  </a:lnTo>
                  <a:lnTo>
                    <a:pt x="6" y="281"/>
                  </a:lnTo>
                  <a:lnTo>
                    <a:pt x="3" y="278"/>
                  </a:lnTo>
                  <a:lnTo>
                    <a:pt x="0" y="277"/>
                  </a:lnTo>
                  <a:lnTo>
                    <a:pt x="2" y="275"/>
                  </a:lnTo>
                  <a:lnTo>
                    <a:pt x="5" y="272"/>
                  </a:lnTo>
                  <a:lnTo>
                    <a:pt x="6" y="271"/>
                  </a:lnTo>
                  <a:lnTo>
                    <a:pt x="8" y="271"/>
                  </a:lnTo>
                  <a:lnTo>
                    <a:pt x="9" y="271"/>
                  </a:lnTo>
                  <a:lnTo>
                    <a:pt x="9" y="271"/>
                  </a:lnTo>
                  <a:lnTo>
                    <a:pt x="10" y="269"/>
                  </a:lnTo>
                  <a:lnTo>
                    <a:pt x="10" y="268"/>
                  </a:lnTo>
                  <a:lnTo>
                    <a:pt x="12" y="265"/>
                  </a:lnTo>
                  <a:lnTo>
                    <a:pt x="12" y="258"/>
                  </a:lnTo>
                  <a:lnTo>
                    <a:pt x="12" y="255"/>
                  </a:lnTo>
                  <a:lnTo>
                    <a:pt x="12" y="253"/>
                  </a:lnTo>
                  <a:lnTo>
                    <a:pt x="13" y="252"/>
                  </a:lnTo>
                  <a:lnTo>
                    <a:pt x="13" y="250"/>
                  </a:lnTo>
                  <a:lnTo>
                    <a:pt x="15" y="249"/>
                  </a:lnTo>
                  <a:lnTo>
                    <a:pt x="16" y="249"/>
                  </a:lnTo>
                  <a:lnTo>
                    <a:pt x="28" y="246"/>
                  </a:lnTo>
                  <a:lnTo>
                    <a:pt x="45" y="237"/>
                  </a:lnTo>
                  <a:lnTo>
                    <a:pt x="47" y="237"/>
                  </a:lnTo>
                  <a:lnTo>
                    <a:pt x="48" y="237"/>
                  </a:lnTo>
                  <a:lnTo>
                    <a:pt x="50" y="237"/>
                  </a:lnTo>
                  <a:lnTo>
                    <a:pt x="51" y="239"/>
                  </a:lnTo>
                  <a:lnTo>
                    <a:pt x="56" y="242"/>
                  </a:lnTo>
                  <a:lnTo>
                    <a:pt x="57" y="243"/>
                  </a:lnTo>
                  <a:lnTo>
                    <a:pt x="61" y="245"/>
                  </a:lnTo>
                  <a:lnTo>
                    <a:pt x="63" y="245"/>
                  </a:lnTo>
                  <a:lnTo>
                    <a:pt x="63" y="246"/>
                  </a:lnTo>
                  <a:lnTo>
                    <a:pt x="61" y="247"/>
                  </a:lnTo>
                  <a:lnTo>
                    <a:pt x="60" y="250"/>
                  </a:lnTo>
                  <a:lnTo>
                    <a:pt x="60" y="252"/>
                  </a:lnTo>
                  <a:lnTo>
                    <a:pt x="60" y="253"/>
                  </a:lnTo>
                  <a:lnTo>
                    <a:pt x="60" y="253"/>
                  </a:lnTo>
                  <a:lnTo>
                    <a:pt x="63" y="252"/>
                  </a:lnTo>
                  <a:lnTo>
                    <a:pt x="67" y="247"/>
                  </a:lnTo>
                  <a:lnTo>
                    <a:pt x="75" y="240"/>
                  </a:lnTo>
                  <a:lnTo>
                    <a:pt x="75" y="239"/>
                  </a:lnTo>
                  <a:lnTo>
                    <a:pt x="75" y="237"/>
                  </a:lnTo>
                  <a:lnTo>
                    <a:pt x="75" y="234"/>
                  </a:lnTo>
                  <a:lnTo>
                    <a:pt x="75" y="233"/>
                  </a:lnTo>
                  <a:lnTo>
                    <a:pt x="76" y="231"/>
                  </a:lnTo>
                  <a:lnTo>
                    <a:pt x="78" y="231"/>
                  </a:lnTo>
                  <a:lnTo>
                    <a:pt x="88" y="227"/>
                  </a:lnTo>
                  <a:lnTo>
                    <a:pt x="91" y="227"/>
                  </a:lnTo>
                  <a:lnTo>
                    <a:pt x="92" y="227"/>
                  </a:lnTo>
                  <a:lnTo>
                    <a:pt x="96" y="229"/>
                  </a:lnTo>
                  <a:lnTo>
                    <a:pt x="111" y="229"/>
                  </a:lnTo>
                  <a:lnTo>
                    <a:pt x="112" y="229"/>
                  </a:lnTo>
                  <a:lnTo>
                    <a:pt x="115" y="230"/>
                  </a:lnTo>
                  <a:lnTo>
                    <a:pt x="117" y="230"/>
                  </a:lnTo>
                  <a:lnTo>
                    <a:pt x="121" y="230"/>
                  </a:lnTo>
                  <a:lnTo>
                    <a:pt x="123" y="230"/>
                  </a:lnTo>
                  <a:lnTo>
                    <a:pt x="136" y="236"/>
                  </a:lnTo>
                  <a:lnTo>
                    <a:pt x="140" y="239"/>
                  </a:lnTo>
                  <a:lnTo>
                    <a:pt x="142" y="242"/>
                  </a:lnTo>
                  <a:lnTo>
                    <a:pt x="143" y="242"/>
                  </a:lnTo>
                  <a:lnTo>
                    <a:pt x="143" y="243"/>
                  </a:lnTo>
                  <a:lnTo>
                    <a:pt x="145" y="247"/>
                  </a:lnTo>
                  <a:lnTo>
                    <a:pt x="145" y="249"/>
                  </a:lnTo>
                  <a:lnTo>
                    <a:pt x="147" y="253"/>
                  </a:lnTo>
                  <a:lnTo>
                    <a:pt x="150" y="255"/>
                  </a:lnTo>
                  <a:lnTo>
                    <a:pt x="158" y="256"/>
                  </a:lnTo>
                  <a:lnTo>
                    <a:pt x="163" y="256"/>
                  </a:lnTo>
                  <a:lnTo>
                    <a:pt x="185" y="247"/>
                  </a:lnTo>
                  <a:lnTo>
                    <a:pt x="187" y="245"/>
                  </a:lnTo>
                  <a:lnTo>
                    <a:pt x="188" y="243"/>
                  </a:lnTo>
                  <a:lnTo>
                    <a:pt x="187" y="233"/>
                  </a:lnTo>
                  <a:lnTo>
                    <a:pt x="185" y="231"/>
                  </a:lnTo>
                  <a:lnTo>
                    <a:pt x="187" y="229"/>
                  </a:lnTo>
                  <a:lnTo>
                    <a:pt x="188" y="226"/>
                  </a:lnTo>
                  <a:lnTo>
                    <a:pt x="191" y="217"/>
                  </a:lnTo>
                  <a:lnTo>
                    <a:pt x="193" y="215"/>
                  </a:lnTo>
                  <a:lnTo>
                    <a:pt x="193" y="214"/>
                  </a:lnTo>
                  <a:lnTo>
                    <a:pt x="191" y="214"/>
                  </a:lnTo>
                  <a:lnTo>
                    <a:pt x="191" y="212"/>
                  </a:lnTo>
                  <a:lnTo>
                    <a:pt x="190" y="212"/>
                  </a:lnTo>
                  <a:lnTo>
                    <a:pt x="184" y="211"/>
                  </a:lnTo>
                  <a:lnTo>
                    <a:pt x="182" y="211"/>
                  </a:lnTo>
                  <a:lnTo>
                    <a:pt x="182" y="211"/>
                  </a:lnTo>
                  <a:lnTo>
                    <a:pt x="182" y="210"/>
                  </a:lnTo>
                  <a:lnTo>
                    <a:pt x="182" y="208"/>
                  </a:lnTo>
                  <a:lnTo>
                    <a:pt x="181" y="208"/>
                  </a:lnTo>
                  <a:lnTo>
                    <a:pt x="182" y="205"/>
                  </a:lnTo>
                  <a:lnTo>
                    <a:pt x="182" y="204"/>
                  </a:lnTo>
                  <a:lnTo>
                    <a:pt x="185" y="196"/>
                  </a:lnTo>
                  <a:lnTo>
                    <a:pt x="185" y="194"/>
                  </a:lnTo>
                  <a:lnTo>
                    <a:pt x="184" y="183"/>
                  </a:lnTo>
                  <a:lnTo>
                    <a:pt x="184" y="179"/>
                  </a:lnTo>
                  <a:lnTo>
                    <a:pt x="185" y="178"/>
                  </a:lnTo>
                  <a:lnTo>
                    <a:pt x="187" y="178"/>
                  </a:lnTo>
                  <a:lnTo>
                    <a:pt x="190" y="179"/>
                  </a:lnTo>
                  <a:lnTo>
                    <a:pt x="191" y="179"/>
                  </a:lnTo>
                  <a:lnTo>
                    <a:pt x="193" y="179"/>
                  </a:lnTo>
                  <a:lnTo>
                    <a:pt x="196" y="178"/>
                  </a:lnTo>
                  <a:lnTo>
                    <a:pt x="197" y="178"/>
                  </a:lnTo>
                  <a:lnTo>
                    <a:pt x="197" y="178"/>
                  </a:lnTo>
                  <a:lnTo>
                    <a:pt x="198" y="178"/>
                  </a:lnTo>
                  <a:lnTo>
                    <a:pt x="200" y="179"/>
                  </a:lnTo>
                  <a:lnTo>
                    <a:pt x="201" y="182"/>
                  </a:lnTo>
                  <a:lnTo>
                    <a:pt x="201" y="183"/>
                  </a:lnTo>
                  <a:lnTo>
                    <a:pt x="203" y="183"/>
                  </a:lnTo>
                  <a:lnTo>
                    <a:pt x="203" y="183"/>
                  </a:lnTo>
                  <a:lnTo>
                    <a:pt x="209" y="182"/>
                  </a:lnTo>
                  <a:lnTo>
                    <a:pt x="210" y="182"/>
                  </a:lnTo>
                  <a:lnTo>
                    <a:pt x="212" y="182"/>
                  </a:lnTo>
                  <a:lnTo>
                    <a:pt x="212" y="182"/>
                  </a:lnTo>
                  <a:lnTo>
                    <a:pt x="213" y="182"/>
                  </a:lnTo>
                  <a:lnTo>
                    <a:pt x="213" y="183"/>
                  </a:lnTo>
                  <a:lnTo>
                    <a:pt x="214" y="183"/>
                  </a:lnTo>
                  <a:lnTo>
                    <a:pt x="216" y="185"/>
                  </a:lnTo>
                  <a:lnTo>
                    <a:pt x="222" y="185"/>
                  </a:lnTo>
                  <a:lnTo>
                    <a:pt x="228" y="182"/>
                  </a:lnTo>
                  <a:lnTo>
                    <a:pt x="238" y="179"/>
                  </a:lnTo>
                  <a:lnTo>
                    <a:pt x="239" y="178"/>
                  </a:lnTo>
                  <a:lnTo>
                    <a:pt x="239" y="176"/>
                  </a:lnTo>
                  <a:lnTo>
                    <a:pt x="238" y="175"/>
                  </a:lnTo>
                  <a:lnTo>
                    <a:pt x="238" y="172"/>
                  </a:lnTo>
                  <a:lnTo>
                    <a:pt x="238" y="167"/>
                  </a:lnTo>
                  <a:lnTo>
                    <a:pt x="239" y="160"/>
                  </a:lnTo>
                  <a:lnTo>
                    <a:pt x="242" y="157"/>
                  </a:lnTo>
                  <a:lnTo>
                    <a:pt x="245" y="154"/>
                  </a:lnTo>
                  <a:lnTo>
                    <a:pt x="249" y="151"/>
                  </a:lnTo>
                  <a:lnTo>
                    <a:pt x="254" y="151"/>
                  </a:lnTo>
                  <a:lnTo>
                    <a:pt x="260" y="148"/>
                  </a:lnTo>
                  <a:lnTo>
                    <a:pt x="265" y="144"/>
                  </a:lnTo>
                  <a:lnTo>
                    <a:pt x="267" y="143"/>
                  </a:lnTo>
                  <a:lnTo>
                    <a:pt x="268" y="140"/>
                  </a:lnTo>
                  <a:lnTo>
                    <a:pt x="268" y="135"/>
                  </a:lnTo>
                  <a:lnTo>
                    <a:pt x="268" y="131"/>
                  </a:lnTo>
                  <a:lnTo>
                    <a:pt x="268" y="128"/>
                  </a:lnTo>
                  <a:lnTo>
                    <a:pt x="268" y="125"/>
                  </a:lnTo>
                  <a:lnTo>
                    <a:pt x="267" y="118"/>
                  </a:lnTo>
                  <a:lnTo>
                    <a:pt x="276" y="87"/>
                  </a:lnTo>
                  <a:lnTo>
                    <a:pt x="280" y="81"/>
                  </a:lnTo>
                  <a:lnTo>
                    <a:pt x="281" y="80"/>
                  </a:lnTo>
                  <a:lnTo>
                    <a:pt x="286" y="79"/>
                  </a:lnTo>
                  <a:lnTo>
                    <a:pt x="286" y="79"/>
                  </a:lnTo>
                  <a:lnTo>
                    <a:pt x="287" y="79"/>
                  </a:lnTo>
                  <a:lnTo>
                    <a:pt x="289" y="79"/>
                  </a:lnTo>
                  <a:lnTo>
                    <a:pt x="289" y="80"/>
                  </a:lnTo>
                  <a:lnTo>
                    <a:pt x="292" y="84"/>
                  </a:lnTo>
                  <a:lnTo>
                    <a:pt x="293" y="86"/>
                  </a:lnTo>
                  <a:lnTo>
                    <a:pt x="296" y="89"/>
                  </a:lnTo>
                  <a:lnTo>
                    <a:pt x="299" y="90"/>
                  </a:lnTo>
                  <a:lnTo>
                    <a:pt x="300" y="90"/>
                  </a:lnTo>
                  <a:lnTo>
                    <a:pt x="303" y="90"/>
                  </a:lnTo>
                  <a:lnTo>
                    <a:pt x="308" y="89"/>
                  </a:lnTo>
                  <a:lnTo>
                    <a:pt x="328" y="81"/>
                  </a:lnTo>
                  <a:lnTo>
                    <a:pt x="350" y="68"/>
                  </a:lnTo>
                  <a:lnTo>
                    <a:pt x="356" y="63"/>
                  </a:lnTo>
                  <a:lnTo>
                    <a:pt x="360" y="55"/>
                  </a:lnTo>
                  <a:lnTo>
                    <a:pt x="364" y="48"/>
                  </a:lnTo>
                  <a:lnTo>
                    <a:pt x="372" y="36"/>
                  </a:lnTo>
                  <a:lnTo>
                    <a:pt x="372" y="35"/>
                  </a:lnTo>
                  <a:lnTo>
                    <a:pt x="373" y="33"/>
                  </a:lnTo>
                  <a:lnTo>
                    <a:pt x="373" y="32"/>
                  </a:lnTo>
                  <a:lnTo>
                    <a:pt x="375" y="25"/>
                  </a:lnTo>
                  <a:lnTo>
                    <a:pt x="394" y="4"/>
                  </a:lnTo>
                  <a:lnTo>
                    <a:pt x="399" y="0"/>
                  </a:lnTo>
                  <a:lnTo>
                    <a:pt x="401" y="1"/>
                  </a:lnTo>
                  <a:lnTo>
                    <a:pt x="401" y="3"/>
                  </a:lnTo>
                  <a:lnTo>
                    <a:pt x="401" y="4"/>
                  </a:lnTo>
                  <a:lnTo>
                    <a:pt x="401" y="6"/>
                  </a:lnTo>
                  <a:lnTo>
                    <a:pt x="401" y="7"/>
                  </a:lnTo>
                  <a:lnTo>
                    <a:pt x="401" y="9"/>
                  </a:lnTo>
                  <a:lnTo>
                    <a:pt x="402" y="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0">
              <a:extLst>
                <a:ext uri="{FF2B5EF4-FFF2-40B4-BE49-F238E27FC236}">
                  <a16:creationId xmlns:a16="http://schemas.microsoft.com/office/drawing/2014/main" id="{DACCC50B-E7CF-4C45-8BDC-16C4A67E1A58}"/>
                </a:ext>
              </a:extLst>
            </p:cNvPr>
            <p:cNvSpPr>
              <a:spLocks/>
            </p:cNvSpPr>
            <p:nvPr/>
          </p:nvSpPr>
          <p:spPr bwMode="gray">
            <a:xfrm>
              <a:off x="4483101" y="4764088"/>
              <a:ext cx="1644650" cy="1882775"/>
            </a:xfrm>
            <a:custGeom>
              <a:avLst/>
              <a:gdLst>
                <a:gd name="T0" fmla="*/ 741 w 1036"/>
                <a:gd name="T1" fmla="*/ 16 h 1186"/>
                <a:gd name="T2" fmla="*/ 738 w 1036"/>
                <a:gd name="T3" fmla="*/ 44 h 1186"/>
                <a:gd name="T4" fmla="*/ 759 w 1036"/>
                <a:gd name="T5" fmla="*/ 45 h 1186"/>
                <a:gd name="T6" fmla="*/ 782 w 1036"/>
                <a:gd name="T7" fmla="*/ 45 h 1186"/>
                <a:gd name="T8" fmla="*/ 823 w 1036"/>
                <a:gd name="T9" fmla="*/ 99 h 1186"/>
                <a:gd name="T10" fmla="*/ 808 w 1036"/>
                <a:gd name="T11" fmla="*/ 134 h 1186"/>
                <a:gd name="T12" fmla="*/ 835 w 1036"/>
                <a:gd name="T13" fmla="*/ 118 h 1186"/>
                <a:gd name="T14" fmla="*/ 842 w 1036"/>
                <a:gd name="T15" fmla="*/ 166 h 1186"/>
                <a:gd name="T16" fmla="*/ 886 w 1036"/>
                <a:gd name="T17" fmla="*/ 141 h 1186"/>
                <a:gd name="T18" fmla="*/ 907 w 1036"/>
                <a:gd name="T19" fmla="*/ 151 h 1186"/>
                <a:gd name="T20" fmla="*/ 923 w 1036"/>
                <a:gd name="T21" fmla="*/ 220 h 1186"/>
                <a:gd name="T22" fmla="*/ 918 w 1036"/>
                <a:gd name="T23" fmla="*/ 255 h 1186"/>
                <a:gd name="T24" fmla="*/ 909 w 1036"/>
                <a:gd name="T25" fmla="*/ 284 h 1186"/>
                <a:gd name="T26" fmla="*/ 915 w 1036"/>
                <a:gd name="T27" fmla="*/ 316 h 1186"/>
                <a:gd name="T28" fmla="*/ 957 w 1036"/>
                <a:gd name="T29" fmla="*/ 351 h 1186"/>
                <a:gd name="T30" fmla="*/ 944 w 1036"/>
                <a:gd name="T31" fmla="*/ 370 h 1186"/>
                <a:gd name="T32" fmla="*/ 960 w 1036"/>
                <a:gd name="T33" fmla="*/ 397 h 1186"/>
                <a:gd name="T34" fmla="*/ 1017 w 1036"/>
                <a:gd name="T35" fmla="*/ 444 h 1186"/>
                <a:gd name="T36" fmla="*/ 1020 w 1036"/>
                <a:gd name="T37" fmla="*/ 473 h 1186"/>
                <a:gd name="T38" fmla="*/ 1021 w 1036"/>
                <a:gd name="T39" fmla="*/ 523 h 1186"/>
                <a:gd name="T40" fmla="*/ 1017 w 1036"/>
                <a:gd name="T41" fmla="*/ 559 h 1186"/>
                <a:gd name="T42" fmla="*/ 1017 w 1036"/>
                <a:gd name="T43" fmla="*/ 587 h 1186"/>
                <a:gd name="T44" fmla="*/ 985 w 1036"/>
                <a:gd name="T45" fmla="*/ 587 h 1186"/>
                <a:gd name="T46" fmla="*/ 963 w 1036"/>
                <a:gd name="T47" fmla="*/ 608 h 1186"/>
                <a:gd name="T48" fmla="*/ 972 w 1036"/>
                <a:gd name="T49" fmla="*/ 632 h 1186"/>
                <a:gd name="T50" fmla="*/ 973 w 1036"/>
                <a:gd name="T51" fmla="*/ 670 h 1186"/>
                <a:gd name="T52" fmla="*/ 912 w 1036"/>
                <a:gd name="T53" fmla="*/ 694 h 1186"/>
                <a:gd name="T54" fmla="*/ 877 w 1036"/>
                <a:gd name="T55" fmla="*/ 721 h 1186"/>
                <a:gd name="T56" fmla="*/ 912 w 1036"/>
                <a:gd name="T57" fmla="*/ 917 h 1186"/>
                <a:gd name="T58" fmla="*/ 897 w 1036"/>
                <a:gd name="T59" fmla="*/ 1010 h 1186"/>
                <a:gd name="T60" fmla="*/ 909 w 1036"/>
                <a:gd name="T61" fmla="*/ 1041 h 1186"/>
                <a:gd name="T62" fmla="*/ 899 w 1036"/>
                <a:gd name="T63" fmla="*/ 1064 h 1186"/>
                <a:gd name="T64" fmla="*/ 903 w 1036"/>
                <a:gd name="T65" fmla="*/ 1114 h 1186"/>
                <a:gd name="T66" fmla="*/ 839 w 1036"/>
                <a:gd name="T67" fmla="*/ 1122 h 1186"/>
                <a:gd name="T68" fmla="*/ 725 w 1036"/>
                <a:gd name="T69" fmla="*/ 1165 h 1186"/>
                <a:gd name="T70" fmla="*/ 460 w 1036"/>
                <a:gd name="T71" fmla="*/ 1106 h 1186"/>
                <a:gd name="T72" fmla="*/ 419 w 1036"/>
                <a:gd name="T73" fmla="*/ 1076 h 1186"/>
                <a:gd name="T74" fmla="*/ 357 w 1036"/>
                <a:gd name="T75" fmla="*/ 1051 h 1186"/>
                <a:gd name="T76" fmla="*/ 304 w 1036"/>
                <a:gd name="T77" fmla="*/ 1118 h 1186"/>
                <a:gd name="T78" fmla="*/ 374 w 1036"/>
                <a:gd name="T79" fmla="*/ 1130 h 1186"/>
                <a:gd name="T80" fmla="*/ 341 w 1036"/>
                <a:gd name="T81" fmla="*/ 1141 h 1186"/>
                <a:gd name="T82" fmla="*/ 211 w 1036"/>
                <a:gd name="T83" fmla="*/ 1156 h 1186"/>
                <a:gd name="T84" fmla="*/ 33 w 1036"/>
                <a:gd name="T85" fmla="*/ 1170 h 1186"/>
                <a:gd name="T86" fmla="*/ 1 w 1036"/>
                <a:gd name="T87" fmla="*/ 1114 h 1186"/>
                <a:gd name="T88" fmla="*/ 16 w 1036"/>
                <a:gd name="T89" fmla="*/ 1012 h 1186"/>
                <a:gd name="T90" fmla="*/ 22 w 1036"/>
                <a:gd name="T91" fmla="*/ 919 h 1186"/>
                <a:gd name="T92" fmla="*/ 83 w 1036"/>
                <a:gd name="T93" fmla="*/ 761 h 1186"/>
                <a:gd name="T94" fmla="*/ 103 w 1036"/>
                <a:gd name="T95" fmla="*/ 626 h 1186"/>
                <a:gd name="T96" fmla="*/ 182 w 1036"/>
                <a:gd name="T97" fmla="*/ 534 h 1186"/>
                <a:gd name="T98" fmla="*/ 336 w 1036"/>
                <a:gd name="T99" fmla="*/ 266 h 1186"/>
                <a:gd name="T100" fmla="*/ 317 w 1036"/>
                <a:gd name="T101" fmla="*/ 140 h 1186"/>
                <a:gd name="T102" fmla="*/ 383 w 1036"/>
                <a:gd name="T103" fmla="*/ 129 h 1186"/>
                <a:gd name="T104" fmla="*/ 408 w 1036"/>
                <a:gd name="T105" fmla="*/ 112 h 1186"/>
                <a:gd name="T106" fmla="*/ 462 w 1036"/>
                <a:gd name="T107" fmla="*/ 157 h 1186"/>
                <a:gd name="T108" fmla="*/ 457 w 1036"/>
                <a:gd name="T109" fmla="*/ 175 h 1186"/>
                <a:gd name="T110" fmla="*/ 453 w 1036"/>
                <a:gd name="T111" fmla="*/ 211 h 1186"/>
                <a:gd name="T112" fmla="*/ 495 w 1036"/>
                <a:gd name="T113" fmla="*/ 186 h 1186"/>
                <a:gd name="T114" fmla="*/ 529 w 1036"/>
                <a:gd name="T115" fmla="*/ 157 h 1186"/>
                <a:gd name="T116" fmla="*/ 553 w 1036"/>
                <a:gd name="T117" fmla="*/ 138 h 1186"/>
                <a:gd name="T118" fmla="*/ 609 w 1036"/>
                <a:gd name="T119" fmla="*/ 115 h 1186"/>
                <a:gd name="T120" fmla="*/ 648 w 1036"/>
                <a:gd name="T121" fmla="*/ 78 h 1186"/>
                <a:gd name="T122" fmla="*/ 653 w 1036"/>
                <a:gd name="T123" fmla="*/ 42 h 1186"/>
                <a:gd name="T124" fmla="*/ 626 w 1036"/>
                <a:gd name="T125" fmla="*/ 35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36" h="1186">
                  <a:moveTo>
                    <a:pt x="687" y="0"/>
                  </a:moveTo>
                  <a:lnTo>
                    <a:pt x="706" y="9"/>
                  </a:lnTo>
                  <a:lnTo>
                    <a:pt x="711" y="10"/>
                  </a:lnTo>
                  <a:lnTo>
                    <a:pt x="714" y="9"/>
                  </a:lnTo>
                  <a:lnTo>
                    <a:pt x="717" y="7"/>
                  </a:lnTo>
                  <a:lnTo>
                    <a:pt x="725" y="13"/>
                  </a:lnTo>
                  <a:lnTo>
                    <a:pt x="730" y="13"/>
                  </a:lnTo>
                  <a:lnTo>
                    <a:pt x="736" y="10"/>
                  </a:lnTo>
                  <a:lnTo>
                    <a:pt x="738" y="9"/>
                  </a:lnTo>
                  <a:lnTo>
                    <a:pt x="740" y="7"/>
                  </a:lnTo>
                  <a:lnTo>
                    <a:pt x="741" y="7"/>
                  </a:lnTo>
                  <a:lnTo>
                    <a:pt x="743" y="7"/>
                  </a:lnTo>
                  <a:lnTo>
                    <a:pt x="743" y="7"/>
                  </a:lnTo>
                  <a:lnTo>
                    <a:pt x="744" y="10"/>
                  </a:lnTo>
                  <a:lnTo>
                    <a:pt x="744" y="12"/>
                  </a:lnTo>
                  <a:lnTo>
                    <a:pt x="743" y="13"/>
                  </a:lnTo>
                  <a:lnTo>
                    <a:pt x="743" y="14"/>
                  </a:lnTo>
                  <a:lnTo>
                    <a:pt x="741" y="14"/>
                  </a:lnTo>
                  <a:lnTo>
                    <a:pt x="741" y="16"/>
                  </a:lnTo>
                  <a:lnTo>
                    <a:pt x="741" y="17"/>
                  </a:lnTo>
                  <a:lnTo>
                    <a:pt x="741" y="20"/>
                  </a:lnTo>
                  <a:lnTo>
                    <a:pt x="743" y="22"/>
                  </a:lnTo>
                  <a:lnTo>
                    <a:pt x="743" y="23"/>
                  </a:lnTo>
                  <a:lnTo>
                    <a:pt x="743" y="25"/>
                  </a:lnTo>
                  <a:lnTo>
                    <a:pt x="743" y="25"/>
                  </a:lnTo>
                  <a:lnTo>
                    <a:pt x="741" y="26"/>
                  </a:lnTo>
                  <a:lnTo>
                    <a:pt x="741" y="28"/>
                  </a:lnTo>
                  <a:lnTo>
                    <a:pt x="741" y="29"/>
                  </a:lnTo>
                  <a:lnTo>
                    <a:pt x="741" y="30"/>
                  </a:lnTo>
                  <a:lnTo>
                    <a:pt x="741" y="32"/>
                  </a:lnTo>
                  <a:lnTo>
                    <a:pt x="741" y="35"/>
                  </a:lnTo>
                  <a:lnTo>
                    <a:pt x="741" y="36"/>
                  </a:lnTo>
                  <a:lnTo>
                    <a:pt x="741" y="36"/>
                  </a:lnTo>
                  <a:lnTo>
                    <a:pt x="738" y="38"/>
                  </a:lnTo>
                  <a:lnTo>
                    <a:pt x="738" y="39"/>
                  </a:lnTo>
                  <a:lnTo>
                    <a:pt x="738" y="39"/>
                  </a:lnTo>
                  <a:lnTo>
                    <a:pt x="738" y="42"/>
                  </a:lnTo>
                  <a:lnTo>
                    <a:pt x="738" y="44"/>
                  </a:lnTo>
                  <a:lnTo>
                    <a:pt x="738" y="45"/>
                  </a:lnTo>
                  <a:lnTo>
                    <a:pt x="736" y="49"/>
                  </a:lnTo>
                  <a:lnTo>
                    <a:pt x="736" y="51"/>
                  </a:lnTo>
                  <a:lnTo>
                    <a:pt x="736" y="52"/>
                  </a:lnTo>
                  <a:lnTo>
                    <a:pt x="736" y="52"/>
                  </a:lnTo>
                  <a:lnTo>
                    <a:pt x="736" y="54"/>
                  </a:lnTo>
                  <a:lnTo>
                    <a:pt x="737" y="55"/>
                  </a:lnTo>
                  <a:lnTo>
                    <a:pt x="740" y="57"/>
                  </a:lnTo>
                  <a:lnTo>
                    <a:pt x="743" y="58"/>
                  </a:lnTo>
                  <a:lnTo>
                    <a:pt x="749" y="58"/>
                  </a:lnTo>
                  <a:lnTo>
                    <a:pt x="750" y="58"/>
                  </a:lnTo>
                  <a:lnTo>
                    <a:pt x="752" y="57"/>
                  </a:lnTo>
                  <a:lnTo>
                    <a:pt x="753" y="55"/>
                  </a:lnTo>
                  <a:lnTo>
                    <a:pt x="753" y="54"/>
                  </a:lnTo>
                  <a:lnTo>
                    <a:pt x="753" y="51"/>
                  </a:lnTo>
                  <a:lnTo>
                    <a:pt x="753" y="48"/>
                  </a:lnTo>
                  <a:lnTo>
                    <a:pt x="753" y="48"/>
                  </a:lnTo>
                  <a:lnTo>
                    <a:pt x="754" y="46"/>
                  </a:lnTo>
                  <a:lnTo>
                    <a:pt x="759" y="45"/>
                  </a:lnTo>
                  <a:lnTo>
                    <a:pt x="759" y="44"/>
                  </a:lnTo>
                  <a:lnTo>
                    <a:pt x="760" y="41"/>
                  </a:lnTo>
                  <a:lnTo>
                    <a:pt x="762" y="41"/>
                  </a:lnTo>
                  <a:lnTo>
                    <a:pt x="762" y="41"/>
                  </a:lnTo>
                  <a:lnTo>
                    <a:pt x="762" y="41"/>
                  </a:lnTo>
                  <a:lnTo>
                    <a:pt x="763" y="41"/>
                  </a:lnTo>
                  <a:lnTo>
                    <a:pt x="763" y="44"/>
                  </a:lnTo>
                  <a:lnTo>
                    <a:pt x="763" y="46"/>
                  </a:lnTo>
                  <a:lnTo>
                    <a:pt x="763" y="48"/>
                  </a:lnTo>
                  <a:lnTo>
                    <a:pt x="765" y="49"/>
                  </a:lnTo>
                  <a:lnTo>
                    <a:pt x="768" y="57"/>
                  </a:lnTo>
                  <a:lnTo>
                    <a:pt x="768" y="58"/>
                  </a:lnTo>
                  <a:lnTo>
                    <a:pt x="769" y="58"/>
                  </a:lnTo>
                  <a:lnTo>
                    <a:pt x="771" y="57"/>
                  </a:lnTo>
                  <a:lnTo>
                    <a:pt x="772" y="57"/>
                  </a:lnTo>
                  <a:lnTo>
                    <a:pt x="773" y="54"/>
                  </a:lnTo>
                  <a:lnTo>
                    <a:pt x="781" y="46"/>
                  </a:lnTo>
                  <a:lnTo>
                    <a:pt x="781" y="46"/>
                  </a:lnTo>
                  <a:lnTo>
                    <a:pt x="782" y="45"/>
                  </a:lnTo>
                  <a:lnTo>
                    <a:pt x="784" y="44"/>
                  </a:lnTo>
                  <a:lnTo>
                    <a:pt x="789" y="42"/>
                  </a:lnTo>
                  <a:lnTo>
                    <a:pt x="792" y="39"/>
                  </a:lnTo>
                  <a:lnTo>
                    <a:pt x="792" y="41"/>
                  </a:lnTo>
                  <a:lnTo>
                    <a:pt x="794" y="41"/>
                  </a:lnTo>
                  <a:lnTo>
                    <a:pt x="795" y="45"/>
                  </a:lnTo>
                  <a:lnTo>
                    <a:pt x="805" y="57"/>
                  </a:lnTo>
                  <a:lnTo>
                    <a:pt x="805" y="58"/>
                  </a:lnTo>
                  <a:lnTo>
                    <a:pt x="805" y="58"/>
                  </a:lnTo>
                  <a:lnTo>
                    <a:pt x="807" y="61"/>
                  </a:lnTo>
                  <a:lnTo>
                    <a:pt x="805" y="71"/>
                  </a:lnTo>
                  <a:lnTo>
                    <a:pt x="807" y="77"/>
                  </a:lnTo>
                  <a:lnTo>
                    <a:pt x="807" y="77"/>
                  </a:lnTo>
                  <a:lnTo>
                    <a:pt x="807" y="78"/>
                  </a:lnTo>
                  <a:lnTo>
                    <a:pt x="808" y="81"/>
                  </a:lnTo>
                  <a:lnTo>
                    <a:pt x="820" y="93"/>
                  </a:lnTo>
                  <a:lnTo>
                    <a:pt x="823" y="96"/>
                  </a:lnTo>
                  <a:lnTo>
                    <a:pt x="823" y="97"/>
                  </a:lnTo>
                  <a:lnTo>
                    <a:pt x="823" y="99"/>
                  </a:lnTo>
                  <a:lnTo>
                    <a:pt x="823" y="100"/>
                  </a:lnTo>
                  <a:lnTo>
                    <a:pt x="823" y="100"/>
                  </a:lnTo>
                  <a:lnTo>
                    <a:pt x="823" y="102"/>
                  </a:lnTo>
                  <a:lnTo>
                    <a:pt x="823" y="103"/>
                  </a:lnTo>
                  <a:lnTo>
                    <a:pt x="822" y="103"/>
                  </a:lnTo>
                  <a:lnTo>
                    <a:pt x="819" y="106"/>
                  </a:lnTo>
                  <a:lnTo>
                    <a:pt x="816" y="111"/>
                  </a:lnTo>
                  <a:lnTo>
                    <a:pt x="816" y="113"/>
                  </a:lnTo>
                  <a:lnTo>
                    <a:pt x="816" y="115"/>
                  </a:lnTo>
                  <a:lnTo>
                    <a:pt x="816" y="116"/>
                  </a:lnTo>
                  <a:lnTo>
                    <a:pt x="816" y="119"/>
                  </a:lnTo>
                  <a:lnTo>
                    <a:pt x="816" y="121"/>
                  </a:lnTo>
                  <a:lnTo>
                    <a:pt x="816" y="122"/>
                  </a:lnTo>
                  <a:lnTo>
                    <a:pt x="814" y="124"/>
                  </a:lnTo>
                  <a:lnTo>
                    <a:pt x="814" y="124"/>
                  </a:lnTo>
                  <a:lnTo>
                    <a:pt x="810" y="129"/>
                  </a:lnTo>
                  <a:lnTo>
                    <a:pt x="808" y="131"/>
                  </a:lnTo>
                  <a:lnTo>
                    <a:pt x="808" y="132"/>
                  </a:lnTo>
                  <a:lnTo>
                    <a:pt x="808" y="134"/>
                  </a:lnTo>
                  <a:lnTo>
                    <a:pt x="811" y="135"/>
                  </a:lnTo>
                  <a:lnTo>
                    <a:pt x="814" y="135"/>
                  </a:lnTo>
                  <a:lnTo>
                    <a:pt x="817" y="134"/>
                  </a:lnTo>
                  <a:lnTo>
                    <a:pt x="819" y="132"/>
                  </a:lnTo>
                  <a:lnTo>
                    <a:pt x="819" y="131"/>
                  </a:lnTo>
                  <a:lnTo>
                    <a:pt x="820" y="127"/>
                  </a:lnTo>
                  <a:lnTo>
                    <a:pt x="820" y="125"/>
                  </a:lnTo>
                  <a:lnTo>
                    <a:pt x="822" y="125"/>
                  </a:lnTo>
                  <a:lnTo>
                    <a:pt x="823" y="124"/>
                  </a:lnTo>
                  <a:lnTo>
                    <a:pt x="824" y="124"/>
                  </a:lnTo>
                  <a:lnTo>
                    <a:pt x="826" y="124"/>
                  </a:lnTo>
                  <a:lnTo>
                    <a:pt x="826" y="122"/>
                  </a:lnTo>
                  <a:lnTo>
                    <a:pt x="827" y="121"/>
                  </a:lnTo>
                  <a:lnTo>
                    <a:pt x="829" y="118"/>
                  </a:lnTo>
                  <a:lnTo>
                    <a:pt x="830" y="116"/>
                  </a:lnTo>
                  <a:lnTo>
                    <a:pt x="832" y="116"/>
                  </a:lnTo>
                  <a:lnTo>
                    <a:pt x="833" y="116"/>
                  </a:lnTo>
                  <a:lnTo>
                    <a:pt x="833" y="116"/>
                  </a:lnTo>
                  <a:lnTo>
                    <a:pt x="835" y="118"/>
                  </a:lnTo>
                  <a:lnTo>
                    <a:pt x="836" y="119"/>
                  </a:lnTo>
                  <a:lnTo>
                    <a:pt x="836" y="119"/>
                  </a:lnTo>
                  <a:lnTo>
                    <a:pt x="836" y="121"/>
                  </a:lnTo>
                  <a:lnTo>
                    <a:pt x="835" y="122"/>
                  </a:lnTo>
                  <a:lnTo>
                    <a:pt x="835" y="124"/>
                  </a:lnTo>
                  <a:lnTo>
                    <a:pt x="833" y="125"/>
                  </a:lnTo>
                  <a:lnTo>
                    <a:pt x="833" y="125"/>
                  </a:lnTo>
                  <a:lnTo>
                    <a:pt x="833" y="125"/>
                  </a:lnTo>
                  <a:lnTo>
                    <a:pt x="839" y="129"/>
                  </a:lnTo>
                  <a:lnTo>
                    <a:pt x="839" y="131"/>
                  </a:lnTo>
                  <a:lnTo>
                    <a:pt x="839" y="131"/>
                  </a:lnTo>
                  <a:lnTo>
                    <a:pt x="840" y="138"/>
                  </a:lnTo>
                  <a:lnTo>
                    <a:pt x="842" y="143"/>
                  </a:lnTo>
                  <a:lnTo>
                    <a:pt x="842" y="145"/>
                  </a:lnTo>
                  <a:lnTo>
                    <a:pt x="840" y="148"/>
                  </a:lnTo>
                  <a:lnTo>
                    <a:pt x="840" y="151"/>
                  </a:lnTo>
                  <a:lnTo>
                    <a:pt x="840" y="153"/>
                  </a:lnTo>
                  <a:lnTo>
                    <a:pt x="840" y="154"/>
                  </a:lnTo>
                  <a:lnTo>
                    <a:pt x="842" y="166"/>
                  </a:lnTo>
                  <a:lnTo>
                    <a:pt x="842" y="166"/>
                  </a:lnTo>
                  <a:lnTo>
                    <a:pt x="842" y="167"/>
                  </a:lnTo>
                  <a:lnTo>
                    <a:pt x="842" y="167"/>
                  </a:lnTo>
                  <a:lnTo>
                    <a:pt x="843" y="169"/>
                  </a:lnTo>
                  <a:lnTo>
                    <a:pt x="846" y="169"/>
                  </a:lnTo>
                  <a:lnTo>
                    <a:pt x="871" y="169"/>
                  </a:lnTo>
                  <a:lnTo>
                    <a:pt x="874" y="167"/>
                  </a:lnTo>
                  <a:lnTo>
                    <a:pt x="877" y="164"/>
                  </a:lnTo>
                  <a:lnTo>
                    <a:pt x="887" y="153"/>
                  </a:lnTo>
                  <a:lnTo>
                    <a:pt x="887" y="151"/>
                  </a:lnTo>
                  <a:lnTo>
                    <a:pt x="887" y="148"/>
                  </a:lnTo>
                  <a:lnTo>
                    <a:pt x="887" y="148"/>
                  </a:lnTo>
                  <a:lnTo>
                    <a:pt x="886" y="147"/>
                  </a:lnTo>
                  <a:lnTo>
                    <a:pt x="886" y="145"/>
                  </a:lnTo>
                  <a:lnTo>
                    <a:pt x="886" y="145"/>
                  </a:lnTo>
                  <a:lnTo>
                    <a:pt x="884" y="144"/>
                  </a:lnTo>
                  <a:lnTo>
                    <a:pt x="884" y="144"/>
                  </a:lnTo>
                  <a:lnTo>
                    <a:pt x="884" y="144"/>
                  </a:lnTo>
                  <a:lnTo>
                    <a:pt x="886" y="141"/>
                  </a:lnTo>
                  <a:lnTo>
                    <a:pt x="894" y="135"/>
                  </a:lnTo>
                  <a:lnTo>
                    <a:pt x="896" y="135"/>
                  </a:lnTo>
                  <a:lnTo>
                    <a:pt x="897" y="137"/>
                  </a:lnTo>
                  <a:lnTo>
                    <a:pt x="899" y="138"/>
                  </a:lnTo>
                  <a:lnTo>
                    <a:pt x="900" y="140"/>
                  </a:lnTo>
                  <a:lnTo>
                    <a:pt x="900" y="140"/>
                  </a:lnTo>
                  <a:lnTo>
                    <a:pt x="899" y="143"/>
                  </a:lnTo>
                  <a:lnTo>
                    <a:pt x="899" y="144"/>
                  </a:lnTo>
                  <a:lnTo>
                    <a:pt x="897" y="144"/>
                  </a:lnTo>
                  <a:lnTo>
                    <a:pt x="897" y="145"/>
                  </a:lnTo>
                  <a:lnTo>
                    <a:pt x="897" y="147"/>
                  </a:lnTo>
                  <a:lnTo>
                    <a:pt x="899" y="148"/>
                  </a:lnTo>
                  <a:lnTo>
                    <a:pt x="900" y="150"/>
                  </a:lnTo>
                  <a:lnTo>
                    <a:pt x="902" y="150"/>
                  </a:lnTo>
                  <a:lnTo>
                    <a:pt x="903" y="150"/>
                  </a:lnTo>
                  <a:lnTo>
                    <a:pt x="905" y="150"/>
                  </a:lnTo>
                  <a:lnTo>
                    <a:pt x="905" y="150"/>
                  </a:lnTo>
                  <a:lnTo>
                    <a:pt x="906" y="150"/>
                  </a:lnTo>
                  <a:lnTo>
                    <a:pt x="907" y="151"/>
                  </a:lnTo>
                  <a:lnTo>
                    <a:pt x="909" y="153"/>
                  </a:lnTo>
                  <a:lnTo>
                    <a:pt x="909" y="154"/>
                  </a:lnTo>
                  <a:lnTo>
                    <a:pt x="909" y="156"/>
                  </a:lnTo>
                  <a:lnTo>
                    <a:pt x="907" y="159"/>
                  </a:lnTo>
                  <a:lnTo>
                    <a:pt x="906" y="161"/>
                  </a:lnTo>
                  <a:lnTo>
                    <a:pt x="906" y="163"/>
                  </a:lnTo>
                  <a:lnTo>
                    <a:pt x="906" y="164"/>
                  </a:lnTo>
                  <a:lnTo>
                    <a:pt x="910" y="173"/>
                  </a:lnTo>
                  <a:lnTo>
                    <a:pt x="907" y="182"/>
                  </a:lnTo>
                  <a:lnTo>
                    <a:pt x="906" y="185"/>
                  </a:lnTo>
                  <a:lnTo>
                    <a:pt x="905" y="186"/>
                  </a:lnTo>
                  <a:lnTo>
                    <a:pt x="903" y="188"/>
                  </a:lnTo>
                  <a:lnTo>
                    <a:pt x="903" y="189"/>
                  </a:lnTo>
                  <a:lnTo>
                    <a:pt x="905" y="191"/>
                  </a:lnTo>
                  <a:lnTo>
                    <a:pt x="910" y="192"/>
                  </a:lnTo>
                  <a:lnTo>
                    <a:pt x="912" y="194"/>
                  </a:lnTo>
                  <a:lnTo>
                    <a:pt x="913" y="194"/>
                  </a:lnTo>
                  <a:lnTo>
                    <a:pt x="913" y="195"/>
                  </a:lnTo>
                  <a:lnTo>
                    <a:pt x="923" y="220"/>
                  </a:lnTo>
                  <a:lnTo>
                    <a:pt x="923" y="221"/>
                  </a:lnTo>
                  <a:lnTo>
                    <a:pt x="923" y="223"/>
                  </a:lnTo>
                  <a:lnTo>
                    <a:pt x="921" y="221"/>
                  </a:lnTo>
                  <a:lnTo>
                    <a:pt x="919" y="221"/>
                  </a:lnTo>
                  <a:lnTo>
                    <a:pt x="916" y="220"/>
                  </a:lnTo>
                  <a:lnTo>
                    <a:pt x="915" y="220"/>
                  </a:lnTo>
                  <a:lnTo>
                    <a:pt x="913" y="220"/>
                  </a:lnTo>
                  <a:lnTo>
                    <a:pt x="906" y="227"/>
                  </a:lnTo>
                  <a:lnTo>
                    <a:pt x="906" y="237"/>
                  </a:lnTo>
                  <a:lnTo>
                    <a:pt x="906" y="239"/>
                  </a:lnTo>
                  <a:lnTo>
                    <a:pt x="906" y="243"/>
                  </a:lnTo>
                  <a:lnTo>
                    <a:pt x="906" y="246"/>
                  </a:lnTo>
                  <a:lnTo>
                    <a:pt x="910" y="250"/>
                  </a:lnTo>
                  <a:lnTo>
                    <a:pt x="912" y="252"/>
                  </a:lnTo>
                  <a:lnTo>
                    <a:pt x="913" y="253"/>
                  </a:lnTo>
                  <a:lnTo>
                    <a:pt x="915" y="253"/>
                  </a:lnTo>
                  <a:lnTo>
                    <a:pt x="916" y="253"/>
                  </a:lnTo>
                  <a:lnTo>
                    <a:pt x="916" y="255"/>
                  </a:lnTo>
                  <a:lnTo>
                    <a:pt x="918" y="255"/>
                  </a:lnTo>
                  <a:lnTo>
                    <a:pt x="918" y="256"/>
                  </a:lnTo>
                  <a:lnTo>
                    <a:pt x="918" y="258"/>
                  </a:lnTo>
                  <a:lnTo>
                    <a:pt x="915" y="265"/>
                  </a:lnTo>
                  <a:lnTo>
                    <a:pt x="915" y="266"/>
                  </a:lnTo>
                  <a:lnTo>
                    <a:pt x="916" y="269"/>
                  </a:lnTo>
                  <a:lnTo>
                    <a:pt x="919" y="275"/>
                  </a:lnTo>
                  <a:lnTo>
                    <a:pt x="919" y="278"/>
                  </a:lnTo>
                  <a:lnTo>
                    <a:pt x="919" y="281"/>
                  </a:lnTo>
                  <a:lnTo>
                    <a:pt x="919" y="282"/>
                  </a:lnTo>
                  <a:lnTo>
                    <a:pt x="918" y="282"/>
                  </a:lnTo>
                  <a:lnTo>
                    <a:pt x="916" y="282"/>
                  </a:lnTo>
                  <a:lnTo>
                    <a:pt x="913" y="281"/>
                  </a:lnTo>
                  <a:lnTo>
                    <a:pt x="912" y="281"/>
                  </a:lnTo>
                  <a:lnTo>
                    <a:pt x="910" y="279"/>
                  </a:lnTo>
                  <a:lnTo>
                    <a:pt x="909" y="279"/>
                  </a:lnTo>
                  <a:lnTo>
                    <a:pt x="909" y="279"/>
                  </a:lnTo>
                  <a:lnTo>
                    <a:pt x="909" y="281"/>
                  </a:lnTo>
                  <a:lnTo>
                    <a:pt x="907" y="282"/>
                  </a:lnTo>
                  <a:lnTo>
                    <a:pt x="909" y="284"/>
                  </a:lnTo>
                  <a:lnTo>
                    <a:pt x="909" y="285"/>
                  </a:lnTo>
                  <a:lnTo>
                    <a:pt x="915" y="291"/>
                  </a:lnTo>
                  <a:lnTo>
                    <a:pt x="915" y="291"/>
                  </a:lnTo>
                  <a:lnTo>
                    <a:pt x="915" y="294"/>
                  </a:lnTo>
                  <a:lnTo>
                    <a:pt x="915" y="298"/>
                  </a:lnTo>
                  <a:lnTo>
                    <a:pt x="915" y="300"/>
                  </a:lnTo>
                  <a:lnTo>
                    <a:pt x="915" y="303"/>
                  </a:lnTo>
                  <a:lnTo>
                    <a:pt x="915" y="304"/>
                  </a:lnTo>
                  <a:lnTo>
                    <a:pt x="916" y="306"/>
                  </a:lnTo>
                  <a:lnTo>
                    <a:pt x="919" y="309"/>
                  </a:lnTo>
                  <a:lnTo>
                    <a:pt x="919" y="310"/>
                  </a:lnTo>
                  <a:lnTo>
                    <a:pt x="921" y="311"/>
                  </a:lnTo>
                  <a:lnTo>
                    <a:pt x="919" y="313"/>
                  </a:lnTo>
                  <a:lnTo>
                    <a:pt x="919" y="313"/>
                  </a:lnTo>
                  <a:lnTo>
                    <a:pt x="918" y="314"/>
                  </a:lnTo>
                  <a:lnTo>
                    <a:pt x="916" y="314"/>
                  </a:lnTo>
                  <a:lnTo>
                    <a:pt x="916" y="314"/>
                  </a:lnTo>
                  <a:lnTo>
                    <a:pt x="915" y="314"/>
                  </a:lnTo>
                  <a:lnTo>
                    <a:pt x="915" y="316"/>
                  </a:lnTo>
                  <a:lnTo>
                    <a:pt x="916" y="317"/>
                  </a:lnTo>
                  <a:lnTo>
                    <a:pt x="919" y="320"/>
                  </a:lnTo>
                  <a:lnTo>
                    <a:pt x="925" y="325"/>
                  </a:lnTo>
                  <a:lnTo>
                    <a:pt x="926" y="325"/>
                  </a:lnTo>
                  <a:lnTo>
                    <a:pt x="928" y="327"/>
                  </a:lnTo>
                  <a:lnTo>
                    <a:pt x="935" y="336"/>
                  </a:lnTo>
                  <a:lnTo>
                    <a:pt x="940" y="342"/>
                  </a:lnTo>
                  <a:lnTo>
                    <a:pt x="941" y="342"/>
                  </a:lnTo>
                  <a:lnTo>
                    <a:pt x="942" y="342"/>
                  </a:lnTo>
                  <a:lnTo>
                    <a:pt x="945" y="339"/>
                  </a:lnTo>
                  <a:lnTo>
                    <a:pt x="947" y="339"/>
                  </a:lnTo>
                  <a:lnTo>
                    <a:pt x="947" y="339"/>
                  </a:lnTo>
                  <a:lnTo>
                    <a:pt x="948" y="339"/>
                  </a:lnTo>
                  <a:lnTo>
                    <a:pt x="948" y="339"/>
                  </a:lnTo>
                  <a:lnTo>
                    <a:pt x="950" y="339"/>
                  </a:lnTo>
                  <a:lnTo>
                    <a:pt x="956" y="345"/>
                  </a:lnTo>
                  <a:lnTo>
                    <a:pt x="956" y="345"/>
                  </a:lnTo>
                  <a:lnTo>
                    <a:pt x="956" y="348"/>
                  </a:lnTo>
                  <a:lnTo>
                    <a:pt x="957" y="351"/>
                  </a:lnTo>
                  <a:lnTo>
                    <a:pt x="956" y="357"/>
                  </a:lnTo>
                  <a:lnTo>
                    <a:pt x="956" y="360"/>
                  </a:lnTo>
                  <a:lnTo>
                    <a:pt x="954" y="361"/>
                  </a:lnTo>
                  <a:lnTo>
                    <a:pt x="954" y="361"/>
                  </a:lnTo>
                  <a:lnTo>
                    <a:pt x="954" y="362"/>
                  </a:lnTo>
                  <a:lnTo>
                    <a:pt x="953" y="362"/>
                  </a:lnTo>
                  <a:lnTo>
                    <a:pt x="953" y="365"/>
                  </a:lnTo>
                  <a:lnTo>
                    <a:pt x="953" y="365"/>
                  </a:lnTo>
                  <a:lnTo>
                    <a:pt x="951" y="367"/>
                  </a:lnTo>
                  <a:lnTo>
                    <a:pt x="951" y="367"/>
                  </a:lnTo>
                  <a:lnTo>
                    <a:pt x="950" y="367"/>
                  </a:lnTo>
                  <a:lnTo>
                    <a:pt x="950" y="368"/>
                  </a:lnTo>
                  <a:lnTo>
                    <a:pt x="948" y="368"/>
                  </a:lnTo>
                  <a:lnTo>
                    <a:pt x="947" y="367"/>
                  </a:lnTo>
                  <a:lnTo>
                    <a:pt x="945" y="367"/>
                  </a:lnTo>
                  <a:lnTo>
                    <a:pt x="945" y="368"/>
                  </a:lnTo>
                  <a:lnTo>
                    <a:pt x="944" y="368"/>
                  </a:lnTo>
                  <a:lnTo>
                    <a:pt x="944" y="370"/>
                  </a:lnTo>
                  <a:lnTo>
                    <a:pt x="944" y="370"/>
                  </a:lnTo>
                  <a:lnTo>
                    <a:pt x="945" y="371"/>
                  </a:lnTo>
                  <a:lnTo>
                    <a:pt x="950" y="374"/>
                  </a:lnTo>
                  <a:lnTo>
                    <a:pt x="953" y="374"/>
                  </a:lnTo>
                  <a:lnTo>
                    <a:pt x="954" y="376"/>
                  </a:lnTo>
                  <a:lnTo>
                    <a:pt x="956" y="376"/>
                  </a:lnTo>
                  <a:lnTo>
                    <a:pt x="956" y="377"/>
                  </a:lnTo>
                  <a:lnTo>
                    <a:pt x="956" y="378"/>
                  </a:lnTo>
                  <a:lnTo>
                    <a:pt x="954" y="380"/>
                  </a:lnTo>
                  <a:lnTo>
                    <a:pt x="954" y="381"/>
                  </a:lnTo>
                  <a:lnTo>
                    <a:pt x="954" y="381"/>
                  </a:lnTo>
                  <a:lnTo>
                    <a:pt x="956" y="384"/>
                  </a:lnTo>
                  <a:lnTo>
                    <a:pt x="961" y="389"/>
                  </a:lnTo>
                  <a:lnTo>
                    <a:pt x="961" y="392"/>
                  </a:lnTo>
                  <a:lnTo>
                    <a:pt x="960" y="393"/>
                  </a:lnTo>
                  <a:lnTo>
                    <a:pt x="960" y="394"/>
                  </a:lnTo>
                  <a:lnTo>
                    <a:pt x="960" y="396"/>
                  </a:lnTo>
                  <a:lnTo>
                    <a:pt x="960" y="396"/>
                  </a:lnTo>
                  <a:lnTo>
                    <a:pt x="960" y="397"/>
                  </a:lnTo>
                  <a:lnTo>
                    <a:pt x="960" y="397"/>
                  </a:lnTo>
                  <a:lnTo>
                    <a:pt x="963" y="399"/>
                  </a:lnTo>
                  <a:lnTo>
                    <a:pt x="969" y="402"/>
                  </a:lnTo>
                  <a:lnTo>
                    <a:pt x="970" y="402"/>
                  </a:lnTo>
                  <a:lnTo>
                    <a:pt x="973" y="402"/>
                  </a:lnTo>
                  <a:lnTo>
                    <a:pt x="974" y="402"/>
                  </a:lnTo>
                  <a:lnTo>
                    <a:pt x="976" y="402"/>
                  </a:lnTo>
                  <a:lnTo>
                    <a:pt x="982" y="406"/>
                  </a:lnTo>
                  <a:lnTo>
                    <a:pt x="982" y="406"/>
                  </a:lnTo>
                  <a:lnTo>
                    <a:pt x="983" y="406"/>
                  </a:lnTo>
                  <a:lnTo>
                    <a:pt x="988" y="406"/>
                  </a:lnTo>
                  <a:lnTo>
                    <a:pt x="988" y="408"/>
                  </a:lnTo>
                  <a:lnTo>
                    <a:pt x="989" y="409"/>
                  </a:lnTo>
                  <a:lnTo>
                    <a:pt x="990" y="412"/>
                  </a:lnTo>
                  <a:lnTo>
                    <a:pt x="992" y="418"/>
                  </a:lnTo>
                  <a:lnTo>
                    <a:pt x="993" y="421"/>
                  </a:lnTo>
                  <a:lnTo>
                    <a:pt x="1008" y="432"/>
                  </a:lnTo>
                  <a:lnTo>
                    <a:pt x="1011" y="438"/>
                  </a:lnTo>
                  <a:lnTo>
                    <a:pt x="1015" y="442"/>
                  </a:lnTo>
                  <a:lnTo>
                    <a:pt x="1017" y="444"/>
                  </a:lnTo>
                  <a:lnTo>
                    <a:pt x="1017" y="444"/>
                  </a:lnTo>
                  <a:lnTo>
                    <a:pt x="1017" y="445"/>
                  </a:lnTo>
                  <a:lnTo>
                    <a:pt x="1018" y="445"/>
                  </a:lnTo>
                  <a:lnTo>
                    <a:pt x="1020" y="450"/>
                  </a:lnTo>
                  <a:lnTo>
                    <a:pt x="1020" y="451"/>
                  </a:lnTo>
                  <a:lnTo>
                    <a:pt x="1023" y="453"/>
                  </a:lnTo>
                  <a:lnTo>
                    <a:pt x="1023" y="454"/>
                  </a:lnTo>
                  <a:lnTo>
                    <a:pt x="1024" y="456"/>
                  </a:lnTo>
                  <a:lnTo>
                    <a:pt x="1024" y="457"/>
                  </a:lnTo>
                  <a:lnTo>
                    <a:pt x="1025" y="460"/>
                  </a:lnTo>
                  <a:lnTo>
                    <a:pt x="1027" y="466"/>
                  </a:lnTo>
                  <a:lnTo>
                    <a:pt x="1027" y="467"/>
                  </a:lnTo>
                  <a:lnTo>
                    <a:pt x="1027" y="469"/>
                  </a:lnTo>
                  <a:lnTo>
                    <a:pt x="1025" y="470"/>
                  </a:lnTo>
                  <a:lnTo>
                    <a:pt x="1024" y="470"/>
                  </a:lnTo>
                  <a:lnTo>
                    <a:pt x="1020" y="472"/>
                  </a:lnTo>
                  <a:lnTo>
                    <a:pt x="1020" y="472"/>
                  </a:lnTo>
                  <a:lnTo>
                    <a:pt x="1018" y="473"/>
                  </a:lnTo>
                  <a:lnTo>
                    <a:pt x="1020" y="473"/>
                  </a:lnTo>
                  <a:lnTo>
                    <a:pt x="1021" y="476"/>
                  </a:lnTo>
                  <a:lnTo>
                    <a:pt x="1023" y="477"/>
                  </a:lnTo>
                  <a:lnTo>
                    <a:pt x="1023" y="479"/>
                  </a:lnTo>
                  <a:lnTo>
                    <a:pt x="1023" y="483"/>
                  </a:lnTo>
                  <a:lnTo>
                    <a:pt x="1021" y="496"/>
                  </a:lnTo>
                  <a:lnTo>
                    <a:pt x="1021" y="498"/>
                  </a:lnTo>
                  <a:lnTo>
                    <a:pt x="1021" y="499"/>
                  </a:lnTo>
                  <a:lnTo>
                    <a:pt x="1020" y="502"/>
                  </a:lnTo>
                  <a:lnTo>
                    <a:pt x="1020" y="502"/>
                  </a:lnTo>
                  <a:lnTo>
                    <a:pt x="1020" y="504"/>
                  </a:lnTo>
                  <a:lnTo>
                    <a:pt x="1020" y="505"/>
                  </a:lnTo>
                  <a:lnTo>
                    <a:pt x="1023" y="509"/>
                  </a:lnTo>
                  <a:lnTo>
                    <a:pt x="1023" y="511"/>
                  </a:lnTo>
                  <a:lnTo>
                    <a:pt x="1024" y="511"/>
                  </a:lnTo>
                  <a:lnTo>
                    <a:pt x="1024" y="512"/>
                  </a:lnTo>
                  <a:lnTo>
                    <a:pt x="1024" y="515"/>
                  </a:lnTo>
                  <a:lnTo>
                    <a:pt x="1023" y="520"/>
                  </a:lnTo>
                  <a:lnTo>
                    <a:pt x="1023" y="521"/>
                  </a:lnTo>
                  <a:lnTo>
                    <a:pt x="1021" y="523"/>
                  </a:lnTo>
                  <a:lnTo>
                    <a:pt x="1021" y="524"/>
                  </a:lnTo>
                  <a:lnTo>
                    <a:pt x="1018" y="525"/>
                  </a:lnTo>
                  <a:lnTo>
                    <a:pt x="1017" y="527"/>
                  </a:lnTo>
                  <a:lnTo>
                    <a:pt x="1017" y="528"/>
                  </a:lnTo>
                  <a:lnTo>
                    <a:pt x="1017" y="533"/>
                  </a:lnTo>
                  <a:lnTo>
                    <a:pt x="1017" y="539"/>
                  </a:lnTo>
                  <a:lnTo>
                    <a:pt x="1017" y="541"/>
                  </a:lnTo>
                  <a:lnTo>
                    <a:pt x="1017" y="543"/>
                  </a:lnTo>
                  <a:lnTo>
                    <a:pt x="1015" y="544"/>
                  </a:lnTo>
                  <a:lnTo>
                    <a:pt x="1015" y="544"/>
                  </a:lnTo>
                  <a:lnTo>
                    <a:pt x="1015" y="546"/>
                  </a:lnTo>
                  <a:lnTo>
                    <a:pt x="1014" y="547"/>
                  </a:lnTo>
                  <a:lnTo>
                    <a:pt x="1014" y="549"/>
                  </a:lnTo>
                  <a:lnTo>
                    <a:pt x="1014" y="549"/>
                  </a:lnTo>
                  <a:lnTo>
                    <a:pt x="1014" y="552"/>
                  </a:lnTo>
                  <a:lnTo>
                    <a:pt x="1014" y="555"/>
                  </a:lnTo>
                  <a:lnTo>
                    <a:pt x="1015" y="556"/>
                  </a:lnTo>
                  <a:lnTo>
                    <a:pt x="1015" y="556"/>
                  </a:lnTo>
                  <a:lnTo>
                    <a:pt x="1017" y="559"/>
                  </a:lnTo>
                  <a:lnTo>
                    <a:pt x="1024" y="563"/>
                  </a:lnTo>
                  <a:lnTo>
                    <a:pt x="1027" y="562"/>
                  </a:lnTo>
                  <a:lnTo>
                    <a:pt x="1027" y="563"/>
                  </a:lnTo>
                  <a:lnTo>
                    <a:pt x="1028" y="563"/>
                  </a:lnTo>
                  <a:lnTo>
                    <a:pt x="1028" y="566"/>
                  </a:lnTo>
                  <a:lnTo>
                    <a:pt x="1030" y="571"/>
                  </a:lnTo>
                  <a:lnTo>
                    <a:pt x="1036" y="582"/>
                  </a:lnTo>
                  <a:lnTo>
                    <a:pt x="1021" y="595"/>
                  </a:lnTo>
                  <a:lnTo>
                    <a:pt x="1017" y="598"/>
                  </a:lnTo>
                  <a:lnTo>
                    <a:pt x="1015" y="598"/>
                  </a:lnTo>
                  <a:lnTo>
                    <a:pt x="1015" y="598"/>
                  </a:lnTo>
                  <a:lnTo>
                    <a:pt x="1015" y="597"/>
                  </a:lnTo>
                  <a:lnTo>
                    <a:pt x="1014" y="595"/>
                  </a:lnTo>
                  <a:lnTo>
                    <a:pt x="1014" y="594"/>
                  </a:lnTo>
                  <a:lnTo>
                    <a:pt x="1014" y="592"/>
                  </a:lnTo>
                  <a:lnTo>
                    <a:pt x="1014" y="592"/>
                  </a:lnTo>
                  <a:lnTo>
                    <a:pt x="1015" y="591"/>
                  </a:lnTo>
                  <a:lnTo>
                    <a:pt x="1017" y="588"/>
                  </a:lnTo>
                  <a:lnTo>
                    <a:pt x="1017" y="587"/>
                  </a:lnTo>
                  <a:lnTo>
                    <a:pt x="1015" y="585"/>
                  </a:lnTo>
                  <a:lnTo>
                    <a:pt x="1017" y="584"/>
                  </a:lnTo>
                  <a:lnTo>
                    <a:pt x="1018" y="584"/>
                  </a:lnTo>
                  <a:lnTo>
                    <a:pt x="1018" y="582"/>
                  </a:lnTo>
                  <a:lnTo>
                    <a:pt x="1018" y="582"/>
                  </a:lnTo>
                  <a:lnTo>
                    <a:pt x="1018" y="579"/>
                  </a:lnTo>
                  <a:lnTo>
                    <a:pt x="1017" y="579"/>
                  </a:lnTo>
                  <a:lnTo>
                    <a:pt x="1015" y="579"/>
                  </a:lnTo>
                  <a:lnTo>
                    <a:pt x="1014" y="579"/>
                  </a:lnTo>
                  <a:lnTo>
                    <a:pt x="1011" y="581"/>
                  </a:lnTo>
                  <a:lnTo>
                    <a:pt x="996" y="598"/>
                  </a:lnTo>
                  <a:lnTo>
                    <a:pt x="995" y="600"/>
                  </a:lnTo>
                  <a:lnTo>
                    <a:pt x="993" y="600"/>
                  </a:lnTo>
                  <a:lnTo>
                    <a:pt x="993" y="600"/>
                  </a:lnTo>
                  <a:lnTo>
                    <a:pt x="992" y="598"/>
                  </a:lnTo>
                  <a:lnTo>
                    <a:pt x="989" y="595"/>
                  </a:lnTo>
                  <a:lnTo>
                    <a:pt x="988" y="588"/>
                  </a:lnTo>
                  <a:lnTo>
                    <a:pt x="986" y="587"/>
                  </a:lnTo>
                  <a:lnTo>
                    <a:pt x="985" y="587"/>
                  </a:lnTo>
                  <a:lnTo>
                    <a:pt x="977" y="587"/>
                  </a:lnTo>
                  <a:lnTo>
                    <a:pt x="976" y="587"/>
                  </a:lnTo>
                  <a:lnTo>
                    <a:pt x="974" y="587"/>
                  </a:lnTo>
                  <a:lnTo>
                    <a:pt x="973" y="585"/>
                  </a:lnTo>
                  <a:lnTo>
                    <a:pt x="969" y="581"/>
                  </a:lnTo>
                  <a:lnTo>
                    <a:pt x="967" y="579"/>
                  </a:lnTo>
                  <a:lnTo>
                    <a:pt x="966" y="579"/>
                  </a:lnTo>
                  <a:lnTo>
                    <a:pt x="964" y="581"/>
                  </a:lnTo>
                  <a:lnTo>
                    <a:pt x="963" y="587"/>
                  </a:lnTo>
                  <a:lnTo>
                    <a:pt x="958" y="590"/>
                  </a:lnTo>
                  <a:lnTo>
                    <a:pt x="958" y="590"/>
                  </a:lnTo>
                  <a:lnTo>
                    <a:pt x="958" y="591"/>
                  </a:lnTo>
                  <a:lnTo>
                    <a:pt x="958" y="597"/>
                  </a:lnTo>
                  <a:lnTo>
                    <a:pt x="958" y="601"/>
                  </a:lnTo>
                  <a:lnTo>
                    <a:pt x="960" y="603"/>
                  </a:lnTo>
                  <a:lnTo>
                    <a:pt x="961" y="604"/>
                  </a:lnTo>
                  <a:lnTo>
                    <a:pt x="963" y="606"/>
                  </a:lnTo>
                  <a:lnTo>
                    <a:pt x="963" y="606"/>
                  </a:lnTo>
                  <a:lnTo>
                    <a:pt x="963" y="608"/>
                  </a:lnTo>
                  <a:lnTo>
                    <a:pt x="964" y="610"/>
                  </a:lnTo>
                  <a:lnTo>
                    <a:pt x="964" y="610"/>
                  </a:lnTo>
                  <a:lnTo>
                    <a:pt x="966" y="611"/>
                  </a:lnTo>
                  <a:lnTo>
                    <a:pt x="969" y="611"/>
                  </a:lnTo>
                  <a:lnTo>
                    <a:pt x="970" y="613"/>
                  </a:lnTo>
                  <a:lnTo>
                    <a:pt x="972" y="614"/>
                  </a:lnTo>
                  <a:lnTo>
                    <a:pt x="973" y="617"/>
                  </a:lnTo>
                  <a:lnTo>
                    <a:pt x="976" y="619"/>
                  </a:lnTo>
                  <a:lnTo>
                    <a:pt x="979" y="620"/>
                  </a:lnTo>
                  <a:lnTo>
                    <a:pt x="979" y="620"/>
                  </a:lnTo>
                  <a:lnTo>
                    <a:pt x="980" y="622"/>
                  </a:lnTo>
                  <a:lnTo>
                    <a:pt x="980" y="623"/>
                  </a:lnTo>
                  <a:lnTo>
                    <a:pt x="980" y="624"/>
                  </a:lnTo>
                  <a:lnTo>
                    <a:pt x="979" y="626"/>
                  </a:lnTo>
                  <a:lnTo>
                    <a:pt x="977" y="627"/>
                  </a:lnTo>
                  <a:lnTo>
                    <a:pt x="974" y="629"/>
                  </a:lnTo>
                  <a:lnTo>
                    <a:pt x="973" y="629"/>
                  </a:lnTo>
                  <a:lnTo>
                    <a:pt x="973" y="630"/>
                  </a:lnTo>
                  <a:lnTo>
                    <a:pt x="972" y="632"/>
                  </a:lnTo>
                  <a:lnTo>
                    <a:pt x="973" y="633"/>
                  </a:lnTo>
                  <a:lnTo>
                    <a:pt x="973" y="635"/>
                  </a:lnTo>
                  <a:lnTo>
                    <a:pt x="973" y="636"/>
                  </a:lnTo>
                  <a:lnTo>
                    <a:pt x="974" y="638"/>
                  </a:lnTo>
                  <a:lnTo>
                    <a:pt x="976" y="641"/>
                  </a:lnTo>
                  <a:lnTo>
                    <a:pt x="976" y="642"/>
                  </a:lnTo>
                  <a:lnTo>
                    <a:pt x="976" y="645"/>
                  </a:lnTo>
                  <a:lnTo>
                    <a:pt x="977" y="648"/>
                  </a:lnTo>
                  <a:lnTo>
                    <a:pt x="977" y="651"/>
                  </a:lnTo>
                  <a:lnTo>
                    <a:pt x="976" y="654"/>
                  </a:lnTo>
                  <a:lnTo>
                    <a:pt x="973" y="664"/>
                  </a:lnTo>
                  <a:lnTo>
                    <a:pt x="973" y="665"/>
                  </a:lnTo>
                  <a:lnTo>
                    <a:pt x="973" y="667"/>
                  </a:lnTo>
                  <a:lnTo>
                    <a:pt x="973" y="667"/>
                  </a:lnTo>
                  <a:lnTo>
                    <a:pt x="973" y="668"/>
                  </a:lnTo>
                  <a:lnTo>
                    <a:pt x="974" y="668"/>
                  </a:lnTo>
                  <a:lnTo>
                    <a:pt x="974" y="670"/>
                  </a:lnTo>
                  <a:lnTo>
                    <a:pt x="974" y="670"/>
                  </a:lnTo>
                  <a:lnTo>
                    <a:pt x="973" y="670"/>
                  </a:lnTo>
                  <a:lnTo>
                    <a:pt x="960" y="671"/>
                  </a:lnTo>
                  <a:lnTo>
                    <a:pt x="957" y="671"/>
                  </a:lnTo>
                  <a:lnTo>
                    <a:pt x="957" y="673"/>
                  </a:lnTo>
                  <a:lnTo>
                    <a:pt x="956" y="673"/>
                  </a:lnTo>
                  <a:lnTo>
                    <a:pt x="953" y="675"/>
                  </a:lnTo>
                  <a:lnTo>
                    <a:pt x="953" y="677"/>
                  </a:lnTo>
                  <a:lnTo>
                    <a:pt x="953" y="677"/>
                  </a:lnTo>
                  <a:lnTo>
                    <a:pt x="951" y="683"/>
                  </a:lnTo>
                  <a:lnTo>
                    <a:pt x="918" y="705"/>
                  </a:lnTo>
                  <a:lnTo>
                    <a:pt x="916" y="703"/>
                  </a:lnTo>
                  <a:lnTo>
                    <a:pt x="915" y="703"/>
                  </a:lnTo>
                  <a:lnTo>
                    <a:pt x="915" y="703"/>
                  </a:lnTo>
                  <a:lnTo>
                    <a:pt x="913" y="702"/>
                  </a:lnTo>
                  <a:lnTo>
                    <a:pt x="913" y="702"/>
                  </a:lnTo>
                  <a:lnTo>
                    <a:pt x="913" y="700"/>
                  </a:lnTo>
                  <a:lnTo>
                    <a:pt x="913" y="697"/>
                  </a:lnTo>
                  <a:lnTo>
                    <a:pt x="912" y="696"/>
                  </a:lnTo>
                  <a:lnTo>
                    <a:pt x="912" y="694"/>
                  </a:lnTo>
                  <a:lnTo>
                    <a:pt x="912" y="694"/>
                  </a:lnTo>
                  <a:lnTo>
                    <a:pt x="910" y="693"/>
                  </a:lnTo>
                  <a:lnTo>
                    <a:pt x="910" y="693"/>
                  </a:lnTo>
                  <a:lnTo>
                    <a:pt x="909" y="693"/>
                  </a:lnTo>
                  <a:lnTo>
                    <a:pt x="907" y="693"/>
                  </a:lnTo>
                  <a:lnTo>
                    <a:pt x="906" y="693"/>
                  </a:lnTo>
                  <a:lnTo>
                    <a:pt x="902" y="696"/>
                  </a:lnTo>
                  <a:lnTo>
                    <a:pt x="899" y="699"/>
                  </a:lnTo>
                  <a:lnTo>
                    <a:pt x="899" y="699"/>
                  </a:lnTo>
                  <a:lnTo>
                    <a:pt x="891" y="700"/>
                  </a:lnTo>
                  <a:lnTo>
                    <a:pt x="887" y="700"/>
                  </a:lnTo>
                  <a:lnTo>
                    <a:pt x="887" y="702"/>
                  </a:lnTo>
                  <a:lnTo>
                    <a:pt x="884" y="703"/>
                  </a:lnTo>
                  <a:lnTo>
                    <a:pt x="881" y="706"/>
                  </a:lnTo>
                  <a:lnTo>
                    <a:pt x="880" y="707"/>
                  </a:lnTo>
                  <a:lnTo>
                    <a:pt x="878" y="712"/>
                  </a:lnTo>
                  <a:lnTo>
                    <a:pt x="878" y="715"/>
                  </a:lnTo>
                  <a:lnTo>
                    <a:pt x="878" y="716"/>
                  </a:lnTo>
                  <a:lnTo>
                    <a:pt x="880" y="719"/>
                  </a:lnTo>
                  <a:lnTo>
                    <a:pt x="877" y="721"/>
                  </a:lnTo>
                  <a:lnTo>
                    <a:pt x="858" y="748"/>
                  </a:lnTo>
                  <a:lnTo>
                    <a:pt x="861" y="754"/>
                  </a:lnTo>
                  <a:lnTo>
                    <a:pt x="862" y="754"/>
                  </a:lnTo>
                  <a:lnTo>
                    <a:pt x="864" y="754"/>
                  </a:lnTo>
                  <a:lnTo>
                    <a:pt x="864" y="754"/>
                  </a:lnTo>
                  <a:lnTo>
                    <a:pt x="864" y="754"/>
                  </a:lnTo>
                  <a:lnTo>
                    <a:pt x="865" y="754"/>
                  </a:lnTo>
                  <a:lnTo>
                    <a:pt x="865" y="754"/>
                  </a:lnTo>
                  <a:lnTo>
                    <a:pt x="865" y="755"/>
                  </a:lnTo>
                  <a:lnTo>
                    <a:pt x="872" y="769"/>
                  </a:lnTo>
                  <a:lnTo>
                    <a:pt x="877" y="777"/>
                  </a:lnTo>
                  <a:lnTo>
                    <a:pt x="881" y="785"/>
                  </a:lnTo>
                  <a:lnTo>
                    <a:pt x="883" y="787"/>
                  </a:lnTo>
                  <a:lnTo>
                    <a:pt x="889" y="806"/>
                  </a:lnTo>
                  <a:lnTo>
                    <a:pt x="902" y="869"/>
                  </a:lnTo>
                  <a:lnTo>
                    <a:pt x="912" y="891"/>
                  </a:lnTo>
                  <a:lnTo>
                    <a:pt x="912" y="897"/>
                  </a:lnTo>
                  <a:lnTo>
                    <a:pt x="913" y="903"/>
                  </a:lnTo>
                  <a:lnTo>
                    <a:pt x="912" y="917"/>
                  </a:lnTo>
                  <a:lnTo>
                    <a:pt x="909" y="929"/>
                  </a:lnTo>
                  <a:lnTo>
                    <a:pt x="899" y="956"/>
                  </a:lnTo>
                  <a:lnTo>
                    <a:pt x="896" y="958"/>
                  </a:lnTo>
                  <a:lnTo>
                    <a:pt x="896" y="959"/>
                  </a:lnTo>
                  <a:lnTo>
                    <a:pt x="894" y="959"/>
                  </a:lnTo>
                  <a:lnTo>
                    <a:pt x="894" y="962"/>
                  </a:lnTo>
                  <a:lnTo>
                    <a:pt x="894" y="964"/>
                  </a:lnTo>
                  <a:lnTo>
                    <a:pt x="894" y="967"/>
                  </a:lnTo>
                  <a:lnTo>
                    <a:pt x="897" y="972"/>
                  </a:lnTo>
                  <a:lnTo>
                    <a:pt x="897" y="974"/>
                  </a:lnTo>
                  <a:lnTo>
                    <a:pt x="902" y="978"/>
                  </a:lnTo>
                  <a:lnTo>
                    <a:pt x="903" y="980"/>
                  </a:lnTo>
                  <a:lnTo>
                    <a:pt x="902" y="993"/>
                  </a:lnTo>
                  <a:lnTo>
                    <a:pt x="902" y="996"/>
                  </a:lnTo>
                  <a:lnTo>
                    <a:pt x="902" y="999"/>
                  </a:lnTo>
                  <a:lnTo>
                    <a:pt x="900" y="1002"/>
                  </a:lnTo>
                  <a:lnTo>
                    <a:pt x="899" y="1003"/>
                  </a:lnTo>
                  <a:lnTo>
                    <a:pt x="899" y="1009"/>
                  </a:lnTo>
                  <a:lnTo>
                    <a:pt x="897" y="1010"/>
                  </a:lnTo>
                  <a:lnTo>
                    <a:pt x="897" y="1012"/>
                  </a:lnTo>
                  <a:lnTo>
                    <a:pt x="896" y="1013"/>
                  </a:lnTo>
                  <a:lnTo>
                    <a:pt x="896" y="1013"/>
                  </a:lnTo>
                  <a:lnTo>
                    <a:pt x="896" y="1013"/>
                  </a:lnTo>
                  <a:lnTo>
                    <a:pt x="894" y="1015"/>
                  </a:lnTo>
                  <a:lnTo>
                    <a:pt x="894" y="1016"/>
                  </a:lnTo>
                  <a:lnTo>
                    <a:pt x="894" y="1016"/>
                  </a:lnTo>
                  <a:lnTo>
                    <a:pt x="894" y="1018"/>
                  </a:lnTo>
                  <a:lnTo>
                    <a:pt x="896" y="1018"/>
                  </a:lnTo>
                  <a:lnTo>
                    <a:pt x="897" y="1018"/>
                  </a:lnTo>
                  <a:lnTo>
                    <a:pt x="897" y="1018"/>
                  </a:lnTo>
                  <a:lnTo>
                    <a:pt x="899" y="1018"/>
                  </a:lnTo>
                  <a:lnTo>
                    <a:pt x="899" y="1018"/>
                  </a:lnTo>
                  <a:lnTo>
                    <a:pt x="899" y="1018"/>
                  </a:lnTo>
                  <a:lnTo>
                    <a:pt x="900" y="1018"/>
                  </a:lnTo>
                  <a:lnTo>
                    <a:pt x="900" y="1019"/>
                  </a:lnTo>
                  <a:lnTo>
                    <a:pt x="902" y="1022"/>
                  </a:lnTo>
                  <a:lnTo>
                    <a:pt x="903" y="1026"/>
                  </a:lnTo>
                  <a:lnTo>
                    <a:pt x="909" y="1041"/>
                  </a:lnTo>
                  <a:lnTo>
                    <a:pt x="907" y="1042"/>
                  </a:lnTo>
                  <a:lnTo>
                    <a:pt x="906" y="1042"/>
                  </a:lnTo>
                  <a:lnTo>
                    <a:pt x="906" y="1042"/>
                  </a:lnTo>
                  <a:lnTo>
                    <a:pt x="905" y="1044"/>
                  </a:lnTo>
                  <a:lnTo>
                    <a:pt x="905" y="1044"/>
                  </a:lnTo>
                  <a:lnTo>
                    <a:pt x="905" y="1047"/>
                  </a:lnTo>
                  <a:lnTo>
                    <a:pt x="903" y="1048"/>
                  </a:lnTo>
                  <a:lnTo>
                    <a:pt x="902" y="1048"/>
                  </a:lnTo>
                  <a:lnTo>
                    <a:pt x="896" y="1048"/>
                  </a:lnTo>
                  <a:lnTo>
                    <a:pt x="896" y="1048"/>
                  </a:lnTo>
                  <a:lnTo>
                    <a:pt x="894" y="1050"/>
                  </a:lnTo>
                  <a:lnTo>
                    <a:pt x="894" y="1050"/>
                  </a:lnTo>
                  <a:lnTo>
                    <a:pt x="891" y="1052"/>
                  </a:lnTo>
                  <a:lnTo>
                    <a:pt x="891" y="1054"/>
                  </a:lnTo>
                  <a:lnTo>
                    <a:pt x="891" y="1055"/>
                  </a:lnTo>
                  <a:lnTo>
                    <a:pt x="894" y="1058"/>
                  </a:lnTo>
                  <a:lnTo>
                    <a:pt x="896" y="1060"/>
                  </a:lnTo>
                  <a:lnTo>
                    <a:pt x="897" y="1063"/>
                  </a:lnTo>
                  <a:lnTo>
                    <a:pt x="899" y="1064"/>
                  </a:lnTo>
                  <a:lnTo>
                    <a:pt x="899" y="1066"/>
                  </a:lnTo>
                  <a:lnTo>
                    <a:pt x="900" y="1066"/>
                  </a:lnTo>
                  <a:lnTo>
                    <a:pt x="903" y="1066"/>
                  </a:lnTo>
                  <a:lnTo>
                    <a:pt x="903" y="1066"/>
                  </a:lnTo>
                  <a:lnTo>
                    <a:pt x="905" y="1067"/>
                  </a:lnTo>
                  <a:lnTo>
                    <a:pt x="905" y="1069"/>
                  </a:lnTo>
                  <a:lnTo>
                    <a:pt x="905" y="1070"/>
                  </a:lnTo>
                  <a:lnTo>
                    <a:pt x="906" y="1086"/>
                  </a:lnTo>
                  <a:lnTo>
                    <a:pt x="906" y="1095"/>
                  </a:lnTo>
                  <a:lnTo>
                    <a:pt x="907" y="1101"/>
                  </a:lnTo>
                  <a:lnTo>
                    <a:pt x="909" y="1103"/>
                  </a:lnTo>
                  <a:lnTo>
                    <a:pt x="910" y="1105"/>
                  </a:lnTo>
                  <a:lnTo>
                    <a:pt x="910" y="1108"/>
                  </a:lnTo>
                  <a:lnTo>
                    <a:pt x="909" y="1109"/>
                  </a:lnTo>
                  <a:lnTo>
                    <a:pt x="909" y="1111"/>
                  </a:lnTo>
                  <a:lnTo>
                    <a:pt x="909" y="1112"/>
                  </a:lnTo>
                  <a:lnTo>
                    <a:pt x="907" y="1114"/>
                  </a:lnTo>
                  <a:lnTo>
                    <a:pt x="906" y="1114"/>
                  </a:lnTo>
                  <a:lnTo>
                    <a:pt x="903" y="1114"/>
                  </a:lnTo>
                  <a:lnTo>
                    <a:pt x="896" y="1111"/>
                  </a:lnTo>
                  <a:lnTo>
                    <a:pt x="896" y="1111"/>
                  </a:lnTo>
                  <a:lnTo>
                    <a:pt x="896" y="1112"/>
                  </a:lnTo>
                  <a:lnTo>
                    <a:pt x="894" y="1112"/>
                  </a:lnTo>
                  <a:lnTo>
                    <a:pt x="894" y="1115"/>
                  </a:lnTo>
                  <a:lnTo>
                    <a:pt x="894" y="1122"/>
                  </a:lnTo>
                  <a:lnTo>
                    <a:pt x="890" y="1127"/>
                  </a:lnTo>
                  <a:lnTo>
                    <a:pt x="889" y="1122"/>
                  </a:lnTo>
                  <a:lnTo>
                    <a:pt x="887" y="1119"/>
                  </a:lnTo>
                  <a:lnTo>
                    <a:pt x="886" y="1114"/>
                  </a:lnTo>
                  <a:lnTo>
                    <a:pt x="884" y="1112"/>
                  </a:lnTo>
                  <a:lnTo>
                    <a:pt x="883" y="1111"/>
                  </a:lnTo>
                  <a:lnTo>
                    <a:pt x="880" y="1111"/>
                  </a:lnTo>
                  <a:lnTo>
                    <a:pt x="875" y="1111"/>
                  </a:lnTo>
                  <a:lnTo>
                    <a:pt x="867" y="1114"/>
                  </a:lnTo>
                  <a:lnTo>
                    <a:pt x="859" y="1118"/>
                  </a:lnTo>
                  <a:lnTo>
                    <a:pt x="854" y="1121"/>
                  </a:lnTo>
                  <a:lnTo>
                    <a:pt x="848" y="1122"/>
                  </a:lnTo>
                  <a:lnTo>
                    <a:pt x="839" y="1122"/>
                  </a:lnTo>
                  <a:lnTo>
                    <a:pt x="832" y="1119"/>
                  </a:lnTo>
                  <a:lnTo>
                    <a:pt x="820" y="1115"/>
                  </a:lnTo>
                  <a:lnTo>
                    <a:pt x="817" y="1114"/>
                  </a:lnTo>
                  <a:lnTo>
                    <a:pt x="813" y="1115"/>
                  </a:lnTo>
                  <a:lnTo>
                    <a:pt x="807" y="1119"/>
                  </a:lnTo>
                  <a:lnTo>
                    <a:pt x="781" y="1141"/>
                  </a:lnTo>
                  <a:lnTo>
                    <a:pt x="765" y="1150"/>
                  </a:lnTo>
                  <a:lnTo>
                    <a:pt x="754" y="1147"/>
                  </a:lnTo>
                  <a:lnTo>
                    <a:pt x="753" y="1146"/>
                  </a:lnTo>
                  <a:lnTo>
                    <a:pt x="747" y="1149"/>
                  </a:lnTo>
                  <a:lnTo>
                    <a:pt x="746" y="1151"/>
                  </a:lnTo>
                  <a:lnTo>
                    <a:pt x="746" y="1153"/>
                  </a:lnTo>
                  <a:lnTo>
                    <a:pt x="746" y="1153"/>
                  </a:lnTo>
                  <a:lnTo>
                    <a:pt x="744" y="1154"/>
                  </a:lnTo>
                  <a:lnTo>
                    <a:pt x="741" y="1156"/>
                  </a:lnTo>
                  <a:lnTo>
                    <a:pt x="733" y="1157"/>
                  </a:lnTo>
                  <a:lnTo>
                    <a:pt x="730" y="1157"/>
                  </a:lnTo>
                  <a:lnTo>
                    <a:pt x="730" y="1159"/>
                  </a:lnTo>
                  <a:lnTo>
                    <a:pt x="725" y="1165"/>
                  </a:lnTo>
                  <a:lnTo>
                    <a:pt x="709" y="1186"/>
                  </a:lnTo>
                  <a:lnTo>
                    <a:pt x="709" y="1186"/>
                  </a:lnTo>
                  <a:lnTo>
                    <a:pt x="708" y="1186"/>
                  </a:lnTo>
                  <a:lnTo>
                    <a:pt x="706" y="1185"/>
                  </a:lnTo>
                  <a:lnTo>
                    <a:pt x="612" y="1127"/>
                  </a:lnTo>
                  <a:lnTo>
                    <a:pt x="597" y="1124"/>
                  </a:lnTo>
                  <a:lnTo>
                    <a:pt x="586" y="1124"/>
                  </a:lnTo>
                  <a:lnTo>
                    <a:pt x="580" y="1117"/>
                  </a:lnTo>
                  <a:lnTo>
                    <a:pt x="561" y="1117"/>
                  </a:lnTo>
                  <a:lnTo>
                    <a:pt x="523" y="1112"/>
                  </a:lnTo>
                  <a:lnTo>
                    <a:pt x="516" y="1114"/>
                  </a:lnTo>
                  <a:lnTo>
                    <a:pt x="510" y="1119"/>
                  </a:lnTo>
                  <a:lnTo>
                    <a:pt x="498" y="1124"/>
                  </a:lnTo>
                  <a:lnTo>
                    <a:pt x="484" y="1125"/>
                  </a:lnTo>
                  <a:lnTo>
                    <a:pt x="475" y="1124"/>
                  </a:lnTo>
                  <a:lnTo>
                    <a:pt x="465" y="1115"/>
                  </a:lnTo>
                  <a:lnTo>
                    <a:pt x="460" y="1111"/>
                  </a:lnTo>
                  <a:lnTo>
                    <a:pt x="460" y="1106"/>
                  </a:lnTo>
                  <a:lnTo>
                    <a:pt x="460" y="1106"/>
                  </a:lnTo>
                  <a:lnTo>
                    <a:pt x="466" y="1105"/>
                  </a:lnTo>
                  <a:lnTo>
                    <a:pt x="466" y="1105"/>
                  </a:lnTo>
                  <a:lnTo>
                    <a:pt x="457" y="1098"/>
                  </a:lnTo>
                  <a:lnTo>
                    <a:pt x="446" y="1090"/>
                  </a:lnTo>
                  <a:lnTo>
                    <a:pt x="437" y="1090"/>
                  </a:lnTo>
                  <a:lnTo>
                    <a:pt x="434" y="1101"/>
                  </a:lnTo>
                  <a:lnTo>
                    <a:pt x="434" y="1101"/>
                  </a:lnTo>
                  <a:lnTo>
                    <a:pt x="437" y="1103"/>
                  </a:lnTo>
                  <a:lnTo>
                    <a:pt x="437" y="1103"/>
                  </a:lnTo>
                  <a:lnTo>
                    <a:pt x="418" y="1103"/>
                  </a:lnTo>
                  <a:lnTo>
                    <a:pt x="418" y="1101"/>
                  </a:lnTo>
                  <a:lnTo>
                    <a:pt x="417" y="1096"/>
                  </a:lnTo>
                  <a:lnTo>
                    <a:pt x="414" y="1093"/>
                  </a:lnTo>
                  <a:lnTo>
                    <a:pt x="412" y="1089"/>
                  </a:lnTo>
                  <a:lnTo>
                    <a:pt x="412" y="1089"/>
                  </a:lnTo>
                  <a:lnTo>
                    <a:pt x="414" y="1085"/>
                  </a:lnTo>
                  <a:lnTo>
                    <a:pt x="418" y="1079"/>
                  </a:lnTo>
                  <a:lnTo>
                    <a:pt x="419" y="1076"/>
                  </a:lnTo>
                  <a:lnTo>
                    <a:pt x="419" y="1076"/>
                  </a:lnTo>
                  <a:lnTo>
                    <a:pt x="417" y="1071"/>
                  </a:lnTo>
                  <a:lnTo>
                    <a:pt x="414" y="1070"/>
                  </a:lnTo>
                  <a:lnTo>
                    <a:pt x="409" y="1071"/>
                  </a:lnTo>
                  <a:lnTo>
                    <a:pt x="406" y="1070"/>
                  </a:lnTo>
                  <a:lnTo>
                    <a:pt x="403" y="1067"/>
                  </a:lnTo>
                  <a:lnTo>
                    <a:pt x="400" y="1060"/>
                  </a:lnTo>
                  <a:lnTo>
                    <a:pt x="398" y="1055"/>
                  </a:lnTo>
                  <a:lnTo>
                    <a:pt x="393" y="1054"/>
                  </a:lnTo>
                  <a:lnTo>
                    <a:pt x="390" y="1057"/>
                  </a:lnTo>
                  <a:lnTo>
                    <a:pt x="387" y="1069"/>
                  </a:lnTo>
                  <a:lnTo>
                    <a:pt x="383" y="1071"/>
                  </a:lnTo>
                  <a:lnTo>
                    <a:pt x="380" y="1069"/>
                  </a:lnTo>
                  <a:lnTo>
                    <a:pt x="379" y="1063"/>
                  </a:lnTo>
                  <a:lnTo>
                    <a:pt x="379" y="1055"/>
                  </a:lnTo>
                  <a:lnTo>
                    <a:pt x="379" y="1052"/>
                  </a:lnTo>
                  <a:lnTo>
                    <a:pt x="371" y="1050"/>
                  </a:lnTo>
                  <a:lnTo>
                    <a:pt x="363" y="1048"/>
                  </a:lnTo>
                  <a:lnTo>
                    <a:pt x="357" y="1051"/>
                  </a:lnTo>
                  <a:lnTo>
                    <a:pt x="357" y="1051"/>
                  </a:lnTo>
                  <a:lnTo>
                    <a:pt x="361" y="1060"/>
                  </a:lnTo>
                  <a:lnTo>
                    <a:pt x="361" y="1060"/>
                  </a:lnTo>
                  <a:lnTo>
                    <a:pt x="355" y="1063"/>
                  </a:lnTo>
                  <a:lnTo>
                    <a:pt x="336" y="1066"/>
                  </a:lnTo>
                  <a:lnTo>
                    <a:pt x="333" y="1066"/>
                  </a:lnTo>
                  <a:lnTo>
                    <a:pt x="331" y="1067"/>
                  </a:lnTo>
                  <a:lnTo>
                    <a:pt x="325" y="1074"/>
                  </a:lnTo>
                  <a:lnTo>
                    <a:pt x="323" y="1079"/>
                  </a:lnTo>
                  <a:lnTo>
                    <a:pt x="322" y="1089"/>
                  </a:lnTo>
                  <a:lnTo>
                    <a:pt x="317" y="1092"/>
                  </a:lnTo>
                  <a:lnTo>
                    <a:pt x="309" y="1098"/>
                  </a:lnTo>
                  <a:lnTo>
                    <a:pt x="306" y="1101"/>
                  </a:lnTo>
                  <a:lnTo>
                    <a:pt x="304" y="1105"/>
                  </a:lnTo>
                  <a:lnTo>
                    <a:pt x="304" y="1105"/>
                  </a:lnTo>
                  <a:lnTo>
                    <a:pt x="306" y="1108"/>
                  </a:lnTo>
                  <a:lnTo>
                    <a:pt x="307" y="1112"/>
                  </a:lnTo>
                  <a:lnTo>
                    <a:pt x="307" y="1112"/>
                  </a:lnTo>
                  <a:lnTo>
                    <a:pt x="304" y="1118"/>
                  </a:lnTo>
                  <a:lnTo>
                    <a:pt x="304" y="1118"/>
                  </a:lnTo>
                  <a:lnTo>
                    <a:pt x="310" y="1121"/>
                  </a:lnTo>
                  <a:lnTo>
                    <a:pt x="312" y="1121"/>
                  </a:lnTo>
                  <a:lnTo>
                    <a:pt x="320" y="1128"/>
                  </a:lnTo>
                  <a:lnTo>
                    <a:pt x="328" y="1131"/>
                  </a:lnTo>
                  <a:lnTo>
                    <a:pt x="335" y="1131"/>
                  </a:lnTo>
                  <a:lnTo>
                    <a:pt x="339" y="1128"/>
                  </a:lnTo>
                  <a:lnTo>
                    <a:pt x="344" y="1125"/>
                  </a:lnTo>
                  <a:lnTo>
                    <a:pt x="350" y="1122"/>
                  </a:lnTo>
                  <a:lnTo>
                    <a:pt x="367" y="1119"/>
                  </a:lnTo>
                  <a:lnTo>
                    <a:pt x="371" y="1121"/>
                  </a:lnTo>
                  <a:lnTo>
                    <a:pt x="376" y="1122"/>
                  </a:lnTo>
                  <a:lnTo>
                    <a:pt x="377" y="1122"/>
                  </a:lnTo>
                  <a:lnTo>
                    <a:pt x="380" y="1124"/>
                  </a:lnTo>
                  <a:lnTo>
                    <a:pt x="380" y="1124"/>
                  </a:lnTo>
                  <a:lnTo>
                    <a:pt x="379" y="1135"/>
                  </a:lnTo>
                  <a:lnTo>
                    <a:pt x="376" y="1134"/>
                  </a:lnTo>
                  <a:lnTo>
                    <a:pt x="376" y="1131"/>
                  </a:lnTo>
                  <a:lnTo>
                    <a:pt x="376" y="1130"/>
                  </a:lnTo>
                  <a:lnTo>
                    <a:pt x="374" y="1130"/>
                  </a:lnTo>
                  <a:lnTo>
                    <a:pt x="371" y="1131"/>
                  </a:lnTo>
                  <a:lnTo>
                    <a:pt x="370" y="1133"/>
                  </a:lnTo>
                  <a:lnTo>
                    <a:pt x="370" y="1135"/>
                  </a:lnTo>
                  <a:lnTo>
                    <a:pt x="370" y="1135"/>
                  </a:lnTo>
                  <a:lnTo>
                    <a:pt x="370" y="1137"/>
                  </a:lnTo>
                  <a:lnTo>
                    <a:pt x="371" y="1140"/>
                  </a:lnTo>
                  <a:lnTo>
                    <a:pt x="371" y="1141"/>
                  </a:lnTo>
                  <a:lnTo>
                    <a:pt x="371" y="1141"/>
                  </a:lnTo>
                  <a:lnTo>
                    <a:pt x="371" y="1144"/>
                  </a:lnTo>
                  <a:lnTo>
                    <a:pt x="371" y="1144"/>
                  </a:lnTo>
                  <a:lnTo>
                    <a:pt x="371" y="1149"/>
                  </a:lnTo>
                  <a:lnTo>
                    <a:pt x="371" y="1149"/>
                  </a:lnTo>
                  <a:lnTo>
                    <a:pt x="371" y="1151"/>
                  </a:lnTo>
                  <a:lnTo>
                    <a:pt x="368" y="1156"/>
                  </a:lnTo>
                  <a:lnTo>
                    <a:pt x="364" y="1157"/>
                  </a:lnTo>
                  <a:lnTo>
                    <a:pt x="360" y="1153"/>
                  </a:lnTo>
                  <a:lnTo>
                    <a:pt x="355" y="1146"/>
                  </a:lnTo>
                  <a:lnTo>
                    <a:pt x="351" y="1141"/>
                  </a:lnTo>
                  <a:lnTo>
                    <a:pt x="341" y="1141"/>
                  </a:lnTo>
                  <a:lnTo>
                    <a:pt x="329" y="1149"/>
                  </a:lnTo>
                  <a:lnTo>
                    <a:pt x="325" y="1157"/>
                  </a:lnTo>
                  <a:lnTo>
                    <a:pt x="325" y="1160"/>
                  </a:lnTo>
                  <a:lnTo>
                    <a:pt x="315" y="1162"/>
                  </a:lnTo>
                  <a:lnTo>
                    <a:pt x="293" y="1162"/>
                  </a:lnTo>
                  <a:lnTo>
                    <a:pt x="278" y="1159"/>
                  </a:lnTo>
                  <a:lnTo>
                    <a:pt x="275" y="1156"/>
                  </a:lnTo>
                  <a:lnTo>
                    <a:pt x="272" y="1151"/>
                  </a:lnTo>
                  <a:lnTo>
                    <a:pt x="271" y="1146"/>
                  </a:lnTo>
                  <a:lnTo>
                    <a:pt x="269" y="1144"/>
                  </a:lnTo>
                  <a:lnTo>
                    <a:pt x="265" y="1144"/>
                  </a:lnTo>
                  <a:lnTo>
                    <a:pt x="256" y="1141"/>
                  </a:lnTo>
                  <a:lnTo>
                    <a:pt x="250" y="1141"/>
                  </a:lnTo>
                  <a:lnTo>
                    <a:pt x="232" y="1144"/>
                  </a:lnTo>
                  <a:lnTo>
                    <a:pt x="230" y="1146"/>
                  </a:lnTo>
                  <a:lnTo>
                    <a:pt x="227" y="1147"/>
                  </a:lnTo>
                  <a:lnTo>
                    <a:pt x="226" y="1150"/>
                  </a:lnTo>
                  <a:lnTo>
                    <a:pt x="218" y="1151"/>
                  </a:lnTo>
                  <a:lnTo>
                    <a:pt x="211" y="1156"/>
                  </a:lnTo>
                  <a:lnTo>
                    <a:pt x="208" y="1159"/>
                  </a:lnTo>
                  <a:lnTo>
                    <a:pt x="205" y="1162"/>
                  </a:lnTo>
                  <a:lnTo>
                    <a:pt x="204" y="1165"/>
                  </a:lnTo>
                  <a:lnTo>
                    <a:pt x="202" y="1166"/>
                  </a:lnTo>
                  <a:lnTo>
                    <a:pt x="199" y="1169"/>
                  </a:lnTo>
                  <a:lnTo>
                    <a:pt x="183" y="1172"/>
                  </a:lnTo>
                  <a:lnTo>
                    <a:pt x="138" y="1172"/>
                  </a:lnTo>
                  <a:lnTo>
                    <a:pt x="137" y="1170"/>
                  </a:lnTo>
                  <a:lnTo>
                    <a:pt x="137" y="1165"/>
                  </a:lnTo>
                  <a:lnTo>
                    <a:pt x="135" y="1160"/>
                  </a:lnTo>
                  <a:lnTo>
                    <a:pt x="134" y="1159"/>
                  </a:lnTo>
                  <a:lnTo>
                    <a:pt x="111" y="1157"/>
                  </a:lnTo>
                  <a:lnTo>
                    <a:pt x="106" y="1154"/>
                  </a:lnTo>
                  <a:lnTo>
                    <a:pt x="100" y="1165"/>
                  </a:lnTo>
                  <a:lnTo>
                    <a:pt x="95" y="1170"/>
                  </a:lnTo>
                  <a:lnTo>
                    <a:pt x="87" y="1175"/>
                  </a:lnTo>
                  <a:lnTo>
                    <a:pt x="60" y="1181"/>
                  </a:lnTo>
                  <a:lnTo>
                    <a:pt x="51" y="1179"/>
                  </a:lnTo>
                  <a:lnTo>
                    <a:pt x="33" y="1170"/>
                  </a:lnTo>
                  <a:lnTo>
                    <a:pt x="33" y="1170"/>
                  </a:lnTo>
                  <a:lnTo>
                    <a:pt x="42" y="1170"/>
                  </a:lnTo>
                  <a:lnTo>
                    <a:pt x="46" y="1166"/>
                  </a:lnTo>
                  <a:lnTo>
                    <a:pt x="51" y="1154"/>
                  </a:lnTo>
                  <a:lnTo>
                    <a:pt x="51" y="1154"/>
                  </a:lnTo>
                  <a:lnTo>
                    <a:pt x="42" y="1154"/>
                  </a:lnTo>
                  <a:lnTo>
                    <a:pt x="25" y="1160"/>
                  </a:lnTo>
                  <a:lnTo>
                    <a:pt x="25" y="1160"/>
                  </a:lnTo>
                  <a:lnTo>
                    <a:pt x="26" y="1154"/>
                  </a:lnTo>
                  <a:lnTo>
                    <a:pt x="28" y="1153"/>
                  </a:lnTo>
                  <a:lnTo>
                    <a:pt x="28" y="1153"/>
                  </a:lnTo>
                  <a:lnTo>
                    <a:pt x="26" y="1149"/>
                  </a:lnTo>
                  <a:lnTo>
                    <a:pt x="25" y="1146"/>
                  </a:lnTo>
                  <a:lnTo>
                    <a:pt x="23" y="1143"/>
                  </a:lnTo>
                  <a:lnTo>
                    <a:pt x="20" y="1141"/>
                  </a:lnTo>
                  <a:lnTo>
                    <a:pt x="13" y="1125"/>
                  </a:lnTo>
                  <a:lnTo>
                    <a:pt x="9" y="1118"/>
                  </a:lnTo>
                  <a:lnTo>
                    <a:pt x="3" y="1117"/>
                  </a:lnTo>
                  <a:lnTo>
                    <a:pt x="1" y="1114"/>
                  </a:lnTo>
                  <a:lnTo>
                    <a:pt x="0" y="1108"/>
                  </a:lnTo>
                  <a:lnTo>
                    <a:pt x="0" y="1098"/>
                  </a:lnTo>
                  <a:lnTo>
                    <a:pt x="0" y="1098"/>
                  </a:lnTo>
                  <a:lnTo>
                    <a:pt x="0" y="1093"/>
                  </a:lnTo>
                  <a:lnTo>
                    <a:pt x="6" y="1087"/>
                  </a:lnTo>
                  <a:lnTo>
                    <a:pt x="9" y="1085"/>
                  </a:lnTo>
                  <a:lnTo>
                    <a:pt x="9" y="1076"/>
                  </a:lnTo>
                  <a:lnTo>
                    <a:pt x="9" y="1076"/>
                  </a:lnTo>
                  <a:lnTo>
                    <a:pt x="4" y="1058"/>
                  </a:lnTo>
                  <a:lnTo>
                    <a:pt x="4" y="1058"/>
                  </a:lnTo>
                  <a:lnTo>
                    <a:pt x="6" y="1051"/>
                  </a:lnTo>
                  <a:lnTo>
                    <a:pt x="10" y="1034"/>
                  </a:lnTo>
                  <a:lnTo>
                    <a:pt x="12" y="1032"/>
                  </a:lnTo>
                  <a:lnTo>
                    <a:pt x="17" y="1029"/>
                  </a:lnTo>
                  <a:lnTo>
                    <a:pt x="17" y="1023"/>
                  </a:lnTo>
                  <a:lnTo>
                    <a:pt x="17" y="1023"/>
                  </a:lnTo>
                  <a:lnTo>
                    <a:pt x="16" y="1013"/>
                  </a:lnTo>
                  <a:lnTo>
                    <a:pt x="16" y="1013"/>
                  </a:lnTo>
                  <a:lnTo>
                    <a:pt x="16" y="1012"/>
                  </a:lnTo>
                  <a:lnTo>
                    <a:pt x="16" y="1012"/>
                  </a:lnTo>
                  <a:lnTo>
                    <a:pt x="16" y="1010"/>
                  </a:lnTo>
                  <a:lnTo>
                    <a:pt x="16" y="1009"/>
                  </a:lnTo>
                  <a:lnTo>
                    <a:pt x="16" y="1009"/>
                  </a:lnTo>
                  <a:lnTo>
                    <a:pt x="16" y="1006"/>
                  </a:lnTo>
                  <a:lnTo>
                    <a:pt x="17" y="1004"/>
                  </a:lnTo>
                  <a:lnTo>
                    <a:pt x="19" y="1002"/>
                  </a:lnTo>
                  <a:lnTo>
                    <a:pt x="20" y="1000"/>
                  </a:lnTo>
                  <a:lnTo>
                    <a:pt x="23" y="994"/>
                  </a:lnTo>
                  <a:lnTo>
                    <a:pt x="23" y="991"/>
                  </a:lnTo>
                  <a:lnTo>
                    <a:pt x="23" y="991"/>
                  </a:lnTo>
                  <a:lnTo>
                    <a:pt x="23" y="984"/>
                  </a:lnTo>
                  <a:lnTo>
                    <a:pt x="23" y="984"/>
                  </a:lnTo>
                  <a:lnTo>
                    <a:pt x="25" y="977"/>
                  </a:lnTo>
                  <a:lnTo>
                    <a:pt x="33" y="967"/>
                  </a:lnTo>
                  <a:lnTo>
                    <a:pt x="38" y="961"/>
                  </a:lnTo>
                  <a:lnTo>
                    <a:pt x="38" y="961"/>
                  </a:lnTo>
                  <a:lnTo>
                    <a:pt x="36" y="945"/>
                  </a:lnTo>
                  <a:lnTo>
                    <a:pt x="22" y="919"/>
                  </a:lnTo>
                  <a:lnTo>
                    <a:pt x="20" y="897"/>
                  </a:lnTo>
                  <a:lnTo>
                    <a:pt x="20" y="897"/>
                  </a:lnTo>
                  <a:lnTo>
                    <a:pt x="23" y="887"/>
                  </a:lnTo>
                  <a:lnTo>
                    <a:pt x="25" y="879"/>
                  </a:lnTo>
                  <a:lnTo>
                    <a:pt x="28" y="873"/>
                  </a:lnTo>
                  <a:lnTo>
                    <a:pt x="30" y="870"/>
                  </a:lnTo>
                  <a:lnTo>
                    <a:pt x="32" y="866"/>
                  </a:lnTo>
                  <a:lnTo>
                    <a:pt x="32" y="859"/>
                  </a:lnTo>
                  <a:lnTo>
                    <a:pt x="35" y="853"/>
                  </a:lnTo>
                  <a:lnTo>
                    <a:pt x="57" y="822"/>
                  </a:lnTo>
                  <a:lnTo>
                    <a:pt x="60" y="815"/>
                  </a:lnTo>
                  <a:lnTo>
                    <a:pt x="63" y="806"/>
                  </a:lnTo>
                  <a:lnTo>
                    <a:pt x="63" y="795"/>
                  </a:lnTo>
                  <a:lnTo>
                    <a:pt x="65" y="785"/>
                  </a:lnTo>
                  <a:lnTo>
                    <a:pt x="71" y="780"/>
                  </a:lnTo>
                  <a:lnTo>
                    <a:pt x="77" y="776"/>
                  </a:lnTo>
                  <a:lnTo>
                    <a:pt x="83" y="769"/>
                  </a:lnTo>
                  <a:lnTo>
                    <a:pt x="83" y="761"/>
                  </a:lnTo>
                  <a:lnTo>
                    <a:pt x="83" y="761"/>
                  </a:lnTo>
                  <a:lnTo>
                    <a:pt x="81" y="754"/>
                  </a:lnTo>
                  <a:lnTo>
                    <a:pt x="79" y="748"/>
                  </a:lnTo>
                  <a:lnTo>
                    <a:pt x="77" y="741"/>
                  </a:lnTo>
                  <a:lnTo>
                    <a:pt x="77" y="741"/>
                  </a:lnTo>
                  <a:lnTo>
                    <a:pt x="79" y="735"/>
                  </a:lnTo>
                  <a:lnTo>
                    <a:pt x="80" y="721"/>
                  </a:lnTo>
                  <a:lnTo>
                    <a:pt x="83" y="715"/>
                  </a:lnTo>
                  <a:lnTo>
                    <a:pt x="84" y="710"/>
                  </a:lnTo>
                  <a:lnTo>
                    <a:pt x="87" y="706"/>
                  </a:lnTo>
                  <a:lnTo>
                    <a:pt x="89" y="702"/>
                  </a:lnTo>
                  <a:lnTo>
                    <a:pt x="89" y="691"/>
                  </a:lnTo>
                  <a:lnTo>
                    <a:pt x="92" y="687"/>
                  </a:lnTo>
                  <a:lnTo>
                    <a:pt x="96" y="683"/>
                  </a:lnTo>
                  <a:lnTo>
                    <a:pt x="105" y="675"/>
                  </a:lnTo>
                  <a:lnTo>
                    <a:pt x="105" y="673"/>
                  </a:lnTo>
                  <a:lnTo>
                    <a:pt x="105" y="673"/>
                  </a:lnTo>
                  <a:lnTo>
                    <a:pt x="100" y="661"/>
                  </a:lnTo>
                  <a:lnTo>
                    <a:pt x="100" y="643"/>
                  </a:lnTo>
                  <a:lnTo>
                    <a:pt x="103" y="626"/>
                  </a:lnTo>
                  <a:lnTo>
                    <a:pt x="118" y="603"/>
                  </a:lnTo>
                  <a:lnTo>
                    <a:pt x="122" y="600"/>
                  </a:lnTo>
                  <a:lnTo>
                    <a:pt x="128" y="598"/>
                  </a:lnTo>
                  <a:lnTo>
                    <a:pt x="132" y="594"/>
                  </a:lnTo>
                  <a:lnTo>
                    <a:pt x="143" y="582"/>
                  </a:lnTo>
                  <a:lnTo>
                    <a:pt x="147" y="579"/>
                  </a:lnTo>
                  <a:lnTo>
                    <a:pt x="151" y="575"/>
                  </a:lnTo>
                  <a:lnTo>
                    <a:pt x="154" y="571"/>
                  </a:lnTo>
                  <a:lnTo>
                    <a:pt x="156" y="566"/>
                  </a:lnTo>
                  <a:lnTo>
                    <a:pt x="157" y="556"/>
                  </a:lnTo>
                  <a:lnTo>
                    <a:pt x="159" y="552"/>
                  </a:lnTo>
                  <a:lnTo>
                    <a:pt x="163" y="550"/>
                  </a:lnTo>
                  <a:lnTo>
                    <a:pt x="172" y="550"/>
                  </a:lnTo>
                  <a:lnTo>
                    <a:pt x="175" y="549"/>
                  </a:lnTo>
                  <a:lnTo>
                    <a:pt x="178" y="547"/>
                  </a:lnTo>
                  <a:lnTo>
                    <a:pt x="178" y="544"/>
                  </a:lnTo>
                  <a:lnTo>
                    <a:pt x="179" y="539"/>
                  </a:lnTo>
                  <a:lnTo>
                    <a:pt x="181" y="536"/>
                  </a:lnTo>
                  <a:lnTo>
                    <a:pt x="182" y="534"/>
                  </a:lnTo>
                  <a:lnTo>
                    <a:pt x="182" y="534"/>
                  </a:lnTo>
                  <a:lnTo>
                    <a:pt x="185" y="533"/>
                  </a:lnTo>
                  <a:lnTo>
                    <a:pt x="198" y="527"/>
                  </a:lnTo>
                  <a:lnTo>
                    <a:pt x="201" y="524"/>
                  </a:lnTo>
                  <a:lnTo>
                    <a:pt x="205" y="517"/>
                  </a:lnTo>
                  <a:lnTo>
                    <a:pt x="220" y="475"/>
                  </a:lnTo>
                  <a:lnTo>
                    <a:pt x="232" y="454"/>
                  </a:lnTo>
                  <a:lnTo>
                    <a:pt x="237" y="445"/>
                  </a:lnTo>
                  <a:lnTo>
                    <a:pt x="237" y="445"/>
                  </a:lnTo>
                  <a:lnTo>
                    <a:pt x="249" y="441"/>
                  </a:lnTo>
                  <a:lnTo>
                    <a:pt x="261" y="429"/>
                  </a:lnTo>
                  <a:lnTo>
                    <a:pt x="268" y="418"/>
                  </a:lnTo>
                  <a:lnTo>
                    <a:pt x="293" y="365"/>
                  </a:lnTo>
                  <a:lnTo>
                    <a:pt x="294" y="361"/>
                  </a:lnTo>
                  <a:lnTo>
                    <a:pt x="301" y="310"/>
                  </a:lnTo>
                  <a:lnTo>
                    <a:pt x="304" y="301"/>
                  </a:lnTo>
                  <a:lnTo>
                    <a:pt x="307" y="297"/>
                  </a:lnTo>
                  <a:lnTo>
                    <a:pt x="312" y="294"/>
                  </a:lnTo>
                  <a:lnTo>
                    <a:pt x="336" y="266"/>
                  </a:lnTo>
                  <a:lnTo>
                    <a:pt x="336" y="259"/>
                  </a:lnTo>
                  <a:lnTo>
                    <a:pt x="329" y="256"/>
                  </a:lnTo>
                  <a:lnTo>
                    <a:pt x="329" y="252"/>
                  </a:lnTo>
                  <a:lnTo>
                    <a:pt x="342" y="224"/>
                  </a:lnTo>
                  <a:lnTo>
                    <a:pt x="342" y="218"/>
                  </a:lnTo>
                  <a:lnTo>
                    <a:pt x="339" y="210"/>
                  </a:lnTo>
                  <a:lnTo>
                    <a:pt x="339" y="205"/>
                  </a:lnTo>
                  <a:lnTo>
                    <a:pt x="341" y="205"/>
                  </a:lnTo>
                  <a:lnTo>
                    <a:pt x="344" y="196"/>
                  </a:lnTo>
                  <a:lnTo>
                    <a:pt x="344" y="195"/>
                  </a:lnTo>
                  <a:lnTo>
                    <a:pt x="341" y="189"/>
                  </a:lnTo>
                  <a:lnTo>
                    <a:pt x="335" y="186"/>
                  </a:lnTo>
                  <a:lnTo>
                    <a:pt x="329" y="186"/>
                  </a:lnTo>
                  <a:lnTo>
                    <a:pt x="323" y="183"/>
                  </a:lnTo>
                  <a:lnTo>
                    <a:pt x="323" y="180"/>
                  </a:lnTo>
                  <a:lnTo>
                    <a:pt x="331" y="176"/>
                  </a:lnTo>
                  <a:lnTo>
                    <a:pt x="331" y="173"/>
                  </a:lnTo>
                  <a:lnTo>
                    <a:pt x="326" y="163"/>
                  </a:lnTo>
                  <a:lnTo>
                    <a:pt x="317" y="140"/>
                  </a:lnTo>
                  <a:lnTo>
                    <a:pt x="312" y="129"/>
                  </a:lnTo>
                  <a:lnTo>
                    <a:pt x="315" y="116"/>
                  </a:lnTo>
                  <a:lnTo>
                    <a:pt x="325" y="111"/>
                  </a:lnTo>
                  <a:lnTo>
                    <a:pt x="328" y="111"/>
                  </a:lnTo>
                  <a:lnTo>
                    <a:pt x="329" y="111"/>
                  </a:lnTo>
                  <a:lnTo>
                    <a:pt x="333" y="112"/>
                  </a:lnTo>
                  <a:lnTo>
                    <a:pt x="342" y="119"/>
                  </a:lnTo>
                  <a:lnTo>
                    <a:pt x="366" y="144"/>
                  </a:lnTo>
                  <a:lnTo>
                    <a:pt x="373" y="141"/>
                  </a:lnTo>
                  <a:lnTo>
                    <a:pt x="374" y="140"/>
                  </a:lnTo>
                  <a:lnTo>
                    <a:pt x="376" y="140"/>
                  </a:lnTo>
                  <a:lnTo>
                    <a:pt x="376" y="138"/>
                  </a:lnTo>
                  <a:lnTo>
                    <a:pt x="380" y="137"/>
                  </a:lnTo>
                  <a:lnTo>
                    <a:pt x="382" y="137"/>
                  </a:lnTo>
                  <a:lnTo>
                    <a:pt x="383" y="135"/>
                  </a:lnTo>
                  <a:lnTo>
                    <a:pt x="383" y="134"/>
                  </a:lnTo>
                  <a:lnTo>
                    <a:pt x="383" y="134"/>
                  </a:lnTo>
                  <a:lnTo>
                    <a:pt x="383" y="132"/>
                  </a:lnTo>
                  <a:lnTo>
                    <a:pt x="383" y="129"/>
                  </a:lnTo>
                  <a:lnTo>
                    <a:pt x="383" y="127"/>
                  </a:lnTo>
                  <a:lnTo>
                    <a:pt x="379" y="113"/>
                  </a:lnTo>
                  <a:lnTo>
                    <a:pt x="379" y="112"/>
                  </a:lnTo>
                  <a:lnTo>
                    <a:pt x="377" y="102"/>
                  </a:lnTo>
                  <a:lnTo>
                    <a:pt x="377" y="100"/>
                  </a:lnTo>
                  <a:lnTo>
                    <a:pt x="377" y="99"/>
                  </a:lnTo>
                  <a:lnTo>
                    <a:pt x="379" y="99"/>
                  </a:lnTo>
                  <a:lnTo>
                    <a:pt x="402" y="93"/>
                  </a:lnTo>
                  <a:lnTo>
                    <a:pt x="403" y="93"/>
                  </a:lnTo>
                  <a:lnTo>
                    <a:pt x="405" y="93"/>
                  </a:lnTo>
                  <a:lnTo>
                    <a:pt x="405" y="97"/>
                  </a:lnTo>
                  <a:lnTo>
                    <a:pt x="406" y="99"/>
                  </a:lnTo>
                  <a:lnTo>
                    <a:pt x="409" y="103"/>
                  </a:lnTo>
                  <a:lnTo>
                    <a:pt x="409" y="106"/>
                  </a:lnTo>
                  <a:lnTo>
                    <a:pt x="409" y="108"/>
                  </a:lnTo>
                  <a:lnTo>
                    <a:pt x="409" y="109"/>
                  </a:lnTo>
                  <a:lnTo>
                    <a:pt x="409" y="111"/>
                  </a:lnTo>
                  <a:lnTo>
                    <a:pt x="408" y="112"/>
                  </a:lnTo>
                  <a:lnTo>
                    <a:pt x="408" y="112"/>
                  </a:lnTo>
                  <a:lnTo>
                    <a:pt x="408" y="113"/>
                  </a:lnTo>
                  <a:lnTo>
                    <a:pt x="409" y="119"/>
                  </a:lnTo>
                  <a:lnTo>
                    <a:pt x="414" y="129"/>
                  </a:lnTo>
                  <a:lnTo>
                    <a:pt x="415" y="131"/>
                  </a:lnTo>
                  <a:lnTo>
                    <a:pt x="415" y="132"/>
                  </a:lnTo>
                  <a:lnTo>
                    <a:pt x="417" y="134"/>
                  </a:lnTo>
                  <a:lnTo>
                    <a:pt x="418" y="135"/>
                  </a:lnTo>
                  <a:lnTo>
                    <a:pt x="428" y="143"/>
                  </a:lnTo>
                  <a:lnTo>
                    <a:pt x="435" y="145"/>
                  </a:lnTo>
                  <a:lnTo>
                    <a:pt x="441" y="147"/>
                  </a:lnTo>
                  <a:lnTo>
                    <a:pt x="449" y="145"/>
                  </a:lnTo>
                  <a:lnTo>
                    <a:pt x="450" y="145"/>
                  </a:lnTo>
                  <a:lnTo>
                    <a:pt x="451" y="147"/>
                  </a:lnTo>
                  <a:lnTo>
                    <a:pt x="453" y="148"/>
                  </a:lnTo>
                  <a:lnTo>
                    <a:pt x="454" y="154"/>
                  </a:lnTo>
                  <a:lnTo>
                    <a:pt x="454" y="154"/>
                  </a:lnTo>
                  <a:lnTo>
                    <a:pt x="456" y="156"/>
                  </a:lnTo>
                  <a:lnTo>
                    <a:pt x="457" y="157"/>
                  </a:lnTo>
                  <a:lnTo>
                    <a:pt x="462" y="157"/>
                  </a:lnTo>
                  <a:lnTo>
                    <a:pt x="479" y="156"/>
                  </a:lnTo>
                  <a:lnTo>
                    <a:pt x="479" y="157"/>
                  </a:lnTo>
                  <a:lnTo>
                    <a:pt x="479" y="159"/>
                  </a:lnTo>
                  <a:lnTo>
                    <a:pt x="479" y="159"/>
                  </a:lnTo>
                  <a:lnTo>
                    <a:pt x="479" y="160"/>
                  </a:lnTo>
                  <a:lnTo>
                    <a:pt x="479" y="161"/>
                  </a:lnTo>
                  <a:lnTo>
                    <a:pt x="479" y="163"/>
                  </a:lnTo>
                  <a:lnTo>
                    <a:pt x="478" y="166"/>
                  </a:lnTo>
                  <a:lnTo>
                    <a:pt x="476" y="167"/>
                  </a:lnTo>
                  <a:lnTo>
                    <a:pt x="473" y="172"/>
                  </a:lnTo>
                  <a:lnTo>
                    <a:pt x="473" y="172"/>
                  </a:lnTo>
                  <a:lnTo>
                    <a:pt x="472" y="172"/>
                  </a:lnTo>
                  <a:lnTo>
                    <a:pt x="469" y="170"/>
                  </a:lnTo>
                  <a:lnTo>
                    <a:pt x="469" y="169"/>
                  </a:lnTo>
                  <a:lnTo>
                    <a:pt x="466" y="166"/>
                  </a:lnTo>
                  <a:lnTo>
                    <a:pt x="465" y="166"/>
                  </a:lnTo>
                  <a:lnTo>
                    <a:pt x="465" y="167"/>
                  </a:lnTo>
                  <a:lnTo>
                    <a:pt x="459" y="173"/>
                  </a:lnTo>
                  <a:lnTo>
                    <a:pt x="457" y="175"/>
                  </a:lnTo>
                  <a:lnTo>
                    <a:pt x="457" y="176"/>
                  </a:lnTo>
                  <a:lnTo>
                    <a:pt x="457" y="179"/>
                  </a:lnTo>
                  <a:lnTo>
                    <a:pt x="457" y="180"/>
                  </a:lnTo>
                  <a:lnTo>
                    <a:pt x="457" y="183"/>
                  </a:lnTo>
                  <a:lnTo>
                    <a:pt x="459" y="191"/>
                  </a:lnTo>
                  <a:lnTo>
                    <a:pt x="459" y="192"/>
                  </a:lnTo>
                  <a:lnTo>
                    <a:pt x="459" y="194"/>
                  </a:lnTo>
                  <a:lnTo>
                    <a:pt x="457" y="195"/>
                  </a:lnTo>
                  <a:lnTo>
                    <a:pt x="457" y="196"/>
                  </a:lnTo>
                  <a:lnTo>
                    <a:pt x="453" y="198"/>
                  </a:lnTo>
                  <a:lnTo>
                    <a:pt x="453" y="198"/>
                  </a:lnTo>
                  <a:lnTo>
                    <a:pt x="451" y="199"/>
                  </a:lnTo>
                  <a:lnTo>
                    <a:pt x="451" y="199"/>
                  </a:lnTo>
                  <a:lnTo>
                    <a:pt x="451" y="202"/>
                  </a:lnTo>
                  <a:lnTo>
                    <a:pt x="450" y="207"/>
                  </a:lnTo>
                  <a:lnTo>
                    <a:pt x="451" y="208"/>
                  </a:lnTo>
                  <a:lnTo>
                    <a:pt x="451" y="210"/>
                  </a:lnTo>
                  <a:lnTo>
                    <a:pt x="451" y="210"/>
                  </a:lnTo>
                  <a:lnTo>
                    <a:pt x="453" y="211"/>
                  </a:lnTo>
                  <a:lnTo>
                    <a:pt x="457" y="212"/>
                  </a:lnTo>
                  <a:lnTo>
                    <a:pt x="460" y="212"/>
                  </a:lnTo>
                  <a:lnTo>
                    <a:pt x="463" y="214"/>
                  </a:lnTo>
                  <a:lnTo>
                    <a:pt x="465" y="212"/>
                  </a:lnTo>
                  <a:lnTo>
                    <a:pt x="469" y="211"/>
                  </a:lnTo>
                  <a:lnTo>
                    <a:pt x="475" y="204"/>
                  </a:lnTo>
                  <a:lnTo>
                    <a:pt x="479" y="198"/>
                  </a:lnTo>
                  <a:lnTo>
                    <a:pt x="479" y="196"/>
                  </a:lnTo>
                  <a:lnTo>
                    <a:pt x="479" y="195"/>
                  </a:lnTo>
                  <a:lnTo>
                    <a:pt x="481" y="189"/>
                  </a:lnTo>
                  <a:lnTo>
                    <a:pt x="482" y="188"/>
                  </a:lnTo>
                  <a:lnTo>
                    <a:pt x="482" y="186"/>
                  </a:lnTo>
                  <a:lnTo>
                    <a:pt x="484" y="186"/>
                  </a:lnTo>
                  <a:lnTo>
                    <a:pt x="485" y="188"/>
                  </a:lnTo>
                  <a:lnTo>
                    <a:pt x="485" y="191"/>
                  </a:lnTo>
                  <a:lnTo>
                    <a:pt x="485" y="191"/>
                  </a:lnTo>
                  <a:lnTo>
                    <a:pt x="486" y="192"/>
                  </a:lnTo>
                  <a:lnTo>
                    <a:pt x="489" y="191"/>
                  </a:lnTo>
                  <a:lnTo>
                    <a:pt x="495" y="186"/>
                  </a:lnTo>
                  <a:lnTo>
                    <a:pt x="497" y="183"/>
                  </a:lnTo>
                  <a:lnTo>
                    <a:pt x="498" y="182"/>
                  </a:lnTo>
                  <a:lnTo>
                    <a:pt x="497" y="179"/>
                  </a:lnTo>
                  <a:lnTo>
                    <a:pt x="497" y="178"/>
                  </a:lnTo>
                  <a:lnTo>
                    <a:pt x="495" y="175"/>
                  </a:lnTo>
                  <a:lnTo>
                    <a:pt x="494" y="172"/>
                  </a:lnTo>
                  <a:lnTo>
                    <a:pt x="492" y="170"/>
                  </a:lnTo>
                  <a:lnTo>
                    <a:pt x="491" y="169"/>
                  </a:lnTo>
                  <a:lnTo>
                    <a:pt x="491" y="169"/>
                  </a:lnTo>
                  <a:lnTo>
                    <a:pt x="492" y="167"/>
                  </a:lnTo>
                  <a:lnTo>
                    <a:pt x="501" y="159"/>
                  </a:lnTo>
                  <a:lnTo>
                    <a:pt x="501" y="157"/>
                  </a:lnTo>
                  <a:lnTo>
                    <a:pt x="501" y="157"/>
                  </a:lnTo>
                  <a:lnTo>
                    <a:pt x="501" y="157"/>
                  </a:lnTo>
                  <a:lnTo>
                    <a:pt x="502" y="156"/>
                  </a:lnTo>
                  <a:lnTo>
                    <a:pt x="520" y="156"/>
                  </a:lnTo>
                  <a:lnTo>
                    <a:pt x="523" y="156"/>
                  </a:lnTo>
                  <a:lnTo>
                    <a:pt x="524" y="157"/>
                  </a:lnTo>
                  <a:lnTo>
                    <a:pt x="529" y="157"/>
                  </a:lnTo>
                  <a:lnTo>
                    <a:pt x="530" y="157"/>
                  </a:lnTo>
                  <a:lnTo>
                    <a:pt x="532" y="156"/>
                  </a:lnTo>
                  <a:lnTo>
                    <a:pt x="540" y="148"/>
                  </a:lnTo>
                  <a:lnTo>
                    <a:pt x="543" y="148"/>
                  </a:lnTo>
                  <a:lnTo>
                    <a:pt x="546" y="148"/>
                  </a:lnTo>
                  <a:lnTo>
                    <a:pt x="551" y="148"/>
                  </a:lnTo>
                  <a:lnTo>
                    <a:pt x="552" y="148"/>
                  </a:lnTo>
                  <a:lnTo>
                    <a:pt x="552" y="148"/>
                  </a:lnTo>
                  <a:lnTo>
                    <a:pt x="553" y="150"/>
                  </a:lnTo>
                  <a:lnTo>
                    <a:pt x="556" y="153"/>
                  </a:lnTo>
                  <a:lnTo>
                    <a:pt x="556" y="154"/>
                  </a:lnTo>
                  <a:lnTo>
                    <a:pt x="558" y="154"/>
                  </a:lnTo>
                  <a:lnTo>
                    <a:pt x="559" y="154"/>
                  </a:lnTo>
                  <a:lnTo>
                    <a:pt x="559" y="154"/>
                  </a:lnTo>
                  <a:lnTo>
                    <a:pt x="561" y="154"/>
                  </a:lnTo>
                  <a:lnTo>
                    <a:pt x="561" y="153"/>
                  </a:lnTo>
                  <a:lnTo>
                    <a:pt x="561" y="150"/>
                  </a:lnTo>
                  <a:lnTo>
                    <a:pt x="556" y="144"/>
                  </a:lnTo>
                  <a:lnTo>
                    <a:pt x="553" y="138"/>
                  </a:lnTo>
                  <a:lnTo>
                    <a:pt x="552" y="137"/>
                  </a:lnTo>
                  <a:lnTo>
                    <a:pt x="551" y="134"/>
                  </a:lnTo>
                  <a:lnTo>
                    <a:pt x="549" y="131"/>
                  </a:lnTo>
                  <a:lnTo>
                    <a:pt x="543" y="125"/>
                  </a:lnTo>
                  <a:lnTo>
                    <a:pt x="542" y="122"/>
                  </a:lnTo>
                  <a:lnTo>
                    <a:pt x="542" y="121"/>
                  </a:lnTo>
                  <a:lnTo>
                    <a:pt x="543" y="119"/>
                  </a:lnTo>
                  <a:lnTo>
                    <a:pt x="545" y="119"/>
                  </a:lnTo>
                  <a:lnTo>
                    <a:pt x="549" y="124"/>
                  </a:lnTo>
                  <a:lnTo>
                    <a:pt x="551" y="124"/>
                  </a:lnTo>
                  <a:lnTo>
                    <a:pt x="552" y="124"/>
                  </a:lnTo>
                  <a:lnTo>
                    <a:pt x="555" y="118"/>
                  </a:lnTo>
                  <a:lnTo>
                    <a:pt x="558" y="121"/>
                  </a:lnTo>
                  <a:lnTo>
                    <a:pt x="559" y="121"/>
                  </a:lnTo>
                  <a:lnTo>
                    <a:pt x="578" y="116"/>
                  </a:lnTo>
                  <a:lnTo>
                    <a:pt x="584" y="116"/>
                  </a:lnTo>
                  <a:lnTo>
                    <a:pt x="604" y="116"/>
                  </a:lnTo>
                  <a:lnTo>
                    <a:pt x="606" y="116"/>
                  </a:lnTo>
                  <a:lnTo>
                    <a:pt x="609" y="115"/>
                  </a:lnTo>
                  <a:lnTo>
                    <a:pt x="610" y="112"/>
                  </a:lnTo>
                  <a:lnTo>
                    <a:pt x="610" y="111"/>
                  </a:lnTo>
                  <a:lnTo>
                    <a:pt x="612" y="106"/>
                  </a:lnTo>
                  <a:lnTo>
                    <a:pt x="612" y="105"/>
                  </a:lnTo>
                  <a:lnTo>
                    <a:pt x="613" y="103"/>
                  </a:lnTo>
                  <a:lnTo>
                    <a:pt x="616" y="100"/>
                  </a:lnTo>
                  <a:lnTo>
                    <a:pt x="618" y="99"/>
                  </a:lnTo>
                  <a:lnTo>
                    <a:pt x="618" y="99"/>
                  </a:lnTo>
                  <a:lnTo>
                    <a:pt x="618" y="97"/>
                  </a:lnTo>
                  <a:lnTo>
                    <a:pt x="616" y="90"/>
                  </a:lnTo>
                  <a:lnTo>
                    <a:pt x="618" y="89"/>
                  </a:lnTo>
                  <a:lnTo>
                    <a:pt x="619" y="87"/>
                  </a:lnTo>
                  <a:lnTo>
                    <a:pt x="623" y="84"/>
                  </a:lnTo>
                  <a:lnTo>
                    <a:pt x="626" y="83"/>
                  </a:lnTo>
                  <a:lnTo>
                    <a:pt x="629" y="83"/>
                  </a:lnTo>
                  <a:lnTo>
                    <a:pt x="634" y="83"/>
                  </a:lnTo>
                  <a:lnTo>
                    <a:pt x="638" y="83"/>
                  </a:lnTo>
                  <a:lnTo>
                    <a:pt x="648" y="78"/>
                  </a:lnTo>
                  <a:lnTo>
                    <a:pt x="648" y="78"/>
                  </a:lnTo>
                  <a:lnTo>
                    <a:pt x="650" y="78"/>
                  </a:lnTo>
                  <a:lnTo>
                    <a:pt x="654" y="83"/>
                  </a:lnTo>
                  <a:lnTo>
                    <a:pt x="655" y="84"/>
                  </a:lnTo>
                  <a:lnTo>
                    <a:pt x="657" y="83"/>
                  </a:lnTo>
                  <a:lnTo>
                    <a:pt x="664" y="77"/>
                  </a:lnTo>
                  <a:lnTo>
                    <a:pt x="663" y="74"/>
                  </a:lnTo>
                  <a:lnTo>
                    <a:pt x="661" y="71"/>
                  </a:lnTo>
                  <a:lnTo>
                    <a:pt x="661" y="71"/>
                  </a:lnTo>
                  <a:lnTo>
                    <a:pt x="661" y="71"/>
                  </a:lnTo>
                  <a:lnTo>
                    <a:pt x="661" y="68"/>
                  </a:lnTo>
                  <a:lnTo>
                    <a:pt x="666" y="46"/>
                  </a:lnTo>
                  <a:lnTo>
                    <a:pt x="664" y="46"/>
                  </a:lnTo>
                  <a:lnTo>
                    <a:pt x="664" y="45"/>
                  </a:lnTo>
                  <a:lnTo>
                    <a:pt x="663" y="45"/>
                  </a:lnTo>
                  <a:lnTo>
                    <a:pt x="657" y="42"/>
                  </a:lnTo>
                  <a:lnTo>
                    <a:pt x="655" y="42"/>
                  </a:lnTo>
                  <a:lnTo>
                    <a:pt x="654" y="42"/>
                  </a:lnTo>
                  <a:lnTo>
                    <a:pt x="654" y="42"/>
                  </a:lnTo>
                  <a:lnTo>
                    <a:pt x="653" y="42"/>
                  </a:lnTo>
                  <a:lnTo>
                    <a:pt x="653" y="44"/>
                  </a:lnTo>
                  <a:lnTo>
                    <a:pt x="653" y="44"/>
                  </a:lnTo>
                  <a:lnTo>
                    <a:pt x="651" y="48"/>
                  </a:lnTo>
                  <a:lnTo>
                    <a:pt x="651" y="51"/>
                  </a:lnTo>
                  <a:lnTo>
                    <a:pt x="650" y="51"/>
                  </a:lnTo>
                  <a:lnTo>
                    <a:pt x="648" y="52"/>
                  </a:lnTo>
                  <a:lnTo>
                    <a:pt x="647" y="52"/>
                  </a:lnTo>
                  <a:lnTo>
                    <a:pt x="647" y="52"/>
                  </a:lnTo>
                  <a:lnTo>
                    <a:pt x="645" y="52"/>
                  </a:lnTo>
                  <a:lnTo>
                    <a:pt x="644" y="51"/>
                  </a:lnTo>
                  <a:lnTo>
                    <a:pt x="644" y="49"/>
                  </a:lnTo>
                  <a:lnTo>
                    <a:pt x="645" y="45"/>
                  </a:lnTo>
                  <a:lnTo>
                    <a:pt x="645" y="44"/>
                  </a:lnTo>
                  <a:lnTo>
                    <a:pt x="645" y="41"/>
                  </a:lnTo>
                  <a:lnTo>
                    <a:pt x="644" y="41"/>
                  </a:lnTo>
                  <a:lnTo>
                    <a:pt x="642" y="39"/>
                  </a:lnTo>
                  <a:lnTo>
                    <a:pt x="631" y="38"/>
                  </a:lnTo>
                  <a:lnTo>
                    <a:pt x="628" y="36"/>
                  </a:lnTo>
                  <a:lnTo>
                    <a:pt x="626" y="35"/>
                  </a:lnTo>
                  <a:lnTo>
                    <a:pt x="625" y="35"/>
                  </a:lnTo>
                  <a:lnTo>
                    <a:pt x="625" y="32"/>
                  </a:lnTo>
                  <a:lnTo>
                    <a:pt x="625" y="30"/>
                  </a:lnTo>
                  <a:lnTo>
                    <a:pt x="628" y="28"/>
                  </a:lnTo>
                  <a:lnTo>
                    <a:pt x="628" y="26"/>
                  </a:lnTo>
                  <a:lnTo>
                    <a:pt x="628" y="25"/>
                  </a:lnTo>
                  <a:lnTo>
                    <a:pt x="628" y="25"/>
                  </a:lnTo>
                  <a:lnTo>
                    <a:pt x="628" y="23"/>
                  </a:lnTo>
                  <a:lnTo>
                    <a:pt x="625" y="16"/>
                  </a:lnTo>
                  <a:lnTo>
                    <a:pt x="626" y="13"/>
                  </a:lnTo>
                  <a:lnTo>
                    <a:pt x="631" y="10"/>
                  </a:lnTo>
                  <a:lnTo>
                    <a:pt x="635" y="7"/>
                  </a:lnTo>
                  <a:lnTo>
                    <a:pt x="639" y="6"/>
                  </a:lnTo>
                  <a:lnTo>
                    <a:pt x="655" y="7"/>
                  </a:lnTo>
                  <a:lnTo>
                    <a:pt x="669" y="1"/>
                  </a:lnTo>
                  <a:lnTo>
                    <a:pt x="680" y="0"/>
                  </a:lnTo>
                  <a:lnTo>
                    <a:pt x="687"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464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24250AD-A1E2-40BC-AA88-9E338F504BDB}"/>
              </a:ext>
            </a:extLst>
          </p:cNvPr>
          <p:cNvGraphicFramePr>
            <a:graphicFrameLocks noChangeAspect="1"/>
          </p:cNvGraphicFramePr>
          <p:nvPr>
            <p:custDataLst>
              <p:tags r:id="rId1"/>
            </p:custDataLst>
            <p:extLst>
              <p:ext uri="{D42A27DB-BD31-4B8C-83A1-F6EECF244321}">
                <p14:modId xmlns:p14="http://schemas.microsoft.com/office/powerpoint/2010/main" val="1952056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7" name="Objekt 6" hidden="1">
                        <a:extLst>
                          <a:ext uri="{FF2B5EF4-FFF2-40B4-BE49-F238E27FC236}">
                            <a16:creationId xmlns:a16="http://schemas.microsoft.com/office/drawing/2014/main" id="{724250AD-A1E2-40BC-AA88-9E338F504B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7C5DD46A-96A5-4B32-B7D1-E24CB516AEA6}"/>
              </a:ext>
            </a:extLst>
          </p:cNvPr>
          <p:cNvSpPr/>
          <p:nvPr>
            <p:custDataLst>
              <p:tags r:id="rId2"/>
            </p:custDataLst>
          </p:nvPr>
        </p:nvSpPr>
        <p:spPr bwMode="gray">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e-DE" sz="3000" dirty="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sym typeface="Open Sans Extrabold" panose="020B0906030804020204" pitchFamily="34" charset="0"/>
            </a:endParaRPr>
          </a:p>
        </p:txBody>
      </p:sp>
      <p:sp>
        <p:nvSpPr>
          <p:cNvPr id="36" name="Titel 35"/>
          <p:cNvSpPr>
            <a:spLocks noGrp="1"/>
          </p:cNvSpPr>
          <p:nvPr>
            <p:ph type="title"/>
            <p:custDataLst>
              <p:tags r:id="rId3"/>
            </p:custDataLst>
          </p:nvPr>
        </p:nvSpPr>
        <p:spPr bwMode="gray"/>
        <p:txBody>
          <a:bodyPr vert="horz"/>
          <a:lstStyle/>
          <a:p>
            <a:r>
              <a:rPr lang="de-DE" dirty="0"/>
              <a:t>Karte: Deutschland mit Bundesländern</a:t>
            </a:r>
          </a:p>
        </p:txBody>
      </p:sp>
      <p:sp>
        <p:nvSpPr>
          <p:cNvPr id="2" name="Datumsplatzhalter 1">
            <a:extLst>
              <a:ext uri="{FF2B5EF4-FFF2-40B4-BE49-F238E27FC236}">
                <a16:creationId xmlns:a16="http://schemas.microsoft.com/office/drawing/2014/main" id="{76965283-B3A0-4A93-8FDC-2949974B0B92}"/>
              </a:ext>
            </a:extLst>
          </p:cNvPr>
          <p:cNvSpPr>
            <a:spLocks noGrp="1"/>
          </p:cNvSpPr>
          <p:nvPr>
            <p:ph type="dt" sz="half" idx="10"/>
          </p:nvPr>
        </p:nvSpPr>
        <p:spPr bwMode="gray"/>
        <p:txBody>
          <a:bodyPr/>
          <a:lstStyle/>
          <a:p>
            <a:fld id="{581733B2-D60C-485B-8655-C6B080E53249}" type="datetime1">
              <a:rPr lang="de-DE" smtClean="0"/>
              <a:t>29.09.25</a:t>
            </a:fld>
            <a:endParaRPr lang="de-DE" dirty="0"/>
          </a:p>
        </p:txBody>
      </p:sp>
      <p:sp>
        <p:nvSpPr>
          <p:cNvPr id="3" name="Fußzeilenplatzhalter 2">
            <a:extLst>
              <a:ext uri="{FF2B5EF4-FFF2-40B4-BE49-F238E27FC236}">
                <a16:creationId xmlns:a16="http://schemas.microsoft.com/office/drawing/2014/main" id="{8C9EC558-4F16-4CF9-9C91-B27197A79E87}"/>
              </a:ext>
            </a:extLst>
          </p:cNvPr>
          <p:cNvSpPr>
            <a:spLocks noGrp="1"/>
          </p:cNvSpPr>
          <p:nvPr>
            <p:ph type="ftr" sz="quarter" idx="11"/>
          </p:nvPr>
        </p:nvSpPr>
        <p:spPr bwMode="gray"/>
        <p:txBody>
          <a:bodyPr/>
          <a:lstStyle/>
          <a:p>
            <a:r>
              <a:rPr lang="de-DE" dirty="0"/>
              <a:t>TITEL DER PRÄSENTATION | TITEL VORNAME NAME</a:t>
            </a:r>
          </a:p>
        </p:txBody>
      </p:sp>
      <p:sp>
        <p:nvSpPr>
          <p:cNvPr id="4" name="Foliennummernplatzhalter 3">
            <a:extLst>
              <a:ext uri="{FF2B5EF4-FFF2-40B4-BE49-F238E27FC236}">
                <a16:creationId xmlns:a16="http://schemas.microsoft.com/office/drawing/2014/main" id="{83D7BD2B-5C3C-42D5-82A3-09BA38D323AB}"/>
              </a:ext>
            </a:extLst>
          </p:cNvPr>
          <p:cNvSpPr>
            <a:spLocks noGrp="1"/>
          </p:cNvSpPr>
          <p:nvPr>
            <p:ph type="sldNum" sz="quarter" idx="12"/>
          </p:nvPr>
        </p:nvSpPr>
        <p:spPr bwMode="gray"/>
        <p:txBody>
          <a:bodyPr/>
          <a:lstStyle/>
          <a:p>
            <a:fld id="{09E9C37E-8A19-4E30-BE2B-5A966AD23C7A}" type="slidenum">
              <a:rPr lang="de-DE" smtClean="0"/>
              <a:pPr/>
              <a:t>87</a:t>
            </a:fld>
            <a:endParaRPr lang="de-DE" dirty="0"/>
          </a:p>
        </p:txBody>
      </p:sp>
      <p:grpSp>
        <p:nvGrpSpPr>
          <p:cNvPr id="47" name="Group 56">
            <a:extLst>
              <a:ext uri="{FF2B5EF4-FFF2-40B4-BE49-F238E27FC236}">
                <a16:creationId xmlns:a16="http://schemas.microsoft.com/office/drawing/2014/main" id="{CF34F0C8-DD1F-46B3-98B2-0D277F826E4B}"/>
              </a:ext>
            </a:extLst>
          </p:cNvPr>
          <p:cNvGrpSpPr>
            <a:grpSpLocks noChangeAspect="1"/>
          </p:cNvGrpSpPr>
          <p:nvPr/>
        </p:nvGrpSpPr>
        <p:grpSpPr bwMode="gray">
          <a:xfrm>
            <a:off x="4715080" y="1989000"/>
            <a:ext cx="2761840" cy="3744000"/>
            <a:chOff x="3567113" y="3175"/>
            <a:chExt cx="5057776" cy="6856413"/>
          </a:xfrm>
          <a:solidFill>
            <a:schemeClr val="bg1"/>
          </a:solidFill>
        </p:grpSpPr>
        <p:sp>
          <p:nvSpPr>
            <p:cNvPr id="48" name="Freeform 5">
              <a:extLst>
                <a:ext uri="{FF2B5EF4-FFF2-40B4-BE49-F238E27FC236}">
                  <a16:creationId xmlns:a16="http://schemas.microsoft.com/office/drawing/2014/main" id="{1D199662-4643-42CF-B96A-DAAD654B29DA}"/>
                </a:ext>
              </a:extLst>
            </p:cNvPr>
            <p:cNvSpPr>
              <a:spLocks/>
            </p:cNvSpPr>
            <p:nvPr/>
          </p:nvSpPr>
          <p:spPr bwMode="gray">
            <a:xfrm>
              <a:off x="5788026" y="3163888"/>
              <a:ext cx="1527175" cy="1249363"/>
            </a:xfrm>
            <a:custGeom>
              <a:avLst/>
              <a:gdLst>
                <a:gd name="T0" fmla="*/ 955 w 962"/>
                <a:gd name="T1" fmla="*/ 417 h 787"/>
                <a:gd name="T2" fmla="*/ 891 w 962"/>
                <a:gd name="T3" fmla="*/ 441 h 787"/>
                <a:gd name="T4" fmla="*/ 837 w 962"/>
                <a:gd name="T5" fmla="*/ 485 h 787"/>
                <a:gd name="T6" fmla="*/ 831 w 962"/>
                <a:gd name="T7" fmla="*/ 510 h 787"/>
                <a:gd name="T8" fmla="*/ 826 w 962"/>
                <a:gd name="T9" fmla="*/ 558 h 787"/>
                <a:gd name="T10" fmla="*/ 775 w 962"/>
                <a:gd name="T11" fmla="*/ 594 h 787"/>
                <a:gd name="T12" fmla="*/ 734 w 962"/>
                <a:gd name="T13" fmla="*/ 602 h 787"/>
                <a:gd name="T14" fmla="*/ 715 w 962"/>
                <a:gd name="T15" fmla="*/ 653 h 787"/>
                <a:gd name="T16" fmla="*/ 678 w 962"/>
                <a:gd name="T17" fmla="*/ 686 h 787"/>
                <a:gd name="T18" fmla="*/ 654 w 962"/>
                <a:gd name="T19" fmla="*/ 676 h 787"/>
                <a:gd name="T20" fmla="*/ 569 w 962"/>
                <a:gd name="T21" fmla="*/ 692 h 787"/>
                <a:gd name="T22" fmla="*/ 536 w 962"/>
                <a:gd name="T23" fmla="*/ 656 h 787"/>
                <a:gd name="T24" fmla="*/ 501 w 962"/>
                <a:gd name="T25" fmla="*/ 628 h 787"/>
                <a:gd name="T26" fmla="*/ 480 w 962"/>
                <a:gd name="T27" fmla="*/ 667 h 787"/>
                <a:gd name="T28" fmla="*/ 488 w 962"/>
                <a:gd name="T29" fmla="*/ 705 h 787"/>
                <a:gd name="T30" fmla="*/ 479 w 962"/>
                <a:gd name="T31" fmla="*/ 743 h 787"/>
                <a:gd name="T32" fmla="*/ 444 w 962"/>
                <a:gd name="T33" fmla="*/ 720 h 787"/>
                <a:gd name="T34" fmla="*/ 418 w 962"/>
                <a:gd name="T35" fmla="*/ 706 h 787"/>
                <a:gd name="T36" fmla="*/ 370 w 962"/>
                <a:gd name="T37" fmla="*/ 689 h 787"/>
                <a:gd name="T38" fmla="*/ 335 w 962"/>
                <a:gd name="T39" fmla="*/ 686 h 787"/>
                <a:gd name="T40" fmla="*/ 303 w 962"/>
                <a:gd name="T41" fmla="*/ 705 h 787"/>
                <a:gd name="T42" fmla="*/ 311 w 962"/>
                <a:gd name="T43" fmla="*/ 740 h 787"/>
                <a:gd name="T44" fmla="*/ 336 w 962"/>
                <a:gd name="T45" fmla="*/ 760 h 787"/>
                <a:gd name="T46" fmla="*/ 295 w 962"/>
                <a:gd name="T47" fmla="*/ 779 h 787"/>
                <a:gd name="T48" fmla="*/ 249 w 962"/>
                <a:gd name="T49" fmla="*/ 753 h 787"/>
                <a:gd name="T50" fmla="*/ 225 w 962"/>
                <a:gd name="T51" fmla="*/ 708 h 787"/>
                <a:gd name="T52" fmla="*/ 190 w 962"/>
                <a:gd name="T53" fmla="*/ 685 h 787"/>
                <a:gd name="T54" fmla="*/ 160 w 962"/>
                <a:gd name="T55" fmla="*/ 647 h 787"/>
                <a:gd name="T56" fmla="*/ 113 w 962"/>
                <a:gd name="T57" fmla="*/ 603 h 787"/>
                <a:gd name="T58" fmla="*/ 58 w 962"/>
                <a:gd name="T59" fmla="*/ 613 h 787"/>
                <a:gd name="T60" fmla="*/ 68 w 962"/>
                <a:gd name="T61" fmla="*/ 564 h 787"/>
                <a:gd name="T62" fmla="*/ 24 w 962"/>
                <a:gd name="T63" fmla="*/ 539 h 787"/>
                <a:gd name="T64" fmla="*/ 7 w 962"/>
                <a:gd name="T65" fmla="*/ 554 h 787"/>
                <a:gd name="T66" fmla="*/ 11 w 962"/>
                <a:gd name="T67" fmla="*/ 519 h 787"/>
                <a:gd name="T68" fmla="*/ 23 w 962"/>
                <a:gd name="T69" fmla="*/ 476 h 787"/>
                <a:gd name="T70" fmla="*/ 49 w 962"/>
                <a:gd name="T71" fmla="*/ 446 h 787"/>
                <a:gd name="T72" fmla="*/ 42 w 962"/>
                <a:gd name="T73" fmla="*/ 398 h 787"/>
                <a:gd name="T74" fmla="*/ 27 w 962"/>
                <a:gd name="T75" fmla="*/ 395 h 787"/>
                <a:gd name="T76" fmla="*/ 55 w 962"/>
                <a:gd name="T77" fmla="*/ 372 h 787"/>
                <a:gd name="T78" fmla="*/ 85 w 962"/>
                <a:gd name="T79" fmla="*/ 354 h 787"/>
                <a:gd name="T80" fmla="*/ 101 w 962"/>
                <a:gd name="T81" fmla="*/ 328 h 787"/>
                <a:gd name="T82" fmla="*/ 91 w 962"/>
                <a:gd name="T83" fmla="*/ 287 h 787"/>
                <a:gd name="T84" fmla="*/ 106 w 962"/>
                <a:gd name="T85" fmla="*/ 283 h 787"/>
                <a:gd name="T86" fmla="*/ 110 w 962"/>
                <a:gd name="T87" fmla="*/ 246 h 787"/>
                <a:gd name="T88" fmla="*/ 68 w 962"/>
                <a:gd name="T89" fmla="*/ 227 h 787"/>
                <a:gd name="T90" fmla="*/ 30 w 962"/>
                <a:gd name="T91" fmla="*/ 188 h 787"/>
                <a:gd name="T92" fmla="*/ 17 w 962"/>
                <a:gd name="T93" fmla="*/ 150 h 787"/>
                <a:gd name="T94" fmla="*/ 93 w 962"/>
                <a:gd name="T95" fmla="*/ 112 h 787"/>
                <a:gd name="T96" fmla="*/ 110 w 962"/>
                <a:gd name="T97" fmla="*/ 88 h 787"/>
                <a:gd name="T98" fmla="*/ 147 w 962"/>
                <a:gd name="T99" fmla="*/ 73 h 787"/>
                <a:gd name="T100" fmla="*/ 171 w 962"/>
                <a:gd name="T101" fmla="*/ 31 h 787"/>
                <a:gd name="T102" fmla="*/ 265 w 962"/>
                <a:gd name="T103" fmla="*/ 43 h 787"/>
                <a:gd name="T104" fmla="*/ 324 w 962"/>
                <a:gd name="T105" fmla="*/ 3 h 787"/>
                <a:gd name="T106" fmla="*/ 364 w 962"/>
                <a:gd name="T107" fmla="*/ 35 h 787"/>
                <a:gd name="T108" fmla="*/ 372 w 962"/>
                <a:gd name="T109" fmla="*/ 80 h 787"/>
                <a:gd name="T110" fmla="*/ 540 w 962"/>
                <a:gd name="T111" fmla="*/ 216 h 787"/>
                <a:gd name="T112" fmla="*/ 539 w 962"/>
                <a:gd name="T113" fmla="*/ 283 h 787"/>
                <a:gd name="T114" fmla="*/ 572 w 962"/>
                <a:gd name="T115" fmla="*/ 300 h 787"/>
                <a:gd name="T116" fmla="*/ 638 w 962"/>
                <a:gd name="T117" fmla="*/ 329 h 787"/>
                <a:gd name="T118" fmla="*/ 721 w 962"/>
                <a:gd name="T119" fmla="*/ 366 h 787"/>
                <a:gd name="T120" fmla="*/ 792 w 962"/>
                <a:gd name="T121" fmla="*/ 380 h 787"/>
                <a:gd name="T122" fmla="*/ 823 w 962"/>
                <a:gd name="T123" fmla="*/ 331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2" h="787">
                  <a:moveTo>
                    <a:pt x="828" y="308"/>
                  </a:moveTo>
                  <a:lnTo>
                    <a:pt x="852" y="305"/>
                  </a:lnTo>
                  <a:lnTo>
                    <a:pt x="906" y="322"/>
                  </a:lnTo>
                  <a:lnTo>
                    <a:pt x="909" y="338"/>
                  </a:lnTo>
                  <a:lnTo>
                    <a:pt x="909" y="340"/>
                  </a:lnTo>
                  <a:lnTo>
                    <a:pt x="919" y="357"/>
                  </a:lnTo>
                  <a:lnTo>
                    <a:pt x="922" y="364"/>
                  </a:lnTo>
                  <a:lnTo>
                    <a:pt x="927" y="370"/>
                  </a:lnTo>
                  <a:lnTo>
                    <a:pt x="932" y="372"/>
                  </a:lnTo>
                  <a:lnTo>
                    <a:pt x="936" y="375"/>
                  </a:lnTo>
                  <a:lnTo>
                    <a:pt x="946" y="380"/>
                  </a:lnTo>
                  <a:lnTo>
                    <a:pt x="955" y="393"/>
                  </a:lnTo>
                  <a:lnTo>
                    <a:pt x="962" y="408"/>
                  </a:lnTo>
                  <a:lnTo>
                    <a:pt x="962" y="411"/>
                  </a:lnTo>
                  <a:lnTo>
                    <a:pt x="962" y="412"/>
                  </a:lnTo>
                  <a:lnTo>
                    <a:pt x="958" y="414"/>
                  </a:lnTo>
                  <a:lnTo>
                    <a:pt x="957" y="415"/>
                  </a:lnTo>
                  <a:lnTo>
                    <a:pt x="955" y="417"/>
                  </a:lnTo>
                  <a:lnTo>
                    <a:pt x="952" y="423"/>
                  </a:lnTo>
                  <a:lnTo>
                    <a:pt x="949" y="425"/>
                  </a:lnTo>
                  <a:lnTo>
                    <a:pt x="948" y="425"/>
                  </a:lnTo>
                  <a:lnTo>
                    <a:pt x="948" y="424"/>
                  </a:lnTo>
                  <a:lnTo>
                    <a:pt x="946" y="421"/>
                  </a:lnTo>
                  <a:lnTo>
                    <a:pt x="945" y="421"/>
                  </a:lnTo>
                  <a:lnTo>
                    <a:pt x="944" y="421"/>
                  </a:lnTo>
                  <a:lnTo>
                    <a:pt x="941" y="421"/>
                  </a:lnTo>
                  <a:lnTo>
                    <a:pt x="939" y="423"/>
                  </a:lnTo>
                  <a:lnTo>
                    <a:pt x="927" y="421"/>
                  </a:lnTo>
                  <a:lnTo>
                    <a:pt x="920" y="421"/>
                  </a:lnTo>
                  <a:lnTo>
                    <a:pt x="919" y="421"/>
                  </a:lnTo>
                  <a:lnTo>
                    <a:pt x="913" y="418"/>
                  </a:lnTo>
                  <a:lnTo>
                    <a:pt x="913" y="424"/>
                  </a:lnTo>
                  <a:lnTo>
                    <a:pt x="911" y="424"/>
                  </a:lnTo>
                  <a:lnTo>
                    <a:pt x="911" y="425"/>
                  </a:lnTo>
                  <a:lnTo>
                    <a:pt x="898" y="433"/>
                  </a:lnTo>
                  <a:lnTo>
                    <a:pt x="891" y="441"/>
                  </a:lnTo>
                  <a:lnTo>
                    <a:pt x="885" y="450"/>
                  </a:lnTo>
                  <a:lnTo>
                    <a:pt x="884" y="450"/>
                  </a:lnTo>
                  <a:lnTo>
                    <a:pt x="882" y="450"/>
                  </a:lnTo>
                  <a:lnTo>
                    <a:pt x="882" y="449"/>
                  </a:lnTo>
                  <a:lnTo>
                    <a:pt x="881" y="449"/>
                  </a:lnTo>
                  <a:lnTo>
                    <a:pt x="878" y="447"/>
                  </a:lnTo>
                  <a:lnTo>
                    <a:pt x="868" y="449"/>
                  </a:lnTo>
                  <a:lnTo>
                    <a:pt x="866" y="449"/>
                  </a:lnTo>
                  <a:lnTo>
                    <a:pt x="863" y="450"/>
                  </a:lnTo>
                  <a:lnTo>
                    <a:pt x="855" y="458"/>
                  </a:lnTo>
                  <a:lnTo>
                    <a:pt x="852" y="460"/>
                  </a:lnTo>
                  <a:lnTo>
                    <a:pt x="827" y="468"/>
                  </a:lnTo>
                  <a:lnTo>
                    <a:pt x="827" y="474"/>
                  </a:lnTo>
                  <a:lnTo>
                    <a:pt x="830" y="478"/>
                  </a:lnTo>
                  <a:lnTo>
                    <a:pt x="836" y="481"/>
                  </a:lnTo>
                  <a:lnTo>
                    <a:pt x="837" y="482"/>
                  </a:lnTo>
                  <a:lnTo>
                    <a:pt x="837" y="484"/>
                  </a:lnTo>
                  <a:lnTo>
                    <a:pt x="837" y="485"/>
                  </a:lnTo>
                  <a:lnTo>
                    <a:pt x="834" y="488"/>
                  </a:lnTo>
                  <a:lnTo>
                    <a:pt x="831" y="491"/>
                  </a:lnTo>
                  <a:lnTo>
                    <a:pt x="831" y="491"/>
                  </a:lnTo>
                  <a:lnTo>
                    <a:pt x="830" y="491"/>
                  </a:lnTo>
                  <a:lnTo>
                    <a:pt x="830" y="492"/>
                  </a:lnTo>
                  <a:lnTo>
                    <a:pt x="827" y="492"/>
                  </a:lnTo>
                  <a:lnTo>
                    <a:pt x="826" y="492"/>
                  </a:lnTo>
                  <a:lnTo>
                    <a:pt x="824" y="495"/>
                  </a:lnTo>
                  <a:lnTo>
                    <a:pt x="821" y="501"/>
                  </a:lnTo>
                  <a:lnTo>
                    <a:pt x="821" y="504"/>
                  </a:lnTo>
                  <a:lnTo>
                    <a:pt x="821" y="506"/>
                  </a:lnTo>
                  <a:lnTo>
                    <a:pt x="823" y="507"/>
                  </a:lnTo>
                  <a:lnTo>
                    <a:pt x="824" y="506"/>
                  </a:lnTo>
                  <a:lnTo>
                    <a:pt x="826" y="506"/>
                  </a:lnTo>
                  <a:lnTo>
                    <a:pt x="827" y="506"/>
                  </a:lnTo>
                  <a:lnTo>
                    <a:pt x="828" y="506"/>
                  </a:lnTo>
                  <a:lnTo>
                    <a:pt x="830" y="508"/>
                  </a:lnTo>
                  <a:lnTo>
                    <a:pt x="831" y="510"/>
                  </a:lnTo>
                  <a:lnTo>
                    <a:pt x="831" y="511"/>
                  </a:lnTo>
                  <a:lnTo>
                    <a:pt x="830" y="514"/>
                  </a:lnTo>
                  <a:lnTo>
                    <a:pt x="830" y="517"/>
                  </a:lnTo>
                  <a:lnTo>
                    <a:pt x="830" y="520"/>
                  </a:lnTo>
                  <a:lnTo>
                    <a:pt x="831" y="526"/>
                  </a:lnTo>
                  <a:lnTo>
                    <a:pt x="833" y="527"/>
                  </a:lnTo>
                  <a:lnTo>
                    <a:pt x="834" y="529"/>
                  </a:lnTo>
                  <a:lnTo>
                    <a:pt x="836" y="530"/>
                  </a:lnTo>
                  <a:lnTo>
                    <a:pt x="836" y="530"/>
                  </a:lnTo>
                  <a:lnTo>
                    <a:pt x="837" y="532"/>
                  </a:lnTo>
                  <a:lnTo>
                    <a:pt x="842" y="532"/>
                  </a:lnTo>
                  <a:lnTo>
                    <a:pt x="846" y="530"/>
                  </a:lnTo>
                  <a:lnTo>
                    <a:pt x="849" y="532"/>
                  </a:lnTo>
                  <a:lnTo>
                    <a:pt x="842" y="545"/>
                  </a:lnTo>
                  <a:lnTo>
                    <a:pt x="840" y="546"/>
                  </a:lnTo>
                  <a:lnTo>
                    <a:pt x="837" y="549"/>
                  </a:lnTo>
                  <a:lnTo>
                    <a:pt x="827" y="558"/>
                  </a:lnTo>
                  <a:lnTo>
                    <a:pt x="826" y="558"/>
                  </a:lnTo>
                  <a:lnTo>
                    <a:pt x="817" y="559"/>
                  </a:lnTo>
                  <a:lnTo>
                    <a:pt x="809" y="558"/>
                  </a:lnTo>
                  <a:lnTo>
                    <a:pt x="804" y="558"/>
                  </a:lnTo>
                  <a:lnTo>
                    <a:pt x="802" y="558"/>
                  </a:lnTo>
                  <a:lnTo>
                    <a:pt x="801" y="559"/>
                  </a:lnTo>
                  <a:lnTo>
                    <a:pt x="799" y="562"/>
                  </a:lnTo>
                  <a:lnTo>
                    <a:pt x="792" y="571"/>
                  </a:lnTo>
                  <a:lnTo>
                    <a:pt x="793" y="581"/>
                  </a:lnTo>
                  <a:lnTo>
                    <a:pt x="792" y="586"/>
                  </a:lnTo>
                  <a:lnTo>
                    <a:pt x="791" y="590"/>
                  </a:lnTo>
                  <a:lnTo>
                    <a:pt x="789" y="591"/>
                  </a:lnTo>
                  <a:lnTo>
                    <a:pt x="788" y="593"/>
                  </a:lnTo>
                  <a:lnTo>
                    <a:pt x="785" y="594"/>
                  </a:lnTo>
                  <a:lnTo>
                    <a:pt x="780" y="596"/>
                  </a:lnTo>
                  <a:lnTo>
                    <a:pt x="779" y="596"/>
                  </a:lnTo>
                  <a:lnTo>
                    <a:pt x="777" y="596"/>
                  </a:lnTo>
                  <a:lnTo>
                    <a:pt x="776" y="596"/>
                  </a:lnTo>
                  <a:lnTo>
                    <a:pt x="775" y="594"/>
                  </a:lnTo>
                  <a:lnTo>
                    <a:pt x="773" y="594"/>
                  </a:lnTo>
                  <a:lnTo>
                    <a:pt x="770" y="593"/>
                  </a:lnTo>
                  <a:lnTo>
                    <a:pt x="766" y="594"/>
                  </a:lnTo>
                  <a:lnTo>
                    <a:pt x="757" y="607"/>
                  </a:lnTo>
                  <a:lnTo>
                    <a:pt x="754" y="610"/>
                  </a:lnTo>
                  <a:lnTo>
                    <a:pt x="753" y="610"/>
                  </a:lnTo>
                  <a:lnTo>
                    <a:pt x="751" y="610"/>
                  </a:lnTo>
                  <a:lnTo>
                    <a:pt x="750" y="610"/>
                  </a:lnTo>
                  <a:lnTo>
                    <a:pt x="748" y="609"/>
                  </a:lnTo>
                  <a:lnTo>
                    <a:pt x="747" y="609"/>
                  </a:lnTo>
                  <a:lnTo>
                    <a:pt x="745" y="607"/>
                  </a:lnTo>
                  <a:lnTo>
                    <a:pt x="745" y="607"/>
                  </a:lnTo>
                  <a:lnTo>
                    <a:pt x="744" y="603"/>
                  </a:lnTo>
                  <a:lnTo>
                    <a:pt x="742" y="603"/>
                  </a:lnTo>
                  <a:lnTo>
                    <a:pt x="741" y="602"/>
                  </a:lnTo>
                  <a:lnTo>
                    <a:pt x="738" y="602"/>
                  </a:lnTo>
                  <a:lnTo>
                    <a:pt x="735" y="602"/>
                  </a:lnTo>
                  <a:lnTo>
                    <a:pt x="734" y="602"/>
                  </a:lnTo>
                  <a:lnTo>
                    <a:pt x="732" y="603"/>
                  </a:lnTo>
                  <a:lnTo>
                    <a:pt x="732" y="605"/>
                  </a:lnTo>
                  <a:lnTo>
                    <a:pt x="731" y="606"/>
                  </a:lnTo>
                  <a:lnTo>
                    <a:pt x="731" y="607"/>
                  </a:lnTo>
                  <a:lnTo>
                    <a:pt x="726" y="612"/>
                  </a:lnTo>
                  <a:lnTo>
                    <a:pt x="718" y="619"/>
                  </a:lnTo>
                  <a:lnTo>
                    <a:pt x="715" y="623"/>
                  </a:lnTo>
                  <a:lnTo>
                    <a:pt x="712" y="629"/>
                  </a:lnTo>
                  <a:lnTo>
                    <a:pt x="712" y="632"/>
                  </a:lnTo>
                  <a:lnTo>
                    <a:pt x="712" y="634"/>
                  </a:lnTo>
                  <a:lnTo>
                    <a:pt x="712" y="635"/>
                  </a:lnTo>
                  <a:lnTo>
                    <a:pt x="713" y="637"/>
                  </a:lnTo>
                  <a:lnTo>
                    <a:pt x="718" y="640"/>
                  </a:lnTo>
                  <a:lnTo>
                    <a:pt x="718" y="641"/>
                  </a:lnTo>
                  <a:lnTo>
                    <a:pt x="719" y="642"/>
                  </a:lnTo>
                  <a:lnTo>
                    <a:pt x="719" y="648"/>
                  </a:lnTo>
                  <a:lnTo>
                    <a:pt x="718" y="650"/>
                  </a:lnTo>
                  <a:lnTo>
                    <a:pt x="715" y="653"/>
                  </a:lnTo>
                  <a:lnTo>
                    <a:pt x="715" y="654"/>
                  </a:lnTo>
                  <a:lnTo>
                    <a:pt x="715" y="657"/>
                  </a:lnTo>
                  <a:lnTo>
                    <a:pt x="715" y="658"/>
                  </a:lnTo>
                  <a:lnTo>
                    <a:pt x="713" y="660"/>
                  </a:lnTo>
                  <a:lnTo>
                    <a:pt x="708" y="661"/>
                  </a:lnTo>
                  <a:lnTo>
                    <a:pt x="706" y="663"/>
                  </a:lnTo>
                  <a:lnTo>
                    <a:pt x="705" y="664"/>
                  </a:lnTo>
                  <a:lnTo>
                    <a:pt x="702" y="666"/>
                  </a:lnTo>
                  <a:lnTo>
                    <a:pt x="702" y="667"/>
                  </a:lnTo>
                  <a:lnTo>
                    <a:pt x="702" y="669"/>
                  </a:lnTo>
                  <a:lnTo>
                    <a:pt x="705" y="673"/>
                  </a:lnTo>
                  <a:lnTo>
                    <a:pt x="696" y="677"/>
                  </a:lnTo>
                  <a:lnTo>
                    <a:pt x="693" y="680"/>
                  </a:lnTo>
                  <a:lnTo>
                    <a:pt x="691" y="682"/>
                  </a:lnTo>
                  <a:lnTo>
                    <a:pt x="684" y="683"/>
                  </a:lnTo>
                  <a:lnTo>
                    <a:pt x="681" y="685"/>
                  </a:lnTo>
                  <a:lnTo>
                    <a:pt x="680" y="685"/>
                  </a:lnTo>
                  <a:lnTo>
                    <a:pt x="678" y="686"/>
                  </a:lnTo>
                  <a:lnTo>
                    <a:pt x="677" y="686"/>
                  </a:lnTo>
                  <a:lnTo>
                    <a:pt x="675" y="686"/>
                  </a:lnTo>
                  <a:lnTo>
                    <a:pt x="675" y="685"/>
                  </a:lnTo>
                  <a:lnTo>
                    <a:pt x="675" y="683"/>
                  </a:lnTo>
                  <a:lnTo>
                    <a:pt x="675" y="682"/>
                  </a:lnTo>
                  <a:lnTo>
                    <a:pt x="675" y="682"/>
                  </a:lnTo>
                  <a:lnTo>
                    <a:pt x="674" y="680"/>
                  </a:lnTo>
                  <a:lnTo>
                    <a:pt x="671" y="679"/>
                  </a:lnTo>
                  <a:lnTo>
                    <a:pt x="670" y="677"/>
                  </a:lnTo>
                  <a:lnTo>
                    <a:pt x="668" y="677"/>
                  </a:lnTo>
                  <a:lnTo>
                    <a:pt x="668" y="676"/>
                  </a:lnTo>
                  <a:lnTo>
                    <a:pt x="667" y="676"/>
                  </a:lnTo>
                  <a:lnTo>
                    <a:pt x="667" y="674"/>
                  </a:lnTo>
                  <a:lnTo>
                    <a:pt x="667" y="674"/>
                  </a:lnTo>
                  <a:lnTo>
                    <a:pt x="665" y="674"/>
                  </a:lnTo>
                  <a:lnTo>
                    <a:pt x="662" y="674"/>
                  </a:lnTo>
                  <a:lnTo>
                    <a:pt x="657" y="674"/>
                  </a:lnTo>
                  <a:lnTo>
                    <a:pt x="654" y="676"/>
                  </a:lnTo>
                  <a:lnTo>
                    <a:pt x="654" y="677"/>
                  </a:lnTo>
                  <a:lnTo>
                    <a:pt x="654" y="677"/>
                  </a:lnTo>
                  <a:lnTo>
                    <a:pt x="652" y="679"/>
                  </a:lnTo>
                  <a:lnTo>
                    <a:pt x="646" y="680"/>
                  </a:lnTo>
                  <a:lnTo>
                    <a:pt x="606" y="689"/>
                  </a:lnTo>
                  <a:lnTo>
                    <a:pt x="595" y="685"/>
                  </a:lnTo>
                  <a:lnTo>
                    <a:pt x="591" y="685"/>
                  </a:lnTo>
                  <a:lnTo>
                    <a:pt x="588" y="685"/>
                  </a:lnTo>
                  <a:lnTo>
                    <a:pt x="587" y="685"/>
                  </a:lnTo>
                  <a:lnTo>
                    <a:pt x="585" y="686"/>
                  </a:lnTo>
                  <a:lnTo>
                    <a:pt x="585" y="689"/>
                  </a:lnTo>
                  <a:lnTo>
                    <a:pt x="584" y="690"/>
                  </a:lnTo>
                  <a:lnTo>
                    <a:pt x="582" y="692"/>
                  </a:lnTo>
                  <a:lnTo>
                    <a:pt x="582" y="692"/>
                  </a:lnTo>
                  <a:lnTo>
                    <a:pt x="576" y="692"/>
                  </a:lnTo>
                  <a:lnTo>
                    <a:pt x="575" y="693"/>
                  </a:lnTo>
                  <a:lnTo>
                    <a:pt x="572" y="693"/>
                  </a:lnTo>
                  <a:lnTo>
                    <a:pt x="569" y="692"/>
                  </a:lnTo>
                  <a:lnTo>
                    <a:pt x="565" y="688"/>
                  </a:lnTo>
                  <a:lnTo>
                    <a:pt x="560" y="685"/>
                  </a:lnTo>
                  <a:lnTo>
                    <a:pt x="559" y="683"/>
                  </a:lnTo>
                  <a:lnTo>
                    <a:pt x="557" y="682"/>
                  </a:lnTo>
                  <a:lnTo>
                    <a:pt x="557" y="674"/>
                  </a:lnTo>
                  <a:lnTo>
                    <a:pt x="557" y="670"/>
                  </a:lnTo>
                  <a:lnTo>
                    <a:pt x="556" y="669"/>
                  </a:lnTo>
                  <a:lnTo>
                    <a:pt x="556" y="667"/>
                  </a:lnTo>
                  <a:lnTo>
                    <a:pt x="553" y="666"/>
                  </a:lnTo>
                  <a:lnTo>
                    <a:pt x="552" y="666"/>
                  </a:lnTo>
                  <a:lnTo>
                    <a:pt x="550" y="666"/>
                  </a:lnTo>
                  <a:lnTo>
                    <a:pt x="549" y="667"/>
                  </a:lnTo>
                  <a:lnTo>
                    <a:pt x="547" y="667"/>
                  </a:lnTo>
                  <a:lnTo>
                    <a:pt x="546" y="666"/>
                  </a:lnTo>
                  <a:lnTo>
                    <a:pt x="543" y="663"/>
                  </a:lnTo>
                  <a:lnTo>
                    <a:pt x="540" y="660"/>
                  </a:lnTo>
                  <a:lnTo>
                    <a:pt x="536" y="658"/>
                  </a:lnTo>
                  <a:lnTo>
                    <a:pt x="536" y="656"/>
                  </a:lnTo>
                  <a:lnTo>
                    <a:pt x="536" y="654"/>
                  </a:lnTo>
                  <a:lnTo>
                    <a:pt x="536" y="635"/>
                  </a:lnTo>
                  <a:lnTo>
                    <a:pt x="539" y="634"/>
                  </a:lnTo>
                  <a:lnTo>
                    <a:pt x="541" y="631"/>
                  </a:lnTo>
                  <a:lnTo>
                    <a:pt x="541" y="631"/>
                  </a:lnTo>
                  <a:lnTo>
                    <a:pt x="541" y="629"/>
                  </a:lnTo>
                  <a:lnTo>
                    <a:pt x="541" y="628"/>
                  </a:lnTo>
                  <a:lnTo>
                    <a:pt x="541" y="628"/>
                  </a:lnTo>
                  <a:lnTo>
                    <a:pt x="541" y="626"/>
                  </a:lnTo>
                  <a:lnTo>
                    <a:pt x="539" y="621"/>
                  </a:lnTo>
                  <a:lnTo>
                    <a:pt x="533" y="618"/>
                  </a:lnTo>
                  <a:lnTo>
                    <a:pt x="509" y="618"/>
                  </a:lnTo>
                  <a:lnTo>
                    <a:pt x="506" y="621"/>
                  </a:lnTo>
                  <a:lnTo>
                    <a:pt x="505" y="622"/>
                  </a:lnTo>
                  <a:lnTo>
                    <a:pt x="502" y="623"/>
                  </a:lnTo>
                  <a:lnTo>
                    <a:pt x="501" y="625"/>
                  </a:lnTo>
                  <a:lnTo>
                    <a:pt x="501" y="626"/>
                  </a:lnTo>
                  <a:lnTo>
                    <a:pt x="501" y="628"/>
                  </a:lnTo>
                  <a:lnTo>
                    <a:pt x="501" y="628"/>
                  </a:lnTo>
                  <a:lnTo>
                    <a:pt x="501" y="629"/>
                  </a:lnTo>
                  <a:lnTo>
                    <a:pt x="501" y="629"/>
                  </a:lnTo>
                  <a:lnTo>
                    <a:pt x="499" y="631"/>
                  </a:lnTo>
                  <a:lnTo>
                    <a:pt x="492" y="637"/>
                  </a:lnTo>
                  <a:lnTo>
                    <a:pt x="486" y="638"/>
                  </a:lnTo>
                  <a:lnTo>
                    <a:pt x="476" y="642"/>
                  </a:lnTo>
                  <a:lnTo>
                    <a:pt x="477" y="648"/>
                  </a:lnTo>
                  <a:lnTo>
                    <a:pt x="479" y="651"/>
                  </a:lnTo>
                  <a:lnTo>
                    <a:pt x="479" y="653"/>
                  </a:lnTo>
                  <a:lnTo>
                    <a:pt x="479" y="653"/>
                  </a:lnTo>
                  <a:lnTo>
                    <a:pt x="477" y="656"/>
                  </a:lnTo>
                  <a:lnTo>
                    <a:pt x="479" y="657"/>
                  </a:lnTo>
                  <a:lnTo>
                    <a:pt x="479" y="660"/>
                  </a:lnTo>
                  <a:lnTo>
                    <a:pt x="480" y="661"/>
                  </a:lnTo>
                  <a:lnTo>
                    <a:pt x="480" y="663"/>
                  </a:lnTo>
                  <a:lnTo>
                    <a:pt x="480" y="666"/>
                  </a:lnTo>
                  <a:lnTo>
                    <a:pt x="480" y="667"/>
                  </a:lnTo>
                  <a:lnTo>
                    <a:pt x="480" y="669"/>
                  </a:lnTo>
                  <a:lnTo>
                    <a:pt x="480" y="677"/>
                  </a:lnTo>
                  <a:lnTo>
                    <a:pt x="480" y="680"/>
                  </a:lnTo>
                  <a:lnTo>
                    <a:pt x="480" y="682"/>
                  </a:lnTo>
                  <a:lnTo>
                    <a:pt x="482" y="683"/>
                  </a:lnTo>
                  <a:lnTo>
                    <a:pt x="482" y="685"/>
                  </a:lnTo>
                  <a:lnTo>
                    <a:pt x="482" y="688"/>
                  </a:lnTo>
                  <a:lnTo>
                    <a:pt x="482" y="689"/>
                  </a:lnTo>
                  <a:lnTo>
                    <a:pt x="482" y="690"/>
                  </a:lnTo>
                  <a:lnTo>
                    <a:pt x="485" y="693"/>
                  </a:lnTo>
                  <a:lnTo>
                    <a:pt x="486" y="695"/>
                  </a:lnTo>
                  <a:lnTo>
                    <a:pt x="486" y="696"/>
                  </a:lnTo>
                  <a:lnTo>
                    <a:pt x="486" y="698"/>
                  </a:lnTo>
                  <a:lnTo>
                    <a:pt x="486" y="699"/>
                  </a:lnTo>
                  <a:lnTo>
                    <a:pt x="486" y="701"/>
                  </a:lnTo>
                  <a:lnTo>
                    <a:pt x="486" y="702"/>
                  </a:lnTo>
                  <a:lnTo>
                    <a:pt x="488" y="704"/>
                  </a:lnTo>
                  <a:lnTo>
                    <a:pt x="488" y="705"/>
                  </a:lnTo>
                  <a:lnTo>
                    <a:pt x="486" y="706"/>
                  </a:lnTo>
                  <a:lnTo>
                    <a:pt x="483" y="706"/>
                  </a:lnTo>
                  <a:lnTo>
                    <a:pt x="483" y="708"/>
                  </a:lnTo>
                  <a:lnTo>
                    <a:pt x="483" y="708"/>
                  </a:lnTo>
                  <a:lnTo>
                    <a:pt x="483" y="711"/>
                  </a:lnTo>
                  <a:lnTo>
                    <a:pt x="483" y="712"/>
                  </a:lnTo>
                  <a:lnTo>
                    <a:pt x="483" y="714"/>
                  </a:lnTo>
                  <a:lnTo>
                    <a:pt x="483" y="715"/>
                  </a:lnTo>
                  <a:lnTo>
                    <a:pt x="480" y="723"/>
                  </a:lnTo>
                  <a:lnTo>
                    <a:pt x="480" y="725"/>
                  </a:lnTo>
                  <a:lnTo>
                    <a:pt x="480" y="727"/>
                  </a:lnTo>
                  <a:lnTo>
                    <a:pt x="482" y="730"/>
                  </a:lnTo>
                  <a:lnTo>
                    <a:pt x="482" y="731"/>
                  </a:lnTo>
                  <a:lnTo>
                    <a:pt x="482" y="733"/>
                  </a:lnTo>
                  <a:lnTo>
                    <a:pt x="482" y="736"/>
                  </a:lnTo>
                  <a:lnTo>
                    <a:pt x="479" y="739"/>
                  </a:lnTo>
                  <a:lnTo>
                    <a:pt x="479" y="741"/>
                  </a:lnTo>
                  <a:lnTo>
                    <a:pt x="479" y="743"/>
                  </a:lnTo>
                  <a:lnTo>
                    <a:pt x="479" y="746"/>
                  </a:lnTo>
                  <a:lnTo>
                    <a:pt x="479" y="747"/>
                  </a:lnTo>
                  <a:lnTo>
                    <a:pt x="479" y="749"/>
                  </a:lnTo>
                  <a:lnTo>
                    <a:pt x="479" y="750"/>
                  </a:lnTo>
                  <a:lnTo>
                    <a:pt x="477" y="750"/>
                  </a:lnTo>
                  <a:lnTo>
                    <a:pt x="474" y="750"/>
                  </a:lnTo>
                  <a:lnTo>
                    <a:pt x="467" y="749"/>
                  </a:lnTo>
                  <a:lnTo>
                    <a:pt x="464" y="747"/>
                  </a:lnTo>
                  <a:lnTo>
                    <a:pt x="461" y="744"/>
                  </a:lnTo>
                  <a:lnTo>
                    <a:pt x="460" y="744"/>
                  </a:lnTo>
                  <a:lnTo>
                    <a:pt x="457" y="752"/>
                  </a:lnTo>
                  <a:lnTo>
                    <a:pt x="439" y="736"/>
                  </a:lnTo>
                  <a:lnTo>
                    <a:pt x="437" y="731"/>
                  </a:lnTo>
                  <a:lnTo>
                    <a:pt x="444" y="724"/>
                  </a:lnTo>
                  <a:lnTo>
                    <a:pt x="444" y="723"/>
                  </a:lnTo>
                  <a:lnTo>
                    <a:pt x="444" y="721"/>
                  </a:lnTo>
                  <a:lnTo>
                    <a:pt x="444" y="720"/>
                  </a:lnTo>
                  <a:lnTo>
                    <a:pt x="444" y="720"/>
                  </a:lnTo>
                  <a:lnTo>
                    <a:pt x="442" y="718"/>
                  </a:lnTo>
                  <a:lnTo>
                    <a:pt x="442" y="715"/>
                  </a:lnTo>
                  <a:lnTo>
                    <a:pt x="439" y="714"/>
                  </a:lnTo>
                  <a:lnTo>
                    <a:pt x="438" y="708"/>
                  </a:lnTo>
                  <a:lnTo>
                    <a:pt x="437" y="708"/>
                  </a:lnTo>
                  <a:lnTo>
                    <a:pt x="435" y="708"/>
                  </a:lnTo>
                  <a:lnTo>
                    <a:pt x="434" y="708"/>
                  </a:lnTo>
                  <a:lnTo>
                    <a:pt x="432" y="706"/>
                  </a:lnTo>
                  <a:lnTo>
                    <a:pt x="431" y="705"/>
                  </a:lnTo>
                  <a:lnTo>
                    <a:pt x="429" y="702"/>
                  </a:lnTo>
                  <a:lnTo>
                    <a:pt x="429" y="701"/>
                  </a:lnTo>
                  <a:lnTo>
                    <a:pt x="428" y="701"/>
                  </a:lnTo>
                  <a:lnTo>
                    <a:pt x="423" y="702"/>
                  </a:lnTo>
                  <a:lnTo>
                    <a:pt x="422" y="704"/>
                  </a:lnTo>
                  <a:lnTo>
                    <a:pt x="421" y="705"/>
                  </a:lnTo>
                  <a:lnTo>
                    <a:pt x="421" y="705"/>
                  </a:lnTo>
                  <a:lnTo>
                    <a:pt x="419" y="706"/>
                  </a:lnTo>
                  <a:lnTo>
                    <a:pt x="418" y="706"/>
                  </a:lnTo>
                  <a:lnTo>
                    <a:pt x="413" y="708"/>
                  </a:lnTo>
                  <a:lnTo>
                    <a:pt x="412" y="708"/>
                  </a:lnTo>
                  <a:lnTo>
                    <a:pt x="407" y="711"/>
                  </a:lnTo>
                  <a:lnTo>
                    <a:pt x="406" y="709"/>
                  </a:lnTo>
                  <a:lnTo>
                    <a:pt x="404" y="709"/>
                  </a:lnTo>
                  <a:lnTo>
                    <a:pt x="403" y="706"/>
                  </a:lnTo>
                  <a:lnTo>
                    <a:pt x="400" y="704"/>
                  </a:lnTo>
                  <a:lnTo>
                    <a:pt x="399" y="704"/>
                  </a:lnTo>
                  <a:lnTo>
                    <a:pt x="388" y="702"/>
                  </a:lnTo>
                  <a:lnTo>
                    <a:pt x="388" y="702"/>
                  </a:lnTo>
                  <a:lnTo>
                    <a:pt x="387" y="702"/>
                  </a:lnTo>
                  <a:lnTo>
                    <a:pt x="387" y="706"/>
                  </a:lnTo>
                  <a:lnTo>
                    <a:pt x="387" y="706"/>
                  </a:lnTo>
                  <a:lnTo>
                    <a:pt x="386" y="708"/>
                  </a:lnTo>
                  <a:lnTo>
                    <a:pt x="386" y="709"/>
                  </a:lnTo>
                  <a:lnTo>
                    <a:pt x="383" y="708"/>
                  </a:lnTo>
                  <a:lnTo>
                    <a:pt x="381" y="706"/>
                  </a:lnTo>
                  <a:lnTo>
                    <a:pt x="370" y="689"/>
                  </a:lnTo>
                  <a:lnTo>
                    <a:pt x="367" y="688"/>
                  </a:lnTo>
                  <a:lnTo>
                    <a:pt x="365" y="689"/>
                  </a:lnTo>
                  <a:lnTo>
                    <a:pt x="355" y="692"/>
                  </a:lnTo>
                  <a:lnTo>
                    <a:pt x="355" y="692"/>
                  </a:lnTo>
                  <a:lnTo>
                    <a:pt x="354" y="692"/>
                  </a:lnTo>
                  <a:lnTo>
                    <a:pt x="352" y="690"/>
                  </a:lnTo>
                  <a:lnTo>
                    <a:pt x="352" y="690"/>
                  </a:lnTo>
                  <a:lnTo>
                    <a:pt x="351" y="689"/>
                  </a:lnTo>
                  <a:lnTo>
                    <a:pt x="351" y="688"/>
                  </a:lnTo>
                  <a:lnTo>
                    <a:pt x="349" y="688"/>
                  </a:lnTo>
                  <a:lnTo>
                    <a:pt x="349" y="686"/>
                  </a:lnTo>
                  <a:lnTo>
                    <a:pt x="348" y="685"/>
                  </a:lnTo>
                  <a:lnTo>
                    <a:pt x="348" y="685"/>
                  </a:lnTo>
                  <a:lnTo>
                    <a:pt x="346" y="685"/>
                  </a:lnTo>
                  <a:lnTo>
                    <a:pt x="345" y="685"/>
                  </a:lnTo>
                  <a:lnTo>
                    <a:pt x="343" y="686"/>
                  </a:lnTo>
                  <a:lnTo>
                    <a:pt x="340" y="688"/>
                  </a:lnTo>
                  <a:lnTo>
                    <a:pt x="335" y="686"/>
                  </a:lnTo>
                  <a:lnTo>
                    <a:pt x="333" y="686"/>
                  </a:lnTo>
                  <a:lnTo>
                    <a:pt x="332" y="688"/>
                  </a:lnTo>
                  <a:lnTo>
                    <a:pt x="327" y="690"/>
                  </a:lnTo>
                  <a:lnTo>
                    <a:pt x="326" y="690"/>
                  </a:lnTo>
                  <a:lnTo>
                    <a:pt x="323" y="692"/>
                  </a:lnTo>
                  <a:lnTo>
                    <a:pt x="323" y="692"/>
                  </a:lnTo>
                  <a:lnTo>
                    <a:pt x="321" y="690"/>
                  </a:lnTo>
                  <a:lnTo>
                    <a:pt x="319" y="689"/>
                  </a:lnTo>
                  <a:lnTo>
                    <a:pt x="317" y="689"/>
                  </a:lnTo>
                  <a:lnTo>
                    <a:pt x="316" y="689"/>
                  </a:lnTo>
                  <a:lnTo>
                    <a:pt x="314" y="690"/>
                  </a:lnTo>
                  <a:lnTo>
                    <a:pt x="313" y="692"/>
                  </a:lnTo>
                  <a:lnTo>
                    <a:pt x="308" y="701"/>
                  </a:lnTo>
                  <a:lnTo>
                    <a:pt x="307" y="702"/>
                  </a:lnTo>
                  <a:lnTo>
                    <a:pt x="307" y="704"/>
                  </a:lnTo>
                  <a:lnTo>
                    <a:pt x="305" y="705"/>
                  </a:lnTo>
                  <a:lnTo>
                    <a:pt x="304" y="705"/>
                  </a:lnTo>
                  <a:lnTo>
                    <a:pt x="303" y="705"/>
                  </a:lnTo>
                  <a:lnTo>
                    <a:pt x="303" y="705"/>
                  </a:lnTo>
                  <a:lnTo>
                    <a:pt x="298" y="704"/>
                  </a:lnTo>
                  <a:lnTo>
                    <a:pt x="295" y="704"/>
                  </a:lnTo>
                  <a:lnTo>
                    <a:pt x="294" y="704"/>
                  </a:lnTo>
                  <a:lnTo>
                    <a:pt x="292" y="705"/>
                  </a:lnTo>
                  <a:lnTo>
                    <a:pt x="291" y="708"/>
                  </a:lnTo>
                  <a:lnTo>
                    <a:pt x="291" y="721"/>
                  </a:lnTo>
                  <a:lnTo>
                    <a:pt x="291" y="724"/>
                  </a:lnTo>
                  <a:lnTo>
                    <a:pt x="292" y="727"/>
                  </a:lnTo>
                  <a:lnTo>
                    <a:pt x="294" y="727"/>
                  </a:lnTo>
                  <a:lnTo>
                    <a:pt x="295" y="728"/>
                  </a:lnTo>
                  <a:lnTo>
                    <a:pt x="298" y="730"/>
                  </a:lnTo>
                  <a:lnTo>
                    <a:pt x="303" y="733"/>
                  </a:lnTo>
                  <a:lnTo>
                    <a:pt x="303" y="734"/>
                  </a:lnTo>
                  <a:lnTo>
                    <a:pt x="307" y="739"/>
                  </a:lnTo>
                  <a:lnTo>
                    <a:pt x="308" y="739"/>
                  </a:lnTo>
                  <a:lnTo>
                    <a:pt x="310" y="740"/>
                  </a:lnTo>
                  <a:lnTo>
                    <a:pt x="311" y="740"/>
                  </a:lnTo>
                  <a:lnTo>
                    <a:pt x="313" y="741"/>
                  </a:lnTo>
                  <a:lnTo>
                    <a:pt x="319" y="740"/>
                  </a:lnTo>
                  <a:lnTo>
                    <a:pt x="320" y="740"/>
                  </a:lnTo>
                  <a:lnTo>
                    <a:pt x="321" y="741"/>
                  </a:lnTo>
                  <a:lnTo>
                    <a:pt x="321" y="743"/>
                  </a:lnTo>
                  <a:lnTo>
                    <a:pt x="323" y="746"/>
                  </a:lnTo>
                  <a:lnTo>
                    <a:pt x="323" y="746"/>
                  </a:lnTo>
                  <a:lnTo>
                    <a:pt x="323" y="747"/>
                  </a:lnTo>
                  <a:lnTo>
                    <a:pt x="324" y="749"/>
                  </a:lnTo>
                  <a:lnTo>
                    <a:pt x="326" y="749"/>
                  </a:lnTo>
                  <a:lnTo>
                    <a:pt x="327" y="750"/>
                  </a:lnTo>
                  <a:lnTo>
                    <a:pt x="333" y="752"/>
                  </a:lnTo>
                  <a:lnTo>
                    <a:pt x="335" y="752"/>
                  </a:lnTo>
                  <a:lnTo>
                    <a:pt x="335" y="753"/>
                  </a:lnTo>
                  <a:lnTo>
                    <a:pt x="336" y="755"/>
                  </a:lnTo>
                  <a:lnTo>
                    <a:pt x="336" y="757"/>
                  </a:lnTo>
                  <a:lnTo>
                    <a:pt x="336" y="759"/>
                  </a:lnTo>
                  <a:lnTo>
                    <a:pt x="336" y="760"/>
                  </a:lnTo>
                  <a:lnTo>
                    <a:pt x="336" y="763"/>
                  </a:lnTo>
                  <a:lnTo>
                    <a:pt x="336" y="765"/>
                  </a:lnTo>
                  <a:lnTo>
                    <a:pt x="335" y="766"/>
                  </a:lnTo>
                  <a:lnTo>
                    <a:pt x="335" y="768"/>
                  </a:lnTo>
                  <a:lnTo>
                    <a:pt x="333" y="768"/>
                  </a:lnTo>
                  <a:lnTo>
                    <a:pt x="330" y="768"/>
                  </a:lnTo>
                  <a:lnTo>
                    <a:pt x="326" y="768"/>
                  </a:lnTo>
                  <a:lnTo>
                    <a:pt x="321" y="765"/>
                  </a:lnTo>
                  <a:lnTo>
                    <a:pt x="320" y="765"/>
                  </a:lnTo>
                  <a:lnTo>
                    <a:pt x="308" y="766"/>
                  </a:lnTo>
                  <a:lnTo>
                    <a:pt x="305" y="766"/>
                  </a:lnTo>
                  <a:lnTo>
                    <a:pt x="304" y="766"/>
                  </a:lnTo>
                  <a:lnTo>
                    <a:pt x="303" y="765"/>
                  </a:lnTo>
                  <a:lnTo>
                    <a:pt x="301" y="765"/>
                  </a:lnTo>
                  <a:lnTo>
                    <a:pt x="300" y="765"/>
                  </a:lnTo>
                  <a:lnTo>
                    <a:pt x="298" y="765"/>
                  </a:lnTo>
                  <a:lnTo>
                    <a:pt x="297" y="768"/>
                  </a:lnTo>
                  <a:lnTo>
                    <a:pt x="295" y="779"/>
                  </a:lnTo>
                  <a:lnTo>
                    <a:pt x="295" y="784"/>
                  </a:lnTo>
                  <a:lnTo>
                    <a:pt x="295" y="785"/>
                  </a:lnTo>
                  <a:lnTo>
                    <a:pt x="294" y="787"/>
                  </a:lnTo>
                  <a:lnTo>
                    <a:pt x="292" y="787"/>
                  </a:lnTo>
                  <a:lnTo>
                    <a:pt x="289" y="785"/>
                  </a:lnTo>
                  <a:lnTo>
                    <a:pt x="285" y="782"/>
                  </a:lnTo>
                  <a:lnTo>
                    <a:pt x="281" y="779"/>
                  </a:lnTo>
                  <a:lnTo>
                    <a:pt x="272" y="776"/>
                  </a:lnTo>
                  <a:lnTo>
                    <a:pt x="256" y="776"/>
                  </a:lnTo>
                  <a:lnTo>
                    <a:pt x="254" y="773"/>
                  </a:lnTo>
                  <a:lnTo>
                    <a:pt x="252" y="771"/>
                  </a:lnTo>
                  <a:lnTo>
                    <a:pt x="252" y="769"/>
                  </a:lnTo>
                  <a:lnTo>
                    <a:pt x="252" y="768"/>
                  </a:lnTo>
                  <a:lnTo>
                    <a:pt x="253" y="766"/>
                  </a:lnTo>
                  <a:lnTo>
                    <a:pt x="253" y="765"/>
                  </a:lnTo>
                  <a:lnTo>
                    <a:pt x="253" y="763"/>
                  </a:lnTo>
                  <a:lnTo>
                    <a:pt x="250" y="757"/>
                  </a:lnTo>
                  <a:lnTo>
                    <a:pt x="249" y="753"/>
                  </a:lnTo>
                  <a:lnTo>
                    <a:pt x="249" y="752"/>
                  </a:lnTo>
                  <a:lnTo>
                    <a:pt x="249" y="749"/>
                  </a:lnTo>
                  <a:lnTo>
                    <a:pt x="250" y="747"/>
                  </a:lnTo>
                  <a:lnTo>
                    <a:pt x="250" y="744"/>
                  </a:lnTo>
                  <a:lnTo>
                    <a:pt x="250" y="743"/>
                  </a:lnTo>
                  <a:lnTo>
                    <a:pt x="250" y="740"/>
                  </a:lnTo>
                  <a:lnTo>
                    <a:pt x="250" y="737"/>
                  </a:lnTo>
                  <a:lnTo>
                    <a:pt x="249" y="730"/>
                  </a:lnTo>
                  <a:lnTo>
                    <a:pt x="249" y="727"/>
                  </a:lnTo>
                  <a:lnTo>
                    <a:pt x="249" y="724"/>
                  </a:lnTo>
                  <a:lnTo>
                    <a:pt x="247" y="723"/>
                  </a:lnTo>
                  <a:lnTo>
                    <a:pt x="247" y="721"/>
                  </a:lnTo>
                  <a:lnTo>
                    <a:pt x="241" y="718"/>
                  </a:lnTo>
                  <a:lnTo>
                    <a:pt x="238" y="714"/>
                  </a:lnTo>
                  <a:lnTo>
                    <a:pt x="234" y="704"/>
                  </a:lnTo>
                  <a:lnTo>
                    <a:pt x="228" y="705"/>
                  </a:lnTo>
                  <a:lnTo>
                    <a:pt x="225" y="706"/>
                  </a:lnTo>
                  <a:lnTo>
                    <a:pt x="225" y="708"/>
                  </a:lnTo>
                  <a:lnTo>
                    <a:pt x="224" y="708"/>
                  </a:lnTo>
                  <a:lnTo>
                    <a:pt x="221" y="708"/>
                  </a:lnTo>
                  <a:lnTo>
                    <a:pt x="215" y="706"/>
                  </a:lnTo>
                  <a:lnTo>
                    <a:pt x="215" y="706"/>
                  </a:lnTo>
                  <a:lnTo>
                    <a:pt x="214" y="705"/>
                  </a:lnTo>
                  <a:lnTo>
                    <a:pt x="215" y="704"/>
                  </a:lnTo>
                  <a:lnTo>
                    <a:pt x="214" y="702"/>
                  </a:lnTo>
                  <a:lnTo>
                    <a:pt x="214" y="701"/>
                  </a:lnTo>
                  <a:lnTo>
                    <a:pt x="203" y="692"/>
                  </a:lnTo>
                  <a:lnTo>
                    <a:pt x="202" y="690"/>
                  </a:lnTo>
                  <a:lnTo>
                    <a:pt x="201" y="689"/>
                  </a:lnTo>
                  <a:lnTo>
                    <a:pt x="201" y="686"/>
                  </a:lnTo>
                  <a:lnTo>
                    <a:pt x="199" y="685"/>
                  </a:lnTo>
                  <a:lnTo>
                    <a:pt x="199" y="683"/>
                  </a:lnTo>
                  <a:lnTo>
                    <a:pt x="198" y="682"/>
                  </a:lnTo>
                  <a:lnTo>
                    <a:pt x="196" y="683"/>
                  </a:lnTo>
                  <a:lnTo>
                    <a:pt x="193" y="685"/>
                  </a:lnTo>
                  <a:lnTo>
                    <a:pt x="190" y="685"/>
                  </a:lnTo>
                  <a:lnTo>
                    <a:pt x="183" y="685"/>
                  </a:lnTo>
                  <a:lnTo>
                    <a:pt x="182" y="683"/>
                  </a:lnTo>
                  <a:lnTo>
                    <a:pt x="180" y="682"/>
                  </a:lnTo>
                  <a:lnTo>
                    <a:pt x="179" y="679"/>
                  </a:lnTo>
                  <a:lnTo>
                    <a:pt x="179" y="677"/>
                  </a:lnTo>
                  <a:lnTo>
                    <a:pt x="179" y="676"/>
                  </a:lnTo>
                  <a:lnTo>
                    <a:pt x="180" y="673"/>
                  </a:lnTo>
                  <a:lnTo>
                    <a:pt x="182" y="673"/>
                  </a:lnTo>
                  <a:lnTo>
                    <a:pt x="182" y="672"/>
                  </a:lnTo>
                  <a:lnTo>
                    <a:pt x="182" y="669"/>
                  </a:lnTo>
                  <a:lnTo>
                    <a:pt x="171" y="661"/>
                  </a:lnTo>
                  <a:lnTo>
                    <a:pt x="170" y="660"/>
                  </a:lnTo>
                  <a:lnTo>
                    <a:pt x="168" y="658"/>
                  </a:lnTo>
                  <a:lnTo>
                    <a:pt x="167" y="656"/>
                  </a:lnTo>
                  <a:lnTo>
                    <a:pt x="166" y="654"/>
                  </a:lnTo>
                  <a:lnTo>
                    <a:pt x="161" y="650"/>
                  </a:lnTo>
                  <a:lnTo>
                    <a:pt x="160" y="648"/>
                  </a:lnTo>
                  <a:lnTo>
                    <a:pt x="160" y="647"/>
                  </a:lnTo>
                  <a:lnTo>
                    <a:pt x="160" y="645"/>
                  </a:lnTo>
                  <a:lnTo>
                    <a:pt x="160" y="642"/>
                  </a:lnTo>
                  <a:lnTo>
                    <a:pt x="160" y="641"/>
                  </a:lnTo>
                  <a:lnTo>
                    <a:pt x="160" y="640"/>
                  </a:lnTo>
                  <a:lnTo>
                    <a:pt x="158" y="637"/>
                  </a:lnTo>
                  <a:lnTo>
                    <a:pt x="158" y="635"/>
                  </a:lnTo>
                  <a:lnTo>
                    <a:pt x="155" y="634"/>
                  </a:lnTo>
                  <a:lnTo>
                    <a:pt x="152" y="632"/>
                  </a:lnTo>
                  <a:lnTo>
                    <a:pt x="125" y="622"/>
                  </a:lnTo>
                  <a:lnTo>
                    <a:pt x="122" y="621"/>
                  </a:lnTo>
                  <a:lnTo>
                    <a:pt x="122" y="619"/>
                  </a:lnTo>
                  <a:lnTo>
                    <a:pt x="120" y="616"/>
                  </a:lnTo>
                  <a:lnTo>
                    <a:pt x="119" y="612"/>
                  </a:lnTo>
                  <a:lnTo>
                    <a:pt x="119" y="609"/>
                  </a:lnTo>
                  <a:lnTo>
                    <a:pt x="118" y="607"/>
                  </a:lnTo>
                  <a:lnTo>
                    <a:pt x="116" y="606"/>
                  </a:lnTo>
                  <a:lnTo>
                    <a:pt x="115" y="605"/>
                  </a:lnTo>
                  <a:lnTo>
                    <a:pt x="113" y="603"/>
                  </a:lnTo>
                  <a:lnTo>
                    <a:pt x="113" y="602"/>
                  </a:lnTo>
                  <a:lnTo>
                    <a:pt x="110" y="602"/>
                  </a:lnTo>
                  <a:lnTo>
                    <a:pt x="107" y="600"/>
                  </a:lnTo>
                  <a:lnTo>
                    <a:pt x="90" y="602"/>
                  </a:lnTo>
                  <a:lnTo>
                    <a:pt x="88" y="602"/>
                  </a:lnTo>
                  <a:lnTo>
                    <a:pt x="87" y="602"/>
                  </a:lnTo>
                  <a:lnTo>
                    <a:pt x="87" y="600"/>
                  </a:lnTo>
                  <a:lnTo>
                    <a:pt x="87" y="599"/>
                  </a:lnTo>
                  <a:lnTo>
                    <a:pt x="87" y="597"/>
                  </a:lnTo>
                  <a:lnTo>
                    <a:pt x="87" y="596"/>
                  </a:lnTo>
                  <a:lnTo>
                    <a:pt x="87" y="594"/>
                  </a:lnTo>
                  <a:lnTo>
                    <a:pt x="85" y="593"/>
                  </a:lnTo>
                  <a:lnTo>
                    <a:pt x="80" y="597"/>
                  </a:lnTo>
                  <a:lnTo>
                    <a:pt x="61" y="618"/>
                  </a:lnTo>
                  <a:lnTo>
                    <a:pt x="59" y="618"/>
                  </a:lnTo>
                  <a:lnTo>
                    <a:pt x="58" y="616"/>
                  </a:lnTo>
                  <a:lnTo>
                    <a:pt x="58" y="615"/>
                  </a:lnTo>
                  <a:lnTo>
                    <a:pt x="58" y="613"/>
                  </a:lnTo>
                  <a:lnTo>
                    <a:pt x="59" y="610"/>
                  </a:lnTo>
                  <a:lnTo>
                    <a:pt x="62" y="600"/>
                  </a:lnTo>
                  <a:lnTo>
                    <a:pt x="62" y="597"/>
                  </a:lnTo>
                  <a:lnTo>
                    <a:pt x="59" y="591"/>
                  </a:lnTo>
                  <a:lnTo>
                    <a:pt x="59" y="590"/>
                  </a:lnTo>
                  <a:lnTo>
                    <a:pt x="59" y="589"/>
                  </a:lnTo>
                  <a:lnTo>
                    <a:pt x="59" y="587"/>
                  </a:lnTo>
                  <a:lnTo>
                    <a:pt x="59" y="586"/>
                  </a:lnTo>
                  <a:lnTo>
                    <a:pt x="59" y="575"/>
                  </a:lnTo>
                  <a:lnTo>
                    <a:pt x="59" y="574"/>
                  </a:lnTo>
                  <a:lnTo>
                    <a:pt x="59" y="573"/>
                  </a:lnTo>
                  <a:lnTo>
                    <a:pt x="58" y="571"/>
                  </a:lnTo>
                  <a:lnTo>
                    <a:pt x="58" y="570"/>
                  </a:lnTo>
                  <a:lnTo>
                    <a:pt x="59" y="568"/>
                  </a:lnTo>
                  <a:lnTo>
                    <a:pt x="62" y="564"/>
                  </a:lnTo>
                  <a:lnTo>
                    <a:pt x="65" y="562"/>
                  </a:lnTo>
                  <a:lnTo>
                    <a:pt x="67" y="562"/>
                  </a:lnTo>
                  <a:lnTo>
                    <a:pt x="68" y="564"/>
                  </a:lnTo>
                  <a:lnTo>
                    <a:pt x="68" y="562"/>
                  </a:lnTo>
                  <a:lnTo>
                    <a:pt x="68" y="561"/>
                  </a:lnTo>
                  <a:lnTo>
                    <a:pt x="68" y="548"/>
                  </a:lnTo>
                  <a:lnTo>
                    <a:pt x="64" y="539"/>
                  </a:lnTo>
                  <a:lnTo>
                    <a:pt x="64" y="538"/>
                  </a:lnTo>
                  <a:lnTo>
                    <a:pt x="62" y="536"/>
                  </a:lnTo>
                  <a:lnTo>
                    <a:pt x="61" y="535"/>
                  </a:lnTo>
                  <a:lnTo>
                    <a:pt x="56" y="533"/>
                  </a:lnTo>
                  <a:lnTo>
                    <a:pt x="50" y="533"/>
                  </a:lnTo>
                  <a:lnTo>
                    <a:pt x="45" y="532"/>
                  </a:lnTo>
                  <a:lnTo>
                    <a:pt x="43" y="530"/>
                  </a:lnTo>
                  <a:lnTo>
                    <a:pt x="42" y="532"/>
                  </a:lnTo>
                  <a:lnTo>
                    <a:pt x="39" y="532"/>
                  </a:lnTo>
                  <a:lnTo>
                    <a:pt x="34" y="535"/>
                  </a:lnTo>
                  <a:lnTo>
                    <a:pt x="32" y="536"/>
                  </a:lnTo>
                  <a:lnTo>
                    <a:pt x="26" y="538"/>
                  </a:lnTo>
                  <a:lnTo>
                    <a:pt x="26" y="539"/>
                  </a:lnTo>
                  <a:lnTo>
                    <a:pt x="24" y="539"/>
                  </a:lnTo>
                  <a:lnTo>
                    <a:pt x="24" y="541"/>
                  </a:lnTo>
                  <a:lnTo>
                    <a:pt x="24" y="542"/>
                  </a:lnTo>
                  <a:lnTo>
                    <a:pt x="24" y="543"/>
                  </a:lnTo>
                  <a:lnTo>
                    <a:pt x="24" y="545"/>
                  </a:lnTo>
                  <a:lnTo>
                    <a:pt x="27" y="549"/>
                  </a:lnTo>
                  <a:lnTo>
                    <a:pt x="29" y="551"/>
                  </a:lnTo>
                  <a:lnTo>
                    <a:pt x="29" y="551"/>
                  </a:lnTo>
                  <a:lnTo>
                    <a:pt x="27" y="554"/>
                  </a:lnTo>
                  <a:lnTo>
                    <a:pt x="26" y="557"/>
                  </a:lnTo>
                  <a:lnTo>
                    <a:pt x="26" y="558"/>
                  </a:lnTo>
                  <a:lnTo>
                    <a:pt x="24" y="558"/>
                  </a:lnTo>
                  <a:lnTo>
                    <a:pt x="23" y="558"/>
                  </a:lnTo>
                  <a:lnTo>
                    <a:pt x="18" y="558"/>
                  </a:lnTo>
                  <a:lnTo>
                    <a:pt x="17" y="557"/>
                  </a:lnTo>
                  <a:lnTo>
                    <a:pt x="11" y="552"/>
                  </a:lnTo>
                  <a:lnTo>
                    <a:pt x="10" y="552"/>
                  </a:lnTo>
                  <a:lnTo>
                    <a:pt x="8" y="552"/>
                  </a:lnTo>
                  <a:lnTo>
                    <a:pt x="7" y="554"/>
                  </a:lnTo>
                  <a:lnTo>
                    <a:pt x="5" y="554"/>
                  </a:lnTo>
                  <a:lnTo>
                    <a:pt x="2" y="555"/>
                  </a:lnTo>
                  <a:lnTo>
                    <a:pt x="1" y="554"/>
                  </a:lnTo>
                  <a:lnTo>
                    <a:pt x="0" y="552"/>
                  </a:lnTo>
                  <a:lnTo>
                    <a:pt x="0" y="549"/>
                  </a:lnTo>
                  <a:lnTo>
                    <a:pt x="0" y="545"/>
                  </a:lnTo>
                  <a:lnTo>
                    <a:pt x="0" y="542"/>
                  </a:lnTo>
                  <a:lnTo>
                    <a:pt x="0" y="539"/>
                  </a:lnTo>
                  <a:lnTo>
                    <a:pt x="1" y="536"/>
                  </a:lnTo>
                  <a:lnTo>
                    <a:pt x="4" y="532"/>
                  </a:lnTo>
                  <a:lnTo>
                    <a:pt x="5" y="529"/>
                  </a:lnTo>
                  <a:lnTo>
                    <a:pt x="7" y="527"/>
                  </a:lnTo>
                  <a:lnTo>
                    <a:pt x="8" y="527"/>
                  </a:lnTo>
                  <a:lnTo>
                    <a:pt x="8" y="526"/>
                  </a:lnTo>
                  <a:lnTo>
                    <a:pt x="10" y="526"/>
                  </a:lnTo>
                  <a:lnTo>
                    <a:pt x="13" y="522"/>
                  </a:lnTo>
                  <a:lnTo>
                    <a:pt x="13" y="520"/>
                  </a:lnTo>
                  <a:lnTo>
                    <a:pt x="11" y="519"/>
                  </a:lnTo>
                  <a:lnTo>
                    <a:pt x="11" y="516"/>
                  </a:lnTo>
                  <a:lnTo>
                    <a:pt x="13" y="511"/>
                  </a:lnTo>
                  <a:lnTo>
                    <a:pt x="18" y="503"/>
                  </a:lnTo>
                  <a:lnTo>
                    <a:pt x="18" y="500"/>
                  </a:lnTo>
                  <a:lnTo>
                    <a:pt x="20" y="498"/>
                  </a:lnTo>
                  <a:lnTo>
                    <a:pt x="20" y="495"/>
                  </a:lnTo>
                  <a:lnTo>
                    <a:pt x="20" y="491"/>
                  </a:lnTo>
                  <a:lnTo>
                    <a:pt x="20" y="491"/>
                  </a:lnTo>
                  <a:lnTo>
                    <a:pt x="18" y="488"/>
                  </a:lnTo>
                  <a:lnTo>
                    <a:pt x="14" y="484"/>
                  </a:lnTo>
                  <a:lnTo>
                    <a:pt x="17" y="478"/>
                  </a:lnTo>
                  <a:lnTo>
                    <a:pt x="18" y="478"/>
                  </a:lnTo>
                  <a:lnTo>
                    <a:pt x="20" y="476"/>
                  </a:lnTo>
                  <a:lnTo>
                    <a:pt x="21" y="476"/>
                  </a:lnTo>
                  <a:lnTo>
                    <a:pt x="21" y="476"/>
                  </a:lnTo>
                  <a:lnTo>
                    <a:pt x="23" y="478"/>
                  </a:lnTo>
                  <a:lnTo>
                    <a:pt x="23" y="478"/>
                  </a:lnTo>
                  <a:lnTo>
                    <a:pt x="23" y="476"/>
                  </a:lnTo>
                  <a:lnTo>
                    <a:pt x="23" y="474"/>
                  </a:lnTo>
                  <a:lnTo>
                    <a:pt x="23" y="472"/>
                  </a:lnTo>
                  <a:lnTo>
                    <a:pt x="23" y="469"/>
                  </a:lnTo>
                  <a:lnTo>
                    <a:pt x="21" y="468"/>
                  </a:lnTo>
                  <a:lnTo>
                    <a:pt x="21" y="465"/>
                  </a:lnTo>
                  <a:lnTo>
                    <a:pt x="23" y="463"/>
                  </a:lnTo>
                  <a:lnTo>
                    <a:pt x="23" y="462"/>
                  </a:lnTo>
                  <a:lnTo>
                    <a:pt x="24" y="458"/>
                  </a:lnTo>
                  <a:lnTo>
                    <a:pt x="24" y="456"/>
                  </a:lnTo>
                  <a:lnTo>
                    <a:pt x="24" y="455"/>
                  </a:lnTo>
                  <a:lnTo>
                    <a:pt x="26" y="453"/>
                  </a:lnTo>
                  <a:lnTo>
                    <a:pt x="27" y="452"/>
                  </a:lnTo>
                  <a:lnTo>
                    <a:pt x="33" y="450"/>
                  </a:lnTo>
                  <a:lnTo>
                    <a:pt x="39" y="449"/>
                  </a:lnTo>
                  <a:lnTo>
                    <a:pt x="42" y="449"/>
                  </a:lnTo>
                  <a:lnTo>
                    <a:pt x="45" y="447"/>
                  </a:lnTo>
                  <a:lnTo>
                    <a:pt x="46" y="446"/>
                  </a:lnTo>
                  <a:lnTo>
                    <a:pt x="49" y="446"/>
                  </a:lnTo>
                  <a:lnTo>
                    <a:pt x="50" y="446"/>
                  </a:lnTo>
                  <a:lnTo>
                    <a:pt x="50" y="443"/>
                  </a:lnTo>
                  <a:lnTo>
                    <a:pt x="52" y="437"/>
                  </a:lnTo>
                  <a:lnTo>
                    <a:pt x="50" y="434"/>
                  </a:lnTo>
                  <a:lnTo>
                    <a:pt x="50" y="431"/>
                  </a:lnTo>
                  <a:lnTo>
                    <a:pt x="52" y="430"/>
                  </a:lnTo>
                  <a:lnTo>
                    <a:pt x="62" y="418"/>
                  </a:lnTo>
                  <a:lnTo>
                    <a:pt x="59" y="415"/>
                  </a:lnTo>
                  <a:lnTo>
                    <a:pt x="58" y="412"/>
                  </a:lnTo>
                  <a:lnTo>
                    <a:pt x="56" y="408"/>
                  </a:lnTo>
                  <a:lnTo>
                    <a:pt x="55" y="405"/>
                  </a:lnTo>
                  <a:lnTo>
                    <a:pt x="53" y="404"/>
                  </a:lnTo>
                  <a:lnTo>
                    <a:pt x="49" y="401"/>
                  </a:lnTo>
                  <a:lnTo>
                    <a:pt x="46" y="398"/>
                  </a:lnTo>
                  <a:lnTo>
                    <a:pt x="45" y="398"/>
                  </a:lnTo>
                  <a:lnTo>
                    <a:pt x="45" y="396"/>
                  </a:lnTo>
                  <a:lnTo>
                    <a:pt x="43" y="396"/>
                  </a:lnTo>
                  <a:lnTo>
                    <a:pt x="42" y="398"/>
                  </a:lnTo>
                  <a:lnTo>
                    <a:pt x="42" y="398"/>
                  </a:lnTo>
                  <a:lnTo>
                    <a:pt x="40" y="398"/>
                  </a:lnTo>
                  <a:lnTo>
                    <a:pt x="39" y="399"/>
                  </a:lnTo>
                  <a:lnTo>
                    <a:pt x="39" y="399"/>
                  </a:lnTo>
                  <a:lnTo>
                    <a:pt x="37" y="401"/>
                  </a:lnTo>
                  <a:lnTo>
                    <a:pt x="37" y="402"/>
                  </a:lnTo>
                  <a:lnTo>
                    <a:pt x="36" y="404"/>
                  </a:lnTo>
                  <a:lnTo>
                    <a:pt x="36" y="405"/>
                  </a:lnTo>
                  <a:lnTo>
                    <a:pt x="34" y="405"/>
                  </a:lnTo>
                  <a:lnTo>
                    <a:pt x="33" y="405"/>
                  </a:lnTo>
                  <a:lnTo>
                    <a:pt x="32" y="404"/>
                  </a:lnTo>
                  <a:lnTo>
                    <a:pt x="32" y="401"/>
                  </a:lnTo>
                  <a:lnTo>
                    <a:pt x="32" y="395"/>
                  </a:lnTo>
                  <a:lnTo>
                    <a:pt x="32" y="392"/>
                  </a:lnTo>
                  <a:lnTo>
                    <a:pt x="30" y="392"/>
                  </a:lnTo>
                  <a:lnTo>
                    <a:pt x="29" y="393"/>
                  </a:lnTo>
                  <a:lnTo>
                    <a:pt x="29" y="395"/>
                  </a:lnTo>
                  <a:lnTo>
                    <a:pt x="27" y="395"/>
                  </a:lnTo>
                  <a:lnTo>
                    <a:pt x="26" y="393"/>
                  </a:lnTo>
                  <a:lnTo>
                    <a:pt x="26" y="392"/>
                  </a:lnTo>
                  <a:lnTo>
                    <a:pt x="26" y="389"/>
                  </a:lnTo>
                  <a:lnTo>
                    <a:pt x="26" y="388"/>
                  </a:lnTo>
                  <a:lnTo>
                    <a:pt x="27" y="386"/>
                  </a:lnTo>
                  <a:lnTo>
                    <a:pt x="29" y="385"/>
                  </a:lnTo>
                  <a:lnTo>
                    <a:pt x="32" y="385"/>
                  </a:lnTo>
                  <a:lnTo>
                    <a:pt x="32" y="385"/>
                  </a:lnTo>
                  <a:lnTo>
                    <a:pt x="33" y="386"/>
                  </a:lnTo>
                  <a:lnTo>
                    <a:pt x="33" y="386"/>
                  </a:lnTo>
                  <a:lnTo>
                    <a:pt x="34" y="388"/>
                  </a:lnTo>
                  <a:lnTo>
                    <a:pt x="46" y="388"/>
                  </a:lnTo>
                  <a:lnTo>
                    <a:pt x="50" y="388"/>
                  </a:lnTo>
                  <a:lnTo>
                    <a:pt x="56" y="386"/>
                  </a:lnTo>
                  <a:lnTo>
                    <a:pt x="58" y="385"/>
                  </a:lnTo>
                  <a:lnTo>
                    <a:pt x="58" y="382"/>
                  </a:lnTo>
                  <a:lnTo>
                    <a:pt x="58" y="375"/>
                  </a:lnTo>
                  <a:lnTo>
                    <a:pt x="55" y="372"/>
                  </a:lnTo>
                  <a:lnTo>
                    <a:pt x="53" y="369"/>
                  </a:lnTo>
                  <a:lnTo>
                    <a:pt x="52" y="367"/>
                  </a:lnTo>
                  <a:lnTo>
                    <a:pt x="52" y="367"/>
                  </a:lnTo>
                  <a:lnTo>
                    <a:pt x="50" y="363"/>
                  </a:lnTo>
                  <a:lnTo>
                    <a:pt x="50" y="356"/>
                  </a:lnTo>
                  <a:lnTo>
                    <a:pt x="59" y="350"/>
                  </a:lnTo>
                  <a:lnTo>
                    <a:pt x="64" y="348"/>
                  </a:lnTo>
                  <a:lnTo>
                    <a:pt x="74" y="348"/>
                  </a:lnTo>
                  <a:lnTo>
                    <a:pt x="78" y="350"/>
                  </a:lnTo>
                  <a:lnTo>
                    <a:pt x="80" y="350"/>
                  </a:lnTo>
                  <a:lnTo>
                    <a:pt x="83" y="348"/>
                  </a:lnTo>
                  <a:lnTo>
                    <a:pt x="84" y="348"/>
                  </a:lnTo>
                  <a:lnTo>
                    <a:pt x="85" y="350"/>
                  </a:lnTo>
                  <a:lnTo>
                    <a:pt x="85" y="350"/>
                  </a:lnTo>
                  <a:lnTo>
                    <a:pt x="84" y="353"/>
                  </a:lnTo>
                  <a:lnTo>
                    <a:pt x="84" y="354"/>
                  </a:lnTo>
                  <a:lnTo>
                    <a:pt x="84" y="354"/>
                  </a:lnTo>
                  <a:lnTo>
                    <a:pt x="85" y="354"/>
                  </a:lnTo>
                  <a:lnTo>
                    <a:pt x="87" y="356"/>
                  </a:lnTo>
                  <a:lnTo>
                    <a:pt x="88" y="357"/>
                  </a:lnTo>
                  <a:lnTo>
                    <a:pt x="90" y="357"/>
                  </a:lnTo>
                  <a:lnTo>
                    <a:pt x="91" y="357"/>
                  </a:lnTo>
                  <a:lnTo>
                    <a:pt x="100" y="356"/>
                  </a:lnTo>
                  <a:lnTo>
                    <a:pt x="107" y="356"/>
                  </a:lnTo>
                  <a:lnTo>
                    <a:pt x="109" y="356"/>
                  </a:lnTo>
                  <a:lnTo>
                    <a:pt x="110" y="354"/>
                  </a:lnTo>
                  <a:lnTo>
                    <a:pt x="115" y="342"/>
                  </a:lnTo>
                  <a:lnTo>
                    <a:pt x="115" y="340"/>
                  </a:lnTo>
                  <a:lnTo>
                    <a:pt x="115" y="338"/>
                  </a:lnTo>
                  <a:lnTo>
                    <a:pt x="113" y="337"/>
                  </a:lnTo>
                  <a:lnTo>
                    <a:pt x="112" y="332"/>
                  </a:lnTo>
                  <a:lnTo>
                    <a:pt x="110" y="329"/>
                  </a:lnTo>
                  <a:lnTo>
                    <a:pt x="109" y="329"/>
                  </a:lnTo>
                  <a:lnTo>
                    <a:pt x="107" y="328"/>
                  </a:lnTo>
                  <a:lnTo>
                    <a:pt x="103" y="328"/>
                  </a:lnTo>
                  <a:lnTo>
                    <a:pt x="101" y="328"/>
                  </a:lnTo>
                  <a:lnTo>
                    <a:pt x="100" y="326"/>
                  </a:lnTo>
                  <a:lnTo>
                    <a:pt x="99" y="325"/>
                  </a:lnTo>
                  <a:lnTo>
                    <a:pt x="97" y="325"/>
                  </a:lnTo>
                  <a:lnTo>
                    <a:pt x="96" y="324"/>
                  </a:lnTo>
                  <a:lnTo>
                    <a:pt x="93" y="324"/>
                  </a:lnTo>
                  <a:lnTo>
                    <a:pt x="91" y="324"/>
                  </a:lnTo>
                  <a:lnTo>
                    <a:pt x="91" y="321"/>
                  </a:lnTo>
                  <a:lnTo>
                    <a:pt x="91" y="318"/>
                  </a:lnTo>
                  <a:lnTo>
                    <a:pt x="93" y="313"/>
                  </a:lnTo>
                  <a:lnTo>
                    <a:pt x="93" y="309"/>
                  </a:lnTo>
                  <a:lnTo>
                    <a:pt x="94" y="305"/>
                  </a:lnTo>
                  <a:lnTo>
                    <a:pt x="100" y="297"/>
                  </a:lnTo>
                  <a:lnTo>
                    <a:pt x="100" y="293"/>
                  </a:lnTo>
                  <a:lnTo>
                    <a:pt x="101" y="290"/>
                  </a:lnTo>
                  <a:lnTo>
                    <a:pt x="100" y="289"/>
                  </a:lnTo>
                  <a:lnTo>
                    <a:pt x="93" y="287"/>
                  </a:lnTo>
                  <a:lnTo>
                    <a:pt x="91" y="287"/>
                  </a:lnTo>
                  <a:lnTo>
                    <a:pt x="91" y="287"/>
                  </a:lnTo>
                  <a:lnTo>
                    <a:pt x="90" y="286"/>
                  </a:lnTo>
                  <a:lnTo>
                    <a:pt x="90" y="284"/>
                  </a:lnTo>
                  <a:lnTo>
                    <a:pt x="90" y="283"/>
                  </a:lnTo>
                  <a:lnTo>
                    <a:pt x="88" y="281"/>
                  </a:lnTo>
                  <a:lnTo>
                    <a:pt x="88" y="280"/>
                  </a:lnTo>
                  <a:lnTo>
                    <a:pt x="87" y="280"/>
                  </a:lnTo>
                  <a:lnTo>
                    <a:pt x="85" y="278"/>
                  </a:lnTo>
                  <a:lnTo>
                    <a:pt x="87" y="277"/>
                  </a:lnTo>
                  <a:lnTo>
                    <a:pt x="88" y="276"/>
                  </a:lnTo>
                  <a:lnTo>
                    <a:pt x="97" y="274"/>
                  </a:lnTo>
                  <a:lnTo>
                    <a:pt x="100" y="274"/>
                  </a:lnTo>
                  <a:lnTo>
                    <a:pt x="103" y="274"/>
                  </a:lnTo>
                  <a:lnTo>
                    <a:pt x="104" y="276"/>
                  </a:lnTo>
                  <a:lnTo>
                    <a:pt x="106" y="278"/>
                  </a:lnTo>
                  <a:lnTo>
                    <a:pt x="107" y="280"/>
                  </a:lnTo>
                  <a:lnTo>
                    <a:pt x="107" y="281"/>
                  </a:lnTo>
                  <a:lnTo>
                    <a:pt x="106" y="283"/>
                  </a:lnTo>
                  <a:lnTo>
                    <a:pt x="106" y="283"/>
                  </a:lnTo>
                  <a:lnTo>
                    <a:pt x="106" y="284"/>
                  </a:lnTo>
                  <a:lnTo>
                    <a:pt x="109" y="286"/>
                  </a:lnTo>
                  <a:lnTo>
                    <a:pt x="109" y="286"/>
                  </a:lnTo>
                  <a:lnTo>
                    <a:pt x="110" y="289"/>
                  </a:lnTo>
                  <a:lnTo>
                    <a:pt x="110" y="290"/>
                  </a:lnTo>
                  <a:lnTo>
                    <a:pt x="112" y="290"/>
                  </a:lnTo>
                  <a:lnTo>
                    <a:pt x="113" y="287"/>
                  </a:lnTo>
                  <a:lnTo>
                    <a:pt x="115" y="276"/>
                  </a:lnTo>
                  <a:lnTo>
                    <a:pt x="115" y="273"/>
                  </a:lnTo>
                  <a:lnTo>
                    <a:pt x="115" y="270"/>
                  </a:lnTo>
                  <a:lnTo>
                    <a:pt x="116" y="265"/>
                  </a:lnTo>
                  <a:lnTo>
                    <a:pt x="122" y="258"/>
                  </a:lnTo>
                  <a:lnTo>
                    <a:pt x="123" y="255"/>
                  </a:lnTo>
                  <a:lnTo>
                    <a:pt x="123" y="255"/>
                  </a:lnTo>
                  <a:lnTo>
                    <a:pt x="123" y="254"/>
                  </a:lnTo>
                  <a:lnTo>
                    <a:pt x="122" y="252"/>
                  </a:lnTo>
                  <a:lnTo>
                    <a:pt x="118" y="251"/>
                  </a:lnTo>
                  <a:lnTo>
                    <a:pt x="110" y="246"/>
                  </a:lnTo>
                  <a:lnTo>
                    <a:pt x="107" y="243"/>
                  </a:lnTo>
                  <a:lnTo>
                    <a:pt x="101" y="241"/>
                  </a:lnTo>
                  <a:lnTo>
                    <a:pt x="99" y="239"/>
                  </a:lnTo>
                  <a:lnTo>
                    <a:pt x="96" y="239"/>
                  </a:lnTo>
                  <a:lnTo>
                    <a:pt x="94" y="239"/>
                  </a:lnTo>
                  <a:lnTo>
                    <a:pt x="91" y="239"/>
                  </a:lnTo>
                  <a:lnTo>
                    <a:pt x="88" y="236"/>
                  </a:lnTo>
                  <a:lnTo>
                    <a:pt x="87" y="236"/>
                  </a:lnTo>
                  <a:lnTo>
                    <a:pt x="83" y="235"/>
                  </a:lnTo>
                  <a:lnTo>
                    <a:pt x="81" y="235"/>
                  </a:lnTo>
                  <a:lnTo>
                    <a:pt x="78" y="233"/>
                  </a:lnTo>
                  <a:lnTo>
                    <a:pt x="77" y="233"/>
                  </a:lnTo>
                  <a:lnTo>
                    <a:pt x="75" y="233"/>
                  </a:lnTo>
                  <a:lnTo>
                    <a:pt x="74" y="232"/>
                  </a:lnTo>
                  <a:lnTo>
                    <a:pt x="72" y="230"/>
                  </a:lnTo>
                  <a:lnTo>
                    <a:pt x="71" y="230"/>
                  </a:lnTo>
                  <a:lnTo>
                    <a:pt x="69" y="229"/>
                  </a:lnTo>
                  <a:lnTo>
                    <a:pt x="68" y="227"/>
                  </a:lnTo>
                  <a:lnTo>
                    <a:pt x="67" y="222"/>
                  </a:lnTo>
                  <a:lnTo>
                    <a:pt x="67" y="219"/>
                  </a:lnTo>
                  <a:lnTo>
                    <a:pt x="61" y="214"/>
                  </a:lnTo>
                  <a:lnTo>
                    <a:pt x="59" y="213"/>
                  </a:lnTo>
                  <a:lnTo>
                    <a:pt x="59" y="211"/>
                  </a:lnTo>
                  <a:lnTo>
                    <a:pt x="59" y="209"/>
                  </a:lnTo>
                  <a:lnTo>
                    <a:pt x="61" y="204"/>
                  </a:lnTo>
                  <a:lnTo>
                    <a:pt x="61" y="203"/>
                  </a:lnTo>
                  <a:lnTo>
                    <a:pt x="59" y="201"/>
                  </a:lnTo>
                  <a:lnTo>
                    <a:pt x="56" y="200"/>
                  </a:lnTo>
                  <a:lnTo>
                    <a:pt x="50" y="198"/>
                  </a:lnTo>
                  <a:lnTo>
                    <a:pt x="43" y="195"/>
                  </a:lnTo>
                  <a:lnTo>
                    <a:pt x="42" y="195"/>
                  </a:lnTo>
                  <a:lnTo>
                    <a:pt x="39" y="195"/>
                  </a:lnTo>
                  <a:lnTo>
                    <a:pt x="36" y="195"/>
                  </a:lnTo>
                  <a:lnTo>
                    <a:pt x="34" y="194"/>
                  </a:lnTo>
                  <a:lnTo>
                    <a:pt x="33" y="193"/>
                  </a:lnTo>
                  <a:lnTo>
                    <a:pt x="30" y="188"/>
                  </a:lnTo>
                  <a:lnTo>
                    <a:pt x="27" y="187"/>
                  </a:lnTo>
                  <a:lnTo>
                    <a:pt x="26" y="185"/>
                  </a:lnTo>
                  <a:lnTo>
                    <a:pt x="24" y="187"/>
                  </a:lnTo>
                  <a:lnTo>
                    <a:pt x="24" y="185"/>
                  </a:lnTo>
                  <a:lnTo>
                    <a:pt x="23" y="184"/>
                  </a:lnTo>
                  <a:lnTo>
                    <a:pt x="23" y="178"/>
                  </a:lnTo>
                  <a:lnTo>
                    <a:pt x="23" y="174"/>
                  </a:lnTo>
                  <a:lnTo>
                    <a:pt x="21" y="171"/>
                  </a:lnTo>
                  <a:lnTo>
                    <a:pt x="20" y="169"/>
                  </a:lnTo>
                  <a:lnTo>
                    <a:pt x="18" y="168"/>
                  </a:lnTo>
                  <a:lnTo>
                    <a:pt x="17" y="166"/>
                  </a:lnTo>
                  <a:lnTo>
                    <a:pt x="17" y="165"/>
                  </a:lnTo>
                  <a:lnTo>
                    <a:pt x="17" y="160"/>
                  </a:lnTo>
                  <a:lnTo>
                    <a:pt x="17" y="159"/>
                  </a:lnTo>
                  <a:lnTo>
                    <a:pt x="16" y="159"/>
                  </a:lnTo>
                  <a:lnTo>
                    <a:pt x="16" y="156"/>
                  </a:lnTo>
                  <a:lnTo>
                    <a:pt x="16" y="155"/>
                  </a:lnTo>
                  <a:lnTo>
                    <a:pt x="17" y="150"/>
                  </a:lnTo>
                  <a:lnTo>
                    <a:pt x="18" y="149"/>
                  </a:lnTo>
                  <a:lnTo>
                    <a:pt x="24" y="143"/>
                  </a:lnTo>
                  <a:lnTo>
                    <a:pt x="42" y="128"/>
                  </a:lnTo>
                  <a:lnTo>
                    <a:pt x="46" y="123"/>
                  </a:lnTo>
                  <a:lnTo>
                    <a:pt x="48" y="121"/>
                  </a:lnTo>
                  <a:lnTo>
                    <a:pt x="53" y="120"/>
                  </a:lnTo>
                  <a:lnTo>
                    <a:pt x="55" y="117"/>
                  </a:lnTo>
                  <a:lnTo>
                    <a:pt x="56" y="115"/>
                  </a:lnTo>
                  <a:lnTo>
                    <a:pt x="56" y="114"/>
                  </a:lnTo>
                  <a:lnTo>
                    <a:pt x="58" y="115"/>
                  </a:lnTo>
                  <a:lnTo>
                    <a:pt x="65" y="121"/>
                  </a:lnTo>
                  <a:lnTo>
                    <a:pt x="67" y="121"/>
                  </a:lnTo>
                  <a:lnTo>
                    <a:pt x="68" y="121"/>
                  </a:lnTo>
                  <a:lnTo>
                    <a:pt x="69" y="118"/>
                  </a:lnTo>
                  <a:lnTo>
                    <a:pt x="71" y="115"/>
                  </a:lnTo>
                  <a:lnTo>
                    <a:pt x="77" y="114"/>
                  </a:lnTo>
                  <a:lnTo>
                    <a:pt x="94" y="115"/>
                  </a:lnTo>
                  <a:lnTo>
                    <a:pt x="93" y="112"/>
                  </a:lnTo>
                  <a:lnTo>
                    <a:pt x="93" y="111"/>
                  </a:lnTo>
                  <a:lnTo>
                    <a:pt x="93" y="110"/>
                  </a:lnTo>
                  <a:lnTo>
                    <a:pt x="94" y="108"/>
                  </a:lnTo>
                  <a:lnTo>
                    <a:pt x="99" y="108"/>
                  </a:lnTo>
                  <a:lnTo>
                    <a:pt x="100" y="107"/>
                  </a:lnTo>
                  <a:lnTo>
                    <a:pt x="101" y="105"/>
                  </a:lnTo>
                  <a:lnTo>
                    <a:pt x="104" y="101"/>
                  </a:lnTo>
                  <a:lnTo>
                    <a:pt x="106" y="98"/>
                  </a:lnTo>
                  <a:lnTo>
                    <a:pt x="106" y="98"/>
                  </a:lnTo>
                  <a:lnTo>
                    <a:pt x="104" y="96"/>
                  </a:lnTo>
                  <a:lnTo>
                    <a:pt x="104" y="96"/>
                  </a:lnTo>
                  <a:lnTo>
                    <a:pt x="104" y="95"/>
                  </a:lnTo>
                  <a:lnTo>
                    <a:pt x="104" y="94"/>
                  </a:lnTo>
                  <a:lnTo>
                    <a:pt x="104" y="92"/>
                  </a:lnTo>
                  <a:lnTo>
                    <a:pt x="106" y="92"/>
                  </a:lnTo>
                  <a:lnTo>
                    <a:pt x="107" y="91"/>
                  </a:lnTo>
                  <a:lnTo>
                    <a:pt x="107" y="89"/>
                  </a:lnTo>
                  <a:lnTo>
                    <a:pt x="110" y="88"/>
                  </a:lnTo>
                  <a:lnTo>
                    <a:pt x="113" y="88"/>
                  </a:lnTo>
                  <a:lnTo>
                    <a:pt x="115" y="88"/>
                  </a:lnTo>
                  <a:lnTo>
                    <a:pt x="116" y="89"/>
                  </a:lnTo>
                  <a:lnTo>
                    <a:pt x="116" y="89"/>
                  </a:lnTo>
                  <a:lnTo>
                    <a:pt x="116" y="91"/>
                  </a:lnTo>
                  <a:lnTo>
                    <a:pt x="116" y="92"/>
                  </a:lnTo>
                  <a:lnTo>
                    <a:pt x="118" y="92"/>
                  </a:lnTo>
                  <a:lnTo>
                    <a:pt x="118" y="94"/>
                  </a:lnTo>
                  <a:lnTo>
                    <a:pt x="119" y="94"/>
                  </a:lnTo>
                  <a:lnTo>
                    <a:pt x="123" y="94"/>
                  </a:lnTo>
                  <a:lnTo>
                    <a:pt x="125" y="92"/>
                  </a:lnTo>
                  <a:lnTo>
                    <a:pt x="141" y="83"/>
                  </a:lnTo>
                  <a:lnTo>
                    <a:pt x="142" y="82"/>
                  </a:lnTo>
                  <a:lnTo>
                    <a:pt x="144" y="82"/>
                  </a:lnTo>
                  <a:lnTo>
                    <a:pt x="144" y="80"/>
                  </a:lnTo>
                  <a:lnTo>
                    <a:pt x="145" y="78"/>
                  </a:lnTo>
                  <a:lnTo>
                    <a:pt x="145" y="75"/>
                  </a:lnTo>
                  <a:lnTo>
                    <a:pt x="147" y="73"/>
                  </a:lnTo>
                  <a:lnTo>
                    <a:pt x="148" y="72"/>
                  </a:lnTo>
                  <a:lnTo>
                    <a:pt x="154" y="67"/>
                  </a:lnTo>
                  <a:lnTo>
                    <a:pt x="158" y="66"/>
                  </a:lnTo>
                  <a:lnTo>
                    <a:pt x="158" y="64"/>
                  </a:lnTo>
                  <a:lnTo>
                    <a:pt x="160" y="64"/>
                  </a:lnTo>
                  <a:lnTo>
                    <a:pt x="160" y="63"/>
                  </a:lnTo>
                  <a:lnTo>
                    <a:pt x="161" y="61"/>
                  </a:lnTo>
                  <a:lnTo>
                    <a:pt x="167" y="57"/>
                  </a:lnTo>
                  <a:lnTo>
                    <a:pt x="168" y="53"/>
                  </a:lnTo>
                  <a:lnTo>
                    <a:pt x="173" y="43"/>
                  </a:lnTo>
                  <a:lnTo>
                    <a:pt x="173" y="40"/>
                  </a:lnTo>
                  <a:lnTo>
                    <a:pt x="174" y="37"/>
                  </a:lnTo>
                  <a:lnTo>
                    <a:pt x="174" y="35"/>
                  </a:lnTo>
                  <a:lnTo>
                    <a:pt x="174" y="34"/>
                  </a:lnTo>
                  <a:lnTo>
                    <a:pt x="173" y="34"/>
                  </a:lnTo>
                  <a:lnTo>
                    <a:pt x="173" y="32"/>
                  </a:lnTo>
                  <a:lnTo>
                    <a:pt x="171" y="31"/>
                  </a:lnTo>
                  <a:lnTo>
                    <a:pt x="171" y="31"/>
                  </a:lnTo>
                  <a:lnTo>
                    <a:pt x="171" y="29"/>
                  </a:lnTo>
                  <a:lnTo>
                    <a:pt x="173" y="29"/>
                  </a:lnTo>
                  <a:lnTo>
                    <a:pt x="173" y="28"/>
                  </a:lnTo>
                  <a:lnTo>
                    <a:pt x="176" y="28"/>
                  </a:lnTo>
                  <a:lnTo>
                    <a:pt x="182" y="28"/>
                  </a:lnTo>
                  <a:lnTo>
                    <a:pt x="186" y="27"/>
                  </a:lnTo>
                  <a:lnTo>
                    <a:pt x="189" y="25"/>
                  </a:lnTo>
                  <a:lnTo>
                    <a:pt x="192" y="27"/>
                  </a:lnTo>
                  <a:lnTo>
                    <a:pt x="208" y="35"/>
                  </a:lnTo>
                  <a:lnTo>
                    <a:pt x="221" y="45"/>
                  </a:lnTo>
                  <a:lnTo>
                    <a:pt x="225" y="45"/>
                  </a:lnTo>
                  <a:lnTo>
                    <a:pt x="236" y="45"/>
                  </a:lnTo>
                  <a:lnTo>
                    <a:pt x="237" y="45"/>
                  </a:lnTo>
                  <a:lnTo>
                    <a:pt x="254" y="37"/>
                  </a:lnTo>
                  <a:lnTo>
                    <a:pt x="257" y="35"/>
                  </a:lnTo>
                  <a:lnTo>
                    <a:pt x="259" y="37"/>
                  </a:lnTo>
                  <a:lnTo>
                    <a:pt x="263" y="41"/>
                  </a:lnTo>
                  <a:lnTo>
                    <a:pt x="265" y="43"/>
                  </a:lnTo>
                  <a:lnTo>
                    <a:pt x="266" y="43"/>
                  </a:lnTo>
                  <a:lnTo>
                    <a:pt x="268" y="43"/>
                  </a:lnTo>
                  <a:lnTo>
                    <a:pt x="269" y="40"/>
                  </a:lnTo>
                  <a:lnTo>
                    <a:pt x="270" y="35"/>
                  </a:lnTo>
                  <a:lnTo>
                    <a:pt x="269" y="34"/>
                  </a:lnTo>
                  <a:lnTo>
                    <a:pt x="269" y="32"/>
                  </a:lnTo>
                  <a:lnTo>
                    <a:pt x="268" y="31"/>
                  </a:lnTo>
                  <a:lnTo>
                    <a:pt x="265" y="28"/>
                  </a:lnTo>
                  <a:lnTo>
                    <a:pt x="263" y="24"/>
                  </a:lnTo>
                  <a:lnTo>
                    <a:pt x="262" y="22"/>
                  </a:lnTo>
                  <a:lnTo>
                    <a:pt x="260" y="21"/>
                  </a:lnTo>
                  <a:lnTo>
                    <a:pt x="260" y="19"/>
                  </a:lnTo>
                  <a:lnTo>
                    <a:pt x="262" y="18"/>
                  </a:lnTo>
                  <a:lnTo>
                    <a:pt x="268" y="11"/>
                  </a:lnTo>
                  <a:lnTo>
                    <a:pt x="285" y="0"/>
                  </a:lnTo>
                  <a:lnTo>
                    <a:pt x="289" y="3"/>
                  </a:lnTo>
                  <a:lnTo>
                    <a:pt x="321" y="3"/>
                  </a:lnTo>
                  <a:lnTo>
                    <a:pt x="324" y="3"/>
                  </a:lnTo>
                  <a:lnTo>
                    <a:pt x="327" y="5"/>
                  </a:lnTo>
                  <a:lnTo>
                    <a:pt x="335" y="11"/>
                  </a:lnTo>
                  <a:lnTo>
                    <a:pt x="337" y="11"/>
                  </a:lnTo>
                  <a:lnTo>
                    <a:pt x="339" y="12"/>
                  </a:lnTo>
                  <a:lnTo>
                    <a:pt x="348" y="12"/>
                  </a:lnTo>
                  <a:lnTo>
                    <a:pt x="352" y="16"/>
                  </a:lnTo>
                  <a:lnTo>
                    <a:pt x="364" y="21"/>
                  </a:lnTo>
                  <a:lnTo>
                    <a:pt x="368" y="21"/>
                  </a:lnTo>
                  <a:lnTo>
                    <a:pt x="370" y="22"/>
                  </a:lnTo>
                  <a:lnTo>
                    <a:pt x="371" y="24"/>
                  </a:lnTo>
                  <a:lnTo>
                    <a:pt x="372" y="29"/>
                  </a:lnTo>
                  <a:lnTo>
                    <a:pt x="372" y="32"/>
                  </a:lnTo>
                  <a:lnTo>
                    <a:pt x="372" y="34"/>
                  </a:lnTo>
                  <a:lnTo>
                    <a:pt x="371" y="35"/>
                  </a:lnTo>
                  <a:lnTo>
                    <a:pt x="370" y="37"/>
                  </a:lnTo>
                  <a:lnTo>
                    <a:pt x="368" y="37"/>
                  </a:lnTo>
                  <a:lnTo>
                    <a:pt x="367" y="37"/>
                  </a:lnTo>
                  <a:lnTo>
                    <a:pt x="364" y="35"/>
                  </a:lnTo>
                  <a:lnTo>
                    <a:pt x="364" y="34"/>
                  </a:lnTo>
                  <a:lnTo>
                    <a:pt x="362" y="34"/>
                  </a:lnTo>
                  <a:lnTo>
                    <a:pt x="361" y="35"/>
                  </a:lnTo>
                  <a:lnTo>
                    <a:pt x="359" y="35"/>
                  </a:lnTo>
                  <a:lnTo>
                    <a:pt x="359" y="37"/>
                  </a:lnTo>
                  <a:lnTo>
                    <a:pt x="359" y="41"/>
                  </a:lnTo>
                  <a:lnTo>
                    <a:pt x="361" y="45"/>
                  </a:lnTo>
                  <a:lnTo>
                    <a:pt x="364" y="54"/>
                  </a:lnTo>
                  <a:lnTo>
                    <a:pt x="367" y="59"/>
                  </a:lnTo>
                  <a:lnTo>
                    <a:pt x="368" y="61"/>
                  </a:lnTo>
                  <a:lnTo>
                    <a:pt x="370" y="61"/>
                  </a:lnTo>
                  <a:lnTo>
                    <a:pt x="371" y="63"/>
                  </a:lnTo>
                  <a:lnTo>
                    <a:pt x="371" y="64"/>
                  </a:lnTo>
                  <a:lnTo>
                    <a:pt x="371" y="67"/>
                  </a:lnTo>
                  <a:lnTo>
                    <a:pt x="371" y="76"/>
                  </a:lnTo>
                  <a:lnTo>
                    <a:pt x="371" y="78"/>
                  </a:lnTo>
                  <a:lnTo>
                    <a:pt x="371" y="79"/>
                  </a:lnTo>
                  <a:lnTo>
                    <a:pt x="372" y="80"/>
                  </a:lnTo>
                  <a:lnTo>
                    <a:pt x="375" y="89"/>
                  </a:lnTo>
                  <a:lnTo>
                    <a:pt x="380" y="94"/>
                  </a:lnTo>
                  <a:lnTo>
                    <a:pt x="380" y="95"/>
                  </a:lnTo>
                  <a:lnTo>
                    <a:pt x="380" y="98"/>
                  </a:lnTo>
                  <a:lnTo>
                    <a:pt x="378" y="108"/>
                  </a:lnTo>
                  <a:lnTo>
                    <a:pt x="377" y="112"/>
                  </a:lnTo>
                  <a:lnTo>
                    <a:pt x="377" y="117"/>
                  </a:lnTo>
                  <a:lnTo>
                    <a:pt x="380" y="123"/>
                  </a:lnTo>
                  <a:lnTo>
                    <a:pt x="390" y="127"/>
                  </a:lnTo>
                  <a:lnTo>
                    <a:pt x="442" y="134"/>
                  </a:lnTo>
                  <a:lnTo>
                    <a:pt x="458" y="134"/>
                  </a:lnTo>
                  <a:lnTo>
                    <a:pt x="490" y="139"/>
                  </a:lnTo>
                  <a:lnTo>
                    <a:pt x="499" y="142"/>
                  </a:lnTo>
                  <a:lnTo>
                    <a:pt x="517" y="156"/>
                  </a:lnTo>
                  <a:lnTo>
                    <a:pt x="527" y="174"/>
                  </a:lnTo>
                  <a:lnTo>
                    <a:pt x="547" y="204"/>
                  </a:lnTo>
                  <a:lnTo>
                    <a:pt x="544" y="210"/>
                  </a:lnTo>
                  <a:lnTo>
                    <a:pt x="540" y="216"/>
                  </a:lnTo>
                  <a:lnTo>
                    <a:pt x="537" y="219"/>
                  </a:lnTo>
                  <a:lnTo>
                    <a:pt x="528" y="225"/>
                  </a:lnTo>
                  <a:lnTo>
                    <a:pt x="512" y="226"/>
                  </a:lnTo>
                  <a:lnTo>
                    <a:pt x="509" y="227"/>
                  </a:lnTo>
                  <a:lnTo>
                    <a:pt x="508" y="230"/>
                  </a:lnTo>
                  <a:lnTo>
                    <a:pt x="506" y="232"/>
                  </a:lnTo>
                  <a:lnTo>
                    <a:pt x="505" y="235"/>
                  </a:lnTo>
                  <a:lnTo>
                    <a:pt x="506" y="238"/>
                  </a:lnTo>
                  <a:lnTo>
                    <a:pt x="509" y="241"/>
                  </a:lnTo>
                  <a:lnTo>
                    <a:pt x="517" y="246"/>
                  </a:lnTo>
                  <a:lnTo>
                    <a:pt x="524" y="249"/>
                  </a:lnTo>
                  <a:lnTo>
                    <a:pt x="528" y="252"/>
                  </a:lnTo>
                  <a:lnTo>
                    <a:pt x="536" y="265"/>
                  </a:lnTo>
                  <a:lnTo>
                    <a:pt x="537" y="273"/>
                  </a:lnTo>
                  <a:lnTo>
                    <a:pt x="539" y="274"/>
                  </a:lnTo>
                  <a:lnTo>
                    <a:pt x="539" y="277"/>
                  </a:lnTo>
                  <a:lnTo>
                    <a:pt x="539" y="280"/>
                  </a:lnTo>
                  <a:lnTo>
                    <a:pt x="539" y="283"/>
                  </a:lnTo>
                  <a:lnTo>
                    <a:pt x="537" y="284"/>
                  </a:lnTo>
                  <a:lnTo>
                    <a:pt x="537" y="284"/>
                  </a:lnTo>
                  <a:lnTo>
                    <a:pt x="536" y="284"/>
                  </a:lnTo>
                  <a:lnTo>
                    <a:pt x="534" y="286"/>
                  </a:lnTo>
                  <a:lnTo>
                    <a:pt x="534" y="286"/>
                  </a:lnTo>
                  <a:lnTo>
                    <a:pt x="536" y="293"/>
                  </a:lnTo>
                  <a:lnTo>
                    <a:pt x="537" y="296"/>
                  </a:lnTo>
                  <a:lnTo>
                    <a:pt x="537" y="297"/>
                  </a:lnTo>
                  <a:lnTo>
                    <a:pt x="539" y="299"/>
                  </a:lnTo>
                  <a:lnTo>
                    <a:pt x="539" y="300"/>
                  </a:lnTo>
                  <a:lnTo>
                    <a:pt x="540" y="300"/>
                  </a:lnTo>
                  <a:lnTo>
                    <a:pt x="544" y="303"/>
                  </a:lnTo>
                  <a:lnTo>
                    <a:pt x="546" y="303"/>
                  </a:lnTo>
                  <a:lnTo>
                    <a:pt x="565" y="305"/>
                  </a:lnTo>
                  <a:lnTo>
                    <a:pt x="566" y="305"/>
                  </a:lnTo>
                  <a:lnTo>
                    <a:pt x="568" y="303"/>
                  </a:lnTo>
                  <a:lnTo>
                    <a:pt x="569" y="303"/>
                  </a:lnTo>
                  <a:lnTo>
                    <a:pt x="572" y="300"/>
                  </a:lnTo>
                  <a:lnTo>
                    <a:pt x="573" y="299"/>
                  </a:lnTo>
                  <a:lnTo>
                    <a:pt x="575" y="299"/>
                  </a:lnTo>
                  <a:lnTo>
                    <a:pt x="591" y="300"/>
                  </a:lnTo>
                  <a:lnTo>
                    <a:pt x="601" y="300"/>
                  </a:lnTo>
                  <a:lnTo>
                    <a:pt x="607" y="300"/>
                  </a:lnTo>
                  <a:lnTo>
                    <a:pt x="610" y="300"/>
                  </a:lnTo>
                  <a:lnTo>
                    <a:pt x="613" y="299"/>
                  </a:lnTo>
                  <a:lnTo>
                    <a:pt x="620" y="297"/>
                  </a:lnTo>
                  <a:lnTo>
                    <a:pt x="622" y="299"/>
                  </a:lnTo>
                  <a:lnTo>
                    <a:pt x="623" y="299"/>
                  </a:lnTo>
                  <a:lnTo>
                    <a:pt x="629" y="303"/>
                  </a:lnTo>
                  <a:lnTo>
                    <a:pt x="630" y="305"/>
                  </a:lnTo>
                  <a:lnTo>
                    <a:pt x="632" y="308"/>
                  </a:lnTo>
                  <a:lnTo>
                    <a:pt x="632" y="313"/>
                  </a:lnTo>
                  <a:lnTo>
                    <a:pt x="632" y="318"/>
                  </a:lnTo>
                  <a:lnTo>
                    <a:pt x="635" y="324"/>
                  </a:lnTo>
                  <a:lnTo>
                    <a:pt x="636" y="328"/>
                  </a:lnTo>
                  <a:lnTo>
                    <a:pt x="638" y="329"/>
                  </a:lnTo>
                  <a:lnTo>
                    <a:pt x="641" y="334"/>
                  </a:lnTo>
                  <a:lnTo>
                    <a:pt x="641" y="335"/>
                  </a:lnTo>
                  <a:lnTo>
                    <a:pt x="642" y="340"/>
                  </a:lnTo>
                  <a:lnTo>
                    <a:pt x="642" y="341"/>
                  </a:lnTo>
                  <a:lnTo>
                    <a:pt x="643" y="342"/>
                  </a:lnTo>
                  <a:lnTo>
                    <a:pt x="645" y="344"/>
                  </a:lnTo>
                  <a:lnTo>
                    <a:pt x="646" y="345"/>
                  </a:lnTo>
                  <a:lnTo>
                    <a:pt x="649" y="347"/>
                  </a:lnTo>
                  <a:lnTo>
                    <a:pt x="654" y="342"/>
                  </a:lnTo>
                  <a:lnTo>
                    <a:pt x="681" y="341"/>
                  </a:lnTo>
                  <a:lnTo>
                    <a:pt x="684" y="341"/>
                  </a:lnTo>
                  <a:lnTo>
                    <a:pt x="689" y="341"/>
                  </a:lnTo>
                  <a:lnTo>
                    <a:pt x="696" y="347"/>
                  </a:lnTo>
                  <a:lnTo>
                    <a:pt x="713" y="354"/>
                  </a:lnTo>
                  <a:lnTo>
                    <a:pt x="716" y="357"/>
                  </a:lnTo>
                  <a:lnTo>
                    <a:pt x="718" y="360"/>
                  </a:lnTo>
                  <a:lnTo>
                    <a:pt x="721" y="363"/>
                  </a:lnTo>
                  <a:lnTo>
                    <a:pt x="721" y="366"/>
                  </a:lnTo>
                  <a:lnTo>
                    <a:pt x="722" y="369"/>
                  </a:lnTo>
                  <a:lnTo>
                    <a:pt x="724" y="370"/>
                  </a:lnTo>
                  <a:lnTo>
                    <a:pt x="735" y="376"/>
                  </a:lnTo>
                  <a:lnTo>
                    <a:pt x="735" y="379"/>
                  </a:lnTo>
                  <a:lnTo>
                    <a:pt x="735" y="380"/>
                  </a:lnTo>
                  <a:lnTo>
                    <a:pt x="737" y="382"/>
                  </a:lnTo>
                  <a:lnTo>
                    <a:pt x="738" y="382"/>
                  </a:lnTo>
                  <a:lnTo>
                    <a:pt x="751" y="380"/>
                  </a:lnTo>
                  <a:lnTo>
                    <a:pt x="757" y="379"/>
                  </a:lnTo>
                  <a:lnTo>
                    <a:pt x="759" y="377"/>
                  </a:lnTo>
                  <a:lnTo>
                    <a:pt x="761" y="377"/>
                  </a:lnTo>
                  <a:lnTo>
                    <a:pt x="779" y="385"/>
                  </a:lnTo>
                  <a:lnTo>
                    <a:pt x="780" y="385"/>
                  </a:lnTo>
                  <a:lnTo>
                    <a:pt x="783" y="383"/>
                  </a:lnTo>
                  <a:lnTo>
                    <a:pt x="786" y="382"/>
                  </a:lnTo>
                  <a:lnTo>
                    <a:pt x="789" y="379"/>
                  </a:lnTo>
                  <a:lnTo>
                    <a:pt x="791" y="379"/>
                  </a:lnTo>
                  <a:lnTo>
                    <a:pt x="792" y="380"/>
                  </a:lnTo>
                  <a:lnTo>
                    <a:pt x="799" y="386"/>
                  </a:lnTo>
                  <a:lnTo>
                    <a:pt x="802" y="388"/>
                  </a:lnTo>
                  <a:lnTo>
                    <a:pt x="804" y="393"/>
                  </a:lnTo>
                  <a:lnTo>
                    <a:pt x="807" y="393"/>
                  </a:lnTo>
                  <a:lnTo>
                    <a:pt x="814" y="388"/>
                  </a:lnTo>
                  <a:lnTo>
                    <a:pt x="812" y="383"/>
                  </a:lnTo>
                  <a:lnTo>
                    <a:pt x="812" y="379"/>
                  </a:lnTo>
                  <a:lnTo>
                    <a:pt x="823" y="367"/>
                  </a:lnTo>
                  <a:lnTo>
                    <a:pt x="824" y="363"/>
                  </a:lnTo>
                  <a:lnTo>
                    <a:pt x="833" y="348"/>
                  </a:lnTo>
                  <a:lnTo>
                    <a:pt x="833" y="347"/>
                  </a:lnTo>
                  <a:lnTo>
                    <a:pt x="833" y="344"/>
                  </a:lnTo>
                  <a:lnTo>
                    <a:pt x="831" y="341"/>
                  </a:lnTo>
                  <a:lnTo>
                    <a:pt x="830" y="340"/>
                  </a:lnTo>
                  <a:lnTo>
                    <a:pt x="828" y="338"/>
                  </a:lnTo>
                  <a:lnTo>
                    <a:pt x="823" y="335"/>
                  </a:lnTo>
                  <a:lnTo>
                    <a:pt x="823" y="334"/>
                  </a:lnTo>
                  <a:lnTo>
                    <a:pt x="823" y="331"/>
                  </a:lnTo>
                  <a:lnTo>
                    <a:pt x="824" y="322"/>
                  </a:lnTo>
                  <a:lnTo>
                    <a:pt x="830" y="313"/>
                  </a:lnTo>
                  <a:lnTo>
                    <a:pt x="830" y="312"/>
                  </a:lnTo>
                  <a:lnTo>
                    <a:pt x="828" y="308"/>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6">
              <a:extLst>
                <a:ext uri="{FF2B5EF4-FFF2-40B4-BE49-F238E27FC236}">
                  <a16:creationId xmlns:a16="http://schemas.microsoft.com/office/drawing/2014/main" id="{25E62E6A-BA5D-4B55-845D-A34C2DFAD6EA}"/>
                </a:ext>
              </a:extLst>
            </p:cNvPr>
            <p:cNvSpPr>
              <a:spLocks noEditPoints="1"/>
            </p:cNvSpPr>
            <p:nvPr/>
          </p:nvSpPr>
          <p:spPr bwMode="gray">
            <a:xfrm>
              <a:off x="4684713" y="3175"/>
              <a:ext cx="1895475" cy="1601788"/>
            </a:xfrm>
            <a:custGeom>
              <a:avLst/>
              <a:gdLst>
                <a:gd name="T0" fmla="*/ 8 w 1194"/>
                <a:gd name="T1" fmla="*/ 530 h 1009"/>
                <a:gd name="T2" fmla="*/ 17 w 1194"/>
                <a:gd name="T3" fmla="*/ 521 h 1009"/>
                <a:gd name="T4" fmla="*/ 375 w 1194"/>
                <a:gd name="T5" fmla="*/ 326 h 1009"/>
                <a:gd name="T6" fmla="*/ 1168 w 1194"/>
                <a:gd name="T7" fmla="*/ 342 h 1009"/>
                <a:gd name="T8" fmla="*/ 1098 w 1194"/>
                <a:gd name="T9" fmla="*/ 371 h 1009"/>
                <a:gd name="T10" fmla="*/ 1150 w 1194"/>
                <a:gd name="T11" fmla="*/ 384 h 1009"/>
                <a:gd name="T12" fmla="*/ 249 w 1194"/>
                <a:gd name="T13" fmla="*/ 332 h 1009"/>
                <a:gd name="T14" fmla="*/ 144 w 1194"/>
                <a:gd name="T15" fmla="*/ 240 h 1009"/>
                <a:gd name="T16" fmla="*/ 186 w 1194"/>
                <a:gd name="T17" fmla="*/ 199 h 1009"/>
                <a:gd name="T18" fmla="*/ 249 w 1194"/>
                <a:gd name="T19" fmla="*/ 203 h 1009"/>
                <a:gd name="T20" fmla="*/ 1038 w 1194"/>
                <a:gd name="T21" fmla="*/ 425 h 1009"/>
                <a:gd name="T22" fmla="*/ 839 w 1194"/>
                <a:gd name="T23" fmla="*/ 381 h 1009"/>
                <a:gd name="T24" fmla="*/ 791 w 1194"/>
                <a:gd name="T25" fmla="*/ 428 h 1009"/>
                <a:gd name="T26" fmla="*/ 801 w 1194"/>
                <a:gd name="T27" fmla="*/ 369 h 1009"/>
                <a:gd name="T28" fmla="*/ 744 w 1194"/>
                <a:gd name="T29" fmla="*/ 313 h 1009"/>
                <a:gd name="T30" fmla="*/ 718 w 1194"/>
                <a:gd name="T31" fmla="*/ 235 h 1009"/>
                <a:gd name="T32" fmla="*/ 744 w 1194"/>
                <a:gd name="T33" fmla="*/ 219 h 1009"/>
                <a:gd name="T34" fmla="*/ 668 w 1194"/>
                <a:gd name="T35" fmla="*/ 170 h 1009"/>
                <a:gd name="T36" fmla="*/ 546 w 1194"/>
                <a:gd name="T37" fmla="*/ 154 h 1009"/>
                <a:gd name="T38" fmla="*/ 466 w 1194"/>
                <a:gd name="T39" fmla="*/ 150 h 1009"/>
                <a:gd name="T40" fmla="*/ 265 w 1194"/>
                <a:gd name="T41" fmla="*/ 134 h 1009"/>
                <a:gd name="T42" fmla="*/ 327 w 1194"/>
                <a:gd name="T43" fmla="*/ 276 h 1009"/>
                <a:gd name="T44" fmla="*/ 386 w 1194"/>
                <a:gd name="T45" fmla="*/ 365 h 1009"/>
                <a:gd name="T46" fmla="*/ 268 w 1194"/>
                <a:gd name="T47" fmla="*/ 413 h 1009"/>
                <a:gd name="T48" fmla="*/ 278 w 1194"/>
                <a:gd name="T49" fmla="*/ 477 h 1009"/>
                <a:gd name="T50" fmla="*/ 368 w 1194"/>
                <a:gd name="T51" fmla="*/ 449 h 1009"/>
                <a:gd name="T52" fmla="*/ 327 w 1194"/>
                <a:gd name="T53" fmla="*/ 518 h 1009"/>
                <a:gd name="T54" fmla="*/ 386 w 1194"/>
                <a:gd name="T55" fmla="*/ 567 h 1009"/>
                <a:gd name="T56" fmla="*/ 332 w 1194"/>
                <a:gd name="T57" fmla="*/ 615 h 1009"/>
                <a:gd name="T58" fmla="*/ 514 w 1194"/>
                <a:gd name="T59" fmla="*/ 730 h 1009"/>
                <a:gd name="T60" fmla="*/ 593 w 1194"/>
                <a:gd name="T61" fmla="*/ 864 h 1009"/>
                <a:gd name="T62" fmla="*/ 655 w 1194"/>
                <a:gd name="T63" fmla="*/ 860 h 1009"/>
                <a:gd name="T64" fmla="*/ 670 w 1194"/>
                <a:gd name="T65" fmla="*/ 870 h 1009"/>
                <a:gd name="T66" fmla="*/ 731 w 1194"/>
                <a:gd name="T67" fmla="*/ 844 h 1009"/>
                <a:gd name="T68" fmla="*/ 764 w 1194"/>
                <a:gd name="T69" fmla="*/ 805 h 1009"/>
                <a:gd name="T70" fmla="*/ 802 w 1194"/>
                <a:gd name="T71" fmla="*/ 796 h 1009"/>
                <a:gd name="T72" fmla="*/ 808 w 1194"/>
                <a:gd name="T73" fmla="*/ 834 h 1009"/>
                <a:gd name="T74" fmla="*/ 813 w 1194"/>
                <a:gd name="T75" fmla="*/ 863 h 1009"/>
                <a:gd name="T76" fmla="*/ 798 w 1194"/>
                <a:gd name="T77" fmla="*/ 891 h 1009"/>
                <a:gd name="T78" fmla="*/ 846 w 1194"/>
                <a:gd name="T79" fmla="*/ 956 h 1009"/>
                <a:gd name="T80" fmla="*/ 949 w 1194"/>
                <a:gd name="T81" fmla="*/ 998 h 1009"/>
                <a:gd name="T82" fmla="*/ 970 w 1194"/>
                <a:gd name="T83" fmla="*/ 953 h 1009"/>
                <a:gd name="T84" fmla="*/ 999 w 1194"/>
                <a:gd name="T85" fmla="*/ 937 h 1009"/>
                <a:gd name="T86" fmla="*/ 1027 w 1194"/>
                <a:gd name="T87" fmla="*/ 899 h 1009"/>
                <a:gd name="T88" fmla="*/ 1054 w 1194"/>
                <a:gd name="T89" fmla="*/ 888 h 1009"/>
                <a:gd name="T90" fmla="*/ 1065 w 1194"/>
                <a:gd name="T91" fmla="*/ 895 h 1009"/>
                <a:gd name="T92" fmla="*/ 1063 w 1194"/>
                <a:gd name="T93" fmla="*/ 854 h 1009"/>
                <a:gd name="T94" fmla="*/ 1066 w 1194"/>
                <a:gd name="T95" fmla="*/ 831 h 1009"/>
                <a:gd name="T96" fmla="*/ 1035 w 1194"/>
                <a:gd name="T97" fmla="*/ 811 h 1009"/>
                <a:gd name="T98" fmla="*/ 1003 w 1194"/>
                <a:gd name="T99" fmla="*/ 768 h 1009"/>
                <a:gd name="T100" fmla="*/ 999 w 1194"/>
                <a:gd name="T101" fmla="*/ 723 h 1009"/>
                <a:gd name="T102" fmla="*/ 1053 w 1194"/>
                <a:gd name="T103" fmla="*/ 687 h 1009"/>
                <a:gd name="T104" fmla="*/ 1066 w 1194"/>
                <a:gd name="T105" fmla="*/ 693 h 1009"/>
                <a:gd name="T106" fmla="*/ 1053 w 1194"/>
                <a:gd name="T107" fmla="*/ 678 h 1009"/>
                <a:gd name="T108" fmla="*/ 1008 w 1194"/>
                <a:gd name="T109" fmla="*/ 630 h 1009"/>
                <a:gd name="T110" fmla="*/ 1034 w 1194"/>
                <a:gd name="T111" fmla="*/ 580 h 1009"/>
                <a:gd name="T112" fmla="*/ 1114 w 1194"/>
                <a:gd name="T113" fmla="*/ 457 h 1009"/>
                <a:gd name="T114" fmla="*/ 147 w 1194"/>
                <a:gd name="T115" fmla="*/ 126 h 1009"/>
                <a:gd name="T116" fmla="*/ 217 w 1194"/>
                <a:gd name="T117" fmla="*/ 109 h 1009"/>
                <a:gd name="T118" fmla="*/ 189 w 1194"/>
                <a:gd name="T119" fmla="*/ 14 h 1009"/>
                <a:gd name="T120" fmla="*/ 145 w 1194"/>
                <a:gd name="T121" fmla="*/ 184 h 1009"/>
                <a:gd name="T122" fmla="*/ 272 w 1194"/>
                <a:gd name="T123" fmla="*/ 605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94" h="1009">
                  <a:moveTo>
                    <a:pt x="5" y="521"/>
                  </a:moveTo>
                  <a:lnTo>
                    <a:pt x="5" y="521"/>
                  </a:lnTo>
                  <a:lnTo>
                    <a:pt x="5" y="521"/>
                  </a:lnTo>
                  <a:lnTo>
                    <a:pt x="0" y="522"/>
                  </a:lnTo>
                  <a:lnTo>
                    <a:pt x="3" y="524"/>
                  </a:lnTo>
                  <a:lnTo>
                    <a:pt x="4" y="525"/>
                  </a:lnTo>
                  <a:lnTo>
                    <a:pt x="5" y="528"/>
                  </a:lnTo>
                  <a:lnTo>
                    <a:pt x="7" y="528"/>
                  </a:lnTo>
                  <a:lnTo>
                    <a:pt x="7" y="531"/>
                  </a:lnTo>
                  <a:lnTo>
                    <a:pt x="7" y="531"/>
                  </a:lnTo>
                  <a:lnTo>
                    <a:pt x="7" y="531"/>
                  </a:lnTo>
                  <a:lnTo>
                    <a:pt x="8" y="530"/>
                  </a:lnTo>
                  <a:lnTo>
                    <a:pt x="7" y="524"/>
                  </a:lnTo>
                  <a:lnTo>
                    <a:pt x="5" y="521"/>
                  </a:lnTo>
                  <a:close/>
                  <a:moveTo>
                    <a:pt x="17" y="521"/>
                  </a:moveTo>
                  <a:lnTo>
                    <a:pt x="11" y="522"/>
                  </a:lnTo>
                  <a:lnTo>
                    <a:pt x="13" y="525"/>
                  </a:lnTo>
                  <a:lnTo>
                    <a:pt x="11" y="522"/>
                  </a:lnTo>
                  <a:lnTo>
                    <a:pt x="17" y="521"/>
                  </a:lnTo>
                  <a:close/>
                  <a:moveTo>
                    <a:pt x="17" y="521"/>
                  </a:moveTo>
                  <a:lnTo>
                    <a:pt x="19" y="524"/>
                  </a:lnTo>
                  <a:lnTo>
                    <a:pt x="13" y="525"/>
                  </a:lnTo>
                  <a:lnTo>
                    <a:pt x="19" y="524"/>
                  </a:lnTo>
                  <a:lnTo>
                    <a:pt x="17" y="521"/>
                  </a:lnTo>
                  <a:lnTo>
                    <a:pt x="17" y="521"/>
                  </a:lnTo>
                  <a:close/>
                  <a:moveTo>
                    <a:pt x="324" y="350"/>
                  </a:moveTo>
                  <a:lnTo>
                    <a:pt x="329" y="358"/>
                  </a:lnTo>
                  <a:lnTo>
                    <a:pt x="336" y="359"/>
                  </a:lnTo>
                  <a:lnTo>
                    <a:pt x="351" y="359"/>
                  </a:lnTo>
                  <a:lnTo>
                    <a:pt x="359" y="355"/>
                  </a:lnTo>
                  <a:lnTo>
                    <a:pt x="364" y="348"/>
                  </a:lnTo>
                  <a:lnTo>
                    <a:pt x="368" y="340"/>
                  </a:lnTo>
                  <a:lnTo>
                    <a:pt x="374" y="334"/>
                  </a:lnTo>
                  <a:lnTo>
                    <a:pt x="374" y="332"/>
                  </a:lnTo>
                  <a:lnTo>
                    <a:pt x="374" y="329"/>
                  </a:lnTo>
                  <a:lnTo>
                    <a:pt x="375" y="326"/>
                  </a:lnTo>
                  <a:lnTo>
                    <a:pt x="377" y="326"/>
                  </a:lnTo>
                  <a:lnTo>
                    <a:pt x="361" y="321"/>
                  </a:lnTo>
                  <a:lnTo>
                    <a:pt x="348" y="323"/>
                  </a:lnTo>
                  <a:lnTo>
                    <a:pt x="336" y="329"/>
                  </a:lnTo>
                  <a:lnTo>
                    <a:pt x="324" y="339"/>
                  </a:lnTo>
                  <a:lnTo>
                    <a:pt x="327" y="342"/>
                  </a:lnTo>
                  <a:lnTo>
                    <a:pt x="329" y="345"/>
                  </a:lnTo>
                  <a:lnTo>
                    <a:pt x="329" y="349"/>
                  </a:lnTo>
                  <a:lnTo>
                    <a:pt x="324" y="350"/>
                  </a:lnTo>
                  <a:close/>
                  <a:moveTo>
                    <a:pt x="1194" y="391"/>
                  </a:moveTo>
                  <a:lnTo>
                    <a:pt x="1174" y="352"/>
                  </a:lnTo>
                  <a:lnTo>
                    <a:pt x="1168" y="342"/>
                  </a:lnTo>
                  <a:lnTo>
                    <a:pt x="1165" y="339"/>
                  </a:lnTo>
                  <a:lnTo>
                    <a:pt x="1156" y="332"/>
                  </a:lnTo>
                  <a:lnTo>
                    <a:pt x="1127" y="318"/>
                  </a:lnTo>
                  <a:lnTo>
                    <a:pt x="1110" y="321"/>
                  </a:lnTo>
                  <a:lnTo>
                    <a:pt x="1097" y="334"/>
                  </a:lnTo>
                  <a:lnTo>
                    <a:pt x="1086" y="359"/>
                  </a:lnTo>
                  <a:lnTo>
                    <a:pt x="1088" y="366"/>
                  </a:lnTo>
                  <a:lnTo>
                    <a:pt x="1092" y="364"/>
                  </a:lnTo>
                  <a:lnTo>
                    <a:pt x="1094" y="365"/>
                  </a:lnTo>
                  <a:lnTo>
                    <a:pt x="1095" y="366"/>
                  </a:lnTo>
                  <a:lnTo>
                    <a:pt x="1097" y="371"/>
                  </a:lnTo>
                  <a:lnTo>
                    <a:pt x="1098" y="371"/>
                  </a:lnTo>
                  <a:lnTo>
                    <a:pt x="1101" y="368"/>
                  </a:lnTo>
                  <a:lnTo>
                    <a:pt x="1105" y="366"/>
                  </a:lnTo>
                  <a:lnTo>
                    <a:pt x="1114" y="366"/>
                  </a:lnTo>
                  <a:lnTo>
                    <a:pt x="1118" y="368"/>
                  </a:lnTo>
                  <a:lnTo>
                    <a:pt x="1120" y="374"/>
                  </a:lnTo>
                  <a:lnTo>
                    <a:pt x="1120" y="385"/>
                  </a:lnTo>
                  <a:lnTo>
                    <a:pt x="1124" y="390"/>
                  </a:lnTo>
                  <a:lnTo>
                    <a:pt x="1133" y="391"/>
                  </a:lnTo>
                  <a:lnTo>
                    <a:pt x="1148" y="391"/>
                  </a:lnTo>
                  <a:lnTo>
                    <a:pt x="1145" y="390"/>
                  </a:lnTo>
                  <a:lnTo>
                    <a:pt x="1143" y="387"/>
                  </a:lnTo>
                  <a:lnTo>
                    <a:pt x="1150" y="384"/>
                  </a:lnTo>
                  <a:lnTo>
                    <a:pt x="1194" y="391"/>
                  </a:lnTo>
                  <a:close/>
                  <a:moveTo>
                    <a:pt x="257" y="345"/>
                  </a:moveTo>
                  <a:lnTo>
                    <a:pt x="265" y="345"/>
                  </a:lnTo>
                  <a:lnTo>
                    <a:pt x="275" y="339"/>
                  </a:lnTo>
                  <a:lnTo>
                    <a:pt x="282" y="326"/>
                  </a:lnTo>
                  <a:lnTo>
                    <a:pt x="285" y="311"/>
                  </a:lnTo>
                  <a:lnTo>
                    <a:pt x="285" y="305"/>
                  </a:lnTo>
                  <a:lnTo>
                    <a:pt x="263" y="314"/>
                  </a:lnTo>
                  <a:lnTo>
                    <a:pt x="260" y="316"/>
                  </a:lnTo>
                  <a:lnTo>
                    <a:pt x="257" y="317"/>
                  </a:lnTo>
                  <a:lnTo>
                    <a:pt x="252" y="321"/>
                  </a:lnTo>
                  <a:lnTo>
                    <a:pt x="249" y="332"/>
                  </a:lnTo>
                  <a:lnTo>
                    <a:pt x="253" y="340"/>
                  </a:lnTo>
                  <a:lnTo>
                    <a:pt x="257" y="345"/>
                  </a:lnTo>
                  <a:close/>
                  <a:moveTo>
                    <a:pt x="157" y="224"/>
                  </a:moveTo>
                  <a:lnTo>
                    <a:pt x="161" y="219"/>
                  </a:lnTo>
                  <a:lnTo>
                    <a:pt x="166" y="215"/>
                  </a:lnTo>
                  <a:lnTo>
                    <a:pt x="166" y="215"/>
                  </a:lnTo>
                  <a:lnTo>
                    <a:pt x="167" y="215"/>
                  </a:lnTo>
                  <a:lnTo>
                    <a:pt x="167" y="214"/>
                  </a:lnTo>
                  <a:lnTo>
                    <a:pt x="167" y="211"/>
                  </a:lnTo>
                  <a:lnTo>
                    <a:pt x="160" y="214"/>
                  </a:lnTo>
                  <a:lnTo>
                    <a:pt x="154" y="221"/>
                  </a:lnTo>
                  <a:lnTo>
                    <a:pt x="144" y="240"/>
                  </a:lnTo>
                  <a:lnTo>
                    <a:pt x="150" y="249"/>
                  </a:lnTo>
                  <a:lnTo>
                    <a:pt x="157" y="262"/>
                  </a:lnTo>
                  <a:lnTo>
                    <a:pt x="166" y="269"/>
                  </a:lnTo>
                  <a:lnTo>
                    <a:pt x="177" y="265"/>
                  </a:lnTo>
                  <a:lnTo>
                    <a:pt x="182" y="260"/>
                  </a:lnTo>
                  <a:lnTo>
                    <a:pt x="174" y="257"/>
                  </a:lnTo>
                  <a:lnTo>
                    <a:pt x="157" y="224"/>
                  </a:lnTo>
                  <a:close/>
                  <a:moveTo>
                    <a:pt x="234" y="187"/>
                  </a:moveTo>
                  <a:lnTo>
                    <a:pt x="215" y="186"/>
                  </a:lnTo>
                  <a:lnTo>
                    <a:pt x="204" y="187"/>
                  </a:lnTo>
                  <a:lnTo>
                    <a:pt x="193" y="190"/>
                  </a:lnTo>
                  <a:lnTo>
                    <a:pt x="186" y="199"/>
                  </a:lnTo>
                  <a:lnTo>
                    <a:pt x="179" y="211"/>
                  </a:lnTo>
                  <a:lnTo>
                    <a:pt x="199" y="224"/>
                  </a:lnTo>
                  <a:lnTo>
                    <a:pt x="211" y="227"/>
                  </a:lnTo>
                  <a:lnTo>
                    <a:pt x="220" y="224"/>
                  </a:lnTo>
                  <a:lnTo>
                    <a:pt x="223" y="227"/>
                  </a:lnTo>
                  <a:lnTo>
                    <a:pt x="228" y="228"/>
                  </a:lnTo>
                  <a:lnTo>
                    <a:pt x="234" y="230"/>
                  </a:lnTo>
                  <a:lnTo>
                    <a:pt x="239" y="228"/>
                  </a:lnTo>
                  <a:lnTo>
                    <a:pt x="241" y="224"/>
                  </a:lnTo>
                  <a:lnTo>
                    <a:pt x="246" y="212"/>
                  </a:lnTo>
                  <a:lnTo>
                    <a:pt x="249" y="208"/>
                  </a:lnTo>
                  <a:lnTo>
                    <a:pt x="249" y="203"/>
                  </a:lnTo>
                  <a:lnTo>
                    <a:pt x="243" y="192"/>
                  </a:lnTo>
                  <a:lnTo>
                    <a:pt x="234" y="187"/>
                  </a:lnTo>
                  <a:close/>
                  <a:moveTo>
                    <a:pt x="1097" y="419"/>
                  </a:moveTo>
                  <a:lnTo>
                    <a:pt x="1088" y="413"/>
                  </a:lnTo>
                  <a:lnTo>
                    <a:pt x="1082" y="415"/>
                  </a:lnTo>
                  <a:lnTo>
                    <a:pt x="1076" y="412"/>
                  </a:lnTo>
                  <a:lnTo>
                    <a:pt x="1085" y="412"/>
                  </a:lnTo>
                  <a:lnTo>
                    <a:pt x="1091" y="412"/>
                  </a:lnTo>
                  <a:lnTo>
                    <a:pt x="1091" y="407"/>
                  </a:lnTo>
                  <a:lnTo>
                    <a:pt x="1062" y="412"/>
                  </a:lnTo>
                  <a:lnTo>
                    <a:pt x="1050" y="416"/>
                  </a:lnTo>
                  <a:lnTo>
                    <a:pt x="1038" y="425"/>
                  </a:lnTo>
                  <a:lnTo>
                    <a:pt x="1019" y="442"/>
                  </a:lnTo>
                  <a:lnTo>
                    <a:pt x="1008" y="449"/>
                  </a:lnTo>
                  <a:lnTo>
                    <a:pt x="992" y="452"/>
                  </a:lnTo>
                  <a:lnTo>
                    <a:pt x="977" y="449"/>
                  </a:lnTo>
                  <a:lnTo>
                    <a:pt x="947" y="420"/>
                  </a:lnTo>
                  <a:lnTo>
                    <a:pt x="891" y="396"/>
                  </a:lnTo>
                  <a:lnTo>
                    <a:pt x="871" y="378"/>
                  </a:lnTo>
                  <a:lnTo>
                    <a:pt x="862" y="375"/>
                  </a:lnTo>
                  <a:lnTo>
                    <a:pt x="847" y="374"/>
                  </a:lnTo>
                  <a:lnTo>
                    <a:pt x="843" y="375"/>
                  </a:lnTo>
                  <a:lnTo>
                    <a:pt x="840" y="378"/>
                  </a:lnTo>
                  <a:lnTo>
                    <a:pt x="839" y="381"/>
                  </a:lnTo>
                  <a:lnTo>
                    <a:pt x="836" y="384"/>
                  </a:lnTo>
                  <a:lnTo>
                    <a:pt x="831" y="387"/>
                  </a:lnTo>
                  <a:lnTo>
                    <a:pt x="818" y="388"/>
                  </a:lnTo>
                  <a:lnTo>
                    <a:pt x="815" y="391"/>
                  </a:lnTo>
                  <a:lnTo>
                    <a:pt x="813" y="396"/>
                  </a:lnTo>
                  <a:lnTo>
                    <a:pt x="808" y="416"/>
                  </a:lnTo>
                  <a:lnTo>
                    <a:pt x="799" y="435"/>
                  </a:lnTo>
                  <a:lnTo>
                    <a:pt x="794" y="442"/>
                  </a:lnTo>
                  <a:lnTo>
                    <a:pt x="786" y="444"/>
                  </a:lnTo>
                  <a:lnTo>
                    <a:pt x="789" y="439"/>
                  </a:lnTo>
                  <a:lnTo>
                    <a:pt x="791" y="433"/>
                  </a:lnTo>
                  <a:lnTo>
                    <a:pt x="791" y="428"/>
                  </a:lnTo>
                  <a:lnTo>
                    <a:pt x="786" y="425"/>
                  </a:lnTo>
                  <a:lnTo>
                    <a:pt x="789" y="420"/>
                  </a:lnTo>
                  <a:lnTo>
                    <a:pt x="789" y="419"/>
                  </a:lnTo>
                  <a:lnTo>
                    <a:pt x="788" y="417"/>
                  </a:lnTo>
                  <a:lnTo>
                    <a:pt x="786" y="416"/>
                  </a:lnTo>
                  <a:lnTo>
                    <a:pt x="792" y="415"/>
                  </a:lnTo>
                  <a:lnTo>
                    <a:pt x="799" y="409"/>
                  </a:lnTo>
                  <a:lnTo>
                    <a:pt x="804" y="401"/>
                  </a:lnTo>
                  <a:lnTo>
                    <a:pt x="805" y="393"/>
                  </a:lnTo>
                  <a:lnTo>
                    <a:pt x="804" y="384"/>
                  </a:lnTo>
                  <a:lnTo>
                    <a:pt x="801" y="377"/>
                  </a:lnTo>
                  <a:lnTo>
                    <a:pt x="801" y="369"/>
                  </a:lnTo>
                  <a:lnTo>
                    <a:pt x="808" y="364"/>
                  </a:lnTo>
                  <a:lnTo>
                    <a:pt x="786" y="345"/>
                  </a:lnTo>
                  <a:lnTo>
                    <a:pt x="780" y="342"/>
                  </a:lnTo>
                  <a:lnTo>
                    <a:pt x="696" y="362"/>
                  </a:lnTo>
                  <a:lnTo>
                    <a:pt x="681" y="355"/>
                  </a:lnTo>
                  <a:lnTo>
                    <a:pt x="681" y="350"/>
                  </a:lnTo>
                  <a:lnTo>
                    <a:pt x="696" y="349"/>
                  </a:lnTo>
                  <a:lnTo>
                    <a:pt x="711" y="343"/>
                  </a:lnTo>
                  <a:lnTo>
                    <a:pt x="725" y="336"/>
                  </a:lnTo>
                  <a:lnTo>
                    <a:pt x="737" y="326"/>
                  </a:lnTo>
                  <a:lnTo>
                    <a:pt x="741" y="320"/>
                  </a:lnTo>
                  <a:lnTo>
                    <a:pt x="744" y="313"/>
                  </a:lnTo>
                  <a:lnTo>
                    <a:pt x="747" y="304"/>
                  </a:lnTo>
                  <a:lnTo>
                    <a:pt x="748" y="294"/>
                  </a:lnTo>
                  <a:lnTo>
                    <a:pt x="750" y="269"/>
                  </a:lnTo>
                  <a:lnTo>
                    <a:pt x="750" y="257"/>
                  </a:lnTo>
                  <a:lnTo>
                    <a:pt x="748" y="249"/>
                  </a:lnTo>
                  <a:lnTo>
                    <a:pt x="751" y="240"/>
                  </a:lnTo>
                  <a:lnTo>
                    <a:pt x="748" y="237"/>
                  </a:lnTo>
                  <a:lnTo>
                    <a:pt x="745" y="237"/>
                  </a:lnTo>
                  <a:lnTo>
                    <a:pt x="741" y="240"/>
                  </a:lnTo>
                  <a:lnTo>
                    <a:pt x="735" y="233"/>
                  </a:lnTo>
                  <a:lnTo>
                    <a:pt x="727" y="234"/>
                  </a:lnTo>
                  <a:lnTo>
                    <a:pt x="718" y="235"/>
                  </a:lnTo>
                  <a:lnTo>
                    <a:pt x="712" y="235"/>
                  </a:lnTo>
                  <a:lnTo>
                    <a:pt x="713" y="230"/>
                  </a:lnTo>
                  <a:lnTo>
                    <a:pt x="713" y="230"/>
                  </a:lnTo>
                  <a:lnTo>
                    <a:pt x="715" y="230"/>
                  </a:lnTo>
                  <a:lnTo>
                    <a:pt x="718" y="228"/>
                  </a:lnTo>
                  <a:lnTo>
                    <a:pt x="718" y="228"/>
                  </a:lnTo>
                  <a:lnTo>
                    <a:pt x="727" y="221"/>
                  </a:lnTo>
                  <a:lnTo>
                    <a:pt x="727" y="219"/>
                  </a:lnTo>
                  <a:lnTo>
                    <a:pt x="729" y="221"/>
                  </a:lnTo>
                  <a:lnTo>
                    <a:pt x="734" y="222"/>
                  </a:lnTo>
                  <a:lnTo>
                    <a:pt x="740" y="222"/>
                  </a:lnTo>
                  <a:lnTo>
                    <a:pt x="744" y="219"/>
                  </a:lnTo>
                  <a:lnTo>
                    <a:pt x="737" y="212"/>
                  </a:lnTo>
                  <a:lnTo>
                    <a:pt x="734" y="208"/>
                  </a:lnTo>
                  <a:lnTo>
                    <a:pt x="731" y="203"/>
                  </a:lnTo>
                  <a:lnTo>
                    <a:pt x="727" y="183"/>
                  </a:lnTo>
                  <a:lnTo>
                    <a:pt x="719" y="173"/>
                  </a:lnTo>
                  <a:lnTo>
                    <a:pt x="708" y="166"/>
                  </a:lnTo>
                  <a:lnTo>
                    <a:pt x="699" y="166"/>
                  </a:lnTo>
                  <a:lnTo>
                    <a:pt x="700" y="179"/>
                  </a:lnTo>
                  <a:lnTo>
                    <a:pt x="684" y="184"/>
                  </a:lnTo>
                  <a:lnTo>
                    <a:pt x="676" y="186"/>
                  </a:lnTo>
                  <a:lnTo>
                    <a:pt x="671" y="180"/>
                  </a:lnTo>
                  <a:lnTo>
                    <a:pt x="668" y="170"/>
                  </a:lnTo>
                  <a:lnTo>
                    <a:pt x="660" y="164"/>
                  </a:lnTo>
                  <a:lnTo>
                    <a:pt x="651" y="160"/>
                  </a:lnTo>
                  <a:lnTo>
                    <a:pt x="645" y="155"/>
                  </a:lnTo>
                  <a:lnTo>
                    <a:pt x="630" y="150"/>
                  </a:lnTo>
                  <a:lnTo>
                    <a:pt x="609" y="148"/>
                  </a:lnTo>
                  <a:lnTo>
                    <a:pt x="593" y="142"/>
                  </a:lnTo>
                  <a:lnTo>
                    <a:pt x="591" y="120"/>
                  </a:lnTo>
                  <a:lnTo>
                    <a:pt x="587" y="123"/>
                  </a:lnTo>
                  <a:lnTo>
                    <a:pt x="582" y="132"/>
                  </a:lnTo>
                  <a:lnTo>
                    <a:pt x="574" y="135"/>
                  </a:lnTo>
                  <a:lnTo>
                    <a:pt x="568" y="144"/>
                  </a:lnTo>
                  <a:lnTo>
                    <a:pt x="546" y="154"/>
                  </a:lnTo>
                  <a:lnTo>
                    <a:pt x="542" y="154"/>
                  </a:lnTo>
                  <a:lnTo>
                    <a:pt x="536" y="155"/>
                  </a:lnTo>
                  <a:lnTo>
                    <a:pt x="530" y="155"/>
                  </a:lnTo>
                  <a:lnTo>
                    <a:pt x="523" y="148"/>
                  </a:lnTo>
                  <a:lnTo>
                    <a:pt x="517" y="150"/>
                  </a:lnTo>
                  <a:lnTo>
                    <a:pt x="514" y="152"/>
                  </a:lnTo>
                  <a:lnTo>
                    <a:pt x="508" y="154"/>
                  </a:lnTo>
                  <a:lnTo>
                    <a:pt x="505" y="158"/>
                  </a:lnTo>
                  <a:lnTo>
                    <a:pt x="499" y="158"/>
                  </a:lnTo>
                  <a:lnTo>
                    <a:pt x="475" y="158"/>
                  </a:lnTo>
                  <a:lnTo>
                    <a:pt x="469" y="157"/>
                  </a:lnTo>
                  <a:lnTo>
                    <a:pt x="466" y="150"/>
                  </a:lnTo>
                  <a:lnTo>
                    <a:pt x="464" y="141"/>
                  </a:lnTo>
                  <a:lnTo>
                    <a:pt x="463" y="135"/>
                  </a:lnTo>
                  <a:lnTo>
                    <a:pt x="457" y="129"/>
                  </a:lnTo>
                  <a:lnTo>
                    <a:pt x="383" y="112"/>
                  </a:lnTo>
                  <a:lnTo>
                    <a:pt x="357" y="101"/>
                  </a:lnTo>
                  <a:lnTo>
                    <a:pt x="329" y="96"/>
                  </a:lnTo>
                  <a:lnTo>
                    <a:pt x="320" y="97"/>
                  </a:lnTo>
                  <a:lnTo>
                    <a:pt x="297" y="106"/>
                  </a:lnTo>
                  <a:lnTo>
                    <a:pt x="284" y="106"/>
                  </a:lnTo>
                  <a:lnTo>
                    <a:pt x="272" y="101"/>
                  </a:lnTo>
                  <a:lnTo>
                    <a:pt x="268" y="119"/>
                  </a:lnTo>
                  <a:lnTo>
                    <a:pt x="265" y="134"/>
                  </a:lnTo>
                  <a:lnTo>
                    <a:pt x="268" y="150"/>
                  </a:lnTo>
                  <a:lnTo>
                    <a:pt x="272" y="160"/>
                  </a:lnTo>
                  <a:lnTo>
                    <a:pt x="279" y="171"/>
                  </a:lnTo>
                  <a:lnTo>
                    <a:pt x="284" y="184"/>
                  </a:lnTo>
                  <a:lnTo>
                    <a:pt x="281" y="195"/>
                  </a:lnTo>
                  <a:lnTo>
                    <a:pt x="281" y="199"/>
                  </a:lnTo>
                  <a:lnTo>
                    <a:pt x="294" y="205"/>
                  </a:lnTo>
                  <a:lnTo>
                    <a:pt x="311" y="221"/>
                  </a:lnTo>
                  <a:lnTo>
                    <a:pt x="322" y="228"/>
                  </a:lnTo>
                  <a:lnTo>
                    <a:pt x="326" y="235"/>
                  </a:lnTo>
                  <a:lnTo>
                    <a:pt x="339" y="269"/>
                  </a:lnTo>
                  <a:lnTo>
                    <a:pt x="327" y="276"/>
                  </a:lnTo>
                  <a:lnTo>
                    <a:pt x="329" y="281"/>
                  </a:lnTo>
                  <a:lnTo>
                    <a:pt x="333" y="279"/>
                  </a:lnTo>
                  <a:lnTo>
                    <a:pt x="341" y="276"/>
                  </a:lnTo>
                  <a:lnTo>
                    <a:pt x="348" y="276"/>
                  </a:lnTo>
                  <a:lnTo>
                    <a:pt x="351" y="279"/>
                  </a:lnTo>
                  <a:lnTo>
                    <a:pt x="352" y="285"/>
                  </a:lnTo>
                  <a:lnTo>
                    <a:pt x="357" y="292"/>
                  </a:lnTo>
                  <a:lnTo>
                    <a:pt x="384" y="323"/>
                  </a:lnTo>
                  <a:lnTo>
                    <a:pt x="393" y="336"/>
                  </a:lnTo>
                  <a:lnTo>
                    <a:pt x="393" y="350"/>
                  </a:lnTo>
                  <a:lnTo>
                    <a:pt x="391" y="361"/>
                  </a:lnTo>
                  <a:lnTo>
                    <a:pt x="386" y="365"/>
                  </a:lnTo>
                  <a:lnTo>
                    <a:pt x="373" y="371"/>
                  </a:lnTo>
                  <a:lnTo>
                    <a:pt x="358" y="384"/>
                  </a:lnTo>
                  <a:lnTo>
                    <a:pt x="351" y="388"/>
                  </a:lnTo>
                  <a:lnTo>
                    <a:pt x="341" y="391"/>
                  </a:lnTo>
                  <a:lnTo>
                    <a:pt x="303" y="391"/>
                  </a:lnTo>
                  <a:lnTo>
                    <a:pt x="275" y="398"/>
                  </a:lnTo>
                  <a:lnTo>
                    <a:pt x="268" y="396"/>
                  </a:lnTo>
                  <a:lnTo>
                    <a:pt x="263" y="400"/>
                  </a:lnTo>
                  <a:lnTo>
                    <a:pt x="260" y="407"/>
                  </a:lnTo>
                  <a:lnTo>
                    <a:pt x="260" y="413"/>
                  </a:lnTo>
                  <a:lnTo>
                    <a:pt x="263" y="420"/>
                  </a:lnTo>
                  <a:lnTo>
                    <a:pt x="268" y="413"/>
                  </a:lnTo>
                  <a:lnTo>
                    <a:pt x="273" y="415"/>
                  </a:lnTo>
                  <a:lnTo>
                    <a:pt x="278" y="419"/>
                  </a:lnTo>
                  <a:lnTo>
                    <a:pt x="284" y="420"/>
                  </a:lnTo>
                  <a:lnTo>
                    <a:pt x="284" y="425"/>
                  </a:lnTo>
                  <a:lnTo>
                    <a:pt x="275" y="423"/>
                  </a:lnTo>
                  <a:lnTo>
                    <a:pt x="265" y="426"/>
                  </a:lnTo>
                  <a:lnTo>
                    <a:pt x="256" y="431"/>
                  </a:lnTo>
                  <a:lnTo>
                    <a:pt x="250" y="436"/>
                  </a:lnTo>
                  <a:lnTo>
                    <a:pt x="252" y="451"/>
                  </a:lnTo>
                  <a:lnTo>
                    <a:pt x="259" y="464"/>
                  </a:lnTo>
                  <a:lnTo>
                    <a:pt x="269" y="474"/>
                  </a:lnTo>
                  <a:lnTo>
                    <a:pt x="278" y="477"/>
                  </a:lnTo>
                  <a:lnTo>
                    <a:pt x="282" y="476"/>
                  </a:lnTo>
                  <a:lnTo>
                    <a:pt x="294" y="464"/>
                  </a:lnTo>
                  <a:lnTo>
                    <a:pt x="298" y="463"/>
                  </a:lnTo>
                  <a:lnTo>
                    <a:pt x="311" y="464"/>
                  </a:lnTo>
                  <a:lnTo>
                    <a:pt x="322" y="463"/>
                  </a:lnTo>
                  <a:lnTo>
                    <a:pt x="341" y="458"/>
                  </a:lnTo>
                  <a:lnTo>
                    <a:pt x="351" y="457"/>
                  </a:lnTo>
                  <a:lnTo>
                    <a:pt x="349" y="458"/>
                  </a:lnTo>
                  <a:lnTo>
                    <a:pt x="349" y="463"/>
                  </a:lnTo>
                  <a:lnTo>
                    <a:pt x="348" y="464"/>
                  </a:lnTo>
                  <a:lnTo>
                    <a:pt x="355" y="461"/>
                  </a:lnTo>
                  <a:lnTo>
                    <a:pt x="368" y="449"/>
                  </a:lnTo>
                  <a:lnTo>
                    <a:pt x="377" y="448"/>
                  </a:lnTo>
                  <a:lnTo>
                    <a:pt x="374" y="457"/>
                  </a:lnTo>
                  <a:lnTo>
                    <a:pt x="368" y="467"/>
                  </a:lnTo>
                  <a:lnTo>
                    <a:pt x="362" y="474"/>
                  </a:lnTo>
                  <a:lnTo>
                    <a:pt x="359" y="477"/>
                  </a:lnTo>
                  <a:lnTo>
                    <a:pt x="352" y="477"/>
                  </a:lnTo>
                  <a:lnTo>
                    <a:pt x="338" y="481"/>
                  </a:lnTo>
                  <a:lnTo>
                    <a:pt x="333" y="486"/>
                  </a:lnTo>
                  <a:lnTo>
                    <a:pt x="333" y="489"/>
                  </a:lnTo>
                  <a:lnTo>
                    <a:pt x="336" y="499"/>
                  </a:lnTo>
                  <a:lnTo>
                    <a:pt x="333" y="508"/>
                  </a:lnTo>
                  <a:lnTo>
                    <a:pt x="327" y="518"/>
                  </a:lnTo>
                  <a:lnTo>
                    <a:pt x="324" y="530"/>
                  </a:lnTo>
                  <a:lnTo>
                    <a:pt x="326" y="532"/>
                  </a:lnTo>
                  <a:lnTo>
                    <a:pt x="332" y="546"/>
                  </a:lnTo>
                  <a:lnTo>
                    <a:pt x="341" y="563"/>
                  </a:lnTo>
                  <a:lnTo>
                    <a:pt x="343" y="563"/>
                  </a:lnTo>
                  <a:lnTo>
                    <a:pt x="349" y="556"/>
                  </a:lnTo>
                  <a:lnTo>
                    <a:pt x="361" y="550"/>
                  </a:lnTo>
                  <a:lnTo>
                    <a:pt x="373" y="547"/>
                  </a:lnTo>
                  <a:lnTo>
                    <a:pt x="381" y="550"/>
                  </a:lnTo>
                  <a:lnTo>
                    <a:pt x="381" y="554"/>
                  </a:lnTo>
                  <a:lnTo>
                    <a:pt x="381" y="560"/>
                  </a:lnTo>
                  <a:lnTo>
                    <a:pt x="386" y="567"/>
                  </a:lnTo>
                  <a:lnTo>
                    <a:pt x="391" y="572"/>
                  </a:lnTo>
                  <a:lnTo>
                    <a:pt x="396" y="579"/>
                  </a:lnTo>
                  <a:lnTo>
                    <a:pt x="396" y="588"/>
                  </a:lnTo>
                  <a:lnTo>
                    <a:pt x="394" y="601"/>
                  </a:lnTo>
                  <a:lnTo>
                    <a:pt x="391" y="613"/>
                  </a:lnTo>
                  <a:lnTo>
                    <a:pt x="389" y="618"/>
                  </a:lnTo>
                  <a:lnTo>
                    <a:pt x="381" y="623"/>
                  </a:lnTo>
                  <a:lnTo>
                    <a:pt x="374" y="620"/>
                  </a:lnTo>
                  <a:lnTo>
                    <a:pt x="359" y="611"/>
                  </a:lnTo>
                  <a:lnTo>
                    <a:pt x="352" y="608"/>
                  </a:lnTo>
                  <a:lnTo>
                    <a:pt x="345" y="608"/>
                  </a:lnTo>
                  <a:lnTo>
                    <a:pt x="332" y="615"/>
                  </a:lnTo>
                  <a:lnTo>
                    <a:pt x="361" y="674"/>
                  </a:lnTo>
                  <a:lnTo>
                    <a:pt x="373" y="688"/>
                  </a:lnTo>
                  <a:lnTo>
                    <a:pt x="384" y="697"/>
                  </a:lnTo>
                  <a:lnTo>
                    <a:pt x="393" y="700"/>
                  </a:lnTo>
                  <a:lnTo>
                    <a:pt x="396" y="694"/>
                  </a:lnTo>
                  <a:lnTo>
                    <a:pt x="400" y="691"/>
                  </a:lnTo>
                  <a:lnTo>
                    <a:pt x="409" y="694"/>
                  </a:lnTo>
                  <a:lnTo>
                    <a:pt x="422" y="700"/>
                  </a:lnTo>
                  <a:lnTo>
                    <a:pt x="466" y="701"/>
                  </a:lnTo>
                  <a:lnTo>
                    <a:pt x="479" y="704"/>
                  </a:lnTo>
                  <a:lnTo>
                    <a:pt x="492" y="712"/>
                  </a:lnTo>
                  <a:lnTo>
                    <a:pt x="514" y="730"/>
                  </a:lnTo>
                  <a:lnTo>
                    <a:pt x="527" y="736"/>
                  </a:lnTo>
                  <a:lnTo>
                    <a:pt x="527" y="748"/>
                  </a:lnTo>
                  <a:lnTo>
                    <a:pt x="533" y="767"/>
                  </a:lnTo>
                  <a:lnTo>
                    <a:pt x="542" y="784"/>
                  </a:lnTo>
                  <a:lnTo>
                    <a:pt x="550" y="792"/>
                  </a:lnTo>
                  <a:lnTo>
                    <a:pt x="555" y="793"/>
                  </a:lnTo>
                  <a:lnTo>
                    <a:pt x="571" y="803"/>
                  </a:lnTo>
                  <a:lnTo>
                    <a:pt x="575" y="806"/>
                  </a:lnTo>
                  <a:lnTo>
                    <a:pt x="577" y="816"/>
                  </a:lnTo>
                  <a:lnTo>
                    <a:pt x="577" y="832"/>
                  </a:lnTo>
                  <a:lnTo>
                    <a:pt x="581" y="851"/>
                  </a:lnTo>
                  <a:lnTo>
                    <a:pt x="593" y="864"/>
                  </a:lnTo>
                  <a:lnTo>
                    <a:pt x="617" y="880"/>
                  </a:lnTo>
                  <a:lnTo>
                    <a:pt x="630" y="885"/>
                  </a:lnTo>
                  <a:lnTo>
                    <a:pt x="646" y="888"/>
                  </a:lnTo>
                  <a:lnTo>
                    <a:pt x="649" y="876"/>
                  </a:lnTo>
                  <a:lnTo>
                    <a:pt x="651" y="872"/>
                  </a:lnTo>
                  <a:lnTo>
                    <a:pt x="651" y="869"/>
                  </a:lnTo>
                  <a:lnTo>
                    <a:pt x="651" y="866"/>
                  </a:lnTo>
                  <a:lnTo>
                    <a:pt x="652" y="866"/>
                  </a:lnTo>
                  <a:lnTo>
                    <a:pt x="652" y="864"/>
                  </a:lnTo>
                  <a:lnTo>
                    <a:pt x="654" y="863"/>
                  </a:lnTo>
                  <a:lnTo>
                    <a:pt x="655" y="861"/>
                  </a:lnTo>
                  <a:lnTo>
                    <a:pt x="655" y="860"/>
                  </a:lnTo>
                  <a:lnTo>
                    <a:pt x="657" y="856"/>
                  </a:lnTo>
                  <a:lnTo>
                    <a:pt x="657" y="854"/>
                  </a:lnTo>
                  <a:lnTo>
                    <a:pt x="658" y="854"/>
                  </a:lnTo>
                  <a:lnTo>
                    <a:pt x="660" y="854"/>
                  </a:lnTo>
                  <a:lnTo>
                    <a:pt x="664" y="856"/>
                  </a:lnTo>
                  <a:lnTo>
                    <a:pt x="667" y="857"/>
                  </a:lnTo>
                  <a:lnTo>
                    <a:pt x="667" y="857"/>
                  </a:lnTo>
                  <a:lnTo>
                    <a:pt x="670" y="860"/>
                  </a:lnTo>
                  <a:lnTo>
                    <a:pt x="671" y="860"/>
                  </a:lnTo>
                  <a:lnTo>
                    <a:pt x="671" y="863"/>
                  </a:lnTo>
                  <a:lnTo>
                    <a:pt x="670" y="867"/>
                  </a:lnTo>
                  <a:lnTo>
                    <a:pt x="670" y="870"/>
                  </a:lnTo>
                  <a:lnTo>
                    <a:pt x="670" y="872"/>
                  </a:lnTo>
                  <a:lnTo>
                    <a:pt x="670" y="873"/>
                  </a:lnTo>
                  <a:lnTo>
                    <a:pt x="670" y="873"/>
                  </a:lnTo>
                  <a:lnTo>
                    <a:pt x="671" y="873"/>
                  </a:lnTo>
                  <a:lnTo>
                    <a:pt x="671" y="875"/>
                  </a:lnTo>
                  <a:lnTo>
                    <a:pt x="671" y="875"/>
                  </a:lnTo>
                  <a:lnTo>
                    <a:pt x="673" y="875"/>
                  </a:lnTo>
                  <a:lnTo>
                    <a:pt x="677" y="873"/>
                  </a:lnTo>
                  <a:lnTo>
                    <a:pt x="712" y="844"/>
                  </a:lnTo>
                  <a:lnTo>
                    <a:pt x="721" y="841"/>
                  </a:lnTo>
                  <a:lnTo>
                    <a:pt x="731" y="844"/>
                  </a:lnTo>
                  <a:lnTo>
                    <a:pt x="731" y="844"/>
                  </a:lnTo>
                  <a:lnTo>
                    <a:pt x="734" y="843"/>
                  </a:lnTo>
                  <a:lnTo>
                    <a:pt x="735" y="841"/>
                  </a:lnTo>
                  <a:lnTo>
                    <a:pt x="738" y="832"/>
                  </a:lnTo>
                  <a:lnTo>
                    <a:pt x="740" y="829"/>
                  </a:lnTo>
                  <a:lnTo>
                    <a:pt x="741" y="828"/>
                  </a:lnTo>
                  <a:lnTo>
                    <a:pt x="745" y="827"/>
                  </a:lnTo>
                  <a:lnTo>
                    <a:pt x="748" y="827"/>
                  </a:lnTo>
                  <a:lnTo>
                    <a:pt x="751" y="827"/>
                  </a:lnTo>
                  <a:lnTo>
                    <a:pt x="756" y="828"/>
                  </a:lnTo>
                  <a:lnTo>
                    <a:pt x="759" y="825"/>
                  </a:lnTo>
                  <a:lnTo>
                    <a:pt x="760" y="824"/>
                  </a:lnTo>
                  <a:lnTo>
                    <a:pt x="764" y="805"/>
                  </a:lnTo>
                  <a:lnTo>
                    <a:pt x="766" y="803"/>
                  </a:lnTo>
                  <a:lnTo>
                    <a:pt x="767" y="802"/>
                  </a:lnTo>
                  <a:lnTo>
                    <a:pt x="767" y="802"/>
                  </a:lnTo>
                  <a:lnTo>
                    <a:pt x="769" y="800"/>
                  </a:lnTo>
                  <a:lnTo>
                    <a:pt x="769" y="800"/>
                  </a:lnTo>
                  <a:lnTo>
                    <a:pt x="786" y="805"/>
                  </a:lnTo>
                  <a:lnTo>
                    <a:pt x="789" y="805"/>
                  </a:lnTo>
                  <a:lnTo>
                    <a:pt x="791" y="803"/>
                  </a:lnTo>
                  <a:lnTo>
                    <a:pt x="796" y="797"/>
                  </a:lnTo>
                  <a:lnTo>
                    <a:pt x="798" y="796"/>
                  </a:lnTo>
                  <a:lnTo>
                    <a:pt x="801" y="796"/>
                  </a:lnTo>
                  <a:lnTo>
                    <a:pt x="802" y="796"/>
                  </a:lnTo>
                  <a:lnTo>
                    <a:pt x="804" y="797"/>
                  </a:lnTo>
                  <a:lnTo>
                    <a:pt x="804" y="797"/>
                  </a:lnTo>
                  <a:lnTo>
                    <a:pt x="805" y="799"/>
                  </a:lnTo>
                  <a:lnTo>
                    <a:pt x="804" y="802"/>
                  </a:lnTo>
                  <a:lnTo>
                    <a:pt x="804" y="803"/>
                  </a:lnTo>
                  <a:lnTo>
                    <a:pt x="799" y="809"/>
                  </a:lnTo>
                  <a:lnTo>
                    <a:pt x="796" y="816"/>
                  </a:lnTo>
                  <a:lnTo>
                    <a:pt x="795" y="821"/>
                  </a:lnTo>
                  <a:lnTo>
                    <a:pt x="795" y="822"/>
                  </a:lnTo>
                  <a:lnTo>
                    <a:pt x="795" y="824"/>
                  </a:lnTo>
                  <a:lnTo>
                    <a:pt x="796" y="825"/>
                  </a:lnTo>
                  <a:lnTo>
                    <a:pt x="808" y="834"/>
                  </a:lnTo>
                  <a:lnTo>
                    <a:pt x="808" y="835"/>
                  </a:lnTo>
                  <a:lnTo>
                    <a:pt x="808" y="838"/>
                  </a:lnTo>
                  <a:lnTo>
                    <a:pt x="810" y="841"/>
                  </a:lnTo>
                  <a:lnTo>
                    <a:pt x="810" y="845"/>
                  </a:lnTo>
                  <a:lnTo>
                    <a:pt x="811" y="847"/>
                  </a:lnTo>
                  <a:lnTo>
                    <a:pt x="813" y="847"/>
                  </a:lnTo>
                  <a:lnTo>
                    <a:pt x="814" y="848"/>
                  </a:lnTo>
                  <a:lnTo>
                    <a:pt x="814" y="851"/>
                  </a:lnTo>
                  <a:lnTo>
                    <a:pt x="814" y="856"/>
                  </a:lnTo>
                  <a:lnTo>
                    <a:pt x="814" y="857"/>
                  </a:lnTo>
                  <a:lnTo>
                    <a:pt x="813" y="860"/>
                  </a:lnTo>
                  <a:lnTo>
                    <a:pt x="813" y="863"/>
                  </a:lnTo>
                  <a:lnTo>
                    <a:pt x="811" y="870"/>
                  </a:lnTo>
                  <a:lnTo>
                    <a:pt x="811" y="878"/>
                  </a:lnTo>
                  <a:lnTo>
                    <a:pt x="811" y="879"/>
                  </a:lnTo>
                  <a:lnTo>
                    <a:pt x="810" y="880"/>
                  </a:lnTo>
                  <a:lnTo>
                    <a:pt x="810" y="880"/>
                  </a:lnTo>
                  <a:lnTo>
                    <a:pt x="808" y="882"/>
                  </a:lnTo>
                  <a:lnTo>
                    <a:pt x="805" y="883"/>
                  </a:lnTo>
                  <a:lnTo>
                    <a:pt x="799" y="885"/>
                  </a:lnTo>
                  <a:lnTo>
                    <a:pt x="798" y="885"/>
                  </a:lnTo>
                  <a:lnTo>
                    <a:pt x="798" y="886"/>
                  </a:lnTo>
                  <a:lnTo>
                    <a:pt x="796" y="888"/>
                  </a:lnTo>
                  <a:lnTo>
                    <a:pt x="798" y="891"/>
                  </a:lnTo>
                  <a:lnTo>
                    <a:pt x="799" y="901"/>
                  </a:lnTo>
                  <a:lnTo>
                    <a:pt x="801" y="905"/>
                  </a:lnTo>
                  <a:lnTo>
                    <a:pt x="801" y="910"/>
                  </a:lnTo>
                  <a:lnTo>
                    <a:pt x="801" y="912"/>
                  </a:lnTo>
                  <a:lnTo>
                    <a:pt x="802" y="915"/>
                  </a:lnTo>
                  <a:lnTo>
                    <a:pt x="805" y="917"/>
                  </a:lnTo>
                  <a:lnTo>
                    <a:pt x="811" y="918"/>
                  </a:lnTo>
                  <a:lnTo>
                    <a:pt x="814" y="921"/>
                  </a:lnTo>
                  <a:lnTo>
                    <a:pt x="823" y="936"/>
                  </a:lnTo>
                  <a:lnTo>
                    <a:pt x="831" y="940"/>
                  </a:lnTo>
                  <a:lnTo>
                    <a:pt x="834" y="943"/>
                  </a:lnTo>
                  <a:lnTo>
                    <a:pt x="846" y="956"/>
                  </a:lnTo>
                  <a:lnTo>
                    <a:pt x="846" y="956"/>
                  </a:lnTo>
                  <a:lnTo>
                    <a:pt x="846" y="955"/>
                  </a:lnTo>
                  <a:lnTo>
                    <a:pt x="847" y="955"/>
                  </a:lnTo>
                  <a:lnTo>
                    <a:pt x="849" y="955"/>
                  </a:lnTo>
                  <a:lnTo>
                    <a:pt x="849" y="958"/>
                  </a:lnTo>
                  <a:lnTo>
                    <a:pt x="850" y="969"/>
                  </a:lnTo>
                  <a:lnTo>
                    <a:pt x="859" y="969"/>
                  </a:lnTo>
                  <a:lnTo>
                    <a:pt x="871" y="974"/>
                  </a:lnTo>
                  <a:lnTo>
                    <a:pt x="920" y="1004"/>
                  </a:lnTo>
                  <a:lnTo>
                    <a:pt x="935" y="1009"/>
                  </a:lnTo>
                  <a:lnTo>
                    <a:pt x="947" y="1004"/>
                  </a:lnTo>
                  <a:lnTo>
                    <a:pt x="949" y="998"/>
                  </a:lnTo>
                  <a:lnTo>
                    <a:pt x="954" y="993"/>
                  </a:lnTo>
                  <a:lnTo>
                    <a:pt x="955" y="990"/>
                  </a:lnTo>
                  <a:lnTo>
                    <a:pt x="955" y="987"/>
                  </a:lnTo>
                  <a:lnTo>
                    <a:pt x="955" y="985"/>
                  </a:lnTo>
                  <a:lnTo>
                    <a:pt x="955" y="984"/>
                  </a:lnTo>
                  <a:lnTo>
                    <a:pt x="955" y="979"/>
                  </a:lnTo>
                  <a:lnTo>
                    <a:pt x="958" y="962"/>
                  </a:lnTo>
                  <a:lnTo>
                    <a:pt x="958" y="959"/>
                  </a:lnTo>
                  <a:lnTo>
                    <a:pt x="960" y="958"/>
                  </a:lnTo>
                  <a:lnTo>
                    <a:pt x="963" y="956"/>
                  </a:lnTo>
                  <a:lnTo>
                    <a:pt x="967" y="953"/>
                  </a:lnTo>
                  <a:lnTo>
                    <a:pt x="970" y="953"/>
                  </a:lnTo>
                  <a:lnTo>
                    <a:pt x="971" y="953"/>
                  </a:lnTo>
                  <a:lnTo>
                    <a:pt x="976" y="955"/>
                  </a:lnTo>
                  <a:lnTo>
                    <a:pt x="977" y="955"/>
                  </a:lnTo>
                  <a:lnTo>
                    <a:pt x="979" y="953"/>
                  </a:lnTo>
                  <a:lnTo>
                    <a:pt x="980" y="949"/>
                  </a:lnTo>
                  <a:lnTo>
                    <a:pt x="980" y="947"/>
                  </a:lnTo>
                  <a:lnTo>
                    <a:pt x="981" y="943"/>
                  </a:lnTo>
                  <a:lnTo>
                    <a:pt x="981" y="943"/>
                  </a:lnTo>
                  <a:lnTo>
                    <a:pt x="983" y="942"/>
                  </a:lnTo>
                  <a:lnTo>
                    <a:pt x="989" y="940"/>
                  </a:lnTo>
                  <a:lnTo>
                    <a:pt x="996" y="937"/>
                  </a:lnTo>
                  <a:lnTo>
                    <a:pt x="999" y="937"/>
                  </a:lnTo>
                  <a:lnTo>
                    <a:pt x="1002" y="936"/>
                  </a:lnTo>
                  <a:lnTo>
                    <a:pt x="1016" y="924"/>
                  </a:lnTo>
                  <a:lnTo>
                    <a:pt x="1022" y="921"/>
                  </a:lnTo>
                  <a:lnTo>
                    <a:pt x="1022" y="920"/>
                  </a:lnTo>
                  <a:lnTo>
                    <a:pt x="1022" y="918"/>
                  </a:lnTo>
                  <a:lnTo>
                    <a:pt x="1022" y="917"/>
                  </a:lnTo>
                  <a:lnTo>
                    <a:pt x="1024" y="912"/>
                  </a:lnTo>
                  <a:lnTo>
                    <a:pt x="1024" y="911"/>
                  </a:lnTo>
                  <a:lnTo>
                    <a:pt x="1024" y="910"/>
                  </a:lnTo>
                  <a:lnTo>
                    <a:pt x="1027" y="904"/>
                  </a:lnTo>
                  <a:lnTo>
                    <a:pt x="1027" y="902"/>
                  </a:lnTo>
                  <a:lnTo>
                    <a:pt x="1027" y="899"/>
                  </a:lnTo>
                  <a:lnTo>
                    <a:pt x="1025" y="896"/>
                  </a:lnTo>
                  <a:lnTo>
                    <a:pt x="1025" y="892"/>
                  </a:lnTo>
                  <a:lnTo>
                    <a:pt x="1025" y="891"/>
                  </a:lnTo>
                  <a:lnTo>
                    <a:pt x="1025" y="889"/>
                  </a:lnTo>
                  <a:lnTo>
                    <a:pt x="1027" y="888"/>
                  </a:lnTo>
                  <a:lnTo>
                    <a:pt x="1030" y="888"/>
                  </a:lnTo>
                  <a:lnTo>
                    <a:pt x="1032" y="889"/>
                  </a:lnTo>
                  <a:lnTo>
                    <a:pt x="1034" y="889"/>
                  </a:lnTo>
                  <a:lnTo>
                    <a:pt x="1035" y="889"/>
                  </a:lnTo>
                  <a:lnTo>
                    <a:pt x="1051" y="888"/>
                  </a:lnTo>
                  <a:lnTo>
                    <a:pt x="1053" y="888"/>
                  </a:lnTo>
                  <a:lnTo>
                    <a:pt x="1054" y="888"/>
                  </a:lnTo>
                  <a:lnTo>
                    <a:pt x="1054" y="889"/>
                  </a:lnTo>
                  <a:lnTo>
                    <a:pt x="1056" y="891"/>
                  </a:lnTo>
                  <a:lnTo>
                    <a:pt x="1056" y="891"/>
                  </a:lnTo>
                  <a:lnTo>
                    <a:pt x="1057" y="892"/>
                  </a:lnTo>
                  <a:lnTo>
                    <a:pt x="1057" y="894"/>
                  </a:lnTo>
                  <a:lnTo>
                    <a:pt x="1057" y="898"/>
                  </a:lnTo>
                  <a:lnTo>
                    <a:pt x="1059" y="899"/>
                  </a:lnTo>
                  <a:lnTo>
                    <a:pt x="1059" y="901"/>
                  </a:lnTo>
                  <a:lnTo>
                    <a:pt x="1060" y="901"/>
                  </a:lnTo>
                  <a:lnTo>
                    <a:pt x="1062" y="901"/>
                  </a:lnTo>
                  <a:lnTo>
                    <a:pt x="1063" y="899"/>
                  </a:lnTo>
                  <a:lnTo>
                    <a:pt x="1065" y="895"/>
                  </a:lnTo>
                  <a:lnTo>
                    <a:pt x="1067" y="894"/>
                  </a:lnTo>
                  <a:lnTo>
                    <a:pt x="1069" y="892"/>
                  </a:lnTo>
                  <a:lnTo>
                    <a:pt x="1069" y="891"/>
                  </a:lnTo>
                  <a:lnTo>
                    <a:pt x="1067" y="889"/>
                  </a:lnTo>
                  <a:lnTo>
                    <a:pt x="1065" y="889"/>
                  </a:lnTo>
                  <a:lnTo>
                    <a:pt x="1065" y="889"/>
                  </a:lnTo>
                  <a:lnTo>
                    <a:pt x="1067" y="888"/>
                  </a:lnTo>
                  <a:lnTo>
                    <a:pt x="1069" y="886"/>
                  </a:lnTo>
                  <a:lnTo>
                    <a:pt x="1069" y="883"/>
                  </a:lnTo>
                  <a:lnTo>
                    <a:pt x="1067" y="880"/>
                  </a:lnTo>
                  <a:lnTo>
                    <a:pt x="1065" y="864"/>
                  </a:lnTo>
                  <a:lnTo>
                    <a:pt x="1063" y="854"/>
                  </a:lnTo>
                  <a:lnTo>
                    <a:pt x="1066" y="853"/>
                  </a:lnTo>
                  <a:lnTo>
                    <a:pt x="1069" y="851"/>
                  </a:lnTo>
                  <a:lnTo>
                    <a:pt x="1069" y="850"/>
                  </a:lnTo>
                  <a:lnTo>
                    <a:pt x="1069" y="848"/>
                  </a:lnTo>
                  <a:lnTo>
                    <a:pt x="1069" y="847"/>
                  </a:lnTo>
                  <a:lnTo>
                    <a:pt x="1069" y="845"/>
                  </a:lnTo>
                  <a:lnTo>
                    <a:pt x="1069" y="843"/>
                  </a:lnTo>
                  <a:lnTo>
                    <a:pt x="1069" y="841"/>
                  </a:lnTo>
                  <a:lnTo>
                    <a:pt x="1069" y="840"/>
                  </a:lnTo>
                  <a:lnTo>
                    <a:pt x="1069" y="838"/>
                  </a:lnTo>
                  <a:lnTo>
                    <a:pt x="1066" y="834"/>
                  </a:lnTo>
                  <a:lnTo>
                    <a:pt x="1066" y="831"/>
                  </a:lnTo>
                  <a:lnTo>
                    <a:pt x="1066" y="829"/>
                  </a:lnTo>
                  <a:lnTo>
                    <a:pt x="1066" y="828"/>
                  </a:lnTo>
                  <a:lnTo>
                    <a:pt x="1066" y="827"/>
                  </a:lnTo>
                  <a:lnTo>
                    <a:pt x="1065" y="824"/>
                  </a:lnTo>
                  <a:lnTo>
                    <a:pt x="1063" y="822"/>
                  </a:lnTo>
                  <a:lnTo>
                    <a:pt x="1059" y="816"/>
                  </a:lnTo>
                  <a:lnTo>
                    <a:pt x="1054" y="815"/>
                  </a:lnTo>
                  <a:lnTo>
                    <a:pt x="1049" y="812"/>
                  </a:lnTo>
                  <a:lnTo>
                    <a:pt x="1046" y="812"/>
                  </a:lnTo>
                  <a:lnTo>
                    <a:pt x="1043" y="812"/>
                  </a:lnTo>
                  <a:lnTo>
                    <a:pt x="1038" y="812"/>
                  </a:lnTo>
                  <a:lnTo>
                    <a:pt x="1035" y="811"/>
                  </a:lnTo>
                  <a:lnTo>
                    <a:pt x="1031" y="808"/>
                  </a:lnTo>
                  <a:lnTo>
                    <a:pt x="1024" y="797"/>
                  </a:lnTo>
                  <a:lnTo>
                    <a:pt x="1021" y="793"/>
                  </a:lnTo>
                  <a:lnTo>
                    <a:pt x="1018" y="790"/>
                  </a:lnTo>
                  <a:lnTo>
                    <a:pt x="1016" y="789"/>
                  </a:lnTo>
                  <a:lnTo>
                    <a:pt x="1008" y="786"/>
                  </a:lnTo>
                  <a:lnTo>
                    <a:pt x="1005" y="786"/>
                  </a:lnTo>
                  <a:lnTo>
                    <a:pt x="1002" y="786"/>
                  </a:lnTo>
                  <a:lnTo>
                    <a:pt x="1000" y="784"/>
                  </a:lnTo>
                  <a:lnTo>
                    <a:pt x="1000" y="784"/>
                  </a:lnTo>
                  <a:lnTo>
                    <a:pt x="1000" y="783"/>
                  </a:lnTo>
                  <a:lnTo>
                    <a:pt x="1003" y="768"/>
                  </a:lnTo>
                  <a:lnTo>
                    <a:pt x="1005" y="764"/>
                  </a:lnTo>
                  <a:lnTo>
                    <a:pt x="1005" y="758"/>
                  </a:lnTo>
                  <a:lnTo>
                    <a:pt x="1003" y="751"/>
                  </a:lnTo>
                  <a:lnTo>
                    <a:pt x="1003" y="748"/>
                  </a:lnTo>
                  <a:lnTo>
                    <a:pt x="1002" y="742"/>
                  </a:lnTo>
                  <a:lnTo>
                    <a:pt x="1002" y="741"/>
                  </a:lnTo>
                  <a:lnTo>
                    <a:pt x="999" y="733"/>
                  </a:lnTo>
                  <a:lnTo>
                    <a:pt x="999" y="732"/>
                  </a:lnTo>
                  <a:lnTo>
                    <a:pt x="998" y="730"/>
                  </a:lnTo>
                  <a:lnTo>
                    <a:pt x="998" y="730"/>
                  </a:lnTo>
                  <a:lnTo>
                    <a:pt x="998" y="729"/>
                  </a:lnTo>
                  <a:lnTo>
                    <a:pt x="999" y="723"/>
                  </a:lnTo>
                  <a:lnTo>
                    <a:pt x="999" y="722"/>
                  </a:lnTo>
                  <a:lnTo>
                    <a:pt x="1002" y="716"/>
                  </a:lnTo>
                  <a:lnTo>
                    <a:pt x="1003" y="714"/>
                  </a:lnTo>
                  <a:lnTo>
                    <a:pt x="1006" y="713"/>
                  </a:lnTo>
                  <a:lnTo>
                    <a:pt x="1012" y="710"/>
                  </a:lnTo>
                  <a:lnTo>
                    <a:pt x="1019" y="706"/>
                  </a:lnTo>
                  <a:lnTo>
                    <a:pt x="1037" y="690"/>
                  </a:lnTo>
                  <a:lnTo>
                    <a:pt x="1044" y="684"/>
                  </a:lnTo>
                  <a:lnTo>
                    <a:pt x="1046" y="684"/>
                  </a:lnTo>
                  <a:lnTo>
                    <a:pt x="1047" y="684"/>
                  </a:lnTo>
                  <a:lnTo>
                    <a:pt x="1049" y="685"/>
                  </a:lnTo>
                  <a:lnTo>
                    <a:pt x="1053" y="687"/>
                  </a:lnTo>
                  <a:lnTo>
                    <a:pt x="1053" y="687"/>
                  </a:lnTo>
                  <a:lnTo>
                    <a:pt x="1053" y="688"/>
                  </a:lnTo>
                  <a:lnTo>
                    <a:pt x="1053" y="688"/>
                  </a:lnTo>
                  <a:lnTo>
                    <a:pt x="1051" y="690"/>
                  </a:lnTo>
                  <a:lnTo>
                    <a:pt x="1051" y="691"/>
                  </a:lnTo>
                  <a:lnTo>
                    <a:pt x="1053" y="693"/>
                  </a:lnTo>
                  <a:lnTo>
                    <a:pt x="1053" y="693"/>
                  </a:lnTo>
                  <a:lnTo>
                    <a:pt x="1053" y="694"/>
                  </a:lnTo>
                  <a:lnTo>
                    <a:pt x="1054" y="694"/>
                  </a:lnTo>
                  <a:lnTo>
                    <a:pt x="1054" y="694"/>
                  </a:lnTo>
                  <a:lnTo>
                    <a:pt x="1056" y="694"/>
                  </a:lnTo>
                  <a:lnTo>
                    <a:pt x="1066" y="693"/>
                  </a:lnTo>
                  <a:lnTo>
                    <a:pt x="1067" y="691"/>
                  </a:lnTo>
                  <a:lnTo>
                    <a:pt x="1069" y="690"/>
                  </a:lnTo>
                  <a:lnTo>
                    <a:pt x="1069" y="690"/>
                  </a:lnTo>
                  <a:lnTo>
                    <a:pt x="1070" y="688"/>
                  </a:lnTo>
                  <a:lnTo>
                    <a:pt x="1070" y="688"/>
                  </a:lnTo>
                  <a:lnTo>
                    <a:pt x="1072" y="688"/>
                  </a:lnTo>
                  <a:lnTo>
                    <a:pt x="1070" y="688"/>
                  </a:lnTo>
                  <a:lnTo>
                    <a:pt x="1057" y="684"/>
                  </a:lnTo>
                  <a:lnTo>
                    <a:pt x="1056" y="682"/>
                  </a:lnTo>
                  <a:lnTo>
                    <a:pt x="1056" y="682"/>
                  </a:lnTo>
                  <a:lnTo>
                    <a:pt x="1053" y="681"/>
                  </a:lnTo>
                  <a:lnTo>
                    <a:pt x="1053" y="678"/>
                  </a:lnTo>
                  <a:lnTo>
                    <a:pt x="1051" y="677"/>
                  </a:lnTo>
                  <a:lnTo>
                    <a:pt x="1051" y="662"/>
                  </a:lnTo>
                  <a:lnTo>
                    <a:pt x="1051" y="659"/>
                  </a:lnTo>
                  <a:lnTo>
                    <a:pt x="1050" y="659"/>
                  </a:lnTo>
                  <a:lnTo>
                    <a:pt x="1046" y="658"/>
                  </a:lnTo>
                  <a:lnTo>
                    <a:pt x="1044" y="652"/>
                  </a:lnTo>
                  <a:lnTo>
                    <a:pt x="1044" y="645"/>
                  </a:lnTo>
                  <a:lnTo>
                    <a:pt x="1041" y="639"/>
                  </a:lnTo>
                  <a:lnTo>
                    <a:pt x="1038" y="637"/>
                  </a:lnTo>
                  <a:lnTo>
                    <a:pt x="1025" y="639"/>
                  </a:lnTo>
                  <a:lnTo>
                    <a:pt x="1015" y="636"/>
                  </a:lnTo>
                  <a:lnTo>
                    <a:pt x="1008" y="630"/>
                  </a:lnTo>
                  <a:lnTo>
                    <a:pt x="1003" y="621"/>
                  </a:lnTo>
                  <a:lnTo>
                    <a:pt x="999" y="611"/>
                  </a:lnTo>
                  <a:lnTo>
                    <a:pt x="999" y="607"/>
                  </a:lnTo>
                  <a:lnTo>
                    <a:pt x="1002" y="602"/>
                  </a:lnTo>
                  <a:lnTo>
                    <a:pt x="1015" y="582"/>
                  </a:lnTo>
                  <a:lnTo>
                    <a:pt x="1016" y="580"/>
                  </a:lnTo>
                  <a:lnTo>
                    <a:pt x="1019" y="579"/>
                  </a:lnTo>
                  <a:lnTo>
                    <a:pt x="1022" y="579"/>
                  </a:lnTo>
                  <a:lnTo>
                    <a:pt x="1025" y="582"/>
                  </a:lnTo>
                  <a:lnTo>
                    <a:pt x="1028" y="583"/>
                  </a:lnTo>
                  <a:lnTo>
                    <a:pt x="1031" y="580"/>
                  </a:lnTo>
                  <a:lnTo>
                    <a:pt x="1034" y="580"/>
                  </a:lnTo>
                  <a:lnTo>
                    <a:pt x="1047" y="576"/>
                  </a:lnTo>
                  <a:lnTo>
                    <a:pt x="1053" y="572"/>
                  </a:lnTo>
                  <a:lnTo>
                    <a:pt x="1067" y="554"/>
                  </a:lnTo>
                  <a:lnTo>
                    <a:pt x="1108" y="528"/>
                  </a:lnTo>
                  <a:lnTo>
                    <a:pt x="1110" y="522"/>
                  </a:lnTo>
                  <a:lnTo>
                    <a:pt x="1113" y="519"/>
                  </a:lnTo>
                  <a:lnTo>
                    <a:pt x="1116" y="514"/>
                  </a:lnTo>
                  <a:lnTo>
                    <a:pt x="1117" y="503"/>
                  </a:lnTo>
                  <a:lnTo>
                    <a:pt x="1116" y="486"/>
                  </a:lnTo>
                  <a:lnTo>
                    <a:pt x="1116" y="476"/>
                  </a:lnTo>
                  <a:lnTo>
                    <a:pt x="1117" y="468"/>
                  </a:lnTo>
                  <a:lnTo>
                    <a:pt x="1114" y="457"/>
                  </a:lnTo>
                  <a:lnTo>
                    <a:pt x="1111" y="433"/>
                  </a:lnTo>
                  <a:lnTo>
                    <a:pt x="1108" y="425"/>
                  </a:lnTo>
                  <a:lnTo>
                    <a:pt x="1113" y="426"/>
                  </a:lnTo>
                  <a:lnTo>
                    <a:pt x="1116" y="428"/>
                  </a:lnTo>
                  <a:lnTo>
                    <a:pt x="1118" y="422"/>
                  </a:lnTo>
                  <a:lnTo>
                    <a:pt x="1132" y="407"/>
                  </a:lnTo>
                  <a:lnTo>
                    <a:pt x="1121" y="404"/>
                  </a:lnTo>
                  <a:lnTo>
                    <a:pt x="1097" y="419"/>
                  </a:lnTo>
                  <a:close/>
                  <a:moveTo>
                    <a:pt x="145" y="174"/>
                  </a:moveTo>
                  <a:lnTo>
                    <a:pt x="145" y="141"/>
                  </a:lnTo>
                  <a:lnTo>
                    <a:pt x="145" y="139"/>
                  </a:lnTo>
                  <a:lnTo>
                    <a:pt x="147" y="126"/>
                  </a:lnTo>
                  <a:lnTo>
                    <a:pt x="147" y="122"/>
                  </a:lnTo>
                  <a:lnTo>
                    <a:pt x="148" y="120"/>
                  </a:lnTo>
                  <a:lnTo>
                    <a:pt x="160" y="113"/>
                  </a:lnTo>
                  <a:lnTo>
                    <a:pt x="161" y="113"/>
                  </a:lnTo>
                  <a:lnTo>
                    <a:pt x="166" y="112"/>
                  </a:lnTo>
                  <a:lnTo>
                    <a:pt x="167" y="113"/>
                  </a:lnTo>
                  <a:lnTo>
                    <a:pt x="172" y="119"/>
                  </a:lnTo>
                  <a:lnTo>
                    <a:pt x="173" y="120"/>
                  </a:lnTo>
                  <a:lnTo>
                    <a:pt x="198" y="120"/>
                  </a:lnTo>
                  <a:lnTo>
                    <a:pt x="202" y="119"/>
                  </a:lnTo>
                  <a:lnTo>
                    <a:pt x="212" y="112"/>
                  </a:lnTo>
                  <a:lnTo>
                    <a:pt x="217" y="109"/>
                  </a:lnTo>
                  <a:lnTo>
                    <a:pt x="260" y="110"/>
                  </a:lnTo>
                  <a:lnTo>
                    <a:pt x="269" y="104"/>
                  </a:lnTo>
                  <a:lnTo>
                    <a:pt x="193" y="107"/>
                  </a:lnTo>
                  <a:lnTo>
                    <a:pt x="177" y="103"/>
                  </a:lnTo>
                  <a:lnTo>
                    <a:pt x="166" y="93"/>
                  </a:lnTo>
                  <a:lnTo>
                    <a:pt x="167" y="71"/>
                  </a:lnTo>
                  <a:lnTo>
                    <a:pt x="164" y="59"/>
                  </a:lnTo>
                  <a:lnTo>
                    <a:pt x="167" y="48"/>
                  </a:lnTo>
                  <a:lnTo>
                    <a:pt x="174" y="37"/>
                  </a:lnTo>
                  <a:lnTo>
                    <a:pt x="189" y="30"/>
                  </a:lnTo>
                  <a:lnTo>
                    <a:pt x="192" y="21"/>
                  </a:lnTo>
                  <a:lnTo>
                    <a:pt x="189" y="14"/>
                  </a:lnTo>
                  <a:lnTo>
                    <a:pt x="179" y="13"/>
                  </a:lnTo>
                  <a:lnTo>
                    <a:pt x="182" y="10"/>
                  </a:lnTo>
                  <a:lnTo>
                    <a:pt x="204" y="8"/>
                  </a:lnTo>
                  <a:lnTo>
                    <a:pt x="186" y="0"/>
                  </a:lnTo>
                  <a:lnTo>
                    <a:pt x="172" y="18"/>
                  </a:lnTo>
                  <a:lnTo>
                    <a:pt x="145" y="93"/>
                  </a:lnTo>
                  <a:lnTo>
                    <a:pt x="142" y="106"/>
                  </a:lnTo>
                  <a:lnTo>
                    <a:pt x="138" y="170"/>
                  </a:lnTo>
                  <a:lnTo>
                    <a:pt x="138" y="186"/>
                  </a:lnTo>
                  <a:lnTo>
                    <a:pt x="141" y="195"/>
                  </a:lnTo>
                  <a:lnTo>
                    <a:pt x="144" y="193"/>
                  </a:lnTo>
                  <a:lnTo>
                    <a:pt x="145" y="184"/>
                  </a:lnTo>
                  <a:lnTo>
                    <a:pt x="145" y="174"/>
                  </a:lnTo>
                  <a:close/>
                  <a:moveTo>
                    <a:pt x="281" y="599"/>
                  </a:moveTo>
                  <a:lnTo>
                    <a:pt x="279" y="598"/>
                  </a:lnTo>
                  <a:lnTo>
                    <a:pt x="279" y="595"/>
                  </a:lnTo>
                  <a:lnTo>
                    <a:pt x="279" y="592"/>
                  </a:lnTo>
                  <a:lnTo>
                    <a:pt x="279" y="589"/>
                  </a:lnTo>
                  <a:lnTo>
                    <a:pt x="276" y="589"/>
                  </a:lnTo>
                  <a:lnTo>
                    <a:pt x="273" y="592"/>
                  </a:lnTo>
                  <a:lnTo>
                    <a:pt x="272" y="594"/>
                  </a:lnTo>
                  <a:lnTo>
                    <a:pt x="271" y="598"/>
                  </a:lnTo>
                  <a:lnTo>
                    <a:pt x="271" y="601"/>
                  </a:lnTo>
                  <a:lnTo>
                    <a:pt x="272" y="605"/>
                  </a:lnTo>
                  <a:lnTo>
                    <a:pt x="276" y="610"/>
                  </a:lnTo>
                  <a:lnTo>
                    <a:pt x="281" y="611"/>
                  </a:lnTo>
                  <a:lnTo>
                    <a:pt x="282" y="608"/>
                  </a:lnTo>
                  <a:lnTo>
                    <a:pt x="282" y="605"/>
                  </a:lnTo>
                  <a:lnTo>
                    <a:pt x="282" y="604"/>
                  </a:lnTo>
                  <a:lnTo>
                    <a:pt x="282" y="601"/>
                  </a:lnTo>
                  <a:lnTo>
                    <a:pt x="281" y="59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7">
              <a:extLst>
                <a:ext uri="{FF2B5EF4-FFF2-40B4-BE49-F238E27FC236}">
                  <a16:creationId xmlns:a16="http://schemas.microsoft.com/office/drawing/2014/main" id="{E71F6DEF-D809-4FC0-94F6-7F0584996578}"/>
                </a:ext>
              </a:extLst>
            </p:cNvPr>
            <p:cNvSpPr>
              <a:spLocks/>
            </p:cNvSpPr>
            <p:nvPr/>
          </p:nvSpPr>
          <p:spPr bwMode="gray">
            <a:xfrm>
              <a:off x="6169026" y="1893888"/>
              <a:ext cx="1470025" cy="1893888"/>
            </a:xfrm>
            <a:custGeom>
              <a:avLst/>
              <a:gdLst>
                <a:gd name="T0" fmla="*/ 807 w 926"/>
                <a:gd name="T1" fmla="*/ 781 h 1193"/>
                <a:gd name="T2" fmla="*/ 721 w 926"/>
                <a:gd name="T3" fmla="*/ 818 h 1193"/>
                <a:gd name="T4" fmla="*/ 584 w 926"/>
                <a:gd name="T5" fmla="*/ 845 h 1193"/>
                <a:gd name="T6" fmla="*/ 561 w 926"/>
                <a:gd name="T7" fmla="*/ 896 h 1193"/>
                <a:gd name="T8" fmla="*/ 556 w 926"/>
                <a:gd name="T9" fmla="*/ 947 h 1193"/>
                <a:gd name="T10" fmla="*/ 545 w 926"/>
                <a:gd name="T11" fmla="*/ 987 h 1193"/>
                <a:gd name="T12" fmla="*/ 555 w 926"/>
                <a:gd name="T13" fmla="*/ 1049 h 1193"/>
                <a:gd name="T14" fmla="*/ 574 w 926"/>
                <a:gd name="T15" fmla="*/ 1105 h 1193"/>
                <a:gd name="T16" fmla="*/ 583 w 926"/>
                <a:gd name="T17" fmla="*/ 1167 h 1193"/>
                <a:gd name="T18" fmla="*/ 521 w 926"/>
                <a:gd name="T19" fmla="*/ 1177 h 1193"/>
                <a:gd name="T20" fmla="*/ 473 w 926"/>
                <a:gd name="T21" fmla="*/ 1154 h 1193"/>
                <a:gd name="T22" fmla="*/ 396 w 926"/>
                <a:gd name="T23" fmla="*/ 1128 h 1193"/>
                <a:gd name="T24" fmla="*/ 335 w 926"/>
                <a:gd name="T25" fmla="*/ 1099 h 1193"/>
                <a:gd name="T26" fmla="*/ 294 w 926"/>
                <a:gd name="T27" fmla="*/ 1086 h 1193"/>
                <a:gd name="T28" fmla="*/ 266 w 926"/>
                <a:gd name="T29" fmla="*/ 1038 h 1193"/>
                <a:gd name="T30" fmla="*/ 218 w 926"/>
                <a:gd name="T31" fmla="*/ 934 h 1193"/>
                <a:gd name="T32" fmla="*/ 131 w 926"/>
                <a:gd name="T33" fmla="*/ 867 h 1193"/>
                <a:gd name="T34" fmla="*/ 127 w 926"/>
                <a:gd name="T35" fmla="*/ 837 h 1193"/>
                <a:gd name="T36" fmla="*/ 95 w 926"/>
                <a:gd name="T37" fmla="*/ 811 h 1193"/>
                <a:gd name="T38" fmla="*/ 22 w 926"/>
                <a:gd name="T39" fmla="*/ 744 h 1193"/>
                <a:gd name="T40" fmla="*/ 3 w 926"/>
                <a:gd name="T41" fmla="*/ 710 h 1193"/>
                <a:gd name="T42" fmla="*/ 22 w 926"/>
                <a:gd name="T43" fmla="*/ 668 h 1193"/>
                <a:gd name="T44" fmla="*/ 19 w 926"/>
                <a:gd name="T45" fmla="*/ 627 h 1193"/>
                <a:gd name="T46" fmla="*/ 6 w 926"/>
                <a:gd name="T47" fmla="*/ 604 h 1193"/>
                <a:gd name="T48" fmla="*/ 29 w 926"/>
                <a:gd name="T49" fmla="*/ 579 h 1193"/>
                <a:gd name="T50" fmla="*/ 138 w 926"/>
                <a:gd name="T51" fmla="*/ 560 h 1193"/>
                <a:gd name="T52" fmla="*/ 163 w 926"/>
                <a:gd name="T53" fmla="*/ 522 h 1193"/>
                <a:gd name="T54" fmla="*/ 157 w 926"/>
                <a:gd name="T55" fmla="*/ 495 h 1193"/>
                <a:gd name="T56" fmla="*/ 179 w 926"/>
                <a:gd name="T57" fmla="*/ 460 h 1193"/>
                <a:gd name="T58" fmla="*/ 166 w 926"/>
                <a:gd name="T59" fmla="*/ 449 h 1193"/>
                <a:gd name="T60" fmla="*/ 159 w 926"/>
                <a:gd name="T61" fmla="*/ 420 h 1193"/>
                <a:gd name="T62" fmla="*/ 153 w 926"/>
                <a:gd name="T63" fmla="*/ 401 h 1193"/>
                <a:gd name="T64" fmla="*/ 153 w 926"/>
                <a:gd name="T65" fmla="*/ 369 h 1193"/>
                <a:gd name="T66" fmla="*/ 140 w 926"/>
                <a:gd name="T67" fmla="*/ 314 h 1193"/>
                <a:gd name="T68" fmla="*/ 131 w 926"/>
                <a:gd name="T69" fmla="*/ 276 h 1193"/>
                <a:gd name="T70" fmla="*/ 132 w 926"/>
                <a:gd name="T71" fmla="*/ 246 h 1193"/>
                <a:gd name="T72" fmla="*/ 79 w 926"/>
                <a:gd name="T73" fmla="*/ 173 h 1193"/>
                <a:gd name="T74" fmla="*/ 65 w 926"/>
                <a:gd name="T75" fmla="*/ 132 h 1193"/>
                <a:gd name="T76" fmla="*/ 147 w 926"/>
                <a:gd name="T77" fmla="*/ 94 h 1193"/>
                <a:gd name="T78" fmla="*/ 178 w 926"/>
                <a:gd name="T79" fmla="*/ 81 h 1193"/>
                <a:gd name="T80" fmla="*/ 237 w 926"/>
                <a:gd name="T81" fmla="*/ 99 h 1193"/>
                <a:gd name="T82" fmla="*/ 323 w 926"/>
                <a:gd name="T83" fmla="*/ 61 h 1193"/>
                <a:gd name="T84" fmla="*/ 341 w 926"/>
                <a:gd name="T85" fmla="*/ 24 h 1193"/>
                <a:gd name="T86" fmla="*/ 398 w 926"/>
                <a:gd name="T87" fmla="*/ 39 h 1193"/>
                <a:gd name="T88" fmla="*/ 485 w 926"/>
                <a:gd name="T89" fmla="*/ 94 h 1193"/>
                <a:gd name="T90" fmla="*/ 559 w 926"/>
                <a:gd name="T91" fmla="*/ 101 h 1193"/>
                <a:gd name="T92" fmla="*/ 569 w 926"/>
                <a:gd name="T93" fmla="*/ 168 h 1193"/>
                <a:gd name="T94" fmla="*/ 574 w 926"/>
                <a:gd name="T95" fmla="*/ 203 h 1193"/>
                <a:gd name="T96" fmla="*/ 551 w 926"/>
                <a:gd name="T97" fmla="*/ 265 h 1193"/>
                <a:gd name="T98" fmla="*/ 549 w 926"/>
                <a:gd name="T99" fmla="*/ 294 h 1193"/>
                <a:gd name="T100" fmla="*/ 568 w 926"/>
                <a:gd name="T101" fmla="*/ 294 h 1193"/>
                <a:gd name="T102" fmla="*/ 594 w 926"/>
                <a:gd name="T103" fmla="*/ 305 h 1193"/>
                <a:gd name="T104" fmla="*/ 583 w 926"/>
                <a:gd name="T105" fmla="*/ 346 h 1193"/>
                <a:gd name="T106" fmla="*/ 577 w 926"/>
                <a:gd name="T107" fmla="*/ 387 h 1193"/>
                <a:gd name="T108" fmla="*/ 569 w 926"/>
                <a:gd name="T109" fmla="*/ 439 h 1193"/>
                <a:gd name="T110" fmla="*/ 567 w 926"/>
                <a:gd name="T111" fmla="*/ 487 h 1193"/>
                <a:gd name="T112" fmla="*/ 626 w 926"/>
                <a:gd name="T113" fmla="*/ 576 h 1193"/>
                <a:gd name="T114" fmla="*/ 670 w 926"/>
                <a:gd name="T115" fmla="*/ 596 h 1193"/>
                <a:gd name="T116" fmla="*/ 778 w 926"/>
                <a:gd name="T117" fmla="*/ 629 h 1193"/>
                <a:gd name="T118" fmla="*/ 868 w 926"/>
                <a:gd name="T119" fmla="*/ 679 h 1193"/>
                <a:gd name="T120" fmla="*/ 900 w 926"/>
                <a:gd name="T121" fmla="*/ 719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6" h="1193">
                  <a:moveTo>
                    <a:pt x="867" y="813"/>
                  </a:moveTo>
                  <a:lnTo>
                    <a:pt x="859" y="811"/>
                  </a:lnTo>
                  <a:lnTo>
                    <a:pt x="852" y="803"/>
                  </a:lnTo>
                  <a:lnTo>
                    <a:pt x="851" y="802"/>
                  </a:lnTo>
                  <a:lnTo>
                    <a:pt x="848" y="800"/>
                  </a:lnTo>
                  <a:lnTo>
                    <a:pt x="845" y="802"/>
                  </a:lnTo>
                  <a:lnTo>
                    <a:pt x="843" y="803"/>
                  </a:lnTo>
                  <a:lnTo>
                    <a:pt x="842" y="805"/>
                  </a:lnTo>
                  <a:lnTo>
                    <a:pt x="838" y="806"/>
                  </a:lnTo>
                  <a:lnTo>
                    <a:pt x="832" y="800"/>
                  </a:lnTo>
                  <a:lnTo>
                    <a:pt x="824" y="796"/>
                  </a:lnTo>
                  <a:lnTo>
                    <a:pt x="820" y="796"/>
                  </a:lnTo>
                  <a:lnTo>
                    <a:pt x="816" y="793"/>
                  </a:lnTo>
                  <a:lnTo>
                    <a:pt x="810" y="790"/>
                  </a:lnTo>
                  <a:lnTo>
                    <a:pt x="807" y="781"/>
                  </a:lnTo>
                  <a:lnTo>
                    <a:pt x="797" y="783"/>
                  </a:lnTo>
                  <a:lnTo>
                    <a:pt x="794" y="787"/>
                  </a:lnTo>
                  <a:lnTo>
                    <a:pt x="775" y="803"/>
                  </a:lnTo>
                  <a:lnTo>
                    <a:pt x="769" y="806"/>
                  </a:lnTo>
                  <a:lnTo>
                    <a:pt x="759" y="802"/>
                  </a:lnTo>
                  <a:lnTo>
                    <a:pt x="746" y="800"/>
                  </a:lnTo>
                  <a:lnTo>
                    <a:pt x="740" y="803"/>
                  </a:lnTo>
                  <a:lnTo>
                    <a:pt x="737" y="809"/>
                  </a:lnTo>
                  <a:lnTo>
                    <a:pt x="734" y="813"/>
                  </a:lnTo>
                  <a:lnTo>
                    <a:pt x="731" y="816"/>
                  </a:lnTo>
                  <a:lnTo>
                    <a:pt x="727" y="821"/>
                  </a:lnTo>
                  <a:lnTo>
                    <a:pt x="725" y="821"/>
                  </a:lnTo>
                  <a:lnTo>
                    <a:pt x="722" y="821"/>
                  </a:lnTo>
                  <a:lnTo>
                    <a:pt x="722" y="819"/>
                  </a:lnTo>
                  <a:lnTo>
                    <a:pt x="721" y="818"/>
                  </a:lnTo>
                  <a:lnTo>
                    <a:pt x="720" y="818"/>
                  </a:lnTo>
                  <a:lnTo>
                    <a:pt x="686" y="824"/>
                  </a:lnTo>
                  <a:lnTo>
                    <a:pt x="682" y="821"/>
                  </a:lnTo>
                  <a:lnTo>
                    <a:pt x="657" y="819"/>
                  </a:lnTo>
                  <a:lnTo>
                    <a:pt x="654" y="819"/>
                  </a:lnTo>
                  <a:lnTo>
                    <a:pt x="651" y="821"/>
                  </a:lnTo>
                  <a:lnTo>
                    <a:pt x="650" y="831"/>
                  </a:lnTo>
                  <a:lnTo>
                    <a:pt x="650" y="834"/>
                  </a:lnTo>
                  <a:lnTo>
                    <a:pt x="648" y="835"/>
                  </a:lnTo>
                  <a:lnTo>
                    <a:pt x="647" y="837"/>
                  </a:lnTo>
                  <a:lnTo>
                    <a:pt x="620" y="840"/>
                  </a:lnTo>
                  <a:lnTo>
                    <a:pt x="603" y="848"/>
                  </a:lnTo>
                  <a:lnTo>
                    <a:pt x="600" y="848"/>
                  </a:lnTo>
                  <a:lnTo>
                    <a:pt x="590" y="847"/>
                  </a:lnTo>
                  <a:lnTo>
                    <a:pt x="584" y="845"/>
                  </a:lnTo>
                  <a:lnTo>
                    <a:pt x="581" y="843"/>
                  </a:lnTo>
                  <a:lnTo>
                    <a:pt x="578" y="843"/>
                  </a:lnTo>
                  <a:lnTo>
                    <a:pt x="578" y="843"/>
                  </a:lnTo>
                  <a:lnTo>
                    <a:pt x="577" y="844"/>
                  </a:lnTo>
                  <a:lnTo>
                    <a:pt x="577" y="847"/>
                  </a:lnTo>
                  <a:lnTo>
                    <a:pt x="577" y="850"/>
                  </a:lnTo>
                  <a:lnTo>
                    <a:pt x="575" y="851"/>
                  </a:lnTo>
                  <a:lnTo>
                    <a:pt x="575" y="853"/>
                  </a:lnTo>
                  <a:lnTo>
                    <a:pt x="574" y="853"/>
                  </a:lnTo>
                  <a:lnTo>
                    <a:pt x="565" y="861"/>
                  </a:lnTo>
                  <a:lnTo>
                    <a:pt x="565" y="886"/>
                  </a:lnTo>
                  <a:lnTo>
                    <a:pt x="564" y="894"/>
                  </a:lnTo>
                  <a:lnTo>
                    <a:pt x="562" y="894"/>
                  </a:lnTo>
                  <a:lnTo>
                    <a:pt x="561" y="895"/>
                  </a:lnTo>
                  <a:lnTo>
                    <a:pt x="561" y="896"/>
                  </a:lnTo>
                  <a:lnTo>
                    <a:pt x="558" y="899"/>
                  </a:lnTo>
                  <a:lnTo>
                    <a:pt x="558" y="901"/>
                  </a:lnTo>
                  <a:lnTo>
                    <a:pt x="553" y="904"/>
                  </a:lnTo>
                  <a:lnTo>
                    <a:pt x="552" y="905"/>
                  </a:lnTo>
                  <a:lnTo>
                    <a:pt x="552" y="907"/>
                  </a:lnTo>
                  <a:lnTo>
                    <a:pt x="552" y="908"/>
                  </a:lnTo>
                  <a:lnTo>
                    <a:pt x="552" y="910"/>
                  </a:lnTo>
                  <a:lnTo>
                    <a:pt x="552" y="917"/>
                  </a:lnTo>
                  <a:lnTo>
                    <a:pt x="552" y="918"/>
                  </a:lnTo>
                  <a:lnTo>
                    <a:pt x="553" y="920"/>
                  </a:lnTo>
                  <a:lnTo>
                    <a:pt x="553" y="921"/>
                  </a:lnTo>
                  <a:lnTo>
                    <a:pt x="555" y="924"/>
                  </a:lnTo>
                  <a:lnTo>
                    <a:pt x="556" y="937"/>
                  </a:lnTo>
                  <a:lnTo>
                    <a:pt x="556" y="946"/>
                  </a:lnTo>
                  <a:lnTo>
                    <a:pt x="556" y="947"/>
                  </a:lnTo>
                  <a:lnTo>
                    <a:pt x="558" y="950"/>
                  </a:lnTo>
                  <a:lnTo>
                    <a:pt x="559" y="953"/>
                  </a:lnTo>
                  <a:lnTo>
                    <a:pt x="561" y="959"/>
                  </a:lnTo>
                  <a:lnTo>
                    <a:pt x="562" y="963"/>
                  </a:lnTo>
                  <a:lnTo>
                    <a:pt x="562" y="968"/>
                  </a:lnTo>
                  <a:lnTo>
                    <a:pt x="561" y="971"/>
                  </a:lnTo>
                  <a:lnTo>
                    <a:pt x="561" y="972"/>
                  </a:lnTo>
                  <a:lnTo>
                    <a:pt x="561" y="974"/>
                  </a:lnTo>
                  <a:lnTo>
                    <a:pt x="559" y="975"/>
                  </a:lnTo>
                  <a:lnTo>
                    <a:pt x="558" y="977"/>
                  </a:lnTo>
                  <a:lnTo>
                    <a:pt x="558" y="977"/>
                  </a:lnTo>
                  <a:lnTo>
                    <a:pt x="552" y="977"/>
                  </a:lnTo>
                  <a:lnTo>
                    <a:pt x="551" y="978"/>
                  </a:lnTo>
                  <a:lnTo>
                    <a:pt x="548" y="981"/>
                  </a:lnTo>
                  <a:lnTo>
                    <a:pt x="545" y="987"/>
                  </a:lnTo>
                  <a:lnTo>
                    <a:pt x="543" y="990"/>
                  </a:lnTo>
                  <a:lnTo>
                    <a:pt x="543" y="993"/>
                  </a:lnTo>
                  <a:lnTo>
                    <a:pt x="543" y="994"/>
                  </a:lnTo>
                  <a:lnTo>
                    <a:pt x="543" y="995"/>
                  </a:lnTo>
                  <a:lnTo>
                    <a:pt x="543" y="995"/>
                  </a:lnTo>
                  <a:lnTo>
                    <a:pt x="545" y="997"/>
                  </a:lnTo>
                  <a:lnTo>
                    <a:pt x="545" y="998"/>
                  </a:lnTo>
                  <a:lnTo>
                    <a:pt x="546" y="1003"/>
                  </a:lnTo>
                  <a:lnTo>
                    <a:pt x="546" y="1014"/>
                  </a:lnTo>
                  <a:lnTo>
                    <a:pt x="553" y="1023"/>
                  </a:lnTo>
                  <a:lnTo>
                    <a:pt x="555" y="1029"/>
                  </a:lnTo>
                  <a:lnTo>
                    <a:pt x="555" y="1045"/>
                  </a:lnTo>
                  <a:lnTo>
                    <a:pt x="555" y="1046"/>
                  </a:lnTo>
                  <a:lnTo>
                    <a:pt x="555" y="1048"/>
                  </a:lnTo>
                  <a:lnTo>
                    <a:pt x="555" y="1049"/>
                  </a:lnTo>
                  <a:lnTo>
                    <a:pt x="553" y="1051"/>
                  </a:lnTo>
                  <a:lnTo>
                    <a:pt x="552" y="1054"/>
                  </a:lnTo>
                  <a:lnTo>
                    <a:pt x="551" y="1055"/>
                  </a:lnTo>
                  <a:lnTo>
                    <a:pt x="551" y="1059"/>
                  </a:lnTo>
                  <a:lnTo>
                    <a:pt x="553" y="1061"/>
                  </a:lnTo>
                  <a:lnTo>
                    <a:pt x="561" y="1064"/>
                  </a:lnTo>
                  <a:lnTo>
                    <a:pt x="559" y="1078"/>
                  </a:lnTo>
                  <a:lnTo>
                    <a:pt x="562" y="1084"/>
                  </a:lnTo>
                  <a:lnTo>
                    <a:pt x="569" y="1090"/>
                  </a:lnTo>
                  <a:lnTo>
                    <a:pt x="571" y="1092"/>
                  </a:lnTo>
                  <a:lnTo>
                    <a:pt x="571" y="1094"/>
                  </a:lnTo>
                  <a:lnTo>
                    <a:pt x="571" y="1097"/>
                  </a:lnTo>
                  <a:lnTo>
                    <a:pt x="572" y="1102"/>
                  </a:lnTo>
                  <a:lnTo>
                    <a:pt x="572" y="1103"/>
                  </a:lnTo>
                  <a:lnTo>
                    <a:pt x="574" y="1105"/>
                  </a:lnTo>
                  <a:lnTo>
                    <a:pt x="588" y="1108"/>
                  </a:lnTo>
                  <a:lnTo>
                    <a:pt x="590" y="1112"/>
                  </a:lnTo>
                  <a:lnTo>
                    <a:pt x="590" y="1113"/>
                  </a:lnTo>
                  <a:lnTo>
                    <a:pt x="584" y="1122"/>
                  </a:lnTo>
                  <a:lnTo>
                    <a:pt x="583" y="1131"/>
                  </a:lnTo>
                  <a:lnTo>
                    <a:pt x="583" y="1134"/>
                  </a:lnTo>
                  <a:lnTo>
                    <a:pt x="583" y="1135"/>
                  </a:lnTo>
                  <a:lnTo>
                    <a:pt x="588" y="1138"/>
                  </a:lnTo>
                  <a:lnTo>
                    <a:pt x="590" y="1140"/>
                  </a:lnTo>
                  <a:lnTo>
                    <a:pt x="591" y="1141"/>
                  </a:lnTo>
                  <a:lnTo>
                    <a:pt x="593" y="1144"/>
                  </a:lnTo>
                  <a:lnTo>
                    <a:pt x="593" y="1147"/>
                  </a:lnTo>
                  <a:lnTo>
                    <a:pt x="593" y="1148"/>
                  </a:lnTo>
                  <a:lnTo>
                    <a:pt x="584" y="1163"/>
                  </a:lnTo>
                  <a:lnTo>
                    <a:pt x="583" y="1167"/>
                  </a:lnTo>
                  <a:lnTo>
                    <a:pt x="572" y="1179"/>
                  </a:lnTo>
                  <a:lnTo>
                    <a:pt x="572" y="1183"/>
                  </a:lnTo>
                  <a:lnTo>
                    <a:pt x="574" y="1188"/>
                  </a:lnTo>
                  <a:lnTo>
                    <a:pt x="567" y="1193"/>
                  </a:lnTo>
                  <a:lnTo>
                    <a:pt x="564" y="1193"/>
                  </a:lnTo>
                  <a:lnTo>
                    <a:pt x="562" y="1188"/>
                  </a:lnTo>
                  <a:lnTo>
                    <a:pt x="559" y="1186"/>
                  </a:lnTo>
                  <a:lnTo>
                    <a:pt x="552" y="1180"/>
                  </a:lnTo>
                  <a:lnTo>
                    <a:pt x="551" y="1179"/>
                  </a:lnTo>
                  <a:lnTo>
                    <a:pt x="549" y="1179"/>
                  </a:lnTo>
                  <a:lnTo>
                    <a:pt x="546" y="1182"/>
                  </a:lnTo>
                  <a:lnTo>
                    <a:pt x="543" y="1183"/>
                  </a:lnTo>
                  <a:lnTo>
                    <a:pt x="540" y="1185"/>
                  </a:lnTo>
                  <a:lnTo>
                    <a:pt x="539" y="1185"/>
                  </a:lnTo>
                  <a:lnTo>
                    <a:pt x="521" y="1177"/>
                  </a:lnTo>
                  <a:lnTo>
                    <a:pt x="519" y="1177"/>
                  </a:lnTo>
                  <a:lnTo>
                    <a:pt x="517" y="1179"/>
                  </a:lnTo>
                  <a:lnTo>
                    <a:pt x="511" y="1180"/>
                  </a:lnTo>
                  <a:lnTo>
                    <a:pt x="498" y="1182"/>
                  </a:lnTo>
                  <a:lnTo>
                    <a:pt x="497" y="1182"/>
                  </a:lnTo>
                  <a:lnTo>
                    <a:pt x="495" y="1180"/>
                  </a:lnTo>
                  <a:lnTo>
                    <a:pt x="495" y="1179"/>
                  </a:lnTo>
                  <a:lnTo>
                    <a:pt x="495" y="1176"/>
                  </a:lnTo>
                  <a:lnTo>
                    <a:pt x="484" y="1170"/>
                  </a:lnTo>
                  <a:lnTo>
                    <a:pt x="482" y="1169"/>
                  </a:lnTo>
                  <a:lnTo>
                    <a:pt x="481" y="1166"/>
                  </a:lnTo>
                  <a:lnTo>
                    <a:pt x="481" y="1163"/>
                  </a:lnTo>
                  <a:lnTo>
                    <a:pt x="478" y="1160"/>
                  </a:lnTo>
                  <a:lnTo>
                    <a:pt x="476" y="1157"/>
                  </a:lnTo>
                  <a:lnTo>
                    <a:pt x="473" y="1154"/>
                  </a:lnTo>
                  <a:lnTo>
                    <a:pt x="456" y="1147"/>
                  </a:lnTo>
                  <a:lnTo>
                    <a:pt x="449" y="1141"/>
                  </a:lnTo>
                  <a:lnTo>
                    <a:pt x="444" y="1141"/>
                  </a:lnTo>
                  <a:lnTo>
                    <a:pt x="441" y="1141"/>
                  </a:lnTo>
                  <a:lnTo>
                    <a:pt x="414" y="1142"/>
                  </a:lnTo>
                  <a:lnTo>
                    <a:pt x="409" y="1147"/>
                  </a:lnTo>
                  <a:lnTo>
                    <a:pt x="406" y="1145"/>
                  </a:lnTo>
                  <a:lnTo>
                    <a:pt x="405" y="1144"/>
                  </a:lnTo>
                  <a:lnTo>
                    <a:pt x="403" y="1142"/>
                  </a:lnTo>
                  <a:lnTo>
                    <a:pt x="402" y="1141"/>
                  </a:lnTo>
                  <a:lnTo>
                    <a:pt x="402" y="1140"/>
                  </a:lnTo>
                  <a:lnTo>
                    <a:pt x="401" y="1135"/>
                  </a:lnTo>
                  <a:lnTo>
                    <a:pt x="401" y="1134"/>
                  </a:lnTo>
                  <a:lnTo>
                    <a:pt x="398" y="1129"/>
                  </a:lnTo>
                  <a:lnTo>
                    <a:pt x="396" y="1128"/>
                  </a:lnTo>
                  <a:lnTo>
                    <a:pt x="395" y="1124"/>
                  </a:lnTo>
                  <a:lnTo>
                    <a:pt x="392" y="1118"/>
                  </a:lnTo>
                  <a:lnTo>
                    <a:pt x="392" y="1113"/>
                  </a:lnTo>
                  <a:lnTo>
                    <a:pt x="392" y="1108"/>
                  </a:lnTo>
                  <a:lnTo>
                    <a:pt x="390" y="1105"/>
                  </a:lnTo>
                  <a:lnTo>
                    <a:pt x="389" y="1103"/>
                  </a:lnTo>
                  <a:lnTo>
                    <a:pt x="383" y="1099"/>
                  </a:lnTo>
                  <a:lnTo>
                    <a:pt x="382" y="1099"/>
                  </a:lnTo>
                  <a:lnTo>
                    <a:pt x="380" y="1097"/>
                  </a:lnTo>
                  <a:lnTo>
                    <a:pt x="373" y="1099"/>
                  </a:lnTo>
                  <a:lnTo>
                    <a:pt x="370" y="1100"/>
                  </a:lnTo>
                  <a:lnTo>
                    <a:pt x="367" y="1100"/>
                  </a:lnTo>
                  <a:lnTo>
                    <a:pt x="361" y="1100"/>
                  </a:lnTo>
                  <a:lnTo>
                    <a:pt x="351" y="1100"/>
                  </a:lnTo>
                  <a:lnTo>
                    <a:pt x="335" y="1099"/>
                  </a:lnTo>
                  <a:lnTo>
                    <a:pt x="333" y="1099"/>
                  </a:lnTo>
                  <a:lnTo>
                    <a:pt x="332" y="1100"/>
                  </a:lnTo>
                  <a:lnTo>
                    <a:pt x="329" y="1103"/>
                  </a:lnTo>
                  <a:lnTo>
                    <a:pt x="328" y="1103"/>
                  </a:lnTo>
                  <a:lnTo>
                    <a:pt x="326" y="1105"/>
                  </a:lnTo>
                  <a:lnTo>
                    <a:pt x="325" y="1105"/>
                  </a:lnTo>
                  <a:lnTo>
                    <a:pt x="306" y="1103"/>
                  </a:lnTo>
                  <a:lnTo>
                    <a:pt x="304" y="1103"/>
                  </a:lnTo>
                  <a:lnTo>
                    <a:pt x="300" y="1100"/>
                  </a:lnTo>
                  <a:lnTo>
                    <a:pt x="299" y="1100"/>
                  </a:lnTo>
                  <a:lnTo>
                    <a:pt x="299" y="1099"/>
                  </a:lnTo>
                  <a:lnTo>
                    <a:pt x="297" y="1097"/>
                  </a:lnTo>
                  <a:lnTo>
                    <a:pt x="297" y="1096"/>
                  </a:lnTo>
                  <a:lnTo>
                    <a:pt x="296" y="1093"/>
                  </a:lnTo>
                  <a:lnTo>
                    <a:pt x="294" y="1086"/>
                  </a:lnTo>
                  <a:lnTo>
                    <a:pt x="294" y="1086"/>
                  </a:lnTo>
                  <a:lnTo>
                    <a:pt x="296" y="1084"/>
                  </a:lnTo>
                  <a:lnTo>
                    <a:pt x="297" y="1084"/>
                  </a:lnTo>
                  <a:lnTo>
                    <a:pt x="297" y="1084"/>
                  </a:lnTo>
                  <a:lnTo>
                    <a:pt x="299" y="1083"/>
                  </a:lnTo>
                  <a:lnTo>
                    <a:pt x="299" y="1080"/>
                  </a:lnTo>
                  <a:lnTo>
                    <a:pt x="299" y="1077"/>
                  </a:lnTo>
                  <a:lnTo>
                    <a:pt x="299" y="1074"/>
                  </a:lnTo>
                  <a:lnTo>
                    <a:pt x="297" y="1073"/>
                  </a:lnTo>
                  <a:lnTo>
                    <a:pt x="296" y="1065"/>
                  </a:lnTo>
                  <a:lnTo>
                    <a:pt x="288" y="1052"/>
                  </a:lnTo>
                  <a:lnTo>
                    <a:pt x="284" y="1049"/>
                  </a:lnTo>
                  <a:lnTo>
                    <a:pt x="277" y="1046"/>
                  </a:lnTo>
                  <a:lnTo>
                    <a:pt x="269" y="1041"/>
                  </a:lnTo>
                  <a:lnTo>
                    <a:pt x="266" y="1038"/>
                  </a:lnTo>
                  <a:lnTo>
                    <a:pt x="265" y="1035"/>
                  </a:lnTo>
                  <a:lnTo>
                    <a:pt x="266" y="1032"/>
                  </a:lnTo>
                  <a:lnTo>
                    <a:pt x="268" y="1030"/>
                  </a:lnTo>
                  <a:lnTo>
                    <a:pt x="269" y="1027"/>
                  </a:lnTo>
                  <a:lnTo>
                    <a:pt x="272" y="1026"/>
                  </a:lnTo>
                  <a:lnTo>
                    <a:pt x="288" y="1025"/>
                  </a:lnTo>
                  <a:lnTo>
                    <a:pt x="297" y="1019"/>
                  </a:lnTo>
                  <a:lnTo>
                    <a:pt x="300" y="1016"/>
                  </a:lnTo>
                  <a:lnTo>
                    <a:pt x="304" y="1010"/>
                  </a:lnTo>
                  <a:lnTo>
                    <a:pt x="307" y="1004"/>
                  </a:lnTo>
                  <a:lnTo>
                    <a:pt x="287" y="974"/>
                  </a:lnTo>
                  <a:lnTo>
                    <a:pt x="277" y="956"/>
                  </a:lnTo>
                  <a:lnTo>
                    <a:pt x="259" y="942"/>
                  </a:lnTo>
                  <a:lnTo>
                    <a:pt x="250" y="939"/>
                  </a:lnTo>
                  <a:lnTo>
                    <a:pt x="218" y="934"/>
                  </a:lnTo>
                  <a:lnTo>
                    <a:pt x="202" y="934"/>
                  </a:lnTo>
                  <a:lnTo>
                    <a:pt x="150" y="927"/>
                  </a:lnTo>
                  <a:lnTo>
                    <a:pt x="140" y="923"/>
                  </a:lnTo>
                  <a:lnTo>
                    <a:pt x="137" y="917"/>
                  </a:lnTo>
                  <a:lnTo>
                    <a:pt x="137" y="912"/>
                  </a:lnTo>
                  <a:lnTo>
                    <a:pt x="138" y="908"/>
                  </a:lnTo>
                  <a:lnTo>
                    <a:pt x="140" y="898"/>
                  </a:lnTo>
                  <a:lnTo>
                    <a:pt x="140" y="895"/>
                  </a:lnTo>
                  <a:lnTo>
                    <a:pt x="140" y="894"/>
                  </a:lnTo>
                  <a:lnTo>
                    <a:pt x="135" y="889"/>
                  </a:lnTo>
                  <a:lnTo>
                    <a:pt x="132" y="880"/>
                  </a:lnTo>
                  <a:lnTo>
                    <a:pt x="131" y="879"/>
                  </a:lnTo>
                  <a:lnTo>
                    <a:pt x="131" y="878"/>
                  </a:lnTo>
                  <a:lnTo>
                    <a:pt x="131" y="876"/>
                  </a:lnTo>
                  <a:lnTo>
                    <a:pt x="131" y="867"/>
                  </a:lnTo>
                  <a:lnTo>
                    <a:pt x="131" y="864"/>
                  </a:lnTo>
                  <a:lnTo>
                    <a:pt x="131" y="863"/>
                  </a:lnTo>
                  <a:lnTo>
                    <a:pt x="130" y="861"/>
                  </a:lnTo>
                  <a:lnTo>
                    <a:pt x="128" y="861"/>
                  </a:lnTo>
                  <a:lnTo>
                    <a:pt x="127" y="859"/>
                  </a:lnTo>
                  <a:lnTo>
                    <a:pt x="124" y="854"/>
                  </a:lnTo>
                  <a:lnTo>
                    <a:pt x="121" y="845"/>
                  </a:lnTo>
                  <a:lnTo>
                    <a:pt x="119" y="841"/>
                  </a:lnTo>
                  <a:lnTo>
                    <a:pt x="119" y="837"/>
                  </a:lnTo>
                  <a:lnTo>
                    <a:pt x="119" y="835"/>
                  </a:lnTo>
                  <a:lnTo>
                    <a:pt x="121" y="835"/>
                  </a:lnTo>
                  <a:lnTo>
                    <a:pt x="122" y="834"/>
                  </a:lnTo>
                  <a:lnTo>
                    <a:pt x="124" y="834"/>
                  </a:lnTo>
                  <a:lnTo>
                    <a:pt x="124" y="835"/>
                  </a:lnTo>
                  <a:lnTo>
                    <a:pt x="127" y="837"/>
                  </a:lnTo>
                  <a:lnTo>
                    <a:pt x="128" y="837"/>
                  </a:lnTo>
                  <a:lnTo>
                    <a:pt x="130" y="837"/>
                  </a:lnTo>
                  <a:lnTo>
                    <a:pt x="131" y="835"/>
                  </a:lnTo>
                  <a:lnTo>
                    <a:pt x="132" y="834"/>
                  </a:lnTo>
                  <a:lnTo>
                    <a:pt x="132" y="832"/>
                  </a:lnTo>
                  <a:lnTo>
                    <a:pt x="132" y="829"/>
                  </a:lnTo>
                  <a:lnTo>
                    <a:pt x="131" y="824"/>
                  </a:lnTo>
                  <a:lnTo>
                    <a:pt x="130" y="822"/>
                  </a:lnTo>
                  <a:lnTo>
                    <a:pt x="128" y="821"/>
                  </a:lnTo>
                  <a:lnTo>
                    <a:pt x="124" y="821"/>
                  </a:lnTo>
                  <a:lnTo>
                    <a:pt x="112" y="816"/>
                  </a:lnTo>
                  <a:lnTo>
                    <a:pt x="108" y="812"/>
                  </a:lnTo>
                  <a:lnTo>
                    <a:pt x="99" y="812"/>
                  </a:lnTo>
                  <a:lnTo>
                    <a:pt x="97" y="811"/>
                  </a:lnTo>
                  <a:lnTo>
                    <a:pt x="95" y="811"/>
                  </a:lnTo>
                  <a:lnTo>
                    <a:pt x="87" y="805"/>
                  </a:lnTo>
                  <a:lnTo>
                    <a:pt x="84" y="803"/>
                  </a:lnTo>
                  <a:lnTo>
                    <a:pt x="81" y="803"/>
                  </a:lnTo>
                  <a:lnTo>
                    <a:pt x="49" y="803"/>
                  </a:lnTo>
                  <a:lnTo>
                    <a:pt x="45" y="800"/>
                  </a:lnTo>
                  <a:lnTo>
                    <a:pt x="35" y="783"/>
                  </a:lnTo>
                  <a:lnTo>
                    <a:pt x="35" y="770"/>
                  </a:lnTo>
                  <a:lnTo>
                    <a:pt x="35" y="767"/>
                  </a:lnTo>
                  <a:lnTo>
                    <a:pt x="33" y="761"/>
                  </a:lnTo>
                  <a:lnTo>
                    <a:pt x="32" y="760"/>
                  </a:lnTo>
                  <a:lnTo>
                    <a:pt x="30" y="758"/>
                  </a:lnTo>
                  <a:lnTo>
                    <a:pt x="26" y="754"/>
                  </a:lnTo>
                  <a:lnTo>
                    <a:pt x="26" y="754"/>
                  </a:lnTo>
                  <a:lnTo>
                    <a:pt x="23" y="748"/>
                  </a:lnTo>
                  <a:lnTo>
                    <a:pt x="22" y="744"/>
                  </a:lnTo>
                  <a:lnTo>
                    <a:pt x="20" y="742"/>
                  </a:lnTo>
                  <a:lnTo>
                    <a:pt x="19" y="736"/>
                  </a:lnTo>
                  <a:lnTo>
                    <a:pt x="19" y="735"/>
                  </a:lnTo>
                  <a:lnTo>
                    <a:pt x="17" y="732"/>
                  </a:lnTo>
                  <a:lnTo>
                    <a:pt x="16" y="732"/>
                  </a:lnTo>
                  <a:lnTo>
                    <a:pt x="14" y="730"/>
                  </a:lnTo>
                  <a:lnTo>
                    <a:pt x="12" y="729"/>
                  </a:lnTo>
                  <a:lnTo>
                    <a:pt x="10" y="726"/>
                  </a:lnTo>
                  <a:lnTo>
                    <a:pt x="9" y="726"/>
                  </a:lnTo>
                  <a:lnTo>
                    <a:pt x="7" y="723"/>
                  </a:lnTo>
                  <a:lnTo>
                    <a:pt x="6" y="722"/>
                  </a:lnTo>
                  <a:lnTo>
                    <a:pt x="6" y="720"/>
                  </a:lnTo>
                  <a:lnTo>
                    <a:pt x="4" y="719"/>
                  </a:lnTo>
                  <a:lnTo>
                    <a:pt x="4" y="712"/>
                  </a:lnTo>
                  <a:lnTo>
                    <a:pt x="3" y="710"/>
                  </a:lnTo>
                  <a:lnTo>
                    <a:pt x="3" y="709"/>
                  </a:lnTo>
                  <a:lnTo>
                    <a:pt x="3" y="707"/>
                  </a:lnTo>
                  <a:lnTo>
                    <a:pt x="4" y="693"/>
                  </a:lnTo>
                  <a:lnTo>
                    <a:pt x="4" y="684"/>
                  </a:lnTo>
                  <a:lnTo>
                    <a:pt x="4" y="682"/>
                  </a:lnTo>
                  <a:lnTo>
                    <a:pt x="6" y="681"/>
                  </a:lnTo>
                  <a:lnTo>
                    <a:pt x="12" y="679"/>
                  </a:lnTo>
                  <a:lnTo>
                    <a:pt x="12" y="678"/>
                  </a:lnTo>
                  <a:lnTo>
                    <a:pt x="13" y="677"/>
                  </a:lnTo>
                  <a:lnTo>
                    <a:pt x="14" y="674"/>
                  </a:lnTo>
                  <a:lnTo>
                    <a:pt x="16" y="672"/>
                  </a:lnTo>
                  <a:lnTo>
                    <a:pt x="17" y="671"/>
                  </a:lnTo>
                  <a:lnTo>
                    <a:pt x="20" y="671"/>
                  </a:lnTo>
                  <a:lnTo>
                    <a:pt x="20" y="669"/>
                  </a:lnTo>
                  <a:lnTo>
                    <a:pt x="22" y="668"/>
                  </a:lnTo>
                  <a:lnTo>
                    <a:pt x="23" y="665"/>
                  </a:lnTo>
                  <a:lnTo>
                    <a:pt x="23" y="663"/>
                  </a:lnTo>
                  <a:lnTo>
                    <a:pt x="25" y="663"/>
                  </a:lnTo>
                  <a:lnTo>
                    <a:pt x="25" y="662"/>
                  </a:lnTo>
                  <a:lnTo>
                    <a:pt x="25" y="661"/>
                  </a:lnTo>
                  <a:lnTo>
                    <a:pt x="25" y="658"/>
                  </a:lnTo>
                  <a:lnTo>
                    <a:pt x="23" y="649"/>
                  </a:lnTo>
                  <a:lnTo>
                    <a:pt x="23" y="647"/>
                  </a:lnTo>
                  <a:lnTo>
                    <a:pt x="22" y="646"/>
                  </a:lnTo>
                  <a:lnTo>
                    <a:pt x="16" y="642"/>
                  </a:lnTo>
                  <a:lnTo>
                    <a:pt x="16" y="640"/>
                  </a:lnTo>
                  <a:lnTo>
                    <a:pt x="14" y="640"/>
                  </a:lnTo>
                  <a:lnTo>
                    <a:pt x="16" y="634"/>
                  </a:lnTo>
                  <a:lnTo>
                    <a:pt x="17" y="629"/>
                  </a:lnTo>
                  <a:lnTo>
                    <a:pt x="19" y="627"/>
                  </a:lnTo>
                  <a:lnTo>
                    <a:pt x="20" y="626"/>
                  </a:lnTo>
                  <a:lnTo>
                    <a:pt x="25" y="624"/>
                  </a:lnTo>
                  <a:lnTo>
                    <a:pt x="26" y="623"/>
                  </a:lnTo>
                  <a:lnTo>
                    <a:pt x="26" y="621"/>
                  </a:lnTo>
                  <a:lnTo>
                    <a:pt x="26" y="620"/>
                  </a:lnTo>
                  <a:lnTo>
                    <a:pt x="25" y="620"/>
                  </a:lnTo>
                  <a:lnTo>
                    <a:pt x="23" y="621"/>
                  </a:lnTo>
                  <a:lnTo>
                    <a:pt x="20" y="621"/>
                  </a:lnTo>
                  <a:lnTo>
                    <a:pt x="19" y="620"/>
                  </a:lnTo>
                  <a:lnTo>
                    <a:pt x="17" y="617"/>
                  </a:lnTo>
                  <a:lnTo>
                    <a:pt x="16" y="615"/>
                  </a:lnTo>
                  <a:lnTo>
                    <a:pt x="7" y="611"/>
                  </a:lnTo>
                  <a:lnTo>
                    <a:pt x="7" y="607"/>
                  </a:lnTo>
                  <a:lnTo>
                    <a:pt x="6" y="605"/>
                  </a:lnTo>
                  <a:lnTo>
                    <a:pt x="6" y="604"/>
                  </a:lnTo>
                  <a:lnTo>
                    <a:pt x="1" y="598"/>
                  </a:lnTo>
                  <a:lnTo>
                    <a:pt x="0" y="596"/>
                  </a:lnTo>
                  <a:lnTo>
                    <a:pt x="0" y="596"/>
                  </a:lnTo>
                  <a:lnTo>
                    <a:pt x="0" y="596"/>
                  </a:lnTo>
                  <a:lnTo>
                    <a:pt x="0" y="595"/>
                  </a:lnTo>
                  <a:lnTo>
                    <a:pt x="0" y="594"/>
                  </a:lnTo>
                  <a:lnTo>
                    <a:pt x="1" y="592"/>
                  </a:lnTo>
                  <a:lnTo>
                    <a:pt x="4" y="591"/>
                  </a:lnTo>
                  <a:lnTo>
                    <a:pt x="14" y="592"/>
                  </a:lnTo>
                  <a:lnTo>
                    <a:pt x="16" y="592"/>
                  </a:lnTo>
                  <a:lnTo>
                    <a:pt x="19" y="591"/>
                  </a:lnTo>
                  <a:lnTo>
                    <a:pt x="23" y="588"/>
                  </a:lnTo>
                  <a:lnTo>
                    <a:pt x="26" y="583"/>
                  </a:lnTo>
                  <a:lnTo>
                    <a:pt x="29" y="580"/>
                  </a:lnTo>
                  <a:lnTo>
                    <a:pt x="29" y="579"/>
                  </a:lnTo>
                  <a:lnTo>
                    <a:pt x="29" y="578"/>
                  </a:lnTo>
                  <a:lnTo>
                    <a:pt x="29" y="576"/>
                  </a:lnTo>
                  <a:lnTo>
                    <a:pt x="29" y="575"/>
                  </a:lnTo>
                  <a:lnTo>
                    <a:pt x="29" y="573"/>
                  </a:lnTo>
                  <a:lnTo>
                    <a:pt x="32" y="572"/>
                  </a:lnTo>
                  <a:lnTo>
                    <a:pt x="51" y="569"/>
                  </a:lnTo>
                  <a:lnTo>
                    <a:pt x="97" y="569"/>
                  </a:lnTo>
                  <a:lnTo>
                    <a:pt x="106" y="564"/>
                  </a:lnTo>
                  <a:lnTo>
                    <a:pt x="114" y="564"/>
                  </a:lnTo>
                  <a:lnTo>
                    <a:pt x="131" y="564"/>
                  </a:lnTo>
                  <a:lnTo>
                    <a:pt x="134" y="564"/>
                  </a:lnTo>
                  <a:lnTo>
                    <a:pt x="135" y="564"/>
                  </a:lnTo>
                  <a:lnTo>
                    <a:pt x="137" y="563"/>
                  </a:lnTo>
                  <a:lnTo>
                    <a:pt x="138" y="563"/>
                  </a:lnTo>
                  <a:lnTo>
                    <a:pt x="138" y="560"/>
                  </a:lnTo>
                  <a:lnTo>
                    <a:pt x="140" y="559"/>
                  </a:lnTo>
                  <a:lnTo>
                    <a:pt x="140" y="554"/>
                  </a:lnTo>
                  <a:lnTo>
                    <a:pt x="140" y="551"/>
                  </a:lnTo>
                  <a:lnTo>
                    <a:pt x="138" y="550"/>
                  </a:lnTo>
                  <a:lnTo>
                    <a:pt x="138" y="550"/>
                  </a:lnTo>
                  <a:lnTo>
                    <a:pt x="132" y="546"/>
                  </a:lnTo>
                  <a:lnTo>
                    <a:pt x="132" y="544"/>
                  </a:lnTo>
                  <a:lnTo>
                    <a:pt x="131" y="544"/>
                  </a:lnTo>
                  <a:lnTo>
                    <a:pt x="131" y="543"/>
                  </a:lnTo>
                  <a:lnTo>
                    <a:pt x="132" y="541"/>
                  </a:lnTo>
                  <a:lnTo>
                    <a:pt x="132" y="540"/>
                  </a:lnTo>
                  <a:lnTo>
                    <a:pt x="135" y="538"/>
                  </a:lnTo>
                  <a:lnTo>
                    <a:pt x="147" y="534"/>
                  </a:lnTo>
                  <a:lnTo>
                    <a:pt x="154" y="530"/>
                  </a:lnTo>
                  <a:lnTo>
                    <a:pt x="163" y="522"/>
                  </a:lnTo>
                  <a:lnTo>
                    <a:pt x="164" y="521"/>
                  </a:lnTo>
                  <a:lnTo>
                    <a:pt x="166" y="518"/>
                  </a:lnTo>
                  <a:lnTo>
                    <a:pt x="169" y="514"/>
                  </a:lnTo>
                  <a:lnTo>
                    <a:pt x="170" y="511"/>
                  </a:lnTo>
                  <a:lnTo>
                    <a:pt x="170" y="508"/>
                  </a:lnTo>
                  <a:lnTo>
                    <a:pt x="169" y="502"/>
                  </a:lnTo>
                  <a:lnTo>
                    <a:pt x="167" y="500"/>
                  </a:lnTo>
                  <a:lnTo>
                    <a:pt x="166" y="499"/>
                  </a:lnTo>
                  <a:lnTo>
                    <a:pt x="164" y="499"/>
                  </a:lnTo>
                  <a:lnTo>
                    <a:pt x="163" y="499"/>
                  </a:lnTo>
                  <a:lnTo>
                    <a:pt x="162" y="499"/>
                  </a:lnTo>
                  <a:lnTo>
                    <a:pt x="160" y="497"/>
                  </a:lnTo>
                  <a:lnTo>
                    <a:pt x="159" y="497"/>
                  </a:lnTo>
                  <a:lnTo>
                    <a:pt x="159" y="496"/>
                  </a:lnTo>
                  <a:lnTo>
                    <a:pt x="157" y="495"/>
                  </a:lnTo>
                  <a:lnTo>
                    <a:pt x="156" y="492"/>
                  </a:lnTo>
                  <a:lnTo>
                    <a:pt x="156" y="490"/>
                  </a:lnTo>
                  <a:lnTo>
                    <a:pt x="157" y="487"/>
                  </a:lnTo>
                  <a:lnTo>
                    <a:pt x="160" y="481"/>
                  </a:lnTo>
                  <a:lnTo>
                    <a:pt x="162" y="479"/>
                  </a:lnTo>
                  <a:lnTo>
                    <a:pt x="163" y="477"/>
                  </a:lnTo>
                  <a:lnTo>
                    <a:pt x="170" y="474"/>
                  </a:lnTo>
                  <a:lnTo>
                    <a:pt x="175" y="474"/>
                  </a:lnTo>
                  <a:lnTo>
                    <a:pt x="176" y="473"/>
                  </a:lnTo>
                  <a:lnTo>
                    <a:pt x="178" y="471"/>
                  </a:lnTo>
                  <a:lnTo>
                    <a:pt x="179" y="470"/>
                  </a:lnTo>
                  <a:lnTo>
                    <a:pt x="179" y="468"/>
                  </a:lnTo>
                  <a:lnTo>
                    <a:pt x="179" y="467"/>
                  </a:lnTo>
                  <a:lnTo>
                    <a:pt x="179" y="461"/>
                  </a:lnTo>
                  <a:lnTo>
                    <a:pt x="179" y="460"/>
                  </a:lnTo>
                  <a:lnTo>
                    <a:pt x="179" y="458"/>
                  </a:lnTo>
                  <a:lnTo>
                    <a:pt x="176" y="455"/>
                  </a:lnTo>
                  <a:lnTo>
                    <a:pt x="176" y="455"/>
                  </a:lnTo>
                  <a:lnTo>
                    <a:pt x="175" y="455"/>
                  </a:lnTo>
                  <a:lnTo>
                    <a:pt x="175" y="457"/>
                  </a:lnTo>
                  <a:lnTo>
                    <a:pt x="175" y="458"/>
                  </a:lnTo>
                  <a:lnTo>
                    <a:pt x="173" y="458"/>
                  </a:lnTo>
                  <a:lnTo>
                    <a:pt x="173" y="460"/>
                  </a:lnTo>
                  <a:lnTo>
                    <a:pt x="172" y="460"/>
                  </a:lnTo>
                  <a:lnTo>
                    <a:pt x="172" y="458"/>
                  </a:lnTo>
                  <a:lnTo>
                    <a:pt x="172" y="455"/>
                  </a:lnTo>
                  <a:lnTo>
                    <a:pt x="172" y="451"/>
                  </a:lnTo>
                  <a:lnTo>
                    <a:pt x="170" y="449"/>
                  </a:lnTo>
                  <a:lnTo>
                    <a:pt x="169" y="449"/>
                  </a:lnTo>
                  <a:lnTo>
                    <a:pt x="166" y="449"/>
                  </a:lnTo>
                  <a:lnTo>
                    <a:pt x="164" y="449"/>
                  </a:lnTo>
                  <a:lnTo>
                    <a:pt x="164" y="448"/>
                  </a:lnTo>
                  <a:lnTo>
                    <a:pt x="163" y="445"/>
                  </a:lnTo>
                  <a:lnTo>
                    <a:pt x="162" y="444"/>
                  </a:lnTo>
                  <a:lnTo>
                    <a:pt x="159" y="442"/>
                  </a:lnTo>
                  <a:lnTo>
                    <a:pt x="154" y="435"/>
                  </a:lnTo>
                  <a:lnTo>
                    <a:pt x="154" y="433"/>
                  </a:lnTo>
                  <a:lnTo>
                    <a:pt x="156" y="432"/>
                  </a:lnTo>
                  <a:lnTo>
                    <a:pt x="157" y="431"/>
                  </a:lnTo>
                  <a:lnTo>
                    <a:pt x="160" y="428"/>
                  </a:lnTo>
                  <a:lnTo>
                    <a:pt x="162" y="426"/>
                  </a:lnTo>
                  <a:lnTo>
                    <a:pt x="162" y="425"/>
                  </a:lnTo>
                  <a:lnTo>
                    <a:pt x="160" y="422"/>
                  </a:lnTo>
                  <a:lnTo>
                    <a:pt x="159" y="420"/>
                  </a:lnTo>
                  <a:lnTo>
                    <a:pt x="159" y="420"/>
                  </a:lnTo>
                  <a:lnTo>
                    <a:pt x="159" y="419"/>
                  </a:lnTo>
                  <a:lnTo>
                    <a:pt x="159" y="417"/>
                  </a:lnTo>
                  <a:lnTo>
                    <a:pt x="157" y="416"/>
                  </a:lnTo>
                  <a:lnTo>
                    <a:pt x="157" y="416"/>
                  </a:lnTo>
                  <a:lnTo>
                    <a:pt x="157" y="414"/>
                  </a:lnTo>
                  <a:lnTo>
                    <a:pt x="154" y="413"/>
                  </a:lnTo>
                  <a:lnTo>
                    <a:pt x="151" y="412"/>
                  </a:lnTo>
                  <a:lnTo>
                    <a:pt x="150" y="412"/>
                  </a:lnTo>
                  <a:lnTo>
                    <a:pt x="150" y="410"/>
                  </a:lnTo>
                  <a:lnTo>
                    <a:pt x="150" y="409"/>
                  </a:lnTo>
                  <a:lnTo>
                    <a:pt x="150" y="406"/>
                  </a:lnTo>
                  <a:lnTo>
                    <a:pt x="150" y="404"/>
                  </a:lnTo>
                  <a:lnTo>
                    <a:pt x="150" y="404"/>
                  </a:lnTo>
                  <a:lnTo>
                    <a:pt x="150" y="403"/>
                  </a:lnTo>
                  <a:lnTo>
                    <a:pt x="153" y="401"/>
                  </a:lnTo>
                  <a:lnTo>
                    <a:pt x="156" y="400"/>
                  </a:lnTo>
                  <a:lnTo>
                    <a:pt x="166" y="398"/>
                  </a:lnTo>
                  <a:lnTo>
                    <a:pt x="172" y="397"/>
                  </a:lnTo>
                  <a:lnTo>
                    <a:pt x="173" y="396"/>
                  </a:lnTo>
                  <a:lnTo>
                    <a:pt x="173" y="394"/>
                  </a:lnTo>
                  <a:lnTo>
                    <a:pt x="175" y="391"/>
                  </a:lnTo>
                  <a:lnTo>
                    <a:pt x="175" y="388"/>
                  </a:lnTo>
                  <a:lnTo>
                    <a:pt x="175" y="387"/>
                  </a:lnTo>
                  <a:lnTo>
                    <a:pt x="173" y="384"/>
                  </a:lnTo>
                  <a:lnTo>
                    <a:pt x="173" y="382"/>
                  </a:lnTo>
                  <a:lnTo>
                    <a:pt x="163" y="374"/>
                  </a:lnTo>
                  <a:lnTo>
                    <a:pt x="159" y="372"/>
                  </a:lnTo>
                  <a:lnTo>
                    <a:pt x="157" y="372"/>
                  </a:lnTo>
                  <a:lnTo>
                    <a:pt x="154" y="371"/>
                  </a:lnTo>
                  <a:lnTo>
                    <a:pt x="153" y="369"/>
                  </a:lnTo>
                  <a:lnTo>
                    <a:pt x="128" y="336"/>
                  </a:lnTo>
                  <a:lnTo>
                    <a:pt x="130" y="330"/>
                  </a:lnTo>
                  <a:lnTo>
                    <a:pt x="130" y="327"/>
                  </a:lnTo>
                  <a:lnTo>
                    <a:pt x="130" y="326"/>
                  </a:lnTo>
                  <a:lnTo>
                    <a:pt x="131" y="324"/>
                  </a:lnTo>
                  <a:lnTo>
                    <a:pt x="131" y="324"/>
                  </a:lnTo>
                  <a:lnTo>
                    <a:pt x="131" y="323"/>
                  </a:lnTo>
                  <a:lnTo>
                    <a:pt x="131" y="321"/>
                  </a:lnTo>
                  <a:lnTo>
                    <a:pt x="131" y="320"/>
                  </a:lnTo>
                  <a:lnTo>
                    <a:pt x="132" y="318"/>
                  </a:lnTo>
                  <a:lnTo>
                    <a:pt x="132" y="317"/>
                  </a:lnTo>
                  <a:lnTo>
                    <a:pt x="134" y="317"/>
                  </a:lnTo>
                  <a:lnTo>
                    <a:pt x="137" y="315"/>
                  </a:lnTo>
                  <a:lnTo>
                    <a:pt x="138" y="314"/>
                  </a:lnTo>
                  <a:lnTo>
                    <a:pt x="140" y="314"/>
                  </a:lnTo>
                  <a:lnTo>
                    <a:pt x="141" y="314"/>
                  </a:lnTo>
                  <a:lnTo>
                    <a:pt x="147" y="315"/>
                  </a:lnTo>
                  <a:lnTo>
                    <a:pt x="150" y="315"/>
                  </a:lnTo>
                  <a:lnTo>
                    <a:pt x="150" y="315"/>
                  </a:lnTo>
                  <a:lnTo>
                    <a:pt x="150" y="313"/>
                  </a:lnTo>
                  <a:lnTo>
                    <a:pt x="147" y="310"/>
                  </a:lnTo>
                  <a:lnTo>
                    <a:pt x="138" y="294"/>
                  </a:lnTo>
                  <a:lnTo>
                    <a:pt x="137" y="292"/>
                  </a:lnTo>
                  <a:lnTo>
                    <a:pt x="135" y="292"/>
                  </a:lnTo>
                  <a:lnTo>
                    <a:pt x="134" y="289"/>
                  </a:lnTo>
                  <a:lnTo>
                    <a:pt x="134" y="288"/>
                  </a:lnTo>
                  <a:lnTo>
                    <a:pt x="132" y="286"/>
                  </a:lnTo>
                  <a:lnTo>
                    <a:pt x="132" y="283"/>
                  </a:lnTo>
                  <a:lnTo>
                    <a:pt x="131" y="278"/>
                  </a:lnTo>
                  <a:lnTo>
                    <a:pt x="131" y="276"/>
                  </a:lnTo>
                  <a:lnTo>
                    <a:pt x="131" y="266"/>
                  </a:lnTo>
                  <a:lnTo>
                    <a:pt x="131" y="265"/>
                  </a:lnTo>
                  <a:lnTo>
                    <a:pt x="131" y="263"/>
                  </a:lnTo>
                  <a:lnTo>
                    <a:pt x="132" y="262"/>
                  </a:lnTo>
                  <a:lnTo>
                    <a:pt x="132" y="262"/>
                  </a:lnTo>
                  <a:lnTo>
                    <a:pt x="138" y="254"/>
                  </a:lnTo>
                  <a:lnTo>
                    <a:pt x="141" y="253"/>
                  </a:lnTo>
                  <a:lnTo>
                    <a:pt x="141" y="251"/>
                  </a:lnTo>
                  <a:lnTo>
                    <a:pt x="141" y="250"/>
                  </a:lnTo>
                  <a:lnTo>
                    <a:pt x="141" y="249"/>
                  </a:lnTo>
                  <a:lnTo>
                    <a:pt x="140" y="246"/>
                  </a:lnTo>
                  <a:lnTo>
                    <a:pt x="137" y="244"/>
                  </a:lnTo>
                  <a:lnTo>
                    <a:pt x="135" y="244"/>
                  </a:lnTo>
                  <a:lnTo>
                    <a:pt x="132" y="244"/>
                  </a:lnTo>
                  <a:lnTo>
                    <a:pt x="132" y="246"/>
                  </a:lnTo>
                  <a:lnTo>
                    <a:pt x="128" y="250"/>
                  </a:lnTo>
                  <a:lnTo>
                    <a:pt x="127" y="250"/>
                  </a:lnTo>
                  <a:lnTo>
                    <a:pt x="125" y="249"/>
                  </a:lnTo>
                  <a:lnTo>
                    <a:pt x="122" y="246"/>
                  </a:lnTo>
                  <a:lnTo>
                    <a:pt x="109" y="228"/>
                  </a:lnTo>
                  <a:lnTo>
                    <a:pt x="96" y="202"/>
                  </a:lnTo>
                  <a:lnTo>
                    <a:pt x="93" y="195"/>
                  </a:lnTo>
                  <a:lnTo>
                    <a:pt x="90" y="192"/>
                  </a:lnTo>
                  <a:lnTo>
                    <a:pt x="87" y="190"/>
                  </a:lnTo>
                  <a:lnTo>
                    <a:pt x="84" y="190"/>
                  </a:lnTo>
                  <a:lnTo>
                    <a:pt x="81" y="190"/>
                  </a:lnTo>
                  <a:lnTo>
                    <a:pt x="80" y="187"/>
                  </a:lnTo>
                  <a:lnTo>
                    <a:pt x="79" y="180"/>
                  </a:lnTo>
                  <a:lnTo>
                    <a:pt x="79" y="177"/>
                  </a:lnTo>
                  <a:lnTo>
                    <a:pt x="79" y="173"/>
                  </a:lnTo>
                  <a:lnTo>
                    <a:pt x="77" y="171"/>
                  </a:lnTo>
                  <a:lnTo>
                    <a:pt x="73" y="167"/>
                  </a:lnTo>
                  <a:lnTo>
                    <a:pt x="71" y="164"/>
                  </a:lnTo>
                  <a:lnTo>
                    <a:pt x="67" y="155"/>
                  </a:lnTo>
                  <a:lnTo>
                    <a:pt x="65" y="154"/>
                  </a:lnTo>
                  <a:lnTo>
                    <a:pt x="65" y="152"/>
                  </a:lnTo>
                  <a:lnTo>
                    <a:pt x="65" y="151"/>
                  </a:lnTo>
                  <a:lnTo>
                    <a:pt x="65" y="150"/>
                  </a:lnTo>
                  <a:lnTo>
                    <a:pt x="65" y="147"/>
                  </a:lnTo>
                  <a:lnTo>
                    <a:pt x="67" y="142"/>
                  </a:lnTo>
                  <a:lnTo>
                    <a:pt x="67" y="141"/>
                  </a:lnTo>
                  <a:lnTo>
                    <a:pt x="67" y="139"/>
                  </a:lnTo>
                  <a:lnTo>
                    <a:pt x="65" y="136"/>
                  </a:lnTo>
                  <a:lnTo>
                    <a:pt x="65" y="133"/>
                  </a:lnTo>
                  <a:lnTo>
                    <a:pt x="65" y="132"/>
                  </a:lnTo>
                  <a:lnTo>
                    <a:pt x="65" y="131"/>
                  </a:lnTo>
                  <a:lnTo>
                    <a:pt x="67" y="128"/>
                  </a:lnTo>
                  <a:lnTo>
                    <a:pt x="67" y="126"/>
                  </a:lnTo>
                  <a:lnTo>
                    <a:pt x="65" y="123"/>
                  </a:lnTo>
                  <a:lnTo>
                    <a:pt x="67" y="120"/>
                  </a:lnTo>
                  <a:lnTo>
                    <a:pt x="79" y="116"/>
                  </a:lnTo>
                  <a:lnTo>
                    <a:pt x="95" y="115"/>
                  </a:lnTo>
                  <a:lnTo>
                    <a:pt x="109" y="116"/>
                  </a:lnTo>
                  <a:lnTo>
                    <a:pt x="115" y="115"/>
                  </a:lnTo>
                  <a:lnTo>
                    <a:pt x="119" y="112"/>
                  </a:lnTo>
                  <a:lnTo>
                    <a:pt x="130" y="109"/>
                  </a:lnTo>
                  <a:lnTo>
                    <a:pt x="135" y="106"/>
                  </a:lnTo>
                  <a:lnTo>
                    <a:pt x="140" y="101"/>
                  </a:lnTo>
                  <a:lnTo>
                    <a:pt x="146" y="96"/>
                  </a:lnTo>
                  <a:lnTo>
                    <a:pt x="147" y="94"/>
                  </a:lnTo>
                  <a:lnTo>
                    <a:pt x="147" y="94"/>
                  </a:lnTo>
                  <a:lnTo>
                    <a:pt x="147" y="93"/>
                  </a:lnTo>
                  <a:lnTo>
                    <a:pt x="147" y="90"/>
                  </a:lnTo>
                  <a:lnTo>
                    <a:pt x="147" y="88"/>
                  </a:lnTo>
                  <a:lnTo>
                    <a:pt x="148" y="87"/>
                  </a:lnTo>
                  <a:lnTo>
                    <a:pt x="148" y="84"/>
                  </a:lnTo>
                  <a:lnTo>
                    <a:pt x="148" y="83"/>
                  </a:lnTo>
                  <a:lnTo>
                    <a:pt x="148" y="83"/>
                  </a:lnTo>
                  <a:lnTo>
                    <a:pt x="150" y="81"/>
                  </a:lnTo>
                  <a:lnTo>
                    <a:pt x="150" y="81"/>
                  </a:lnTo>
                  <a:lnTo>
                    <a:pt x="150" y="81"/>
                  </a:lnTo>
                  <a:lnTo>
                    <a:pt x="154" y="78"/>
                  </a:lnTo>
                  <a:lnTo>
                    <a:pt x="162" y="78"/>
                  </a:lnTo>
                  <a:lnTo>
                    <a:pt x="167" y="78"/>
                  </a:lnTo>
                  <a:lnTo>
                    <a:pt x="178" y="81"/>
                  </a:lnTo>
                  <a:lnTo>
                    <a:pt x="183" y="84"/>
                  </a:lnTo>
                  <a:lnTo>
                    <a:pt x="186" y="85"/>
                  </a:lnTo>
                  <a:lnTo>
                    <a:pt x="207" y="84"/>
                  </a:lnTo>
                  <a:lnTo>
                    <a:pt x="224" y="87"/>
                  </a:lnTo>
                  <a:lnTo>
                    <a:pt x="226" y="87"/>
                  </a:lnTo>
                  <a:lnTo>
                    <a:pt x="226" y="88"/>
                  </a:lnTo>
                  <a:lnTo>
                    <a:pt x="227" y="90"/>
                  </a:lnTo>
                  <a:lnTo>
                    <a:pt x="229" y="91"/>
                  </a:lnTo>
                  <a:lnTo>
                    <a:pt x="233" y="93"/>
                  </a:lnTo>
                  <a:lnTo>
                    <a:pt x="233" y="93"/>
                  </a:lnTo>
                  <a:lnTo>
                    <a:pt x="234" y="94"/>
                  </a:lnTo>
                  <a:lnTo>
                    <a:pt x="234" y="96"/>
                  </a:lnTo>
                  <a:lnTo>
                    <a:pt x="236" y="97"/>
                  </a:lnTo>
                  <a:lnTo>
                    <a:pt x="236" y="99"/>
                  </a:lnTo>
                  <a:lnTo>
                    <a:pt x="237" y="99"/>
                  </a:lnTo>
                  <a:lnTo>
                    <a:pt x="237" y="99"/>
                  </a:lnTo>
                  <a:lnTo>
                    <a:pt x="239" y="99"/>
                  </a:lnTo>
                  <a:lnTo>
                    <a:pt x="242" y="99"/>
                  </a:lnTo>
                  <a:lnTo>
                    <a:pt x="245" y="96"/>
                  </a:lnTo>
                  <a:lnTo>
                    <a:pt x="246" y="94"/>
                  </a:lnTo>
                  <a:lnTo>
                    <a:pt x="249" y="94"/>
                  </a:lnTo>
                  <a:lnTo>
                    <a:pt x="250" y="96"/>
                  </a:lnTo>
                  <a:lnTo>
                    <a:pt x="258" y="94"/>
                  </a:lnTo>
                  <a:lnTo>
                    <a:pt x="280" y="85"/>
                  </a:lnTo>
                  <a:lnTo>
                    <a:pt x="291" y="83"/>
                  </a:lnTo>
                  <a:lnTo>
                    <a:pt x="293" y="81"/>
                  </a:lnTo>
                  <a:lnTo>
                    <a:pt x="313" y="62"/>
                  </a:lnTo>
                  <a:lnTo>
                    <a:pt x="316" y="62"/>
                  </a:lnTo>
                  <a:lnTo>
                    <a:pt x="323" y="61"/>
                  </a:lnTo>
                  <a:lnTo>
                    <a:pt x="323" y="61"/>
                  </a:lnTo>
                  <a:lnTo>
                    <a:pt x="325" y="61"/>
                  </a:lnTo>
                  <a:lnTo>
                    <a:pt x="323" y="56"/>
                  </a:lnTo>
                  <a:lnTo>
                    <a:pt x="323" y="53"/>
                  </a:lnTo>
                  <a:lnTo>
                    <a:pt x="322" y="51"/>
                  </a:lnTo>
                  <a:lnTo>
                    <a:pt x="322" y="49"/>
                  </a:lnTo>
                  <a:lnTo>
                    <a:pt x="322" y="46"/>
                  </a:lnTo>
                  <a:lnTo>
                    <a:pt x="323" y="34"/>
                  </a:lnTo>
                  <a:lnTo>
                    <a:pt x="323" y="33"/>
                  </a:lnTo>
                  <a:lnTo>
                    <a:pt x="326" y="27"/>
                  </a:lnTo>
                  <a:lnTo>
                    <a:pt x="326" y="26"/>
                  </a:lnTo>
                  <a:lnTo>
                    <a:pt x="329" y="24"/>
                  </a:lnTo>
                  <a:lnTo>
                    <a:pt x="332" y="23"/>
                  </a:lnTo>
                  <a:lnTo>
                    <a:pt x="333" y="23"/>
                  </a:lnTo>
                  <a:lnTo>
                    <a:pt x="336" y="24"/>
                  </a:lnTo>
                  <a:lnTo>
                    <a:pt x="341" y="24"/>
                  </a:lnTo>
                  <a:lnTo>
                    <a:pt x="345" y="23"/>
                  </a:lnTo>
                  <a:lnTo>
                    <a:pt x="351" y="4"/>
                  </a:lnTo>
                  <a:lnTo>
                    <a:pt x="367" y="0"/>
                  </a:lnTo>
                  <a:lnTo>
                    <a:pt x="370" y="1"/>
                  </a:lnTo>
                  <a:lnTo>
                    <a:pt x="371" y="5"/>
                  </a:lnTo>
                  <a:lnTo>
                    <a:pt x="371" y="7"/>
                  </a:lnTo>
                  <a:lnTo>
                    <a:pt x="368" y="13"/>
                  </a:lnTo>
                  <a:lnTo>
                    <a:pt x="366" y="16"/>
                  </a:lnTo>
                  <a:lnTo>
                    <a:pt x="370" y="17"/>
                  </a:lnTo>
                  <a:lnTo>
                    <a:pt x="382" y="18"/>
                  </a:lnTo>
                  <a:lnTo>
                    <a:pt x="386" y="21"/>
                  </a:lnTo>
                  <a:lnTo>
                    <a:pt x="389" y="29"/>
                  </a:lnTo>
                  <a:lnTo>
                    <a:pt x="389" y="33"/>
                  </a:lnTo>
                  <a:lnTo>
                    <a:pt x="390" y="37"/>
                  </a:lnTo>
                  <a:lnTo>
                    <a:pt x="398" y="39"/>
                  </a:lnTo>
                  <a:lnTo>
                    <a:pt x="401" y="37"/>
                  </a:lnTo>
                  <a:lnTo>
                    <a:pt x="409" y="32"/>
                  </a:lnTo>
                  <a:lnTo>
                    <a:pt x="415" y="30"/>
                  </a:lnTo>
                  <a:lnTo>
                    <a:pt x="425" y="46"/>
                  </a:lnTo>
                  <a:lnTo>
                    <a:pt x="430" y="51"/>
                  </a:lnTo>
                  <a:lnTo>
                    <a:pt x="441" y="52"/>
                  </a:lnTo>
                  <a:lnTo>
                    <a:pt x="446" y="53"/>
                  </a:lnTo>
                  <a:lnTo>
                    <a:pt x="443" y="61"/>
                  </a:lnTo>
                  <a:lnTo>
                    <a:pt x="440" y="67"/>
                  </a:lnTo>
                  <a:lnTo>
                    <a:pt x="438" y="69"/>
                  </a:lnTo>
                  <a:lnTo>
                    <a:pt x="462" y="84"/>
                  </a:lnTo>
                  <a:lnTo>
                    <a:pt x="465" y="85"/>
                  </a:lnTo>
                  <a:lnTo>
                    <a:pt x="470" y="87"/>
                  </a:lnTo>
                  <a:lnTo>
                    <a:pt x="476" y="88"/>
                  </a:lnTo>
                  <a:lnTo>
                    <a:pt x="485" y="94"/>
                  </a:lnTo>
                  <a:lnTo>
                    <a:pt x="491" y="96"/>
                  </a:lnTo>
                  <a:lnTo>
                    <a:pt x="497" y="93"/>
                  </a:lnTo>
                  <a:lnTo>
                    <a:pt x="505" y="93"/>
                  </a:lnTo>
                  <a:lnTo>
                    <a:pt x="529" y="90"/>
                  </a:lnTo>
                  <a:lnTo>
                    <a:pt x="530" y="91"/>
                  </a:lnTo>
                  <a:lnTo>
                    <a:pt x="532" y="91"/>
                  </a:lnTo>
                  <a:lnTo>
                    <a:pt x="535" y="94"/>
                  </a:lnTo>
                  <a:lnTo>
                    <a:pt x="536" y="96"/>
                  </a:lnTo>
                  <a:lnTo>
                    <a:pt x="536" y="99"/>
                  </a:lnTo>
                  <a:lnTo>
                    <a:pt x="536" y="104"/>
                  </a:lnTo>
                  <a:lnTo>
                    <a:pt x="540" y="106"/>
                  </a:lnTo>
                  <a:lnTo>
                    <a:pt x="545" y="104"/>
                  </a:lnTo>
                  <a:lnTo>
                    <a:pt x="556" y="101"/>
                  </a:lnTo>
                  <a:lnTo>
                    <a:pt x="558" y="101"/>
                  </a:lnTo>
                  <a:lnTo>
                    <a:pt x="559" y="101"/>
                  </a:lnTo>
                  <a:lnTo>
                    <a:pt x="564" y="104"/>
                  </a:lnTo>
                  <a:lnTo>
                    <a:pt x="568" y="104"/>
                  </a:lnTo>
                  <a:lnTo>
                    <a:pt x="569" y="107"/>
                  </a:lnTo>
                  <a:lnTo>
                    <a:pt x="571" y="112"/>
                  </a:lnTo>
                  <a:lnTo>
                    <a:pt x="578" y="133"/>
                  </a:lnTo>
                  <a:lnTo>
                    <a:pt x="578" y="138"/>
                  </a:lnTo>
                  <a:lnTo>
                    <a:pt x="577" y="144"/>
                  </a:lnTo>
                  <a:lnTo>
                    <a:pt x="565" y="152"/>
                  </a:lnTo>
                  <a:lnTo>
                    <a:pt x="565" y="155"/>
                  </a:lnTo>
                  <a:lnTo>
                    <a:pt x="565" y="157"/>
                  </a:lnTo>
                  <a:lnTo>
                    <a:pt x="565" y="161"/>
                  </a:lnTo>
                  <a:lnTo>
                    <a:pt x="567" y="164"/>
                  </a:lnTo>
                  <a:lnTo>
                    <a:pt x="568" y="166"/>
                  </a:lnTo>
                  <a:lnTo>
                    <a:pt x="569" y="167"/>
                  </a:lnTo>
                  <a:lnTo>
                    <a:pt x="569" y="168"/>
                  </a:lnTo>
                  <a:lnTo>
                    <a:pt x="569" y="170"/>
                  </a:lnTo>
                  <a:lnTo>
                    <a:pt x="568" y="173"/>
                  </a:lnTo>
                  <a:lnTo>
                    <a:pt x="565" y="176"/>
                  </a:lnTo>
                  <a:lnTo>
                    <a:pt x="564" y="177"/>
                  </a:lnTo>
                  <a:lnTo>
                    <a:pt x="564" y="180"/>
                  </a:lnTo>
                  <a:lnTo>
                    <a:pt x="564" y="182"/>
                  </a:lnTo>
                  <a:lnTo>
                    <a:pt x="564" y="184"/>
                  </a:lnTo>
                  <a:lnTo>
                    <a:pt x="565" y="186"/>
                  </a:lnTo>
                  <a:lnTo>
                    <a:pt x="567" y="189"/>
                  </a:lnTo>
                  <a:lnTo>
                    <a:pt x="568" y="190"/>
                  </a:lnTo>
                  <a:lnTo>
                    <a:pt x="568" y="193"/>
                  </a:lnTo>
                  <a:lnTo>
                    <a:pt x="569" y="196"/>
                  </a:lnTo>
                  <a:lnTo>
                    <a:pt x="569" y="199"/>
                  </a:lnTo>
                  <a:lnTo>
                    <a:pt x="571" y="200"/>
                  </a:lnTo>
                  <a:lnTo>
                    <a:pt x="574" y="203"/>
                  </a:lnTo>
                  <a:lnTo>
                    <a:pt x="575" y="203"/>
                  </a:lnTo>
                  <a:lnTo>
                    <a:pt x="577" y="206"/>
                  </a:lnTo>
                  <a:lnTo>
                    <a:pt x="577" y="211"/>
                  </a:lnTo>
                  <a:lnTo>
                    <a:pt x="575" y="215"/>
                  </a:lnTo>
                  <a:lnTo>
                    <a:pt x="572" y="227"/>
                  </a:lnTo>
                  <a:lnTo>
                    <a:pt x="569" y="231"/>
                  </a:lnTo>
                  <a:lnTo>
                    <a:pt x="568" y="234"/>
                  </a:lnTo>
                  <a:lnTo>
                    <a:pt x="565" y="235"/>
                  </a:lnTo>
                  <a:lnTo>
                    <a:pt x="562" y="237"/>
                  </a:lnTo>
                  <a:lnTo>
                    <a:pt x="555" y="237"/>
                  </a:lnTo>
                  <a:lnTo>
                    <a:pt x="553" y="237"/>
                  </a:lnTo>
                  <a:lnTo>
                    <a:pt x="552" y="240"/>
                  </a:lnTo>
                  <a:lnTo>
                    <a:pt x="552" y="246"/>
                  </a:lnTo>
                  <a:lnTo>
                    <a:pt x="551" y="259"/>
                  </a:lnTo>
                  <a:lnTo>
                    <a:pt x="551" y="265"/>
                  </a:lnTo>
                  <a:lnTo>
                    <a:pt x="549" y="269"/>
                  </a:lnTo>
                  <a:lnTo>
                    <a:pt x="540" y="283"/>
                  </a:lnTo>
                  <a:lnTo>
                    <a:pt x="540" y="283"/>
                  </a:lnTo>
                  <a:lnTo>
                    <a:pt x="540" y="285"/>
                  </a:lnTo>
                  <a:lnTo>
                    <a:pt x="542" y="286"/>
                  </a:lnTo>
                  <a:lnTo>
                    <a:pt x="545" y="286"/>
                  </a:lnTo>
                  <a:lnTo>
                    <a:pt x="548" y="285"/>
                  </a:lnTo>
                  <a:lnTo>
                    <a:pt x="551" y="285"/>
                  </a:lnTo>
                  <a:lnTo>
                    <a:pt x="552" y="285"/>
                  </a:lnTo>
                  <a:lnTo>
                    <a:pt x="553" y="286"/>
                  </a:lnTo>
                  <a:lnTo>
                    <a:pt x="553" y="288"/>
                  </a:lnTo>
                  <a:lnTo>
                    <a:pt x="552" y="289"/>
                  </a:lnTo>
                  <a:lnTo>
                    <a:pt x="551" y="291"/>
                  </a:lnTo>
                  <a:lnTo>
                    <a:pt x="551" y="292"/>
                  </a:lnTo>
                  <a:lnTo>
                    <a:pt x="549" y="294"/>
                  </a:lnTo>
                  <a:lnTo>
                    <a:pt x="548" y="297"/>
                  </a:lnTo>
                  <a:lnTo>
                    <a:pt x="548" y="298"/>
                  </a:lnTo>
                  <a:lnTo>
                    <a:pt x="549" y="301"/>
                  </a:lnTo>
                  <a:lnTo>
                    <a:pt x="549" y="302"/>
                  </a:lnTo>
                  <a:lnTo>
                    <a:pt x="551" y="304"/>
                  </a:lnTo>
                  <a:lnTo>
                    <a:pt x="552" y="305"/>
                  </a:lnTo>
                  <a:lnTo>
                    <a:pt x="556" y="307"/>
                  </a:lnTo>
                  <a:lnTo>
                    <a:pt x="561" y="305"/>
                  </a:lnTo>
                  <a:lnTo>
                    <a:pt x="564" y="304"/>
                  </a:lnTo>
                  <a:lnTo>
                    <a:pt x="564" y="304"/>
                  </a:lnTo>
                  <a:lnTo>
                    <a:pt x="565" y="302"/>
                  </a:lnTo>
                  <a:lnTo>
                    <a:pt x="567" y="301"/>
                  </a:lnTo>
                  <a:lnTo>
                    <a:pt x="567" y="299"/>
                  </a:lnTo>
                  <a:lnTo>
                    <a:pt x="568" y="298"/>
                  </a:lnTo>
                  <a:lnTo>
                    <a:pt x="568" y="294"/>
                  </a:lnTo>
                  <a:lnTo>
                    <a:pt x="568" y="292"/>
                  </a:lnTo>
                  <a:lnTo>
                    <a:pt x="569" y="291"/>
                  </a:lnTo>
                  <a:lnTo>
                    <a:pt x="571" y="291"/>
                  </a:lnTo>
                  <a:lnTo>
                    <a:pt x="572" y="291"/>
                  </a:lnTo>
                  <a:lnTo>
                    <a:pt x="574" y="291"/>
                  </a:lnTo>
                  <a:lnTo>
                    <a:pt x="577" y="294"/>
                  </a:lnTo>
                  <a:lnTo>
                    <a:pt x="578" y="295"/>
                  </a:lnTo>
                  <a:lnTo>
                    <a:pt x="584" y="304"/>
                  </a:lnTo>
                  <a:lnTo>
                    <a:pt x="586" y="307"/>
                  </a:lnTo>
                  <a:lnTo>
                    <a:pt x="588" y="307"/>
                  </a:lnTo>
                  <a:lnTo>
                    <a:pt x="588" y="305"/>
                  </a:lnTo>
                  <a:lnTo>
                    <a:pt x="590" y="305"/>
                  </a:lnTo>
                  <a:lnTo>
                    <a:pt x="591" y="305"/>
                  </a:lnTo>
                  <a:lnTo>
                    <a:pt x="593" y="305"/>
                  </a:lnTo>
                  <a:lnTo>
                    <a:pt x="594" y="305"/>
                  </a:lnTo>
                  <a:lnTo>
                    <a:pt x="596" y="305"/>
                  </a:lnTo>
                  <a:lnTo>
                    <a:pt x="599" y="304"/>
                  </a:lnTo>
                  <a:lnTo>
                    <a:pt x="599" y="304"/>
                  </a:lnTo>
                  <a:lnTo>
                    <a:pt x="600" y="305"/>
                  </a:lnTo>
                  <a:lnTo>
                    <a:pt x="599" y="308"/>
                  </a:lnTo>
                  <a:lnTo>
                    <a:pt x="597" y="311"/>
                  </a:lnTo>
                  <a:lnTo>
                    <a:pt x="597" y="314"/>
                  </a:lnTo>
                  <a:lnTo>
                    <a:pt x="597" y="318"/>
                  </a:lnTo>
                  <a:lnTo>
                    <a:pt x="597" y="321"/>
                  </a:lnTo>
                  <a:lnTo>
                    <a:pt x="597" y="323"/>
                  </a:lnTo>
                  <a:lnTo>
                    <a:pt x="593" y="330"/>
                  </a:lnTo>
                  <a:lnTo>
                    <a:pt x="590" y="339"/>
                  </a:lnTo>
                  <a:lnTo>
                    <a:pt x="587" y="342"/>
                  </a:lnTo>
                  <a:lnTo>
                    <a:pt x="584" y="345"/>
                  </a:lnTo>
                  <a:lnTo>
                    <a:pt x="583" y="346"/>
                  </a:lnTo>
                  <a:lnTo>
                    <a:pt x="583" y="348"/>
                  </a:lnTo>
                  <a:lnTo>
                    <a:pt x="584" y="349"/>
                  </a:lnTo>
                  <a:lnTo>
                    <a:pt x="584" y="350"/>
                  </a:lnTo>
                  <a:lnTo>
                    <a:pt x="586" y="352"/>
                  </a:lnTo>
                  <a:lnTo>
                    <a:pt x="587" y="353"/>
                  </a:lnTo>
                  <a:lnTo>
                    <a:pt x="587" y="356"/>
                  </a:lnTo>
                  <a:lnTo>
                    <a:pt x="586" y="359"/>
                  </a:lnTo>
                  <a:lnTo>
                    <a:pt x="584" y="366"/>
                  </a:lnTo>
                  <a:lnTo>
                    <a:pt x="583" y="369"/>
                  </a:lnTo>
                  <a:lnTo>
                    <a:pt x="578" y="377"/>
                  </a:lnTo>
                  <a:lnTo>
                    <a:pt x="578" y="378"/>
                  </a:lnTo>
                  <a:lnTo>
                    <a:pt x="578" y="381"/>
                  </a:lnTo>
                  <a:lnTo>
                    <a:pt x="578" y="382"/>
                  </a:lnTo>
                  <a:lnTo>
                    <a:pt x="578" y="385"/>
                  </a:lnTo>
                  <a:lnTo>
                    <a:pt x="577" y="387"/>
                  </a:lnTo>
                  <a:lnTo>
                    <a:pt x="577" y="388"/>
                  </a:lnTo>
                  <a:lnTo>
                    <a:pt x="578" y="393"/>
                  </a:lnTo>
                  <a:lnTo>
                    <a:pt x="578" y="396"/>
                  </a:lnTo>
                  <a:lnTo>
                    <a:pt x="578" y="397"/>
                  </a:lnTo>
                  <a:lnTo>
                    <a:pt x="578" y="400"/>
                  </a:lnTo>
                  <a:lnTo>
                    <a:pt x="578" y="401"/>
                  </a:lnTo>
                  <a:lnTo>
                    <a:pt x="574" y="409"/>
                  </a:lnTo>
                  <a:lnTo>
                    <a:pt x="572" y="412"/>
                  </a:lnTo>
                  <a:lnTo>
                    <a:pt x="572" y="413"/>
                  </a:lnTo>
                  <a:lnTo>
                    <a:pt x="572" y="417"/>
                  </a:lnTo>
                  <a:lnTo>
                    <a:pt x="569" y="422"/>
                  </a:lnTo>
                  <a:lnTo>
                    <a:pt x="569" y="423"/>
                  </a:lnTo>
                  <a:lnTo>
                    <a:pt x="568" y="426"/>
                  </a:lnTo>
                  <a:lnTo>
                    <a:pt x="569" y="431"/>
                  </a:lnTo>
                  <a:lnTo>
                    <a:pt x="569" y="439"/>
                  </a:lnTo>
                  <a:lnTo>
                    <a:pt x="571" y="442"/>
                  </a:lnTo>
                  <a:lnTo>
                    <a:pt x="574" y="445"/>
                  </a:lnTo>
                  <a:lnTo>
                    <a:pt x="577" y="445"/>
                  </a:lnTo>
                  <a:lnTo>
                    <a:pt x="578" y="447"/>
                  </a:lnTo>
                  <a:lnTo>
                    <a:pt x="580" y="448"/>
                  </a:lnTo>
                  <a:lnTo>
                    <a:pt x="581" y="451"/>
                  </a:lnTo>
                  <a:lnTo>
                    <a:pt x="583" y="454"/>
                  </a:lnTo>
                  <a:lnTo>
                    <a:pt x="583" y="455"/>
                  </a:lnTo>
                  <a:lnTo>
                    <a:pt x="583" y="457"/>
                  </a:lnTo>
                  <a:lnTo>
                    <a:pt x="583" y="458"/>
                  </a:lnTo>
                  <a:lnTo>
                    <a:pt x="574" y="465"/>
                  </a:lnTo>
                  <a:lnTo>
                    <a:pt x="569" y="480"/>
                  </a:lnTo>
                  <a:lnTo>
                    <a:pt x="567" y="484"/>
                  </a:lnTo>
                  <a:lnTo>
                    <a:pt x="567" y="486"/>
                  </a:lnTo>
                  <a:lnTo>
                    <a:pt x="567" y="487"/>
                  </a:lnTo>
                  <a:lnTo>
                    <a:pt x="569" y="496"/>
                  </a:lnTo>
                  <a:lnTo>
                    <a:pt x="572" y="503"/>
                  </a:lnTo>
                  <a:lnTo>
                    <a:pt x="574" y="505"/>
                  </a:lnTo>
                  <a:lnTo>
                    <a:pt x="583" y="514"/>
                  </a:lnTo>
                  <a:lnTo>
                    <a:pt x="586" y="521"/>
                  </a:lnTo>
                  <a:lnTo>
                    <a:pt x="586" y="524"/>
                  </a:lnTo>
                  <a:lnTo>
                    <a:pt x="587" y="525"/>
                  </a:lnTo>
                  <a:lnTo>
                    <a:pt x="594" y="528"/>
                  </a:lnTo>
                  <a:lnTo>
                    <a:pt x="602" y="535"/>
                  </a:lnTo>
                  <a:lnTo>
                    <a:pt x="623" y="564"/>
                  </a:lnTo>
                  <a:lnTo>
                    <a:pt x="623" y="569"/>
                  </a:lnTo>
                  <a:lnTo>
                    <a:pt x="623" y="570"/>
                  </a:lnTo>
                  <a:lnTo>
                    <a:pt x="623" y="572"/>
                  </a:lnTo>
                  <a:lnTo>
                    <a:pt x="623" y="575"/>
                  </a:lnTo>
                  <a:lnTo>
                    <a:pt x="626" y="576"/>
                  </a:lnTo>
                  <a:lnTo>
                    <a:pt x="629" y="579"/>
                  </a:lnTo>
                  <a:lnTo>
                    <a:pt x="639" y="586"/>
                  </a:lnTo>
                  <a:lnTo>
                    <a:pt x="644" y="591"/>
                  </a:lnTo>
                  <a:lnTo>
                    <a:pt x="645" y="591"/>
                  </a:lnTo>
                  <a:lnTo>
                    <a:pt x="647" y="592"/>
                  </a:lnTo>
                  <a:lnTo>
                    <a:pt x="651" y="592"/>
                  </a:lnTo>
                  <a:lnTo>
                    <a:pt x="654" y="591"/>
                  </a:lnTo>
                  <a:lnTo>
                    <a:pt x="655" y="589"/>
                  </a:lnTo>
                  <a:lnTo>
                    <a:pt x="655" y="588"/>
                  </a:lnTo>
                  <a:lnTo>
                    <a:pt x="657" y="586"/>
                  </a:lnTo>
                  <a:lnTo>
                    <a:pt x="658" y="585"/>
                  </a:lnTo>
                  <a:lnTo>
                    <a:pt x="660" y="585"/>
                  </a:lnTo>
                  <a:lnTo>
                    <a:pt x="661" y="586"/>
                  </a:lnTo>
                  <a:lnTo>
                    <a:pt x="663" y="588"/>
                  </a:lnTo>
                  <a:lnTo>
                    <a:pt x="670" y="596"/>
                  </a:lnTo>
                  <a:lnTo>
                    <a:pt x="686" y="610"/>
                  </a:lnTo>
                  <a:lnTo>
                    <a:pt x="692" y="613"/>
                  </a:lnTo>
                  <a:lnTo>
                    <a:pt x="708" y="617"/>
                  </a:lnTo>
                  <a:lnTo>
                    <a:pt x="714" y="611"/>
                  </a:lnTo>
                  <a:lnTo>
                    <a:pt x="718" y="610"/>
                  </a:lnTo>
                  <a:lnTo>
                    <a:pt x="722" y="607"/>
                  </a:lnTo>
                  <a:lnTo>
                    <a:pt x="724" y="605"/>
                  </a:lnTo>
                  <a:lnTo>
                    <a:pt x="724" y="604"/>
                  </a:lnTo>
                  <a:lnTo>
                    <a:pt x="724" y="601"/>
                  </a:lnTo>
                  <a:lnTo>
                    <a:pt x="725" y="601"/>
                  </a:lnTo>
                  <a:lnTo>
                    <a:pt x="727" y="599"/>
                  </a:lnTo>
                  <a:lnTo>
                    <a:pt x="728" y="601"/>
                  </a:lnTo>
                  <a:lnTo>
                    <a:pt x="743" y="608"/>
                  </a:lnTo>
                  <a:lnTo>
                    <a:pt x="773" y="627"/>
                  </a:lnTo>
                  <a:lnTo>
                    <a:pt x="778" y="629"/>
                  </a:lnTo>
                  <a:lnTo>
                    <a:pt x="791" y="630"/>
                  </a:lnTo>
                  <a:lnTo>
                    <a:pt x="795" y="633"/>
                  </a:lnTo>
                  <a:lnTo>
                    <a:pt x="797" y="637"/>
                  </a:lnTo>
                  <a:lnTo>
                    <a:pt x="800" y="646"/>
                  </a:lnTo>
                  <a:lnTo>
                    <a:pt x="801" y="647"/>
                  </a:lnTo>
                  <a:lnTo>
                    <a:pt x="804" y="647"/>
                  </a:lnTo>
                  <a:lnTo>
                    <a:pt x="820" y="647"/>
                  </a:lnTo>
                  <a:lnTo>
                    <a:pt x="827" y="649"/>
                  </a:lnTo>
                  <a:lnTo>
                    <a:pt x="832" y="652"/>
                  </a:lnTo>
                  <a:lnTo>
                    <a:pt x="836" y="655"/>
                  </a:lnTo>
                  <a:lnTo>
                    <a:pt x="838" y="658"/>
                  </a:lnTo>
                  <a:lnTo>
                    <a:pt x="839" y="661"/>
                  </a:lnTo>
                  <a:lnTo>
                    <a:pt x="842" y="663"/>
                  </a:lnTo>
                  <a:lnTo>
                    <a:pt x="861" y="678"/>
                  </a:lnTo>
                  <a:lnTo>
                    <a:pt x="868" y="679"/>
                  </a:lnTo>
                  <a:lnTo>
                    <a:pt x="890" y="677"/>
                  </a:lnTo>
                  <a:lnTo>
                    <a:pt x="893" y="678"/>
                  </a:lnTo>
                  <a:lnTo>
                    <a:pt x="896" y="681"/>
                  </a:lnTo>
                  <a:lnTo>
                    <a:pt x="897" y="684"/>
                  </a:lnTo>
                  <a:lnTo>
                    <a:pt x="900" y="684"/>
                  </a:lnTo>
                  <a:lnTo>
                    <a:pt x="902" y="682"/>
                  </a:lnTo>
                  <a:lnTo>
                    <a:pt x="905" y="677"/>
                  </a:lnTo>
                  <a:lnTo>
                    <a:pt x="907" y="675"/>
                  </a:lnTo>
                  <a:lnTo>
                    <a:pt x="909" y="675"/>
                  </a:lnTo>
                  <a:lnTo>
                    <a:pt x="921" y="675"/>
                  </a:lnTo>
                  <a:lnTo>
                    <a:pt x="926" y="678"/>
                  </a:lnTo>
                  <a:lnTo>
                    <a:pt x="923" y="685"/>
                  </a:lnTo>
                  <a:lnTo>
                    <a:pt x="912" y="698"/>
                  </a:lnTo>
                  <a:lnTo>
                    <a:pt x="902" y="716"/>
                  </a:lnTo>
                  <a:lnTo>
                    <a:pt x="900" y="719"/>
                  </a:lnTo>
                  <a:lnTo>
                    <a:pt x="899" y="723"/>
                  </a:lnTo>
                  <a:lnTo>
                    <a:pt x="899" y="738"/>
                  </a:lnTo>
                  <a:lnTo>
                    <a:pt x="900" y="742"/>
                  </a:lnTo>
                  <a:lnTo>
                    <a:pt x="902" y="748"/>
                  </a:lnTo>
                  <a:lnTo>
                    <a:pt x="905" y="754"/>
                  </a:lnTo>
                  <a:lnTo>
                    <a:pt x="907" y="761"/>
                  </a:lnTo>
                  <a:lnTo>
                    <a:pt x="906" y="767"/>
                  </a:lnTo>
                  <a:lnTo>
                    <a:pt x="897" y="780"/>
                  </a:lnTo>
                  <a:lnTo>
                    <a:pt x="875" y="797"/>
                  </a:lnTo>
                  <a:lnTo>
                    <a:pt x="873" y="800"/>
                  </a:lnTo>
                  <a:lnTo>
                    <a:pt x="867" y="813"/>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8">
              <a:extLst>
                <a:ext uri="{FF2B5EF4-FFF2-40B4-BE49-F238E27FC236}">
                  <a16:creationId xmlns:a16="http://schemas.microsoft.com/office/drawing/2014/main" id="{C132B28F-5F5E-4014-A56A-05B9B986DAA2}"/>
                </a:ext>
              </a:extLst>
            </p:cNvPr>
            <p:cNvSpPr>
              <a:spLocks/>
            </p:cNvSpPr>
            <p:nvPr/>
          </p:nvSpPr>
          <p:spPr bwMode="gray">
            <a:xfrm>
              <a:off x="6902451" y="3133725"/>
              <a:ext cx="1722438" cy="1317625"/>
            </a:xfrm>
            <a:custGeom>
              <a:avLst/>
              <a:gdLst>
                <a:gd name="T0" fmla="*/ 408 w 1085"/>
                <a:gd name="T1" fmla="*/ 34 h 830"/>
                <a:gd name="T2" fmla="*/ 441 w 1085"/>
                <a:gd name="T3" fmla="*/ 57 h 830"/>
                <a:gd name="T4" fmla="*/ 456 w 1085"/>
                <a:gd name="T5" fmla="*/ 98 h 830"/>
                <a:gd name="T6" fmla="*/ 451 w 1085"/>
                <a:gd name="T7" fmla="*/ 126 h 830"/>
                <a:gd name="T8" fmla="*/ 444 w 1085"/>
                <a:gd name="T9" fmla="*/ 155 h 830"/>
                <a:gd name="T10" fmla="*/ 470 w 1085"/>
                <a:gd name="T11" fmla="*/ 159 h 830"/>
                <a:gd name="T12" fmla="*/ 558 w 1085"/>
                <a:gd name="T13" fmla="*/ 161 h 830"/>
                <a:gd name="T14" fmla="*/ 711 w 1085"/>
                <a:gd name="T15" fmla="*/ 174 h 830"/>
                <a:gd name="T16" fmla="*/ 767 w 1085"/>
                <a:gd name="T17" fmla="*/ 92 h 830"/>
                <a:gd name="T18" fmla="*/ 936 w 1085"/>
                <a:gd name="T19" fmla="*/ 62 h 830"/>
                <a:gd name="T20" fmla="*/ 1038 w 1085"/>
                <a:gd name="T21" fmla="*/ 110 h 830"/>
                <a:gd name="T22" fmla="*/ 1072 w 1085"/>
                <a:gd name="T23" fmla="*/ 203 h 830"/>
                <a:gd name="T24" fmla="*/ 1072 w 1085"/>
                <a:gd name="T25" fmla="*/ 297 h 830"/>
                <a:gd name="T26" fmla="*/ 1062 w 1085"/>
                <a:gd name="T27" fmla="*/ 337 h 830"/>
                <a:gd name="T28" fmla="*/ 999 w 1085"/>
                <a:gd name="T29" fmla="*/ 475 h 830"/>
                <a:gd name="T30" fmla="*/ 951 w 1085"/>
                <a:gd name="T31" fmla="*/ 423 h 830"/>
                <a:gd name="T32" fmla="*/ 931 w 1085"/>
                <a:gd name="T33" fmla="*/ 391 h 830"/>
                <a:gd name="T34" fmla="*/ 894 w 1085"/>
                <a:gd name="T35" fmla="*/ 360 h 830"/>
                <a:gd name="T36" fmla="*/ 821 w 1085"/>
                <a:gd name="T37" fmla="*/ 360 h 830"/>
                <a:gd name="T38" fmla="*/ 832 w 1085"/>
                <a:gd name="T39" fmla="*/ 398 h 830"/>
                <a:gd name="T40" fmla="*/ 797 w 1085"/>
                <a:gd name="T41" fmla="*/ 456 h 830"/>
                <a:gd name="T42" fmla="*/ 690 w 1085"/>
                <a:gd name="T43" fmla="*/ 497 h 830"/>
                <a:gd name="T44" fmla="*/ 667 w 1085"/>
                <a:gd name="T45" fmla="*/ 526 h 830"/>
                <a:gd name="T46" fmla="*/ 565 w 1085"/>
                <a:gd name="T47" fmla="*/ 558 h 830"/>
                <a:gd name="T48" fmla="*/ 531 w 1085"/>
                <a:gd name="T49" fmla="*/ 594 h 830"/>
                <a:gd name="T50" fmla="*/ 489 w 1085"/>
                <a:gd name="T51" fmla="*/ 605 h 830"/>
                <a:gd name="T52" fmla="*/ 411 w 1085"/>
                <a:gd name="T53" fmla="*/ 650 h 830"/>
                <a:gd name="T54" fmla="*/ 381 w 1085"/>
                <a:gd name="T55" fmla="*/ 682 h 830"/>
                <a:gd name="T56" fmla="*/ 291 w 1085"/>
                <a:gd name="T57" fmla="*/ 683 h 830"/>
                <a:gd name="T58" fmla="*/ 198 w 1085"/>
                <a:gd name="T59" fmla="*/ 723 h 830"/>
                <a:gd name="T60" fmla="*/ 188 w 1085"/>
                <a:gd name="T61" fmla="*/ 737 h 830"/>
                <a:gd name="T62" fmla="*/ 141 w 1085"/>
                <a:gd name="T63" fmla="*/ 810 h 830"/>
                <a:gd name="T64" fmla="*/ 122 w 1085"/>
                <a:gd name="T65" fmla="*/ 797 h 830"/>
                <a:gd name="T66" fmla="*/ 119 w 1085"/>
                <a:gd name="T67" fmla="*/ 782 h 830"/>
                <a:gd name="T68" fmla="*/ 96 w 1085"/>
                <a:gd name="T69" fmla="*/ 758 h 830"/>
                <a:gd name="T70" fmla="*/ 32 w 1085"/>
                <a:gd name="T71" fmla="*/ 728 h 830"/>
                <a:gd name="T72" fmla="*/ 16 w 1085"/>
                <a:gd name="T73" fmla="*/ 695 h 830"/>
                <a:gd name="T74" fmla="*/ 13 w 1085"/>
                <a:gd name="T75" fmla="*/ 677 h 830"/>
                <a:gd name="T76" fmla="*/ 10 w 1085"/>
                <a:gd name="T77" fmla="*/ 653 h 830"/>
                <a:gd name="T78" fmla="*/ 33 w 1085"/>
                <a:gd name="T79" fmla="*/ 621 h 830"/>
                <a:gd name="T80" fmla="*/ 51 w 1085"/>
                <a:gd name="T81" fmla="*/ 629 h 830"/>
                <a:gd name="T82" fmla="*/ 83 w 1085"/>
                <a:gd name="T83" fmla="*/ 613 h 830"/>
                <a:gd name="T84" fmla="*/ 107 w 1085"/>
                <a:gd name="T85" fmla="*/ 577 h 830"/>
                <a:gd name="T86" fmla="*/ 134 w 1085"/>
                <a:gd name="T87" fmla="*/ 549 h 830"/>
                <a:gd name="T88" fmla="*/ 126 w 1085"/>
                <a:gd name="T89" fmla="*/ 525 h 830"/>
                <a:gd name="T90" fmla="*/ 128 w 1085"/>
                <a:gd name="T91" fmla="*/ 511 h 830"/>
                <a:gd name="T92" fmla="*/ 125 w 1085"/>
                <a:gd name="T93" fmla="*/ 487 h 830"/>
                <a:gd name="T94" fmla="*/ 183 w 1085"/>
                <a:gd name="T95" fmla="*/ 469 h 830"/>
                <a:gd name="T96" fmla="*/ 239 w 1085"/>
                <a:gd name="T97" fmla="*/ 440 h 830"/>
                <a:gd name="T98" fmla="*/ 260 w 1085"/>
                <a:gd name="T99" fmla="*/ 431 h 830"/>
                <a:gd name="T100" fmla="*/ 207 w 1085"/>
                <a:gd name="T101" fmla="*/ 357 h 830"/>
                <a:gd name="T102" fmla="*/ 100 w 1085"/>
                <a:gd name="T103" fmla="*/ 303 h 830"/>
                <a:gd name="T104" fmla="*/ 93 w 1085"/>
                <a:gd name="T105" fmla="*/ 264 h 830"/>
                <a:gd name="T106" fmla="*/ 81 w 1085"/>
                <a:gd name="T107" fmla="*/ 209 h 830"/>
                <a:gd name="T108" fmla="*/ 100 w 1085"/>
                <a:gd name="T109" fmla="*/ 187 h 830"/>
                <a:gd name="T110" fmla="*/ 90 w 1085"/>
                <a:gd name="T111" fmla="*/ 137 h 830"/>
                <a:gd name="T112" fmla="*/ 100 w 1085"/>
                <a:gd name="T113" fmla="*/ 113 h 830"/>
                <a:gd name="T114" fmla="*/ 116 w 1085"/>
                <a:gd name="T115" fmla="*/ 62 h 830"/>
                <a:gd name="T116" fmla="*/ 189 w 1085"/>
                <a:gd name="T117" fmla="*/ 40 h 830"/>
                <a:gd name="T118" fmla="*/ 269 w 1085"/>
                <a:gd name="T119" fmla="*/ 35 h 830"/>
                <a:gd name="T120" fmla="*/ 348 w 1085"/>
                <a:gd name="T121" fmla="*/ 9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5" h="830">
                  <a:moveTo>
                    <a:pt x="370" y="19"/>
                  </a:moveTo>
                  <a:lnTo>
                    <a:pt x="376" y="25"/>
                  </a:lnTo>
                  <a:lnTo>
                    <a:pt x="380" y="24"/>
                  </a:lnTo>
                  <a:lnTo>
                    <a:pt x="381" y="22"/>
                  </a:lnTo>
                  <a:lnTo>
                    <a:pt x="383" y="21"/>
                  </a:lnTo>
                  <a:lnTo>
                    <a:pt x="386" y="19"/>
                  </a:lnTo>
                  <a:lnTo>
                    <a:pt x="389" y="21"/>
                  </a:lnTo>
                  <a:lnTo>
                    <a:pt x="390" y="22"/>
                  </a:lnTo>
                  <a:lnTo>
                    <a:pt x="397" y="30"/>
                  </a:lnTo>
                  <a:lnTo>
                    <a:pt x="405" y="32"/>
                  </a:lnTo>
                  <a:lnTo>
                    <a:pt x="408" y="34"/>
                  </a:lnTo>
                  <a:lnTo>
                    <a:pt x="418" y="46"/>
                  </a:lnTo>
                  <a:lnTo>
                    <a:pt x="422" y="48"/>
                  </a:lnTo>
                  <a:lnTo>
                    <a:pt x="425" y="50"/>
                  </a:lnTo>
                  <a:lnTo>
                    <a:pt x="427" y="48"/>
                  </a:lnTo>
                  <a:lnTo>
                    <a:pt x="428" y="48"/>
                  </a:lnTo>
                  <a:lnTo>
                    <a:pt x="429" y="47"/>
                  </a:lnTo>
                  <a:lnTo>
                    <a:pt x="431" y="47"/>
                  </a:lnTo>
                  <a:lnTo>
                    <a:pt x="431" y="48"/>
                  </a:lnTo>
                  <a:lnTo>
                    <a:pt x="437" y="53"/>
                  </a:lnTo>
                  <a:lnTo>
                    <a:pt x="440" y="56"/>
                  </a:lnTo>
                  <a:lnTo>
                    <a:pt x="441" y="57"/>
                  </a:lnTo>
                  <a:lnTo>
                    <a:pt x="443" y="59"/>
                  </a:lnTo>
                  <a:lnTo>
                    <a:pt x="441" y="63"/>
                  </a:lnTo>
                  <a:lnTo>
                    <a:pt x="441" y="66"/>
                  </a:lnTo>
                  <a:lnTo>
                    <a:pt x="440" y="67"/>
                  </a:lnTo>
                  <a:lnTo>
                    <a:pt x="440" y="70"/>
                  </a:lnTo>
                  <a:lnTo>
                    <a:pt x="444" y="76"/>
                  </a:lnTo>
                  <a:lnTo>
                    <a:pt x="451" y="80"/>
                  </a:lnTo>
                  <a:lnTo>
                    <a:pt x="451" y="82"/>
                  </a:lnTo>
                  <a:lnTo>
                    <a:pt x="453" y="86"/>
                  </a:lnTo>
                  <a:lnTo>
                    <a:pt x="456" y="94"/>
                  </a:lnTo>
                  <a:lnTo>
                    <a:pt x="456" y="98"/>
                  </a:lnTo>
                  <a:lnTo>
                    <a:pt x="456" y="101"/>
                  </a:lnTo>
                  <a:lnTo>
                    <a:pt x="454" y="104"/>
                  </a:lnTo>
                  <a:lnTo>
                    <a:pt x="453" y="105"/>
                  </a:lnTo>
                  <a:lnTo>
                    <a:pt x="451" y="107"/>
                  </a:lnTo>
                  <a:lnTo>
                    <a:pt x="450" y="107"/>
                  </a:lnTo>
                  <a:lnTo>
                    <a:pt x="448" y="108"/>
                  </a:lnTo>
                  <a:lnTo>
                    <a:pt x="448" y="110"/>
                  </a:lnTo>
                  <a:lnTo>
                    <a:pt x="450" y="113"/>
                  </a:lnTo>
                  <a:lnTo>
                    <a:pt x="451" y="114"/>
                  </a:lnTo>
                  <a:lnTo>
                    <a:pt x="453" y="120"/>
                  </a:lnTo>
                  <a:lnTo>
                    <a:pt x="451" y="126"/>
                  </a:lnTo>
                  <a:lnTo>
                    <a:pt x="451" y="133"/>
                  </a:lnTo>
                  <a:lnTo>
                    <a:pt x="450" y="139"/>
                  </a:lnTo>
                  <a:lnTo>
                    <a:pt x="448" y="140"/>
                  </a:lnTo>
                  <a:lnTo>
                    <a:pt x="448" y="142"/>
                  </a:lnTo>
                  <a:lnTo>
                    <a:pt x="444" y="145"/>
                  </a:lnTo>
                  <a:lnTo>
                    <a:pt x="444" y="146"/>
                  </a:lnTo>
                  <a:lnTo>
                    <a:pt x="443" y="147"/>
                  </a:lnTo>
                  <a:lnTo>
                    <a:pt x="443" y="149"/>
                  </a:lnTo>
                  <a:lnTo>
                    <a:pt x="444" y="152"/>
                  </a:lnTo>
                  <a:lnTo>
                    <a:pt x="444" y="153"/>
                  </a:lnTo>
                  <a:lnTo>
                    <a:pt x="444" y="155"/>
                  </a:lnTo>
                  <a:lnTo>
                    <a:pt x="445" y="158"/>
                  </a:lnTo>
                  <a:lnTo>
                    <a:pt x="447" y="159"/>
                  </a:lnTo>
                  <a:lnTo>
                    <a:pt x="448" y="159"/>
                  </a:lnTo>
                  <a:lnTo>
                    <a:pt x="450" y="156"/>
                  </a:lnTo>
                  <a:lnTo>
                    <a:pt x="451" y="155"/>
                  </a:lnTo>
                  <a:lnTo>
                    <a:pt x="453" y="153"/>
                  </a:lnTo>
                  <a:lnTo>
                    <a:pt x="457" y="153"/>
                  </a:lnTo>
                  <a:lnTo>
                    <a:pt x="459" y="150"/>
                  </a:lnTo>
                  <a:lnTo>
                    <a:pt x="463" y="150"/>
                  </a:lnTo>
                  <a:lnTo>
                    <a:pt x="466" y="152"/>
                  </a:lnTo>
                  <a:lnTo>
                    <a:pt x="470" y="159"/>
                  </a:lnTo>
                  <a:lnTo>
                    <a:pt x="476" y="158"/>
                  </a:lnTo>
                  <a:lnTo>
                    <a:pt x="508" y="147"/>
                  </a:lnTo>
                  <a:lnTo>
                    <a:pt x="514" y="145"/>
                  </a:lnTo>
                  <a:lnTo>
                    <a:pt x="517" y="140"/>
                  </a:lnTo>
                  <a:lnTo>
                    <a:pt x="521" y="139"/>
                  </a:lnTo>
                  <a:lnTo>
                    <a:pt x="526" y="140"/>
                  </a:lnTo>
                  <a:lnTo>
                    <a:pt x="542" y="147"/>
                  </a:lnTo>
                  <a:lnTo>
                    <a:pt x="546" y="152"/>
                  </a:lnTo>
                  <a:lnTo>
                    <a:pt x="549" y="155"/>
                  </a:lnTo>
                  <a:lnTo>
                    <a:pt x="553" y="158"/>
                  </a:lnTo>
                  <a:lnTo>
                    <a:pt x="558" y="161"/>
                  </a:lnTo>
                  <a:lnTo>
                    <a:pt x="563" y="169"/>
                  </a:lnTo>
                  <a:lnTo>
                    <a:pt x="568" y="172"/>
                  </a:lnTo>
                  <a:lnTo>
                    <a:pt x="572" y="171"/>
                  </a:lnTo>
                  <a:lnTo>
                    <a:pt x="575" y="171"/>
                  </a:lnTo>
                  <a:lnTo>
                    <a:pt x="579" y="171"/>
                  </a:lnTo>
                  <a:lnTo>
                    <a:pt x="596" y="177"/>
                  </a:lnTo>
                  <a:lnTo>
                    <a:pt x="636" y="179"/>
                  </a:lnTo>
                  <a:lnTo>
                    <a:pt x="649" y="181"/>
                  </a:lnTo>
                  <a:lnTo>
                    <a:pt x="686" y="175"/>
                  </a:lnTo>
                  <a:lnTo>
                    <a:pt x="709" y="172"/>
                  </a:lnTo>
                  <a:lnTo>
                    <a:pt x="711" y="174"/>
                  </a:lnTo>
                  <a:lnTo>
                    <a:pt x="715" y="174"/>
                  </a:lnTo>
                  <a:lnTo>
                    <a:pt x="716" y="175"/>
                  </a:lnTo>
                  <a:lnTo>
                    <a:pt x="718" y="175"/>
                  </a:lnTo>
                  <a:lnTo>
                    <a:pt x="719" y="174"/>
                  </a:lnTo>
                  <a:lnTo>
                    <a:pt x="727" y="163"/>
                  </a:lnTo>
                  <a:lnTo>
                    <a:pt x="746" y="136"/>
                  </a:lnTo>
                  <a:lnTo>
                    <a:pt x="751" y="123"/>
                  </a:lnTo>
                  <a:lnTo>
                    <a:pt x="751" y="118"/>
                  </a:lnTo>
                  <a:lnTo>
                    <a:pt x="751" y="114"/>
                  </a:lnTo>
                  <a:lnTo>
                    <a:pt x="753" y="111"/>
                  </a:lnTo>
                  <a:lnTo>
                    <a:pt x="767" y="92"/>
                  </a:lnTo>
                  <a:lnTo>
                    <a:pt x="772" y="89"/>
                  </a:lnTo>
                  <a:lnTo>
                    <a:pt x="785" y="80"/>
                  </a:lnTo>
                  <a:lnTo>
                    <a:pt x="807" y="76"/>
                  </a:lnTo>
                  <a:lnTo>
                    <a:pt x="824" y="78"/>
                  </a:lnTo>
                  <a:lnTo>
                    <a:pt x="836" y="82"/>
                  </a:lnTo>
                  <a:lnTo>
                    <a:pt x="848" y="91"/>
                  </a:lnTo>
                  <a:lnTo>
                    <a:pt x="861" y="88"/>
                  </a:lnTo>
                  <a:lnTo>
                    <a:pt x="907" y="64"/>
                  </a:lnTo>
                  <a:lnTo>
                    <a:pt x="922" y="60"/>
                  </a:lnTo>
                  <a:lnTo>
                    <a:pt x="929" y="60"/>
                  </a:lnTo>
                  <a:lnTo>
                    <a:pt x="936" y="62"/>
                  </a:lnTo>
                  <a:lnTo>
                    <a:pt x="945" y="66"/>
                  </a:lnTo>
                  <a:lnTo>
                    <a:pt x="961" y="72"/>
                  </a:lnTo>
                  <a:lnTo>
                    <a:pt x="976" y="73"/>
                  </a:lnTo>
                  <a:lnTo>
                    <a:pt x="976" y="73"/>
                  </a:lnTo>
                  <a:lnTo>
                    <a:pt x="977" y="79"/>
                  </a:lnTo>
                  <a:lnTo>
                    <a:pt x="984" y="86"/>
                  </a:lnTo>
                  <a:lnTo>
                    <a:pt x="1008" y="95"/>
                  </a:lnTo>
                  <a:lnTo>
                    <a:pt x="1015" y="99"/>
                  </a:lnTo>
                  <a:lnTo>
                    <a:pt x="1015" y="99"/>
                  </a:lnTo>
                  <a:lnTo>
                    <a:pt x="1022" y="104"/>
                  </a:lnTo>
                  <a:lnTo>
                    <a:pt x="1038" y="110"/>
                  </a:lnTo>
                  <a:lnTo>
                    <a:pt x="1047" y="113"/>
                  </a:lnTo>
                  <a:lnTo>
                    <a:pt x="1052" y="117"/>
                  </a:lnTo>
                  <a:lnTo>
                    <a:pt x="1059" y="124"/>
                  </a:lnTo>
                  <a:lnTo>
                    <a:pt x="1062" y="131"/>
                  </a:lnTo>
                  <a:lnTo>
                    <a:pt x="1059" y="139"/>
                  </a:lnTo>
                  <a:lnTo>
                    <a:pt x="1060" y="153"/>
                  </a:lnTo>
                  <a:lnTo>
                    <a:pt x="1063" y="177"/>
                  </a:lnTo>
                  <a:lnTo>
                    <a:pt x="1063" y="177"/>
                  </a:lnTo>
                  <a:lnTo>
                    <a:pt x="1065" y="187"/>
                  </a:lnTo>
                  <a:lnTo>
                    <a:pt x="1065" y="191"/>
                  </a:lnTo>
                  <a:lnTo>
                    <a:pt x="1072" y="203"/>
                  </a:lnTo>
                  <a:lnTo>
                    <a:pt x="1079" y="212"/>
                  </a:lnTo>
                  <a:lnTo>
                    <a:pt x="1085" y="222"/>
                  </a:lnTo>
                  <a:lnTo>
                    <a:pt x="1082" y="239"/>
                  </a:lnTo>
                  <a:lnTo>
                    <a:pt x="1084" y="241"/>
                  </a:lnTo>
                  <a:lnTo>
                    <a:pt x="1085" y="242"/>
                  </a:lnTo>
                  <a:lnTo>
                    <a:pt x="1085" y="242"/>
                  </a:lnTo>
                  <a:lnTo>
                    <a:pt x="1084" y="245"/>
                  </a:lnTo>
                  <a:lnTo>
                    <a:pt x="1079" y="254"/>
                  </a:lnTo>
                  <a:lnTo>
                    <a:pt x="1075" y="268"/>
                  </a:lnTo>
                  <a:lnTo>
                    <a:pt x="1072" y="284"/>
                  </a:lnTo>
                  <a:lnTo>
                    <a:pt x="1072" y="297"/>
                  </a:lnTo>
                  <a:lnTo>
                    <a:pt x="1070" y="305"/>
                  </a:lnTo>
                  <a:lnTo>
                    <a:pt x="1069" y="309"/>
                  </a:lnTo>
                  <a:lnTo>
                    <a:pt x="1069" y="309"/>
                  </a:lnTo>
                  <a:lnTo>
                    <a:pt x="1066" y="311"/>
                  </a:lnTo>
                  <a:lnTo>
                    <a:pt x="1066" y="311"/>
                  </a:lnTo>
                  <a:lnTo>
                    <a:pt x="1065" y="315"/>
                  </a:lnTo>
                  <a:lnTo>
                    <a:pt x="1063" y="315"/>
                  </a:lnTo>
                  <a:lnTo>
                    <a:pt x="1063" y="315"/>
                  </a:lnTo>
                  <a:lnTo>
                    <a:pt x="1063" y="321"/>
                  </a:lnTo>
                  <a:lnTo>
                    <a:pt x="1063" y="331"/>
                  </a:lnTo>
                  <a:lnTo>
                    <a:pt x="1062" y="337"/>
                  </a:lnTo>
                  <a:lnTo>
                    <a:pt x="1047" y="376"/>
                  </a:lnTo>
                  <a:lnTo>
                    <a:pt x="1030" y="418"/>
                  </a:lnTo>
                  <a:lnTo>
                    <a:pt x="1030" y="418"/>
                  </a:lnTo>
                  <a:lnTo>
                    <a:pt x="1017" y="431"/>
                  </a:lnTo>
                  <a:lnTo>
                    <a:pt x="1017" y="431"/>
                  </a:lnTo>
                  <a:lnTo>
                    <a:pt x="1012" y="440"/>
                  </a:lnTo>
                  <a:lnTo>
                    <a:pt x="1012" y="450"/>
                  </a:lnTo>
                  <a:lnTo>
                    <a:pt x="1012" y="450"/>
                  </a:lnTo>
                  <a:lnTo>
                    <a:pt x="1006" y="465"/>
                  </a:lnTo>
                  <a:lnTo>
                    <a:pt x="1003" y="471"/>
                  </a:lnTo>
                  <a:lnTo>
                    <a:pt x="999" y="475"/>
                  </a:lnTo>
                  <a:lnTo>
                    <a:pt x="993" y="477"/>
                  </a:lnTo>
                  <a:lnTo>
                    <a:pt x="986" y="477"/>
                  </a:lnTo>
                  <a:lnTo>
                    <a:pt x="973" y="474"/>
                  </a:lnTo>
                  <a:lnTo>
                    <a:pt x="960" y="463"/>
                  </a:lnTo>
                  <a:lnTo>
                    <a:pt x="955" y="460"/>
                  </a:lnTo>
                  <a:lnTo>
                    <a:pt x="944" y="458"/>
                  </a:lnTo>
                  <a:lnTo>
                    <a:pt x="941" y="453"/>
                  </a:lnTo>
                  <a:lnTo>
                    <a:pt x="941" y="453"/>
                  </a:lnTo>
                  <a:lnTo>
                    <a:pt x="942" y="443"/>
                  </a:lnTo>
                  <a:lnTo>
                    <a:pt x="948" y="430"/>
                  </a:lnTo>
                  <a:lnTo>
                    <a:pt x="951" y="423"/>
                  </a:lnTo>
                  <a:lnTo>
                    <a:pt x="951" y="423"/>
                  </a:lnTo>
                  <a:lnTo>
                    <a:pt x="948" y="415"/>
                  </a:lnTo>
                  <a:lnTo>
                    <a:pt x="945" y="415"/>
                  </a:lnTo>
                  <a:lnTo>
                    <a:pt x="925" y="424"/>
                  </a:lnTo>
                  <a:lnTo>
                    <a:pt x="922" y="421"/>
                  </a:lnTo>
                  <a:lnTo>
                    <a:pt x="922" y="421"/>
                  </a:lnTo>
                  <a:lnTo>
                    <a:pt x="923" y="414"/>
                  </a:lnTo>
                  <a:lnTo>
                    <a:pt x="928" y="407"/>
                  </a:lnTo>
                  <a:lnTo>
                    <a:pt x="931" y="399"/>
                  </a:lnTo>
                  <a:lnTo>
                    <a:pt x="931" y="391"/>
                  </a:lnTo>
                  <a:lnTo>
                    <a:pt x="931" y="391"/>
                  </a:lnTo>
                  <a:lnTo>
                    <a:pt x="929" y="386"/>
                  </a:lnTo>
                  <a:lnTo>
                    <a:pt x="928" y="382"/>
                  </a:lnTo>
                  <a:lnTo>
                    <a:pt x="923" y="376"/>
                  </a:lnTo>
                  <a:lnTo>
                    <a:pt x="919" y="373"/>
                  </a:lnTo>
                  <a:lnTo>
                    <a:pt x="909" y="370"/>
                  </a:lnTo>
                  <a:lnTo>
                    <a:pt x="904" y="367"/>
                  </a:lnTo>
                  <a:lnTo>
                    <a:pt x="901" y="363"/>
                  </a:lnTo>
                  <a:lnTo>
                    <a:pt x="900" y="360"/>
                  </a:lnTo>
                  <a:lnTo>
                    <a:pt x="900" y="357"/>
                  </a:lnTo>
                  <a:lnTo>
                    <a:pt x="897" y="351"/>
                  </a:lnTo>
                  <a:lnTo>
                    <a:pt x="894" y="360"/>
                  </a:lnTo>
                  <a:lnTo>
                    <a:pt x="891" y="361"/>
                  </a:lnTo>
                  <a:lnTo>
                    <a:pt x="878" y="361"/>
                  </a:lnTo>
                  <a:lnTo>
                    <a:pt x="868" y="366"/>
                  </a:lnTo>
                  <a:lnTo>
                    <a:pt x="865" y="364"/>
                  </a:lnTo>
                  <a:lnTo>
                    <a:pt x="861" y="363"/>
                  </a:lnTo>
                  <a:lnTo>
                    <a:pt x="858" y="360"/>
                  </a:lnTo>
                  <a:lnTo>
                    <a:pt x="856" y="357"/>
                  </a:lnTo>
                  <a:lnTo>
                    <a:pt x="853" y="354"/>
                  </a:lnTo>
                  <a:lnTo>
                    <a:pt x="842" y="350"/>
                  </a:lnTo>
                  <a:lnTo>
                    <a:pt x="830" y="353"/>
                  </a:lnTo>
                  <a:lnTo>
                    <a:pt x="821" y="360"/>
                  </a:lnTo>
                  <a:lnTo>
                    <a:pt x="817" y="376"/>
                  </a:lnTo>
                  <a:lnTo>
                    <a:pt x="813" y="382"/>
                  </a:lnTo>
                  <a:lnTo>
                    <a:pt x="813" y="382"/>
                  </a:lnTo>
                  <a:lnTo>
                    <a:pt x="817" y="385"/>
                  </a:lnTo>
                  <a:lnTo>
                    <a:pt x="829" y="386"/>
                  </a:lnTo>
                  <a:lnTo>
                    <a:pt x="836" y="389"/>
                  </a:lnTo>
                  <a:lnTo>
                    <a:pt x="836" y="389"/>
                  </a:lnTo>
                  <a:lnTo>
                    <a:pt x="834" y="391"/>
                  </a:lnTo>
                  <a:lnTo>
                    <a:pt x="832" y="392"/>
                  </a:lnTo>
                  <a:lnTo>
                    <a:pt x="832" y="398"/>
                  </a:lnTo>
                  <a:lnTo>
                    <a:pt x="832" y="398"/>
                  </a:lnTo>
                  <a:lnTo>
                    <a:pt x="840" y="407"/>
                  </a:lnTo>
                  <a:lnTo>
                    <a:pt x="853" y="411"/>
                  </a:lnTo>
                  <a:lnTo>
                    <a:pt x="862" y="415"/>
                  </a:lnTo>
                  <a:lnTo>
                    <a:pt x="862" y="415"/>
                  </a:lnTo>
                  <a:lnTo>
                    <a:pt x="861" y="430"/>
                  </a:lnTo>
                  <a:lnTo>
                    <a:pt x="850" y="439"/>
                  </a:lnTo>
                  <a:lnTo>
                    <a:pt x="823" y="436"/>
                  </a:lnTo>
                  <a:lnTo>
                    <a:pt x="811" y="439"/>
                  </a:lnTo>
                  <a:lnTo>
                    <a:pt x="807" y="443"/>
                  </a:lnTo>
                  <a:lnTo>
                    <a:pt x="801" y="452"/>
                  </a:lnTo>
                  <a:lnTo>
                    <a:pt x="797" y="456"/>
                  </a:lnTo>
                  <a:lnTo>
                    <a:pt x="743" y="481"/>
                  </a:lnTo>
                  <a:lnTo>
                    <a:pt x="735" y="481"/>
                  </a:lnTo>
                  <a:lnTo>
                    <a:pt x="722" y="479"/>
                  </a:lnTo>
                  <a:lnTo>
                    <a:pt x="716" y="481"/>
                  </a:lnTo>
                  <a:lnTo>
                    <a:pt x="712" y="484"/>
                  </a:lnTo>
                  <a:lnTo>
                    <a:pt x="706" y="491"/>
                  </a:lnTo>
                  <a:lnTo>
                    <a:pt x="703" y="493"/>
                  </a:lnTo>
                  <a:lnTo>
                    <a:pt x="699" y="494"/>
                  </a:lnTo>
                  <a:lnTo>
                    <a:pt x="696" y="493"/>
                  </a:lnTo>
                  <a:lnTo>
                    <a:pt x="693" y="493"/>
                  </a:lnTo>
                  <a:lnTo>
                    <a:pt x="690" y="497"/>
                  </a:lnTo>
                  <a:lnTo>
                    <a:pt x="689" y="503"/>
                  </a:lnTo>
                  <a:lnTo>
                    <a:pt x="689" y="503"/>
                  </a:lnTo>
                  <a:lnTo>
                    <a:pt x="689" y="507"/>
                  </a:lnTo>
                  <a:lnTo>
                    <a:pt x="689" y="511"/>
                  </a:lnTo>
                  <a:lnTo>
                    <a:pt x="689" y="511"/>
                  </a:lnTo>
                  <a:lnTo>
                    <a:pt x="689" y="513"/>
                  </a:lnTo>
                  <a:lnTo>
                    <a:pt x="687" y="517"/>
                  </a:lnTo>
                  <a:lnTo>
                    <a:pt x="684" y="517"/>
                  </a:lnTo>
                  <a:lnTo>
                    <a:pt x="683" y="517"/>
                  </a:lnTo>
                  <a:lnTo>
                    <a:pt x="673" y="525"/>
                  </a:lnTo>
                  <a:lnTo>
                    <a:pt x="667" y="526"/>
                  </a:lnTo>
                  <a:lnTo>
                    <a:pt x="651" y="523"/>
                  </a:lnTo>
                  <a:lnTo>
                    <a:pt x="642" y="525"/>
                  </a:lnTo>
                  <a:lnTo>
                    <a:pt x="629" y="529"/>
                  </a:lnTo>
                  <a:lnTo>
                    <a:pt x="623" y="530"/>
                  </a:lnTo>
                  <a:lnTo>
                    <a:pt x="591" y="530"/>
                  </a:lnTo>
                  <a:lnTo>
                    <a:pt x="577" y="533"/>
                  </a:lnTo>
                  <a:lnTo>
                    <a:pt x="562" y="542"/>
                  </a:lnTo>
                  <a:lnTo>
                    <a:pt x="562" y="542"/>
                  </a:lnTo>
                  <a:lnTo>
                    <a:pt x="566" y="551"/>
                  </a:lnTo>
                  <a:lnTo>
                    <a:pt x="566" y="551"/>
                  </a:lnTo>
                  <a:lnTo>
                    <a:pt x="565" y="558"/>
                  </a:lnTo>
                  <a:lnTo>
                    <a:pt x="559" y="564"/>
                  </a:lnTo>
                  <a:lnTo>
                    <a:pt x="553" y="568"/>
                  </a:lnTo>
                  <a:lnTo>
                    <a:pt x="553" y="568"/>
                  </a:lnTo>
                  <a:lnTo>
                    <a:pt x="556" y="573"/>
                  </a:lnTo>
                  <a:lnTo>
                    <a:pt x="556" y="573"/>
                  </a:lnTo>
                  <a:lnTo>
                    <a:pt x="556" y="576"/>
                  </a:lnTo>
                  <a:lnTo>
                    <a:pt x="553" y="578"/>
                  </a:lnTo>
                  <a:lnTo>
                    <a:pt x="550" y="580"/>
                  </a:lnTo>
                  <a:lnTo>
                    <a:pt x="545" y="587"/>
                  </a:lnTo>
                  <a:lnTo>
                    <a:pt x="539" y="593"/>
                  </a:lnTo>
                  <a:lnTo>
                    <a:pt x="531" y="594"/>
                  </a:lnTo>
                  <a:lnTo>
                    <a:pt x="524" y="592"/>
                  </a:lnTo>
                  <a:lnTo>
                    <a:pt x="521" y="589"/>
                  </a:lnTo>
                  <a:lnTo>
                    <a:pt x="517" y="580"/>
                  </a:lnTo>
                  <a:lnTo>
                    <a:pt x="515" y="578"/>
                  </a:lnTo>
                  <a:lnTo>
                    <a:pt x="511" y="576"/>
                  </a:lnTo>
                  <a:lnTo>
                    <a:pt x="510" y="577"/>
                  </a:lnTo>
                  <a:lnTo>
                    <a:pt x="510" y="578"/>
                  </a:lnTo>
                  <a:lnTo>
                    <a:pt x="508" y="581"/>
                  </a:lnTo>
                  <a:lnTo>
                    <a:pt x="495" y="590"/>
                  </a:lnTo>
                  <a:lnTo>
                    <a:pt x="492" y="594"/>
                  </a:lnTo>
                  <a:lnTo>
                    <a:pt x="489" y="605"/>
                  </a:lnTo>
                  <a:lnTo>
                    <a:pt x="482" y="609"/>
                  </a:lnTo>
                  <a:lnTo>
                    <a:pt x="476" y="606"/>
                  </a:lnTo>
                  <a:lnTo>
                    <a:pt x="470" y="602"/>
                  </a:lnTo>
                  <a:lnTo>
                    <a:pt x="463" y="602"/>
                  </a:lnTo>
                  <a:lnTo>
                    <a:pt x="451" y="632"/>
                  </a:lnTo>
                  <a:lnTo>
                    <a:pt x="447" y="641"/>
                  </a:lnTo>
                  <a:lnTo>
                    <a:pt x="438" y="648"/>
                  </a:lnTo>
                  <a:lnTo>
                    <a:pt x="419" y="647"/>
                  </a:lnTo>
                  <a:lnTo>
                    <a:pt x="411" y="650"/>
                  </a:lnTo>
                  <a:lnTo>
                    <a:pt x="411" y="650"/>
                  </a:lnTo>
                  <a:lnTo>
                    <a:pt x="411" y="650"/>
                  </a:lnTo>
                  <a:lnTo>
                    <a:pt x="411" y="650"/>
                  </a:lnTo>
                  <a:lnTo>
                    <a:pt x="406" y="651"/>
                  </a:lnTo>
                  <a:lnTo>
                    <a:pt x="403" y="651"/>
                  </a:lnTo>
                  <a:lnTo>
                    <a:pt x="400" y="651"/>
                  </a:lnTo>
                  <a:lnTo>
                    <a:pt x="397" y="650"/>
                  </a:lnTo>
                  <a:lnTo>
                    <a:pt x="394" y="648"/>
                  </a:lnTo>
                  <a:lnTo>
                    <a:pt x="392" y="647"/>
                  </a:lnTo>
                  <a:lnTo>
                    <a:pt x="389" y="648"/>
                  </a:lnTo>
                  <a:lnTo>
                    <a:pt x="386" y="650"/>
                  </a:lnTo>
                  <a:lnTo>
                    <a:pt x="384" y="672"/>
                  </a:lnTo>
                  <a:lnTo>
                    <a:pt x="381" y="682"/>
                  </a:lnTo>
                  <a:lnTo>
                    <a:pt x="377" y="688"/>
                  </a:lnTo>
                  <a:lnTo>
                    <a:pt x="365" y="698"/>
                  </a:lnTo>
                  <a:lnTo>
                    <a:pt x="354" y="698"/>
                  </a:lnTo>
                  <a:lnTo>
                    <a:pt x="322" y="677"/>
                  </a:lnTo>
                  <a:lnTo>
                    <a:pt x="319" y="677"/>
                  </a:lnTo>
                  <a:lnTo>
                    <a:pt x="316" y="677"/>
                  </a:lnTo>
                  <a:lnTo>
                    <a:pt x="311" y="680"/>
                  </a:lnTo>
                  <a:lnTo>
                    <a:pt x="309" y="682"/>
                  </a:lnTo>
                  <a:lnTo>
                    <a:pt x="303" y="680"/>
                  </a:lnTo>
                  <a:lnTo>
                    <a:pt x="297" y="682"/>
                  </a:lnTo>
                  <a:lnTo>
                    <a:pt x="291" y="683"/>
                  </a:lnTo>
                  <a:lnTo>
                    <a:pt x="287" y="688"/>
                  </a:lnTo>
                  <a:lnTo>
                    <a:pt x="279" y="699"/>
                  </a:lnTo>
                  <a:lnTo>
                    <a:pt x="275" y="704"/>
                  </a:lnTo>
                  <a:lnTo>
                    <a:pt x="271" y="704"/>
                  </a:lnTo>
                  <a:lnTo>
                    <a:pt x="252" y="701"/>
                  </a:lnTo>
                  <a:lnTo>
                    <a:pt x="227" y="702"/>
                  </a:lnTo>
                  <a:lnTo>
                    <a:pt x="212" y="707"/>
                  </a:lnTo>
                  <a:lnTo>
                    <a:pt x="202" y="715"/>
                  </a:lnTo>
                  <a:lnTo>
                    <a:pt x="201" y="717"/>
                  </a:lnTo>
                  <a:lnTo>
                    <a:pt x="199" y="720"/>
                  </a:lnTo>
                  <a:lnTo>
                    <a:pt x="198" y="723"/>
                  </a:lnTo>
                  <a:lnTo>
                    <a:pt x="198" y="725"/>
                  </a:lnTo>
                  <a:lnTo>
                    <a:pt x="198" y="725"/>
                  </a:lnTo>
                  <a:lnTo>
                    <a:pt x="198" y="725"/>
                  </a:lnTo>
                  <a:lnTo>
                    <a:pt x="198" y="728"/>
                  </a:lnTo>
                  <a:lnTo>
                    <a:pt x="198" y="730"/>
                  </a:lnTo>
                  <a:lnTo>
                    <a:pt x="198" y="730"/>
                  </a:lnTo>
                  <a:lnTo>
                    <a:pt x="198" y="733"/>
                  </a:lnTo>
                  <a:lnTo>
                    <a:pt x="196" y="733"/>
                  </a:lnTo>
                  <a:lnTo>
                    <a:pt x="192" y="733"/>
                  </a:lnTo>
                  <a:lnTo>
                    <a:pt x="192" y="734"/>
                  </a:lnTo>
                  <a:lnTo>
                    <a:pt x="188" y="737"/>
                  </a:lnTo>
                  <a:lnTo>
                    <a:pt x="177" y="743"/>
                  </a:lnTo>
                  <a:lnTo>
                    <a:pt x="173" y="746"/>
                  </a:lnTo>
                  <a:lnTo>
                    <a:pt x="163" y="766"/>
                  </a:lnTo>
                  <a:lnTo>
                    <a:pt x="158" y="771"/>
                  </a:lnTo>
                  <a:lnTo>
                    <a:pt x="154" y="774"/>
                  </a:lnTo>
                  <a:lnTo>
                    <a:pt x="151" y="778"/>
                  </a:lnTo>
                  <a:lnTo>
                    <a:pt x="151" y="785"/>
                  </a:lnTo>
                  <a:lnTo>
                    <a:pt x="144" y="795"/>
                  </a:lnTo>
                  <a:lnTo>
                    <a:pt x="142" y="800"/>
                  </a:lnTo>
                  <a:lnTo>
                    <a:pt x="141" y="810"/>
                  </a:lnTo>
                  <a:lnTo>
                    <a:pt x="141" y="810"/>
                  </a:lnTo>
                  <a:lnTo>
                    <a:pt x="142" y="816"/>
                  </a:lnTo>
                  <a:lnTo>
                    <a:pt x="144" y="822"/>
                  </a:lnTo>
                  <a:lnTo>
                    <a:pt x="144" y="826"/>
                  </a:lnTo>
                  <a:lnTo>
                    <a:pt x="140" y="830"/>
                  </a:lnTo>
                  <a:lnTo>
                    <a:pt x="134" y="829"/>
                  </a:lnTo>
                  <a:lnTo>
                    <a:pt x="129" y="824"/>
                  </a:lnTo>
                  <a:lnTo>
                    <a:pt x="126" y="808"/>
                  </a:lnTo>
                  <a:lnTo>
                    <a:pt x="125" y="806"/>
                  </a:lnTo>
                  <a:lnTo>
                    <a:pt x="125" y="803"/>
                  </a:lnTo>
                  <a:lnTo>
                    <a:pt x="124" y="800"/>
                  </a:lnTo>
                  <a:lnTo>
                    <a:pt x="122" y="797"/>
                  </a:lnTo>
                  <a:lnTo>
                    <a:pt x="116" y="791"/>
                  </a:lnTo>
                  <a:lnTo>
                    <a:pt x="115" y="790"/>
                  </a:lnTo>
                  <a:lnTo>
                    <a:pt x="115" y="790"/>
                  </a:lnTo>
                  <a:lnTo>
                    <a:pt x="115" y="790"/>
                  </a:lnTo>
                  <a:lnTo>
                    <a:pt x="115" y="788"/>
                  </a:lnTo>
                  <a:lnTo>
                    <a:pt x="116" y="787"/>
                  </a:lnTo>
                  <a:lnTo>
                    <a:pt x="116" y="787"/>
                  </a:lnTo>
                  <a:lnTo>
                    <a:pt x="116" y="787"/>
                  </a:lnTo>
                  <a:lnTo>
                    <a:pt x="118" y="787"/>
                  </a:lnTo>
                  <a:lnTo>
                    <a:pt x="118" y="785"/>
                  </a:lnTo>
                  <a:lnTo>
                    <a:pt x="119" y="782"/>
                  </a:lnTo>
                  <a:lnTo>
                    <a:pt x="119" y="781"/>
                  </a:lnTo>
                  <a:lnTo>
                    <a:pt x="119" y="781"/>
                  </a:lnTo>
                  <a:lnTo>
                    <a:pt x="118" y="778"/>
                  </a:lnTo>
                  <a:lnTo>
                    <a:pt x="116" y="776"/>
                  </a:lnTo>
                  <a:lnTo>
                    <a:pt x="106" y="776"/>
                  </a:lnTo>
                  <a:lnTo>
                    <a:pt x="100" y="775"/>
                  </a:lnTo>
                  <a:lnTo>
                    <a:pt x="97" y="772"/>
                  </a:lnTo>
                  <a:lnTo>
                    <a:pt x="96" y="768"/>
                  </a:lnTo>
                  <a:lnTo>
                    <a:pt x="96" y="768"/>
                  </a:lnTo>
                  <a:lnTo>
                    <a:pt x="96" y="758"/>
                  </a:lnTo>
                  <a:lnTo>
                    <a:pt x="96" y="758"/>
                  </a:lnTo>
                  <a:lnTo>
                    <a:pt x="93" y="753"/>
                  </a:lnTo>
                  <a:lnTo>
                    <a:pt x="87" y="749"/>
                  </a:lnTo>
                  <a:lnTo>
                    <a:pt x="70" y="747"/>
                  </a:lnTo>
                  <a:lnTo>
                    <a:pt x="68" y="743"/>
                  </a:lnTo>
                  <a:lnTo>
                    <a:pt x="58" y="740"/>
                  </a:lnTo>
                  <a:lnTo>
                    <a:pt x="54" y="740"/>
                  </a:lnTo>
                  <a:lnTo>
                    <a:pt x="52" y="740"/>
                  </a:lnTo>
                  <a:lnTo>
                    <a:pt x="51" y="740"/>
                  </a:lnTo>
                  <a:lnTo>
                    <a:pt x="49" y="740"/>
                  </a:lnTo>
                  <a:lnTo>
                    <a:pt x="35" y="730"/>
                  </a:lnTo>
                  <a:lnTo>
                    <a:pt x="32" y="728"/>
                  </a:lnTo>
                  <a:lnTo>
                    <a:pt x="30" y="727"/>
                  </a:lnTo>
                  <a:lnTo>
                    <a:pt x="29" y="717"/>
                  </a:lnTo>
                  <a:lnTo>
                    <a:pt x="29" y="714"/>
                  </a:lnTo>
                  <a:lnTo>
                    <a:pt x="29" y="712"/>
                  </a:lnTo>
                  <a:lnTo>
                    <a:pt x="30" y="711"/>
                  </a:lnTo>
                  <a:lnTo>
                    <a:pt x="29" y="708"/>
                  </a:lnTo>
                  <a:lnTo>
                    <a:pt x="22" y="704"/>
                  </a:lnTo>
                  <a:lnTo>
                    <a:pt x="17" y="698"/>
                  </a:lnTo>
                  <a:lnTo>
                    <a:pt x="17" y="696"/>
                  </a:lnTo>
                  <a:lnTo>
                    <a:pt x="16" y="696"/>
                  </a:lnTo>
                  <a:lnTo>
                    <a:pt x="16" y="695"/>
                  </a:lnTo>
                  <a:lnTo>
                    <a:pt x="14" y="693"/>
                  </a:lnTo>
                  <a:lnTo>
                    <a:pt x="11" y="692"/>
                  </a:lnTo>
                  <a:lnTo>
                    <a:pt x="3" y="692"/>
                  </a:lnTo>
                  <a:lnTo>
                    <a:pt x="0" y="688"/>
                  </a:lnTo>
                  <a:lnTo>
                    <a:pt x="0" y="686"/>
                  </a:lnTo>
                  <a:lnTo>
                    <a:pt x="0" y="685"/>
                  </a:lnTo>
                  <a:lnTo>
                    <a:pt x="3" y="683"/>
                  </a:lnTo>
                  <a:lnTo>
                    <a:pt x="4" y="682"/>
                  </a:lnTo>
                  <a:lnTo>
                    <a:pt x="6" y="680"/>
                  </a:lnTo>
                  <a:lnTo>
                    <a:pt x="11" y="679"/>
                  </a:lnTo>
                  <a:lnTo>
                    <a:pt x="13" y="677"/>
                  </a:lnTo>
                  <a:lnTo>
                    <a:pt x="13" y="676"/>
                  </a:lnTo>
                  <a:lnTo>
                    <a:pt x="13" y="673"/>
                  </a:lnTo>
                  <a:lnTo>
                    <a:pt x="13" y="672"/>
                  </a:lnTo>
                  <a:lnTo>
                    <a:pt x="16" y="669"/>
                  </a:lnTo>
                  <a:lnTo>
                    <a:pt x="17" y="667"/>
                  </a:lnTo>
                  <a:lnTo>
                    <a:pt x="17" y="661"/>
                  </a:lnTo>
                  <a:lnTo>
                    <a:pt x="16" y="660"/>
                  </a:lnTo>
                  <a:lnTo>
                    <a:pt x="16" y="659"/>
                  </a:lnTo>
                  <a:lnTo>
                    <a:pt x="11" y="656"/>
                  </a:lnTo>
                  <a:lnTo>
                    <a:pt x="10" y="654"/>
                  </a:lnTo>
                  <a:lnTo>
                    <a:pt x="10" y="653"/>
                  </a:lnTo>
                  <a:lnTo>
                    <a:pt x="10" y="651"/>
                  </a:lnTo>
                  <a:lnTo>
                    <a:pt x="10" y="648"/>
                  </a:lnTo>
                  <a:lnTo>
                    <a:pt x="13" y="642"/>
                  </a:lnTo>
                  <a:lnTo>
                    <a:pt x="16" y="638"/>
                  </a:lnTo>
                  <a:lnTo>
                    <a:pt x="24" y="631"/>
                  </a:lnTo>
                  <a:lnTo>
                    <a:pt x="29" y="626"/>
                  </a:lnTo>
                  <a:lnTo>
                    <a:pt x="29" y="625"/>
                  </a:lnTo>
                  <a:lnTo>
                    <a:pt x="30" y="624"/>
                  </a:lnTo>
                  <a:lnTo>
                    <a:pt x="30" y="622"/>
                  </a:lnTo>
                  <a:lnTo>
                    <a:pt x="32" y="621"/>
                  </a:lnTo>
                  <a:lnTo>
                    <a:pt x="33" y="621"/>
                  </a:lnTo>
                  <a:lnTo>
                    <a:pt x="36" y="621"/>
                  </a:lnTo>
                  <a:lnTo>
                    <a:pt x="39" y="621"/>
                  </a:lnTo>
                  <a:lnTo>
                    <a:pt x="40" y="622"/>
                  </a:lnTo>
                  <a:lnTo>
                    <a:pt x="42" y="622"/>
                  </a:lnTo>
                  <a:lnTo>
                    <a:pt x="43" y="626"/>
                  </a:lnTo>
                  <a:lnTo>
                    <a:pt x="43" y="626"/>
                  </a:lnTo>
                  <a:lnTo>
                    <a:pt x="45" y="628"/>
                  </a:lnTo>
                  <a:lnTo>
                    <a:pt x="46" y="628"/>
                  </a:lnTo>
                  <a:lnTo>
                    <a:pt x="48" y="629"/>
                  </a:lnTo>
                  <a:lnTo>
                    <a:pt x="49" y="629"/>
                  </a:lnTo>
                  <a:lnTo>
                    <a:pt x="51" y="629"/>
                  </a:lnTo>
                  <a:lnTo>
                    <a:pt x="52" y="629"/>
                  </a:lnTo>
                  <a:lnTo>
                    <a:pt x="55" y="626"/>
                  </a:lnTo>
                  <a:lnTo>
                    <a:pt x="64" y="613"/>
                  </a:lnTo>
                  <a:lnTo>
                    <a:pt x="68" y="612"/>
                  </a:lnTo>
                  <a:lnTo>
                    <a:pt x="71" y="613"/>
                  </a:lnTo>
                  <a:lnTo>
                    <a:pt x="73" y="613"/>
                  </a:lnTo>
                  <a:lnTo>
                    <a:pt x="74" y="615"/>
                  </a:lnTo>
                  <a:lnTo>
                    <a:pt x="75" y="615"/>
                  </a:lnTo>
                  <a:lnTo>
                    <a:pt x="77" y="615"/>
                  </a:lnTo>
                  <a:lnTo>
                    <a:pt x="78" y="615"/>
                  </a:lnTo>
                  <a:lnTo>
                    <a:pt x="83" y="613"/>
                  </a:lnTo>
                  <a:lnTo>
                    <a:pt x="86" y="612"/>
                  </a:lnTo>
                  <a:lnTo>
                    <a:pt x="87" y="610"/>
                  </a:lnTo>
                  <a:lnTo>
                    <a:pt x="89" y="609"/>
                  </a:lnTo>
                  <a:lnTo>
                    <a:pt x="90" y="605"/>
                  </a:lnTo>
                  <a:lnTo>
                    <a:pt x="91" y="600"/>
                  </a:lnTo>
                  <a:lnTo>
                    <a:pt x="90" y="590"/>
                  </a:lnTo>
                  <a:lnTo>
                    <a:pt x="97" y="581"/>
                  </a:lnTo>
                  <a:lnTo>
                    <a:pt x="99" y="578"/>
                  </a:lnTo>
                  <a:lnTo>
                    <a:pt x="100" y="577"/>
                  </a:lnTo>
                  <a:lnTo>
                    <a:pt x="102" y="577"/>
                  </a:lnTo>
                  <a:lnTo>
                    <a:pt x="107" y="577"/>
                  </a:lnTo>
                  <a:lnTo>
                    <a:pt x="115" y="578"/>
                  </a:lnTo>
                  <a:lnTo>
                    <a:pt x="124" y="577"/>
                  </a:lnTo>
                  <a:lnTo>
                    <a:pt x="125" y="577"/>
                  </a:lnTo>
                  <a:lnTo>
                    <a:pt x="135" y="568"/>
                  </a:lnTo>
                  <a:lnTo>
                    <a:pt x="138" y="565"/>
                  </a:lnTo>
                  <a:lnTo>
                    <a:pt x="140" y="564"/>
                  </a:lnTo>
                  <a:lnTo>
                    <a:pt x="147" y="551"/>
                  </a:lnTo>
                  <a:lnTo>
                    <a:pt x="144" y="549"/>
                  </a:lnTo>
                  <a:lnTo>
                    <a:pt x="140" y="551"/>
                  </a:lnTo>
                  <a:lnTo>
                    <a:pt x="135" y="551"/>
                  </a:lnTo>
                  <a:lnTo>
                    <a:pt x="134" y="549"/>
                  </a:lnTo>
                  <a:lnTo>
                    <a:pt x="134" y="549"/>
                  </a:lnTo>
                  <a:lnTo>
                    <a:pt x="132" y="548"/>
                  </a:lnTo>
                  <a:lnTo>
                    <a:pt x="131" y="546"/>
                  </a:lnTo>
                  <a:lnTo>
                    <a:pt x="129" y="545"/>
                  </a:lnTo>
                  <a:lnTo>
                    <a:pt x="128" y="539"/>
                  </a:lnTo>
                  <a:lnTo>
                    <a:pt x="128" y="536"/>
                  </a:lnTo>
                  <a:lnTo>
                    <a:pt x="128" y="533"/>
                  </a:lnTo>
                  <a:lnTo>
                    <a:pt x="129" y="530"/>
                  </a:lnTo>
                  <a:lnTo>
                    <a:pt x="129" y="529"/>
                  </a:lnTo>
                  <a:lnTo>
                    <a:pt x="128" y="527"/>
                  </a:lnTo>
                  <a:lnTo>
                    <a:pt x="126" y="525"/>
                  </a:lnTo>
                  <a:lnTo>
                    <a:pt x="125" y="525"/>
                  </a:lnTo>
                  <a:lnTo>
                    <a:pt x="124" y="525"/>
                  </a:lnTo>
                  <a:lnTo>
                    <a:pt x="122" y="525"/>
                  </a:lnTo>
                  <a:lnTo>
                    <a:pt x="121" y="526"/>
                  </a:lnTo>
                  <a:lnTo>
                    <a:pt x="119" y="525"/>
                  </a:lnTo>
                  <a:lnTo>
                    <a:pt x="119" y="523"/>
                  </a:lnTo>
                  <a:lnTo>
                    <a:pt x="119" y="520"/>
                  </a:lnTo>
                  <a:lnTo>
                    <a:pt x="122" y="514"/>
                  </a:lnTo>
                  <a:lnTo>
                    <a:pt x="124" y="511"/>
                  </a:lnTo>
                  <a:lnTo>
                    <a:pt x="125" y="511"/>
                  </a:lnTo>
                  <a:lnTo>
                    <a:pt x="128" y="511"/>
                  </a:lnTo>
                  <a:lnTo>
                    <a:pt x="128" y="510"/>
                  </a:lnTo>
                  <a:lnTo>
                    <a:pt x="129" y="510"/>
                  </a:lnTo>
                  <a:lnTo>
                    <a:pt x="129" y="510"/>
                  </a:lnTo>
                  <a:lnTo>
                    <a:pt x="132" y="507"/>
                  </a:lnTo>
                  <a:lnTo>
                    <a:pt x="135" y="504"/>
                  </a:lnTo>
                  <a:lnTo>
                    <a:pt x="135" y="503"/>
                  </a:lnTo>
                  <a:lnTo>
                    <a:pt x="135" y="501"/>
                  </a:lnTo>
                  <a:lnTo>
                    <a:pt x="134" y="500"/>
                  </a:lnTo>
                  <a:lnTo>
                    <a:pt x="128" y="497"/>
                  </a:lnTo>
                  <a:lnTo>
                    <a:pt x="125" y="493"/>
                  </a:lnTo>
                  <a:lnTo>
                    <a:pt x="125" y="487"/>
                  </a:lnTo>
                  <a:lnTo>
                    <a:pt x="150" y="479"/>
                  </a:lnTo>
                  <a:lnTo>
                    <a:pt x="153" y="477"/>
                  </a:lnTo>
                  <a:lnTo>
                    <a:pt x="161" y="469"/>
                  </a:lnTo>
                  <a:lnTo>
                    <a:pt x="164" y="468"/>
                  </a:lnTo>
                  <a:lnTo>
                    <a:pt x="166" y="468"/>
                  </a:lnTo>
                  <a:lnTo>
                    <a:pt x="176" y="466"/>
                  </a:lnTo>
                  <a:lnTo>
                    <a:pt x="179" y="468"/>
                  </a:lnTo>
                  <a:lnTo>
                    <a:pt x="180" y="468"/>
                  </a:lnTo>
                  <a:lnTo>
                    <a:pt x="180" y="469"/>
                  </a:lnTo>
                  <a:lnTo>
                    <a:pt x="182" y="469"/>
                  </a:lnTo>
                  <a:lnTo>
                    <a:pt x="183" y="469"/>
                  </a:lnTo>
                  <a:lnTo>
                    <a:pt x="189" y="460"/>
                  </a:lnTo>
                  <a:lnTo>
                    <a:pt x="196" y="452"/>
                  </a:lnTo>
                  <a:lnTo>
                    <a:pt x="209" y="444"/>
                  </a:lnTo>
                  <a:lnTo>
                    <a:pt x="209" y="443"/>
                  </a:lnTo>
                  <a:lnTo>
                    <a:pt x="211" y="443"/>
                  </a:lnTo>
                  <a:lnTo>
                    <a:pt x="211" y="437"/>
                  </a:lnTo>
                  <a:lnTo>
                    <a:pt x="217" y="440"/>
                  </a:lnTo>
                  <a:lnTo>
                    <a:pt x="218" y="440"/>
                  </a:lnTo>
                  <a:lnTo>
                    <a:pt x="225" y="440"/>
                  </a:lnTo>
                  <a:lnTo>
                    <a:pt x="237" y="442"/>
                  </a:lnTo>
                  <a:lnTo>
                    <a:pt x="239" y="440"/>
                  </a:lnTo>
                  <a:lnTo>
                    <a:pt x="242" y="440"/>
                  </a:lnTo>
                  <a:lnTo>
                    <a:pt x="243" y="440"/>
                  </a:lnTo>
                  <a:lnTo>
                    <a:pt x="244" y="440"/>
                  </a:lnTo>
                  <a:lnTo>
                    <a:pt x="246" y="443"/>
                  </a:lnTo>
                  <a:lnTo>
                    <a:pt x="246" y="444"/>
                  </a:lnTo>
                  <a:lnTo>
                    <a:pt x="247" y="444"/>
                  </a:lnTo>
                  <a:lnTo>
                    <a:pt x="250" y="442"/>
                  </a:lnTo>
                  <a:lnTo>
                    <a:pt x="253" y="436"/>
                  </a:lnTo>
                  <a:lnTo>
                    <a:pt x="255" y="434"/>
                  </a:lnTo>
                  <a:lnTo>
                    <a:pt x="256" y="433"/>
                  </a:lnTo>
                  <a:lnTo>
                    <a:pt x="260" y="431"/>
                  </a:lnTo>
                  <a:lnTo>
                    <a:pt x="260" y="430"/>
                  </a:lnTo>
                  <a:lnTo>
                    <a:pt x="260" y="427"/>
                  </a:lnTo>
                  <a:lnTo>
                    <a:pt x="253" y="412"/>
                  </a:lnTo>
                  <a:lnTo>
                    <a:pt x="244" y="399"/>
                  </a:lnTo>
                  <a:lnTo>
                    <a:pt x="234" y="394"/>
                  </a:lnTo>
                  <a:lnTo>
                    <a:pt x="230" y="391"/>
                  </a:lnTo>
                  <a:lnTo>
                    <a:pt x="225" y="389"/>
                  </a:lnTo>
                  <a:lnTo>
                    <a:pt x="220" y="383"/>
                  </a:lnTo>
                  <a:lnTo>
                    <a:pt x="217" y="376"/>
                  </a:lnTo>
                  <a:lnTo>
                    <a:pt x="207" y="359"/>
                  </a:lnTo>
                  <a:lnTo>
                    <a:pt x="207" y="357"/>
                  </a:lnTo>
                  <a:lnTo>
                    <a:pt x="204" y="341"/>
                  </a:lnTo>
                  <a:lnTo>
                    <a:pt x="150" y="324"/>
                  </a:lnTo>
                  <a:lnTo>
                    <a:pt x="126" y="327"/>
                  </a:lnTo>
                  <a:lnTo>
                    <a:pt x="112" y="324"/>
                  </a:lnTo>
                  <a:lnTo>
                    <a:pt x="110" y="322"/>
                  </a:lnTo>
                  <a:lnTo>
                    <a:pt x="110" y="321"/>
                  </a:lnTo>
                  <a:lnTo>
                    <a:pt x="109" y="316"/>
                  </a:lnTo>
                  <a:lnTo>
                    <a:pt x="109" y="313"/>
                  </a:lnTo>
                  <a:lnTo>
                    <a:pt x="109" y="311"/>
                  </a:lnTo>
                  <a:lnTo>
                    <a:pt x="107" y="309"/>
                  </a:lnTo>
                  <a:lnTo>
                    <a:pt x="100" y="303"/>
                  </a:lnTo>
                  <a:lnTo>
                    <a:pt x="97" y="297"/>
                  </a:lnTo>
                  <a:lnTo>
                    <a:pt x="99" y="283"/>
                  </a:lnTo>
                  <a:lnTo>
                    <a:pt x="91" y="280"/>
                  </a:lnTo>
                  <a:lnTo>
                    <a:pt x="89" y="278"/>
                  </a:lnTo>
                  <a:lnTo>
                    <a:pt x="89" y="274"/>
                  </a:lnTo>
                  <a:lnTo>
                    <a:pt x="90" y="273"/>
                  </a:lnTo>
                  <a:lnTo>
                    <a:pt x="91" y="270"/>
                  </a:lnTo>
                  <a:lnTo>
                    <a:pt x="93" y="268"/>
                  </a:lnTo>
                  <a:lnTo>
                    <a:pt x="93" y="267"/>
                  </a:lnTo>
                  <a:lnTo>
                    <a:pt x="93" y="265"/>
                  </a:lnTo>
                  <a:lnTo>
                    <a:pt x="93" y="264"/>
                  </a:lnTo>
                  <a:lnTo>
                    <a:pt x="93" y="248"/>
                  </a:lnTo>
                  <a:lnTo>
                    <a:pt x="91" y="242"/>
                  </a:lnTo>
                  <a:lnTo>
                    <a:pt x="84" y="233"/>
                  </a:lnTo>
                  <a:lnTo>
                    <a:pt x="84" y="222"/>
                  </a:lnTo>
                  <a:lnTo>
                    <a:pt x="83" y="217"/>
                  </a:lnTo>
                  <a:lnTo>
                    <a:pt x="83" y="216"/>
                  </a:lnTo>
                  <a:lnTo>
                    <a:pt x="81" y="214"/>
                  </a:lnTo>
                  <a:lnTo>
                    <a:pt x="81" y="214"/>
                  </a:lnTo>
                  <a:lnTo>
                    <a:pt x="81" y="213"/>
                  </a:lnTo>
                  <a:lnTo>
                    <a:pt x="81" y="212"/>
                  </a:lnTo>
                  <a:lnTo>
                    <a:pt x="81" y="209"/>
                  </a:lnTo>
                  <a:lnTo>
                    <a:pt x="83" y="206"/>
                  </a:lnTo>
                  <a:lnTo>
                    <a:pt x="86" y="200"/>
                  </a:lnTo>
                  <a:lnTo>
                    <a:pt x="89" y="197"/>
                  </a:lnTo>
                  <a:lnTo>
                    <a:pt x="90" y="196"/>
                  </a:lnTo>
                  <a:lnTo>
                    <a:pt x="96" y="196"/>
                  </a:lnTo>
                  <a:lnTo>
                    <a:pt x="96" y="196"/>
                  </a:lnTo>
                  <a:lnTo>
                    <a:pt x="97" y="194"/>
                  </a:lnTo>
                  <a:lnTo>
                    <a:pt x="99" y="193"/>
                  </a:lnTo>
                  <a:lnTo>
                    <a:pt x="99" y="191"/>
                  </a:lnTo>
                  <a:lnTo>
                    <a:pt x="99" y="190"/>
                  </a:lnTo>
                  <a:lnTo>
                    <a:pt x="100" y="187"/>
                  </a:lnTo>
                  <a:lnTo>
                    <a:pt x="100" y="182"/>
                  </a:lnTo>
                  <a:lnTo>
                    <a:pt x="99" y="178"/>
                  </a:lnTo>
                  <a:lnTo>
                    <a:pt x="97" y="172"/>
                  </a:lnTo>
                  <a:lnTo>
                    <a:pt x="96" y="169"/>
                  </a:lnTo>
                  <a:lnTo>
                    <a:pt x="94" y="166"/>
                  </a:lnTo>
                  <a:lnTo>
                    <a:pt x="94" y="165"/>
                  </a:lnTo>
                  <a:lnTo>
                    <a:pt x="94" y="156"/>
                  </a:lnTo>
                  <a:lnTo>
                    <a:pt x="93" y="143"/>
                  </a:lnTo>
                  <a:lnTo>
                    <a:pt x="91" y="140"/>
                  </a:lnTo>
                  <a:lnTo>
                    <a:pt x="91" y="139"/>
                  </a:lnTo>
                  <a:lnTo>
                    <a:pt x="90" y="137"/>
                  </a:lnTo>
                  <a:lnTo>
                    <a:pt x="90" y="136"/>
                  </a:lnTo>
                  <a:lnTo>
                    <a:pt x="90" y="129"/>
                  </a:lnTo>
                  <a:lnTo>
                    <a:pt x="90" y="127"/>
                  </a:lnTo>
                  <a:lnTo>
                    <a:pt x="90" y="126"/>
                  </a:lnTo>
                  <a:lnTo>
                    <a:pt x="90" y="124"/>
                  </a:lnTo>
                  <a:lnTo>
                    <a:pt x="91" y="123"/>
                  </a:lnTo>
                  <a:lnTo>
                    <a:pt x="96" y="120"/>
                  </a:lnTo>
                  <a:lnTo>
                    <a:pt x="96" y="118"/>
                  </a:lnTo>
                  <a:lnTo>
                    <a:pt x="99" y="115"/>
                  </a:lnTo>
                  <a:lnTo>
                    <a:pt x="99" y="114"/>
                  </a:lnTo>
                  <a:lnTo>
                    <a:pt x="100" y="113"/>
                  </a:lnTo>
                  <a:lnTo>
                    <a:pt x="102" y="113"/>
                  </a:lnTo>
                  <a:lnTo>
                    <a:pt x="103" y="105"/>
                  </a:lnTo>
                  <a:lnTo>
                    <a:pt x="103" y="80"/>
                  </a:lnTo>
                  <a:lnTo>
                    <a:pt x="112" y="72"/>
                  </a:lnTo>
                  <a:lnTo>
                    <a:pt x="113" y="72"/>
                  </a:lnTo>
                  <a:lnTo>
                    <a:pt x="113" y="70"/>
                  </a:lnTo>
                  <a:lnTo>
                    <a:pt x="115" y="69"/>
                  </a:lnTo>
                  <a:lnTo>
                    <a:pt x="115" y="66"/>
                  </a:lnTo>
                  <a:lnTo>
                    <a:pt x="115" y="63"/>
                  </a:lnTo>
                  <a:lnTo>
                    <a:pt x="116" y="62"/>
                  </a:lnTo>
                  <a:lnTo>
                    <a:pt x="116" y="62"/>
                  </a:lnTo>
                  <a:lnTo>
                    <a:pt x="119" y="62"/>
                  </a:lnTo>
                  <a:lnTo>
                    <a:pt x="122" y="64"/>
                  </a:lnTo>
                  <a:lnTo>
                    <a:pt x="128" y="66"/>
                  </a:lnTo>
                  <a:lnTo>
                    <a:pt x="138" y="67"/>
                  </a:lnTo>
                  <a:lnTo>
                    <a:pt x="141" y="67"/>
                  </a:lnTo>
                  <a:lnTo>
                    <a:pt x="158" y="59"/>
                  </a:lnTo>
                  <a:lnTo>
                    <a:pt x="185" y="56"/>
                  </a:lnTo>
                  <a:lnTo>
                    <a:pt x="186" y="54"/>
                  </a:lnTo>
                  <a:lnTo>
                    <a:pt x="188" y="53"/>
                  </a:lnTo>
                  <a:lnTo>
                    <a:pt x="188" y="50"/>
                  </a:lnTo>
                  <a:lnTo>
                    <a:pt x="189" y="40"/>
                  </a:lnTo>
                  <a:lnTo>
                    <a:pt x="192" y="38"/>
                  </a:lnTo>
                  <a:lnTo>
                    <a:pt x="195" y="38"/>
                  </a:lnTo>
                  <a:lnTo>
                    <a:pt x="220" y="40"/>
                  </a:lnTo>
                  <a:lnTo>
                    <a:pt x="224" y="43"/>
                  </a:lnTo>
                  <a:lnTo>
                    <a:pt x="258" y="37"/>
                  </a:lnTo>
                  <a:lnTo>
                    <a:pt x="259" y="37"/>
                  </a:lnTo>
                  <a:lnTo>
                    <a:pt x="260" y="38"/>
                  </a:lnTo>
                  <a:lnTo>
                    <a:pt x="260" y="40"/>
                  </a:lnTo>
                  <a:lnTo>
                    <a:pt x="263" y="40"/>
                  </a:lnTo>
                  <a:lnTo>
                    <a:pt x="265" y="40"/>
                  </a:lnTo>
                  <a:lnTo>
                    <a:pt x="269" y="35"/>
                  </a:lnTo>
                  <a:lnTo>
                    <a:pt x="272" y="32"/>
                  </a:lnTo>
                  <a:lnTo>
                    <a:pt x="275" y="28"/>
                  </a:lnTo>
                  <a:lnTo>
                    <a:pt x="278" y="22"/>
                  </a:lnTo>
                  <a:lnTo>
                    <a:pt x="284" y="19"/>
                  </a:lnTo>
                  <a:lnTo>
                    <a:pt x="297" y="21"/>
                  </a:lnTo>
                  <a:lnTo>
                    <a:pt x="307" y="25"/>
                  </a:lnTo>
                  <a:lnTo>
                    <a:pt x="313" y="22"/>
                  </a:lnTo>
                  <a:lnTo>
                    <a:pt x="332" y="6"/>
                  </a:lnTo>
                  <a:lnTo>
                    <a:pt x="335" y="2"/>
                  </a:lnTo>
                  <a:lnTo>
                    <a:pt x="345" y="0"/>
                  </a:lnTo>
                  <a:lnTo>
                    <a:pt x="348" y="9"/>
                  </a:lnTo>
                  <a:lnTo>
                    <a:pt x="354" y="12"/>
                  </a:lnTo>
                  <a:lnTo>
                    <a:pt x="358" y="15"/>
                  </a:lnTo>
                  <a:lnTo>
                    <a:pt x="362" y="15"/>
                  </a:lnTo>
                  <a:lnTo>
                    <a:pt x="370" y="1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9">
              <a:extLst>
                <a:ext uri="{FF2B5EF4-FFF2-40B4-BE49-F238E27FC236}">
                  <a16:creationId xmlns:a16="http://schemas.microsoft.com/office/drawing/2014/main" id="{C0365CE6-308B-4166-96A8-31803DF53A9F}"/>
                </a:ext>
              </a:extLst>
            </p:cNvPr>
            <p:cNvSpPr>
              <a:spLocks/>
            </p:cNvSpPr>
            <p:nvPr/>
          </p:nvSpPr>
          <p:spPr bwMode="gray">
            <a:xfrm>
              <a:off x="3836988" y="4905375"/>
              <a:ext cx="579438" cy="442913"/>
            </a:xfrm>
            <a:custGeom>
              <a:avLst/>
              <a:gdLst>
                <a:gd name="T0" fmla="*/ 254 w 365"/>
                <a:gd name="T1" fmla="*/ 14 h 279"/>
                <a:gd name="T2" fmla="*/ 296 w 365"/>
                <a:gd name="T3" fmla="*/ 32 h 279"/>
                <a:gd name="T4" fmla="*/ 305 w 365"/>
                <a:gd name="T5" fmla="*/ 35 h 279"/>
                <a:gd name="T6" fmla="*/ 319 w 365"/>
                <a:gd name="T7" fmla="*/ 29 h 279"/>
                <a:gd name="T8" fmla="*/ 324 w 365"/>
                <a:gd name="T9" fmla="*/ 36 h 279"/>
                <a:gd name="T10" fmla="*/ 330 w 365"/>
                <a:gd name="T11" fmla="*/ 62 h 279"/>
                <a:gd name="T12" fmla="*/ 334 w 365"/>
                <a:gd name="T13" fmla="*/ 68 h 279"/>
                <a:gd name="T14" fmla="*/ 335 w 365"/>
                <a:gd name="T15" fmla="*/ 74 h 279"/>
                <a:gd name="T16" fmla="*/ 328 w 365"/>
                <a:gd name="T17" fmla="*/ 83 h 279"/>
                <a:gd name="T18" fmla="*/ 315 w 365"/>
                <a:gd name="T19" fmla="*/ 96 h 279"/>
                <a:gd name="T20" fmla="*/ 331 w 365"/>
                <a:gd name="T21" fmla="*/ 123 h 279"/>
                <a:gd name="T22" fmla="*/ 331 w 365"/>
                <a:gd name="T23" fmla="*/ 126 h 279"/>
                <a:gd name="T24" fmla="*/ 359 w 365"/>
                <a:gd name="T25" fmla="*/ 137 h 279"/>
                <a:gd name="T26" fmla="*/ 362 w 365"/>
                <a:gd name="T27" fmla="*/ 148 h 279"/>
                <a:gd name="T28" fmla="*/ 363 w 365"/>
                <a:gd name="T29" fmla="*/ 155 h 279"/>
                <a:gd name="T30" fmla="*/ 354 w 365"/>
                <a:gd name="T31" fmla="*/ 166 h 279"/>
                <a:gd name="T32" fmla="*/ 352 w 365"/>
                <a:gd name="T33" fmla="*/ 177 h 279"/>
                <a:gd name="T34" fmla="*/ 346 w 365"/>
                <a:gd name="T35" fmla="*/ 183 h 279"/>
                <a:gd name="T36" fmla="*/ 343 w 365"/>
                <a:gd name="T37" fmla="*/ 195 h 279"/>
                <a:gd name="T38" fmla="*/ 338 w 365"/>
                <a:gd name="T39" fmla="*/ 201 h 279"/>
                <a:gd name="T40" fmla="*/ 335 w 365"/>
                <a:gd name="T41" fmla="*/ 202 h 279"/>
                <a:gd name="T42" fmla="*/ 333 w 365"/>
                <a:gd name="T43" fmla="*/ 202 h 279"/>
                <a:gd name="T44" fmla="*/ 328 w 365"/>
                <a:gd name="T45" fmla="*/ 208 h 279"/>
                <a:gd name="T46" fmla="*/ 330 w 365"/>
                <a:gd name="T47" fmla="*/ 220 h 279"/>
                <a:gd name="T48" fmla="*/ 350 w 365"/>
                <a:gd name="T49" fmla="*/ 246 h 279"/>
                <a:gd name="T50" fmla="*/ 350 w 365"/>
                <a:gd name="T51" fmla="*/ 250 h 279"/>
                <a:gd name="T52" fmla="*/ 341 w 365"/>
                <a:gd name="T53" fmla="*/ 265 h 279"/>
                <a:gd name="T54" fmla="*/ 325 w 365"/>
                <a:gd name="T55" fmla="*/ 276 h 279"/>
                <a:gd name="T56" fmla="*/ 282 w 365"/>
                <a:gd name="T57" fmla="*/ 273 h 279"/>
                <a:gd name="T58" fmla="*/ 257 w 365"/>
                <a:gd name="T59" fmla="*/ 259 h 279"/>
                <a:gd name="T60" fmla="*/ 254 w 365"/>
                <a:gd name="T61" fmla="*/ 268 h 279"/>
                <a:gd name="T62" fmla="*/ 235 w 365"/>
                <a:gd name="T63" fmla="*/ 272 h 279"/>
                <a:gd name="T64" fmla="*/ 232 w 365"/>
                <a:gd name="T65" fmla="*/ 238 h 279"/>
                <a:gd name="T66" fmla="*/ 188 w 365"/>
                <a:gd name="T67" fmla="*/ 225 h 279"/>
                <a:gd name="T68" fmla="*/ 168 w 365"/>
                <a:gd name="T69" fmla="*/ 231 h 279"/>
                <a:gd name="T70" fmla="*/ 166 w 365"/>
                <a:gd name="T71" fmla="*/ 256 h 279"/>
                <a:gd name="T72" fmla="*/ 129 w 365"/>
                <a:gd name="T73" fmla="*/ 250 h 279"/>
                <a:gd name="T74" fmla="*/ 127 w 365"/>
                <a:gd name="T75" fmla="*/ 230 h 279"/>
                <a:gd name="T76" fmla="*/ 118 w 365"/>
                <a:gd name="T77" fmla="*/ 224 h 279"/>
                <a:gd name="T78" fmla="*/ 116 w 365"/>
                <a:gd name="T79" fmla="*/ 217 h 279"/>
                <a:gd name="T80" fmla="*/ 105 w 365"/>
                <a:gd name="T81" fmla="*/ 202 h 279"/>
                <a:gd name="T82" fmla="*/ 104 w 365"/>
                <a:gd name="T83" fmla="*/ 193 h 279"/>
                <a:gd name="T84" fmla="*/ 75 w 365"/>
                <a:gd name="T85" fmla="*/ 161 h 279"/>
                <a:gd name="T86" fmla="*/ 81 w 365"/>
                <a:gd name="T87" fmla="*/ 150 h 279"/>
                <a:gd name="T88" fmla="*/ 63 w 365"/>
                <a:gd name="T89" fmla="*/ 125 h 279"/>
                <a:gd name="T90" fmla="*/ 62 w 365"/>
                <a:gd name="T91" fmla="*/ 121 h 279"/>
                <a:gd name="T92" fmla="*/ 53 w 365"/>
                <a:gd name="T93" fmla="*/ 103 h 279"/>
                <a:gd name="T94" fmla="*/ 8 w 365"/>
                <a:gd name="T95" fmla="*/ 93 h 279"/>
                <a:gd name="T96" fmla="*/ 0 w 365"/>
                <a:gd name="T97" fmla="*/ 72 h 279"/>
                <a:gd name="T98" fmla="*/ 91 w 365"/>
                <a:gd name="T99" fmla="*/ 54 h 279"/>
                <a:gd name="T100" fmla="*/ 129 w 365"/>
                <a:gd name="T101" fmla="*/ 42 h 279"/>
                <a:gd name="T102" fmla="*/ 210 w 365"/>
                <a:gd name="T103" fmla="*/ 1 h 279"/>
                <a:gd name="T104" fmla="*/ 228 w 365"/>
                <a:gd name="T105"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5" h="279">
                  <a:moveTo>
                    <a:pt x="228" y="0"/>
                  </a:moveTo>
                  <a:lnTo>
                    <a:pt x="250" y="11"/>
                  </a:lnTo>
                  <a:lnTo>
                    <a:pt x="251" y="13"/>
                  </a:lnTo>
                  <a:lnTo>
                    <a:pt x="254" y="14"/>
                  </a:lnTo>
                  <a:lnTo>
                    <a:pt x="274" y="14"/>
                  </a:lnTo>
                  <a:lnTo>
                    <a:pt x="276" y="16"/>
                  </a:lnTo>
                  <a:lnTo>
                    <a:pt x="284" y="23"/>
                  </a:lnTo>
                  <a:lnTo>
                    <a:pt x="296" y="32"/>
                  </a:lnTo>
                  <a:lnTo>
                    <a:pt x="298" y="33"/>
                  </a:lnTo>
                  <a:lnTo>
                    <a:pt x="299" y="35"/>
                  </a:lnTo>
                  <a:lnTo>
                    <a:pt x="301" y="35"/>
                  </a:lnTo>
                  <a:lnTo>
                    <a:pt x="305" y="35"/>
                  </a:lnTo>
                  <a:lnTo>
                    <a:pt x="311" y="33"/>
                  </a:lnTo>
                  <a:lnTo>
                    <a:pt x="315" y="33"/>
                  </a:lnTo>
                  <a:lnTo>
                    <a:pt x="318" y="30"/>
                  </a:lnTo>
                  <a:lnTo>
                    <a:pt x="319" y="29"/>
                  </a:lnTo>
                  <a:lnTo>
                    <a:pt x="321" y="27"/>
                  </a:lnTo>
                  <a:lnTo>
                    <a:pt x="322" y="27"/>
                  </a:lnTo>
                  <a:lnTo>
                    <a:pt x="324" y="29"/>
                  </a:lnTo>
                  <a:lnTo>
                    <a:pt x="324" y="36"/>
                  </a:lnTo>
                  <a:lnTo>
                    <a:pt x="325" y="43"/>
                  </a:lnTo>
                  <a:lnTo>
                    <a:pt x="330" y="51"/>
                  </a:lnTo>
                  <a:lnTo>
                    <a:pt x="330" y="56"/>
                  </a:lnTo>
                  <a:lnTo>
                    <a:pt x="330" y="62"/>
                  </a:lnTo>
                  <a:lnTo>
                    <a:pt x="331" y="65"/>
                  </a:lnTo>
                  <a:lnTo>
                    <a:pt x="331" y="67"/>
                  </a:lnTo>
                  <a:lnTo>
                    <a:pt x="333" y="67"/>
                  </a:lnTo>
                  <a:lnTo>
                    <a:pt x="334" y="68"/>
                  </a:lnTo>
                  <a:lnTo>
                    <a:pt x="335" y="68"/>
                  </a:lnTo>
                  <a:lnTo>
                    <a:pt x="335" y="70"/>
                  </a:lnTo>
                  <a:lnTo>
                    <a:pt x="335" y="71"/>
                  </a:lnTo>
                  <a:lnTo>
                    <a:pt x="335" y="74"/>
                  </a:lnTo>
                  <a:lnTo>
                    <a:pt x="335" y="77"/>
                  </a:lnTo>
                  <a:lnTo>
                    <a:pt x="334" y="78"/>
                  </a:lnTo>
                  <a:lnTo>
                    <a:pt x="331" y="81"/>
                  </a:lnTo>
                  <a:lnTo>
                    <a:pt x="328" y="83"/>
                  </a:lnTo>
                  <a:lnTo>
                    <a:pt x="325" y="84"/>
                  </a:lnTo>
                  <a:lnTo>
                    <a:pt x="319" y="93"/>
                  </a:lnTo>
                  <a:lnTo>
                    <a:pt x="317" y="94"/>
                  </a:lnTo>
                  <a:lnTo>
                    <a:pt x="315" y="96"/>
                  </a:lnTo>
                  <a:lnTo>
                    <a:pt x="314" y="97"/>
                  </a:lnTo>
                  <a:lnTo>
                    <a:pt x="317" y="106"/>
                  </a:lnTo>
                  <a:lnTo>
                    <a:pt x="325" y="116"/>
                  </a:lnTo>
                  <a:lnTo>
                    <a:pt x="331" y="123"/>
                  </a:lnTo>
                  <a:lnTo>
                    <a:pt x="331" y="125"/>
                  </a:lnTo>
                  <a:lnTo>
                    <a:pt x="331" y="126"/>
                  </a:lnTo>
                  <a:lnTo>
                    <a:pt x="331" y="126"/>
                  </a:lnTo>
                  <a:lnTo>
                    <a:pt x="331" y="126"/>
                  </a:lnTo>
                  <a:lnTo>
                    <a:pt x="330" y="128"/>
                  </a:lnTo>
                  <a:lnTo>
                    <a:pt x="333" y="131"/>
                  </a:lnTo>
                  <a:lnTo>
                    <a:pt x="350" y="134"/>
                  </a:lnTo>
                  <a:lnTo>
                    <a:pt x="359" y="137"/>
                  </a:lnTo>
                  <a:lnTo>
                    <a:pt x="362" y="138"/>
                  </a:lnTo>
                  <a:lnTo>
                    <a:pt x="365" y="144"/>
                  </a:lnTo>
                  <a:lnTo>
                    <a:pt x="362" y="147"/>
                  </a:lnTo>
                  <a:lnTo>
                    <a:pt x="362" y="148"/>
                  </a:lnTo>
                  <a:lnTo>
                    <a:pt x="362" y="150"/>
                  </a:lnTo>
                  <a:lnTo>
                    <a:pt x="363" y="153"/>
                  </a:lnTo>
                  <a:lnTo>
                    <a:pt x="363" y="154"/>
                  </a:lnTo>
                  <a:lnTo>
                    <a:pt x="363" y="155"/>
                  </a:lnTo>
                  <a:lnTo>
                    <a:pt x="362" y="160"/>
                  </a:lnTo>
                  <a:lnTo>
                    <a:pt x="360" y="161"/>
                  </a:lnTo>
                  <a:lnTo>
                    <a:pt x="359" y="163"/>
                  </a:lnTo>
                  <a:lnTo>
                    <a:pt x="354" y="166"/>
                  </a:lnTo>
                  <a:lnTo>
                    <a:pt x="353" y="167"/>
                  </a:lnTo>
                  <a:lnTo>
                    <a:pt x="353" y="169"/>
                  </a:lnTo>
                  <a:lnTo>
                    <a:pt x="352" y="174"/>
                  </a:lnTo>
                  <a:lnTo>
                    <a:pt x="352" y="177"/>
                  </a:lnTo>
                  <a:lnTo>
                    <a:pt x="350" y="179"/>
                  </a:lnTo>
                  <a:lnTo>
                    <a:pt x="347" y="180"/>
                  </a:lnTo>
                  <a:lnTo>
                    <a:pt x="347" y="182"/>
                  </a:lnTo>
                  <a:lnTo>
                    <a:pt x="346" y="183"/>
                  </a:lnTo>
                  <a:lnTo>
                    <a:pt x="346" y="185"/>
                  </a:lnTo>
                  <a:lnTo>
                    <a:pt x="344" y="186"/>
                  </a:lnTo>
                  <a:lnTo>
                    <a:pt x="344" y="190"/>
                  </a:lnTo>
                  <a:lnTo>
                    <a:pt x="343" y="195"/>
                  </a:lnTo>
                  <a:lnTo>
                    <a:pt x="341" y="199"/>
                  </a:lnTo>
                  <a:lnTo>
                    <a:pt x="340" y="199"/>
                  </a:lnTo>
                  <a:lnTo>
                    <a:pt x="340" y="201"/>
                  </a:lnTo>
                  <a:lnTo>
                    <a:pt x="338" y="201"/>
                  </a:lnTo>
                  <a:lnTo>
                    <a:pt x="338" y="202"/>
                  </a:lnTo>
                  <a:lnTo>
                    <a:pt x="337" y="202"/>
                  </a:lnTo>
                  <a:lnTo>
                    <a:pt x="335" y="202"/>
                  </a:lnTo>
                  <a:lnTo>
                    <a:pt x="335" y="202"/>
                  </a:lnTo>
                  <a:lnTo>
                    <a:pt x="334" y="202"/>
                  </a:lnTo>
                  <a:lnTo>
                    <a:pt x="334" y="202"/>
                  </a:lnTo>
                  <a:lnTo>
                    <a:pt x="334" y="202"/>
                  </a:lnTo>
                  <a:lnTo>
                    <a:pt x="333" y="202"/>
                  </a:lnTo>
                  <a:lnTo>
                    <a:pt x="331" y="202"/>
                  </a:lnTo>
                  <a:lnTo>
                    <a:pt x="331" y="202"/>
                  </a:lnTo>
                  <a:lnTo>
                    <a:pt x="331" y="204"/>
                  </a:lnTo>
                  <a:lnTo>
                    <a:pt x="328" y="208"/>
                  </a:lnTo>
                  <a:lnTo>
                    <a:pt x="328" y="209"/>
                  </a:lnTo>
                  <a:lnTo>
                    <a:pt x="328" y="212"/>
                  </a:lnTo>
                  <a:lnTo>
                    <a:pt x="330" y="217"/>
                  </a:lnTo>
                  <a:lnTo>
                    <a:pt x="330" y="220"/>
                  </a:lnTo>
                  <a:lnTo>
                    <a:pt x="331" y="225"/>
                  </a:lnTo>
                  <a:lnTo>
                    <a:pt x="331" y="225"/>
                  </a:lnTo>
                  <a:lnTo>
                    <a:pt x="343" y="240"/>
                  </a:lnTo>
                  <a:lnTo>
                    <a:pt x="350" y="246"/>
                  </a:lnTo>
                  <a:lnTo>
                    <a:pt x="357" y="246"/>
                  </a:lnTo>
                  <a:lnTo>
                    <a:pt x="357" y="246"/>
                  </a:lnTo>
                  <a:lnTo>
                    <a:pt x="356" y="247"/>
                  </a:lnTo>
                  <a:lnTo>
                    <a:pt x="350" y="250"/>
                  </a:lnTo>
                  <a:lnTo>
                    <a:pt x="349" y="253"/>
                  </a:lnTo>
                  <a:lnTo>
                    <a:pt x="346" y="260"/>
                  </a:lnTo>
                  <a:lnTo>
                    <a:pt x="344" y="263"/>
                  </a:lnTo>
                  <a:lnTo>
                    <a:pt x="341" y="265"/>
                  </a:lnTo>
                  <a:lnTo>
                    <a:pt x="334" y="266"/>
                  </a:lnTo>
                  <a:lnTo>
                    <a:pt x="331" y="266"/>
                  </a:lnTo>
                  <a:lnTo>
                    <a:pt x="330" y="269"/>
                  </a:lnTo>
                  <a:lnTo>
                    <a:pt x="325" y="276"/>
                  </a:lnTo>
                  <a:lnTo>
                    <a:pt x="324" y="279"/>
                  </a:lnTo>
                  <a:lnTo>
                    <a:pt x="321" y="278"/>
                  </a:lnTo>
                  <a:lnTo>
                    <a:pt x="312" y="273"/>
                  </a:lnTo>
                  <a:lnTo>
                    <a:pt x="282" y="273"/>
                  </a:lnTo>
                  <a:lnTo>
                    <a:pt x="277" y="272"/>
                  </a:lnTo>
                  <a:lnTo>
                    <a:pt x="271" y="269"/>
                  </a:lnTo>
                  <a:lnTo>
                    <a:pt x="258" y="259"/>
                  </a:lnTo>
                  <a:lnTo>
                    <a:pt x="257" y="259"/>
                  </a:lnTo>
                  <a:lnTo>
                    <a:pt x="252" y="262"/>
                  </a:lnTo>
                  <a:lnTo>
                    <a:pt x="252" y="262"/>
                  </a:lnTo>
                  <a:lnTo>
                    <a:pt x="254" y="265"/>
                  </a:lnTo>
                  <a:lnTo>
                    <a:pt x="254" y="268"/>
                  </a:lnTo>
                  <a:lnTo>
                    <a:pt x="254" y="268"/>
                  </a:lnTo>
                  <a:lnTo>
                    <a:pt x="254" y="271"/>
                  </a:lnTo>
                  <a:lnTo>
                    <a:pt x="244" y="278"/>
                  </a:lnTo>
                  <a:lnTo>
                    <a:pt x="235" y="272"/>
                  </a:lnTo>
                  <a:lnTo>
                    <a:pt x="232" y="257"/>
                  </a:lnTo>
                  <a:lnTo>
                    <a:pt x="232" y="257"/>
                  </a:lnTo>
                  <a:lnTo>
                    <a:pt x="232" y="238"/>
                  </a:lnTo>
                  <a:lnTo>
                    <a:pt x="232" y="238"/>
                  </a:lnTo>
                  <a:lnTo>
                    <a:pt x="225" y="238"/>
                  </a:lnTo>
                  <a:lnTo>
                    <a:pt x="203" y="225"/>
                  </a:lnTo>
                  <a:lnTo>
                    <a:pt x="199" y="225"/>
                  </a:lnTo>
                  <a:lnTo>
                    <a:pt x="188" y="225"/>
                  </a:lnTo>
                  <a:lnTo>
                    <a:pt x="174" y="222"/>
                  </a:lnTo>
                  <a:lnTo>
                    <a:pt x="171" y="224"/>
                  </a:lnTo>
                  <a:lnTo>
                    <a:pt x="168" y="231"/>
                  </a:lnTo>
                  <a:lnTo>
                    <a:pt x="168" y="231"/>
                  </a:lnTo>
                  <a:lnTo>
                    <a:pt x="171" y="240"/>
                  </a:lnTo>
                  <a:lnTo>
                    <a:pt x="172" y="249"/>
                  </a:lnTo>
                  <a:lnTo>
                    <a:pt x="172" y="249"/>
                  </a:lnTo>
                  <a:lnTo>
                    <a:pt x="166" y="256"/>
                  </a:lnTo>
                  <a:lnTo>
                    <a:pt x="162" y="257"/>
                  </a:lnTo>
                  <a:lnTo>
                    <a:pt x="149" y="252"/>
                  </a:lnTo>
                  <a:lnTo>
                    <a:pt x="133" y="252"/>
                  </a:lnTo>
                  <a:lnTo>
                    <a:pt x="129" y="250"/>
                  </a:lnTo>
                  <a:lnTo>
                    <a:pt x="124" y="243"/>
                  </a:lnTo>
                  <a:lnTo>
                    <a:pt x="124" y="243"/>
                  </a:lnTo>
                  <a:lnTo>
                    <a:pt x="126" y="237"/>
                  </a:lnTo>
                  <a:lnTo>
                    <a:pt x="127" y="230"/>
                  </a:lnTo>
                  <a:lnTo>
                    <a:pt x="127" y="230"/>
                  </a:lnTo>
                  <a:lnTo>
                    <a:pt x="126" y="221"/>
                  </a:lnTo>
                  <a:lnTo>
                    <a:pt x="124" y="221"/>
                  </a:lnTo>
                  <a:lnTo>
                    <a:pt x="118" y="224"/>
                  </a:lnTo>
                  <a:lnTo>
                    <a:pt x="117" y="224"/>
                  </a:lnTo>
                  <a:lnTo>
                    <a:pt x="117" y="222"/>
                  </a:lnTo>
                  <a:lnTo>
                    <a:pt x="116" y="218"/>
                  </a:lnTo>
                  <a:lnTo>
                    <a:pt x="116" y="217"/>
                  </a:lnTo>
                  <a:lnTo>
                    <a:pt x="114" y="215"/>
                  </a:lnTo>
                  <a:lnTo>
                    <a:pt x="111" y="205"/>
                  </a:lnTo>
                  <a:lnTo>
                    <a:pt x="110" y="204"/>
                  </a:lnTo>
                  <a:lnTo>
                    <a:pt x="105" y="202"/>
                  </a:lnTo>
                  <a:lnTo>
                    <a:pt x="104" y="201"/>
                  </a:lnTo>
                  <a:lnTo>
                    <a:pt x="102" y="198"/>
                  </a:lnTo>
                  <a:lnTo>
                    <a:pt x="102" y="198"/>
                  </a:lnTo>
                  <a:lnTo>
                    <a:pt x="104" y="193"/>
                  </a:lnTo>
                  <a:lnTo>
                    <a:pt x="104" y="193"/>
                  </a:lnTo>
                  <a:lnTo>
                    <a:pt x="104" y="190"/>
                  </a:lnTo>
                  <a:lnTo>
                    <a:pt x="81" y="169"/>
                  </a:lnTo>
                  <a:lnTo>
                    <a:pt x="75" y="161"/>
                  </a:lnTo>
                  <a:lnTo>
                    <a:pt x="72" y="155"/>
                  </a:lnTo>
                  <a:lnTo>
                    <a:pt x="72" y="155"/>
                  </a:lnTo>
                  <a:lnTo>
                    <a:pt x="73" y="150"/>
                  </a:lnTo>
                  <a:lnTo>
                    <a:pt x="81" y="150"/>
                  </a:lnTo>
                  <a:lnTo>
                    <a:pt x="82" y="145"/>
                  </a:lnTo>
                  <a:lnTo>
                    <a:pt x="82" y="145"/>
                  </a:lnTo>
                  <a:lnTo>
                    <a:pt x="81" y="142"/>
                  </a:lnTo>
                  <a:lnTo>
                    <a:pt x="63" y="125"/>
                  </a:lnTo>
                  <a:lnTo>
                    <a:pt x="62" y="121"/>
                  </a:lnTo>
                  <a:lnTo>
                    <a:pt x="62" y="121"/>
                  </a:lnTo>
                  <a:lnTo>
                    <a:pt x="62" y="121"/>
                  </a:lnTo>
                  <a:lnTo>
                    <a:pt x="62" y="121"/>
                  </a:lnTo>
                  <a:lnTo>
                    <a:pt x="62" y="118"/>
                  </a:lnTo>
                  <a:lnTo>
                    <a:pt x="60" y="113"/>
                  </a:lnTo>
                  <a:lnTo>
                    <a:pt x="59" y="109"/>
                  </a:lnTo>
                  <a:lnTo>
                    <a:pt x="53" y="103"/>
                  </a:lnTo>
                  <a:lnTo>
                    <a:pt x="21" y="87"/>
                  </a:lnTo>
                  <a:lnTo>
                    <a:pt x="16" y="87"/>
                  </a:lnTo>
                  <a:lnTo>
                    <a:pt x="14" y="89"/>
                  </a:lnTo>
                  <a:lnTo>
                    <a:pt x="8" y="93"/>
                  </a:lnTo>
                  <a:lnTo>
                    <a:pt x="3" y="93"/>
                  </a:lnTo>
                  <a:lnTo>
                    <a:pt x="0" y="93"/>
                  </a:lnTo>
                  <a:lnTo>
                    <a:pt x="0" y="89"/>
                  </a:lnTo>
                  <a:lnTo>
                    <a:pt x="0" y="72"/>
                  </a:lnTo>
                  <a:lnTo>
                    <a:pt x="2" y="56"/>
                  </a:lnTo>
                  <a:lnTo>
                    <a:pt x="5" y="55"/>
                  </a:lnTo>
                  <a:lnTo>
                    <a:pt x="51" y="51"/>
                  </a:lnTo>
                  <a:lnTo>
                    <a:pt x="91" y="54"/>
                  </a:lnTo>
                  <a:lnTo>
                    <a:pt x="114" y="43"/>
                  </a:lnTo>
                  <a:lnTo>
                    <a:pt x="121" y="43"/>
                  </a:lnTo>
                  <a:lnTo>
                    <a:pt x="123" y="43"/>
                  </a:lnTo>
                  <a:lnTo>
                    <a:pt x="129" y="42"/>
                  </a:lnTo>
                  <a:lnTo>
                    <a:pt x="180" y="19"/>
                  </a:lnTo>
                  <a:lnTo>
                    <a:pt x="206" y="1"/>
                  </a:lnTo>
                  <a:lnTo>
                    <a:pt x="209" y="1"/>
                  </a:lnTo>
                  <a:lnTo>
                    <a:pt x="210" y="1"/>
                  </a:lnTo>
                  <a:lnTo>
                    <a:pt x="216" y="3"/>
                  </a:lnTo>
                  <a:lnTo>
                    <a:pt x="219" y="6"/>
                  </a:lnTo>
                  <a:lnTo>
                    <a:pt x="220" y="6"/>
                  </a:lnTo>
                  <a:lnTo>
                    <a:pt x="228" y="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10">
              <a:extLst>
                <a:ext uri="{FF2B5EF4-FFF2-40B4-BE49-F238E27FC236}">
                  <a16:creationId xmlns:a16="http://schemas.microsoft.com/office/drawing/2014/main" id="{888D1ADC-66B7-4701-BD0A-3ABED91B1546}"/>
                </a:ext>
              </a:extLst>
            </p:cNvPr>
            <p:cNvSpPr>
              <a:spLocks/>
            </p:cNvSpPr>
            <p:nvPr/>
          </p:nvSpPr>
          <p:spPr bwMode="gray">
            <a:xfrm>
              <a:off x="3700463" y="3784600"/>
              <a:ext cx="1328738" cy="1685925"/>
            </a:xfrm>
            <a:custGeom>
              <a:avLst/>
              <a:gdLst>
                <a:gd name="T0" fmla="*/ 656 w 837"/>
                <a:gd name="T1" fmla="*/ 67 h 1062"/>
                <a:gd name="T2" fmla="*/ 682 w 837"/>
                <a:gd name="T3" fmla="*/ 133 h 1062"/>
                <a:gd name="T4" fmla="*/ 708 w 837"/>
                <a:gd name="T5" fmla="*/ 167 h 1062"/>
                <a:gd name="T6" fmla="*/ 707 w 837"/>
                <a:gd name="T7" fmla="*/ 216 h 1062"/>
                <a:gd name="T8" fmla="*/ 676 w 837"/>
                <a:gd name="T9" fmla="*/ 212 h 1062"/>
                <a:gd name="T10" fmla="*/ 662 w 837"/>
                <a:gd name="T11" fmla="*/ 254 h 1062"/>
                <a:gd name="T12" fmla="*/ 657 w 837"/>
                <a:gd name="T13" fmla="*/ 285 h 1062"/>
                <a:gd name="T14" fmla="*/ 681 w 837"/>
                <a:gd name="T15" fmla="*/ 310 h 1062"/>
                <a:gd name="T16" fmla="*/ 704 w 837"/>
                <a:gd name="T17" fmla="*/ 362 h 1062"/>
                <a:gd name="T18" fmla="*/ 676 w 837"/>
                <a:gd name="T19" fmla="*/ 381 h 1062"/>
                <a:gd name="T20" fmla="*/ 657 w 837"/>
                <a:gd name="T21" fmla="*/ 385 h 1062"/>
                <a:gd name="T22" fmla="*/ 630 w 837"/>
                <a:gd name="T23" fmla="*/ 428 h 1062"/>
                <a:gd name="T24" fmla="*/ 631 w 837"/>
                <a:gd name="T25" fmla="*/ 448 h 1062"/>
                <a:gd name="T26" fmla="*/ 611 w 837"/>
                <a:gd name="T27" fmla="*/ 445 h 1062"/>
                <a:gd name="T28" fmla="*/ 612 w 837"/>
                <a:gd name="T29" fmla="*/ 506 h 1062"/>
                <a:gd name="T30" fmla="*/ 786 w 837"/>
                <a:gd name="T31" fmla="*/ 547 h 1062"/>
                <a:gd name="T32" fmla="*/ 816 w 837"/>
                <a:gd name="T33" fmla="*/ 631 h 1062"/>
                <a:gd name="T34" fmla="*/ 808 w 837"/>
                <a:gd name="T35" fmla="*/ 733 h 1062"/>
                <a:gd name="T36" fmla="*/ 837 w 837"/>
                <a:gd name="T37" fmla="*/ 813 h 1062"/>
                <a:gd name="T38" fmla="*/ 797 w 837"/>
                <a:gd name="T39" fmla="*/ 918 h 1062"/>
                <a:gd name="T40" fmla="*/ 694 w 837"/>
                <a:gd name="T41" fmla="*/ 1051 h 1062"/>
                <a:gd name="T42" fmla="*/ 544 w 837"/>
                <a:gd name="T43" fmla="*/ 1020 h 1062"/>
                <a:gd name="T44" fmla="*/ 478 w 837"/>
                <a:gd name="T45" fmla="*/ 972 h 1062"/>
                <a:gd name="T46" fmla="*/ 436 w 837"/>
                <a:gd name="T47" fmla="*/ 952 h 1062"/>
                <a:gd name="T48" fmla="*/ 419 w 837"/>
                <a:gd name="T49" fmla="*/ 908 h 1062"/>
                <a:gd name="T50" fmla="*/ 429 w 837"/>
                <a:gd name="T51" fmla="*/ 901 h 1062"/>
                <a:gd name="T52" fmla="*/ 440 w 837"/>
                <a:gd name="T53" fmla="*/ 872 h 1062"/>
                <a:gd name="T54" fmla="*/ 445 w 837"/>
                <a:gd name="T55" fmla="*/ 843 h 1062"/>
                <a:gd name="T56" fmla="*/ 401 w 837"/>
                <a:gd name="T57" fmla="*/ 802 h 1062"/>
                <a:gd name="T58" fmla="*/ 420 w 837"/>
                <a:gd name="T59" fmla="*/ 774 h 1062"/>
                <a:gd name="T60" fmla="*/ 405 w 837"/>
                <a:gd name="T61" fmla="*/ 735 h 1062"/>
                <a:gd name="T62" fmla="*/ 340 w 837"/>
                <a:gd name="T63" fmla="*/ 720 h 1062"/>
                <a:gd name="T64" fmla="*/ 209 w 837"/>
                <a:gd name="T65" fmla="*/ 749 h 1062"/>
                <a:gd name="T66" fmla="*/ 105 w 837"/>
                <a:gd name="T67" fmla="*/ 714 h 1062"/>
                <a:gd name="T68" fmla="*/ 108 w 837"/>
                <a:gd name="T69" fmla="*/ 690 h 1062"/>
                <a:gd name="T70" fmla="*/ 137 w 837"/>
                <a:gd name="T71" fmla="*/ 658 h 1062"/>
                <a:gd name="T72" fmla="*/ 140 w 837"/>
                <a:gd name="T73" fmla="*/ 623 h 1062"/>
                <a:gd name="T74" fmla="*/ 100 w 837"/>
                <a:gd name="T75" fmla="*/ 607 h 1062"/>
                <a:gd name="T76" fmla="*/ 33 w 837"/>
                <a:gd name="T77" fmla="*/ 540 h 1062"/>
                <a:gd name="T78" fmla="*/ 0 w 837"/>
                <a:gd name="T79" fmla="*/ 481 h 1062"/>
                <a:gd name="T80" fmla="*/ 11 w 837"/>
                <a:gd name="T81" fmla="*/ 438 h 1062"/>
                <a:gd name="T82" fmla="*/ 22 w 837"/>
                <a:gd name="T83" fmla="*/ 414 h 1062"/>
                <a:gd name="T84" fmla="*/ 62 w 837"/>
                <a:gd name="T85" fmla="*/ 362 h 1062"/>
                <a:gd name="T86" fmla="*/ 97 w 837"/>
                <a:gd name="T87" fmla="*/ 336 h 1062"/>
                <a:gd name="T88" fmla="*/ 104 w 837"/>
                <a:gd name="T89" fmla="*/ 301 h 1062"/>
                <a:gd name="T90" fmla="*/ 123 w 837"/>
                <a:gd name="T91" fmla="*/ 314 h 1062"/>
                <a:gd name="T92" fmla="*/ 172 w 837"/>
                <a:gd name="T93" fmla="*/ 304 h 1062"/>
                <a:gd name="T94" fmla="*/ 196 w 837"/>
                <a:gd name="T95" fmla="*/ 313 h 1062"/>
                <a:gd name="T96" fmla="*/ 245 w 837"/>
                <a:gd name="T97" fmla="*/ 307 h 1062"/>
                <a:gd name="T98" fmla="*/ 235 w 837"/>
                <a:gd name="T99" fmla="*/ 275 h 1062"/>
                <a:gd name="T100" fmla="*/ 236 w 837"/>
                <a:gd name="T101" fmla="*/ 249 h 1062"/>
                <a:gd name="T102" fmla="*/ 270 w 837"/>
                <a:gd name="T103" fmla="*/ 257 h 1062"/>
                <a:gd name="T104" fmla="*/ 292 w 837"/>
                <a:gd name="T105" fmla="*/ 209 h 1062"/>
                <a:gd name="T106" fmla="*/ 347 w 837"/>
                <a:gd name="T107" fmla="*/ 189 h 1062"/>
                <a:gd name="T108" fmla="*/ 382 w 837"/>
                <a:gd name="T109" fmla="*/ 166 h 1062"/>
                <a:gd name="T110" fmla="*/ 392 w 837"/>
                <a:gd name="T111" fmla="*/ 170 h 1062"/>
                <a:gd name="T112" fmla="*/ 448 w 837"/>
                <a:gd name="T113" fmla="*/ 145 h 1062"/>
                <a:gd name="T114" fmla="*/ 471 w 837"/>
                <a:gd name="T115" fmla="*/ 123 h 1062"/>
                <a:gd name="T116" fmla="*/ 532 w 837"/>
                <a:gd name="T117" fmla="*/ 97 h 1062"/>
                <a:gd name="T118" fmla="*/ 556 w 837"/>
                <a:gd name="T119" fmla="*/ 85 h 1062"/>
                <a:gd name="T120" fmla="*/ 570 w 837"/>
                <a:gd name="T121" fmla="*/ 50 h 1062"/>
                <a:gd name="T122" fmla="*/ 579 w 837"/>
                <a:gd name="T123" fmla="*/ 36 h 1062"/>
                <a:gd name="T124" fmla="*/ 609 w 837"/>
                <a:gd name="T125" fmla="*/ 23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37" h="1062">
                  <a:moveTo>
                    <a:pt x="636" y="50"/>
                  </a:moveTo>
                  <a:lnTo>
                    <a:pt x="639" y="53"/>
                  </a:lnTo>
                  <a:lnTo>
                    <a:pt x="641" y="55"/>
                  </a:lnTo>
                  <a:lnTo>
                    <a:pt x="643" y="55"/>
                  </a:lnTo>
                  <a:lnTo>
                    <a:pt x="644" y="55"/>
                  </a:lnTo>
                  <a:lnTo>
                    <a:pt x="649" y="52"/>
                  </a:lnTo>
                  <a:lnTo>
                    <a:pt x="650" y="52"/>
                  </a:lnTo>
                  <a:lnTo>
                    <a:pt x="650" y="52"/>
                  </a:lnTo>
                  <a:lnTo>
                    <a:pt x="652" y="52"/>
                  </a:lnTo>
                  <a:lnTo>
                    <a:pt x="653" y="55"/>
                  </a:lnTo>
                  <a:lnTo>
                    <a:pt x="655" y="58"/>
                  </a:lnTo>
                  <a:lnTo>
                    <a:pt x="656" y="67"/>
                  </a:lnTo>
                  <a:lnTo>
                    <a:pt x="656" y="71"/>
                  </a:lnTo>
                  <a:lnTo>
                    <a:pt x="656" y="75"/>
                  </a:lnTo>
                  <a:lnTo>
                    <a:pt x="656" y="81"/>
                  </a:lnTo>
                  <a:lnTo>
                    <a:pt x="655" y="84"/>
                  </a:lnTo>
                  <a:lnTo>
                    <a:pt x="656" y="87"/>
                  </a:lnTo>
                  <a:lnTo>
                    <a:pt x="659" y="94"/>
                  </a:lnTo>
                  <a:lnTo>
                    <a:pt x="674" y="113"/>
                  </a:lnTo>
                  <a:lnTo>
                    <a:pt x="679" y="123"/>
                  </a:lnTo>
                  <a:lnTo>
                    <a:pt x="681" y="125"/>
                  </a:lnTo>
                  <a:lnTo>
                    <a:pt x="681" y="128"/>
                  </a:lnTo>
                  <a:lnTo>
                    <a:pt x="682" y="132"/>
                  </a:lnTo>
                  <a:lnTo>
                    <a:pt x="682" y="133"/>
                  </a:lnTo>
                  <a:lnTo>
                    <a:pt x="685" y="133"/>
                  </a:lnTo>
                  <a:lnTo>
                    <a:pt x="692" y="129"/>
                  </a:lnTo>
                  <a:lnTo>
                    <a:pt x="695" y="129"/>
                  </a:lnTo>
                  <a:lnTo>
                    <a:pt x="700" y="131"/>
                  </a:lnTo>
                  <a:lnTo>
                    <a:pt x="708" y="136"/>
                  </a:lnTo>
                  <a:lnTo>
                    <a:pt x="707" y="145"/>
                  </a:lnTo>
                  <a:lnTo>
                    <a:pt x="706" y="148"/>
                  </a:lnTo>
                  <a:lnTo>
                    <a:pt x="704" y="151"/>
                  </a:lnTo>
                  <a:lnTo>
                    <a:pt x="704" y="152"/>
                  </a:lnTo>
                  <a:lnTo>
                    <a:pt x="704" y="155"/>
                  </a:lnTo>
                  <a:lnTo>
                    <a:pt x="704" y="157"/>
                  </a:lnTo>
                  <a:lnTo>
                    <a:pt x="708" y="167"/>
                  </a:lnTo>
                  <a:lnTo>
                    <a:pt x="711" y="173"/>
                  </a:lnTo>
                  <a:lnTo>
                    <a:pt x="711" y="180"/>
                  </a:lnTo>
                  <a:lnTo>
                    <a:pt x="713" y="183"/>
                  </a:lnTo>
                  <a:lnTo>
                    <a:pt x="714" y="186"/>
                  </a:lnTo>
                  <a:lnTo>
                    <a:pt x="717" y="187"/>
                  </a:lnTo>
                  <a:lnTo>
                    <a:pt x="717" y="189"/>
                  </a:lnTo>
                  <a:lnTo>
                    <a:pt x="719" y="190"/>
                  </a:lnTo>
                  <a:lnTo>
                    <a:pt x="716" y="199"/>
                  </a:lnTo>
                  <a:lnTo>
                    <a:pt x="710" y="212"/>
                  </a:lnTo>
                  <a:lnTo>
                    <a:pt x="710" y="214"/>
                  </a:lnTo>
                  <a:lnTo>
                    <a:pt x="708" y="215"/>
                  </a:lnTo>
                  <a:lnTo>
                    <a:pt x="707" y="216"/>
                  </a:lnTo>
                  <a:lnTo>
                    <a:pt x="701" y="221"/>
                  </a:lnTo>
                  <a:lnTo>
                    <a:pt x="700" y="221"/>
                  </a:lnTo>
                  <a:lnTo>
                    <a:pt x="700" y="222"/>
                  </a:lnTo>
                  <a:lnTo>
                    <a:pt x="698" y="222"/>
                  </a:lnTo>
                  <a:lnTo>
                    <a:pt x="694" y="221"/>
                  </a:lnTo>
                  <a:lnTo>
                    <a:pt x="694" y="221"/>
                  </a:lnTo>
                  <a:lnTo>
                    <a:pt x="692" y="219"/>
                  </a:lnTo>
                  <a:lnTo>
                    <a:pt x="687" y="212"/>
                  </a:lnTo>
                  <a:lnTo>
                    <a:pt x="685" y="211"/>
                  </a:lnTo>
                  <a:lnTo>
                    <a:pt x="684" y="211"/>
                  </a:lnTo>
                  <a:lnTo>
                    <a:pt x="681" y="211"/>
                  </a:lnTo>
                  <a:lnTo>
                    <a:pt x="676" y="212"/>
                  </a:lnTo>
                  <a:lnTo>
                    <a:pt x="675" y="214"/>
                  </a:lnTo>
                  <a:lnTo>
                    <a:pt x="674" y="216"/>
                  </a:lnTo>
                  <a:lnTo>
                    <a:pt x="669" y="221"/>
                  </a:lnTo>
                  <a:lnTo>
                    <a:pt x="668" y="222"/>
                  </a:lnTo>
                  <a:lnTo>
                    <a:pt x="665" y="224"/>
                  </a:lnTo>
                  <a:lnTo>
                    <a:pt x="663" y="225"/>
                  </a:lnTo>
                  <a:lnTo>
                    <a:pt x="663" y="227"/>
                  </a:lnTo>
                  <a:lnTo>
                    <a:pt x="662" y="231"/>
                  </a:lnTo>
                  <a:lnTo>
                    <a:pt x="662" y="250"/>
                  </a:lnTo>
                  <a:lnTo>
                    <a:pt x="662" y="250"/>
                  </a:lnTo>
                  <a:lnTo>
                    <a:pt x="662" y="251"/>
                  </a:lnTo>
                  <a:lnTo>
                    <a:pt x="662" y="254"/>
                  </a:lnTo>
                  <a:lnTo>
                    <a:pt x="662" y="256"/>
                  </a:lnTo>
                  <a:lnTo>
                    <a:pt x="663" y="257"/>
                  </a:lnTo>
                  <a:lnTo>
                    <a:pt x="663" y="257"/>
                  </a:lnTo>
                  <a:lnTo>
                    <a:pt x="665" y="259"/>
                  </a:lnTo>
                  <a:lnTo>
                    <a:pt x="668" y="260"/>
                  </a:lnTo>
                  <a:lnTo>
                    <a:pt x="669" y="262"/>
                  </a:lnTo>
                  <a:lnTo>
                    <a:pt x="668" y="262"/>
                  </a:lnTo>
                  <a:lnTo>
                    <a:pt x="668" y="263"/>
                  </a:lnTo>
                  <a:lnTo>
                    <a:pt x="662" y="269"/>
                  </a:lnTo>
                  <a:lnTo>
                    <a:pt x="660" y="273"/>
                  </a:lnTo>
                  <a:lnTo>
                    <a:pt x="659" y="279"/>
                  </a:lnTo>
                  <a:lnTo>
                    <a:pt x="657" y="285"/>
                  </a:lnTo>
                  <a:lnTo>
                    <a:pt x="653" y="288"/>
                  </a:lnTo>
                  <a:lnTo>
                    <a:pt x="653" y="291"/>
                  </a:lnTo>
                  <a:lnTo>
                    <a:pt x="653" y="292"/>
                  </a:lnTo>
                  <a:lnTo>
                    <a:pt x="655" y="294"/>
                  </a:lnTo>
                  <a:lnTo>
                    <a:pt x="669" y="297"/>
                  </a:lnTo>
                  <a:lnTo>
                    <a:pt x="671" y="297"/>
                  </a:lnTo>
                  <a:lnTo>
                    <a:pt x="672" y="298"/>
                  </a:lnTo>
                  <a:lnTo>
                    <a:pt x="672" y="301"/>
                  </a:lnTo>
                  <a:lnTo>
                    <a:pt x="672" y="302"/>
                  </a:lnTo>
                  <a:lnTo>
                    <a:pt x="674" y="304"/>
                  </a:lnTo>
                  <a:lnTo>
                    <a:pt x="679" y="307"/>
                  </a:lnTo>
                  <a:lnTo>
                    <a:pt x="681" y="310"/>
                  </a:lnTo>
                  <a:lnTo>
                    <a:pt x="688" y="324"/>
                  </a:lnTo>
                  <a:lnTo>
                    <a:pt x="690" y="329"/>
                  </a:lnTo>
                  <a:lnTo>
                    <a:pt x="692" y="332"/>
                  </a:lnTo>
                  <a:lnTo>
                    <a:pt x="697" y="334"/>
                  </a:lnTo>
                  <a:lnTo>
                    <a:pt x="697" y="334"/>
                  </a:lnTo>
                  <a:lnTo>
                    <a:pt x="700" y="339"/>
                  </a:lnTo>
                  <a:lnTo>
                    <a:pt x="703" y="353"/>
                  </a:lnTo>
                  <a:lnTo>
                    <a:pt x="704" y="356"/>
                  </a:lnTo>
                  <a:lnTo>
                    <a:pt x="704" y="358"/>
                  </a:lnTo>
                  <a:lnTo>
                    <a:pt x="704" y="359"/>
                  </a:lnTo>
                  <a:lnTo>
                    <a:pt x="704" y="361"/>
                  </a:lnTo>
                  <a:lnTo>
                    <a:pt x="704" y="362"/>
                  </a:lnTo>
                  <a:lnTo>
                    <a:pt x="703" y="364"/>
                  </a:lnTo>
                  <a:lnTo>
                    <a:pt x="701" y="364"/>
                  </a:lnTo>
                  <a:lnTo>
                    <a:pt x="695" y="365"/>
                  </a:lnTo>
                  <a:lnTo>
                    <a:pt x="678" y="365"/>
                  </a:lnTo>
                  <a:lnTo>
                    <a:pt x="676" y="365"/>
                  </a:lnTo>
                  <a:lnTo>
                    <a:pt x="675" y="368"/>
                  </a:lnTo>
                  <a:lnTo>
                    <a:pt x="674" y="371"/>
                  </a:lnTo>
                  <a:lnTo>
                    <a:pt x="674" y="374"/>
                  </a:lnTo>
                  <a:lnTo>
                    <a:pt x="674" y="374"/>
                  </a:lnTo>
                  <a:lnTo>
                    <a:pt x="676" y="378"/>
                  </a:lnTo>
                  <a:lnTo>
                    <a:pt x="678" y="380"/>
                  </a:lnTo>
                  <a:lnTo>
                    <a:pt x="676" y="381"/>
                  </a:lnTo>
                  <a:lnTo>
                    <a:pt x="672" y="387"/>
                  </a:lnTo>
                  <a:lnTo>
                    <a:pt x="672" y="390"/>
                  </a:lnTo>
                  <a:lnTo>
                    <a:pt x="671" y="391"/>
                  </a:lnTo>
                  <a:lnTo>
                    <a:pt x="668" y="390"/>
                  </a:lnTo>
                  <a:lnTo>
                    <a:pt x="666" y="390"/>
                  </a:lnTo>
                  <a:lnTo>
                    <a:pt x="665" y="388"/>
                  </a:lnTo>
                  <a:lnTo>
                    <a:pt x="663" y="387"/>
                  </a:lnTo>
                  <a:lnTo>
                    <a:pt x="662" y="385"/>
                  </a:lnTo>
                  <a:lnTo>
                    <a:pt x="660" y="384"/>
                  </a:lnTo>
                  <a:lnTo>
                    <a:pt x="660" y="384"/>
                  </a:lnTo>
                  <a:lnTo>
                    <a:pt x="659" y="384"/>
                  </a:lnTo>
                  <a:lnTo>
                    <a:pt x="657" y="385"/>
                  </a:lnTo>
                  <a:lnTo>
                    <a:pt x="655" y="388"/>
                  </a:lnTo>
                  <a:lnTo>
                    <a:pt x="646" y="393"/>
                  </a:lnTo>
                  <a:lnTo>
                    <a:pt x="641" y="397"/>
                  </a:lnTo>
                  <a:lnTo>
                    <a:pt x="636" y="398"/>
                  </a:lnTo>
                  <a:lnTo>
                    <a:pt x="633" y="401"/>
                  </a:lnTo>
                  <a:lnTo>
                    <a:pt x="631" y="406"/>
                  </a:lnTo>
                  <a:lnTo>
                    <a:pt x="627" y="414"/>
                  </a:lnTo>
                  <a:lnTo>
                    <a:pt x="625" y="420"/>
                  </a:lnTo>
                  <a:lnTo>
                    <a:pt x="625" y="423"/>
                  </a:lnTo>
                  <a:lnTo>
                    <a:pt x="627" y="425"/>
                  </a:lnTo>
                  <a:lnTo>
                    <a:pt x="628" y="428"/>
                  </a:lnTo>
                  <a:lnTo>
                    <a:pt x="630" y="428"/>
                  </a:lnTo>
                  <a:lnTo>
                    <a:pt x="636" y="432"/>
                  </a:lnTo>
                  <a:lnTo>
                    <a:pt x="637" y="432"/>
                  </a:lnTo>
                  <a:lnTo>
                    <a:pt x="639" y="433"/>
                  </a:lnTo>
                  <a:lnTo>
                    <a:pt x="639" y="435"/>
                  </a:lnTo>
                  <a:lnTo>
                    <a:pt x="637" y="436"/>
                  </a:lnTo>
                  <a:lnTo>
                    <a:pt x="636" y="441"/>
                  </a:lnTo>
                  <a:lnTo>
                    <a:pt x="636" y="444"/>
                  </a:lnTo>
                  <a:lnTo>
                    <a:pt x="636" y="445"/>
                  </a:lnTo>
                  <a:lnTo>
                    <a:pt x="636" y="447"/>
                  </a:lnTo>
                  <a:lnTo>
                    <a:pt x="634" y="448"/>
                  </a:lnTo>
                  <a:lnTo>
                    <a:pt x="634" y="449"/>
                  </a:lnTo>
                  <a:lnTo>
                    <a:pt x="631" y="448"/>
                  </a:lnTo>
                  <a:lnTo>
                    <a:pt x="630" y="447"/>
                  </a:lnTo>
                  <a:lnTo>
                    <a:pt x="630" y="445"/>
                  </a:lnTo>
                  <a:lnTo>
                    <a:pt x="627" y="444"/>
                  </a:lnTo>
                  <a:lnTo>
                    <a:pt x="625" y="442"/>
                  </a:lnTo>
                  <a:lnTo>
                    <a:pt x="625" y="442"/>
                  </a:lnTo>
                  <a:lnTo>
                    <a:pt x="623" y="442"/>
                  </a:lnTo>
                  <a:lnTo>
                    <a:pt x="620" y="444"/>
                  </a:lnTo>
                  <a:lnTo>
                    <a:pt x="618" y="444"/>
                  </a:lnTo>
                  <a:lnTo>
                    <a:pt x="617" y="444"/>
                  </a:lnTo>
                  <a:lnTo>
                    <a:pt x="615" y="442"/>
                  </a:lnTo>
                  <a:lnTo>
                    <a:pt x="614" y="444"/>
                  </a:lnTo>
                  <a:lnTo>
                    <a:pt x="611" y="445"/>
                  </a:lnTo>
                  <a:lnTo>
                    <a:pt x="609" y="449"/>
                  </a:lnTo>
                  <a:lnTo>
                    <a:pt x="608" y="452"/>
                  </a:lnTo>
                  <a:lnTo>
                    <a:pt x="608" y="455"/>
                  </a:lnTo>
                  <a:lnTo>
                    <a:pt x="608" y="460"/>
                  </a:lnTo>
                  <a:lnTo>
                    <a:pt x="606" y="461"/>
                  </a:lnTo>
                  <a:lnTo>
                    <a:pt x="602" y="464"/>
                  </a:lnTo>
                  <a:lnTo>
                    <a:pt x="596" y="468"/>
                  </a:lnTo>
                  <a:lnTo>
                    <a:pt x="583" y="479"/>
                  </a:lnTo>
                  <a:lnTo>
                    <a:pt x="583" y="480"/>
                  </a:lnTo>
                  <a:lnTo>
                    <a:pt x="588" y="481"/>
                  </a:lnTo>
                  <a:lnTo>
                    <a:pt x="609" y="502"/>
                  </a:lnTo>
                  <a:lnTo>
                    <a:pt x="612" y="506"/>
                  </a:lnTo>
                  <a:lnTo>
                    <a:pt x="614" y="512"/>
                  </a:lnTo>
                  <a:lnTo>
                    <a:pt x="620" y="522"/>
                  </a:lnTo>
                  <a:lnTo>
                    <a:pt x="634" y="521"/>
                  </a:lnTo>
                  <a:lnTo>
                    <a:pt x="649" y="516"/>
                  </a:lnTo>
                  <a:lnTo>
                    <a:pt x="665" y="508"/>
                  </a:lnTo>
                  <a:lnTo>
                    <a:pt x="679" y="497"/>
                  </a:lnTo>
                  <a:lnTo>
                    <a:pt x="723" y="483"/>
                  </a:lnTo>
                  <a:lnTo>
                    <a:pt x="732" y="483"/>
                  </a:lnTo>
                  <a:lnTo>
                    <a:pt x="736" y="483"/>
                  </a:lnTo>
                  <a:lnTo>
                    <a:pt x="742" y="487"/>
                  </a:lnTo>
                  <a:lnTo>
                    <a:pt x="778" y="530"/>
                  </a:lnTo>
                  <a:lnTo>
                    <a:pt x="786" y="547"/>
                  </a:lnTo>
                  <a:lnTo>
                    <a:pt x="780" y="566"/>
                  </a:lnTo>
                  <a:lnTo>
                    <a:pt x="783" y="573"/>
                  </a:lnTo>
                  <a:lnTo>
                    <a:pt x="792" y="585"/>
                  </a:lnTo>
                  <a:lnTo>
                    <a:pt x="794" y="592"/>
                  </a:lnTo>
                  <a:lnTo>
                    <a:pt x="796" y="598"/>
                  </a:lnTo>
                  <a:lnTo>
                    <a:pt x="796" y="602"/>
                  </a:lnTo>
                  <a:lnTo>
                    <a:pt x="797" y="607"/>
                  </a:lnTo>
                  <a:lnTo>
                    <a:pt x="805" y="618"/>
                  </a:lnTo>
                  <a:lnTo>
                    <a:pt x="806" y="623"/>
                  </a:lnTo>
                  <a:lnTo>
                    <a:pt x="806" y="627"/>
                  </a:lnTo>
                  <a:lnTo>
                    <a:pt x="809" y="633"/>
                  </a:lnTo>
                  <a:lnTo>
                    <a:pt x="816" y="631"/>
                  </a:lnTo>
                  <a:lnTo>
                    <a:pt x="822" y="630"/>
                  </a:lnTo>
                  <a:lnTo>
                    <a:pt x="828" y="633"/>
                  </a:lnTo>
                  <a:lnTo>
                    <a:pt x="826" y="637"/>
                  </a:lnTo>
                  <a:lnTo>
                    <a:pt x="822" y="645"/>
                  </a:lnTo>
                  <a:lnTo>
                    <a:pt x="815" y="655"/>
                  </a:lnTo>
                  <a:lnTo>
                    <a:pt x="803" y="656"/>
                  </a:lnTo>
                  <a:lnTo>
                    <a:pt x="794" y="663"/>
                  </a:lnTo>
                  <a:lnTo>
                    <a:pt x="789" y="674"/>
                  </a:lnTo>
                  <a:lnTo>
                    <a:pt x="787" y="687"/>
                  </a:lnTo>
                  <a:lnTo>
                    <a:pt x="793" y="700"/>
                  </a:lnTo>
                  <a:lnTo>
                    <a:pt x="802" y="716"/>
                  </a:lnTo>
                  <a:lnTo>
                    <a:pt x="808" y="733"/>
                  </a:lnTo>
                  <a:lnTo>
                    <a:pt x="805" y="746"/>
                  </a:lnTo>
                  <a:lnTo>
                    <a:pt x="810" y="757"/>
                  </a:lnTo>
                  <a:lnTo>
                    <a:pt x="819" y="780"/>
                  </a:lnTo>
                  <a:lnTo>
                    <a:pt x="824" y="790"/>
                  </a:lnTo>
                  <a:lnTo>
                    <a:pt x="824" y="793"/>
                  </a:lnTo>
                  <a:lnTo>
                    <a:pt x="816" y="797"/>
                  </a:lnTo>
                  <a:lnTo>
                    <a:pt x="816" y="800"/>
                  </a:lnTo>
                  <a:lnTo>
                    <a:pt x="822" y="803"/>
                  </a:lnTo>
                  <a:lnTo>
                    <a:pt x="828" y="803"/>
                  </a:lnTo>
                  <a:lnTo>
                    <a:pt x="834" y="806"/>
                  </a:lnTo>
                  <a:lnTo>
                    <a:pt x="837" y="812"/>
                  </a:lnTo>
                  <a:lnTo>
                    <a:pt x="837" y="813"/>
                  </a:lnTo>
                  <a:lnTo>
                    <a:pt x="834" y="822"/>
                  </a:lnTo>
                  <a:lnTo>
                    <a:pt x="832" y="822"/>
                  </a:lnTo>
                  <a:lnTo>
                    <a:pt x="832" y="827"/>
                  </a:lnTo>
                  <a:lnTo>
                    <a:pt x="835" y="835"/>
                  </a:lnTo>
                  <a:lnTo>
                    <a:pt x="835" y="841"/>
                  </a:lnTo>
                  <a:lnTo>
                    <a:pt x="822" y="869"/>
                  </a:lnTo>
                  <a:lnTo>
                    <a:pt x="822" y="873"/>
                  </a:lnTo>
                  <a:lnTo>
                    <a:pt x="829" y="876"/>
                  </a:lnTo>
                  <a:lnTo>
                    <a:pt x="829" y="883"/>
                  </a:lnTo>
                  <a:lnTo>
                    <a:pt x="805" y="911"/>
                  </a:lnTo>
                  <a:lnTo>
                    <a:pt x="800" y="914"/>
                  </a:lnTo>
                  <a:lnTo>
                    <a:pt x="797" y="918"/>
                  </a:lnTo>
                  <a:lnTo>
                    <a:pt x="794" y="927"/>
                  </a:lnTo>
                  <a:lnTo>
                    <a:pt x="787" y="978"/>
                  </a:lnTo>
                  <a:lnTo>
                    <a:pt x="786" y="982"/>
                  </a:lnTo>
                  <a:lnTo>
                    <a:pt x="761" y="1035"/>
                  </a:lnTo>
                  <a:lnTo>
                    <a:pt x="754" y="1046"/>
                  </a:lnTo>
                  <a:lnTo>
                    <a:pt x="742" y="1058"/>
                  </a:lnTo>
                  <a:lnTo>
                    <a:pt x="730" y="1062"/>
                  </a:lnTo>
                  <a:lnTo>
                    <a:pt x="730" y="1062"/>
                  </a:lnTo>
                  <a:lnTo>
                    <a:pt x="732" y="1062"/>
                  </a:lnTo>
                  <a:lnTo>
                    <a:pt x="732" y="1062"/>
                  </a:lnTo>
                  <a:lnTo>
                    <a:pt x="727" y="1058"/>
                  </a:lnTo>
                  <a:lnTo>
                    <a:pt x="694" y="1051"/>
                  </a:lnTo>
                  <a:lnTo>
                    <a:pt x="639" y="1022"/>
                  </a:lnTo>
                  <a:lnTo>
                    <a:pt x="631" y="1022"/>
                  </a:lnTo>
                  <a:lnTo>
                    <a:pt x="612" y="1023"/>
                  </a:lnTo>
                  <a:lnTo>
                    <a:pt x="583" y="1014"/>
                  </a:lnTo>
                  <a:lnTo>
                    <a:pt x="579" y="1016"/>
                  </a:lnTo>
                  <a:lnTo>
                    <a:pt x="572" y="1020"/>
                  </a:lnTo>
                  <a:lnTo>
                    <a:pt x="567" y="1022"/>
                  </a:lnTo>
                  <a:lnTo>
                    <a:pt x="564" y="1022"/>
                  </a:lnTo>
                  <a:lnTo>
                    <a:pt x="557" y="1019"/>
                  </a:lnTo>
                  <a:lnTo>
                    <a:pt x="553" y="1017"/>
                  </a:lnTo>
                  <a:lnTo>
                    <a:pt x="548" y="1019"/>
                  </a:lnTo>
                  <a:lnTo>
                    <a:pt x="544" y="1020"/>
                  </a:lnTo>
                  <a:lnTo>
                    <a:pt x="539" y="1022"/>
                  </a:lnTo>
                  <a:lnTo>
                    <a:pt x="535" y="1020"/>
                  </a:lnTo>
                  <a:lnTo>
                    <a:pt x="532" y="1017"/>
                  </a:lnTo>
                  <a:lnTo>
                    <a:pt x="528" y="1011"/>
                  </a:lnTo>
                  <a:lnTo>
                    <a:pt x="526" y="1007"/>
                  </a:lnTo>
                  <a:lnTo>
                    <a:pt x="518" y="1004"/>
                  </a:lnTo>
                  <a:lnTo>
                    <a:pt x="503" y="1001"/>
                  </a:lnTo>
                  <a:lnTo>
                    <a:pt x="496" y="995"/>
                  </a:lnTo>
                  <a:lnTo>
                    <a:pt x="491" y="990"/>
                  </a:lnTo>
                  <a:lnTo>
                    <a:pt x="483" y="978"/>
                  </a:lnTo>
                  <a:lnTo>
                    <a:pt x="478" y="972"/>
                  </a:lnTo>
                  <a:lnTo>
                    <a:pt x="478" y="972"/>
                  </a:lnTo>
                  <a:lnTo>
                    <a:pt x="478" y="971"/>
                  </a:lnTo>
                  <a:lnTo>
                    <a:pt x="480" y="969"/>
                  </a:lnTo>
                  <a:lnTo>
                    <a:pt x="483" y="968"/>
                  </a:lnTo>
                  <a:lnTo>
                    <a:pt x="483" y="968"/>
                  </a:lnTo>
                  <a:lnTo>
                    <a:pt x="480" y="960"/>
                  </a:lnTo>
                  <a:lnTo>
                    <a:pt x="474" y="958"/>
                  </a:lnTo>
                  <a:lnTo>
                    <a:pt x="458" y="958"/>
                  </a:lnTo>
                  <a:lnTo>
                    <a:pt x="456" y="950"/>
                  </a:lnTo>
                  <a:lnTo>
                    <a:pt x="451" y="950"/>
                  </a:lnTo>
                  <a:lnTo>
                    <a:pt x="443" y="952"/>
                  </a:lnTo>
                  <a:lnTo>
                    <a:pt x="443" y="952"/>
                  </a:lnTo>
                  <a:lnTo>
                    <a:pt x="436" y="952"/>
                  </a:lnTo>
                  <a:lnTo>
                    <a:pt x="429" y="946"/>
                  </a:lnTo>
                  <a:lnTo>
                    <a:pt x="417" y="931"/>
                  </a:lnTo>
                  <a:lnTo>
                    <a:pt x="417" y="931"/>
                  </a:lnTo>
                  <a:lnTo>
                    <a:pt x="416" y="926"/>
                  </a:lnTo>
                  <a:lnTo>
                    <a:pt x="416" y="923"/>
                  </a:lnTo>
                  <a:lnTo>
                    <a:pt x="414" y="918"/>
                  </a:lnTo>
                  <a:lnTo>
                    <a:pt x="414" y="915"/>
                  </a:lnTo>
                  <a:lnTo>
                    <a:pt x="414" y="914"/>
                  </a:lnTo>
                  <a:lnTo>
                    <a:pt x="417" y="910"/>
                  </a:lnTo>
                  <a:lnTo>
                    <a:pt x="417" y="908"/>
                  </a:lnTo>
                  <a:lnTo>
                    <a:pt x="417" y="908"/>
                  </a:lnTo>
                  <a:lnTo>
                    <a:pt x="419" y="908"/>
                  </a:lnTo>
                  <a:lnTo>
                    <a:pt x="420" y="908"/>
                  </a:lnTo>
                  <a:lnTo>
                    <a:pt x="420" y="908"/>
                  </a:lnTo>
                  <a:lnTo>
                    <a:pt x="420" y="908"/>
                  </a:lnTo>
                  <a:lnTo>
                    <a:pt x="421" y="908"/>
                  </a:lnTo>
                  <a:lnTo>
                    <a:pt x="421" y="908"/>
                  </a:lnTo>
                  <a:lnTo>
                    <a:pt x="423" y="908"/>
                  </a:lnTo>
                  <a:lnTo>
                    <a:pt x="424" y="908"/>
                  </a:lnTo>
                  <a:lnTo>
                    <a:pt x="424" y="907"/>
                  </a:lnTo>
                  <a:lnTo>
                    <a:pt x="426" y="907"/>
                  </a:lnTo>
                  <a:lnTo>
                    <a:pt x="426" y="905"/>
                  </a:lnTo>
                  <a:lnTo>
                    <a:pt x="427" y="905"/>
                  </a:lnTo>
                  <a:lnTo>
                    <a:pt x="429" y="901"/>
                  </a:lnTo>
                  <a:lnTo>
                    <a:pt x="430" y="896"/>
                  </a:lnTo>
                  <a:lnTo>
                    <a:pt x="430" y="892"/>
                  </a:lnTo>
                  <a:lnTo>
                    <a:pt x="432" y="891"/>
                  </a:lnTo>
                  <a:lnTo>
                    <a:pt x="432" y="889"/>
                  </a:lnTo>
                  <a:lnTo>
                    <a:pt x="433" y="888"/>
                  </a:lnTo>
                  <a:lnTo>
                    <a:pt x="433" y="886"/>
                  </a:lnTo>
                  <a:lnTo>
                    <a:pt x="436" y="885"/>
                  </a:lnTo>
                  <a:lnTo>
                    <a:pt x="438" y="883"/>
                  </a:lnTo>
                  <a:lnTo>
                    <a:pt x="438" y="880"/>
                  </a:lnTo>
                  <a:lnTo>
                    <a:pt x="439" y="875"/>
                  </a:lnTo>
                  <a:lnTo>
                    <a:pt x="439" y="873"/>
                  </a:lnTo>
                  <a:lnTo>
                    <a:pt x="440" y="872"/>
                  </a:lnTo>
                  <a:lnTo>
                    <a:pt x="445" y="869"/>
                  </a:lnTo>
                  <a:lnTo>
                    <a:pt x="446" y="867"/>
                  </a:lnTo>
                  <a:lnTo>
                    <a:pt x="448" y="866"/>
                  </a:lnTo>
                  <a:lnTo>
                    <a:pt x="449" y="861"/>
                  </a:lnTo>
                  <a:lnTo>
                    <a:pt x="449" y="860"/>
                  </a:lnTo>
                  <a:lnTo>
                    <a:pt x="449" y="859"/>
                  </a:lnTo>
                  <a:lnTo>
                    <a:pt x="448" y="856"/>
                  </a:lnTo>
                  <a:lnTo>
                    <a:pt x="448" y="854"/>
                  </a:lnTo>
                  <a:lnTo>
                    <a:pt x="448" y="853"/>
                  </a:lnTo>
                  <a:lnTo>
                    <a:pt x="451" y="850"/>
                  </a:lnTo>
                  <a:lnTo>
                    <a:pt x="448" y="844"/>
                  </a:lnTo>
                  <a:lnTo>
                    <a:pt x="445" y="843"/>
                  </a:lnTo>
                  <a:lnTo>
                    <a:pt x="436" y="840"/>
                  </a:lnTo>
                  <a:lnTo>
                    <a:pt x="419" y="837"/>
                  </a:lnTo>
                  <a:lnTo>
                    <a:pt x="416" y="834"/>
                  </a:lnTo>
                  <a:lnTo>
                    <a:pt x="417" y="832"/>
                  </a:lnTo>
                  <a:lnTo>
                    <a:pt x="417" y="832"/>
                  </a:lnTo>
                  <a:lnTo>
                    <a:pt x="417" y="832"/>
                  </a:lnTo>
                  <a:lnTo>
                    <a:pt x="417" y="831"/>
                  </a:lnTo>
                  <a:lnTo>
                    <a:pt x="417" y="829"/>
                  </a:lnTo>
                  <a:lnTo>
                    <a:pt x="411" y="822"/>
                  </a:lnTo>
                  <a:lnTo>
                    <a:pt x="403" y="812"/>
                  </a:lnTo>
                  <a:lnTo>
                    <a:pt x="400" y="803"/>
                  </a:lnTo>
                  <a:lnTo>
                    <a:pt x="401" y="802"/>
                  </a:lnTo>
                  <a:lnTo>
                    <a:pt x="403" y="800"/>
                  </a:lnTo>
                  <a:lnTo>
                    <a:pt x="405" y="799"/>
                  </a:lnTo>
                  <a:lnTo>
                    <a:pt x="411" y="790"/>
                  </a:lnTo>
                  <a:lnTo>
                    <a:pt x="414" y="789"/>
                  </a:lnTo>
                  <a:lnTo>
                    <a:pt x="417" y="787"/>
                  </a:lnTo>
                  <a:lnTo>
                    <a:pt x="420" y="784"/>
                  </a:lnTo>
                  <a:lnTo>
                    <a:pt x="421" y="783"/>
                  </a:lnTo>
                  <a:lnTo>
                    <a:pt x="421" y="780"/>
                  </a:lnTo>
                  <a:lnTo>
                    <a:pt x="421" y="777"/>
                  </a:lnTo>
                  <a:lnTo>
                    <a:pt x="421" y="776"/>
                  </a:lnTo>
                  <a:lnTo>
                    <a:pt x="421" y="774"/>
                  </a:lnTo>
                  <a:lnTo>
                    <a:pt x="420" y="774"/>
                  </a:lnTo>
                  <a:lnTo>
                    <a:pt x="419" y="773"/>
                  </a:lnTo>
                  <a:lnTo>
                    <a:pt x="417" y="773"/>
                  </a:lnTo>
                  <a:lnTo>
                    <a:pt x="417" y="771"/>
                  </a:lnTo>
                  <a:lnTo>
                    <a:pt x="416" y="768"/>
                  </a:lnTo>
                  <a:lnTo>
                    <a:pt x="416" y="762"/>
                  </a:lnTo>
                  <a:lnTo>
                    <a:pt x="416" y="757"/>
                  </a:lnTo>
                  <a:lnTo>
                    <a:pt x="411" y="749"/>
                  </a:lnTo>
                  <a:lnTo>
                    <a:pt x="410" y="742"/>
                  </a:lnTo>
                  <a:lnTo>
                    <a:pt x="410" y="735"/>
                  </a:lnTo>
                  <a:lnTo>
                    <a:pt x="408" y="733"/>
                  </a:lnTo>
                  <a:lnTo>
                    <a:pt x="407" y="733"/>
                  </a:lnTo>
                  <a:lnTo>
                    <a:pt x="405" y="735"/>
                  </a:lnTo>
                  <a:lnTo>
                    <a:pt x="404" y="736"/>
                  </a:lnTo>
                  <a:lnTo>
                    <a:pt x="401" y="739"/>
                  </a:lnTo>
                  <a:lnTo>
                    <a:pt x="397" y="739"/>
                  </a:lnTo>
                  <a:lnTo>
                    <a:pt x="391" y="741"/>
                  </a:lnTo>
                  <a:lnTo>
                    <a:pt x="387" y="741"/>
                  </a:lnTo>
                  <a:lnTo>
                    <a:pt x="385" y="741"/>
                  </a:lnTo>
                  <a:lnTo>
                    <a:pt x="384" y="739"/>
                  </a:lnTo>
                  <a:lnTo>
                    <a:pt x="382" y="738"/>
                  </a:lnTo>
                  <a:lnTo>
                    <a:pt x="370" y="729"/>
                  </a:lnTo>
                  <a:lnTo>
                    <a:pt x="362" y="722"/>
                  </a:lnTo>
                  <a:lnTo>
                    <a:pt x="360" y="720"/>
                  </a:lnTo>
                  <a:lnTo>
                    <a:pt x="340" y="720"/>
                  </a:lnTo>
                  <a:lnTo>
                    <a:pt x="337" y="719"/>
                  </a:lnTo>
                  <a:lnTo>
                    <a:pt x="336" y="717"/>
                  </a:lnTo>
                  <a:lnTo>
                    <a:pt x="314" y="706"/>
                  </a:lnTo>
                  <a:lnTo>
                    <a:pt x="306" y="712"/>
                  </a:lnTo>
                  <a:lnTo>
                    <a:pt x="305" y="712"/>
                  </a:lnTo>
                  <a:lnTo>
                    <a:pt x="302" y="709"/>
                  </a:lnTo>
                  <a:lnTo>
                    <a:pt x="296" y="707"/>
                  </a:lnTo>
                  <a:lnTo>
                    <a:pt x="295" y="707"/>
                  </a:lnTo>
                  <a:lnTo>
                    <a:pt x="292" y="707"/>
                  </a:lnTo>
                  <a:lnTo>
                    <a:pt x="266" y="725"/>
                  </a:lnTo>
                  <a:lnTo>
                    <a:pt x="215" y="748"/>
                  </a:lnTo>
                  <a:lnTo>
                    <a:pt x="209" y="749"/>
                  </a:lnTo>
                  <a:lnTo>
                    <a:pt x="207" y="749"/>
                  </a:lnTo>
                  <a:lnTo>
                    <a:pt x="200" y="749"/>
                  </a:lnTo>
                  <a:lnTo>
                    <a:pt x="177" y="760"/>
                  </a:lnTo>
                  <a:lnTo>
                    <a:pt x="137" y="757"/>
                  </a:lnTo>
                  <a:lnTo>
                    <a:pt x="91" y="761"/>
                  </a:lnTo>
                  <a:lnTo>
                    <a:pt x="88" y="762"/>
                  </a:lnTo>
                  <a:lnTo>
                    <a:pt x="89" y="757"/>
                  </a:lnTo>
                  <a:lnTo>
                    <a:pt x="89" y="739"/>
                  </a:lnTo>
                  <a:lnTo>
                    <a:pt x="91" y="733"/>
                  </a:lnTo>
                  <a:lnTo>
                    <a:pt x="97" y="726"/>
                  </a:lnTo>
                  <a:lnTo>
                    <a:pt x="97" y="726"/>
                  </a:lnTo>
                  <a:lnTo>
                    <a:pt x="105" y="714"/>
                  </a:lnTo>
                  <a:lnTo>
                    <a:pt x="105" y="714"/>
                  </a:lnTo>
                  <a:lnTo>
                    <a:pt x="108" y="707"/>
                  </a:lnTo>
                  <a:lnTo>
                    <a:pt x="108" y="707"/>
                  </a:lnTo>
                  <a:lnTo>
                    <a:pt x="108" y="707"/>
                  </a:lnTo>
                  <a:lnTo>
                    <a:pt x="111" y="703"/>
                  </a:lnTo>
                  <a:lnTo>
                    <a:pt x="113" y="701"/>
                  </a:lnTo>
                  <a:lnTo>
                    <a:pt x="111" y="697"/>
                  </a:lnTo>
                  <a:lnTo>
                    <a:pt x="110" y="695"/>
                  </a:lnTo>
                  <a:lnTo>
                    <a:pt x="107" y="694"/>
                  </a:lnTo>
                  <a:lnTo>
                    <a:pt x="107" y="691"/>
                  </a:lnTo>
                  <a:lnTo>
                    <a:pt x="107" y="691"/>
                  </a:lnTo>
                  <a:lnTo>
                    <a:pt x="108" y="690"/>
                  </a:lnTo>
                  <a:lnTo>
                    <a:pt x="113" y="684"/>
                  </a:lnTo>
                  <a:lnTo>
                    <a:pt x="113" y="684"/>
                  </a:lnTo>
                  <a:lnTo>
                    <a:pt x="137" y="668"/>
                  </a:lnTo>
                  <a:lnTo>
                    <a:pt x="137" y="668"/>
                  </a:lnTo>
                  <a:lnTo>
                    <a:pt x="137" y="666"/>
                  </a:lnTo>
                  <a:lnTo>
                    <a:pt x="134" y="663"/>
                  </a:lnTo>
                  <a:lnTo>
                    <a:pt x="136" y="661"/>
                  </a:lnTo>
                  <a:lnTo>
                    <a:pt x="136" y="661"/>
                  </a:lnTo>
                  <a:lnTo>
                    <a:pt x="137" y="661"/>
                  </a:lnTo>
                  <a:lnTo>
                    <a:pt x="140" y="662"/>
                  </a:lnTo>
                  <a:lnTo>
                    <a:pt x="140" y="662"/>
                  </a:lnTo>
                  <a:lnTo>
                    <a:pt x="137" y="658"/>
                  </a:lnTo>
                  <a:lnTo>
                    <a:pt x="136" y="655"/>
                  </a:lnTo>
                  <a:lnTo>
                    <a:pt x="136" y="650"/>
                  </a:lnTo>
                  <a:lnTo>
                    <a:pt x="136" y="646"/>
                  </a:lnTo>
                  <a:lnTo>
                    <a:pt x="136" y="645"/>
                  </a:lnTo>
                  <a:lnTo>
                    <a:pt x="139" y="642"/>
                  </a:lnTo>
                  <a:lnTo>
                    <a:pt x="139" y="642"/>
                  </a:lnTo>
                  <a:lnTo>
                    <a:pt x="139" y="640"/>
                  </a:lnTo>
                  <a:lnTo>
                    <a:pt x="139" y="637"/>
                  </a:lnTo>
                  <a:lnTo>
                    <a:pt x="139" y="634"/>
                  </a:lnTo>
                  <a:lnTo>
                    <a:pt x="140" y="623"/>
                  </a:lnTo>
                  <a:lnTo>
                    <a:pt x="140" y="623"/>
                  </a:lnTo>
                  <a:lnTo>
                    <a:pt x="140" y="623"/>
                  </a:lnTo>
                  <a:lnTo>
                    <a:pt x="140" y="623"/>
                  </a:lnTo>
                  <a:lnTo>
                    <a:pt x="140" y="617"/>
                  </a:lnTo>
                  <a:lnTo>
                    <a:pt x="140" y="617"/>
                  </a:lnTo>
                  <a:lnTo>
                    <a:pt x="142" y="617"/>
                  </a:lnTo>
                  <a:lnTo>
                    <a:pt x="142" y="617"/>
                  </a:lnTo>
                  <a:lnTo>
                    <a:pt x="142" y="617"/>
                  </a:lnTo>
                  <a:lnTo>
                    <a:pt x="140" y="615"/>
                  </a:lnTo>
                  <a:lnTo>
                    <a:pt x="139" y="615"/>
                  </a:lnTo>
                  <a:lnTo>
                    <a:pt x="127" y="611"/>
                  </a:lnTo>
                  <a:lnTo>
                    <a:pt x="111" y="611"/>
                  </a:lnTo>
                  <a:lnTo>
                    <a:pt x="105" y="610"/>
                  </a:lnTo>
                  <a:lnTo>
                    <a:pt x="100" y="607"/>
                  </a:lnTo>
                  <a:lnTo>
                    <a:pt x="89" y="596"/>
                  </a:lnTo>
                  <a:lnTo>
                    <a:pt x="84" y="594"/>
                  </a:lnTo>
                  <a:lnTo>
                    <a:pt x="81" y="594"/>
                  </a:lnTo>
                  <a:lnTo>
                    <a:pt x="75" y="596"/>
                  </a:lnTo>
                  <a:lnTo>
                    <a:pt x="72" y="596"/>
                  </a:lnTo>
                  <a:lnTo>
                    <a:pt x="72" y="594"/>
                  </a:lnTo>
                  <a:lnTo>
                    <a:pt x="67" y="585"/>
                  </a:lnTo>
                  <a:lnTo>
                    <a:pt x="66" y="582"/>
                  </a:lnTo>
                  <a:lnTo>
                    <a:pt x="62" y="579"/>
                  </a:lnTo>
                  <a:lnTo>
                    <a:pt x="50" y="573"/>
                  </a:lnTo>
                  <a:lnTo>
                    <a:pt x="44" y="567"/>
                  </a:lnTo>
                  <a:lnTo>
                    <a:pt x="33" y="540"/>
                  </a:lnTo>
                  <a:lnTo>
                    <a:pt x="27" y="531"/>
                  </a:lnTo>
                  <a:lnTo>
                    <a:pt x="27" y="531"/>
                  </a:lnTo>
                  <a:lnTo>
                    <a:pt x="24" y="538"/>
                  </a:lnTo>
                  <a:lnTo>
                    <a:pt x="24" y="538"/>
                  </a:lnTo>
                  <a:lnTo>
                    <a:pt x="21" y="534"/>
                  </a:lnTo>
                  <a:lnTo>
                    <a:pt x="15" y="518"/>
                  </a:lnTo>
                  <a:lnTo>
                    <a:pt x="9" y="509"/>
                  </a:lnTo>
                  <a:lnTo>
                    <a:pt x="8" y="505"/>
                  </a:lnTo>
                  <a:lnTo>
                    <a:pt x="9" y="499"/>
                  </a:lnTo>
                  <a:lnTo>
                    <a:pt x="6" y="487"/>
                  </a:lnTo>
                  <a:lnTo>
                    <a:pt x="5" y="483"/>
                  </a:lnTo>
                  <a:lnTo>
                    <a:pt x="0" y="481"/>
                  </a:lnTo>
                  <a:lnTo>
                    <a:pt x="3" y="474"/>
                  </a:lnTo>
                  <a:lnTo>
                    <a:pt x="3" y="474"/>
                  </a:lnTo>
                  <a:lnTo>
                    <a:pt x="5" y="473"/>
                  </a:lnTo>
                  <a:lnTo>
                    <a:pt x="5" y="473"/>
                  </a:lnTo>
                  <a:lnTo>
                    <a:pt x="3" y="473"/>
                  </a:lnTo>
                  <a:lnTo>
                    <a:pt x="2" y="473"/>
                  </a:lnTo>
                  <a:lnTo>
                    <a:pt x="2" y="473"/>
                  </a:lnTo>
                  <a:lnTo>
                    <a:pt x="3" y="457"/>
                  </a:lnTo>
                  <a:lnTo>
                    <a:pt x="5" y="449"/>
                  </a:lnTo>
                  <a:lnTo>
                    <a:pt x="8" y="442"/>
                  </a:lnTo>
                  <a:lnTo>
                    <a:pt x="8" y="442"/>
                  </a:lnTo>
                  <a:lnTo>
                    <a:pt x="11" y="438"/>
                  </a:lnTo>
                  <a:lnTo>
                    <a:pt x="11" y="438"/>
                  </a:lnTo>
                  <a:lnTo>
                    <a:pt x="12" y="435"/>
                  </a:lnTo>
                  <a:lnTo>
                    <a:pt x="11" y="432"/>
                  </a:lnTo>
                  <a:lnTo>
                    <a:pt x="8" y="429"/>
                  </a:lnTo>
                  <a:lnTo>
                    <a:pt x="8" y="426"/>
                  </a:lnTo>
                  <a:lnTo>
                    <a:pt x="9" y="420"/>
                  </a:lnTo>
                  <a:lnTo>
                    <a:pt x="9" y="417"/>
                  </a:lnTo>
                  <a:lnTo>
                    <a:pt x="9" y="417"/>
                  </a:lnTo>
                  <a:lnTo>
                    <a:pt x="12" y="416"/>
                  </a:lnTo>
                  <a:lnTo>
                    <a:pt x="19" y="416"/>
                  </a:lnTo>
                  <a:lnTo>
                    <a:pt x="22" y="414"/>
                  </a:lnTo>
                  <a:lnTo>
                    <a:pt x="22" y="414"/>
                  </a:lnTo>
                  <a:lnTo>
                    <a:pt x="24" y="409"/>
                  </a:lnTo>
                  <a:lnTo>
                    <a:pt x="24" y="403"/>
                  </a:lnTo>
                  <a:lnTo>
                    <a:pt x="22" y="397"/>
                  </a:lnTo>
                  <a:lnTo>
                    <a:pt x="18" y="391"/>
                  </a:lnTo>
                  <a:lnTo>
                    <a:pt x="18" y="391"/>
                  </a:lnTo>
                  <a:lnTo>
                    <a:pt x="21" y="387"/>
                  </a:lnTo>
                  <a:lnTo>
                    <a:pt x="30" y="381"/>
                  </a:lnTo>
                  <a:lnTo>
                    <a:pt x="33" y="375"/>
                  </a:lnTo>
                  <a:lnTo>
                    <a:pt x="40" y="372"/>
                  </a:lnTo>
                  <a:lnTo>
                    <a:pt x="54" y="368"/>
                  </a:lnTo>
                  <a:lnTo>
                    <a:pt x="62" y="362"/>
                  </a:lnTo>
                  <a:lnTo>
                    <a:pt x="62" y="362"/>
                  </a:lnTo>
                  <a:lnTo>
                    <a:pt x="60" y="358"/>
                  </a:lnTo>
                  <a:lnTo>
                    <a:pt x="60" y="352"/>
                  </a:lnTo>
                  <a:lnTo>
                    <a:pt x="63" y="348"/>
                  </a:lnTo>
                  <a:lnTo>
                    <a:pt x="65" y="346"/>
                  </a:lnTo>
                  <a:lnTo>
                    <a:pt x="66" y="343"/>
                  </a:lnTo>
                  <a:lnTo>
                    <a:pt x="70" y="340"/>
                  </a:lnTo>
                  <a:lnTo>
                    <a:pt x="75" y="340"/>
                  </a:lnTo>
                  <a:lnTo>
                    <a:pt x="79" y="342"/>
                  </a:lnTo>
                  <a:lnTo>
                    <a:pt x="84" y="343"/>
                  </a:lnTo>
                  <a:lnTo>
                    <a:pt x="92" y="342"/>
                  </a:lnTo>
                  <a:lnTo>
                    <a:pt x="97" y="336"/>
                  </a:lnTo>
                  <a:lnTo>
                    <a:pt x="97" y="336"/>
                  </a:lnTo>
                  <a:lnTo>
                    <a:pt x="97" y="333"/>
                  </a:lnTo>
                  <a:lnTo>
                    <a:pt x="105" y="333"/>
                  </a:lnTo>
                  <a:lnTo>
                    <a:pt x="113" y="329"/>
                  </a:lnTo>
                  <a:lnTo>
                    <a:pt x="116" y="327"/>
                  </a:lnTo>
                  <a:lnTo>
                    <a:pt x="116" y="327"/>
                  </a:lnTo>
                  <a:lnTo>
                    <a:pt x="116" y="326"/>
                  </a:lnTo>
                  <a:lnTo>
                    <a:pt x="116" y="326"/>
                  </a:lnTo>
                  <a:lnTo>
                    <a:pt x="114" y="324"/>
                  </a:lnTo>
                  <a:lnTo>
                    <a:pt x="102" y="305"/>
                  </a:lnTo>
                  <a:lnTo>
                    <a:pt x="102" y="304"/>
                  </a:lnTo>
                  <a:lnTo>
                    <a:pt x="102" y="302"/>
                  </a:lnTo>
                  <a:lnTo>
                    <a:pt x="104" y="301"/>
                  </a:lnTo>
                  <a:lnTo>
                    <a:pt x="104" y="301"/>
                  </a:lnTo>
                  <a:lnTo>
                    <a:pt x="105" y="299"/>
                  </a:lnTo>
                  <a:lnTo>
                    <a:pt x="107" y="299"/>
                  </a:lnTo>
                  <a:lnTo>
                    <a:pt x="108" y="301"/>
                  </a:lnTo>
                  <a:lnTo>
                    <a:pt x="111" y="302"/>
                  </a:lnTo>
                  <a:lnTo>
                    <a:pt x="111" y="304"/>
                  </a:lnTo>
                  <a:lnTo>
                    <a:pt x="113" y="305"/>
                  </a:lnTo>
                  <a:lnTo>
                    <a:pt x="113" y="307"/>
                  </a:lnTo>
                  <a:lnTo>
                    <a:pt x="114" y="308"/>
                  </a:lnTo>
                  <a:lnTo>
                    <a:pt x="116" y="310"/>
                  </a:lnTo>
                  <a:lnTo>
                    <a:pt x="121" y="313"/>
                  </a:lnTo>
                  <a:lnTo>
                    <a:pt x="123" y="314"/>
                  </a:lnTo>
                  <a:lnTo>
                    <a:pt x="123" y="315"/>
                  </a:lnTo>
                  <a:lnTo>
                    <a:pt x="124" y="321"/>
                  </a:lnTo>
                  <a:lnTo>
                    <a:pt x="126" y="323"/>
                  </a:lnTo>
                  <a:lnTo>
                    <a:pt x="129" y="323"/>
                  </a:lnTo>
                  <a:lnTo>
                    <a:pt x="134" y="320"/>
                  </a:lnTo>
                  <a:lnTo>
                    <a:pt x="149" y="308"/>
                  </a:lnTo>
                  <a:lnTo>
                    <a:pt x="151" y="308"/>
                  </a:lnTo>
                  <a:lnTo>
                    <a:pt x="152" y="307"/>
                  </a:lnTo>
                  <a:lnTo>
                    <a:pt x="167" y="305"/>
                  </a:lnTo>
                  <a:lnTo>
                    <a:pt x="168" y="304"/>
                  </a:lnTo>
                  <a:lnTo>
                    <a:pt x="171" y="302"/>
                  </a:lnTo>
                  <a:lnTo>
                    <a:pt x="172" y="304"/>
                  </a:lnTo>
                  <a:lnTo>
                    <a:pt x="175" y="304"/>
                  </a:lnTo>
                  <a:lnTo>
                    <a:pt x="181" y="307"/>
                  </a:lnTo>
                  <a:lnTo>
                    <a:pt x="184" y="310"/>
                  </a:lnTo>
                  <a:lnTo>
                    <a:pt x="184" y="311"/>
                  </a:lnTo>
                  <a:lnTo>
                    <a:pt x="184" y="313"/>
                  </a:lnTo>
                  <a:lnTo>
                    <a:pt x="183" y="315"/>
                  </a:lnTo>
                  <a:lnTo>
                    <a:pt x="183" y="317"/>
                  </a:lnTo>
                  <a:lnTo>
                    <a:pt x="183" y="317"/>
                  </a:lnTo>
                  <a:lnTo>
                    <a:pt x="184" y="318"/>
                  </a:lnTo>
                  <a:lnTo>
                    <a:pt x="188" y="318"/>
                  </a:lnTo>
                  <a:lnTo>
                    <a:pt x="193" y="315"/>
                  </a:lnTo>
                  <a:lnTo>
                    <a:pt x="196" y="313"/>
                  </a:lnTo>
                  <a:lnTo>
                    <a:pt x="197" y="311"/>
                  </a:lnTo>
                  <a:lnTo>
                    <a:pt x="200" y="311"/>
                  </a:lnTo>
                  <a:lnTo>
                    <a:pt x="204" y="314"/>
                  </a:lnTo>
                  <a:lnTo>
                    <a:pt x="206" y="315"/>
                  </a:lnTo>
                  <a:lnTo>
                    <a:pt x="210" y="321"/>
                  </a:lnTo>
                  <a:lnTo>
                    <a:pt x="216" y="323"/>
                  </a:lnTo>
                  <a:lnTo>
                    <a:pt x="235" y="317"/>
                  </a:lnTo>
                  <a:lnTo>
                    <a:pt x="244" y="315"/>
                  </a:lnTo>
                  <a:lnTo>
                    <a:pt x="244" y="314"/>
                  </a:lnTo>
                  <a:lnTo>
                    <a:pt x="245" y="313"/>
                  </a:lnTo>
                  <a:lnTo>
                    <a:pt x="245" y="311"/>
                  </a:lnTo>
                  <a:lnTo>
                    <a:pt x="245" y="307"/>
                  </a:lnTo>
                  <a:lnTo>
                    <a:pt x="244" y="305"/>
                  </a:lnTo>
                  <a:lnTo>
                    <a:pt x="244" y="304"/>
                  </a:lnTo>
                  <a:lnTo>
                    <a:pt x="241" y="298"/>
                  </a:lnTo>
                  <a:lnTo>
                    <a:pt x="239" y="297"/>
                  </a:lnTo>
                  <a:lnTo>
                    <a:pt x="238" y="295"/>
                  </a:lnTo>
                  <a:lnTo>
                    <a:pt x="238" y="291"/>
                  </a:lnTo>
                  <a:lnTo>
                    <a:pt x="238" y="285"/>
                  </a:lnTo>
                  <a:lnTo>
                    <a:pt x="238" y="279"/>
                  </a:lnTo>
                  <a:lnTo>
                    <a:pt x="238" y="278"/>
                  </a:lnTo>
                  <a:lnTo>
                    <a:pt x="236" y="276"/>
                  </a:lnTo>
                  <a:lnTo>
                    <a:pt x="236" y="276"/>
                  </a:lnTo>
                  <a:lnTo>
                    <a:pt x="235" y="275"/>
                  </a:lnTo>
                  <a:lnTo>
                    <a:pt x="231" y="272"/>
                  </a:lnTo>
                  <a:lnTo>
                    <a:pt x="229" y="272"/>
                  </a:lnTo>
                  <a:lnTo>
                    <a:pt x="229" y="270"/>
                  </a:lnTo>
                  <a:lnTo>
                    <a:pt x="229" y="269"/>
                  </a:lnTo>
                  <a:lnTo>
                    <a:pt x="229" y="266"/>
                  </a:lnTo>
                  <a:lnTo>
                    <a:pt x="232" y="262"/>
                  </a:lnTo>
                  <a:lnTo>
                    <a:pt x="232" y="259"/>
                  </a:lnTo>
                  <a:lnTo>
                    <a:pt x="232" y="256"/>
                  </a:lnTo>
                  <a:lnTo>
                    <a:pt x="231" y="254"/>
                  </a:lnTo>
                  <a:lnTo>
                    <a:pt x="231" y="253"/>
                  </a:lnTo>
                  <a:lnTo>
                    <a:pt x="231" y="253"/>
                  </a:lnTo>
                  <a:lnTo>
                    <a:pt x="236" y="249"/>
                  </a:lnTo>
                  <a:lnTo>
                    <a:pt x="250" y="244"/>
                  </a:lnTo>
                  <a:lnTo>
                    <a:pt x="252" y="244"/>
                  </a:lnTo>
                  <a:lnTo>
                    <a:pt x="252" y="246"/>
                  </a:lnTo>
                  <a:lnTo>
                    <a:pt x="255" y="250"/>
                  </a:lnTo>
                  <a:lnTo>
                    <a:pt x="257" y="253"/>
                  </a:lnTo>
                  <a:lnTo>
                    <a:pt x="258" y="254"/>
                  </a:lnTo>
                  <a:lnTo>
                    <a:pt x="258" y="256"/>
                  </a:lnTo>
                  <a:lnTo>
                    <a:pt x="261" y="257"/>
                  </a:lnTo>
                  <a:lnTo>
                    <a:pt x="263" y="257"/>
                  </a:lnTo>
                  <a:lnTo>
                    <a:pt x="266" y="257"/>
                  </a:lnTo>
                  <a:lnTo>
                    <a:pt x="267" y="257"/>
                  </a:lnTo>
                  <a:lnTo>
                    <a:pt x="270" y="257"/>
                  </a:lnTo>
                  <a:lnTo>
                    <a:pt x="273" y="254"/>
                  </a:lnTo>
                  <a:lnTo>
                    <a:pt x="276" y="249"/>
                  </a:lnTo>
                  <a:lnTo>
                    <a:pt x="276" y="238"/>
                  </a:lnTo>
                  <a:lnTo>
                    <a:pt x="276" y="232"/>
                  </a:lnTo>
                  <a:lnTo>
                    <a:pt x="276" y="230"/>
                  </a:lnTo>
                  <a:lnTo>
                    <a:pt x="274" y="227"/>
                  </a:lnTo>
                  <a:lnTo>
                    <a:pt x="274" y="225"/>
                  </a:lnTo>
                  <a:lnTo>
                    <a:pt x="276" y="224"/>
                  </a:lnTo>
                  <a:lnTo>
                    <a:pt x="276" y="222"/>
                  </a:lnTo>
                  <a:lnTo>
                    <a:pt x="285" y="221"/>
                  </a:lnTo>
                  <a:lnTo>
                    <a:pt x="290" y="214"/>
                  </a:lnTo>
                  <a:lnTo>
                    <a:pt x="292" y="209"/>
                  </a:lnTo>
                  <a:lnTo>
                    <a:pt x="292" y="208"/>
                  </a:lnTo>
                  <a:lnTo>
                    <a:pt x="293" y="208"/>
                  </a:lnTo>
                  <a:lnTo>
                    <a:pt x="293" y="206"/>
                  </a:lnTo>
                  <a:lnTo>
                    <a:pt x="295" y="206"/>
                  </a:lnTo>
                  <a:lnTo>
                    <a:pt x="299" y="205"/>
                  </a:lnTo>
                  <a:lnTo>
                    <a:pt x="305" y="203"/>
                  </a:lnTo>
                  <a:lnTo>
                    <a:pt x="314" y="200"/>
                  </a:lnTo>
                  <a:lnTo>
                    <a:pt x="333" y="187"/>
                  </a:lnTo>
                  <a:lnTo>
                    <a:pt x="336" y="186"/>
                  </a:lnTo>
                  <a:lnTo>
                    <a:pt x="340" y="186"/>
                  </a:lnTo>
                  <a:lnTo>
                    <a:pt x="346" y="189"/>
                  </a:lnTo>
                  <a:lnTo>
                    <a:pt x="347" y="189"/>
                  </a:lnTo>
                  <a:lnTo>
                    <a:pt x="349" y="189"/>
                  </a:lnTo>
                  <a:lnTo>
                    <a:pt x="352" y="187"/>
                  </a:lnTo>
                  <a:lnTo>
                    <a:pt x="353" y="184"/>
                  </a:lnTo>
                  <a:lnTo>
                    <a:pt x="354" y="183"/>
                  </a:lnTo>
                  <a:lnTo>
                    <a:pt x="354" y="180"/>
                  </a:lnTo>
                  <a:lnTo>
                    <a:pt x="356" y="180"/>
                  </a:lnTo>
                  <a:lnTo>
                    <a:pt x="357" y="180"/>
                  </a:lnTo>
                  <a:lnTo>
                    <a:pt x="365" y="183"/>
                  </a:lnTo>
                  <a:lnTo>
                    <a:pt x="368" y="182"/>
                  </a:lnTo>
                  <a:lnTo>
                    <a:pt x="376" y="173"/>
                  </a:lnTo>
                  <a:lnTo>
                    <a:pt x="379" y="171"/>
                  </a:lnTo>
                  <a:lnTo>
                    <a:pt x="382" y="166"/>
                  </a:lnTo>
                  <a:lnTo>
                    <a:pt x="382" y="164"/>
                  </a:lnTo>
                  <a:lnTo>
                    <a:pt x="384" y="163"/>
                  </a:lnTo>
                  <a:lnTo>
                    <a:pt x="384" y="161"/>
                  </a:lnTo>
                  <a:lnTo>
                    <a:pt x="385" y="161"/>
                  </a:lnTo>
                  <a:lnTo>
                    <a:pt x="387" y="163"/>
                  </a:lnTo>
                  <a:lnTo>
                    <a:pt x="389" y="164"/>
                  </a:lnTo>
                  <a:lnTo>
                    <a:pt x="391" y="164"/>
                  </a:lnTo>
                  <a:lnTo>
                    <a:pt x="391" y="164"/>
                  </a:lnTo>
                  <a:lnTo>
                    <a:pt x="391" y="166"/>
                  </a:lnTo>
                  <a:lnTo>
                    <a:pt x="391" y="167"/>
                  </a:lnTo>
                  <a:lnTo>
                    <a:pt x="392" y="168"/>
                  </a:lnTo>
                  <a:lnTo>
                    <a:pt x="392" y="170"/>
                  </a:lnTo>
                  <a:lnTo>
                    <a:pt x="394" y="170"/>
                  </a:lnTo>
                  <a:lnTo>
                    <a:pt x="413" y="171"/>
                  </a:lnTo>
                  <a:lnTo>
                    <a:pt x="417" y="171"/>
                  </a:lnTo>
                  <a:lnTo>
                    <a:pt x="433" y="166"/>
                  </a:lnTo>
                  <a:lnTo>
                    <a:pt x="435" y="166"/>
                  </a:lnTo>
                  <a:lnTo>
                    <a:pt x="443" y="158"/>
                  </a:lnTo>
                  <a:lnTo>
                    <a:pt x="445" y="158"/>
                  </a:lnTo>
                  <a:lnTo>
                    <a:pt x="445" y="155"/>
                  </a:lnTo>
                  <a:lnTo>
                    <a:pt x="445" y="152"/>
                  </a:lnTo>
                  <a:lnTo>
                    <a:pt x="445" y="151"/>
                  </a:lnTo>
                  <a:lnTo>
                    <a:pt x="446" y="148"/>
                  </a:lnTo>
                  <a:lnTo>
                    <a:pt x="448" y="145"/>
                  </a:lnTo>
                  <a:lnTo>
                    <a:pt x="448" y="142"/>
                  </a:lnTo>
                  <a:lnTo>
                    <a:pt x="448" y="139"/>
                  </a:lnTo>
                  <a:lnTo>
                    <a:pt x="448" y="138"/>
                  </a:lnTo>
                  <a:lnTo>
                    <a:pt x="448" y="136"/>
                  </a:lnTo>
                  <a:lnTo>
                    <a:pt x="448" y="132"/>
                  </a:lnTo>
                  <a:lnTo>
                    <a:pt x="448" y="131"/>
                  </a:lnTo>
                  <a:lnTo>
                    <a:pt x="448" y="129"/>
                  </a:lnTo>
                  <a:lnTo>
                    <a:pt x="446" y="129"/>
                  </a:lnTo>
                  <a:lnTo>
                    <a:pt x="446" y="128"/>
                  </a:lnTo>
                  <a:lnTo>
                    <a:pt x="449" y="125"/>
                  </a:lnTo>
                  <a:lnTo>
                    <a:pt x="458" y="123"/>
                  </a:lnTo>
                  <a:lnTo>
                    <a:pt x="471" y="123"/>
                  </a:lnTo>
                  <a:lnTo>
                    <a:pt x="500" y="116"/>
                  </a:lnTo>
                  <a:lnTo>
                    <a:pt x="510" y="109"/>
                  </a:lnTo>
                  <a:lnTo>
                    <a:pt x="513" y="109"/>
                  </a:lnTo>
                  <a:lnTo>
                    <a:pt x="515" y="107"/>
                  </a:lnTo>
                  <a:lnTo>
                    <a:pt x="516" y="107"/>
                  </a:lnTo>
                  <a:lnTo>
                    <a:pt x="523" y="109"/>
                  </a:lnTo>
                  <a:lnTo>
                    <a:pt x="523" y="109"/>
                  </a:lnTo>
                  <a:lnTo>
                    <a:pt x="525" y="106"/>
                  </a:lnTo>
                  <a:lnTo>
                    <a:pt x="526" y="101"/>
                  </a:lnTo>
                  <a:lnTo>
                    <a:pt x="528" y="100"/>
                  </a:lnTo>
                  <a:lnTo>
                    <a:pt x="529" y="99"/>
                  </a:lnTo>
                  <a:lnTo>
                    <a:pt x="532" y="97"/>
                  </a:lnTo>
                  <a:lnTo>
                    <a:pt x="544" y="93"/>
                  </a:lnTo>
                  <a:lnTo>
                    <a:pt x="545" y="91"/>
                  </a:lnTo>
                  <a:lnTo>
                    <a:pt x="545" y="91"/>
                  </a:lnTo>
                  <a:lnTo>
                    <a:pt x="548" y="85"/>
                  </a:lnTo>
                  <a:lnTo>
                    <a:pt x="550" y="84"/>
                  </a:lnTo>
                  <a:lnTo>
                    <a:pt x="551" y="84"/>
                  </a:lnTo>
                  <a:lnTo>
                    <a:pt x="551" y="84"/>
                  </a:lnTo>
                  <a:lnTo>
                    <a:pt x="551" y="85"/>
                  </a:lnTo>
                  <a:lnTo>
                    <a:pt x="553" y="85"/>
                  </a:lnTo>
                  <a:lnTo>
                    <a:pt x="553" y="87"/>
                  </a:lnTo>
                  <a:lnTo>
                    <a:pt x="554" y="87"/>
                  </a:lnTo>
                  <a:lnTo>
                    <a:pt x="556" y="85"/>
                  </a:lnTo>
                  <a:lnTo>
                    <a:pt x="556" y="85"/>
                  </a:lnTo>
                  <a:lnTo>
                    <a:pt x="557" y="85"/>
                  </a:lnTo>
                  <a:lnTo>
                    <a:pt x="557" y="84"/>
                  </a:lnTo>
                  <a:lnTo>
                    <a:pt x="557" y="83"/>
                  </a:lnTo>
                  <a:lnTo>
                    <a:pt x="557" y="81"/>
                  </a:lnTo>
                  <a:lnTo>
                    <a:pt x="557" y="80"/>
                  </a:lnTo>
                  <a:lnTo>
                    <a:pt x="557" y="77"/>
                  </a:lnTo>
                  <a:lnTo>
                    <a:pt x="556" y="74"/>
                  </a:lnTo>
                  <a:lnTo>
                    <a:pt x="550" y="67"/>
                  </a:lnTo>
                  <a:lnTo>
                    <a:pt x="563" y="59"/>
                  </a:lnTo>
                  <a:lnTo>
                    <a:pt x="564" y="58"/>
                  </a:lnTo>
                  <a:lnTo>
                    <a:pt x="570" y="50"/>
                  </a:lnTo>
                  <a:lnTo>
                    <a:pt x="572" y="49"/>
                  </a:lnTo>
                  <a:lnTo>
                    <a:pt x="572" y="49"/>
                  </a:lnTo>
                  <a:lnTo>
                    <a:pt x="580" y="52"/>
                  </a:lnTo>
                  <a:lnTo>
                    <a:pt x="580" y="52"/>
                  </a:lnTo>
                  <a:lnTo>
                    <a:pt x="582" y="52"/>
                  </a:lnTo>
                  <a:lnTo>
                    <a:pt x="582" y="50"/>
                  </a:lnTo>
                  <a:lnTo>
                    <a:pt x="583" y="49"/>
                  </a:lnTo>
                  <a:lnTo>
                    <a:pt x="582" y="42"/>
                  </a:lnTo>
                  <a:lnTo>
                    <a:pt x="582" y="40"/>
                  </a:lnTo>
                  <a:lnTo>
                    <a:pt x="580" y="37"/>
                  </a:lnTo>
                  <a:lnTo>
                    <a:pt x="580" y="37"/>
                  </a:lnTo>
                  <a:lnTo>
                    <a:pt x="579" y="36"/>
                  </a:lnTo>
                  <a:lnTo>
                    <a:pt x="579" y="34"/>
                  </a:lnTo>
                  <a:lnTo>
                    <a:pt x="577" y="32"/>
                  </a:lnTo>
                  <a:lnTo>
                    <a:pt x="576" y="17"/>
                  </a:lnTo>
                  <a:lnTo>
                    <a:pt x="577" y="14"/>
                  </a:lnTo>
                  <a:lnTo>
                    <a:pt x="577" y="11"/>
                  </a:lnTo>
                  <a:lnTo>
                    <a:pt x="589" y="1"/>
                  </a:lnTo>
                  <a:lnTo>
                    <a:pt x="593" y="0"/>
                  </a:lnTo>
                  <a:lnTo>
                    <a:pt x="614" y="5"/>
                  </a:lnTo>
                  <a:lnTo>
                    <a:pt x="612" y="13"/>
                  </a:lnTo>
                  <a:lnTo>
                    <a:pt x="611" y="18"/>
                  </a:lnTo>
                  <a:lnTo>
                    <a:pt x="609" y="20"/>
                  </a:lnTo>
                  <a:lnTo>
                    <a:pt x="609" y="23"/>
                  </a:lnTo>
                  <a:lnTo>
                    <a:pt x="608" y="26"/>
                  </a:lnTo>
                  <a:lnTo>
                    <a:pt x="608" y="27"/>
                  </a:lnTo>
                  <a:lnTo>
                    <a:pt x="608" y="29"/>
                  </a:lnTo>
                  <a:lnTo>
                    <a:pt x="609" y="30"/>
                  </a:lnTo>
                  <a:lnTo>
                    <a:pt x="614" y="33"/>
                  </a:lnTo>
                  <a:lnTo>
                    <a:pt x="623" y="36"/>
                  </a:lnTo>
                  <a:lnTo>
                    <a:pt x="625" y="39"/>
                  </a:lnTo>
                  <a:lnTo>
                    <a:pt x="636" y="5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11">
              <a:extLst>
                <a:ext uri="{FF2B5EF4-FFF2-40B4-BE49-F238E27FC236}">
                  <a16:creationId xmlns:a16="http://schemas.microsoft.com/office/drawing/2014/main" id="{9994F82D-9A1B-4AB6-8594-09F43AFC259E}"/>
                </a:ext>
              </a:extLst>
            </p:cNvPr>
            <p:cNvSpPr>
              <a:spLocks/>
            </p:cNvSpPr>
            <p:nvPr/>
          </p:nvSpPr>
          <p:spPr bwMode="gray">
            <a:xfrm>
              <a:off x="3567113" y="2371725"/>
              <a:ext cx="1990725" cy="1941513"/>
            </a:xfrm>
            <a:custGeom>
              <a:avLst/>
              <a:gdLst>
                <a:gd name="T0" fmla="*/ 1033 w 1254"/>
                <a:gd name="T1" fmla="*/ 76 h 1223"/>
                <a:gd name="T2" fmla="*/ 1139 w 1254"/>
                <a:gd name="T3" fmla="*/ 26 h 1223"/>
                <a:gd name="T4" fmla="*/ 1097 w 1254"/>
                <a:gd name="T5" fmla="*/ 105 h 1223"/>
                <a:gd name="T6" fmla="*/ 1109 w 1254"/>
                <a:gd name="T7" fmla="*/ 170 h 1223"/>
                <a:gd name="T8" fmla="*/ 1093 w 1254"/>
                <a:gd name="T9" fmla="*/ 221 h 1223"/>
                <a:gd name="T10" fmla="*/ 1155 w 1254"/>
                <a:gd name="T11" fmla="*/ 262 h 1223"/>
                <a:gd name="T12" fmla="*/ 1154 w 1254"/>
                <a:gd name="T13" fmla="*/ 303 h 1223"/>
                <a:gd name="T14" fmla="*/ 1189 w 1254"/>
                <a:gd name="T15" fmla="*/ 332 h 1223"/>
                <a:gd name="T16" fmla="*/ 1237 w 1254"/>
                <a:gd name="T17" fmla="*/ 374 h 1223"/>
                <a:gd name="T18" fmla="*/ 1251 w 1254"/>
                <a:gd name="T19" fmla="*/ 399 h 1223"/>
                <a:gd name="T20" fmla="*/ 1230 w 1254"/>
                <a:gd name="T21" fmla="*/ 454 h 1223"/>
                <a:gd name="T22" fmla="*/ 1231 w 1254"/>
                <a:gd name="T23" fmla="*/ 498 h 1223"/>
                <a:gd name="T24" fmla="*/ 1213 w 1254"/>
                <a:gd name="T25" fmla="*/ 539 h 1223"/>
                <a:gd name="T26" fmla="*/ 1170 w 1254"/>
                <a:gd name="T27" fmla="*/ 590 h 1223"/>
                <a:gd name="T28" fmla="*/ 1123 w 1254"/>
                <a:gd name="T29" fmla="*/ 591 h 1223"/>
                <a:gd name="T30" fmla="*/ 1062 w 1254"/>
                <a:gd name="T31" fmla="*/ 601 h 1223"/>
                <a:gd name="T32" fmla="*/ 1053 w 1254"/>
                <a:gd name="T33" fmla="*/ 639 h 1223"/>
                <a:gd name="T34" fmla="*/ 976 w 1254"/>
                <a:gd name="T35" fmla="*/ 659 h 1223"/>
                <a:gd name="T36" fmla="*/ 953 w 1254"/>
                <a:gd name="T37" fmla="*/ 712 h 1223"/>
                <a:gd name="T38" fmla="*/ 994 w 1254"/>
                <a:gd name="T39" fmla="*/ 703 h 1223"/>
                <a:gd name="T40" fmla="*/ 1007 w 1254"/>
                <a:gd name="T41" fmla="*/ 744 h 1223"/>
                <a:gd name="T42" fmla="*/ 977 w 1254"/>
                <a:gd name="T43" fmla="*/ 804 h 1223"/>
                <a:gd name="T44" fmla="*/ 928 w 1254"/>
                <a:gd name="T45" fmla="*/ 853 h 1223"/>
                <a:gd name="T46" fmla="*/ 886 w 1254"/>
                <a:gd name="T47" fmla="*/ 911 h 1223"/>
                <a:gd name="T48" fmla="*/ 823 w 1254"/>
                <a:gd name="T49" fmla="*/ 939 h 1223"/>
                <a:gd name="T50" fmla="*/ 795 w 1254"/>
                <a:gd name="T51" fmla="*/ 983 h 1223"/>
                <a:gd name="T52" fmla="*/ 766 w 1254"/>
                <a:gd name="T53" fmla="*/ 1022 h 1223"/>
                <a:gd name="T54" fmla="*/ 723 w 1254"/>
                <a:gd name="T55" fmla="*/ 943 h 1223"/>
                <a:gd name="T56" fmla="*/ 663 w 1254"/>
                <a:gd name="T57" fmla="*/ 926 h 1223"/>
                <a:gd name="T58" fmla="*/ 641 w 1254"/>
                <a:gd name="T59" fmla="*/ 974 h 1223"/>
                <a:gd name="T60" fmla="*/ 607 w 1254"/>
                <a:gd name="T61" fmla="*/ 999 h 1223"/>
                <a:gd name="T62" fmla="*/ 529 w 1254"/>
                <a:gd name="T63" fmla="*/ 1042 h 1223"/>
                <a:gd name="T64" fmla="*/ 466 w 1254"/>
                <a:gd name="T65" fmla="*/ 1056 h 1223"/>
                <a:gd name="T66" fmla="*/ 377 w 1254"/>
                <a:gd name="T67" fmla="*/ 1096 h 1223"/>
                <a:gd name="T68" fmla="*/ 342 w 1254"/>
                <a:gd name="T69" fmla="*/ 1144 h 1223"/>
                <a:gd name="T70" fmla="*/ 322 w 1254"/>
                <a:gd name="T71" fmla="*/ 1168 h 1223"/>
                <a:gd name="T72" fmla="*/ 280 w 1254"/>
                <a:gd name="T73" fmla="*/ 1203 h 1223"/>
                <a:gd name="T74" fmla="*/ 210 w 1254"/>
                <a:gd name="T75" fmla="*/ 1213 h 1223"/>
                <a:gd name="T76" fmla="*/ 200 w 1254"/>
                <a:gd name="T77" fmla="*/ 1216 h 1223"/>
                <a:gd name="T78" fmla="*/ 162 w 1254"/>
                <a:gd name="T79" fmla="*/ 1136 h 1223"/>
                <a:gd name="T80" fmla="*/ 106 w 1254"/>
                <a:gd name="T81" fmla="*/ 1102 h 1223"/>
                <a:gd name="T82" fmla="*/ 60 w 1254"/>
                <a:gd name="T83" fmla="*/ 1013 h 1223"/>
                <a:gd name="T84" fmla="*/ 51 w 1254"/>
                <a:gd name="T85" fmla="*/ 962 h 1223"/>
                <a:gd name="T86" fmla="*/ 51 w 1254"/>
                <a:gd name="T87" fmla="*/ 891 h 1223"/>
                <a:gd name="T88" fmla="*/ 23 w 1254"/>
                <a:gd name="T89" fmla="*/ 836 h 1223"/>
                <a:gd name="T90" fmla="*/ 77 w 1254"/>
                <a:gd name="T91" fmla="*/ 719 h 1223"/>
                <a:gd name="T92" fmla="*/ 80 w 1254"/>
                <a:gd name="T93" fmla="*/ 515 h 1223"/>
                <a:gd name="T94" fmla="*/ 26 w 1254"/>
                <a:gd name="T95" fmla="*/ 405 h 1223"/>
                <a:gd name="T96" fmla="*/ 143 w 1254"/>
                <a:gd name="T97" fmla="*/ 371 h 1223"/>
                <a:gd name="T98" fmla="*/ 328 w 1254"/>
                <a:gd name="T99" fmla="*/ 320 h 1223"/>
                <a:gd name="T100" fmla="*/ 318 w 1254"/>
                <a:gd name="T101" fmla="*/ 234 h 1223"/>
                <a:gd name="T102" fmla="*/ 524 w 1254"/>
                <a:gd name="T103" fmla="*/ 127 h 1223"/>
                <a:gd name="T104" fmla="*/ 603 w 1254"/>
                <a:gd name="T105" fmla="*/ 64 h 1223"/>
                <a:gd name="T106" fmla="*/ 645 w 1254"/>
                <a:gd name="T107" fmla="*/ 65 h 1223"/>
                <a:gd name="T108" fmla="*/ 723 w 1254"/>
                <a:gd name="T109" fmla="*/ 124 h 1223"/>
                <a:gd name="T110" fmla="*/ 712 w 1254"/>
                <a:gd name="T111" fmla="*/ 176 h 1223"/>
                <a:gd name="T112" fmla="*/ 747 w 1254"/>
                <a:gd name="T113" fmla="*/ 211 h 1223"/>
                <a:gd name="T114" fmla="*/ 739 w 1254"/>
                <a:gd name="T115" fmla="*/ 274 h 1223"/>
                <a:gd name="T116" fmla="*/ 913 w 1254"/>
                <a:gd name="T117" fmla="*/ 202 h 1223"/>
                <a:gd name="T118" fmla="*/ 858 w 1254"/>
                <a:gd name="T119" fmla="*/ 64 h 1223"/>
                <a:gd name="T120" fmla="*/ 943 w 1254"/>
                <a:gd name="T121" fmla="*/ 9 h 1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4" h="1223">
                  <a:moveTo>
                    <a:pt x="980" y="7"/>
                  </a:moveTo>
                  <a:lnTo>
                    <a:pt x="991" y="25"/>
                  </a:lnTo>
                  <a:lnTo>
                    <a:pt x="992" y="29"/>
                  </a:lnTo>
                  <a:lnTo>
                    <a:pt x="992" y="33"/>
                  </a:lnTo>
                  <a:lnTo>
                    <a:pt x="992" y="35"/>
                  </a:lnTo>
                  <a:lnTo>
                    <a:pt x="991" y="41"/>
                  </a:lnTo>
                  <a:lnTo>
                    <a:pt x="991" y="44"/>
                  </a:lnTo>
                  <a:lnTo>
                    <a:pt x="991" y="47"/>
                  </a:lnTo>
                  <a:lnTo>
                    <a:pt x="992" y="48"/>
                  </a:lnTo>
                  <a:lnTo>
                    <a:pt x="992" y="51"/>
                  </a:lnTo>
                  <a:lnTo>
                    <a:pt x="994" y="52"/>
                  </a:lnTo>
                  <a:lnTo>
                    <a:pt x="994" y="54"/>
                  </a:lnTo>
                  <a:lnTo>
                    <a:pt x="992" y="60"/>
                  </a:lnTo>
                  <a:lnTo>
                    <a:pt x="992" y="63"/>
                  </a:lnTo>
                  <a:lnTo>
                    <a:pt x="992" y="65"/>
                  </a:lnTo>
                  <a:lnTo>
                    <a:pt x="992" y="68"/>
                  </a:lnTo>
                  <a:lnTo>
                    <a:pt x="992" y="70"/>
                  </a:lnTo>
                  <a:lnTo>
                    <a:pt x="994" y="71"/>
                  </a:lnTo>
                  <a:lnTo>
                    <a:pt x="994" y="71"/>
                  </a:lnTo>
                  <a:lnTo>
                    <a:pt x="998" y="73"/>
                  </a:lnTo>
                  <a:lnTo>
                    <a:pt x="1033" y="76"/>
                  </a:lnTo>
                  <a:lnTo>
                    <a:pt x="1045" y="76"/>
                  </a:lnTo>
                  <a:lnTo>
                    <a:pt x="1055" y="71"/>
                  </a:lnTo>
                  <a:lnTo>
                    <a:pt x="1056" y="70"/>
                  </a:lnTo>
                  <a:lnTo>
                    <a:pt x="1079" y="65"/>
                  </a:lnTo>
                  <a:lnTo>
                    <a:pt x="1081" y="64"/>
                  </a:lnTo>
                  <a:lnTo>
                    <a:pt x="1082" y="63"/>
                  </a:lnTo>
                  <a:lnTo>
                    <a:pt x="1082" y="61"/>
                  </a:lnTo>
                  <a:lnTo>
                    <a:pt x="1088" y="45"/>
                  </a:lnTo>
                  <a:lnTo>
                    <a:pt x="1091" y="36"/>
                  </a:lnTo>
                  <a:lnTo>
                    <a:pt x="1093" y="35"/>
                  </a:lnTo>
                  <a:lnTo>
                    <a:pt x="1103" y="25"/>
                  </a:lnTo>
                  <a:lnTo>
                    <a:pt x="1122" y="14"/>
                  </a:lnTo>
                  <a:lnTo>
                    <a:pt x="1123" y="14"/>
                  </a:lnTo>
                  <a:lnTo>
                    <a:pt x="1125" y="14"/>
                  </a:lnTo>
                  <a:lnTo>
                    <a:pt x="1128" y="16"/>
                  </a:lnTo>
                  <a:lnTo>
                    <a:pt x="1132" y="23"/>
                  </a:lnTo>
                  <a:lnTo>
                    <a:pt x="1133" y="23"/>
                  </a:lnTo>
                  <a:lnTo>
                    <a:pt x="1133" y="25"/>
                  </a:lnTo>
                  <a:lnTo>
                    <a:pt x="1135" y="25"/>
                  </a:lnTo>
                  <a:lnTo>
                    <a:pt x="1136" y="26"/>
                  </a:lnTo>
                  <a:lnTo>
                    <a:pt x="1139" y="26"/>
                  </a:lnTo>
                  <a:lnTo>
                    <a:pt x="1141" y="28"/>
                  </a:lnTo>
                  <a:lnTo>
                    <a:pt x="1141" y="29"/>
                  </a:lnTo>
                  <a:lnTo>
                    <a:pt x="1139" y="33"/>
                  </a:lnTo>
                  <a:lnTo>
                    <a:pt x="1138" y="35"/>
                  </a:lnTo>
                  <a:lnTo>
                    <a:pt x="1136" y="38"/>
                  </a:lnTo>
                  <a:lnTo>
                    <a:pt x="1135" y="38"/>
                  </a:lnTo>
                  <a:lnTo>
                    <a:pt x="1132" y="39"/>
                  </a:lnTo>
                  <a:lnTo>
                    <a:pt x="1132" y="41"/>
                  </a:lnTo>
                  <a:lnTo>
                    <a:pt x="1132" y="44"/>
                  </a:lnTo>
                  <a:lnTo>
                    <a:pt x="1132" y="47"/>
                  </a:lnTo>
                  <a:lnTo>
                    <a:pt x="1138" y="65"/>
                  </a:lnTo>
                  <a:lnTo>
                    <a:pt x="1126" y="84"/>
                  </a:lnTo>
                  <a:lnTo>
                    <a:pt x="1120" y="97"/>
                  </a:lnTo>
                  <a:lnTo>
                    <a:pt x="1119" y="99"/>
                  </a:lnTo>
                  <a:lnTo>
                    <a:pt x="1116" y="100"/>
                  </a:lnTo>
                  <a:lnTo>
                    <a:pt x="1113" y="102"/>
                  </a:lnTo>
                  <a:lnTo>
                    <a:pt x="1110" y="105"/>
                  </a:lnTo>
                  <a:lnTo>
                    <a:pt x="1107" y="105"/>
                  </a:lnTo>
                  <a:lnTo>
                    <a:pt x="1100" y="103"/>
                  </a:lnTo>
                  <a:lnTo>
                    <a:pt x="1098" y="103"/>
                  </a:lnTo>
                  <a:lnTo>
                    <a:pt x="1097" y="105"/>
                  </a:lnTo>
                  <a:lnTo>
                    <a:pt x="1095" y="106"/>
                  </a:lnTo>
                  <a:lnTo>
                    <a:pt x="1094" y="108"/>
                  </a:lnTo>
                  <a:lnTo>
                    <a:pt x="1093" y="113"/>
                  </a:lnTo>
                  <a:lnTo>
                    <a:pt x="1091" y="118"/>
                  </a:lnTo>
                  <a:lnTo>
                    <a:pt x="1090" y="134"/>
                  </a:lnTo>
                  <a:lnTo>
                    <a:pt x="1090" y="138"/>
                  </a:lnTo>
                  <a:lnTo>
                    <a:pt x="1088" y="141"/>
                  </a:lnTo>
                  <a:lnTo>
                    <a:pt x="1088" y="144"/>
                  </a:lnTo>
                  <a:lnTo>
                    <a:pt x="1087" y="146"/>
                  </a:lnTo>
                  <a:lnTo>
                    <a:pt x="1088" y="147"/>
                  </a:lnTo>
                  <a:lnTo>
                    <a:pt x="1088" y="148"/>
                  </a:lnTo>
                  <a:lnTo>
                    <a:pt x="1090" y="150"/>
                  </a:lnTo>
                  <a:lnTo>
                    <a:pt x="1091" y="151"/>
                  </a:lnTo>
                  <a:lnTo>
                    <a:pt x="1097" y="153"/>
                  </a:lnTo>
                  <a:lnTo>
                    <a:pt x="1109" y="159"/>
                  </a:lnTo>
                  <a:lnTo>
                    <a:pt x="1116" y="160"/>
                  </a:lnTo>
                  <a:lnTo>
                    <a:pt x="1119" y="160"/>
                  </a:lnTo>
                  <a:lnTo>
                    <a:pt x="1119" y="162"/>
                  </a:lnTo>
                  <a:lnTo>
                    <a:pt x="1117" y="163"/>
                  </a:lnTo>
                  <a:lnTo>
                    <a:pt x="1110" y="167"/>
                  </a:lnTo>
                  <a:lnTo>
                    <a:pt x="1109" y="170"/>
                  </a:lnTo>
                  <a:lnTo>
                    <a:pt x="1107" y="173"/>
                  </a:lnTo>
                  <a:lnTo>
                    <a:pt x="1107" y="175"/>
                  </a:lnTo>
                  <a:lnTo>
                    <a:pt x="1107" y="176"/>
                  </a:lnTo>
                  <a:lnTo>
                    <a:pt x="1109" y="178"/>
                  </a:lnTo>
                  <a:lnTo>
                    <a:pt x="1110" y="180"/>
                  </a:lnTo>
                  <a:lnTo>
                    <a:pt x="1110" y="185"/>
                  </a:lnTo>
                  <a:lnTo>
                    <a:pt x="1110" y="186"/>
                  </a:lnTo>
                  <a:lnTo>
                    <a:pt x="1109" y="188"/>
                  </a:lnTo>
                  <a:lnTo>
                    <a:pt x="1100" y="186"/>
                  </a:lnTo>
                  <a:lnTo>
                    <a:pt x="1090" y="189"/>
                  </a:lnTo>
                  <a:lnTo>
                    <a:pt x="1091" y="196"/>
                  </a:lnTo>
                  <a:lnTo>
                    <a:pt x="1095" y="204"/>
                  </a:lnTo>
                  <a:lnTo>
                    <a:pt x="1095" y="205"/>
                  </a:lnTo>
                  <a:lnTo>
                    <a:pt x="1095" y="208"/>
                  </a:lnTo>
                  <a:lnTo>
                    <a:pt x="1097" y="210"/>
                  </a:lnTo>
                  <a:lnTo>
                    <a:pt x="1095" y="213"/>
                  </a:lnTo>
                  <a:lnTo>
                    <a:pt x="1095" y="214"/>
                  </a:lnTo>
                  <a:lnTo>
                    <a:pt x="1095" y="215"/>
                  </a:lnTo>
                  <a:lnTo>
                    <a:pt x="1094" y="215"/>
                  </a:lnTo>
                  <a:lnTo>
                    <a:pt x="1093" y="218"/>
                  </a:lnTo>
                  <a:lnTo>
                    <a:pt x="1093" y="221"/>
                  </a:lnTo>
                  <a:lnTo>
                    <a:pt x="1093" y="221"/>
                  </a:lnTo>
                  <a:lnTo>
                    <a:pt x="1095" y="221"/>
                  </a:lnTo>
                  <a:lnTo>
                    <a:pt x="1098" y="220"/>
                  </a:lnTo>
                  <a:lnTo>
                    <a:pt x="1104" y="218"/>
                  </a:lnTo>
                  <a:lnTo>
                    <a:pt x="1109" y="220"/>
                  </a:lnTo>
                  <a:lnTo>
                    <a:pt x="1116" y="218"/>
                  </a:lnTo>
                  <a:lnTo>
                    <a:pt x="1141" y="221"/>
                  </a:lnTo>
                  <a:lnTo>
                    <a:pt x="1144" y="223"/>
                  </a:lnTo>
                  <a:lnTo>
                    <a:pt x="1145" y="226"/>
                  </a:lnTo>
                  <a:lnTo>
                    <a:pt x="1144" y="229"/>
                  </a:lnTo>
                  <a:lnTo>
                    <a:pt x="1142" y="231"/>
                  </a:lnTo>
                  <a:lnTo>
                    <a:pt x="1142" y="233"/>
                  </a:lnTo>
                  <a:lnTo>
                    <a:pt x="1142" y="234"/>
                  </a:lnTo>
                  <a:lnTo>
                    <a:pt x="1142" y="236"/>
                  </a:lnTo>
                  <a:lnTo>
                    <a:pt x="1145" y="239"/>
                  </a:lnTo>
                  <a:lnTo>
                    <a:pt x="1155" y="243"/>
                  </a:lnTo>
                  <a:lnTo>
                    <a:pt x="1160" y="249"/>
                  </a:lnTo>
                  <a:lnTo>
                    <a:pt x="1160" y="252"/>
                  </a:lnTo>
                  <a:lnTo>
                    <a:pt x="1160" y="253"/>
                  </a:lnTo>
                  <a:lnTo>
                    <a:pt x="1160" y="255"/>
                  </a:lnTo>
                  <a:lnTo>
                    <a:pt x="1155" y="262"/>
                  </a:lnTo>
                  <a:lnTo>
                    <a:pt x="1155" y="263"/>
                  </a:lnTo>
                  <a:lnTo>
                    <a:pt x="1155" y="263"/>
                  </a:lnTo>
                  <a:lnTo>
                    <a:pt x="1155" y="266"/>
                  </a:lnTo>
                  <a:lnTo>
                    <a:pt x="1158" y="275"/>
                  </a:lnTo>
                  <a:lnTo>
                    <a:pt x="1163" y="285"/>
                  </a:lnTo>
                  <a:lnTo>
                    <a:pt x="1163" y="287"/>
                  </a:lnTo>
                  <a:lnTo>
                    <a:pt x="1163" y="288"/>
                  </a:lnTo>
                  <a:lnTo>
                    <a:pt x="1163" y="290"/>
                  </a:lnTo>
                  <a:lnTo>
                    <a:pt x="1161" y="291"/>
                  </a:lnTo>
                  <a:lnTo>
                    <a:pt x="1161" y="293"/>
                  </a:lnTo>
                  <a:lnTo>
                    <a:pt x="1160" y="294"/>
                  </a:lnTo>
                  <a:lnTo>
                    <a:pt x="1158" y="295"/>
                  </a:lnTo>
                  <a:lnTo>
                    <a:pt x="1155" y="297"/>
                  </a:lnTo>
                  <a:lnTo>
                    <a:pt x="1155" y="297"/>
                  </a:lnTo>
                  <a:lnTo>
                    <a:pt x="1155" y="298"/>
                  </a:lnTo>
                  <a:lnTo>
                    <a:pt x="1155" y="298"/>
                  </a:lnTo>
                  <a:lnTo>
                    <a:pt x="1155" y="300"/>
                  </a:lnTo>
                  <a:lnTo>
                    <a:pt x="1155" y="301"/>
                  </a:lnTo>
                  <a:lnTo>
                    <a:pt x="1155" y="301"/>
                  </a:lnTo>
                  <a:lnTo>
                    <a:pt x="1154" y="303"/>
                  </a:lnTo>
                  <a:lnTo>
                    <a:pt x="1154" y="303"/>
                  </a:lnTo>
                  <a:lnTo>
                    <a:pt x="1152" y="304"/>
                  </a:lnTo>
                  <a:lnTo>
                    <a:pt x="1155" y="306"/>
                  </a:lnTo>
                  <a:lnTo>
                    <a:pt x="1158" y="307"/>
                  </a:lnTo>
                  <a:lnTo>
                    <a:pt x="1167" y="312"/>
                  </a:lnTo>
                  <a:lnTo>
                    <a:pt x="1170" y="313"/>
                  </a:lnTo>
                  <a:lnTo>
                    <a:pt x="1171" y="312"/>
                  </a:lnTo>
                  <a:lnTo>
                    <a:pt x="1171" y="312"/>
                  </a:lnTo>
                  <a:lnTo>
                    <a:pt x="1171" y="310"/>
                  </a:lnTo>
                  <a:lnTo>
                    <a:pt x="1171" y="310"/>
                  </a:lnTo>
                  <a:lnTo>
                    <a:pt x="1173" y="309"/>
                  </a:lnTo>
                  <a:lnTo>
                    <a:pt x="1173" y="307"/>
                  </a:lnTo>
                  <a:lnTo>
                    <a:pt x="1174" y="307"/>
                  </a:lnTo>
                  <a:lnTo>
                    <a:pt x="1176" y="306"/>
                  </a:lnTo>
                  <a:lnTo>
                    <a:pt x="1177" y="306"/>
                  </a:lnTo>
                  <a:lnTo>
                    <a:pt x="1179" y="306"/>
                  </a:lnTo>
                  <a:lnTo>
                    <a:pt x="1180" y="306"/>
                  </a:lnTo>
                  <a:lnTo>
                    <a:pt x="1193" y="312"/>
                  </a:lnTo>
                  <a:lnTo>
                    <a:pt x="1193" y="313"/>
                  </a:lnTo>
                  <a:lnTo>
                    <a:pt x="1193" y="316"/>
                  </a:lnTo>
                  <a:lnTo>
                    <a:pt x="1189" y="332"/>
                  </a:lnTo>
                  <a:lnTo>
                    <a:pt x="1189" y="332"/>
                  </a:lnTo>
                  <a:lnTo>
                    <a:pt x="1187" y="335"/>
                  </a:lnTo>
                  <a:lnTo>
                    <a:pt x="1186" y="336"/>
                  </a:lnTo>
                  <a:lnTo>
                    <a:pt x="1183" y="339"/>
                  </a:lnTo>
                  <a:lnTo>
                    <a:pt x="1183" y="339"/>
                  </a:lnTo>
                  <a:lnTo>
                    <a:pt x="1183" y="341"/>
                  </a:lnTo>
                  <a:lnTo>
                    <a:pt x="1184" y="341"/>
                  </a:lnTo>
                  <a:lnTo>
                    <a:pt x="1195" y="339"/>
                  </a:lnTo>
                  <a:lnTo>
                    <a:pt x="1199" y="339"/>
                  </a:lnTo>
                  <a:lnTo>
                    <a:pt x="1206" y="344"/>
                  </a:lnTo>
                  <a:lnTo>
                    <a:pt x="1209" y="346"/>
                  </a:lnTo>
                  <a:lnTo>
                    <a:pt x="1209" y="348"/>
                  </a:lnTo>
                  <a:lnTo>
                    <a:pt x="1209" y="349"/>
                  </a:lnTo>
                  <a:lnTo>
                    <a:pt x="1211" y="352"/>
                  </a:lnTo>
                  <a:lnTo>
                    <a:pt x="1211" y="357"/>
                  </a:lnTo>
                  <a:lnTo>
                    <a:pt x="1211" y="362"/>
                  </a:lnTo>
                  <a:lnTo>
                    <a:pt x="1205" y="377"/>
                  </a:lnTo>
                  <a:lnTo>
                    <a:pt x="1209" y="377"/>
                  </a:lnTo>
                  <a:lnTo>
                    <a:pt x="1212" y="377"/>
                  </a:lnTo>
                  <a:lnTo>
                    <a:pt x="1219" y="374"/>
                  </a:lnTo>
                  <a:lnTo>
                    <a:pt x="1221" y="374"/>
                  </a:lnTo>
                  <a:lnTo>
                    <a:pt x="1237" y="374"/>
                  </a:lnTo>
                  <a:lnTo>
                    <a:pt x="1244" y="373"/>
                  </a:lnTo>
                  <a:lnTo>
                    <a:pt x="1247" y="373"/>
                  </a:lnTo>
                  <a:lnTo>
                    <a:pt x="1250" y="371"/>
                  </a:lnTo>
                  <a:lnTo>
                    <a:pt x="1251" y="370"/>
                  </a:lnTo>
                  <a:lnTo>
                    <a:pt x="1253" y="371"/>
                  </a:lnTo>
                  <a:lnTo>
                    <a:pt x="1254" y="371"/>
                  </a:lnTo>
                  <a:lnTo>
                    <a:pt x="1253" y="376"/>
                  </a:lnTo>
                  <a:lnTo>
                    <a:pt x="1251" y="377"/>
                  </a:lnTo>
                  <a:lnTo>
                    <a:pt x="1250" y="380"/>
                  </a:lnTo>
                  <a:lnTo>
                    <a:pt x="1247" y="384"/>
                  </a:lnTo>
                  <a:lnTo>
                    <a:pt x="1247" y="386"/>
                  </a:lnTo>
                  <a:lnTo>
                    <a:pt x="1247" y="387"/>
                  </a:lnTo>
                  <a:lnTo>
                    <a:pt x="1248" y="389"/>
                  </a:lnTo>
                  <a:lnTo>
                    <a:pt x="1250" y="389"/>
                  </a:lnTo>
                  <a:lnTo>
                    <a:pt x="1253" y="390"/>
                  </a:lnTo>
                  <a:lnTo>
                    <a:pt x="1254" y="390"/>
                  </a:lnTo>
                  <a:lnTo>
                    <a:pt x="1254" y="392"/>
                  </a:lnTo>
                  <a:lnTo>
                    <a:pt x="1254" y="393"/>
                  </a:lnTo>
                  <a:lnTo>
                    <a:pt x="1251" y="395"/>
                  </a:lnTo>
                  <a:lnTo>
                    <a:pt x="1251" y="396"/>
                  </a:lnTo>
                  <a:lnTo>
                    <a:pt x="1251" y="399"/>
                  </a:lnTo>
                  <a:lnTo>
                    <a:pt x="1251" y="405"/>
                  </a:lnTo>
                  <a:lnTo>
                    <a:pt x="1250" y="409"/>
                  </a:lnTo>
                  <a:lnTo>
                    <a:pt x="1248" y="416"/>
                  </a:lnTo>
                  <a:lnTo>
                    <a:pt x="1246" y="425"/>
                  </a:lnTo>
                  <a:lnTo>
                    <a:pt x="1244" y="427"/>
                  </a:lnTo>
                  <a:lnTo>
                    <a:pt x="1243" y="429"/>
                  </a:lnTo>
                  <a:lnTo>
                    <a:pt x="1240" y="431"/>
                  </a:lnTo>
                  <a:lnTo>
                    <a:pt x="1235" y="434"/>
                  </a:lnTo>
                  <a:lnTo>
                    <a:pt x="1235" y="435"/>
                  </a:lnTo>
                  <a:lnTo>
                    <a:pt x="1234" y="435"/>
                  </a:lnTo>
                  <a:lnTo>
                    <a:pt x="1234" y="437"/>
                  </a:lnTo>
                  <a:lnTo>
                    <a:pt x="1234" y="440"/>
                  </a:lnTo>
                  <a:lnTo>
                    <a:pt x="1232" y="441"/>
                  </a:lnTo>
                  <a:lnTo>
                    <a:pt x="1232" y="443"/>
                  </a:lnTo>
                  <a:lnTo>
                    <a:pt x="1231" y="443"/>
                  </a:lnTo>
                  <a:lnTo>
                    <a:pt x="1231" y="444"/>
                  </a:lnTo>
                  <a:lnTo>
                    <a:pt x="1230" y="444"/>
                  </a:lnTo>
                  <a:lnTo>
                    <a:pt x="1230" y="445"/>
                  </a:lnTo>
                  <a:lnTo>
                    <a:pt x="1230" y="448"/>
                  </a:lnTo>
                  <a:lnTo>
                    <a:pt x="1230" y="451"/>
                  </a:lnTo>
                  <a:lnTo>
                    <a:pt x="1230" y="454"/>
                  </a:lnTo>
                  <a:lnTo>
                    <a:pt x="1230" y="461"/>
                  </a:lnTo>
                  <a:lnTo>
                    <a:pt x="1231" y="464"/>
                  </a:lnTo>
                  <a:lnTo>
                    <a:pt x="1230" y="466"/>
                  </a:lnTo>
                  <a:lnTo>
                    <a:pt x="1230" y="467"/>
                  </a:lnTo>
                  <a:lnTo>
                    <a:pt x="1228" y="469"/>
                  </a:lnTo>
                  <a:lnTo>
                    <a:pt x="1228" y="470"/>
                  </a:lnTo>
                  <a:lnTo>
                    <a:pt x="1228" y="473"/>
                  </a:lnTo>
                  <a:lnTo>
                    <a:pt x="1230" y="477"/>
                  </a:lnTo>
                  <a:lnTo>
                    <a:pt x="1228" y="479"/>
                  </a:lnTo>
                  <a:lnTo>
                    <a:pt x="1228" y="480"/>
                  </a:lnTo>
                  <a:lnTo>
                    <a:pt x="1225" y="482"/>
                  </a:lnTo>
                  <a:lnTo>
                    <a:pt x="1225" y="482"/>
                  </a:lnTo>
                  <a:lnTo>
                    <a:pt x="1224" y="483"/>
                  </a:lnTo>
                  <a:lnTo>
                    <a:pt x="1224" y="486"/>
                  </a:lnTo>
                  <a:lnTo>
                    <a:pt x="1224" y="489"/>
                  </a:lnTo>
                  <a:lnTo>
                    <a:pt x="1224" y="492"/>
                  </a:lnTo>
                  <a:lnTo>
                    <a:pt x="1224" y="494"/>
                  </a:lnTo>
                  <a:lnTo>
                    <a:pt x="1224" y="495"/>
                  </a:lnTo>
                  <a:lnTo>
                    <a:pt x="1224" y="496"/>
                  </a:lnTo>
                  <a:lnTo>
                    <a:pt x="1225" y="498"/>
                  </a:lnTo>
                  <a:lnTo>
                    <a:pt x="1231" y="498"/>
                  </a:lnTo>
                  <a:lnTo>
                    <a:pt x="1247" y="494"/>
                  </a:lnTo>
                  <a:lnTo>
                    <a:pt x="1241" y="502"/>
                  </a:lnTo>
                  <a:lnTo>
                    <a:pt x="1238" y="505"/>
                  </a:lnTo>
                  <a:lnTo>
                    <a:pt x="1213" y="514"/>
                  </a:lnTo>
                  <a:lnTo>
                    <a:pt x="1211" y="515"/>
                  </a:lnTo>
                  <a:lnTo>
                    <a:pt x="1209" y="517"/>
                  </a:lnTo>
                  <a:lnTo>
                    <a:pt x="1209" y="517"/>
                  </a:lnTo>
                  <a:lnTo>
                    <a:pt x="1211" y="518"/>
                  </a:lnTo>
                  <a:lnTo>
                    <a:pt x="1212" y="520"/>
                  </a:lnTo>
                  <a:lnTo>
                    <a:pt x="1216" y="523"/>
                  </a:lnTo>
                  <a:lnTo>
                    <a:pt x="1216" y="523"/>
                  </a:lnTo>
                  <a:lnTo>
                    <a:pt x="1216" y="524"/>
                  </a:lnTo>
                  <a:lnTo>
                    <a:pt x="1216" y="524"/>
                  </a:lnTo>
                  <a:lnTo>
                    <a:pt x="1216" y="526"/>
                  </a:lnTo>
                  <a:lnTo>
                    <a:pt x="1216" y="526"/>
                  </a:lnTo>
                  <a:lnTo>
                    <a:pt x="1215" y="530"/>
                  </a:lnTo>
                  <a:lnTo>
                    <a:pt x="1215" y="531"/>
                  </a:lnTo>
                  <a:lnTo>
                    <a:pt x="1213" y="534"/>
                  </a:lnTo>
                  <a:lnTo>
                    <a:pt x="1213" y="537"/>
                  </a:lnTo>
                  <a:lnTo>
                    <a:pt x="1213" y="537"/>
                  </a:lnTo>
                  <a:lnTo>
                    <a:pt x="1213" y="539"/>
                  </a:lnTo>
                  <a:lnTo>
                    <a:pt x="1212" y="542"/>
                  </a:lnTo>
                  <a:lnTo>
                    <a:pt x="1211" y="546"/>
                  </a:lnTo>
                  <a:lnTo>
                    <a:pt x="1209" y="549"/>
                  </a:lnTo>
                  <a:lnTo>
                    <a:pt x="1206" y="550"/>
                  </a:lnTo>
                  <a:lnTo>
                    <a:pt x="1203" y="553"/>
                  </a:lnTo>
                  <a:lnTo>
                    <a:pt x="1202" y="556"/>
                  </a:lnTo>
                  <a:lnTo>
                    <a:pt x="1200" y="559"/>
                  </a:lnTo>
                  <a:lnTo>
                    <a:pt x="1199" y="563"/>
                  </a:lnTo>
                  <a:lnTo>
                    <a:pt x="1197" y="565"/>
                  </a:lnTo>
                  <a:lnTo>
                    <a:pt x="1196" y="566"/>
                  </a:lnTo>
                  <a:lnTo>
                    <a:pt x="1192" y="569"/>
                  </a:lnTo>
                  <a:lnTo>
                    <a:pt x="1187" y="572"/>
                  </a:lnTo>
                  <a:lnTo>
                    <a:pt x="1184" y="575"/>
                  </a:lnTo>
                  <a:lnTo>
                    <a:pt x="1181" y="577"/>
                  </a:lnTo>
                  <a:lnTo>
                    <a:pt x="1174" y="579"/>
                  </a:lnTo>
                  <a:lnTo>
                    <a:pt x="1173" y="582"/>
                  </a:lnTo>
                  <a:lnTo>
                    <a:pt x="1171" y="584"/>
                  </a:lnTo>
                  <a:lnTo>
                    <a:pt x="1171" y="585"/>
                  </a:lnTo>
                  <a:lnTo>
                    <a:pt x="1170" y="587"/>
                  </a:lnTo>
                  <a:lnTo>
                    <a:pt x="1170" y="588"/>
                  </a:lnTo>
                  <a:lnTo>
                    <a:pt x="1170" y="590"/>
                  </a:lnTo>
                  <a:lnTo>
                    <a:pt x="1170" y="591"/>
                  </a:lnTo>
                  <a:lnTo>
                    <a:pt x="1170" y="593"/>
                  </a:lnTo>
                  <a:lnTo>
                    <a:pt x="1170" y="594"/>
                  </a:lnTo>
                  <a:lnTo>
                    <a:pt x="1170" y="595"/>
                  </a:lnTo>
                  <a:lnTo>
                    <a:pt x="1168" y="597"/>
                  </a:lnTo>
                  <a:lnTo>
                    <a:pt x="1168" y="598"/>
                  </a:lnTo>
                  <a:lnTo>
                    <a:pt x="1167" y="600"/>
                  </a:lnTo>
                  <a:lnTo>
                    <a:pt x="1167" y="600"/>
                  </a:lnTo>
                  <a:lnTo>
                    <a:pt x="1163" y="600"/>
                  </a:lnTo>
                  <a:lnTo>
                    <a:pt x="1161" y="600"/>
                  </a:lnTo>
                  <a:lnTo>
                    <a:pt x="1148" y="610"/>
                  </a:lnTo>
                  <a:lnTo>
                    <a:pt x="1146" y="610"/>
                  </a:lnTo>
                  <a:lnTo>
                    <a:pt x="1144" y="610"/>
                  </a:lnTo>
                  <a:lnTo>
                    <a:pt x="1132" y="607"/>
                  </a:lnTo>
                  <a:lnTo>
                    <a:pt x="1125" y="603"/>
                  </a:lnTo>
                  <a:lnTo>
                    <a:pt x="1123" y="600"/>
                  </a:lnTo>
                  <a:lnTo>
                    <a:pt x="1123" y="598"/>
                  </a:lnTo>
                  <a:lnTo>
                    <a:pt x="1123" y="598"/>
                  </a:lnTo>
                  <a:lnTo>
                    <a:pt x="1123" y="593"/>
                  </a:lnTo>
                  <a:lnTo>
                    <a:pt x="1123" y="593"/>
                  </a:lnTo>
                  <a:lnTo>
                    <a:pt x="1123" y="591"/>
                  </a:lnTo>
                  <a:lnTo>
                    <a:pt x="1123" y="585"/>
                  </a:lnTo>
                  <a:lnTo>
                    <a:pt x="1120" y="582"/>
                  </a:lnTo>
                  <a:lnTo>
                    <a:pt x="1120" y="581"/>
                  </a:lnTo>
                  <a:lnTo>
                    <a:pt x="1119" y="581"/>
                  </a:lnTo>
                  <a:lnTo>
                    <a:pt x="1117" y="581"/>
                  </a:lnTo>
                  <a:lnTo>
                    <a:pt x="1116" y="581"/>
                  </a:lnTo>
                  <a:lnTo>
                    <a:pt x="1112" y="578"/>
                  </a:lnTo>
                  <a:lnTo>
                    <a:pt x="1104" y="574"/>
                  </a:lnTo>
                  <a:lnTo>
                    <a:pt x="1101" y="572"/>
                  </a:lnTo>
                  <a:lnTo>
                    <a:pt x="1098" y="571"/>
                  </a:lnTo>
                  <a:lnTo>
                    <a:pt x="1094" y="574"/>
                  </a:lnTo>
                  <a:lnTo>
                    <a:pt x="1079" y="578"/>
                  </a:lnTo>
                  <a:lnTo>
                    <a:pt x="1061" y="587"/>
                  </a:lnTo>
                  <a:lnTo>
                    <a:pt x="1059" y="588"/>
                  </a:lnTo>
                  <a:lnTo>
                    <a:pt x="1059" y="590"/>
                  </a:lnTo>
                  <a:lnTo>
                    <a:pt x="1059" y="591"/>
                  </a:lnTo>
                  <a:lnTo>
                    <a:pt x="1058" y="593"/>
                  </a:lnTo>
                  <a:lnTo>
                    <a:pt x="1058" y="594"/>
                  </a:lnTo>
                  <a:lnTo>
                    <a:pt x="1059" y="595"/>
                  </a:lnTo>
                  <a:lnTo>
                    <a:pt x="1059" y="597"/>
                  </a:lnTo>
                  <a:lnTo>
                    <a:pt x="1062" y="601"/>
                  </a:lnTo>
                  <a:lnTo>
                    <a:pt x="1062" y="601"/>
                  </a:lnTo>
                  <a:lnTo>
                    <a:pt x="1063" y="604"/>
                  </a:lnTo>
                  <a:lnTo>
                    <a:pt x="1063" y="606"/>
                  </a:lnTo>
                  <a:lnTo>
                    <a:pt x="1065" y="611"/>
                  </a:lnTo>
                  <a:lnTo>
                    <a:pt x="1065" y="613"/>
                  </a:lnTo>
                  <a:lnTo>
                    <a:pt x="1065" y="617"/>
                  </a:lnTo>
                  <a:lnTo>
                    <a:pt x="1065" y="619"/>
                  </a:lnTo>
                  <a:lnTo>
                    <a:pt x="1065" y="620"/>
                  </a:lnTo>
                  <a:lnTo>
                    <a:pt x="1065" y="620"/>
                  </a:lnTo>
                  <a:lnTo>
                    <a:pt x="1066" y="620"/>
                  </a:lnTo>
                  <a:lnTo>
                    <a:pt x="1074" y="622"/>
                  </a:lnTo>
                  <a:lnTo>
                    <a:pt x="1074" y="622"/>
                  </a:lnTo>
                  <a:lnTo>
                    <a:pt x="1075" y="623"/>
                  </a:lnTo>
                  <a:lnTo>
                    <a:pt x="1077" y="625"/>
                  </a:lnTo>
                  <a:lnTo>
                    <a:pt x="1077" y="626"/>
                  </a:lnTo>
                  <a:lnTo>
                    <a:pt x="1075" y="629"/>
                  </a:lnTo>
                  <a:lnTo>
                    <a:pt x="1074" y="633"/>
                  </a:lnTo>
                  <a:lnTo>
                    <a:pt x="1072" y="635"/>
                  </a:lnTo>
                  <a:lnTo>
                    <a:pt x="1071" y="636"/>
                  </a:lnTo>
                  <a:lnTo>
                    <a:pt x="1056" y="638"/>
                  </a:lnTo>
                  <a:lnTo>
                    <a:pt x="1053" y="639"/>
                  </a:lnTo>
                  <a:lnTo>
                    <a:pt x="1045" y="645"/>
                  </a:lnTo>
                  <a:lnTo>
                    <a:pt x="1043" y="645"/>
                  </a:lnTo>
                  <a:lnTo>
                    <a:pt x="1043" y="645"/>
                  </a:lnTo>
                  <a:lnTo>
                    <a:pt x="1042" y="645"/>
                  </a:lnTo>
                  <a:lnTo>
                    <a:pt x="1034" y="643"/>
                  </a:lnTo>
                  <a:lnTo>
                    <a:pt x="1033" y="642"/>
                  </a:lnTo>
                  <a:lnTo>
                    <a:pt x="1031" y="642"/>
                  </a:lnTo>
                  <a:lnTo>
                    <a:pt x="1028" y="642"/>
                  </a:lnTo>
                  <a:lnTo>
                    <a:pt x="1027" y="642"/>
                  </a:lnTo>
                  <a:lnTo>
                    <a:pt x="1023" y="642"/>
                  </a:lnTo>
                  <a:lnTo>
                    <a:pt x="1014" y="645"/>
                  </a:lnTo>
                  <a:lnTo>
                    <a:pt x="1007" y="646"/>
                  </a:lnTo>
                  <a:lnTo>
                    <a:pt x="1001" y="646"/>
                  </a:lnTo>
                  <a:lnTo>
                    <a:pt x="999" y="646"/>
                  </a:lnTo>
                  <a:lnTo>
                    <a:pt x="991" y="651"/>
                  </a:lnTo>
                  <a:lnTo>
                    <a:pt x="985" y="652"/>
                  </a:lnTo>
                  <a:lnTo>
                    <a:pt x="983" y="652"/>
                  </a:lnTo>
                  <a:lnTo>
                    <a:pt x="982" y="654"/>
                  </a:lnTo>
                  <a:lnTo>
                    <a:pt x="982" y="654"/>
                  </a:lnTo>
                  <a:lnTo>
                    <a:pt x="980" y="658"/>
                  </a:lnTo>
                  <a:lnTo>
                    <a:pt x="976" y="659"/>
                  </a:lnTo>
                  <a:lnTo>
                    <a:pt x="973" y="662"/>
                  </a:lnTo>
                  <a:lnTo>
                    <a:pt x="973" y="664"/>
                  </a:lnTo>
                  <a:lnTo>
                    <a:pt x="973" y="664"/>
                  </a:lnTo>
                  <a:lnTo>
                    <a:pt x="973" y="665"/>
                  </a:lnTo>
                  <a:lnTo>
                    <a:pt x="972" y="667"/>
                  </a:lnTo>
                  <a:lnTo>
                    <a:pt x="972" y="668"/>
                  </a:lnTo>
                  <a:lnTo>
                    <a:pt x="960" y="680"/>
                  </a:lnTo>
                  <a:lnTo>
                    <a:pt x="953" y="689"/>
                  </a:lnTo>
                  <a:lnTo>
                    <a:pt x="951" y="693"/>
                  </a:lnTo>
                  <a:lnTo>
                    <a:pt x="947" y="700"/>
                  </a:lnTo>
                  <a:lnTo>
                    <a:pt x="947" y="702"/>
                  </a:lnTo>
                  <a:lnTo>
                    <a:pt x="945" y="703"/>
                  </a:lnTo>
                  <a:lnTo>
                    <a:pt x="947" y="705"/>
                  </a:lnTo>
                  <a:lnTo>
                    <a:pt x="947" y="705"/>
                  </a:lnTo>
                  <a:lnTo>
                    <a:pt x="947" y="706"/>
                  </a:lnTo>
                  <a:lnTo>
                    <a:pt x="947" y="706"/>
                  </a:lnTo>
                  <a:lnTo>
                    <a:pt x="950" y="708"/>
                  </a:lnTo>
                  <a:lnTo>
                    <a:pt x="951" y="709"/>
                  </a:lnTo>
                  <a:lnTo>
                    <a:pt x="953" y="710"/>
                  </a:lnTo>
                  <a:lnTo>
                    <a:pt x="953" y="712"/>
                  </a:lnTo>
                  <a:lnTo>
                    <a:pt x="953" y="712"/>
                  </a:lnTo>
                  <a:lnTo>
                    <a:pt x="954" y="715"/>
                  </a:lnTo>
                  <a:lnTo>
                    <a:pt x="954" y="716"/>
                  </a:lnTo>
                  <a:lnTo>
                    <a:pt x="954" y="716"/>
                  </a:lnTo>
                  <a:lnTo>
                    <a:pt x="954" y="718"/>
                  </a:lnTo>
                  <a:lnTo>
                    <a:pt x="956" y="718"/>
                  </a:lnTo>
                  <a:lnTo>
                    <a:pt x="956" y="719"/>
                  </a:lnTo>
                  <a:lnTo>
                    <a:pt x="957" y="719"/>
                  </a:lnTo>
                  <a:lnTo>
                    <a:pt x="960" y="721"/>
                  </a:lnTo>
                  <a:lnTo>
                    <a:pt x="963" y="721"/>
                  </a:lnTo>
                  <a:lnTo>
                    <a:pt x="963" y="719"/>
                  </a:lnTo>
                  <a:lnTo>
                    <a:pt x="964" y="719"/>
                  </a:lnTo>
                  <a:lnTo>
                    <a:pt x="964" y="718"/>
                  </a:lnTo>
                  <a:lnTo>
                    <a:pt x="967" y="715"/>
                  </a:lnTo>
                  <a:lnTo>
                    <a:pt x="967" y="713"/>
                  </a:lnTo>
                  <a:lnTo>
                    <a:pt x="967" y="713"/>
                  </a:lnTo>
                  <a:lnTo>
                    <a:pt x="969" y="713"/>
                  </a:lnTo>
                  <a:lnTo>
                    <a:pt x="970" y="712"/>
                  </a:lnTo>
                  <a:lnTo>
                    <a:pt x="977" y="712"/>
                  </a:lnTo>
                  <a:lnTo>
                    <a:pt x="985" y="709"/>
                  </a:lnTo>
                  <a:lnTo>
                    <a:pt x="992" y="705"/>
                  </a:lnTo>
                  <a:lnTo>
                    <a:pt x="994" y="703"/>
                  </a:lnTo>
                  <a:lnTo>
                    <a:pt x="995" y="703"/>
                  </a:lnTo>
                  <a:lnTo>
                    <a:pt x="996" y="703"/>
                  </a:lnTo>
                  <a:lnTo>
                    <a:pt x="996" y="703"/>
                  </a:lnTo>
                  <a:lnTo>
                    <a:pt x="998" y="705"/>
                  </a:lnTo>
                  <a:lnTo>
                    <a:pt x="998" y="705"/>
                  </a:lnTo>
                  <a:lnTo>
                    <a:pt x="998" y="706"/>
                  </a:lnTo>
                  <a:lnTo>
                    <a:pt x="998" y="706"/>
                  </a:lnTo>
                  <a:lnTo>
                    <a:pt x="996" y="710"/>
                  </a:lnTo>
                  <a:lnTo>
                    <a:pt x="996" y="712"/>
                  </a:lnTo>
                  <a:lnTo>
                    <a:pt x="996" y="712"/>
                  </a:lnTo>
                  <a:lnTo>
                    <a:pt x="996" y="712"/>
                  </a:lnTo>
                  <a:lnTo>
                    <a:pt x="999" y="713"/>
                  </a:lnTo>
                  <a:lnTo>
                    <a:pt x="1001" y="715"/>
                  </a:lnTo>
                  <a:lnTo>
                    <a:pt x="1001" y="715"/>
                  </a:lnTo>
                  <a:lnTo>
                    <a:pt x="1002" y="722"/>
                  </a:lnTo>
                  <a:lnTo>
                    <a:pt x="1002" y="724"/>
                  </a:lnTo>
                  <a:lnTo>
                    <a:pt x="1002" y="725"/>
                  </a:lnTo>
                  <a:lnTo>
                    <a:pt x="1005" y="734"/>
                  </a:lnTo>
                  <a:lnTo>
                    <a:pt x="1005" y="737"/>
                  </a:lnTo>
                  <a:lnTo>
                    <a:pt x="1007" y="742"/>
                  </a:lnTo>
                  <a:lnTo>
                    <a:pt x="1007" y="744"/>
                  </a:lnTo>
                  <a:lnTo>
                    <a:pt x="1007" y="744"/>
                  </a:lnTo>
                  <a:lnTo>
                    <a:pt x="1007" y="747"/>
                  </a:lnTo>
                  <a:lnTo>
                    <a:pt x="1008" y="750"/>
                  </a:lnTo>
                  <a:lnTo>
                    <a:pt x="1008" y="751"/>
                  </a:lnTo>
                  <a:lnTo>
                    <a:pt x="1008" y="754"/>
                  </a:lnTo>
                  <a:lnTo>
                    <a:pt x="1007" y="756"/>
                  </a:lnTo>
                  <a:lnTo>
                    <a:pt x="1007" y="757"/>
                  </a:lnTo>
                  <a:lnTo>
                    <a:pt x="995" y="770"/>
                  </a:lnTo>
                  <a:lnTo>
                    <a:pt x="989" y="779"/>
                  </a:lnTo>
                  <a:lnTo>
                    <a:pt x="988" y="780"/>
                  </a:lnTo>
                  <a:lnTo>
                    <a:pt x="988" y="782"/>
                  </a:lnTo>
                  <a:lnTo>
                    <a:pt x="988" y="782"/>
                  </a:lnTo>
                  <a:lnTo>
                    <a:pt x="988" y="783"/>
                  </a:lnTo>
                  <a:lnTo>
                    <a:pt x="988" y="783"/>
                  </a:lnTo>
                  <a:lnTo>
                    <a:pt x="991" y="789"/>
                  </a:lnTo>
                  <a:lnTo>
                    <a:pt x="992" y="791"/>
                  </a:lnTo>
                  <a:lnTo>
                    <a:pt x="992" y="792"/>
                  </a:lnTo>
                  <a:lnTo>
                    <a:pt x="992" y="793"/>
                  </a:lnTo>
                  <a:lnTo>
                    <a:pt x="991" y="795"/>
                  </a:lnTo>
                  <a:lnTo>
                    <a:pt x="982" y="799"/>
                  </a:lnTo>
                  <a:lnTo>
                    <a:pt x="977" y="804"/>
                  </a:lnTo>
                  <a:lnTo>
                    <a:pt x="976" y="804"/>
                  </a:lnTo>
                  <a:lnTo>
                    <a:pt x="976" y="804"/>
                  </a:lnTo>
                  <a:lnTo>
                    <a:pt x="975" y="804"/>
                  </a:lnTo>
                  <a:lnTo>
                    <a:pt x="964" y="801"/>
                  </a:lnTo>
                  <a:lnTo>
                    <a:pt x="928" y="801"/>
                  </a:lnTo>
                  <a:lnTo>
                    <a:pt x="927" y="807"/>
                  </a:lnTo>
                  <a:lnTo>
                    <a:pt x="928" y="808"/>
                  </a:lnTo>
                  <a:lnTo>
                    <a:pt x="929" y="811"/>
                  </a:lnTo>
                  <a:lnTo>
                    <a:pt x="932" y="815"/>
                  </a:lnTo>
                  <a:lnTo>
                    <a:pt x="932" y="818"/>
                  </a:lnTo>
                  <a:lnTo>
                    <a:pt x="934" y="820"/>
                  </a:lnTo>
                  <a:lnTo>
                    <a:pt x="932" y="821"/>
                  </a:lnTo>
                  <a:lnTo>
                    <a:pt x="932" y="825"/>
                  </a:lnTo>
                  <a:lnTo>
                    <a:pt x="932" y="828"/>
                  </a:lnTo>
                  <a:lnTo>
                    <a:pt x="935" y="836"/>
                  </a:lnTo>
                  <a:lnTo>
                    <a:pt x="935" y="839"/>
                  </a:lnTo>
                  <a:lnTo>
                    <a:pt x="935" y="841"/>
                  </a:lnTo>
                  <a:lnTo>
                    <a:pt x="934" y="846"/>
                  </a:lnTo>
                  <a:lnTo>
                    <a:pt x="929" y="850"/>
                  </a:lnTo>
                  <a:lnTo>
                    <a:pt x="929" y="850"/>
                  </a:lnTo>
                  <a:lnTo>
                    <a:pt x="928" y="853"/>
                  </a:lnTo>
                  <a:lnTo>
                    <a:pt x="927" y="856"/>
                  </a:lnTo>
                  <a:lnTo>
                    <a:pt x="925" y="859"/>
                  </a:lnTo>
                  <a:lnTo>
                    <a:pt x="924" y="862"/>
                  </a:lnTo>
                  <a:lnTo>
                    <a:pt x="924" y="863"/>
                  </a:lnTo>
                  <a:lnTo>
                    <a:pt x="924" y="863"/>
                  </a:lnTo>
                  <a:lnTo>
                    <a:pt x="922" y="863"/>
                  </a:lnTo>
                  <a:lnTo>
                    <a:pt x="922" y="865"/>
                  </a:lnTo>
                  <a:lnTo>
                    <a:pt x="919" y="865"/>
                  </a:lnTo>
                  <a:lnTo>
                    <a:pt x="916" y="868"/>
                  </a:lnTo>
                  <a:lnTo>
                    <a:pt x="912" y="878"/>
                  </a:lnTo>
                  <a:lnTo>
                    <a:pt x="909" y="884"/>
                  </a:lnTo>
                  <a:lnTo>
                    <a:pt x="909" y="885"/>
                  </a:lnTo>
                  <a:lnTo>
                    <a:pt x="909" y="888"/>
                  </a:lnTo>
                  <a:lnTo>
                    <a:pt x="909" y="897"/>
                  </a:lnTo>
                  <a:lnTo>
                    <a:pt x="908" y="898"/>
                  </a:lnTo>
                  <a:lnTo>
                    <a:pt x="908" y="900"/>
                  </a:lnTo>
                  <a:lnTo>
                    <a:pt x="906" y="900"/>
                  </a:lnTo>
                  <a:lnTo>
                    <a:pt x="902" y="898"/>
                  </a:lnTo>
                  <a:lnTo>
                    <a:pt x="900" y="898"/>
                  </a:lnTo>
                  <a:lnTo>
                    <a:pt x="894" y="903"/>
                  </a:lnTo>
                  <a:lnTo>
                    <a:pt x="886" y="911"/>
                  </a:lnTo>
                  <a:lnTo>
                    <a:pt x="884" y="914"/>
                  </a:lnTo>
                  <a:lnTo>
                    <a:pt x="884" y="916"/>
                  </a:lnTo>
                  <a:lnTo>
                    <a:pt x="884" y="919"/>
                  </a:lnTo>
                  <a:lnTo>
                    <a:pt x="884" y="920"/>
                  </a:lnTo>
                  <a:lnTo>
                    <a:pt x="883" y="922"/>
                  </a:lnTo>
                  <a:lnTo>
                    <a:pt x="876" y="927"/>
                  </a:lnTo>
                  <a:lnTo>
                    <a:pt x="874" y="927"/>
                  </a:lnTo>
                  <a:lnTo>
                    <a:pt x="873" y="929"/>
                  </a:lnTo>
                  <a:lnTo>
                    <a:pt x="868" y="929"/>
                  </a:lnTo>
                  <a:lnTo>
                    <a:pt x="862" y="930"/>
                  </a:lnTo>
                  <a:lnTo>
                    <a:pt x="858" y="929"/>
                  </a:lnTo>
                  <a:lnTo>
                    <a:pt x="855" y="927"/>
                  </a:lnTo>
                  <a:lnTo>
                    <a:pt x="852" y="920"/>
                  </a:lnTo>
                  <a:lnTo>
                    <a:pt x="851" y="919"/>
                  </a:lnTo>
                  <a:lnTo>
                    <a:pt x="851" y="919"/>
                  </a:lnTo>
                  <a:lnTo>
                    <a:pt x="846" y="919"/>
                  </a:lnTo>
                  <a:lnTo>
                    <a:pt x="845" y="919"/>
                  </a:lnTo>
                  <a:lnTo>
                    <a:pt x="843" y="920"/>
                  </a:lnTo>
                  <a:lnTo>
                    <a:pt x="839" y="924"/>
                  </a:lnTo>
                  <a:lnTo>
                    <a:pt x="825" y="939"/>
                  </a:lnTo>
                  <a:lnTo>
                    <a:pt x="823" y="939"/>
                  </a:lnTo>
                  <a:lnTo>
                    <a:pt x="822" y="942"/>
                  </a:lnTo>
                  <a:lnTo>
                    <a:pt x="822" y="943"/>
                  </a:lnTo>
                  <a:lnTo>
                    <a:pt x="814" y="948"/>
                  </a:lnTo>
                  <a:lnTo>
                    <a:pt x="814" y="948"/>
                  </a:lnTo>
                  <a:lnTo>
                    <a:pt x="813" y="949"/>
                  </a:lnTo>
                  <a:lnTo>
                    <a:pt x="811" y="957"/>
                  </a:lnTo>
                  <a:lnTo>
                    <a:pt x="794" y="971"/>
                  </a:lnTo>
                  <a:lnTo>
                    <a:pt x="792" y="973"/>
                  </a:lnTo>
                  <a:lnTo>
                    <a:pt x="792" y="974"/>
                  </a:lnTo>
                  <a:lnTo>
                    <a:pt x="792" y="974"/>
                  </a:lnTo>
                  <a:lnTo>
                    <a:pt x="792" y="975"/>
                  </a:lnTo>
                  <a:lnTo>
                    <a:pt x="792" y="975"/>
                  </a:lnTo>
                  <a:lnTo>
                    <a:pt x="792" y="977"/>
                  </a:lnTo>
                  <a:lnTo>
                    <a:pt x="794" y="977"/>
                  </a:lnTo>
                  <a:lnTo>
                    <a:pt x="794" y="977"/>
                  </a:lnTo>
                  <a:lnTo>
                    <a:pt x="795" y="978"/>
                  </a:lnTo>
                  <a:lnTo>
                    <a:pt x="795" y="978"/>
                  </a:lnTo>
                  <a:lnTo>
                    <a:pt x="795" y="980"/>
                  </a:lnTo>
                  <a:lnTo>
                    <a:pt x="795" y="981"/>
                  </a:lnTo>
                  <a:lnTo>
                    <a:pt x="795" y="981"/>
                  </a:lnTo>
                  <a:lnTo>
                    <a:pt x="795" y="983"/>
                  </a:lnTo>
                  <a:lnTo>
                    <a:pt x="797" y="983"/>
                  </a:lnTo>
                  <a:lnTo>
                    <a:pt x="804" y="989"/>
                  </a:lnTo>
                  <a:lnTo>
                    <a:pt x="806" y="990"/>
                  </a:lnTo>
                  <a:lnTo>
                    <a:pt x="806" y="991"/>
                  </a:lnTo>
                  <a:lnTo>
                    <a:pt x="807" y="993"/>
                  </a:lnTo>
                  <a:lnTo>
                    <a:pt x="807" y="993"/>
                  </a:lnTo>
                  <a:lnTo>
                    <a:pt x="807" y="994"/>
                  </a:lnTo>
                  <a:lnTo>
                    <a:pt x="806" y="1009"/>
                  </a:lnTo>
                  <a:lnTo>
                    <a:pt x="804" y="1013"/>
                  </a:lnTo>
                  <a:lnTo>
                    <a:pt x="803" y="1015"/>
                  </a:lnTo>
                  <a:lnTo>
                    <a:pt x="803" y="1015"/>
                  </a:lnTo>
                  <a:lnTo>
                    <a:pt x="798" y="1016"/>
                  </a:lnTo>
                  <a:lnTo>
                    <a:pt x="797" y="1018"/>
                  </a:lnTo>
                  <a:lnTo>
                    <a:pt x="795" y="1019"/>
                  </a:lnTo>
                  <a:lnTo>
                    <a:pt x="792" y="1026"/>
                  </a:lnTo>
                  <a:lnTo>
                    <a:pt x="784" y="1021"/>
                  </a:lnTo>
                  <a:lnTo>
                    <a:pt x="779" y="1019"/>
                  </a:lnTo>
                  <a:lnTo>
                    <a:pt x="776" y="1019"/>
                  </a:lnTo>
                  <a:lnTo>
                    <a:pt x="769" y="1023"/>
                  </a:lnTo>
                  <a:lnTo>
                    <a:pt x="766" y="1023"/>
                  </a:lnTo>
                  <a:lnTo>
                    <a:pt x="766" y="1022"/>
                  </a:lnTo>
                  <a:lnTo>
                    <a:pt x="765" y="1018"/>
                  </a:lnTo>
                  <a:lnTo>
                    <a:pt x="765" y="1015"/>
                  </a:lnTo>
                  <a:lnTo>
                    <a:pt x="763" y="1013"/>
                  </a:lnTo>
                  <a:lnTo>
                    <a:pt x="758" y="1003"/>
                  </a:lnTo>
                  <a:lnTo>
                    <a:pt x="743" y="984"/>
                  </a:lnTo>
                  <a:lnTo>
                    <a:pt x="740" y="977"/>
                  </a:lnTo>
                  <a:lnTo>
                    <a:pt x="739" y="974"/>
                  </a:lnTo>
                  <a:lnTo>
                    <a:pt x="740" y="971"/>
                  </a:lnTo>
                  <a:lnTo>
                    <a:pt x="740" y="965"/>
                  </a:lnTo>
                  <a:lnTo>
                    <a:pt x="740" y="961"/>
                  </a:lnTo>
                  <a:lnTo>
                    <a:pt x="740" y="957"/>
                  </a:lnTo>
                  <a:lnTo>
                    <a:pt x="739" y="948"/>
                  </a:lnTo>
                  <a:lnTo>
                    <a:pt x="737" y="945"/>
                  </a:lnTo>
                  <a:lnTo>
                    <a:pt x="736" y="942"/>
                  </a:lnTo>
                  <a:lnTo>
                    <a:pt x="734" y="942"/>
                  </a:lnTo>
                  <a:lnTo>
                    <a:pt x="734" y="942"/>
                  </a:lnTo>
                  <a:lnTo>
                    <a:pt x="733" y="942"/>
                  </a:lnTo>
                  <a:lnTo>
                    <a:pt x="728" y="945"/>
                  </a:lnTo>
                  <a:lnTo>
                    <a:pt x="727" y="945"/>
                  </a:lnTo>
                  <a:lnTo>
                    <a:pt x="725" y="945"/>
                  </a:lnTo>
                  <a:lnTo>
                    <a:pt x="723" y="943"/>
                  </a:lnTo>
                  <a:lnTo>
                    <a:pt x="720" y="940"/>
                  </a:lnTo>
                  <a:lnTo>
                    <a:pt x="709" y="929"/>
                  </a:lnTo>
                  <a:lnTo>
                    <a:pt x="707" y="926"/>
                  </a:lnTo>
                  <a:lnTo>
                    <a:pt x="698" y="923"/>
                  </a:lnTo>
                  <a:lnTo>
                    <a:pt x="693" y="920"/>
                  </a:lnTo>
                  <a:lnTo>
                    <a:pt x="692" y="919"/>
                  </a:lnTo>
                  <a:lnTo>
                    <a:pt x="692" y="917"/>
                  </a:lnTo>
                  <a:lnTo>
                    <a:pt x="692" y="916"/>
                  </a:lnTo>
                  <a:lnTo>
                    <a:pt x="693" y="913"/>
                  </a:lnTo>
                  <a:lnTo>
                    <a:pt x="693" y="910"/>
                  </a:lnTo>
                  <a:lnTo>
                    <a:pt x="695" y="908"/>
                  </a:lnTo>
                  <a:lnTo>
                    <a:pt x="696" y="903"/>
                  </a:lnTo>
                  <a:lnTo>
                    <a:pt x="698" y="895"/>
                  </a:lnTo>
                  <a:lnTo>
                    <a:pt x="677" y="890"/>
                  </a:lnTo>
                  <a:lnTo>
                    <a:pt x="673" y="891"/>
                  </a:lnTo>
                  <a:lnTo>
                    <a:pt x="661" y="901"/>
                  </a:lnTo>
                  <a:lnTo>
                    <a:pt x="661" y="904"/>
                  </a:lnTo>
                  <a:lnTo>
                    <a:pt x="660" y="907"/>
                  </a:lnTo>
                  <a:lnTo>
                    <a:pt x="661" y="922"/>
                  </a:lnTo>
                  <a:lnTo>
                    <a:pt x="663" y="924"/>
                  </a:lnTo>
                  <a:lnTo>
                    <a:pt x="663" y="926"/>
                  </a:lnTo>
                  <a:lnTo>
                    <a:pt x="664" y="927"/>
                  </a:lnTo>
                  <a:lnTo>
                    <a:pt x="664" y="927"/>
                  </a:lnTo>
                  <a:lnTo>
                    <a:pt x="666" y="930"/>
                  </a:lnTo>
                  <a:lnTo>
                    <a:pt x="666" y="932"/>
                  </a:lnTo>
                  <a:lnTo>
                    <a:pt x="667" y="939"/>
                  </a:lnTo>
                  <a:lnTo>
                    <a:pt x="666" y="940"/>
                  </a:lnTo>
                  <a:lnTo>
                    <a:pt x="666" y="942"/>
                  </a:lnTo>
                  <a:lnTo>
                    <a:pt x="664" y="942"/>
                  </a:lnTo>
                  <a:lnTo>
                    <a:pt x="664" y="942"/>
                  </a:lnTo>
                  <a:lnTo>
                    <a:pt x="656" y="939"/>
                  </a:lnTo>
                  <a:lnTo>
                    <a:pt x="656" y="939"/>
                  </a:lnTo>
                  <a:lnTo>
                    <a:pt x="654" y="940"/>
                  </a:lnTo>
                  <a:lnTo>
                    <a:pt x="648" y="948"/>
                  </a:lnTo>
                  <a:lnTo>
                    <a:pt x="647" y="949"/>
                  </a:lnTo>
                  <a:lnTo>
                    <a:pt x="634" y="957"/>
                  </a:lnTo>
                  <a:lnTo>
                    <a:pt x="640" y="964"/>
                  </a:lnTo>
                  <a:lnTo>
                    <a:pt x="641" y="967"/>
                  </a:lnTo>
                  <a:lnTo>
                    <a:pt x="641" y="970"/>
                  </a:lnTo>
                  <a:lnTo>
                    <a:pt x="641" y="971"/>
                  </a:lnTo>
                  <a:lnTo>
                    <a:pt x="641" y="973"/>
                  </a:lnTo>
                  <a:lnTo>
                    <a:pt x="641" y="974"/>
                  </a:lnTo>
                  <a:lnTo>
                    <a:pt x="641" y="975"/>
                  </a:lnTo>
                  <a:lnTo>
                    <a:pt x="640" y="975"/>
                  </a:lnTo>
                  <a:lnTo>
                    <a:pt x="640" y="975"/>
                  </a:lnTo>
                  <a:lnTo>
                    <a:pt x="638" y="977"/>
                  </a:lnTo>
                  <a:lnTo>
                    <a:pt x="637" y="977"/>
                  </a:lnTo>
                  <a:lnTo>
                    <a:pt x="637" y="975"/>
                  </a:lnTo>
                  <a:lnTo>
                    <a:pt x="635" y="975"/>
                  </a:lnTo>
                  <a:lnTo>
                    <a:pt x="635" y="974"/>
                  </a:lnTo>
                  <a:lnTo>
                    <a:pt x="635" y="974"/>
                  </a:lnTo>
                  <a:lnTo>
                    <a:pt x="634" y="974"/>
                  </a:lnTo>
                  <a:lnTo>
                    <a:pt x="632" y="975"/>
                  </a:lnTo>
                  <a:lnTo>
                    <a:pt x="629" y="981"/>
                  </a:lnTo>
                  <a:lnTo>
                    <a:pt x="629" y="981"/>
                  </a:lnTo>
                  <a:lnTo>
                    <a:pt x="628" y="983"/>
                  </a:lnTo>
                  <a:lnTo>
                    <a:pt x="616" y="987"/>
                  </a:lnTo>
                  <a:lnTo>
                    <a:pt x="613" y="989"/>
                  </a:lnTo>
                  <a:lnTo>
                    <a:pt x="612" y="990"/>
                  </a:lnTo>
                  <a:lnTo>
                    <a:pt x="610" y="991"/>
                  </a:lnTo>
                  <a:lnTo>
                    <a:pt x="609" y="996"/>
                  </a:lnTo>
                  <a:lnTo>
                    <a:pt x="607" y="999"/>
                  </a:lnTo>
                  <a:lnTo>
                    <a:pt x="607" y="999"/>
                  </a:lnTo>
                  <a:lnTo>
                    <a:pt x="600" y="997"/>
                  </a:lnTo>
                  <a:lnTo>
                    <a:pt x="599" y="997"/>
                  </a:lnTo>
                  <a:lnTo>
                    <a:pt x="597" y="999"/>
                  </a:lnTo>
                  <a:lnTo>
                    <a:pt x="594" y="999"/>
                  </a:lnTo>
                  <a:lnTo>
                    <a:pt x="584" y="1006"/>
                  </a:lnTo>
                  <a:lnTo>
                    <a:pt x="555" y="1013"/>
                  </a:lnTo>
                  <a:lnTo>
                    <a:pt x="542" y="1013"/>
                  </a:lnTo>
                  <a:lnTo>
                    <a:pt x="533" y="1015"/>
                  </a:lnTo>
                  <a:lnTo>
                    <a:pt x="530" y="1018"/>
                  </a:lnTo>
                  <a:lnTo>
                    <a:pt x="530" y="1019"/>
                  </a:lnTo>
                  <a:lnTo>
                    <a:pt x="532" y="1019"/>
                  </a:lnTo>
                  <a:lnTo>
                    <a:pt x="532" y="1021"/>
                  </a:lnTo>
                  <a:lnTo>
                    <a:pt x="532" y="1022"/>
                  </a:lnTo>
                  <a:lnTo>
                    <a:pt x="532" y="1026"/>
                  </a:lnTo>
                  <a:lnTo>
                    <a:pt x="532" y="1028"/>
                  </a:lnTo>
                  <a:lnTo>
                    <a:pt x="532" y="1029"/>
                  </a:lnTo>
                  <a:lnTo>
                    <a:pt x="532" y="1032"/>
                  </a:lnTo>
                  <a:lnTo>
                    <a:pt x="532" y="1035"/>
                  </a:lnTo>
                  <a:lnTo>
                    <a:pt x="530" y="1038"/>
                  </a:lnTo>
                  <a:lnTo>
                    <a:pt x="529" y="1041"/>
                  </a:lnTo>
                  <a:lnTo>
                    <a:pt x="529" y="1042"/>
                  </a:lnTo>
                  <a:lnTo>
                    <a:pt x="529" y="1045"/>
                  </a:lnTo>
                  <a:lnTo>
                    <a:pt x="529" y="1048"/>
                  </a:lnTo>
                  <a:lnTo>
                    <a:pt x="527" y="1048"/>
                  </a:lnTo>
                  <a:lnTo>
                    <a:pt x="519" y="1056"/>
                  </a:lnTo>
                  <a:lnTo>
                    <a:pt x="517" y="1056"/>
                  </a:lnTo>
                  <a:lnTo>
                    <a:pt x="501" y="1061"/>
                  </a:lnTo>
                  <a:lnTo>
                    <a:pt x="497" y="1061"/>
                  </a:lnTo>
                  <a:lnTo>
                    <a:pt x="478" y="1060"/>
                  </a:lnTo>
                  <a:lnTo>
                    <a:pt x="476" y="1060"/>
                  </a:lnTo>
                  <a:lnTo>
                    <a:pt x="476" y="1058"/>
                  </a:lnTo>
                  <a:lnTo>
                    <a:pt x="475" y="1057"/>
                  </a:lnTo>
                  <a:lnTo>
                    <a:pt x="475" y="1056"/>
                  </a:lnTo>
                  <a:lnTo>
                    <a:pt x="475" y="1054"/>
                  </a:lnTo>
                  <a:lnTo>
                    <a:pt x="475" y="1054"/>
                  </a:lnTo>
                  <a:lnTo>
                    <a:pt x="473" y="1054"/>
                  </a:lnTo>
                  <a:lnTo>
                    <a:pt x="471" y="1053"/>
                  </a:lnTo>
                  <a:lnTo>
                    <a:pt x="469" y="1051"/>
                  </a:lnTo>
                  <a:lnTo>
                    <a:pt x="468" y="1051"/>
                  </a:lnTo>
                  <a:lnTo>
                    <a:pt x="468" y="1053"/>
                  </a:lnTo>
                  <a:lnTo>
                    <a:pt x="466" y="1054"/>
                  </a:lnTo>
                  <a:lnTo>
                    <a:pt x="466" y="1056"/>
                  </a:lnTo>
                  <a:lnTo>
                    <a:pt x="463" y="1061"/>
                  </a:lnTo>
                  <a:lnTo>
                    <a:pt x="460" y="1063"/>
                  </a:lnTo>
                  <a:lnTo>
                    <a:pt x="452" y="1072"/>
                  </a:lnTo>
                  <a:lnTo>
                    <a:pt x="449" y="1073"/>
                  </a:lnTo>
                  <a:lnTo>
                    <a:pt x="441" y="1070"/>
                  </a:lnTo>
                  <a:lnTo>
                    <a:pt x="440" y="1070"/>
                  </a:lnTo>
                  <a:lnTo>
                    <a:pt x="438" y="1070"/>
                  </a:lnTo>
                  <a:lnTo>
                    <a:pt x="438" y="1073"/>
                  </a:lnTo>
                  <a:lnTo>
                    <a:pt x="437" y="1074"/>
                  </a:lnTo>
                  <a:lnTo>
                    <a:pt x="436" y="1077"/>
                  </a:lnTo>
                  <a:lnTo>
                    <a:pt x="433" y="1079"/>
                  </a:lnTo>
                  <a:lnTo>
                    <a:pt x="431" y="1079"/>
                  </a:lnTo>
                  <a:lnTo>
                    <a:pt x="430" y="1079"/>
                  </a:lnTo>
                  <a:lnTo>
                    <a:pt x="424" y="1076"/>
                  </a:lnTo>
                  <a:lnTo>
                    <a:pt x="420" y="1076"/>
                  </a:lnTo>
                  <a:lnTo>
                    <a:pt x="417" y="1077"/>
                  </a:lnTo>
                  <a:lnTo>
                    <a:pt x="398" y="1090"/>
                  </a:lnTo>
                  <a:lnTo>
                    <a:pt x="389" y="1093"/>
                  </a:lnTo>
                  <a:lnTo>
                    <a:pt x="383" y="1095"/>
                  </a:lnTo>
                  <a:lnTo>
                    <a:pt x="379" y="1096"/>
                  </a:lnTo>
                  <a:lnTo>
                    <a:pt x="377" y="1096"/>
                  </a:lnTo>
                  <a:lnTo>
                    <a:pt x="377" y="1098"/>
                  </a:lnTo>
                  <a:lnTo>
                    <a:pt x="376" y="1098"/>
                  </a:lnTo>
                  <a:lnTo>
                    <a:pt x="376" y="1099"/>
                  </a:lnTo>
                  <a:lnTo>
                    <a:pt x="374" y="1104"/>
                  </a:lnTo>
                  <a:lnTo>
                    <a:pt x="369" y="1111"/>
                  </a:lnTo>
                  <a:lnTo>
                    <a:pt x="360" y="1112"/>
                  </a:lnTo>
                  <a:lnTo>
                    <a:pt x="360" y="1114"/>
                  </a:lnTo>
                  <a:lnTo>
                    <a:pt x="358" y="1115"/>
                  </a:lnTo>
                  <a:lnTo>
                    <a:pt x="358" y="1117"/>
                  </a:lnTo>
                  <a:lnTo>
                    <a:pt x="360" y="1120"/>
                  </a:lnTo>
                  <a:lnTo>
                    <a:pt x="360" y="1122"/>
                  </a:lnTo>
                  <a:lnTo>
                    <a:pt x="360" y="1128"/>
                  </a:lnTo>
                  <a:lnTo>
                    <a:pt x="360" y="1139"/>
                  </a:lnTo>
                  <a:lnTo>
                    <a:pt x="357" y="1144"/>
                  </a:lnTo>
                  <a:lnTo>
                    <a:pt x="354" y="1147"/>
                  </a:lnTo>
                  <a:lnTo>
                    <a:pt x="351" y="1147"/>
                  </a:lnTo>
                  <a:lnTo>
                    <a:pt x="350" y="1147"/>
                  </a:lnTo>
                  <a:lnTo>
                    <a:pt x="347" y="1147"/>
                  </a:lnTo>
                  <a:lnTo>
                    <a:pt x="345" y="1147"/>
                  </a:lnTo>
                  <a:lnTo>
                    <a:pt x="342" y="1146"/>
                  </a:lnTo>
                  <a:lnTo>
                    <a:pt x="342" y="1144"/>
                  </a:lnTo>
                  <a:lnTo>
                    <a:pt x="341" y="1143"/>
                  </a:lnTo>
                  <a:lnTo>
                    <a:pt x="339" y="1140"/>
                  </a:lnTo>
                  <a:lnTo>
                    <a:pt x="336" y="1136"/>
                  </a:lnTo>
                  <a:lnTo>
                    <a:pt x="336" y="1134"/>
                  </a:lnTo>
                  <a:lnTo>
                    <a:pt x="334" y="1134"/>
                  </a:lnTo>
                  <a:lnTo>
                    <a:pt x="320" y="1139"/>
                  </a:lnTo>
                  <a:lnTo>
                    <a:pt x="315" y="1143"/>
                  </a:lnTo>
                  <a:lnTo>
                    <a:pt x="315" y="1143"/>
                  </a:lnTo>
                  <a:lnTo>
                    <a:pt x="315" y="1144"/>
                  </a:lnTo>
                  <a:lnTo>
                    <a:pt x="316" y="1146"/>
                  </a:lnTo>
                  <a:lnTo>
                    <a:pt x="316" y="1149"/>
                  </a:lnTo>
                  <a:lnTo>
                    <a:pt x="316" y="1152"/>
                  </a:lnTo>
                  <a:lnTo>
                    <a:pt x="313" y="1156"/>
                  </a:lnTo>
                  <a:lnTo>
                    <a:pt x="313" y="1159"/>
                  </a:lnTo>
                  <a:lnTo>
                    <a:pt x="313" y="1160"/>
                  </a:lnTo>
                  <a:lnTo>
                    <a:pt x="313" y="1162"/>
                  </a:lnTo>
                  <a:lnTo>
                    <a:pt x="315" y="1162"/>
                  </a:lnTo>
                  <a:lnTo>
                    <a:pt x="319" y="1165"/>
                  </a:lnTo>
                  <a:lnTo>
                    <a:pt x="320" y="1166"/>
                  </a:lnTo>
                  <a:lnTo>
                    <a:pt x="320" y="1166"/>
                  </a:lnTo>
                  <a:lnTo>
                    <a:pt x="322" y="1168"/>
                  </a:lnTo>
                  <a:lnTo>
                    <a:pt x="322" y="1169"/>
                  </a:lnTo>
                  <a:lnTo>
                    <a:pt x="322" y="1175"/>
                  </a:lnTo>
                  <a:lnTo>
                    <a:pt x="322" y="1181"/>
                  </a:lnTo>
                  <a:lnTo>
                    <a:pt x="322" y="1185"/>
                  </a:lnTo>
                  <a:lnTo>
                    <a:pt x="323" y="1187"/>
                  </a:lnTo>
                  <a:lnTo>
                    <a:pt x="325" y="1188"/>
                  </a:lnTo>
                  <a:lnTo>
                    <a:pt x="328" y="1194"/>
                  </a:lnTo>
                  <a:lnTo>
                    <a:pt x="328" y="1195"/>
                  </a:lnTo>
                  <a:lnTo>
                    <a:pt x="329" y="1197"/>
                  </a:lnTo>
                  <a:lnTo>
                    <a:pt x="329" y="1201"/>
                  </a:lnTo>
                  <a:lnTo>
                    <a:pt x="329" y="1203"/>
                  </a:lnTo>
                  <a:lnTo>
                    <a:pt x="328" y="1204"/>
                  </a:lnTo>
                  <a:lnTo>
                    <a:pt x="328" y="1205"/>
                  </a:lnTo>
                  <a:lnTo>
                    <a:pt x="319" y="1207"/>
                  </a:lnTo>
                  <a:lnTo>
                    <a:pt x="300" y="1213"/>
                  </a:lnTo>
                  <a:lnTo>
                    <a:pt x="294" y="1211"/>
                  </a:lnTo>
                  <a:lnTo>
                    <a:pt x="290" y="1205"/>
                  </a:lnTo>
                  <a:lnTo>
                    <a:pt x="288" y="1204"/>
                  </a:lnTo>
                  <a:lnTo>
                    <a:pt x="284" y="1201"/>
                  </a:lnTo>
                  <a:lnTo>
                    <a:pt x="281" y="1201"/>
                  </a:lnTo>
                  <a:lnTo>
                    <a:pt x="280" y="1203"/>
                  </a:lnTo>
                  <a:lnTo>
                    <a:pt x="277" y="1205"/>
                  </a:lnTo>
                  <a:lnTo>
                    <a:pt x="272" y="1208"/>
                  </a:lnTo>
                  <a:lnTo>
                    <a:pt x="268" y="1208"/>
                  </a:lnTo>
                  <a:lnTo>
                    <a:pt x="267" y="1207"/>
                  </a:lnTo>
                  <a:lnTo>
                    <a:pt x="267" y="1207"/>
                  </a:lnTo>
                  <a:lnTo>
                    <a:pt x="267" y="1205"/>
                  </a:lnTo>
                  <a:lnTo>
                    <a:pt x="268" y="1203"/>
                  </a:lnTo>
                  <a:lnTo>
                    <a:pt x="268" y="1201"/>
                  </a:lnTo>
                  <a:lnTo>
                    <a:pt x="268" y="1200"/>
                  </a:lnTo>
                  <a:lnTo>
                    <a:pt x="265" y="1197"/>
                  </a:lnTo>
                  <a:lnTo>
                    <a:pt x="259" y="1194"/>
                  </a:lnTo>
                  <a:lnTo>
                    <a:pt x="256" y="1194"/>
                  </a:lnTo>
                  <a:lnTo>
                    <a:pt x="255" y="1192"/>
                  </a:lnTo>
                  <a:lnTo>
                    <a:pt x="252" y="1194"/>
                  </a:lnTo>
                  <a:lnTo>
                    <a:pt x="251" y="1195"/>
                  </a:lnTo>
                  <a:lnTo>
                    <a:pt x="236" y="1197"/>
                  </a:lnTo>
                  <a:lnTo>
                    <a:pt x="235" y="1198"/>
                  </a:lnTo>
                  <a:lnTo>
                    <a:pt x="233" y="1198"/>
                  </a:lnTo>
                  <a:lnTo>
                    <a:pt x="218" y="1210"/>
                  </a:lnTo>
                  <a:lnTo>
                    <a:pt x="213" y="1213"/>
                  </a:lnTo>
                  <a:lnTo>
                    <a:pt x="210" y="1213"/>
                  </a:lnTo>
                  <a:lnTo>
                    <a:pt x="208" y="1211"/>
                  </a:lnTo>
                  <a:lnTo>
                    <a:pt x="207" y="1205"/>
                  </a:lnTo>
                  <a:lnTo>
                    <a:pt x="207" y="1204"/>
                  </a:lnTo>
                  <a:lnTo>
                    <a:pt x="205" y="1203"/>
                  </a:lnTo>
                  <a:lnTo>
                    <a:pt x="200" y="1200"/>
                  </a:lnTo>
                  <a:lnTo>
                    <a:pt x="198" y="1198"/>
                  </a:lnTo>
                  <a:lnTo>
                    <a:pt x="197" y="1197"/>
                  </a:lnTo>
                  <a:lnTo>
                    <a:pt x="197" y="1195"/>
                  </a:lnTo>
                  <a:lnTo>
                    <a:pt x="195" y="1194"/>
                  </a:lnTo>
                  <a:lnTo>
                    <a:pt x="195" y="1192"/>
                  </a:lnTo>
                  <a:lnTo>
                    <a:pt x="192" y="1191"/>
                  </a:lnTo>
                  <a:lnTo>
                    <a:pt x="191" y="1189"/>
                  </a:lnTo>
                  <a:lnTo>
                    <a:pt x="189" y="1189"/>
                  </a:lnTo>
                  <a:lnTo>
                    <a:pt x="188" y="1191"/>
                  </a:lnTo>
                  <a:lnTo>
                    <a:pt x="188" y="1191"/>
                  </a:lnTo>
                  <a:lnTo>
                    <a:pt x="186" y="1192"/>
                  </a:lnTo>
                  <a:lnTo>
                    <a:pt x="186" y="1194"/>
                  </a:lnTo>
                  <a:lnTo>
                    <a:pt x="186" y="1195"/>
                  </a:lnTo>
                  <a:lnTo>
                    <a:pt x="198" y="1214"/>
                  </a:lnTo>
                  <a:lnTo>
                    <a:pt x="200" y="1216"/>
                  </a:lnTo>
                  <a:lnTo>
                    <a:pt x="200" y="1216"/>
                  </a:lnTo>
                  <a:lnTo>
                    <a:pt x="200" y="1217"/>
                  </a:lnTo>
                  <a:lnTo>
                    <a:pt x="200" y="1217"/>
                  </a:lnTo>
                  <a:lnTo>
                    <a:pt x="197" y="1219"/>
                  </a:lnTo>
                  <a:lnTo>
                    <a:pt x="189" y="1223"/>
                  </a:lnTo>
                  <a:lnTo>
                    <a:pt x="181" y="1223"/>
                  </a:lnTo>
                  <a:lnTo>
                    <a:pt x="181" y="1219"/>
                  </a:lnTo>
                  <a:lnTo>
                    <a:pt x="169" y="1198"/>
                  </a:lnTo>
                  <a:lnTo>
                    <a:pt x="168" y="1191"/>
                  </a:lnTo>
                  <a:lnTo>
                    <a:pt x="170" y="1184"/>
                  </a:lnTo>
                  <a:lnTo>
                    <a:pt x="173" y="1172"/>
                  </a:lnTo>
                  <a:lnTo>
                    <a:pt x="173" y="1162"/>
                  </a:lnTo>
                  <a:lnTo>
                    <a:pt x="172" y="1160"/>
                  </a:lnTo>
                  <a:lnTo>
                    <a:pt x="169" y="1160"/>
                  </a:lnTo>
                  <a:lnTo>
                    <a:pt x="166" y="1155"/>
                  </a:lnTo>
                  <a:lnTo>
                    <a:pt x="165" y="1150"/>
                  </a:lnTo>
                  <a:lnTo>
                    <a:pt x="163" y="1144"/>
                  </a:lnTo>
                  <a:lnTo>
                    <a:pt x="165" y="1140"/>
                  </a:lnTo>
                  <a:lnTo>
                    <a:pt x="165" y="1140"/>
                  </a:lnTo>
                  <a:lnTo>
                    <a:pt x="168" y="1137"/>
                  </a:lnTo>
                  <a:lnTo>
                    <a:pt x="168" y="1137"/>
                  </a:lnTo>
                  <a:lnTo>
                    <a:pt x="162" y="1136"/>
                  </a:lnTo>
                  <a:lnTo>
                    <a:pt x="147" y="1133"/>
                  </a:lnTo>
                  <a:lnTo>
                    <a:pt x="141" y="1130"/>
                  </a:lnTo>
                  <a:lnTo>
                    <a:pt x="140" y="1130"/>
                  </a:lnTo>
                  <a:lnTo>
                    <a:pt x="140" y="1130"/>
                  </a:lnTo>
                  <a:lnTo>
                    <a:pt x="138" y="1130"/>
                  </a:lnTo>
                  <a:lnTo>
                    <a:pt x="138" y="1130"/>
                  </a:lnTo>
                  <a:lnTo>
                    <a:pt x="127" y="1134"/>
                  </a:lnTo>
                  <a:lnTo>
                    <a:pt x="122" y="1134"/>
                  </a:lnTo>
                  <a:lnTo>
                    <a:pt x="119" y="1131"/>
                  </a:lnTo>
                  <a:lnTo>
                    <a:pt x="117" y="1125"/>
                  </a:lnTo>
                  <a:lnTo>
                    <a:pt x="115" y="1122"/>
                  </a:lnTo>
                  <a:lnTo>
                    <a:pt x="117" y="1118"/>
                  </a:lnTo>
                  <a:lnTo>
                    <a:pt x="114" y="1118"/>
                  </a:lnTo>
                  <a:lnTo>
                    <a:pt x="111" y="1117"/>
                  </a:lnTo>
                  <a:lnTo>
                    <a:pt x="109" y="1114"/>
                  </a:lnTo>
                  <a:lnTo>
                    <a:pt x="109" y="1114"/>
                  </a:lnTo>
                  <a:lnTo>
                    <a:pt x="112" y="1109"/>
                  </a:lnTo>
                  <a:lnTo>
                    <a:pt x="112" y="1109"/>
                  </a:lnTo>
                  <a:lnTo>
                    <a:pt x="106" y="1102"/>
                  </a:lnTo>
                  <a:lnTo>
                    <a:pt x="106" y="1102"/>
                  </a:lnTo>
                  <a:lnTo>
                    <a:pt x="106" y="1102"/>
                  </a:lnTo>
                  <a:lnTo>
                    <a:pt x="114" y="1092"/>
                  </a:lnTo>
                  <a:lnTo>
                    <a:pt x="114" y="1092"/>
                  </a:lnTo>
                  <a:lnTo>
                    <a:pt x="124" y="1083"/>
                  </a:lnTo>
                  <a:lnTo>
                    <a:pt x="131" y="1079"/>
                  </a:lnTo>
                  <a:lnTo>
                    <a:pt x="131" y="1079"/>
                  </a:lnTo>
                  <a:lnTo>
                    <a:pt x="131" y="1077"/>
                  </a:lnTo>
                  <a:lnTo>
                    <a:pt x="131" y="1077"/>
                  </a:lnTo>
                  <a:lnTo>
                    <a:pt x="135" y="1072"/>
                  </a:lnTo>
                  <a:lnTo>
                    <a:pt x="135" y="1072"/>
                  </a:lnTo>
                  <a:lnTo>
                    <a:pt x="138" y="1067"/>
                  </a:lnTo>
                  <a:lnTo>
                    <a:pt x="137" y="1064"/>
                  </a:lnTo>
                  <a:lnTo>
                    <a:pt x="114" y="1063"/>
                  </a:lnTo>
                  <a:lnTo>
                    <a:pt x="106" y="1060"/>
                  </a:lnTo>
                  <a:lnTo>
                    <a:pt x="102" y="1051"/>
                  </a:lnTo>
                  <a:lnTo>
                    <a:pt x="102" y="1051"/>
                  </a:lnTo>
                  <a:lnTo>
                    <a:pt x="106" y="1048"/>
                  </a:lnTo>
                  <a:lnTo>
                    <a:pt x="106" y="1048"/>
                  </a:lnTo>
                  <a:lnTo>
                    <a:pt x="86" y="1016"/>
                  </a:lnTo>
                  <a:lnTo>
                    <a:pt x="79" y="1009"/>
                  </a:lnTo>
                  <a:lnTo>
                    <a:pt x="73" y="1009"/>
                  </a:lnTo>
                  <a:lnTo>
                    <a:pt x="60" y="1013"/>
                  </a:lnTo>
                  <a:lnTo>
                    <a:pt x="55" y="1012"/>
                  </a:lnTo>
                  <a:lnTo>
                    <a:pt x="54" y="1007"/>
                  </a:lnTo>
                  <a:lnTo>
                    <a:pt x="55" y="1002"/>
                  </a:lnTo>
                  <a:lnTo>
                    <a:pt x="54" y="997"/>
                  </a:lnTo>
                  <a:lnTo>
                    <a:pt x="50" y="994"/>
                  </a:lnTo>
                  <a:lnTo>
                    <a:pt x="48" y="993"/>
                  </a:lnTo>
                  <a:lnTo>
                    <a:pt x="48" y="991"/>
                  </a:lnTo>
                  <a:lnTo>
                    <a:pt x="48" y="990"/>
                  </a:lnTo>
                  <a:lnTo>
                    <a:pt x="48" y="990"/>
                  </a:lnTo>
                  <a:lnTo>
                    <a:pt x="48" y="990"/>
                  </a:lnTo>
                  <a:lnTo>
                    <a:pt x="50" y="990"/>
                  </a:lnTo>
                  <a:lnTo>
                    <a:pt x="50" y="990"/>
                  </a:lnTo>
                  <a:lnTo>
                    <a:pt x="50" y="983"/>
                  </a:lnTo>
                  <a:lnTo>
                    <a:pt x="50" y="983"/>
                  </a:lnTo>
                  <a:lnTo>
                    <a:pt x="48" y="980"/>
                  </a:lnTo>
                  <a:lnTo>
                    <a:pt x="44" y="977"/>
                  </a:lnTo>
                  <a:lnTo>
                    <a:pt x="42" y="973"/>
                  </a:lnTo>
                  <a:lnTo>
                    <a:pt x="41" y="965"/>
                  </a:lnTo>
                  <a:lnTo>
                    <a:pt x="41" y="965"/>
                  </a:lnTo>
                  <a:lnTo>
                    <a:pt x="45" y="967"/>
                  </a:lnTo>
                  <a:lnTo>
                    <a:pt x="51" y="962"/>
                  </a:lnTo>
                  <a:lnTo>
                    <a:pt x="52" y="955"/>
                  </a:lnTo>
                  <a:lnTo>
                    <a:pt x="52" y="955"/>
                  </a:lnTo>
                  <a:lnTo>
                    <a:pt x="51" y="951"/>
                  </a:lnTo>
                  <a:lnTo>
                    <a:pt x="51" y="945"/>
                  </a:lnTo>
                  <a:lnTo>
                    <a:pt x="51" y="945"/>
                  </a:lnTo>
                  <a:lnTo>
                    <a:pt x="54" y="940"/>
                  </a:lnTo>
                  <a:lnTo>
                    <a:pt x="58" y="938"/>
                  </a:lnTo>
                  <a:lnTo>
                    <a:pt x="67" y="938"/>
                  </a:lnTo>
                  <a:lnTo>
                    <a:pt x="70" y="933"/>
                  </a:lnTo>
                  <a:lnTo>
                    <a:pt x="73" y="927"/>
                  </a:lnTo>
                  <a:lnTo>
                    <a:pt x="73" y="923"/>
                  </a:lnTo>
                  <a:lnTo>
                    <a:pt x="73" y="923"/>
                  </a:lnTo>
                  <a:lnTo>
                    <a:pt x="70" y="911"/>
                  </a:lnTo>
                  <a:lnTo>
                    <a:pt x="70" y="911"/>
                  </a:lnTo>
                  <a:lnTo>
                    <a:pt x="70" y="908"/>
                  </a:lnTo>
                  <a:lnTo>
                    <a:pt x="73" y="906"/>
                  </a:lnTo>
                  <a:lnTo>
                    <a:pt x="73" y="903"/>
                  </a:lnTo>
                  <a:lnTo>
                    <a:pt x="73" y="903"/>
                  </a:lnTo>
                  <a:lnTo>
                    <a:pt x="61" y="900"/>
                  </a:lnTo>
                  <a:lnTo>
                    <a:pt x="54" y="894"/>
                  </a:lnTo>
                  <a:lnTo>
                    <a:pt x="51" y="891"/>
                  </a:lnTo>
                  <a:lnTo>
                    <a:pt x="50" y="887"/>
                  </a:lnTo>
                  <a:lnTo>
                    <a:pt x="50" y="879"/>
                  </a:lnTo>
                  <a:lnTo>
                    <a:pt x="50" y="879"/>
                  </a:lnTo>
                  <a:lnTo>
                    <a:pt x="51" y="875"/>
                  </a:lnTo>
                  <a:lnTo>
                    <a:pt x="52" y="869"/>
                  </a:lnTo>
                  <a:lnTo>
                    <a:pt x="52" y="869"/>
                  </a:lnTo>
                  <a:lnTo>
                    <a:pt x="52" y="866"/>
                  </a:lnTo>
                  <a:lnTo>
                    <a:pt x="39" y="868"/>
                  </a:lnTo>
                  <a:lnTo>
                    <a:pt x="31" y="865"/>
                  </a:lnTo>
                  <a:lnTo>
                    <a:pt x="26" y="865"/>
                  </a:lnTo>
                  <a:lnTo>
                    <a:pt x="20" y="866"/>
                  </a:lnTo>
                  <a:lnTo>
                    <a:pt x="12" y="871"/>
                  </a:lnTo>
                  <a:lnTo>
                    <a:pt x="7" y="872"/>
                  </a:lnTo>
                  <a:lnTo>
                    <a:pt x="7" y="858"/>
                  </a:lnTo>
                  <a:lnTo>
                    <a:pt x="1" y="841"/>
                  </a:lnTo>
                  <a:lnTo>
                    <a:pt x="0" y="828"/>
                  </a:lnTo>
                  <a:lnTo>
                    <a:pt x="0" y="828"/>
                  </a:lnTo>
                  <a:lnTo>
                    <a:pt x="9" y="824"/>
                  </a:lnTo>
                  <a:lnTo>
                    <a:pt x="15" y="827"/>
                  </a:lnTo>
                  <a:lnTo>
                    <a:pt x="19" y="831"/>
                  </a:lnTo>
                  <a:lnTo>
                    <a:pt x="23" y="836"/>
                  </a:lnTo>
                  <a:lnTo>
                    <a:pt x="29" y="836"/>
                  </a:lnTo>
                  <a:lnTo>
                    <a:pt x="33" y="831"/>
                  </a:lnTo>
                  <a:lnTo>
                    <a:pt x="41" y="817"/>
                  </a:lnTo>
                  <a:lnTo>
                    <a:pt x="45" y="811"/>
                  </a:lnTo>
                  <a:lnTo>
                    <a:pt x="77" y="786"/>
                  </a:lnTo>
                  <a:lnTo>
                    <a:pt x="98" y="776"/>
                  </a:lnTo>
                  <a:lnTo>
                    <a:pt x="102" y="769"/>
                  </a:lnTo>
                  <a:lnTo>
                    <a:pt x="102" y="769"/>
                  </a:lnTo>
                  <a:lnTo>
                    <a:pt x="95" y="761"/>
                  </a:lnTo>
                  <a:lnTo>
                    <a:pt x="95" y="761"/>
                  </a:lnTo>
                  <a:lnTo>
                    <a:pt x="103" y="756"/>
                  </a:lnTo>
                  <a:lnTo>
                    <a:pt x="105" y="754"/>
                  </a:lnTo>
                  <a:lnTo>
                    <a:pt x="105" y="754"/>
                  </a:lnTo>
                  <a:lnTo>
                    <a:pt x="98" y="751"/>
                  </a:lnTo>
                  <a:lnTo>
                    <a:pt x="80" y="763"/>
                  </a:lnTo>
                  <a:lnTo>
                    <a:pt x="71" y="758"/>
                  </a:lnTo>
                  <a:lnTo>
                    <a:pt x="70" y="748"/>
                  </a:lnTo>
                  <a:lnTo>
                    <a:pt x="70" y="748"/>
                  </a:lnTo>
                  <a:lnTo>
                    <a:pt x="70" y="735"/>
                  </a:lnTo>
                  <a:lnTo>
                    <a:pt x="74" y="725"/>
                  </a:lnTo>
                  <a:lnTo>
                    <a:pt x="77" y="719"/>
                  </a:lnTo>
                  <a:lnTo>
                    <a:pt x="84" y="709"/>
                  </a:lnTo>
                  <a:lnTo>
                    <a:pt x="102" y="677"/>
                  </a:lnTo>
                  <a:lnTo>
                    <a:pt x="106" y="673"/>
                  </a:lnTo>
                  <a:lnTo>
                    <a:pt x="115" y="667"/>
                  </a:lnTo>
                  <a:lnTo>
                    <a:pt x="118" y="662"/>
                  </a:lnTo>
                  <a:lnTo>
                    <a:pt x="119" y="655"/>
                  </a:lnTo>
                  <a:lnTo>
                    <a:pt x="121" y="643"/>
                  </a:lnTo>
                  <a:lnTo>
                    <a:pt x="124" y="638"/>
                  </a:lnTo>
                  <a:lnTo>
                    <a:pt x="124" y="638"/>
                  </a:lnTo>
                  <a:lnTo>
                    <a:pt x="118" y="632"/>
                  </a:lnTo>
                  <a:lnTo>
                    <a:pt x="118" y="632"/>
                  </a:lnTo>
                  <a:lnTo>
                    <a:pt x="118" y="622"/>
                  </a:lnTo>
                  <a:lnTo>
                    <a:pt x="121" y="610"/>
                  </a:lnTo>
                  <a:lnTo>
                    <a:pt x="122" y="598"/>
                  </a:lnTo>
                  <a:lnTo>
                    <a:pt x="122" y="598"/>
                  </a:lnTo>
                  <a:lnTo>
                    <a:pt x="121" y="588"/>
                  </a:lnTo>
                  <a:lnTo>
                    <a:pt x="118" y="571"/>
                  </a:lnTo>
                  <a:lnTo>
                    <a:pt x="103" y="555"/>
                  </a:lnTo>
                  <a:lnTo>
                    <a:pt x="82" y="523"/>
                  </a:lnTo>
                  <a:lnTo>
                    <a:pt x="80" y="515"/>
                  </a:lnTo>
                  <a:lnTo>
                    <a:pt x="80" y="515"/>
                  </a:lnTo>
                  <a:lnTo>
                    <a:pt x="82" y="508"/>
                  </a:lnTo>
                  <a:lnTo>
                    <a:pt x="86" y="495"/>
                  </a:lnTo>
                  <a:lnTo>
                    <a:pt x="86" y="495"/>
                  </a:lnTo>
                  <a:lnTo>
                    <a:pt x="61" y="485"/>
                  </a:lnTo>
                  <a:lnTo>
                    <a:pt x="54" y="475"/>
                  </a:lnTo>
                  <a:lnTo>
                    <a:pt x="58" y="459"/>
                  </a:lnTo>
                  <a:lnTo>
                    <a:pt x="58" y="459"/>
                  </a:lnTo>
                  <a:lnTo>
                    <a:pt x="55" y="456"/>
                  </a:lnTo>
                  <a:lnTo>
                    <a:pt x="47" y="450"/>
                  </a:lnTo>
                  <a:lnTo>
                    <a:pt x="44" y="447"/>
                  </a:lnTo>
                  <a:lnTo>
                    <a:pt x="33" y="448"/>
                  </a:lnTo>
                  <a:lnTo>
                    <a:pt x="29" y="447"/>
                  </a:lnTo>
                  <a:lnTo>
                    <a:pt x="29" y="447"/>
                  </a:lnTo>
                  <a:lnTo>
                    <a:pt x="31" y="440"/>
                  </a:lnTo>
                  <a:lnTo>
                    <a:pt x="32" y="438"/>
                  </a:lnTo>
                  <a:lnTo>
                    <a:pt x="38" y="432"/>
                  </a:lnTo>
                  <a:lnTo>
                    <a:pt x="38" y="421"/>
                  </a:lnTo>
                  <a:lnTo>
                    <a:pt x="38" y="421"/>
                  </a:lnTo>
                  <a:lnTo>
                    <a:pt x="33" y="411"/>
                  </a:lnTo>
                  <a:lnTo>
                    <a:pt x="26" y="405"/>
                  </a:lnTo>
                  <a:lnTo>
                    <a:pt x="26" y="405"/>
                  </a:lnTo>
                  <a:lnTo>
                    <a:pt x="28" y="399"/>
                  </a:lnTo>
                  <a:lnTo>
                    <a:pt x="33" y="396"/>
                  </a:lnTo>
                  <a:lnTo>
                    <a:pt x="47" y="393"/>
                  </a:lnTo>
                  <a:lnTo>
                    <a:pt x="54" y="390"/>
                  </a:lnTo>
                  <a:lnTo>
                    <a:pt x="61" y="384"/>
                  </a:lnTo>
                  <a:lnTo>
                    <a:pt x="66" y="381"/>
                  </a:lnTo>
                  <a:lnTo>
                    <a:pt x="80" y="378"/>
                  </a:lnTo>
                  <a:lnTo>
                    <a:pt x="92" y="381"/>
                  </a:lnTo>
                  <a:lnTo>
                    <a:pt x="99" y="383"/>
                  </a:lnTo>
                  <a:lnTo>
                    <a:pt x="105" y="384"/>
                  </a:lnTo>
                  <a:lnTo>
                    <a:pt x="105" y="384"/>
                  </a:lnTo>
                  <a:lnTo>
                    <a:pt x="100" y="377"/>
                  </a:lnTo>
                  <a:lnTo>
                    <a:pt x="87" y="364"/>
                  </a:lnTo>
                  <a:lnTo>
                    <a:pt x="83" y="361"/>
                  </a:lnTo>
                  <a:lnTo>
                    <a:pt x="83" y="361"/>
                  </a:lnTo>
                  <a:lnTo>
                    <a:pt x="95" y="354"/>
                  </a:lnTo>
                  <a:lnTo>
                    <a:pt x="106" y="360"/>
                  </a:lnTo>
                  <a:lnTo>
                    <a:pt x="118" y="368"/>
                  </a:lnTo>
                  <a:lnTo>
                    <a:pt x="130" y="373"/>
                  </a:lnTo>
                  <a:lnTo>
                    <a:pt x="140" y="371"/>
                  </a:lnTo>
                  <a:lnTo>
                    <a:pt x="143" y="371"/>
                  </a:lnTo>
                  <a:lnTo>
                    <a:pt x="146" y="374"/>
                  </a:lnTo>
                  <a:lnTo>
                    <a:pt x="149" y="380"/>
                  </a:lnTo>
                  <a:lnTo>
                    <a:pt x="150" y="383"/>
                  </a:lnTo>
                  <a:lnTo>
                    <a:pt x="165" y="384"/>
                  </a:lnTo>
                  <a:lnTo>
                    <a:pt x="170" y="387"/>
                  </a:lnTo>
                  <a:lnTo>
                    <a:pt x="170" y="396"/>
                  </a:lnTo>
                  <a:lnTo>
                    <a:pt x="184" y="393"/>
                  </a:lnTo>
                  <a:lnTo>
                    <a:pt x="185" y="387"/>
                  </a:lnTo>
                  <a:lnTo>
                    <a:pt x="185" y="387"/>
                  </a:lnTo>
                  <a:lnTo>
                    <a:pt x="182" y="374"/>
                  </a:lnTo>
                  <a:lnTo>
                    <a:pt x="182" y="374"/>
                  </a:lnTo>
                  <a:lnTo>
                    <a:pt x="205" y="381"/>
                  </a:lnTo>
                  <a:lnTo>
                    <a:pt x="211" y="381"/>
                  </a:lnTo>
                  <a:lnTo>
                    <a:pt x="217" y="378"/>
                  </a:lnTo>
                  <a:lnTo>
                    <a:pt x="235" y="365"/>
                  </a:lnTo>
                  <a:lnTo>
                    <a:pt x="269" y="354"/>
                  </a:lnTo>
                  <a:lnTo>
                    <a:pt x="300" y="352"/>
                  </a:lnTo>
                  <a:lnTo>
                    <a:pt x="309" y="348"/>
                  </a:lnTo>
                  <a:lnTo>
                    <a:pt x="318" y="338"/>
                  </a:lnTo>
                  <a:lnTo>
                    <a:pt x="325" y="323"/>
                  </a:lnTo>
                  <a:lnTo>
                    <a:pt x="328" y="320"/>
                  </a:lnTo>
                  <a:lnTo>
                    <a:pt x="331" y="320"/>
                  </a:lnTo>
                  <a:lnTo>
                    <a:pt x="332" y="317"/>
                  </a:lnTo>
                  <a:lnTo>
                    <a:pt x="334" y="312"/>
                  </a:lnTo>
                  <a:lnTo>
                    <a:pt x="334" y="312"/>
                  </a:lnTo>
                  <a:lnTo>
                    <a:pt x="332" y="307"/>
                  </a:lnTo>
                  <a:lnTo>
                    <a:pt x="331" y="304"/>
                  </a:lnTo>
                  <a:lnTo>
                    <a:pt x="322" y="295"/>
                  </a:lnTo>
                  <a:lnTo>
                    <a:pt x="299" y="282"/>
                  </a:lnTo>
                  <a:lnTo>
                    <a:pt x="291" y="279"/>
                  </a:lnTo>
                  <a:lnTo>
                    <a:pt x="286" y="277"/>
                  </a:lnTo>
                  <a:lnTo>
                    <a:pt x="284" y="268"/>
                  </a:lnTo>
                  <a:lnTo>
                    <a:pt x="284" y="268"/>
                  </a:lnTo>
                  <a:lnTo>
                    <a:pt x="287" y="262"/>
                  </a:lnTo>
                  <a:lnTo>
                    <a:pt x="290" y="261"/>
                  </a:lnTo>
                  <a:lnTo>
                    <a:pt x="294" y="261"/>
                  </a:lnTo>
                  <a:lnTo>
                    <a:pt x="299" y="258"/>
                  </a:lnTo>
                  <a:lnTo>
                    <a:pt x="302" y="255"/>
                  </a:lnTo>
                  <a:lnTo>
                    <a:pt x="304" y="247"/>
                  </a:lnTo>
                  <a:lnTo>
                    <a:pt x="306" y="245"/>
                  </a:lnTo>
                  <a:lnTo>
                    <a:pt x="312" y="237"/>
                  </a:lnTo>
                  <a:lnTo>
                    <a:pt x="318" y="234"/>
                  </a:lnTo>
                  <a:lnTo>
                    <a:pt x="319" y="234"/>
                  </a:lnTo>
                  <a:lnTo>
                    <a:pt x="339" y="233"/>
                  </a:lnTo>
                  <a:lnTo>
                    <a:pt x="344" y="229"/>
                  </a:lnTo>
                  <a:lnTo>
                    <a:pt x="351" y="213"/>
                  </a:lnTo>
                  <a:lnTo>
                    <a:pt x="358" y="205"/>
                  </a:lnTo>
                  <a:lnTo>
                    <a:pt x="373" y="199"/>
                  </a:lnTo>
                  <a:lnTo>
                    <a:pt x="380" y="192"/>
                  </a:lnTo>
                  <a:lnTo>
                    <a:pt x="389" y="179"/>
                  </a:lnTo>
                  <a:lnTo>
                    <a:pt x="392" y="175"/>
                  </a:lnTo>
                  <a:lnTo>
                    <a:pt x="408" y="166"/>
                  </a:lnTo>
                  <a:lnTo>
                    <a:pt x="408" y="163"/>
                  </a:lnTo>
                  <a:lnTo>
                    <a:pt x="408" y="162"/>
                  </a:lnTo>
                  <a:lnTo>
                    <a:pt x="417" y="162"/>
                  </a:lnTo>
                  <a:lnTo>
                    <a:pt x="431" y="156"/>
                  </a:lnTo>
                  <a:lnTo>
                    <a:pt x="436" y="153"/>
                  </a:lnTo>
                  <a:lnTo>
                    <a:pt x="438" y="150"/>
                  </a:lnTo>
                  <a:lnTo>
                    <a:pt x="441" y="148"/>
                  </a:lnTo>
                  <a:lnTo>
                    <a:pt x="488" y="146"/>
                  </a:lnTo>
                  <a:lnTo>
                    <a:pt x="503" y="143"/>
                  </a:lnTo>
                  <a:lnTo>
                    <a:pt x="520" y="131"/>
                  </a:lnTo>
                  <a:lnTo>
                    <a:pt x="524" y="127"/>
                  </a:lnTo>
                  <a:lnTo>
                    <a:pt x="526" y="125"/>
                  </a:lnTo>
                  <a:lnTo>
                    <a:pt x="527" y="125"/>
                  </a:lnTo>
                  <a:lnTo>
                    <a:pt x="538" y="122"/>
                  </a:lnTo>
                  <a:lnTo>
                    <a:pt x="540" y="121"/>
                  </a:lnTo>
                  <a:lnTo>
                    <a:pt x="543" y="119"/>
                  </a:lnTo>
                  <a:lnTo>
                    <a:pt x="561" y="100"/>
                  </a:lnTo>
                  <a:lnTo>
                    <a:pt x="577" y="87"/>
                  </a:lnTo>
                  <a:lnTo>
                    <a:pt x="578" y="86"/>
                  </a:lnTo>
                  <a:lnTo>
                    <a:pt x="584" y="84"/>
                  </a:lnTo>
                  <a:lnTo>
                    <a:pt x="586" y="84"/>
                  </a:lnTo>
                  <a:lnTo>
                    <a:pt x="593" y="86"/>
                  </a:lnTo>
                  <a:lnTo>
                    <a:pt x="593" y="86"/>
                  </a:lnTo>
                  <a:lnTo>
                    <a:pt x="594" y="86"/>
                  </a:lnTo>
                  <a:lnTo>
                    <a:pt x="596" y="84"/>
                  </a:lnTo>
                  <a:lnTo>
                    <a:pt x="597" y="81"/>
                  </a:lnTo>
                  <a:lnTo>
                    <a:pt x="597" y="80"/>
                  </a:lnTo>
                  <a:lnTo>
                    <a:pt x="599" y="80"/>
                  </a:lnTo>
                  <a:lnTo>
                    <a:pt x="599" y="80"/>
                  </a:lnTo>
                  <a:lnTo>
                    <a:pt x="600" y="76"/>
                  </a:lnTo>
                  <a:lnTo>
                    <a:pt x="603" y="67"/>
                  </a:lnTo>
                  <a:lnTo>
                    <a:pt x="603" y="64"/>
                  </a:lnTo>
                  <a:lnTo>
                    <a:pt x="606" y="63"/>
                  </a:lnTo>
                  <a:lnTo>
                    <a:pt x="607" y="61"/>
                  </a:lnTo>
                  <a:lnTo>
                    <a:pt x="607" y="60"/>
                  </a:lnTo>
                  <a:lnTo>
                    <a:pt x="607" y="58"/>
                  </a:lnTo>
                  <a:lnTo>
                    <a:pt x="605" y="55"/>
                  </a:lnTo>
                  <a:lnTo>
                    <a:pt x="602" y="54"/>
                  </a:lnTo>
                  <a:lnTo>
                    <a:pt x="602" y="51"/>
                  </a:lnTo>
                  <a:lnTo>
                    <a:pt x="600" y="49"/>
                  </a:lnTo>
                  <a:lnTo>
                    <a:pt x="605" y="31"/>
                  </a:lnTo>
                  <a:lnTo>
                    <a:pt x="606" y="29"/>
                  </a:lnTo>
                  <a:lnTo>
                    <a:pt x="607" y="28"/>
                  </a:lnTo>
                  <a:lnTo>
                    <a:pt x="609" y="28"/>
                  </a:lnTo>
                  <a:lnTo>
                    <a:pt x="610" y="28"/>
                  </a:lnTo>
                  <a:lnTo>
                    <a:pt x="635" y="35"/>
                  </a:lnTo>
                  <a:lnTo>
                    <a:pt x="637" y="36"/>
                  </a:lnTo>
                  <a:lnTo>
                    <a:pt x="638" y="38"/>
                  </a:lnTo>
                  <a:lnTo>
                    <a:pt x="640" y="39"/>
                  </a:lnTo>
                  <a:lnTo>
                    <a:pt x="640" y="42"/>
                  </a:lnTo>
                  <a:lnTo>
                    <a:pt x="642" y="63"/>
                  </a:lnTo>
                  <a:lnTo>
                    <a:pt x="644" y="64"/>
                  </a:lnTo>
                  <a:lnTo>
                    <a:pt x="645" y="65"/>
                  </a:lnTo>
                  <a:lnTo>
                    <a:pt x="654" y="68"/>
                  </a:lnTo>
                  <a:lnTo>
                    <a:pt x="677" y="84"/>
                  </a:lnTo>
                  <a:lnTo>
                    <a:pt x="679" y="84"/>
                  </a:lnTo>
                  <a:lnTo>
                    <a:pt x="682" y="90"/>
                  </a:lnTo>
                  <a:lnTo>
                    <a:pt x="685" y="90"/>
                  </a:lnTo>
                  <a:lnTo>
                    <a:pt x="686" y="92"/>
                  </a:lnTo>
                  <a:lnTo>
                    <a:pt x="709" y="81"/>
                  </a:lnTo>
                  <a:lnTo>
                    <a:pt x="711" y="83"/>
                  </a:lnTo>
                  <a:lnTo>
                    <a:pt x="714" y="83"/>
                  </a:lnTo>
                  <a:lnTo>
                    <a:pt x="715" y="86"/>
                  </a:lnTo>
                  <a:lnTo>
                    <a:pt x="718" y="90"/>
                  </a:lnTo>
                  <a:lnTo>
                    <a:pt x="721" y="93"/>
                  </a:lnTo>
                  <a:lnTo>
                    <a:pt x="725" y="100"/>
                  </a:lnTo>
                  <a:lnTo>
                    <a:pt x="733" y="112"/>
                  </a:lnTo>
                  <a:lnTo>
                    <a:pt x="736" y="116"/>
                  </a:lnTo>
                  <a:lnTo>
                    <a:pt x="737" y="118"/>
                  </a:lnTo>
                  <a:lnTo>
                    <a:pt x="737" y="119"/>
                  </a:lnTo>
                  <a:lnTo>
                    <a:pt x="736" y="121"/>
                  </a:lnTo>
                  <a:lnTo>
                    <a:pt x="734" y="122"/>
                  </a:lnTo>
                  <a:lnTo>
                    <a:pt x="724" y="124"/>
                  </a:lnTo>
                  <a:lnTo>
                    <a:pt x="723" y="124"/>
                  </a:lnTo>
                  <a:lnTo>
                    <a:pt x="721" y="125"/>
                  </a:lnTo>
                  <a:lnTo>
                    <a:pt x="721" y="127"/>
                  </a:lnTo>
                  <a:lnTo>
                    <a:pt x="723" y="130"/>
                  </a:lnTo>
                  <a:lnTo>
                    <a:pt x="723" y="132"/>
                  </a:lnTo>
                  <a:lnTo>
                    <a:pt x="724" y="134"/>
                  </a:lnTo>
                  <a:lnTo>
                    <a:pt x="725" y="137"/>
                  </a:lnTo>
                  <a:lnTo>
                    <a:pt x="727" y="140"/>
                  </a:lnTo>
                  <a:lnTo>
                    <a:pt x="727" y="141"/>
                  </a:lnTo>
                  <a:lnTo>
                    <a:pt x="727" y="143"/>
                  </a:lnTo>
                  <a:lnTo>
                    <a:pt x="724" y="146"/>
                  </a:lnTo>
                  <a:lnTo>
                    <a:pt x="718" y="153"/>
                  </a:lnTo>
                  <a:lnTo>
                    <a:pt x="717" y="154"/>
                  </a:lnTo>
                  <a:lnTo>
                    <a:pt x="717" y="156"/>
                  </a:lnTo>
                  <a:lnTo>
                    <a:pt x="717" y="157"/>
                  </a:lnTo>
                  <a:lnTo>
                    <a:pt x="718" y="159"/>
                  </a:lnTo>
                  <a:lnTo>
                    <a:pt x="720" y="163"/>
                  </a:lnTo>
                  <a:lnTo>
                    <a:pt x="720" y="164"/>
                  </a:lnTo>
                  <a:lnTo>
                    <a:pt x="720" y="166"/>
                  </a:lnTo>
                  <a:lnTo>
                    <a:pt x="720" y="169"/>
                  </a:lnTo>
                  <a:lnTo>
                    <a:pt x="717" y="172"/>
                  </a:lnTo>
                  <a:lnTo>
                    <a:pt x="712" y="176"/>
                  </a:lnTo>
                  <a:lnTo>
                    <a:pt x="711" y="179"/>
                  </a:lnTo>
                  <a:lnTo>
                    <a:pt x="711" y="180"/>
                  </a:lnTo>
                  <a:lnTo>
                    <a:pt x="712" y="183"/>
                  </a:lnTo>
                  <a:lnTo>
                    <a:pt x="714" y="185"/>
                  </a:lnTo>
                  <a:lnTo>
                    <a:pt x="717" y="185"/>
                  </a:lnTo>
                  <a:lnTo>
                    <a:pt x="720" y="185"/>
                  </a:lnTo>
                  <a:lnTo>
                    <a:pt x="723" y="186"/>
                  </a:lnTo>
                  <a:lnTo>
                    <a:pt x="723" y="186"/>
                  </a:lnTo>
                  <a:lnTo>
                    <a:pt x="724" y="189"/>
                  </a:lnTo>
                  <a:lnTo>
                    <a:pt x="724" y="192"/>
                  </a:lnTo>
                  <a:lnTo>
                    <a:pt x="725" y="194"/>
                  </a:lnTo>
                  <a:lnTo>
                    <a:pt x="728" y="195"/>
                  </a:lnTo>
                  <a:lnTo>
                    <a:pt x="733" y="195"/>
                  </a:lnTo>
                  <a:lnTo>
                    <a:pt x="739" y="194"/>
                  </a:lnTo>
                  <a:lnTo>
                    <a:pt x="743" y="194"/>
                  </a:lnTo>
                  <a:lnTo>
                    <a:pt x="749" y="196"/>
                  </a:lnTo>
                  <a:lnTo>
                    <a:pt x="750" y="196"/>
                  </a:lnTo>
                  <a:lnTo>
                    <a:pt x="752" y="198"/>
                  </a:lnTo>
                  <a:lnTo>
                    <a:pt x="752" y="201"/>
                  </a:lnTo>
                  <a:lnTo>
                    <a:pt x="750" y="204"/>
                  </a:lnTo>
                  <a:lnTo>
                    <a:pt x="747" y="211"/>
                  </a:lnTo>
                  <a:lnTo>
                    <a:pt x="744" y="218"/>
                  </a:lnTo>
                  <a:lnTo>
                    <a:pt x="744" y="221"/>
                  </a:lnTo>
                  <a:lnTo>
                    <a:pt x="744" y="224"/>
                  </a:lnTo>
                  <a:lnTo>
                    <a:pt x="743" y="227"/>
                  </a:lnTo>
                  <a:lnTo>
                    <a:pt x="739" y="227"/>
                  </a:lnTo>
                  <a:lnTo>
                    <a:pt x="734" y="227"/>
                  </a:lnTo>
                  <a:lnTo>
                    <a:pt x="728" y="229"/>
                  </a:lnTo>
                  <a:lnTo>
                    <a:pt x="720" y="233"/>
                  </a:lnTo>
                  <a:lnTo>
                    <a:pt x="712" y="239"/>
                  </a:lnTo>
                  <a:lnTo>
                    <a:pt x="709" y="243"/>
                  </a:lnTo>
                  <a:lnTo>
                    <a:pt x="708" y="246"/>
                  </a:lnTo>
                  <a:lnTo>
                    <a:pt x="711" y="252"/>
                  </a:lnTo>
                  <a:lnTo>
                    <a:pt x="712" y="256"/>
                  </a:lnTo>
                  <a:lnTo>
                    <a:pt x="715" y="265"/>
                  </a:lnTo>
                  <a:lnTo>
                    <a:pt x="717" y="265"/>
                  </a:lnTo>
                  <a:lnTo>
                    <a:pt x="718" y="266"/>
                  </a:lnTo>
                  <a:lnTo>
                    <a:pt x="728" y="269"/>
                  </a:lnTo>
                  <a:lnTo>
                    <a:pt x="734" y="272"/>
                  </a:lnTo>
                  <a:lnTo>
                    <a:pt x="736" y="275"/>
                  </a:lnTo>
                  <a:lnTo>
                    <a:pt x="737" y="275"/>
                  </a:lnTo>
                  <a:lnTo>
                    <a:pt x="739" y="274"/>
                  </a:lnTo>
                  <a:lnTo>
                    <a:pt x="755" y="259"/>
                  </a:lnTo>
                  <a:lnTo>
                    <a:pt x="759" y="256"/>
                  </a:lnTo>
                  <a:lnTo>
                    <a:pt x="772" y="255"/>
                  </a:lnTo>
                  <a:lnTo>
                    <a:pt x="784" y="259"/>
                  </a:lnTo>
                  <a:lnTo>
                    <a:pt x="809" y="249"/>
                  </a:lnTo>
                  <a:lnTo>
                    <a:pt x="816" y="246"/>
                  </a:lnTo>
                  <a:lnTo>
                    <a:pt x="820" y="242"/>
                  </a:lnTo>
                  <a:lnTo>
                    <a:pt x="822" y="237"/>
                  </a:lnTo>
                  <a:lnTo>
                    <a:pt x="827" y="230"/>
                  </a:lnTo>
                  <a:lnTo>
                    <a:pt x="839" y="221"/>
                  </a:lnTo>
                  <a:lnTo>
                    <a:pt x="883" y="233"/>
                  </a:lnTo>
                  <a:lnTo>
                    <a:pt x="886" y="233"/>
                  </a:lnTo>
                  <a:lnTo>
                    <a:pt x="887" y="231"/>
                  </a:lnTo>
                  <a:lnTo>
                    <a:pt x="887" y="231"/>
                  </a:lnTo>
                  <a:lnTo>
                    <a:pt x="889" y="229"/>
                  </a:lnTo>
                  <a:lnTo>
                    <a:pt x="892" y="221"/>
                  </a:lnTo>
                  <a:lnTo>
                    <a:pt x="893" y="218"/>
                  </a:lnTo>
                  <a:lnTo>
                    <a:pt x="894" y="217"/>
                  </a:lnTo>
                  <a:lnTo>
                    <a:pt x="908" y="208"/>
                  </a:lnTo>
                  <a:lnTo>
                    <a:pt x="912" y="205"/>
                  </a:lnTo>
                  <a:lnTo>
                    <a:pt x="913" y="202"/>
                  </a:lnTo>
                  <a:lnTo>
                    <a:pt x="915" y="201"/>
                  </a:lnTo>
                  <a:lnTo>
                    <a:pt x="916" y="196"/>
                  </a:lnTo>
                  <a:lnTo>
                    <a:pt x="919" y="192"/>
                  </a:lnTo>
                  <a:lnTo>
                    <a:pt x="919" y="191"/>
                  </a:lnTo>
                  <a:lnTo>
                    <a:pt x="919" y="189"/>
                  </a:lnTo>
                  <a:lnTo>
                    <a:pt x="915" y="186"/>
                  </a:lnTo>
                  <a:lnTo>
                    <a:pt x="908" y="180"/>
                  </a:lnTo>
                  <a:lnTo>
                    <a:pt x="908" y="180"/>
                  </a:lnTo>
                  <a:lnTo>
                    <a:pt x="906" y="175"/>
                  </a:lnTo>
                  <a:lnTo>
                    <a:pt x="906" y="154"/>
                  </a:lnTo>
                  <a:lnTo>
                    <a:pt x="906" y="134"/>
                  </a:lnTo>
                  <a:lnTo>
                    <a:pt x="906" y="124"/>
                  </a:lnTo>
                  <a:lnTo>
                    <a:pt x="905" y="115"/>
                  </a:lnTo>
                  <a:lnTo>
                    <a:pt x="902" y="105"/>
                  </a:lnTo>
                  <a:lnTo>
                    <a:pt x="899" y="96"/>
                  </a:lnTo>
                  <a:lnTo>
                    <a:pt x="897" y="92"/>
                  </a:lnTo>
                  <a:lnTo>
                    <a:pt x="894" y="89"/>
                  </a:lnTo>
                  <a:lnTo>
                    <a:pt x="884" y="81"/>
                  </a:lnTo>
                  <a:lnTo>
                    <a:pt x="862" y="71"/>
                  </a:lnTo>
                  <a:lnTo>
                    <a:pt x="859" y="67"/>
                  </a:lnTo>
                  <a:lnTo>
                    <a:pt x="858" y="64"/>
                  </a:lnTo>
                  <a:lnTo>
                    <a:pt x="851" y="41"/>
                  </a:lnTo>
                  <a:lnTo>
                    <a:pt x="858" y="44"/>
                  </a:lnTo>
                  <a:lnTo>
                    <a:pt x="867" y="44"/>
                  </a:lnTo>
                  <a:lnTo>
                    <a:pt x="868" y="44"/>
                  </a:lnTo>
                  <a:lnTo>
                    <a:pt x="871" y="45"/>
                  </a:lnTo>
                  <a:lnTo>
                    <a:pt x="874" y="47"/>
                  </a:lnTo>
                  <a:lnTo>
                    <a:pt x="893" y="44"/>
                  </a:lnTo>
                  <a:lnTo>
                    <a:pt x="899" y="41"/>
                  </a:lnTo>
                  <a:lnTo>
                    <a:pt x="902" y="39"/>
                  </a:lnTo>
                  <a:lnTo>
                    <a:pt x="903" y="38"/>
                  </a:lnTo>
                  <a:lnTo>
                    <a:pt x="903" y="35"/>
                  </a:lnTo>
                  <a:lnTo>
                    <a:pt x="906" y="20"/>
                  </a:lnTo>
                  <a:lnTo>
                    <a:pt x="906" y="20"/>
                  </a:lnTo>
                  <a:lnTo>
                    <a:pt x="908" y="19"/>
                  </a:lnTo>
                  <a:lnTo>
                    <a:pt x="908" y="17"/>
                  </a:lnTo>
                  <a:lnTo>
                    <a:pt x="910" y="16"/>
                  </a:lnTo>
                  <a:lnTo>
                    <a:pt x="913" y="14"/>
                  </a:lnTo>
                  <a:lnTo>
                    <a:pt x="916" y="12"/>
                  </a:lnTo>
                  <a:lnTo>
                    <a:pt x="919" y="10"/>
                  </a:lnTo>
                  <a:lnTo>
                    <a:pt x="925" y="9"/>
                  </a:lnTo>
                  <a:lnTo>
                    <a:pt x="943" y="9"/>
                  </a:lnTo>
                  <a:lnTo>
                    <a:pt x="948" y="9"/>
                  </a:lnTo>
                  <a:lnTo>
                    <a:pt x="966" y="0"/>
                  </a:lnTo>
                  <a:lnTo>
                    <a:pt x="967" y="0"/>
                  </a:lnTo>
                  <a:lnTo>
                    <a:pt x="969" y="0"/>
                  </a:lnTo>
                  <a:lnTo>
                    <a:pt x="975" y="1"/>
                  </a:lnTo>
                  <a:lnTo>
                    <a:pt x="977" y="4"/>
                  </a:lnTo>
                  <a:lnTo>
                    <a:pt x="980" y="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2">
              <a:extLst>
                <a:ext uri="{FF2B5EF4-FFF2-40B4-BE49-F238E27FC236}">
                  <a16:creationId xmlns:a16="http://schemas.microsoft.com/office/drawing/2014/main" id="{645C779B-0810-45FC-BD0B-E17F71BD7C55}"/>
                </a:ext>
              </a:extLst>
            </p:cNvPr>
            <p:cNvSpPr>
              <a:spLocks noEditPoints="1"/>
            </p:cNvSpPr>
            <p:nvPr/>
          </p:nvSpPr>
          <p:spPr bwMode="gray">
            <a:xfrm>
              <a:off x="6188076" y="363538"/>
              <a:ext cx="2089150" cy="1476375"/>
            </a:xfrm>
            <a:custGeom>
              <a:avLst/>
              <a:gdLst>
                <a:gd name="T0" fmla="*/ 326 w 1316"/>
                <a:gd name="T1" fmla="*/ 375 h 930"/>
                <a:gd name="T2" fmla="*/ 1118 w 1316"/>
                <a:gd name="T3" fmla="*/ 387 h 930"/>
                <a:gd name="T4" fmla="*/ 1168 w 1316"/>
                <a:gd name="T5" fmla="*/ 372 h 930"/>
                <a:gd name="T6" fmla="*/ 1169 w 1316"/>
                <a:gd name="T7" fmla="*/ 423 h 930"/>
                <a:gd name="T8" fmla="*/ 1203 w 1316"/>
                <a:gd name="T9" fmla="*/ 485 h 930"/>
                <a:gd name="T10" fmla="*/ 1118 w 1316"/>
                <a:gd name="T11" fmla="*/ 313 h 930"/>
                <a:gd name="T12" fmla="*/ 1271 w 1316"/>
                <a:gd name="T13" fmla="*/ 585 h 930"/>
                <a:gd name="T14" fmla="*/ 1193 w 1316"/>
                <a:gd name="T15" fmla="*/ 553 h 930"/>
                <a:gd name="T16" fmla="*/ 1142 w 1316"/>
                <a:gd name="T17" fmla="*/ 441 h 930"/>
                <a:gd name="T18" fmla="*/ 1101 w 1316"/>
                <a:gd name="T19" fmla="*/ 383 h 930"/>
                <a:gd name="T20" fmla="*/ 1009 w 1316"/>
                <a:gd name="T21" fmla="*/ 352 h 930"/>
                <a:gd name="T22" fmla="*/ 954 w 1316"/>
                <a:gd name="T23" fmla="*/ 303 h 930"/>
                <a:gd name="T24" fmla="*/ 862 w 1316"/>
                <a:gd name="T25" fmla="*/ 185 h 930"/>
                <a:gd name="T26" fmla="*/ 763 w 1316"/>
                <a:gd name="T27" fmla="*/ 190 h 930"/>
                <a:gd name="T28" fmla="*/ 735 w 1316"/>
                <a:gd name="T29" fmla="*/ 164 h 930"/>
                <a:gd name="T30" fmla="*/ 652 w 1316"/>
                <a:gd name="T31" fmla="*/ 212 h 930"/>
                <a:gd name="T32" fmla="*/ 611 w 1316"/>
                <a:gd name="T33" fmla="*/ 225 h 930"/>
                <a:gd name="T34" fmla="*/ 692 w 1316"/>
                <a:gd name="T35" fmla="*/ 180 h 930"/>
                <a:gd name="T36" fmla="*/ 726 w 1316"/>
                <a:gd name="T37" fmla="*/ 153 h 930"/>
                <a:gd name="T38" fmla="*/ 638 w 1316"/>
                <a:gd name="T39" fmla="*/ 174 h 930"/>
                <a:gd name="T40" fmla="*/ 520 w 1316"/>
                <a:gd name="T41" fmla="*/ 329 h 930"/>
                <a:gd name="T42" fmla="*/ 355 w 1316"/>
                <a:gd name="T43" fmla="*/ 359 h 930"/>
                <a:gd name="T44" fmla="*/ 304 w 1316"/>
                <a:gd name="T45" fmla="*/ 436 h 930"/>
                <a:gd name="T46" fmla="*/ 209 w 1316"/>
                <a:gd name="T47" fmla="*/ 416 h 930"/>
                <a:gd name="T48" fmla="*/ 110 w 1316"/>
                <a:gd name="T49" fmla="*/ 457 h 930"/>
                <a:gd name="T50" fmla="*/ 106 w 1316"/>
                <a:gd name="T51" fmla="*/ 460 h 930"/>
                <a:gd name="T52" fmla="*/ 55 w 1316"/>
                <a:gd name="T53" fmla="*/ 514 h 930"/>
                <a:gd name="T54" fmla="*/ 91 w 1316"/>
                <a:gd name="T55" fmla="*/ 585 h 930"/>
                <a:gd name="T56" fmla="*/ 122 w 1316"/>
                <a:gd name="T57" fmla="*/ 621 h 930"/>
                <a:gd name="T58" fmla="*/ 113 w 1316"/>
                <a:gd name="T59" fmla="*/ 674 h 930"/>
                <a:gd name="T60" fmla="*/ 78 w 1316"/>
                <a:gd name="T61" fmla="*/ 665 h 930"/>
                <a:gd name="T62" fmla="*/ 34 w 1316"/>
                <a:gd name="T63" fmla="*/ 716 h 930"/>
                <a:gd name="T64" fmla="*/ 2 w 1316"/>
                <a:gd name="T65" fmla="*/ 771 h 930"/>
                <a:gd name="T66" fmla="*/ 176 w 1316"/>
                <a:gd name="T67" fmla="*/ 902 h 930"/>
                <a:gd name="T68" fmla="*/ 249 w 1316"/>
                <a:gd name="T69" fmla="*/ 926 h 930"/>
                <a:gd name="T70" fmla="*/ 324 w 1316"/>
                <a:gd name="T71" fmla="*/ 873 h 930"/>
                <a:gd name="T72" fmla="*/ 464 w 1316"/>
                <a:gd name="T73" fmla="*/ 828 h 930"/>
                <a:gd name="T74" fmla="*/ 540 w 1316"/>
                <a:gd name="T75" fmla="*/ 786 h 930"/>
                <a:gd name="T76" fmla="*/ 630 w 1316"/>
                <a:gd name="T77" fmla="*/ 831 h 930"/>
                <a:gd name="T78" fmla="*/ 744 w 1316"/>
                <a:gd name="T79" fmla="*/ 878 h 930"/>
                <a:gd name="T80" fmla="*/ 815 w 1316"/>
                <a:gd name="T81" fmla="*/ 879 h 930"/>
                <a:gd name="T82" fmla="*/ 866 w 1316"/>
                <a:gd name="T83" fmla="*/ 865 h 930"/>
                <a:gd name="T84" fmla="*/ 895 w 1316"/>
                <a:gd name="T85" fmla="*/ 850 h 930"/>
                <a:gd name="T86" fmla="*/ 992 w 1316"/>
                <a:gd name="T87" fmla="*/ 818 h 930"/>
                <a:gd name="T88" fmla="*/ 1104 w 1316"/>
                <a:gd name="T89" fmla="*/ 677 h 930"/>
                <a:gd name="T90" fmla="*/ 1258 w 1316"/>
                <a:gd name="T91" fmla="*/ 783 h 930"/>
                <a:gd name="T92" fmla="*/ 858 w 1316"/>
                <a:gd name="T93" fmla="*/ 119 h 930"/>
                <a:gd name="T94" fmla="*/ 877 w 1316"/>
                <a:gd name="T95" fmla="*/ 49 h 930"/>
                <a:gd name="T96" fmla="*/ 888 w 1316"/>
                <a:gd name="T97" fmla="*/ 89 h 930"/>
                <a:gd name="T98" fmla="*/ 923 w 1316"/>
                <a:gd name="T99" fmla="*/ 128 h 930"/>
                <a:gd name="T100" fmla="*/ 906 w 1316"/>
                <a:gd name="T101" fmla="*/ 185 h 930"/>
                <a:gd name="T102" fmla="*/ 919 w 1316"/>
                <a:gd name="T103" fmla="*/ 252 h 930"/>
                <a:gd name="T104" fmla="*/ 980 w 1316"/>
                <a:gd name="T105" fmla="*/ 266 h 930"/>
                <a:gd name="T106" fmla="*/ 1050 w 1316"/>
                <a:gd name="T107" fmla="*/ 208 h 930"/>
                <a:gd name="T108" fmla="*/ 1080 w 1316"/>
                <a:gd name="T109" fmla="*/ 230 h 930"/>
                <a:gd name="T110" fmla="*/ 1041 w 1316"/>
                <a:gd name="T111" fmla="*/ 158 h 930"/>
                <a:gd name="T112" fmla="*/ 981 w 1316"/>
                <a:gd name="T113" fmla="*/ 13 h 930"/>
                <a:gd name="T114" fmla="*/ 920 w 1316"/>
                <a:gd name="T115" fmla="*/ 67 h 930"/>
                <a:gd name="T116" fmla="*/ 997 w 1316"/>
                <a:gd name="T117" fmla="*/ 80 h 930"/>
                <a:gd name="T118" fmla="*/ 1009 w 1316"/>
                <a:gd name="T119" fmla="*/ 119 h 930"/>
                <a:gd name="T120" fmla="*/ 957 w 1316"/>
                <a:gd name="T121" fmla="*/ 84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6" h="930">
                  <a:moveTo>
                    <a:pt x="279" y="428"/>
                  </a:moveTo>
                  <a:lnTo>
                    <a:pt x="285" y="428"/>
                  </a:lnTo>
                  <a:lnTo>
                    <a:pt x="289" y="423"/>
                  </a:lnTo>
                  <a:lnTo>
                    <a:pt x="288" y="416"/>
                  </a:lnTo>
                  <a:lnTo>
                    <a:pt x="289" y="410"/>
                  </a:lnTo>
                  <a:lnTo>
                    <a:pt x="292" y="410"/>
                  </a:lnTo>
                  <a:lnTo>
                    <a:pt x="294" y="418"/>
                  </a:lnTo>
                  <a:lnTo>
                    <a:pt x="292" y="428"/>
                  </a:lnTo>
                  <a:lnTo>
                    <a:pt x="292" y="432"/>
                  </a:lnTo>
                  <a:lnTo>
                    <a:pt x="297" y="432"/>
                  </a:lnTo>
                  <a:lnTo>
                    <a:pt x="301" y="426"/>
                  </a:lnTo>
                  <a:lnTo>
                    <a:pt x="311" y="396"/>
                  </a:lnTo>
                  <a:lnTo>
                    <a:pt x="300" y="391"/>
                  </a:lnTo>
                  <a:lnTo>
                    <a:pt x="287" y="396"/>
                  </a:lnTo>
                  <a:lnTo>
                    <a:pt x="273" y="406"/>
                  </a:lnTo>
                  <a:lnTo>
                    <a:pt x="268" y="420"/>
                  </a:lnTo>
                  <a:lnTo>
                    <a:pt x="273" y="425"/>
                  </a:lnTo>
                  <a:lnTo>
                    <a:pt x="279" y="428"/>
                  </a:lnTo>
                  <a:close/>
                  <a:moveTo>
                    <a:pt x="326" y="375"/>
                  </a:moveTo>
                  <a:lnTo>
                    <a:pt x="330" y="367"/>
                  </a:lnTo>
                  <a:lnTo>
                    <a:pt x="346" y="352"/>
                  </a:lnTo>
                  <a:lnTo>
                    <a:pt x="352" y="343"/>
                  </a:lnTo>
                  <a:lnTo>
                    <a:pt x="346" y="348"/>
                  </a:lnTo>
                  <a:lnTo>
                    <a:pt x="323" y="359"/>
                  </a:lnTo>
                  <a:lnTo>
                    <a:pt x="321" y="364"/>
                  </a:lnTo>
                  <a:lnTo>
                    <a:pt x="321" y="365"/>
                  </a:lnTo>
                  <a:lnTo>
                    <a:pt x="323" y="375"/>
                  </a:lnTo>
                  <a:lnTo>
                    <a:pt x="326" y="375"/>
                  </a:lnTo>
                  <a:close/>
                  <a:moveTo>
                    <a:pt x="1095" y="319"/>
                  </a:moveTo>
                  <a:lnTo>
                    <a:pt x="1098" y="326"/>
                  </a:lnTo>
                  <a:lnTo>
                    <a:pt x="1113" y="340"/>
                  </a:lnTo>
                  <a:lnTo>
                    <a:pt x="1115" y="349"/>
                  </a:lnTo>
                  <a:lnTo>
                    <a:pt x="1114" y="365"/>
                  </a:lnTo>
                  <a:lnTo>
                    <a:pt x="1104" y="384"/>
                  </a:lnTo>
                  <a:lnTo>
                    <a:pt x="1102" y="396"/>
                  </a:lnTo>
                  <a:lnTo>
                    <a:pt x="1108" y="399"/>
                  </a:lnTo>
                  <a:lnTo>
                    <a:pt x="1114" y="394"/>
                  </a:lnTo>
                  <a:lnTo>
                    <a:pt x="1118" y="387"/>
                  </a:lnTo>
                  <a:lnTo>
                    <a:pt x="1130" y="383"/>
                  </a:lnTo>
                  <a:lnTo>
                    <a:pt x="1133" y="380"/>
                  </a:lnTo>
                  <a:lnTo>
                    <a:pt x="1136" y="381"/>
                  </a:lnTo>
                  <a:lnTo>
                    <a:pt x="1137" y="388"/>
                  </a:lnTo>
                  <a:lnTo>
                    <a:pt x="1136" y="391"/>
                  </a:lnTo>
                  <a:lnTo>
                    <a:pt x="1133" y="396"/>
                  </a:lnTo>
                  <a:lnTo>
                    <a:pt x="1131" y="400"/>
                  </a:lnTo>
                  <a:lnTo>
                    <a:pt x="1130" y="407"/>
                  </a:lnTo>
                  <a:lnTo>
                    <a:pt x="1142" y="403"/>
                  </a:lnTo>
                  <a:lnTo>
                    <a:pt x="1145" y="402"/>
                  </a:lnTo>
                  <a:lnTo>
                    <a:pt x="1146" y="397"/>
                  </a:lnTo>
                  <a:lnTo>
                    <a:pt x="1147" y="393"/>
                  </a:lnTo>
                  <a:lnTo>
                    <a:pt x="1152" y="390"/>
                  </a:lnTo>
                  <a:lnTo>
                    <a:pt x="1155" y="388"/>
                  </a:lnTo>
                  <a:lnTo>
                    <a:pt x="1155" y="384"/>
                  </a:lnTo>
                  <a:lnTo>
                    <a:pt x="1150" y="375"/>
                  </a:lnTo>
                  <a:lnTo>
                    <a:pt x="1155" y="371"/>
                  </a:lnTo>
                  <a:lnTo>
                    <a:pt x="1162" y="370"/>
                  </a:lnTo>
                  <a:lnTo>
                    <a:pt x="1168" y="372"/>
                  </a:lnTo>
                  <a:lnTo>
                    <a:pt x="1174" y="377"/>
                  </a:lnTo>
                  <a:lnTo>
                    <a:pt x="1178" y="383"/>
                  </a:lnTo>
                  <a:lnTo>
                    <a:pt x="1182" y="390"/>
                  </a:lnTo>
                  <a:lnTo>
                    <a:pt x="1185" y="400"/>
                  </a:lnTo>
                  <a:lnTo>
                    <a:pt x="1193" y="397"/>
                  </a:lnTo>
                  <a:lnTo>
                    <a:pt x="1198" y="406"/>
                  </a:lnTo>
                  <a:lnTo>
                    <a:pt x="1198" y="422"/>
                  </a:lnTo>
                  <a:lnTo>
                    <a:pt x="1194" y="436"/>
                  </a:lnTo>
                  <a:lnTo>
                    <a:pt x="1197" y="444"/>
                  </a:lnTo>
                  <a:lnTo>
                    <a:pt x="1185" y="441"/>
                  </a:lnTo>
                  <a:lnTo>
                    <a:pt x="1185" y="436"/>
                  </a:lnTo>
                  <a:lnTo>
                    <a:pt x="1187" y="435"/>
                  </a:lnTo>
                  <a:lnTo>
                    <a:pt x="1188" y="434"/>
                  </a:lnTo>
                  <a:lnTo>
                    <a:pt x="1190" y="432"/>
                  </a:lnTo>
                  <a:lnTo>
                    <a:pt x="1175" y="432"/>
                  </a:lnTo>
                  <a:lnTo>
                    <a:pt x="1171" y="435"/>
                  </a:lnTo>
                  <a:lnTo>
                    <a:pt x="1166" y="444"/>
                  </a:lnTo>
                  <a:lnTo>
                    <a:pt x="1166" y="435"/>
                  </a:lnTo>
                  <a:lnTo>
                    <a:pt x="1169" y="423"/>
                  </a:lnTo>
                  <a:lnTo>
                    <a:pt x="1168" y="420"/>
                  </a:lnTo>
                  <a:lnTo>
                    <a:pt x="1171" y="416"/>
                  </a:lnTo>
                  <a:lnTo>
                    <a:pt x="1165" y="413"/>
                  </a:lnTo>
                  <a:lnTo>
                    <a:pt x="1147" y="412"/>
                  </a:lnTo>
                  <a:lnTo>
                    <a:pt x="1146" y="428"/>
                  </a:lnTo>
                  <a:lnTo>
                    <a:pt x="1159" y="451"/>
                  </a:lnTo>
                  <a:lnTo>
                    <a:pt x="1156" y="469"/>
                  </a:lnTo>
                  <a:lnTo>
                    <a:pt x="1153" y="471"/>
                  </a:lnTo>
                  <a:lnTo>
                    <a:pt x="1142" y="479"/>
                  </a:lnTo>
                  <a:lnTo>
                    <a:pt x="1130" y="482"/>
                  </a:lnTo>
                  <a:lnTo>
                    <a:pt x="1123" y="487"/>
                  </a:lnTo>
                  <a:lnTo>
                    <a:pt x="1118" y="489"/>
                  </a:lnTo>
                  <a:lnTo>
                    <a:pt x="1124" y="498"/>
                  </a:lnTo>
                  <a:lnTo>
                    <a:pt x="1137" y="501"/>
                  </a:lnTo>
                  <a:lnTo>
                    <a:pt x="1159" y="501"/>
                  </a:lnTo>
                  <a:lnTo>
                    <a:pt x="1178" y="495"/>
                  </a:lnTo>
                  <a:lnTo>
                    <a:pt x="1188" y="489"/>
                  </a:lnTo>
                  <a:lnTo>
                    <a:pt x="1197" y="480"/>
                  </a:lnTo>
                  <a:lnTo>
                    <a:pt x="1203" y="485"/>
                  </a:lnTo>
                  <a:lnTo>
                    <a:pt x="1210" y="486"/>
                  </a:lnTo>
                  <a:lnTo>
                    <a:pt x="1249" y="482"/>
                  </a:lnTo>
                  <a:lnTo>
                    <a:pt x="1249" y="482"/>
                  </a:lnTo>
                  <a:lnTo>
                    <a:pt x="1247" y="471"/>
                  </a:lnTo>
                  <a:lnTo>
                    <a:pt x="1241" y="464"/>
                  </a:lnTo>
                  <a:lnTo>
                    <a:pt x="1241" y="464"/>
                  </a:lnTo>
                  <a:lnTo>
                    <a:pt x="1244" y="463"/>
                  </a:lnTo>
                  <a:lnTo>
                    <a:pt x="1247" y="461"/>
                  </a:lnTo>
                  <a:lnTo>
                    <a:pt x="1247" y="461"/>
                  </a:lnTo>
                  <a:lnTo>
                    <a:pt x="1252" y="445"/>
                  </a:lnTo>
                  <a:lnTo>
                    <a:pt x="1252" y="445"/>
                  </a:lnTo>
                  <a:lnTo>
                    <a:pt x="1247" y="441"/>
                  </a:lnTo>
                  <a:lnTo>
                    <a:pt x="1185" y="374"/>
                  </a:lnTo>
                  <a:lnTo>
                    <a:pt x="1175" y="367"/>
                  </a:lnTo>
                  <a:lnTo>
                    <a:pt x="1162" y="362"/>
                  </a:lnTo>
                  <a:lnTo>
                    <a:pt x="1139" y="349"/>
                  </a:lnTo>
                  <a:lnTo>
                    <a:pt x="1130" y="339"/>
                  </a:lnTo>
                  <a:lnTo>
                    <a:pt x="1126" y="332"/>
                  </a:lnTo>
                  <a:lnTo>
                    <a:pt x="1118" y="313"/>
                  </a:lnTo>
                  <a:lnTo>
                    <a:pt x="1115" y="307"/>
                  </a:lnTo>
                  <a:lnTo>
                    <a:pt x="1110" y="304"/>
                  </a:lnTo>
                  <a:lnTo>
                    <a:pt x="1102" y="307"/>
                  </a:lnTo>
                  <a:lnTo>
                    <a:pt x="1098" y="313"/>
                  </a:lnTo>
                  <a:lnTo>
                    <a:pt x="1095" y="319"/>
                  </a:lnTo>
                  <a:close/>
                  <a:moveTo>
                    <a:pt x="1309" y="766"/>
                  </a:moveTo>
                  <a:lnTo>
                    <a:pt x="1305" y="735"/>
                  </a:lnTo>
                  <a:lnTo>
                    <a:pt x="1298" y="722"/>
                  </a:lnTo>
                  <a:lnTo>
                    <a:pt x="1295" y="710"/>
                  </a:lnTo>
                  <a:lnTo>
                    <a:pt x="1286" y="697"/>
                  </a:lnTo>
                  <a:lnTo>
                    <a:pt x="1283" y="685"/>
                  </a:lnTo>
                  <a:lnTo>
                    <a:pt x="1283" y="672"/>
                  </a:lnTo>
                  <a:lnTo>
                    <a:pt x="1284" y="651"/>
                  </a:lnTo>
                  <a:lnTo>
                    <a:pt x="1283" y="645"/>
                  </a:lnTo>
                  <a:lnTo>
                    <a:pt x="1276" y="623"/>
                  </a:lnTo>
                  <a:lnTo>
                    <a:pt x="1271" y="611"/>
                  </a:lnTo>
                  <a:lnTo>
                    <a:pt x="1273" y="602"/>
                  </a:lnTo>
                  <a:lnTo>
                    <a:pt x="1271" y="585"/>
                  </a:lnTo>
                  <a:lnTo>
                    <a:pt x="1271" y="585"/>
                  </a:lnTo>
                  <a:lnTo>
                    <a:pt x="1270" y="586"/>
                  </a:lnTo>
                  <a:lnTo>
                    <a:pt x="1264" y="585"/>
                  </a:lnTo>
                  <a:lnTo>
                    <a:pt x="1258" y="584"/>
                  </a:lnTo>
                  <a:lnTo>
                    <a:pt x="1254" y="581"/>
                  </a:lnTo>
                  <a:lnTo>
                    <a:pt x="1270" y="569"/>
                  </a:lnTo>
                  <a:lnTo>
                    <a:pt x="1270" y="569"/>
                  </a:lnTo>
                  <a:lnTo>
                    <a:pt x="1273" y="565"/>
                  </a:lnTo>
                  <a:lnTo>
                    <a:pt x="1273" y="556"/>
                  </a:lnTo>
                  <a:lnTo>
                    <a:pt x="1270" y="554"/>
                  </a:lnTo>
                  <a:lnTo>
                    <a:pt x="1267" y="550"/>
                  </a:lnTo>
                  <a:lnTo>
                    <a:pt x="1261" y="550"/>
                  </a:lnTo>
                  <a:lnTo>
                    <a:pt x="1258" y="552"/>
                  </a:lnTo>
                  <a:lnTo>
                    <a:pt x="1255" y="559"/>
                  </a:lnTo>
                  <a:lnTo>
                    <a:pt x="1245" y="562"/>
                  </a:lnTo>
                  <a:lnTo>
                    <a:pt x="1217" y="560"/>
                  </a:lnTo>
                  <a:lnTo>
                    <a:pt x="1213" y="559"/>
                  </a:lnTo>
                  <a:lnTo>
                    <a:pt x="1204" y="553"/>
                  </a:lnTo>
                  <a:lnTo>
                    <a:pt x="1201" y="553"/>
                  </a:lnTo>
                  <a:lnTo>
                    <a:pt x="1193" y="553"/>
                  </a:lnTo>
                  <a:lnTo>
                    <a:pt x="1191" y="552"/>
                  </a:lnTo>
                  <a:lnTo>
                    <a:pt x="1187" y="544"/>
                  </a:lnTo>
                  <a:lnTo>
                    <a:pt x="1175" y="543"/>
                  </a:lnTo>
                  <a:lnTo>
                    <a:pt x="1149" y="521"/>
                  </a:lnTo>
                  <a:lnTo>
                    <a:pt x="1146" y="521"/>
                  </a:lnTo>
                  <a:lnTo>
                    <a:pt x="1140" y="517"/>
                  </a:lnTo>
                  <a:lnTo>
                    <a:pt x="1134" y="509"/>
                  </a:lnTo>
                  <a:lnTo>
                    <a:pt x="1133" y="503"/>
                  </a:lnTo>
                  <a:lnTo>
                    <a:pt x="1130" y="501"/>
                  </a:lnTo>
                  <a:lnTo>
                    <a:pt x="1123" y="499"/>
                  </a:lnTo>
                  <a:lnTo>
                    <a:pt x="1117" y="496"/>
                  </a:lnTo>
                  <a:lnTo>
                    <a:pt x="1114" y="489"/>
                  </a:lnTo>
                  <a:lnTo>
                    <a:pt x="1117" y="482"/>
                  </a:lnTo>
                  <a:lnTo>
                    <a:pt x="1142" y="461"/>
                  </a:lnTo>
                  <a:lnTo>
                    <a:pt x="1146" y="455"/>
                  </a:lnTo>
                  <a:lnTo>
                    <a:pt x="1147" y="448"/>
                  </a:lnTo>
                  <a:lnTo>
                    <a:pt x="1147" y="442"/>
                  </a:lnTo>
                  <a:lnTo>
                    <a:pt x="1143" y="441"/>
                  </a:lnTo>
                  <a:lnTo>
                    <a:pt x="1142" y="441"/>
                  </a:lnTo>
                  <a:lnTo>
                    <a:pt x="1139" y="439"/>
                  </a:lnTo>
                  <a:lnTo>
                    <a:pt x="1137" y="438"/>
                  </a:lnTo>
                  <a:lnTo>
                    <a:pt x="1136" y="436"/>
                  </a:lnTo>
                  <a:lnTo>
                    <a:pt x="1134" y="436"/>
                  </a:lnTo>
                  <a:lnTo>
                    <a:pt x="1129" y="436"/>
                  </a:lnTo>
                  <a:lnTo>
                    <a:pt x="1127" y="435"/>
                  </a:lnTo>
                  <a:lnTo>
                    <a:pt x="1127" y="434"/>
                  </a:lnTo>
                  <a:lnTo>
                    <a:pt x="1129" y="431"/>
                  </a:lnTo>
                  <a:lnTo>
                    <a:pt x="1127" y="428"/>
                  </a:lnTo>
                  <a:lnTo>
                    <a:pt x="1127" y="426"/>
                  </a:lnTo>
                  <a:lnTo>
                    <a:pt x="1126" y="422"/>
                  </a:lnTo>
                  <a:lnTo>
                    <a:pt x="1124" y="418"/>
                  </a:lnTo>
                  <a:lnTo>
                    <a:pt x="1121" y="416"/>
                  </a:lnTo>
                  <a:lnTo>
                    <a:pt x="1113" y="412"/>
                  </a:lnTo>
                  <a:lnTo>
                    <a:pt x="1110" y="410"/>
                  </a:lnTo>
                  <a:lnTo>
                    <a:pt x="1107" y="404"/>
                  </a:lnTo>
                  <a:lnTo>
                    <a:pt x="1097" y="391"/>
                  </a:lnTo>
                  <a:lnTo>
                    <a:pt x="1092" y="388"/>
                  </a:lnTo>
                  <a:lnTo>
                    <a:pt x="1101" y="383"/>
                  </a:lnTo>
                  <a:lnTo>
                    <a:pt x="1105" y="371"/>
                  </a:lnTo>
                  <a:lnTo>
                    <a:pt x="1108" y="361"/>
                  </a:lnTo>
                  <a:lnTo>
                    <a:pt x="1114" y="352"/>
                  </a:lnTo>
                  <a:lnTo>
                    <a:pt x="1114" y="348"/>
                  </a:lnTo>
                  <a:lnTo>
                    <a:pt x="1086" y="324"/>
                  </a:lnTo>
                  <a:lnTo>
                    <a:pt x="1075" y="319"/>
                  </a:lnTo>
                  <a:lnTo>
                    <a:pt x="1075" y="316"/>
                  </a:lnTo>
                  <a:lnTo>
                    <a:pt x="1079" y="314"/>
                  </a:lnTo>
                  <a:lnTo>
                    <a:pt x="1080" y="313"/>
                  </a:lnTo>
                  <a:lnTo>
                    <a:pt x="1082" y="310"/>
                  </a:lnTo>
                  <a:lnTo>
                    <a:pt x="1080" y="307"/>
                  </a:lnTo>
                  <a:lnTo>
                    <a:pt x="1070" y="310"/>
                  </a:lnTo>
                  <a:lnTo>
                    <a:pt x="1053" y="321"/>
                  </a:lnTo>
                  <a:lnTo>
                    <a:pt x="1043" y="327"/>
                  </a:lnTo>
                  <a:lnTo>
                    <a:pt x="999" y="336"/>
                  </a:lnTo>
                  <a:lnTo>
                    <a:pt x="999" y="339"/>
                  </a:lnTo>
                  <a:lnTo>
                    <a:pt x="1002" y="342"/>
                  </a:lnTo>
                  <a:lnTo>
                    <a:pt x="1006" y="349"/>
                  </a:lnTo>
                  <a:lnTo>
                    <a:pt x="1009" y="352"/>
                  </a:lnTo>
                  <a:lnTo>
                    <a:pt x="1009" y="355"/>
                  </a:lnTo>
                  <a:lnTo>
                    <a:pt x="1000" y="355"/>
                  </a:lnTo>
                  <a:lnTo>
                    <a:pt x="995" y="351"/>
                  </a:lnTo>
                  <a:lnTo>
                    <a:pt x="989" y="345"/>
                  </a:lnTo>
                  <a:lnTo>
                    <a:pt x="984" y="336"/>
                  </a:lnTo>
                  <a:lnTo>
                    <a:pt x="980" y="321"/>
                  </a:lnTo>
                  <a:lnTo>
                    <a:pt x="979" y="319"/>
                  </a:lnTo>
                  <a:lnTo>
                    <a:pt x="974" y="319"/>
                  </a:lnTo>
                  <a:lnTo>
                    <a:pt x="973" y="320"/>
                  </a:lnTo>
                  <a:lnTo>
                    <a:pt x="970" y="321"/>
                  </a:lnTo>
                  <a:lnTo>
                    <a:pt x="965" y="319"/>
                  </a:lnTo>
                  <a:lnTo>
                    <a:pt x="968" y="317"/>
                  </a:lnTo>
                  <a:lnTo>
                    <a:pt x="970" y="314"/>
                  </a:lnTo>
                  <a:lnTo>
                    <a:pt x="973" y="307"/>
                  </a:lnTo>
                  <a:lnTo>
                    <a:pt x="965" y="304"/>
                  </a:lnTo>
                  <a:lnTo>
                    <a:pt x="954" y="311"/>
                  </a:lnTo>
                  <a:lnTo>
                    <a:pt x="945" y="311"/>
                  </a:lnTo>
                  <a:lnTo>
                    <a:pt x="948" y="307"/>
                  </a:lnTo>
                  <a:lnTo>
                    <a:pt x="954" y="303"/>
                  </a:lnTo>
                  <a:lnTo>
                    <a:pt x="945" y="294"/>
                  </a:lnTo>
                  <a:lnTo>
                    <a:pt x="933" y="270"/>
                  </a:lnTo>
                  <a:lnTo>
                    <a:pt x="925" y="266"/>
                  </a:lnTo>
                  <a:lnTo>
                    <a:pt x="911" y="263"/>
                  </a:lnTo>
                  <a:lnTo>
                    <a:pt x="894" y="253"/>
                  </a:lnTo>
                  <a:lnTo>
                    <a:pt x="882" y="254"/>
                  </a:lnTo>
                  <a:lnTo>
                    <a:pt x="887" y="252"/>
                  </a:lnTo>
                  <a:lnTo>
                    <a:pt x="888" y="250"/>
                  </a:lnTo>
                  <a:lnTo>
                    <a:pt x="893" y="250"/>
                  </a:lnTo>
                  <a:lnTo>
                    <a:pt x="893" y="246"/>
                  </a:lnTo>
                  <a:lnTo>
                    <a:pt x="877" y="246"/>
                  </a:lnTo>
                  <a:lnTo>
                    <a:pt x="872" y="244"/>
                  </a:lnTo>
                  <a:lnTo>
                    <a:pt x="872" y="238"/>
                  </a:lnTo>
                  <a:lnTo>
                    <a:pt x="872" y="233"/>
                  </a:lnTo>
                  <a:lnTo>
                    <a:pt x="871" y="225"/>
                  </a:lnTo>
                  <a:lnTo>
                    <a:pt x="861" y="209"/>
                  </a:lnTo>
                  <a:lnTo>
                    <a:pt x="859" y="201"/>
                  </a:lnTo>
                  <a:lnTo>
                    <a:pt x="866" y="189"/>
                  </a:lnTo>
                  <a:lnTo>
                    <a:pt x="862" y="185"/>
                  </a:lnTo>
                  <a:lnTo>
                    <a:pt x="847" y="177"/>
                  </a:lnTo>
                  <a:lnTo>
                    <a:pt x="843" y="171"/>
                  </a:lnTo>
                  <a:lnTo>
                    <a:pt x="840" y="164"/>
                  </a:lnTo>
                  <a:lnTo>
                    <a:pt x="840" y="157"/>
                  </a:lnTo>
                  <a:lnTo>
                    <a:pt x="844" y="153"/>
                  </a:lnTo>
                  <a:lnTo>
                    <a:pt x="836" y="150"/>
                  </a:lnTo>
                  <a:lnTo>
                    <a:pt x="823" y="155"/>
                  </a:lnTo>
                  <a:lnTo>
                    <a:pt x="808" y="164"/>
                  </a:lnTo>
                  <a:lnTo>
                    <a:pt x="799" y="173"/>
                  </a:lnTo>
                  <a:lnTo>
                    <a:pt x="796" y="179"/>
                  </a:lnTo>
                  <a:lnTo>
                    <a:pt x="792" y="188"/>
                  </a:lnTo>
                  <a:lnTo>
                    <a:pt x="789" y="193"/>
                  </a:lnTo>
                  <a:lnTo>
                    <a:pt x="786" y="196"/>
                  </a:lnTo>
                  <a:lnTo>
                    <a:pt x="782" y="198"/>
                  </a:lnTo>
                  <a:lnTo>
                    <a:pt x="776" y="198"/>
                  </a:lnTo>
                  <a:lnTo>
                    <a:pt x="772" y="198"/>
                  </a:lnTo>
                  <a:lnTo>
                    <a:pt x="770" y="198"/>
                  </a:lnTo>
                  <a:lnTo>
                    <a:pt x="769" y="198"/>
                  </a:lnTo>
                  <a:lnTo>
                    <a:pt x="763" y="190"/>
                  </a:lnTo>
                  <a:lnTo>
                    <a:pt x="761" y="186"/>
                  </a:lnTo>
                  <a:lnTo>
                    <a:pt x="760" y="182"/>
                  </a:lnTo>
                  <a:lnTo>
                    <a:pt x="759" y="177"/>
                  </a:lnTo>
                  <a:lnTo>
                    <a:pt x="756" y="182"/>
                  </a:lnTo>
                  <a:lnTo>
                    <a:pt x="753" y="185"/>
                  </a:lnTo>
                  <a:lnTo>
                    <a:pt x="748" y="185"/>
                  </a:lnTo>
                  <a:lnTo>
                    <a:pt x="744" y="180"/>
                  </a:lnTo>
                  <a:lnTo>
                    <a:pt x="741" y="186"/>
                  </a:lnTo>
                  <a:lnTo>
                    <a:pt x="737" y="183"/>
                  </a:lnTo>
                  <a:lnTo>
                    <a:pt x="734" y="179"/>
                  </a:lnTo>
                  <a:lnTo>
                    <a:pt x="729" y="173"/>
                  </a:lnTo>
                  <a:lnTo>
                    <a:pt x="729" y="177"/>
                  </a:lnTo>
                  <a:lnTo>
                    <a:pt x="728" y="182"/>
                  </a:lnTo>
                  <a:lnTo>
                    <a:pt x="724" y="189"/>
                  </a:lnTo>
                  <a:lnTo>
                    <a:pt x="724" y="182"/>
                  </a:lnTo>
                  <a:lnTo>
                    <a:pt x="726" y="174"/>
                  </a:lnTo>
                  <a:lnTo>
                    <a:pt x="729" y="170"/>
                  </a:lnTo>
                  <a:lnTo>
                    <a:pt x="735" y="169"/>
                  </a:lnTo>
                  <a:lnTo>
                    <a:pt x="735" y="164"/>
                  </a:lnTo>
                  <a:lnTo>
                    <a:pt x="731" y="164"/>
                  </a:lnTo>
                  <a:lnTo>
                    <a:pt x="726" y="164"/>
                  </a:lnTo>
                  <a:lnTo>
                    <a:pt x="722" y="166"/>
                  </a:lnTo>
                  <a:lnTo>
                    <a:pt x="718" y="169"/>
                  </a:lnTo>
                  <a:lnTo>
                    <a:pt x="719" y="170"/>
                  </a:lnTo>
                  <a:lnTo>
                    <a:pt x="719" y="174"/>
                  </a:lnTo>
                  <a:lnTo>
                    <a:pt x="721" y="177"/>
                  </a:lnTo>
                  <a:lnTo>
                    <a:pt x="702" y="188"/>
                  </a:lnTo>
                  <a:lnTo>
                    <a:pt x="692" y="190"/>
                  </a:lnTo>
                  <a:lnTo>
                    <a:pt x="684" y="185"/>
                  </a:lnTo>
                  <a:lnTo>
                    <a:pt x="684" y="189"/>
                  </a:lnTo>
                  <a:lnTo>
                    <a:pt x="681" y="186"/>
                  </a:lnTo>
                  <a:lnTo>
                    <a:pt x="680" y="186"/>
                  </a:lnTo>
                  <a:lnTo>
                    <a:pt x="673" y="189"/>
                  </a:lnTo>
                  <a:lnTo>
                    <a:pt x="673" y="193"/>
                  </a:lnTo>
                  <a:lnTo>
                    <a:pt x="675" y="193"/>
                  </a:lnTo>
                  <a:lnTo>
                    <a:pt x="680" y="198"/>
                  </a:lnTo>
                  <a:lnTo>
                    <a:pt x="658" y="208"/>
                  </a:lnTo>
                  <a:lnTo>
                    <a:pt x="652" y="212"/>
                  </a:lnTo>
                  <a:lnTo>
                    <a:pt x="651" y="215"/>
                  </a:lnTo>
                  <a:lnTo>
                    <a:pt x="651" y="222"/>
                  </a:lnTo>
                  <a:lnTo>
                    <a:pt x="649" y="225"/>
                  </a:lnTo>
                  <a:lnTo>
                    <a:pt x="648" y="227"/>
                  </a:lnTo>
                  <a:lnTo>
                    <a:pt x="643" y="228"/>
                  </a:lnTo>
                  <a:lnTo>
                    <a:pt x="642" y="230"/>
                  </a:lnTo>
                  <a:lnTo>
                    <a:pt x="633" y="238"/>
                  </a:lnTo>
                  <a:lnTo>
                    <a:pt x="630" y="243"/>
                  </a:lnTo>
                  <a:lnTo>
                    <a:pt x="627" y="250"/>
                  </a:lnTo>
                  <a:lnTo>
                    <a:pt x="635" y="256"/>
                  </a:lnTo>
                  <a:lnTo>
                    <a:pt x="639" y="259"/>
                  </a:lnTo>
                  <a:lnTo>
                    <a:pt x="645" y="259"/>
                  </a:lnTo>
                  <a:lnTo>
                    <a:pt x="638" y="263"/>
                  </a:lnTo>
                  <a:lnTo>
                    <a:pt x="629" y="260"/>
                  </a:lnTo>
                  <a:lnTo>
                    <a:pt x="613" y="250"/>
                  </a:lnTo>
                  <a:lnTo>
                    <a:pt x="617" y="246"/>
                  </a:lnTo>
                  <a:lnTo>
                    <a:pt x="617" y="240"/>
                  </a:lnTo>
                  <a:lnTo>
                    <a:pt x="614" y="234"/>
                  </a:lnTo>
                  <a:lnTo>
                    <a:pt x="611" y="225"/>
                  </a:lnTo>
                  <a:lnTo>
                    <a:pt x="617" y="224"/>
                  </a:lnTo>
                  <a:lnTo>
                    <a:pt x="622" y="220"/>
                  </a:lnTo>
                  <a:lnTo>
                    <a:pt x="623" y="212"/>
                  </a:lnTo>
                  <a:lnTo>
                    <a:pt x="620" y="205"/>
                  </a:lnTo>
                  <a:lnTo>
                    <a:pt x="623" y="201"/>
                  </a:lnTo>
                  <a:lnTo>
                    <a:pt x="626" y="204"/>
                  </a:lnTo>
                  <a:lnTo>
                    <a:pt x="627" y="204"/>
                  </a:lnTo>
                  <a:lnTo>
                    <a:pt x="633" y="205"/>
                  </a:lnTo>
                  <a:lnTo>
                    <a:pt x="630" y="196"/>
                  </a:lnTo>
                  <a:lnTo>
                    <a:pt x="633" y="186"/>
                  </a:lnTo>
                  <a:lnTo>
                    <a:pt x="638" y="180"/>
                  </a:lnTo>
                  <a:lnTo>
                    <a:pt x="643" y="177"/>
                  </a:lnTo>
                  <a:lnTo>
                    <a:pt x="655" y="179"/>
                  </a:lnTo>
                  <a:lnTo>
                    <a:pt x="662" y="182"/>
                  </a:lnTo>
                  <a:lnTo>
                    <a:pt x="668" y="189"/>
                  </a:lnTo>
                  <a:lnTo>
                    <a:pt x="671" y="182"/>
                  </a:lnTo>
                  <a:lnTo>
                    <a:pt x="678" y="177"/>
                  </a:lnTo>
                  <a:lnTo>
                    <a:pt x="686" y="177"/>
                  </a:lnTo>
                  <a:lnTo>
                    <a:pt x="692" y="180"/>
                  </a:lnTo>
                  <a:lnTo>
                    <a:pt x="692" y="179"/>
                  </a:lnTo>
                  <a:lnTo>
                    <a:pt x="693" y="177"/>
                  </a:lnTo>
                  <a:lnTo>
                    <a:pt x="693" y="177"/>
                  </a:lnTo>
                  <a:lnTo>
                    <a:pt x="694" y="177"/>
                  </a:lnTo>
                  <a:lnTo>
                    <a:pt x="692" y="177"/>
                  </a:lnTo>
                  <a:lnTo>
                    <a:pt x="690" y="176"/>
                  </a:lnTo>
                  <a:lnTo>
                    <a:pt x="689" y="173"/>
                  </a:lnTo>
                  <a:lnTo>
                    <a:pt x="687" y="169"/>
                  </a:lnTo>
                  <a:lnTo>
                    <a:pt x="690" y="169"/>
                  </a:lnTo>
                  <a:lnTo>
                    <a:pt x="693" y="166"/>
                  </a:lnTo>
                  <a:lnTo>
                    <a:pt x="694" y="164"/>
                  </a:lnTo>
                  <a:lnTo>
                    <a:pt x="696" y="169"/>
                  </a:lnTo>
                  <a:lnTo>
                    <a:pt x="699" y="161"/>
                  </a:lnTo>
                  <a:lnTo>
                    <a:pt x="702" y="158"/>
                  </a:lnTo>
                  <a:lnTo>
                    <a:pt x="710" y="160"/>
                  </a:lnTo>
                  <a:lnTo>
                    <a:pt x="718" y="160"/>
                  </a:lnTo>
                  <a:lnTo>
                    <a:pt x="721" y="158"/>
                  </a:lnTo>
                  <a:lnTo>
                    <a:pt x="724" y="154"/>
                  </a:lnTo>
                  <a:lnTo>
                    <a:pt x="726" y="153"/>
                  </a:lnTo>
                  <a:lnTo>
                    <a:pt x="735" y="154"/>
                  </a:lnTo>
                  <a:lnTo>
                    <a:pt x="751" y="160"/>
                  </a:lnTo>
                  <a:lnTo>
                    <a:pt x="788" y="163"/>
                  </a:lnTo>
                  <a:lnTo>
                    <a:pt x="796" y="160"/>
                  </a:lnTo>
                  <a:lnTo>
                    <a:pt x="805" y="153"/>
                  </a:lnTo>
                  <a:lnTo>
                    <a:pt x="801" y="145"/>
                  </a:lnTo>
                  <a:lnTo>
                    <a:pt x="791" y="144"/>
                  </a:lnTo>
                  <a:lnTo>
                    <a:pt x="783" y="148"/>
                  </a:lnTo>
                  <a:lnTo>
                    <a:pt x="770" y="141"/>
                  </a:lnTo>
                  <a:lnTo>
                    <a:pt x="690" y="141"/>
                  </a:lnTo>
                  <a:lnTo>
                    <a:pt x="675" y="135"/>
                  </a:lnTo>
                  <a:lnTo>
                    <a:pt x="668" y="123"/>
                  </a:lnTo>
                  <a:lnTo>
                    <a:pt x="671" y="123"/>
                  </a:lnTo>
                  <a:lnTo>
                    <a:pt x="671" y="119"/>
                  </a:lnTo>
                  <a:lnTo>
                    <a:pt x="664" y="123"/>
                  </a:lnTo>
                  <a:lnTo>
                    <a:pt x="659" y="128"/>
                  </a:lnTo>
                  <a:lnTo>
                    <a:pt x="654" y="144"/>
                  </a:lnTo>
                  <a:lnTo>
                    <a:pt x="639" y="169"/>
                  </a:lnTo>
                  <a:lnTo>
                    <a:pt x="638" y="174"/>
                  </a:lnTo>
                  <a:lnTo>
                    <a:pt x="617" y="205"/>
                  </a:lnTo>
                  <a:lnTo>
                    <a:pt x="604" y="230"/>
                  </a:lnTo>
                  <a:lnTo>
                    <a:pt x="598" y="236"/>
                  </a:lnTo>
                  <a:lnTo>
                    <a:pt x="585" y="247"/>
                  </a:lnTo>
                  <a:lnTo>
                    <a:pt x="559" y="260"/>
                  </a:lnTo>
                  <a:lnTo>
                    <a:pt x="555" y="262"/>
                  </a:lnTo>
                  <a:lnTo>
                    <a:pt x="550" y="266"/>
                  </a:lnTo>
                  <a:lnTo>
                    <a:pt x="541" y="279"/>
                  </a:lnTo>
                  <a:lnTo>
                    <a:pt x="534" y="285"/>
                  </a:lnTo>
                  <a:lnTo>
                    <a:pt x="523" y="301"/>
                  </a:lnTo>
                  <a:lnTo>
                    <a:pt x="521" y="307"/>
                  </a:lnTo>
                  <a:lnTo>
                    <a:pt x="524" y="304"/>
                  </a:lnTo>
                  <a:lnTo>
                    <a:pt x="527" y="303"/>
                  </a:lnTo>
                  <a:lnTo>
                    <a:pt x="531" y="303"/>
                  </a:lnTo>
                  <a:lnTo>
                    <a:pt x="534" y="303"/>
                  </a:lnTo>
                  <a:lnTo>
                    <a:pt x="531" y="311"/>
                  </a:lnTo>
                  <a:lnTo>
                    <a:pt x="523" y="316"/>
                  </a:lnTo>
                  <a:lnTo>
                    <a:pt x="518" y="323"/>
                  </a:lnTo>
                  <a:lnTo>
                    <a:pt x="520" y="329"/>
                  </a:lnTo>
                  <a:lnTo>
                    <a:pt x="521" y="345"/>
                  </a:lnTo>
                  <a:lnTo>
                    <a:pt x="525" y="352"/>
                  </a:lnTo>
                  <a:lnTo>
                    <a:pt x="517" y="342"/>
                  </a:lnTo>
                  <a:lnTo>
                    <a:pt x="517" y="329"/>
                  </a:lnTo>
                  <a:lnTo>
                    <a:pt x="518" y="311"/>
                  </a:lnTo>
                  <a:lnTo>
                    <a:pt x="515" y="295"/>
                  </a:lnTo>
                  <a:lnTo>
                    <a:pt x="502" y="303"/>
                  </a:lnTo>
                  <a:lnTo>
                    <a:pt x="421" y="321"/>
                  </a:lnTo>
                  <a:lnTo>
                    <a:pt x="391" y="316"/>
                  </a:lnTo>
                  <a:lnTo>
                    <a:pt x="377" y="317"/>
                  </a:lnTo>
                  <a:lnTo>
                    <a:pt x="367" y="326"/>
                  </a:lnTo>
                  <a:lnTo>
                    <a:pt x="358" y="340"/>
                  </a:lnTo>
                  <a:lnTo>
                    <a:pt x="356" y="342"/>
                  </a:lnTo>
                  <a:lnTo>
                    <a:pt x="355" y="345"/>
                  </a:lnTo>
                  <a:lnTo>
                    <a:pt x="354" y="348"/>
                  </a:lnTo>
                  <a:lnTo>
                    <a:pt x="354" y="351"/>
                  </a:lnTo>
                  <a:lnTo>
                    <a:pt x="356" y="352"/>
                  </a:lnTo>
                  <a:lnTo>
                    <a:pt x="356" y="355"/>
                  </a:lnTo>
                  <a:lnTo>
                    <a:pt x="355" y="359"/>
                  </a:lnTo>
                  <a:lnTo>
                    <a:pt x="354" y="364"/>
                  </a:lnTo>
                  <a:lnTo>
                    <a:pt x="351" y="367"/>
                  </a:lnTo>
                  <a:lnTo>
                    <a:pt x="348" y="367"/>
                  </a:lnTo>
                  <a:lnTo>
                    <a:pt x="343" y="371"/>
                  </a:lnTo>
                  <a:lnTo>
                    <a:pt x="338" y="387"/>
                  </a:lnTo>
                  <a:lnTo>
                    <a:pt x="330" y="391"/>
                  </a:lnTo>
                  <a:lnTo>
                    <a:pt x="327" y="391"/>
                  </a:lnTo>
                  <a:lnTo>
                    <a:pt x="319" y="388"/>
                  </a:lnTo>
                  <a:lnTo>
                    <a:pt x="319" y="391"/>
                  </a:lnTo>
                  <a:lnTo>
                    <a:pt x="320" y="391"/>
                  </a:lnTo>
                  <a:lnTo>
                    <a:pt x="320" y="396"/>
                  </a:lnTo>
                  <a:lnTo>
                    <a:pt x="308" y="407"/>
                  </a:lnTo>
                  <a:lnTo>
                    <a:pt x="310" y="410"/>
                  </a:lnTo>
                  <a:lnTo>
                    <a:pt x="310" y="418"/>
                  </a:lnTo>
                  <a:lnTo>
                    <a:pt x="311" y="420"/>
                  </a:lnTo>
                  <a:lnTo>
                    <a:pt x="308" y="420"/>
                  </a:lnTo>
                  <a:lnTo>
                    <a:pt x="304" y="423"/>
                  </a:lnTo>
                  <a:lnTo>
                    <a:pt x="303" y="428"/>
                  </a:lnTo>
                  <a:lnTo>
                    <a:pt x="304" y="436"/>
                  </a:lnTo>
                  <a:lnTo>
                    <a:pt x="301" y="450"/>
                  </a:lnTo>
                  <a:lnTo>
                    <a:pt x="297" y="458"/>
                  </a:lnTo>
                  <a:lnTo>
                    <a:pt x="297" y="464"/>
                  </a:lnTo>
                  <a:lnTo>
                    <a:pt x="292" y="464"/>
                  </a:lnTo>
                  <a:lnTo>
                    <a:pt x="289" y="463"/>
                  </a:lnTo>
                  <a:lnTo>
                    <a:pt x="276" y="447"/>
                  </a:lnTo>
                  <a:lnTo>
                    <a:pt x="276" y="444"/>
                  </a:lnTo>
                  <a:lnTo>
                    <a:pt x="262" y="444"/>
                  </a:lnTo>
                  <a:lnTo>
                    <a:pt x="260" y="442"/>
                  </a:lnTo>
                  <a:lnTo>
                    <a:pt x="256" y="434"/>
                  </a:lnTo>
                  <a:lnTo>
                    <a:pt x="254" y="432"/>
                  </a:lnTo>
                  <a:lnTo>
                    <a:pt x="240" y="444"/>
                  </a:lnTo>
                  <a:lnTo>
                    <a:pt x="237" y="445"/>
                  </a:lnTo>
                  <a:lnTo>
                    <a:pt x="227" y="444"/>
                  </a:lnTo>
                  <a:lnTo>
                    <a:pt x="222" y="441"/>
                  </a:lnTo>
                  <a:lnTo>
                    <a:pt x="221" y="435"/>
                  </a:lnTo>
                  <a:lnTo>
                    <a:pt x="222" y="422"/>
                  </a:lnTo>
                  <a:lnTo>
                    <a:pt x="221" y="419"/>
                  </a:lnTo>
                  <a:lnTo>
                    <a:pt x="209" y="416"/>
                  </a:lnTo>
                  <a:lnTo>
                    <a:pt x="206" y="412"/>
                  </a:lnTo>
                  <a:lnTo>
                    <a:pt x="203" y="403"/>
                  </a:lnTo>
                  <a:lnTo>
                    <a:pt x="202" y="400"/>
                  </a:lnTo>
                  <a:lnTo>
                    <a:pt x="199" y="399"/>
                  </a:lnTo>
                  <a:lnTo>
                    <a:pt x="157" y="404"/>
                  </a:lnTo>
                  <a:lnTo>
                    <a:pt x="138" y="415"/>
                  </a:lnTo>
                  <a:lnTo>
                    <a:pt x="131" y="416"/>
                  </a:lnTo>
                  <a:lnTo>
                    <a:pt x="125" y="418"/>
                  </a:lnTo>
                  <a:lnTo>
                    <a:pt x="115" y="429"/>
                  </a:lnTo>
                  <a:lnTo>
                    <a:pt x="110" y="432"/>
                  </a:lnTo>
                  <a:lnTo>
                    <a:pt x="109" y="432"/>
                  </a:lnTo>
                  <a:lnTo>
                    <a:pt x="104" y="432"/>
                  </a:lnTo>
                  <a:lnTo>
                    <a:pt x="104" y="435"/>
                  </a:lnTo>
                  <a:lnTo>
                    <a:pt x="104" y="450"/>
                  </a:lnTo>
                  <a:lnTo>
                    <a:pt x="106" y="451"/>
                  </a:lnTo>
                  <a:lnTo>
                    <a:pt x="106" y="454"/>
                  </a:lnTo>
                  <a:lnTo>
                    <a:pt x="109" y="455"/>
                  </a:lnTo>
                  <a:lnTo>
                    <a:pt x="109" y="455"/>
                  </a:lnTo>
                  <a:lnTo>
                    <a:pt x="110" y="457"/>
                  </a:lnTo>
                  <a:lnTo>
                    <a:pt x="123" y="461"/>
                  </a:lnTo>
                  <a:lnTo>
                    <a:pt x="125" y="461"/>
                  </a:lnTo>
                  <a:lnTo>
                    <a:pt x="123" y="461"/>
                  </a:lnTo>
                  <a:lnTo>
                    <a:pt x="123" y="461"/>
                  </a:lnTo>
                  <a:lnTo>
                    <a:pt x="122" y="463"/>
                  </a:lnTo>
                  <a:lnTo>
                    <a:pt x="122" y="463"/>
                  </a:lnTo>
                  <a:lnTo>
                    <a:pt x="120" y="464"/>
                  </a:lnTo>
                  <a:lnTo>
                    <a:pt x="119" y="466"/>
                  </a:lnTo>
                  <a:lnTo>
                    <a:pt x="109" y="467"/>
                  </a:lnTo>
                  <a:lnTo>
                    <a:pt x="107" y="467"/>
                  </a:lnTo>
                  <a:lnTo>
                    <a:pt x="107" y="467"/>
                  </a:lnTo>
                  <a:lnTo>
                    <a:pt x="106" y="467"/>
                  </a:lnTo>
                  <a:lnTo>
                    <a:pt x="106" y="466"/>
                  </a:lnTo>
                  <a:lnTo>
                    <a:pt x="106" y="466"/>
                  </a:lnTo>
                  <a:lnTo>
                    <a:pt x="104" y="464"/>
                  </a:lnTo>
                  <a:lnTo>
                    <a:pt x="104" y="463"/>
                  </a:lnTo>
                  <a:lnTo>
                    <a:pt x="106" y="461"/>
                  </a:lnTo>
                  <a:lnTo>
                    <a:pt x="106" y="461"/>
                  </a:lnTo>
                  <a:lnTo>
                    <a:pt x="106" y="460"/>
                  </a:lnTo>
                  <a:lnTo>
                    <a:pt x="106" y="460"/>
                  </a:lnTo>
                  <a:lnTo>
                    <a:pt x="102" y="458"/>
                  </a:lnTo>
                  <a:lnTo>
                    <a:pt x="100" y="457"/>
                  </a:lnTo>
                  <a:lnTo>
                    <a:pt x="99" y="457"/>
                  </a:lnTo>
                  <a:lnTo>
                    <a:pt x="97" y="457"/>
                  </a:lnTo>
                  <a:lnTo>
                    <a:pt x="90" y="463"/>
                  </a:lnTo>
                  <a:lnTo>
                    <a:pt x="72" y="479"/>
                  </a:lnTo>
                  <a:lnTo>
                    <a:pt x="65" y="483"/>
                  </a:lnTo>
                  <a:lnTo>
                    <a:pt x="59" y="486"/>
                  </a:lnTo>
                  <a:lnTo>
                    <a:pt x="56" y="487"/>
                  </a:lnTo>
                  <a:lnTo>
                    <a:pt x="55" y="489"/>
                  </a:lnTo>
                  <a:lnTo>
                    <a:pt x="52" y="495"/>
                  </a:lnTo>
                  <a:lnTo>
                    <a:pt x="52" y="496"/>
                  </a:lnTo>
                  <a:lnTo>
                    <a:pt x="51" y="502"/>
                  </a:lnTo>
                  <a:lnTo>
                    <a:pt x="51" y="503"/>
                  </a:lnTo>
                  <a:lnTo>
                    <a:pt x="51" y="503"/>
                  </a:lnTo>
                  <a:lnTo>
                    <a:pt x="52" y="505"/>
                  </a:lnTo>
                  <a:lnTo>
                    <a:pt x="52" y="506"/>
                  </a:lnTo>
                  <a:lnTo>
                    <a:pt x="55" y="514"/>
                  </a:lnTo>
                  <a:lnTo>
                    <a:pt x="55" y="515"/>
                  </a:lnTo>
                  <a:lnTo>
                    <a:pt x="56" y="521"/>
                  </a:lnTo>
                  <a:lnTo>
                    <a:pt x="56" y="524"/>
                  </a:lnTo>
                  <a:lnTo>
                    <a:pt x="58" y="531"/>
                  </a:lnTo>
                  <a:lnTo>
                    <a:pt x="58" y="537"/>
                  </a:lnTo>
                  <a:lnTo>
                    <a:pt x="56" y="541"/>
                  </a:lnTo>
                  <a:lnTo>
                    <a:pt x="53" y="556"/>
                  </a:lnTo>
                  <a:lnTo>
                    <a:pt x="53" y="557"/>
                  </a:lnTo>
                  <a:lnTo>
                    <a:pt x="53" y="557"/>
                  </a:lnTo>
                  <a:lnTo>
                    <a:pt x="55" y="559"/>
                  </a:lnTo>
                  <a:lnTo>
                    <a:pt x="58" y="559"/>
                  </a:lnTo>
                  <a:lnTo>
                    <a:pt x="61" y="559"/>
                  </a:lnTo>
                  <a:lnTo>
                    <a:pt x="69" y="562"/>
                  </a:lnTo>
                  <a:lnTo>
                    <a:pt x="71" y="563"/>
                  </a:lnTo>
                  <a:lnTo>
                    <a:pt x="74" y="566"/>
                  </a:lnTo>
                  <a:lnTo>
                    <a:pt x="77" y="570"/>
                  </a:lnTo>
                  <a:lnTo>
                    <a:pt x="84" y="581"/>
                  </a:lnTo>
                  <a:lnTo>
                    <a:pt x="88" y="584"/>
                  </a:lnTo>
                  <a:lnTo>
                    <a:pt x="91" y="585"/>
                  </a:lnTo>
                  <a:lnTo>
                    <a:pt x="96" y="585"/>
                  </a:lnTo>
                  <a:lnTo>
                    <a:pt x="99" y="585"/>
                  </a:lnTo>
                  <a:lnTo>
                    <a:pt x="102" y="585"/>
                  </a:lnTo>
                  <a:lnTo>
                    <a:pt x="107" y="588"/>
                  </a:lnTo>
                  <a:lnTo>
                    <a:pt x="112" y="589"/>
                  </a:lnTo>
                  <a:lnTo>
                    <a:pt x="116" y="595"/>
                  </a:lnTo>
                  <a:lnTo>
                    <a:pt x="118" y="597"/>
                  </a:lnTo>
                  <a:lnTo>
                    <a:pt x="119" y="600"/>
                  </a:lnTo>
                  <a:lnTo>
                    <a:pt x="119" y="601"/>
                  </a:lnTo>
                  <a:lnTo>
                    <a:pt x="119" y="602"/>
                  </a:lnTo>
                  <a:lnTo>
                    <a:pt x="119" y="604"/>
                  </a:lnTo>
                  <a:lnTo>
                    <a:pt x="119" y="607"/>
                  </a:lnTo>
                  <a:lnTo>
                    <a:pt x="122" y="611"/>
                  </a:lnTo>
                  <a:lnTo>
                    <a:pt x="122" y="613"/>
                  </a:lnTo>
                  <a:lnTo>
                    <a:pt x="122" y="614"/>
                  </a:lnTo>
                  <a:lnTo>
                    <a:pt x="122" y="616"/>
                  </a:lnTo>
                  <a:lnTo>
                    <a:pt x="122" y="618"/>
                  </a:lnTo>
                  <a:lnTo>
                    <a:pt x="122" y="620"/>
                  </a:lnTo>
                  <a:lnTo>
                    <a:pt x="122" y="621"/>
                  </a:lnTo>
                  <a:lnTo>
                    <a:pt x="122" y="623"/>
                  </a:lnTo>
                  <a:lnTo>
                    <a:pt x="122" y="624"/>
                  </a:lnTo>
                  <a:lnTo>
                    <a:pt x="119" y="626"/>
                  </a:lnTo>
                  <a:lnTo>
                    <a:pt x="116" y="627"/>
                  </a:lnTo>
                  <a:lnTo>
                    <a:pt x="118" y="637"/>
                  </a:lnTo>
                  <a:lnTo>
                    <a:pt x="120" y="653"/>
                  </a:lnTo>
                  <a:lnTo>
                    <a:pt x="122" y="656"/>
                  </a:lnTo>
                  <a:lnTo>
                    <a:pt x="122" y="659"/>
                  </a:lnTo>
                  <a:lnTo>
                    <a:pt x="120" y="661"/>
                  </a:lnTo>
                  <a:lnTo>
                    <a:pt x="118" y="662"/>
                  </a:lnTo>
                  <a:lnTo>
                    <a:pt x="118" y="662"/>
                  </a:lnTo>
                  <a:lnTo>
                    <a:pt x="120" y="662"/>
                  </a:lnTo>
                  <a:lnTo>
                    <a:pt x="122" y="664"/>
                  </a:lnTo>
                  <a:lnTo>
                    <a:pt x="122" y="665"/>
                  </a:lnTo>
                  <a:lnTo>
                    <a:pt x="120" y="667"/>
                  </a:lnTo>
                  <a:lnTo>
                    <a:pt x="118" y="668"/>
                  </a:lnTo>
                  <a:lnTo>
                    <a:pt x="116" y="672"/>
                  </a:lnTo>
                  <a:lnTo>
                    <a:pt x="115" y="674"/>
                  </a:lnTo>
                  <a:lnTo>
                    <a:pt x="113" y="674"/>
                  </a:lnTo>
                  <a:lnTo>
                    <a:pt x="112" y="674"/>
                  </a:lnTo>
                  <a:lnTo>
                    <a:pt x="112" y="672"/>
                  </a:lnTo>
                  <a:lnTo>
                    <a:pt x="110" y="671"/>
                  </a:lnTo>
                  <a:lnTo>
                    <a:pt x="110" y="667"/>
                  </a:lnTo>
                  <a:lnTo>
                    <a:pt x="110" y="665"/>
                  </a:lnTo>
                  <a:lnTo>
                    <a:pt x="109" y="664"/>
                  </a:lnTo>
                  <a:lnTo>
                    <a:pt x="109" y="664"/>
                  </a:lnTo>
                  <a:lnTo>
                    <a:pt x="107" y="662"/>
                  </a:lnTo>
                  <a:lnTo>
                    <a:pt x="107" y="661"/>
                  </a:lnTo>
                  <a:lnTo>
                    <a:pt x="106" y="661"/>
                  </a:lnTo>
                  <a:lnTo>
                    <a:pt x="104" y="661"/>
                  </a:lnTo>
                  <a:lnTo>
                    <a:pt x="88" y="662"/>
                  </a:lnTo>
                  <a:lnTo>
                    <a:pt x="87" y="662"/>
                  </a:lnTo>
                  <a:lnTo>
                    <a:pt x="85" y="662"/>
                  </a:lnTo>
                  <a:lnTo>
                    <a:pt x="83" y="661"/>
                  </a:lnTo>
                  <a:lnTo>
                    <a:pt x="80" y="661"/>
                  </a:lnTo>
                  <a:lnTo>
                    <a:pt x="78" y="662"/>
                  </a:lnTo>
                  <a:lnTo>
                    <a:pt x="78" y="664"/>
                  </a:lnTo>
                  <a:lnTo>
                    <a:pt x="78" y="665"/>
                  </a:lnTo>
                  <a:lnTo>
                    <a:pt x="78" y="669"/>
                  </a:lnTo>
                  <a:lnTo>
                    <a:pt x="80" y="672"/>
                  </a:lnTo>
                  <a:lnTo>
                    <a:pt x="80" y="675"/>
                  </a:lnTo>
                  <a:lnTo>
                    <a:pt x="80" y="677"/>
                  </a:lnTo>
                  <a:lnTo>
                    <a:pt x="77" y="683"/>
                  </a:lnTo>
                  <a:lnTo>
                    <a:pt x="77" y="684"/>
                  </a:lnTo>
                  <a:lnTo>
                    <a:pt x="77" y="685"/>
                  </a:lnTo>
                  <a:lnTo>
                    <a:pt x="75" y="690"/>
                  </a:lnTo>
                  <a:lnTo>
                    <a:pt x="75" y="691"/>
                  </a:lnTo>
                  <a:lnTo>
                    <a:pt x="75" y="693"/>
                  </a:lnTo>
                  <a:lnTo>
                    <a:pt x="75" y="694"/>
                  </a:lnTo>
                  <a:lnTo>
                    <a:pt x="69" y="697"/>
                  </a:lnTo>
                  <a:lnTo>
                    <a:pt x="55" y="709"/>
                  </a:lnTo>
                  <a:lnTo>
                    <a:pt x="52" y="710"/>
                  </a:lnTo>
                  <a:lnTo>
                    <a:pt x="49" y="710"/>
                  </a:lnTo>
                  <a:lnTo>
                    <a:pt x="42" y="713"/>
                  </a:lnTo>
                  <a:lnTo>
                    <a:pt x="36" y="715"/>
                  </a:lnTo>
                  <a:lnTo>
                    <a:pt x="34" y="716"/>
                  </a:lnTo>
                  <a:lnTo>
                    <a:pt x="34" y="716"/>
                  </a:lnTo>
                  <a:lnTo>
                    <a:pt x="33" y="720"/>
                  </a:lnTo>
                  <a:lnTo>
                    <a:pt x="33" y="722"/>
                  </a:lnTo>
                  <a:lnTo>
                    <a:pt x="32" y="726"/>
                  </a:lnTo>
                  <a:lnTo>
                    <a:pt x="30" y="728"/>
                  </a:lnTo>
                  <a:lnTo>
                    <a:pt x="29" y="728"/>
                  </a:lnTo>
                  <a:lnTo>
                    <a:pt x="24" y="726"/>
                  </a:lnTo>
                  <a:lnTo>
                    <a:pt x="23" y="726"/>
                  </a:lnTo>
                  <a:lnTo>
                    <a:pt x="20" y="726"/>
                  </a:lnTo>
                  <a:lnTo>
                    <a:pt x="16" y="729"/>
                  </a:lnTo>
                  <a:lnTo>
                    <a:pt x="13" y="731"/>
                  </a:lnTo>
                  <a:lnTo>
                    <a:pt x="11" y="732"/>
                  </a:lnTo>
                  <a:lnTo>
                    <a:pt x="11" y="735"/>
                  </a:lnTo>
                  <a:lnTo>
                    <a:pt x="8" y="752"/>
                  </a:lnTo>
                  <a:lnTo>
                    <a:pt x="8" y="757"/>
                  </a:lnTo>
                  <a:lnTo>
                    <a:pt x="8" y="758"/>
                  </a:lnTo>
                  <a:lnTo>
                    <a:pt x="8" y="760"/>
                  </a:lnTo>
                  <a:lnTo>
                    <a:pt x="8" y="763"/>
                  </a:lnTo>
                  <a:lnTo>
                    <a:pt x="7" y="766"/>
                  </a:lnTo>
                  <a:lnTo>
                    <a:pt x="2" y="771"/>
                  </a:lnTo>
                  <a:lnTo>
                    <a:pt x="0" y="777"/>
                  </a:lnTo>
                  <a:lnTo>
                    <a:pt x="24" y="776"/>
                  </a:lnTo>
                  <a:lnTo>
                    <a:pt x="37" y="779"/>
                  </a:lnTo>
                  <a:lnTo>
                    <a:pt x="45" y="789"/>
                  </a:lnTo>
                  <a:lnTo>
                    <a:pt x="45" y="796"/>
                  </a:lnTo>
                  <a:lnTo>
                    <a:pt x="45" y="806"/>
                  </a:lnTo>
                  <a:lnTo>
                    <a:pt x="48" y="814"/>
                  </a:lnTo>
                  <a:lnTo>
                    <a:pt x="53" y="816"/>
                  </a:lnTo>
                  <a:lnTo>
                    <a:pt x="59" y="818"/>
                  </a:lnTo>
                  <a:lnTo>
                    <a:pt x="64" y="822"/>
                  </a:lnTo>
                  <a:lnTo>
                    <a:pt x="71" y="833"/>
                  </a:lnTo>
                  <a:lnTo>
                    <a:pt x="81" y="841"/>
                  </a:lnTo>
                  <a:lnTo>
                    <a:pt x="113" y="860"/>
                  </a:lnTo>
                  <a:lnTo>
                    <a:pt x="151" y="897"/>
                  </a:lnTo>
                  <a:lnTo>
                    <a:pt x="161" y="902"/>
                  </a:lnTo>
                  <a:lnTo>
                    <a:pt x="164" y="905"/>
                  </a:lnTo>
                  <a:lnTo>
                    <a:pt x="169" y="908"/>
                  </a:lnTo>
                  <a:lnTo>
                    <a:pt x="173" y="907"/>
                  </a:lnTo>
                  <a:lnTo>
                    <a:pt x="176" y="902"/>
                  </a:lnTo>
                  <a:lnTo>
                    <a:pt x="182" y="898"/>
                  </a:lnTo>
                  <a:lnTo>
                    <a:pt x="185" y="895"/>
                  </a:lnTo>
                  <a:lnTo>
                    <a:pt x="187" y="892"/>
                  </a:lnTo>
                  <a:lnTo>
                    <a:pt x="192" y="892"/>
                  </a:lnTo>
                  <a:lnTo>
                    <a:pt x="195" y="894"/>
                  </a:lnTo>
                  <a:lnTo>
                    <a:pt x="196" y="897"/>
                  </a:lnTo>
                  <a:lnTo>
                    <a:pt x="199" y="901"/>
                  </a:lnTo>
                  <a:lnTo>
                    <a:pt x="202" y="904"/>
                  </a:lnTo>
                  <a:lnTo>
                    <a:pt x="205" y="911"/>
                  </a:lnTo>
                  <a:lnTo>
                    <a:pt x="208" y="911"/>
                  </a:lnTo>
                  <a:lnTo>
                    <a:pt x="212" y="905"/>
                  </a:lnTo>
                  <a:lnTo>
                    <a:pt x="215" y="904"/>
                  </a:lnTo>
                  <a:lnTo>
                    <a:pt x="218" y="907"/>
                  </a:lnTo>
                  <a:lnTo>
                    <a:pt x="221" y="910"/>
                  </a:lnTo>
                  <a:lnTo>
                    <a:pt x="227" y="914"/>
                  </a:lnTo>
                  <a:lnTo>
                    <a:pt x="228" y="917"/>
                  </a:lnTo>
                  <a:lnTo>
                    <a:pt x="233" y="924"/>
                  </a:lnTo>
                  <a:lnTo>
                    <a:pt x="240" y="923"/>
                  </a:lnTo>
                  <a:lnTo>
                    <a:pt x="249" y="926"/>
                  </a:lnTo>
                  <a:lnTo>
                    <a:pt x="260" y="926"/>
                  </a:lnTo>
                  <a:lnTo>
                    <a:pt x="268" y="929"/>
                  </a:lnTo>
                  <a:lnTo>
                    <a:pt x="275" y="930"/>
                  </a:lnTo>
                  <a:lnTo>
                    <a:pt x="275" y="921"/>
                  </a:lnTo>
                  <a:lnTo>
                    <a:pt x="276" y="915"/>
                  </a:lnTo>
                  <a:lnTo>
                    <a:pt x="282" y="913"/>
                  </a:lnTo>
                  <a:lnTo>
                    <a:pt x="292" y="913"/>
                  </a:lnTo>
                  <a:lnTo>
                    <a:pt x="303" y="918"/>
                  </a:lnTo>
                  <a:lnTo>
                    <a:pt x="311" y="923"/>
                  </a:lnTo>
                  <a:lnTo>
                    <a:pt x="321" y="923"/>
                  </a:lnTo>
                  <a:lnTo>
                    <a:pt x="329" y="917"/>
                  </a:lnTo>
                  <a:lnTo>
                    <a:pt x="330" y="908"/>
                  </a:lnTo>
                  <a:lnTo>
                    <a:pt x="329" y="904"/>
                  </a:lnTo>
                  <a:lnTo>
                    <a:pt x="329" y="894"/>
                  </a:lnTo>
                  <a:lnTo>
                    <a:pt x="327" y="889"/>
                  </a:lnTo>
                  <a:lnTo>
                    <a:pt x="326" y="886"/>
                  </a:lnTo>
                  <a:lnTo>
                    <a:pt x="323" y="883"/>
                  </a:lnTo>
                  <a:lnTo>
                    <a:pt x="321" y="879"/>
                  </a:lnTo>
                  <a:lnTo>
                    <a:pt x="324" y="873"/>
                  </a:lnTo>
                  <a:lnTo>
                    <a:pt x="339" y="859"/>
                  </a:lnTo>
                  <a:lnTo>
                    <a:pt x="346" y="854"/>
                  </a:lnTo>
                  <a:lnTo>
                    <a:pt x="365" y="847"/>
                  </a:lnTo>
                  <a:lnTo>
                    <a:pt x="377" y="847"/>
                  </a:lnTo>
                  <a:lnTo>
                    <a:pt x="381" y="849"/>
                  </a:lnTo>
                  <a:lnTo>
                    <a:pt x="391" y="857"/>
                  </a:lnTo>
                  <a:lnTo>
                    <a:pt x="396" y="867"/>
                  </a:lnTo>
                  <a:lnTo>
                    <a:pt x="403" y="863"/>
                  </a:lnTo>
                  <a:lnTo>
                    <a:pt x="410" y="860"/>
                  </a:lnTo>
                  <a:lnTo>
                    <a:pt x="419" y="860"/>
                  </a:lnTo>
                  <a:lnTo>
                    <a:pt x="429" y="862"/>
                  </a:lnTo>
                  <a:lnTo>
                    <a:pt x="428" y="853"/>
                  </a:lnTo>
                  <a:lnTo>
                    <a:pt x="421" y="847"/>
                  </a:lnTo>
                  <a:lnTo>
                    <a:pt x="425" y="846"/>
                  </a:lnTo>
                  <a:lnTo>
                    <a:pt x="428" y="844"/>
                  </a:lnTo>
                  <a:lnTo>
                    <a:pt x="437" y="847"/>
                  </a:lnTo>
                  <a:lnTo>
                    <a:pt x="445" y="837"/>
                  </a:lnTo>
                  <a:lnTo>
                    <a:pt x="458" y="830"/>
                  </a:lnTo>
                  <a:lnTo>
                    <a:pt x="464" y="828"/>
                  </a:lnTo>
                  <a:lnTo>
                    <a:pt x="472" y="831"/>
                  </a:lnTo>
                  <a:lnTo>
                    <a:pt x="477" y="824"/>
                  </a:lnTo>
                  <a:lnTo>
                    <a:pt x="483" y="819"/>
                  </a:lnTo>
                  <a:lnTo>
                    <a:pt x="489" y="819"/>
                  </a:lnTo>
                  <a:lnTo>
                    <a:pt x="492" y="809"/>
                  </a:lnTo>
                  <a:lnTo>
                    <a:pt x="493" y="802"/>
                  </a:lnTo>
                  <a:lnTo>
                    <a:pt x="502" y="796"/>
                  </a:lnTo>
                  <a:lnTo>
                    <a:pt x="508" y="786"/>
                  </a:lnTo>
                  <a:lnTo>
                    <a:pt x="509" y="786"/>
                  </a:lnTo>
                  <a:lnTo>
                    <a:pt x="512" y="784"/>
                  </a:lnTo>
                  <a:lnTo>
                    <a:pt x="518" y="782"/>
                  </a:lnTo>
                  <a:lnTo>
                    <a:pt x="524" y="782"/>
                  </a:lnTo>
                  <a:lnTo>
                    <a:pt x="527" y="780"/>
                  </a:lnTo>
                  <a:lnTo>
                    <a:pt x="528" y="780"/>
                  </a:lnTo>
                  <a:lnTo>
                    <a:pt x="530" y="780"/>
                  </a:lnTo>
                  <a:lnTo>
                    <a:pt x="536" y="786"/>
                  </a:lnTo>
                  <a:lnTo>
                    <a:pt x="537" y="787"/>
                  </a:lnTo>
                  <a:lnTo>
                    <a:pt x="539" y="786"/>
                  </a:lnTo>
                  <a:lnTo>
                    <a:pt x="540" y="786"/>
                  </a:lnTo>
                  <a:lnTo>
                    <a:pt x="547" y="780"/>
                  </a:lnTo>
                  <a:lnTo>
                    <a:pt x="550" y="779"/>
                  </a:lnTo>
                  <a:lnTo>
                    <a:pt x="552" y="779"/>
                  </a:lnTo>
                  <a:lnTo>
                    <a:pt x="553" y="779"/>
                  </a:lnTo>
                  <a:lnTo>
                    <a:pt x="556" y="780"/>
                  </a:lnTo>
                  <a:lnTo>
                    <a:pt x="557" y="783"/>
                  </a:lnTo>
                  <a:lnTo>
                    <a:pt x="562" y="790"/>
                  </a:lnTo>
                  <a:lnTo>
                    <a:pt x="563" y="793"/>
                  </a:lnTo>
                  <a:lnTo>
                    <a:pt x="566" y="795"/>
                  </a:lnTo>
                  <a:lnTo>
                    <a:pt x="588" y="800"/>
                  </a:lnTo>
                  <a:lnTo>
                    <a:pt x="601" y="808"/>
                  </a:lnTo>
                  <a:lnTo>
                    <a:pt x="603" y="809"/>
                  </a:lnTo>
                  <a:lnTo>
                    <a:pt x="613" y="818"/>
                  </a:lnTo>
                  <a:lnTo>
                    <a:pt x="614" y="819"/>
                  </a:lnTo>
                  <a:lnTo>
                    <a:pt x="617" y="821"/>
                  </a:lnTo>
                  <a:lnTo>
                    <a:pt x="617" y="822"/>
                  </a:lnTo>
                  <a:lnTo>
                    <a:pt x="620" y="824"/>
                  </a:lnTo>
                  <a:lnTo>
                    <a:pt x="629" y="830"/>
                  </a:lnTo>
                  <a:lnTo>
                    <a:pt x="630" y="831"/>
                  </a:lnTo>
                  <a:lnTo>
                    <a:pt x="633" y="835"/>
                  </a:lnTo>
                  <a:lnTo>
                    <a:pt x="635" y="837"/>
                  </a:lnTo>
                  <a:lnTo>
                    <a:pt x="636" y="838"/>
                  </a:lnTo>
                  <a:lnTo>
                    <a:pt x="641" y="838"/>
                  </a:lnTo>
                  <a:lnTo>
                    <a:pt x="652" y="837"/>
                  </a:lnTo>
                  <a:lnTo>
                    <a:pt x="658" y="835"/>
                  </a:lnTo>
                  <a:lnTo>
                    <a:pt x="664" y="834"/>
                  </a:lnTo>
                  <a:lnTo>
                    <a:pt x="700" y="844"/>
                  </a:lnTo>
                  <a:lnTo>
                    <a:pt x="702" y="844"/>
                  </a:lnTo>
                  <a:lnTo>
                    <a:pt x="706" y="846"/>
                  </a:lnTo>
                  <a:lnTo>
                    <a:pt x="716" y="856"/>
                  </a:lnTo>
                  <a:lnTo>
                    <a:pt x="731" y="860"/>
                  </a:lnTo>
                  <a:lnTo>
                    <a:pt x="740" y="860"/>
                  </a:lnTo>
                  <a:lnTo>
                    <a:pt x="743" y="862"/>
                  </a:lnTo>
                  <a:lnTo>
                    <a:pt x="743" y="870"/>
                  </a:lnTo>
                  <a:lnTo>
                    <a:pt x="743" y="875"/>
                  </a:lnTo>
                  <a:lnTo>
                    <a:pt x="743" y="876"/>
                  </a:lnTo>
                  <a:lnTo>
                    <a:pt x="744" y="878"/>
                  </a:lnTo>
                  <a:lnTo>
                    <a:pt x="744" y="878"/>
                  </a:lnTo>
                  <a:lnTo>
                    <a:pt x="745" y="879"/>
                  </a:lnTo>
                  <a:lnTo>
                    <a:pt x="747" y="881"/>
                  </a:lnTo>
                  <a:lnTo>
                    <a:pt x="748" y="881"/>
                  </a:lnTo>
                  <a:lnTo>
                    <a:pt x="751" y="881"/>
                  </a:lnTo>
                  <a:lnTo>
                    <a:pt x="766" y="878"/>
                  </a:lnTo>
                  <a:lnTo>
                    <a:pt x="772" y="878"/>
                  </a:lnTo>
                  <a:lnTo>
                    <a:pt x="773" y="878"/>
                  </a:lnTo>
                  <a:lnTo>
                    <a:pt x="776" y="879"/>
                  </a:lnTo>
                  <a:lnTo>
                    <a:pt x="780" y="883"/>
                  </a:lnTo>
                  <a:lnTo>
                    <a:pt x="783" y="885"/>
                  </a:lnTo>
                  <a:lnTo>
                    <a:pt x="786" y="885"/>
                  </a:lnTo>
                  <a:lnTo>
                    <a:pt x="792" y="885"/>
                  </a:lnTo>
                  <a:lnTo>
                    <a:pt x="795" y="883"/>
                  </a:lnTo>
                  <a:lnTo>
                    <a:pt x="798" y="882"/>
                  </a:lnTo>
                  <a:lnTo>
                    <a:pt x="799" y="882"/>
                  </a:lnTo>
                  <a:lnTo>
                    <a:pt x="810" y="882"/>
                  </a:lnTo>
                  <a:lnTo>
                    <a:pt x="812" y="881"/>
                  </a:lnTo>
                  <a:lnTo>
                    <a:pt x="814" y="881"/>
                  </a:lnTo>
                  <a:lnTo>
                    <a:pt x="815" y="879"/>
                  </a:lnTo>
                  <a:lnTo>
                    <a:pt x="817" y="879"/>
                  </a:lnTo>
                  <a:lnTo>
                    <a:pt x="818" y="881"/>
                  </a:lnTo>
                  <a:lnTo>
                    <a:pt x="818" y="883"/>
                  </a:lnTo>
                  <a:lnTo>
                    <a:pt x="818" y="885"/>
                  </a:lnTo>
                  <a:lnTo>
                    <a:pt x="817" y="886"/>
                  </a:lnTo>
                  <a:lnTo>
                    <a:pt x="815" y="888"/>
                  </a:lnTo>
                  <a:lnTo>
                    <a:pt x="814" y="888"/>
                  </a:lnTo>
                  <a:lnTo>
                    <a:pt x="814" y="889"/>
                  </a:lnTo>
                  <a:lnTo>
                    <a:pt x="814" y="892"/>
                  </a:lnTo>
                  <a:lnTo>
                    <a:pt x="815" y="894"/>
                  </a:lnTo>
                  <a:lnTo>
                    <a:pt x="824" y="897"/>
                  </a:lnTo>
                  <a:lnTo>
                    <a:pt x="833" y="895"/>
                  </a:lnTo>
                  <a:lnTo>
                    <a:pt x="842" y="886"/>
                  </a:lnTo>
                  <a:lnTo>
                    <a:pt x="843" y="883"/>
                  </a:lnTo>
                  <a:lnTo>
                    <a:pt x="847" y="879"/>
                  </a:lnTo>
                  <a:lnTo>
                    <a:pt x="849" y="878"/>
                  </a:lnTo>
                  <a:lnTo>
                    <a:pt x="859" y="872"/>
                  </a:lnTo>
                  <a:lnTo>
                    <a:pt x="863" y="867"/>
                  </a:lnTo>
                  <a:lnTo>
                    <a:pt x="866" y="865"/>
                  </a:lnTo>
                  <a:lnTo>
                    <a:pt x="868" y="863"/>
                  </a:lnTo>
                  <a:lnTo>
                    <a:pt x="869" y="862"/>
                  </a:lnTo>
                  <a:lnTo>
                    <a:pt x="869" y="860"/>
                  </a:lnTo>
                  <a:lnTo>
                    <a:pt x="869" y="860"/>
                  </a:lnTo>
                  <a:lnTo>
                    <a:pt x="871" y="859"/>
                  </a:lnTo>
                  <a:lnTo>
                    <a:pt x="871" y="857"/>
                  </a:lnTo>
                  <a:lnTo>
                    <a:pt x="871" y="854"/>
                  </a:lnTo>
                  <a:lnTo>
                    <a:pt x="872" y="853"/>
                  </a:lnTo>
                  <a:lnTo>
                    <a:pt x="874" y="851"/>
                  </a:lnTo>
                  <a:lnTo>
                    <a:pt x="875" y="850"/>
                  </a:lnTo>
                  <a:lnTo>
                    <a:pt x="878" y="849"/>
                  </a:lnTo>
                  <a:lnTo>
                    <a:pt x="879" y="847"/>
                  </a:lnTo>
                  <a:lnTo>
                    <a:pt x="881" y="846"/>
                  </a:lnTo>
                  <a:lnTo>
                    <a:pt x="882" y="844"/>
                  </a:lnTo>
                  <a:lnTo>
                    <a:pt x="884" y="843"/>
                  </a:lnTo>
                  <a:lnTo>
                    <a:pt x="887" y="843"/>
                  </a:lnTo>
                  <a:lnTo>
                    <a:pt x="888" y="843"/>
                  </a:lnTo>
                  <a:lnTo>
                    <a:pt x="891" y="844"/>
                  </a:lnTo>
                  <a:lnTo>
                    <a:pt x="895" y="850"/>
                  </a:lnTo>
                  <a:lnTo>
                    <a:pt x="898" y="854"/>
                  </a:lnTo>
                  <a:lnTo>
                    <a:pt x="898" y="856"/>
                  </a:lnTo>
                  <a:lnTo>
                    <a:pt x="903" y="857"/>
                  </a:lnTo>
                  <a:lnTo>
                    <a:pt x="913" y="857"/>
                  </a:lnTo>
                  <a:lnTo>
                    <a:pt x="914" y="851"/>
                  </a:lnTo>
                  <a:lnTo>
                    <a:pt x="914" y="847"/>
                  </a:lnTo>
                  <a:lnTo>
                    <a:pt x="914" y="846"/>
                  </a:lnTo>
                  <a:lnTo>
                    <a:pt x="916" y="843"/>
                  </a:lnTo>
                  <a:lnTo>
                    <a:pt x="919" y="835"/>
                  </a:lnTo>
                  <a:lnTo>
                    <a:pt x="922" y="833"/>
                  </a:lnTo>
                  <a:lnTo>
                    <a:pt x="925" y="828"/>
                  </a:lnTo>
                  <a:lnTo>
                    <a:pt x="930" y="825"/>
                  </a:lnTo>
                  <a:lnTo>
                    <a:pt x="939" y="825"/>
                  </a:lnTo>
                  <a:lnTo>
                    <a:pt x="946" y="827"/>
                  </a:lnTo>
                  <a:lnTo>
                    <a:pt x="955" y="830"/>
                  </a:lnTo>
                  <a:lnTo>
                    <a:pt x="961" y="834"/>
                  </a:lnTo>
                  <a:lnTo>
                    <a:pt x="967" y="835"/>
                  </a:lnTo>
                  <a:lnTo>
                    <a:pt x="974" y="834"/>
                  </a:lnTo>
                  <a:lnTo>
                    <a:pt x="992" y="818"/>
                  </a:lnTo>
                  <a:lnTo>
                    <a:pt x="996" y="818"/>
                  </a:lnTo>
                  <a:lnTo>
                    <a:pt x="999" y="814"/>
                  </a:lnTo>
                  <a:lnTo>
                    <a:pt x="1005" y="808"/>
                  </a:lnTo>
                  <a:lnTo>
                    <a:pt x="1009" y="795"/>
                  </a:lnTo>
                  <a:lnTo>
                    <a:pt x="1015" y="780"/>
                  </a:lnTo>
                  <a:lnTo>
                    <a:pt x="1018" y="768"/>
                  </a:lnTo>
                  <a:lnTo>
                    <a:pt x="1019" y="763"/>
                  </a:lnTo>
                  <a:lnTo>
                    <a:pt x="1025" y="758"/>
                  </a:lnTo>
                  <a:lnTo>
                    <a:pt x="1031" y="754"/>
                  </a:lnTo>
                  <a:lnTo>
                    <a:pt x="1044" y="754"/>
                  </a:lnTo>
                  <a:lnTo>
                    <a:pt x="1051" y="747"/>
                  </a:lnTo>
                  <a:lnTo>
                    <a:pt x="1059" y="735"/>
                  </a:lnTo>
                  <a:lnTo>
                    <a:pt x="1079" y="716"/>
                  </a:lnTo>
                  <a:lnTo>
                    <a:pt x="1092" y="715"/>
                  </a:lnTo>
                  <a:lnTo>
                    <a:pt x="1104" y="716"/>
                  </a:lnTo>
                  <a:lnTo>
                    <a:pt x="1114" y="712"/>
                  </a:lnTo>
                  <a:lnTo>
                    <a:pt x="1113" y="704"/>
                  </a:lnTo>
                  <a:lnTo>
                    <a:pt x="1104" y="688"/>
                  </a:lnTo>
                  <a:lnTo>
                    <a:pt x="1104" y="677"/>
                  </a:lnTo>
                  <a:lnTo>
                    <a:pt x="1110" y="678"/>
                  </a:lnTo>
                  <a:lnTo>
                    <a:pt x="1118" y="691"/>
                  </a:lnTo>
                  <a:lnTo>
                    <a:pt x="1134" y="697"/>
                  </a:lnTo>
                  <a:lnTo>
                    <a:pt x="1136" y="710"/>
                  </a:lnTo>
                  <a:lnTo>
                    <a:pt x="1146" y="729"/>
                  </a:lnTo>
                  <a:lnTo>
                    <a:pt x="1147" y="736"/>
                  </a:lnTo>
                  <a:lnTo>
                    <a:pt x="1152" y="745"/>
                  </a:lnTo>
                  <a:lnTo>
                    <a:pt x="1177" y="744"/>
                  </a:lnTo>
                  <a:lnTo>
                    <a:pt x="1197" y="745"/>
                  </a:lnTo>
                  <a:lnTo>
                    <a:pt x="1204" y="748"/>
                  </a:lnTo>
                  <a:lnTo>
                    <a:pt x="1213" y="750"/>
                  </a:lnTo>
                  <a:lnTo>
                    <a:pt x="1220" y="739"/>
                  </a:lnTo>
                  <a:lnTo>
                    <a:pt x="1229" y="738"/>
                  </a:lnTo>
                  <a:lnTo>
                    <a:pt x="1242" y="744"/>
                  </a:lnTo>
                  <a:lnTo>
                    <a:pt x="1257" y="744"/>
                  </a:lnTo>
                  <a:lnTo>
                    <a:pt x="1264" y="745"/>
                  </a:lnTo>
                  <a:lnTo>
                    <a:pt x="1265" y="760"/>
                  </a:lnTo>
                  <a:lnTo>
                    <a:pt x="1264" y="771"/>
                  </a:lnTo>
                  <a:lnTo>
                    <a:pt x="1258" y="783"/>
                  </a:lnTo>
                  <a:lnTo>
                    <a:pt x="1245" y="803"/>
                  </a:lnTo>
                  <a:lnTo>
                    <a:pt x="1216" y="824"/>
                  </a:lnTo>
                  <a:lnTo>
                    <a:pt x="1216" y="828"/>
                  </a:lnTo>
                  <a:lnTo>
                    <a:pt x="1216" y="834"/>
                  </a:lnTo>
                  <a:lnTo>
                    <a:pt x="1231" y="837"/>
                  </a:lnTo>
                  <a:lnTo>
                    <a:pt x="1244" y="840"/>
                  </a:lnTo>
                  <a:lnTo>
                    <a:pt x="1267" y="843"/>
                  </a:lnTo>
                  <a:lnTo>
                    <a:pt x="1271" y="838"/>
                  </a:lnTo>
                  <a:lnTo>
                    <a:pt x="1274" y="831"/>
                  </a:lnTo>
                  <a:lnTo>
                    <a:pt x="1283" y="827"/>
                  </a:lnTo>
                  <a:lnTo>
                    <a:pt x="1293" y="814"/>
                  </a:lnTo>
                  <a:lnTo>
                    <a:pt x="1316" y="799"/>
                  </a:lnTo>
                  <a:lnTo>
                    <a:pt x="1316" y="799"/>
                  </a:lnTo>
                  <a:lnTo>
                    <a:pt x="1309" y="766"/>
                  </a:lnTo>
                  <a:close/>
                  <a:moveTo>
                    <a:pt x="888" y="61"/>
                  </a:moveTo>
                  <a:lnTo>
                    <a:pt x="887" y="61"/>
                  </a:lnTo>
                  <a:lnTo>
                    <a:pt x="887" y="62"/>
                  </a:lnTo>
                  <a:lnTo>
                    <a:pt x="888" y="61"/>
                  </a:lnTo>
                  <a:close/>
                  <a:moveTo>
                    <a:pt x="858" y="119"/>
                  </a:moveTo>
                  <a:lnTo>
                    <a:pt x="858" y="113"/>
                  </a:lnTo>
                  <a:lnTo>
                    <a:pt x="859" y="107"/>
                  </a:lnTo>
                  <a:lnTo>
                    <a:pt x="861" y="103"/>
                  </a:lnTo>
                  <a:lnTo>
                    <a:pt x="866" y="99"/>
                  </a:lnTo>
                  <a:lnTo>
                    <a:pt x="868" y="94"/>
                  </a:lnTo>
                  <a:lnTo>
                    <a:pt x="872" y="83"/>
                  </a:lnTo>
                  <a:lnTo>
                    <a:pt x="872" y="71"/>
                  </a:lnTo>
                  <a:lnTo>
                    <a:pt x="874" y="61"/>
                  </a:lnTo>
                  <a:lnTo>
                    <a:pt x="882" y="54"/>
                  </a:lnTo>
                  <a:lnTo>
                    <a:pt x="882" y="67"/>
                  </a:lnTo>
                  <a:lnTo>
                    <a:pt x="885" y="67"/>
                  </a:lnTo>
                  <a:lnTo>
                    <a:pt x="885" y="58"/>
                  </a:lnTo>
                  <a:lnTo>
                    <a:pt x="887" y="58"/>
                  </a:lnTo>
                  <a:lnTo>
                    <a:pt x="887" y="59"/>
                  </a:lnTo>
                  <a:lnTo>
                    <a:pt x="887" y="61"/>
                  </a:lnTo>
                  <a:lnTo>
                    <a:pt x="887" y="54"/>
                  </a:lnTo>
                  <a:lnTo>
                    <a:pt x="885" y="51"/>
                  </a:lnTo>
                  <a:lnTo>
                    <a:pt x="881" y="49"/>
                  </a:lnTo>
                  <a:lnTo>
                    <a:pt x="877" y="49"/>
                  </a:lnTo>
                  <a:lnTo>
                    <a:pt x="871" y="51"/>
                  </a:lnTo>
                  <a:lnTo>
                    <a:pt x="868" y="55"/>
                  </a:lnTo>
                  <a:lnTo>
                    <a:pt x="866" y="71"/>
                  </a:lnTo>
                  <a:lnTo>
                    <a:pt x="855" y="110"/>
                  </a:lnTo>
                  <a:lnTo>
                    <a:pt x="855" y="123"/>
                  </a:lnTo>
                  <a:lnTo>
                    <a:pt x="855" y="132"/>
                  </a:lnTo>
                  <a:lnTo>
                    <a:pt x="856" y="132"/>
                  </a:lnTo>
                  <a:lnTo>
                    <a:pt x="858" y="119"/>
                  </a:lnTo>
                  <a:close/>
                  <a:moveTo>
                    <a:pt x="936" y="102"/>
                  </a:moveTo>
                  <a:lnTo>
                    <a:pt x="935" y="97"/>
                  </a:lnTo>
                  <a:lnTo>
                    <a:pt x="933" y="89"/>
                  </a:lnTo>
                  <a:lnTo>
                    <a:pt x="929" y="86"/>
                  </a:lnTo>
                  <a:lnTo>
                    <a:pt x="925" y="84"/>
                  </a:lnTo>
                  <a:lnTo>
                    <a:pt x="923" y="81"/>
                  </a:lnTo>
                  <a:lnTo>
                    <a:pt x="917" y="80"/>
                  </a:lnTo>
                  <a:lnTo>
                    <a:pt x="891" y="83"/>
                  </a:lnTo>
                  <a:lnTo>
                    <a:pt x="882" y="87"/>
                  </a:lnTo>
                  <a:lnTo>
                    <a:pt x="885" y="87"/>
                  </a:lnTo>
                  <a:lnTo>
                    <a:pt x="888" y="89"/>
                  </a:lnTo>
                  <a:lnTo>
                    <a:pt x="890" y="91"/>
                  </a:lnTo>
                  <a:lnTo>
                    <a:pt x="890" y="97"/>
                  </a:lnTo>
                  <a:lnTo>
                    <a:pt x="891" y="102"/>
                  </a:lnTo>
                  <a:lnTo>
                    <a:pt x="893" y="103"/>
                  </a:lnTo>
                  <a:lnTo>
                    <a:pt x="894" y="103"/>
                  </a:lnTo>
                  <a:lnTo>
                    <a:pt x="894" y="105"/>
                  </a:lnTo>
                  <a:lnTo>
                    <a:pt x="897" y="107"/>
                  </a:lnTo>
                  <a:lnTo>
                    <a:pt x="903" y="107"/>
                  </a:lnTo>
                  <a:lnTo>
                    <a:pt x="913" y="103"/>
                  </a:lnTo>
                  <a:lnTo>
                    <a:pt x="914" y="107"/>
                  </a:lnTo>
                  <a:lnTo>
                    <a:pt x="913" y="109"/>
                  </a:lnTo>
                  <a:lnTo>
                    <a:pt x="911" y="110"/>
                  </a:lnTo>
                  <a:lnTo>
                    <a:pt x="911" y="112"/>
                  </a:lnTo>
                  <a:lnTo>
                    <a:pt x="914" y="116"/>
                  </a:lnTo>
                  <a:lnTo>
                    <a:pt x="917" y="119"/>
                  </a:lnTo>
                  <a:lnTo>
                    <a:pt x="928" y="123"/>
                  </a:lnTo>
                  <a:lnTo>
                    <a:pt x="926" y="126"/>
                  </a:lnTo>
                  <a:lnTo>
                    <a:pt x="923" y="128"/>
                  </a:lnTo>
                  <a:lnTo>
                    <a:pt x="923" y="128"/>
                  </a:lnTo>
                  <a:lnTo>
                    <a:pt x="923" y="132"/>
                  </a:lnTo>
                  <a:lnTo>
                    <a:pt x="916" y="132"/>
                  </a:lnTo>
                  <a:lnTo>
                    <a:pt x="906" y="138"/>
                  </a:lnTo>
                  <a:lnTo>
                    <a:pt x="895" y="141"/>
                  </a:lnTo>
                  <a:lnTo>
                    <a:pt x="893" y="144"/>
                  </a:lnTo>
                  <a:lnTo>
                    <a:pt x="887" y="157"/>
                  </a:lnTo>
                  <a:lnTo>
                    <a:pt x="903" y="153"/>
                  </a:lnTo>
                  <a:lnTo>
                    <a:pt x="906" y="154"/>
                  </a:lnTo>
                  <a:lnTo>
                    <a:pt x="909" y="157"/>
                  </a:lnTo>
                  <a:lnTo>
                    <a:pt x="911" y="160"/>
                  </a:lnTo>
                  <a:lnTo>
                    <a:pt x="916" y="160"/>
                  </a:lnTo>
                  <a:lnTo>
                    <a:pt x="916" y="164"/>
                  </a:lnTo>
                  <a:lnTo>
                    <a:pt x="914" y="170"/>
                  </a:lnTo>
                  <a:lnTo>
                    <a:pt x="916" y="176"/>
                  </a:lnTo>
                  <a:lnTo>
                    <a:pt x="920" y="180"/>
                  </a:lnTo>
                  <a:lnTo>
                    <a:pt x="926" y="180"/>
                  </a:lnTo>
                  <a:lnTo>
                    <a:pt x="914" y="188"/>
                  </a:lnTo>
                  <a:lnTo>
                    <a:pt x="910" y="189"/>
                  </a:lnTo>
                  <a:lnTo>
                    <a:pt x="906" y="185"/>
                  </a:lnTo>
                  <a:lnTo>
                    <a:pt x="904" y="189"/>
                  </a:lnTo>
                  <a:lnTo>
                    <a:pt x="893" y="182"/>
                  </a:lnTo>
                  <a:lnTo>
                    <a:pt x="884" y="186"/>
                  </a:lnTo>
                  <a:lnTo>
                    <a:pt x="878" y="196"/>
                  </a:lnTo>
                  <a:lnTo>
                    <a:pt x="872" y="209"/>
                  </a:lnTo>
                  <a:lnTo>
                    <a:pt x="894" y="225"/>
                  </a:lnTo>
                  <a:lnTo>
                    <a:pt x="894" y="230"/>
                  </a:lnTo>
                  <a:lnTo>
                    <a:pt x="890" y="227"/>
                  </a:lnTo>
                  <a:lnTo>
                    <a:pt x="884" y="228"/>
                  </a:lnTo>
                  <a:lnTo>
                    <a:pt x="882" y="233"/>
                  </a:lnTo>
                  <a:lnTo>
                    <a:pt x="885" y="237"/>
                  </a:lnTo>
                  <a:lnTo>
                    <a:pt x="888" y="237"/>
                  </a:lnTo>
                  <a:lnTo>
                    <a:pt x="898" y="233"/>
                  </a:lnTo>
                  <a:lnTo>
                    <a:pt x="904" y="234"/>
                  </a:lnTo>
                  <a:lnTo>
                    <a:pt x="901" y="241"/>
                  </a:lnTo>
                  <a:lnTo>
                    <a:pt x="906" y="246"/>
                  </a:lnTo>
                  <a:lnTo>
                    <a:pt x="911" y="249"/>
                  </a:lnTo>
                  <a:lnTo>
                    <a:pt x="917" y="250"/>
                  </a:lnTo>
                  <a:lnTo>
                    <a:pt x="919" y="252"/>
                  </a:lnTo>
                  <a:lnTo>
                    <a:pt x="922" y="256"/>
                  </a:lnTo>
                  <a:lnTo>
                    <a:pt x="926" y="257"/>
                  </a:lnTo>
                  <a:lnTo>
                    <a:pt x="929" y="256"/>
                  </a:lnTo>
                  <a:lnTo>
                    <a:pt x="932" y="254"/>
                  </a:lnTo>
                  <a:lnTo>
                    <a:pt x="935" y="253"/>
                  </a:lnTo>
                  <a:lnTo>
                    <a:pt x="942" y="254"/>
                  </a:lnTo>
                  <a:lnTo>
                    <a:pt x="941" y="252"/>
                  </a:lnTo>
                  <a:lnTo>
                    <a:pt x="939" y="250"/>
                  </a:lnTo>
                  <a:lnTo>
                    <a:pt x="942" y="247"/>
                  </a:lnTo>
                  <a:lnTo>
                    <a:pt x="944" y="244"/>
                  </a:lnTo>
                  <a:lnTo>
                    <a:pt x="949" y="241"/>
                  </a:lnTo>
                  <a:lnTo>
                    <a:pt x="945" y="250"/>
                  </a:lnTo>
                  <a:lnTo>
                    <a:pt x="944" y="257"/>
                  </a:lnTo>
                  <a:lnTo>
                    <a:pt x="941" y="260"/>
                  </a:lnTo>
                  <a:lnTo>
                    <a:pt x="954" y="269"/>
                  </a:lnTo>
                  <a:lnTo>
                    <a:pt x="964" y="273"/>
                  </a:lnTo>
                  <a:lnTo>
                    <a:pt x="974" y="275"/>
                  </a:lnTo>
                  <a:lnTo>
                    <a:pt x="980" y="272"/>
                  </a:lnTo>
                  <a:lnTo>
                    <a:pt x="980" y="266"/>
                  </a:lnTo>
                  <a:lnTo>
                    <a:pt x="979" y="252"/>
                  </a:lnTo>
                  <a:lnTo>
                    <a:pt x="976" y="252"/>
                  </a:lnTo>
                  <a:lnTo>
                    <a:pt x="960" y="254"/>
                  </a:lnTo>
                  <a:lnTo>
                    <a:pt x="960" y="254"/>
                  </a:lnTo>
                  <a:lnTo>
                    <a:pt x="961" y="254"/>
                  </a:lnTo>
                  <a:lnTo>
                    <a:pt x="961" y="254"/>
                  </a:lnTo>
                  <a:lnTo>
                    <a:pt x="961" y="259"/>
                  </a:lnTo>
                  <a:lnTo>
                    <a:pt x="957" y="262"/>
                  </a:lnTo>
                  <a:lnTo>
                    <a:pt x="958" y="246"/>
                  </a:lnTo>
                  <a:lnTo>
                    <a:pt x="965" y="243"/>
                  </a:lnTo>
                  <a:lnTo>
                    <a:pt x="974" y="240"/>
                  </a:lnTo>
                  <a:lnTo>
                    <a:pt x="979" y="231"/>
                  </a:lnTo>
                  <a:lnTo>
                    <a:pt x="981" y="225"/>
                  </a:lnTo>
                  <a:lnTo>
                    <a:pt x="1000" y="209"/>
                  </a:lnTo>
                  <a:lnTo>
                    <a:pt x="1006" y="205"/>
                  </a:lnTo>
                  <a:lnTo>
                    <a:pt x="1041" y="201"/>
                  </a:lnTo>
                  <a:lnTo>
                    <a:pt x="1046" y="204"/>
                  </a:lnTo>
                  <a:lnTo>
                    <a:pt x="1047" y="208"/>
                  </a:lnTo>
                  <a:lnTo>
                    <a:pt x="1050" y="208"/>
                  </a:lnTo>
                  <a:lnTo>
                    <a:pt x="1056" y="204"/>
                  </a:lnTo>
                  <a:lnTo>
                    <a:pt x="1059" y="201"/>
                  </a:lnTo>
                  <a:lnTo>
                    <a:pt x="1063" y="201"/>
                  </a:lnTo>
                  <a:lnTo>
                    <a:pt x="1073" y="201"/>
                  </a:lnTo>
                  <a:lnTo>
                    <a:pt x="1073" y="205"/>
                  </a:lnTo>
                  <a:lnTo>
                    <a:pt x="1066" y="208"/>
                  </a:lnTo>
                  <a:lnTo>
                    <a:pt x="1047" y="221"/>
                  </a:lnTo>
                  <a:lnTo>
                    <a:pt x="1054" y="217"/>
                  </a:lnTo>
                  <a:lnTo>
                    <a:pt x="1062" y="214"/>
                  </a:lnTo>
                  <a:lnTo>
                    <a:pt x="1080" y="212"/>
                  </a:lnTo>
                  <a:lnTo>
                    <a:pt x="1078" y="220"/>
                  </a:lnTo>
                  <a:lnTo>
                    <a:pt x="1072" y="224"/>
                  </a:lnTo>
                  <a:lnTo>
                    <a:pt x="1059" y="230"/>
                  </a:lnTo>
                  <a:lnTo>
                    <a:pt x="1059" y="234"/>
                  </a:lnTo>
                  <a:lnTo>
                    <a:pt x="1063" y="236"/>
                  </a:lnTo>
                  <a:lnTo>
                    <a:pt x="1069" y="236"/>
                  </a:lnTo>
                  <a:lnTo>
                    <a:pt x="1075" y="233"/>
                  </a:lnTo>
                  <a:lnTo>
                    <a:pt x="1078" y="230"/>
                  </a:lnTo>
                  <a:lnTo>
                    <a:pt x="1080" y="230"/>
                  </a:lnTo>
                  <a:lnTo>
                    <a:pt x="1082" y="236"/>
                  </a:lnTo>
                  <a:lnTo>
                    <a:pt x="1080" y="240"/>
                  </a:lnTo>
                  <a:lnTo>
                    <a:pt x="1078" y="241"/>
                  </a:lnTo>
                  <a:lnTo>
                    <a:pt x="1073" y="241"/>
                  </a:lnTo>
                  <a:lnTo>
                    <a:pt x="1080" y="244"/>
                  </a:lnTo>
                  <a:lnTo>
                    <a:pt x="1083" y="244"/>
                  </a:lnTo>
                  <a:lnTo>
                    <a:pt x="1085" y="241"/>
                  </a:lnTo>
                  <a:lnTo>
                    <a:pt x="1085" y="231"/>
                  </a:lnTo>
                  <a:lnTo>
                    <a:pt x="1086" y="222"/>
                  </a:lnTo>
                  <a:lnTo>
                    <a:pt x="1089" y="214"/>
                  </a:lnTo>
                  <a:lnTo>
                    <a:pt x="1095" y="208"/>
                  </a:lnTo>
                  <a:lnTo>
                    <a:pt x="1099" y="205"/>
                  </a:lnTo>
                  <a:lnTo>
                    <a:pt x="1091" y="202"/>
                  </a:lnTo>
                  <a:lnTo>
                    <a:pt x="1085" y="193"/>
                  </a:lnTo>
                  <a:lnTo>
                    <a:pt x="1075" y="177"/>
                  </a:lnTo>
                  <a:lnTo>
                    <a:pt x="1067" y="171"/>
                  </a:lnTo>
                  <a:lnTo>
                    <a:pt x="1051" y="169"/>
                  </a:lnTo>
                  <a:lnTo>
                    <a:pt x="1044" y="164"/>
                  </a:lnTo>
                  <a:lnTo>
                    <a:pt x="1041" y="158"/>
                  </a:lnTo>
                  <a:lnTo>
                    <a:pt x="1037" y="150"/>
                  </a:lnTo>
                  <a:lnTo>
                    <a:pt x="1034" y="139"/>
                  </a:lnTo>
                  <a:lnTo>
                    <a:pt x="1032" y="129"/>
                  </a:lnTo>
                  <a:lnTo>
                    <a:pt x="1035" y="121"/>
                  </a:lnTo>
                  <a:lnTo>
                    <a:pt x="1044" y="113"/>
                  </a:lnTo>
                  <a:lnTo>
                    <a:pt x="1059" y="103"/>
                  </a:lnTo>
                  <a:lnTo>
                    <a:pt x="1067" y="89"/>
                  </a:lnTo>
                  <a:lnTo>
                    <a:pt x="1066" y="72"/>
                  </a:lnTo>
                  <a:lnTo>
                    <a:pt x="1056" y="61"/>
                  </a:lnTo>
                  <a:lnTo>
                    <a:pt x="1040" y="58"/>
                  </a:lnTo>
                  <a:lnTo>
                    <a:pt x="995" y="67"/>
                  </a:lnTo>
                  <a:lnTo>
                    <a:pt x="980" y="62"/>
                  </a:lnTo>
                  <a:lnTo>
                    <a:pt x="974" y="56"/>
                  </a:lnTo>
                  <a:lnTo>
                    <a:pt x="970" y="51"/>
                  </a:lnTo>
                  <a:lnTo>
                    <a:pt x="967" y="42"/>
                  </a:lnTo>
                  <a:lnTo>
                    <a:pt x="965" y="32"/>
                  </a:lnTo>
                  <a:lnTo>
                    <a:pt x="968" y="23"/>
                  </a:lnTo>
                  <a:lnTo>
                    <a:pt x="974" y="17"/>
                  </a:lnTo>
                  <a:lnTo>
                    <a:pt x="981" y="13"/>
                  </a:lnTo>
                  <a:lnTo>
                    <a:pt x="987" y="8"/>
                  </a:lnTo>
                  <a:lnTo>
                    <a:pt x="987" y="6"/>
                  </a:lnTo>
                  <a:lnTo>
                    <a:pt x="979" y="0"/>
                  </a:lnTo>
                  <a:lnTo>
                    <a:pt x="968" y="0"/>
                  </a:lnTo>
                  <a:lnTo>
                    <a:pt x="920" y="14"/>
                  </a:lnTo>
                  <a:lnTo>
                    <a:pt x="917" y="17"/>
                  </a:lnTo>
                  <a:lnTo>
                    <a:pt x="913" y="22"/>
                  </a:lnTo>
                  <a:lnTo>
                    <a:pt x="911" y="24"/>
                  </a:lnTo>
                  <a:lnTo>
                    <a:pt x="911" y="32"/>
                  </a:lnTo>
                  <a:lnTo>
                    <a:pt x="913" y="33"/>
                  </a:lnTo>
                  <a:lnTo>
                    <a:pt x="919" y="29"/>
                  </a:lnTo>
                  <a:lnTo>
                    <a:pt x="933" y="24"/>
                  </a:lnTo>
                  <a:lnTo>
                    <a:pt x="935" y="27"/>
                  </a:lnTo>
                  <a:lnTo>
                    <a:pt x="933" y="33"/>
                  </a:lnTo>
                  <a:lnTo>
                    <a:pt x="932" y="39"/>
                  </a:lnTo>
                  <a:lnTo>
                    <a:pt x="932" y="42"/>
                  </a:lnTo>
                  <a:lnTo>
                    <a:pt x="926" y="46"/>
                  </a:lnTo>
                  <a:lnTo>
                    <a:pt x="922" y="56"/>
                  </a:lnTo>
                  <a:lnTo>
                    <a:pt x="920" y="67"/>
                  </a:lnTo>
                  <a:lnTo>
                    <a:pt x="920" y="74"/>
                  </a:lnTo>
                  <a:lnTo>
                    <a:pt x="928" y="77"/>
                  </a:lnTo>
                  <a:lnTo>
                    <a:pt x="933" y="71"/>
                  </a:lnTo>
                  <a:lnTo>
                    <a:pt x="939" y="65"/>
                  </a:lnTo>
                  <a:lnTo>
                    <a:pt x="948" y="61"/>
                  </a:lnTo>
                  <a:lnTo>
                    <a:pt x="954" y="52"/>
                  </a:lnTo>
                  <a:lnTo>
                    <a:pt x="957" y="49"/>
                  </a:lnTo>
                  <a:lnTo>
                    <a:pt x="961" y="46"/>
                  </a:lnTo>
                  <a:lnTo>
                    <a:pt x="962" y="48"/>
                  </a:lnTo>
                  <a:lnTo>
                    <a:pt x="965" y="54"/>
                  </a:lnTo>
                  <a:lnTo>
                    <a:pt x="968" y="58"/>
                  </a:lnTo>
                  <a:lnTo>
                    <a:pt x="970" y="62"/>
                  </a:lnTo>
                  <a:lnTo>
                    <a:pt x="971" y="65"/>
                  </a:lnTo>
                  <a:lnTo>
                    <a:pt x="977" y="67"/>
                  </a:lnTo>
                  <a:lnTo>
                    <a:pt x="980" y="68"/>
                  </a:lnTo>
                  <a:lnTo>
                    <a:pt x="983" y="72"/>
                  </a:lnTo>
                  <a:lnTo>
                    <a:pt x="984" y="77"/>
                  </a:lnTo>
                  <a:lnTo>
                    <a:pt x="986" y="78"/>
                  </a:lnTo>
                  <a:lnTo>
                    <a:pt x="997" y="80"/>
                  </a:lnTo>
                  <a:lnTo>
                    <a:pt x="1002" y="78"/>
                  </a:lnTo>
                  <a:lnTo>
                    <a:pt x="1005" y="77"/>
                  </a:lnTo>
                  <a:lnTo>
                    <a:pt x="1006" y="74"/>
                  </a:lnTo>
                  <a:lnTo>
                    <a:pt x="1009" y="71"/>
                  </a:lnTo>
                  <a:lnTo>
                    <a:pt x="1013" y="71"/>
                  </a:lnTo>
                  <a:lnTo>
                    <a:pt x="1013" y="74"/>
                  </a:lnTo>
                  <a:lnTo>
                    <a:pt x="1011" y="75"/>
                  </a:lnTo>
                  <a:lnTo>
                    <a:pt x="1009" y="75"/>
                  </a:lnTo>
                  <a:lnTo>
                    <a:pt x="1008" y="77"/>
                  </a:lnTo>
                  <a:lnTo>
                    <a:pt x="1006" y="78"/>
                  </a:lnTo>
                  <a:lnTo>
                    <a:pt x="1006" y="83"/>
                  </a:lnTo>
                  <a:lnTo>
                    <a:pt x="1009" y="86"/>
                  </a:lnTo>
                  <a:lnTo>
                    <a:pt x="1011" y="90"/>
                  </a:lnTo>
                  <a:lnTo>
                    <a:pt x="1013" y="99"/>
                  </a:lnTo>
                  <a:lnTo>
                    <a:pt x="1013" y="103"/>
                  </a:lnTo>
                  <a:lnTo>
                    <a:pt x="1012" y="105"/>
                  </a:lnTo>
                  <a:lnTo>
                    <a:pt x="1009" y="107"/>
                  </a:lnTo>
                  <a:lnTo>
                    <a:pt x="1006" y="115"/>
                  </a:lnTo>
                  <a:lnTo>
                    <a:pt x="1009" y="119"/>
                  </a:lnTo>
                  <a:lnTo>
                    <a:pt x="992" y="121"/>
                  </a:lnTo>
                  <a:lnTo>
                    <a:pt x="983" y="118"/>
                  </a:lnTo>
                  <a:lnTo>
                    <a:pt x="976" y="107"/>
                  </a:lnTo>
                  <a:lnTo>
                    <a:pt x="977" y="99"/>
                  </a:lnTo>
                  <a:lnTo>
                    <a:pt x="974" y="90"/>
                  </a:lnTo>
                  <a:lnTo>
                    <a:pt x="967" y="83"/>
                  </a:lnTo>
                  <a:lnTo>
                    <a:pt x="964" y="74"/>
                  </a:lnTo>
                  <a:lnTo>
                    <a:pt x="960" y="78"/>
                  </a:lnTo>
                  <a:lnTo>
                    <a:pt x="960" y="83"/>
                  </a:lnTo>
                  <a:lnTo>
                    <a:pt x="962" y="84"/>
                  </a:lnTo>
                  <a:lnTo>
                    <a:pt x="965" y="86"/>
                  </a:lnTo>
                  <a:lnTo>
                    <a:pt x="968" y="87"/>
                  </a:lnTo>
                  <a:lnTo>
                    <a:pt x="965" y="94"/>
                  </a:lnTo>
                  <a:lnTo>
                    <a:pt x="962" y="97"/>
                  </a:lnTo>
                  <a:lnTo>
                    <a:pt x="960" y="99"/>
                  </a:lnTo>
                  <a:lnTo>
                    <a:pt x="954" y="99"/>
                  </a:lnTo>
                  <a:lnTo>
                    <a:pt x="957" y="90"/>
                  </a:lnTo>
                  <a:lnTo>
                    <a:pt x="960" y="87"/>
                  </a:lnTo>
                  <a:lnTo>
                    <a:pt x="957" y="84"/>
                  </a:lnTo>
                  <a:lnTo>
                    <a:pt x="955" y="83"/>
                  </a:lnTo>
                  <a:lnTo>
                    <a:pt x="954" y="83"/>
                  </a:lnTo>
                  <a:lnTo>
                    <a:pt x="952" y="83"/>
                  </a:lnTo>
                  <a:lnTo>
                    <a:pt x="955" y="80"/>
                  </a:lnTo>
                  <a:lnTo>
                    <a:pt x="957" y="74"/>
                  </a:lnTo>
                  <a:lnTo>
                    <a:pt x="961" y="62"/>
                  </a:lnTo>
                  <a:lnTo>
                    <a:pt x="955" y="64"/>
                  </a:lnTo>
                  <a:lnTo>
                    <a:pt x="948" y="70"/>
                  </a:lnTo>
                  <a:lnTo>
                    <a:pt x="942" y="75"/>
                  </a:lnTo>
                  <a:lnTo>
                    <a:pt x="938" y="83"/>
                  </a:lnTo>
                  <a:lnTo>
                    <a:pt x="941" y="91"/>
                  </a:lnTo>
                  <a:lnTo>
                    <a:pt x="939" y="99"/>
                  </a:lnTo>
                  <a:lnTo>
                    <a:pt x="936" y="102"/>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13">
              <a:extLst>
                <a:ext uri="{FF2B5EF4-FFF2-40B4-BE49-F238E27FC236}">
                  <a16:creationId xmlns:a16="http://schemas.microsoft.com/office/drawing/2014/main" id="{1F7EA4AC-A8AC-4D48-BA41-C0FDD9D293F1}"/>
                </a:ext>
              </a:extLst>
            </p:cNvPr>
            <p:cNvSpPr>
              <a:spLocks noEditPoints="1"/>
            </p:cNvSpPr>
            <p:nvPr/>
          </p:nvSpPr>
          <p:spPr bwMode="gray">
            <a:xfrm>
              <a:off x="4011613" y="1114425"/>
              <a:ext cx="2714625" cy="2355850"/>
            </a:xfrm>
            <a:custGeom>
              <a:avLst/>
              <a:gdLst>
                <a:gd name="T0" fmla="*/ 422 w 1710"/>
                <a:gd name="T1" fmla="*/ 61 h 1484"/>
                <a:gd name="T2" fmla="*/ 514 w 1710"/>
                <a:gd name="T3" fmla="*/ 102 h 1484"/>
                <a:gd name="T4" fmla="*/ 40 w 1710"/>
                <a:gd name="T5" fmla="*/ 170 h 1484"/>
                <a:gd name="T6" fmla="*/ 1628 w 1710"/>
                <a:gd name="T7" fmla="*/ 480 h 1484"/>
                <a:gd name="T8" fmla="*/ 1452 w 1710"/>
                <a:gd name="T9" fmla="*/ 368 h 1484"/>
                <a:gd name="T10" fmla="*/ 1200 w 1710"/>
                <a:gd name="T11" fmla="*/ 268 h 1484"/>
                <a:gd name="T12" fmla="*/ 1124 w 1710"/>
                <a:gd name="T13" fmla="*/ 259 h 1484"/>
                <a:gd name="T14" fmla="*/ 1017 w 1710"/>
                <a:gd name="T15" fmla="*/ 176 h 1484"/>
                <a:gd name="T16" fmla="*/ 677 w 1710"/>
                <a:gd name="T17" fmla="*/ 6 h 1484"/>
                <a:gd name="T18" fmla="*/ 635 w 1710"/>
                <a:gd name="T19" fmla="*/ 255 h 1484"/>
                <a:gd name="T20" fmla="*/ 552 w 1710"/>
                <a:gd name="T21" fmla="*/ 282 h 1484"/>
                <a:gd name="T22" fmla="*/ 499 w 1710"/>
                <a:gd name="T23" fmla="*/ 169 h 1484"/>
                <a:gd name="T24" fmla="*/ 140 w 1710"/>
                <a:gd name="T25" fmla="*/ 217 h 1484"/>
                <a:gd name="T26" fmla="*/ 183 w 1710"/>
                <a:gd name="T27" fmla="*/ 422 h 1484"/>
                <a:gd name="T28" fmla="*/ 14 w 1710"/>
                <a:gd name="T29" fmla="*/ 737 h 1484"/>
                <a:gd name="T30" fmla="*/ 109 w 1710"/>
                <a:gd name="T31" fmla="*/ 833 h 1484"/>
                <a:gd name="T32" fmla="*/ 304 w 1710"/>
                <a:gd name="T33" fmla="*/ 876 h 1484"/>
                <a:gd name="T34" fmla="*/ 357 w 1710"/>
                <a:gd name="T35" fmla="*/ 828 h 1484"/>
                <a:gd name="T36" fmla="*/ 443 w 1710"/>
                <a:gd name="T37" fmla="*/ 916 h 1484"/>
                <a:gd name="T38" fmla="*/ 440 w 1710"/>
                <a:gd name="T39" fmla="*/ 977 h 1484"/>
                <a:gd name="T40" fmla="*/ 431 w 1710"/>
                <a:gd name="T41" fmla="*/ 1044 h 1484"/>
                <a:gd name="T42" fmla="*/ 614 w 1710"/>
                <a:gd name="T43" fmla="*/ 1009 h 1484"/>
                <a:gd name="T44" fmla="*/ 587 w 1710"/>
                <a:gd name="T45" fmla="*/ 836 h 1484"/>
                <a:gd name="T46" fmla="*/ 712 w 1710"/>
                <a:gd name="T47" fmla="*/ 821 h 1484"/>
                <a:gd name="T48" fmla="*/ 811 w 1710"/>
                <a:gd name="T49" fmla="*/ 828 h 1484"/>
                <a:gd name="T50" fmla="*/ 836 w 1710"/>
                <a:gd name="T51" fmla="*/ 892 h 1484"/>
                <a:gd name="T52" fmla="*/ 829 w 1710"/>
                <a:gd name="T53" fmla="*/ 962 h 1484"/>
                <a:gd name="T54" fmla="*/ 836 w 1710"/>
                <a:gd name="T55" fmla="*/ 1010 h 1484"/>
                <a:gd name="T56" fmla="*/ 878 w 1710"/>
                <a:gd name="T57" fmla="*/ 1087 h 1484"/>
                <a:gd name="T58" fmla="*/ 913 w 1710"/>
                <a:gd name="T59" fmla="*/ 1105 h 1484"/>
                <a:gd name="T60" fmla="*/ 970 w 1710"/>
                <a:gd name="T61" fmla="*/ 1163 h 1484"/>
                <a:gd name="T62" fmla="*/ 955 w 1710"/>
                <a:gd name="T63" fmla="*/ 1227 h 1484"/>
                <a:gd name="T64" fmla="*/ 944 w 1710"/>
                <a:gd name="T65" fmla="*/ 1281 h 1484"/>
                <a:gd name="T66" fmla="*/ 1003 w 1710"/>
                <a:gd name="T67" fmla="*/ 1290 h 1484"/>
                <a:gd name="T68" fmla="*/ 1035 w 1710"/>
                <a:gd name="T69" fmla="*/ 1328 h 1484"/>
                <a:gd name="T70" fmla="*/ 1034 w 1710"/>
                <a:gd name="T71" fmla="*/ 1383 h 1484"/>
                <a:gd name="T72" fmla="*/ 1012 w 1710"/>
                <a:gd name="T73" fmla="*/ 1441 h 1484"/>
                <a:gd name="T74" fmla="*/ 1082 w 1710"/>
                <a:gd name="T75" fmla="*/ 1463 h 1484"/>
                <a:gd name="T76" fmla="*/ 1089 w 1710"/>
                <a:gd name="T77" fmla="*/ 1428 h 1484"/>
                <a:gd name="T78" fmla="*/ 1113 w 1710"/>
                <a:gd name="T79" fmla="*/ 1421 h 1484"/>
                <a:gd name="T80" fmla="*/ 1187 w 1710"/>
                <a:gd name="T81" fmla="*/ 1412 h 1484"/>
                <a:gd name="T82" fmla="*/ 1235 w 1710"/>
                <a:gd name="T83" fmla="*/ 1380 h 1484"/>
                <a:gd name="T84" fmla="*/ 1293 w 1710"/>
                <a:gd name="T85" fmla="*/ 1326 h 1484"/>
                <a:gd name="T86" fmla="*/ 1389 w 1710"/>
                <a:gd name="T87" fmla="*/ 1326 h 1484"/>
                <a:gd name="T88" fmla="*/ 1373 w 1710"/>
                <a:gd name="T89" fmla="*/ 1221 h 1484"/>
                <a:gd name="T90" fmla="*/ 1384 w 1710"/>
                <a:gd name="T91" fmla="*/ 1154 h 1484"/>
                <a:gd name="T92" fmla="*/ 1365 w 1710"/>
                <a:gd name="T93" fmla="*/ 1095 h 1484"/>
                <a:gd name="T94" fmla="*/ 1494 w 1710"/>
                <a:gd name="T95" fmla="*/ 1055 h 1484"/>
                <a:gd name="T96" fmla="*/ 1523 w 1710"/>
                <a:gd name="T97" fmla="*/ 990 h 1484"/>
                <a:gd name="T98" fmla="*/ 1534 w 1710"/>
                <a:gd name="T99" fmla="*/ 949 h 1484"/>
                <a:gd name="T100" fmla="*/ 1516 w 1710"/>
                <a:gd name="T101" fmla="*/ 907 h 1484"/>
                <a:gd name="T102" fmla="*/ 1512 w 1710"/>
                <a:gd name="T103" fmla="*/ 860 h 1484"/>
                <a:gd name="T104" fmla="*/ 1491 w 1710"/>
                <a:gd name="T105" fmla="*/ 777 h 1484"/>
                <a:gd name="T106" fmla="*/ 1446 w 1710"/>
                <a:gd name="T107" fmla="*/ 681 h 1484"/>
                <a:gd name="T108" fmla="*/ 1438 w 1710"/>
                <a:gd name="T109" fmla="*/ 607 h 1484"/>
                <a:gd name="T110" fmla="*/ 1566 w 1710"/>
                <a:gd name="T111" fmla="*/ 575 h 1484"/>
                <a:gd name="T112" fmla="*/ 1682 w 1710"/>
                <a:gd name="T113" fmla="*/ 552 h 1484"/>
                <a:gd name="T114" fmla="*/ 786 w 1710"/>
                <a:gd name="T115" fmla="*/ 504 h 1484"/>
                <a:gd name="T116" fmla="*/ 693 w 1710"/>
                <a:gd name="T117" fmla="*/ 453 h 1484"/>
                <a:gd name="T118" fmla="*/ 711 w 1710"/>
                <a:gd name="T119" fmla="*/ 409 h 1484"/>
                <a:gd name="T120" fmla="*/ 785 w 1710"/>
                <a:gd name="T121" fmla="*/ 434 h 1484"/>
                <a:gd name="T122" fmla="*/ 81 w 1710"/>
                <a:gd name="T123" fmla="*/ 157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10" h="1484">
                  <a:moveTo>
                    <a:pt x="265" y="100"/>
                  </a:moveTo>
                  <a:lnTo>
                    <a:pt x="268" y="99"/>
                  </a:lnTo>
                  <a:lnTo>
                    <a:pt x="269" y="99"/>
                  </a:lnTo>
                  <a:lnTo>
                    <a:pt x="271" y="96"/>
                  </a:lnTo>
                  <a:lnTo>
                    <a:pt x="265" y="93"/>
                  </a:lnTo>
                  <a:lnTo>
                    <a:pt x="259" y="92"/>
                  </a:lnTo>
                  <a:lnTo>
                    <a:pt x="252" y="92"/>
                  </a:lnTo>
                  <a:lnTo>
                    <a:pt x="246" y="96"/>
                  </a:lnTo>
                  <a:lnTo>
                    <a:pt x="252" y="96"/>
                  </a:lnTo>
                  <a:lnTo>
                    <a:pt x="265" y="100"/>
                  </a:lnTo>
                  <a:close/>
                  <a:moveTo>
                    <a:pt x="287" y="96"/>
                  </a:moveTo>
                  <a:lnTo>
                    <a:pt x="297" y="96"/>
                  </a:lnTo>
                  <a:lnTo>
                    <a:pt x="297" y="86"/>
                  </a:lnTo>
                  <a:lnTo>
                    <a:pt x="309" y="83"/>
                  </a:lnTo>
                  <a:lnTo>
                    <a:pt x="335" y="84"/>
                  </a:lnTo>
                  <a:lnTo>
                    <a:pt x="335" y="83"/>
                  </a:lnTo>
                  <a:lnTo>
                    <a:pt x="336" y="83"/>
                  </a:lnTo>
                  <a:lnTo>
                    <a:pt x="336" y="83"/>
                  </a:lnTo>
                  <a:lnTo>
                    <a:pt x="336" y="80"/>
                  </a:lnTo>
                  <a:lnTo>
                    <a:pt x="329" y="76"/>
                  </a:lnTo>
                  <a:lnTo>
                    <a:pt x="298" y="76"/>
                  </a:lnTo>
                  <a:lnTo>
                    <a:pt x="288" y="77"/>
                  </a:lnTo>
                  <a:lnTo>
                    <a:pt x="284" y="80"/>
                  </a:lnTo>
                  <a:lnTo>
                    <a:pt x="282" y="86"/>
                  </a:lnTo>
                  <a:lnTo>
                    <a:pt x="282" y="95"/>
                  </a:lnTo>
                  <a:lnTo>
                    <a:pt x="287" y="96"/>
                  </a:lnTo>
                  <a:close/>
                  <a:moveTo>
                    <a:pt x="422" y="61"/>
                  </a:moveTo>
                  <a:lnTo>
                    <a:pt x="429" y="61"/>
                  </a:lnTo>
                  <a:lnTo>
                    <a:pt x="444" y="64"/>
                  </a:lnTo>
                  <a:lnTo>
                    <a:pt x="447" y="64"/>
                  </a:lnTo>
                  <a:lnTo>
                    <a:pt x="451" y="64"/>
                  </a:lnTo>
                  <a:lnTo>
                    <a:pt x="441" y="58"/>
                  </a:lnTo>
                  <a:lnTo>
                    <a:pt x="437" y="57"/>
                  </a:lnTo>
                  <a:lnTo>
                    <a:pt x="431" y="57"/>
                  </a:lnTo>
                  <a:lnTo>
                    <a:pt x="424" y="57"/>
                  </a:lnTo>
                  <a:lnTo>
                    <a:pt x="418" y="60"/>
                  </a:lnTo>
                  <a:lnTo>
                    <a:pt x="415" y="62"/>
                  </a:lnTo>
                  <a:lnTo>
                    <a:pt x="422" y="68"/>
                  </a:lnTo>
                  <a:lnTo>
                    <a:pt x="422" y="61"/>
                  </a:lnTo>
                  <a:close/>
                  <a:moveTo>
                    <a:pt x="354" y="79"/>
                  </a:moveTo>
                  <a:lnTo>
                    <a:pt x="357" y="77"/>
                  </a:lnTo>
                  <a:lnTo>
                    <a:pt x="360" y="71"/>
                  </a:lnTo>
                  <a:lnTo>
                    <a:pt x="368" y="77"/>
                  </a:lnTo>
                  <a:lnTo>
                    <a:pt x="378" y="77"/>
                  </a:lnTo>
                  <a:lnTo>
                    <a:pt x="389" y="73"/>
                  </a:lnTo>
                  <a:lnTo>
                    <a:pt x="396" y="68"/>
                  </a:lnTo>
                  <a:lnTo>
                    <a:pt x="402" y="68"/>
                  </a:lnTo>
                  <a:lnTo>
                    <a:pt x="402" y="64"/>
                  </a:lnTo>
                  <a:lnTo>
                    <a:pt x="371" y="62"/>
                  </a:lnTo>
                  <a:lnTo>
                    <a:pt x="357" y="65"/>
                  </a:lnTo>
                  <a:lnTo>
                    <a:pt x="348" y="76"/>
                  </a:lnTo>
                  <a:lnTo>
                    <a:pt x="351" y="79"/>
                  </a:lnTo>
                  <a:lnTo>
                    <a:pt x="354" y="79"/>
                  </a:lnTo>
                  <a:close/>
                  <a:moveTo>
                    <a:pt x="514" y="102"/>
                  </a:moveTo>
                  <a:lnTo>
                    <a:pt x="515" y="103"/>
                  </a:lnTo>
                  <a:lnTo>
                    <a:pt x="518" y="105"/>
                  </a:lnTo>
                  <a:lnTo>
                    <a:pt x="520" y="103"/>
                  </a:lnTo>
                  <a:lnTo>
                    <a:pt x="526" y="97"/>
                  </a:lnTo>
                  <a:lnTo>
                    <a:pt x="529" y="96"/>
                  </a:lnTo>
                  <a:lnTo>
                    <a:pt x="534" y="96"/>
                  </a:lnTo>
                  <a:lnTo>
                    <a:pt x="527" y="90"/>
                  </a:lnTo>
                  <a:lnTo>
                    <a:pt x="520" y="90"/>
                  </a:lnTo>
                  <a:lnTo>
                    <a:pt x="512" y="93"/>
                  </a:lnTo>
                  <a:lnTo>
                    <a:pt x="508" y="100"/>
                  </a:lnTo>
                  <a:lnTo>
                    <a:pt x="508" y="105"/>
                  </a:lnTo>
                  <a:lnTo>
                    <a:pt x="511" y="102"/>
                  </a:lnTo>
                  <a:lnTo>
                    <a:pt x="514" y="102"/>
                  </a:lnTo>
                  <a:close/>
                  <a:moveTo>
                    <a:pt x="13" y="188"/>
                  </a:moveTo>
                  <a:lnTo>
                    <a:pt x="14" y="188"/>
                  </a:lnTo>
                  <a:lnTo>
                    <a:pt x="20" y="185"/>
                  </a:lnTo>
                  <a:lnTo>
                    <a:pt x="23" y="185"/>
                  </a:lnTo>
                  <a:lnTo>
                    <a:pt x="26" y="185"/>
                  </a:lnTo>
                  <a:lnTo>
                    <a:pt x="30" y="191"/>
                  </a:lnTo>
                  <a:lnTo>
                    <a:pt x="35" y="192"/>
                  </a:lnTo>
                  <a:lnTo>
                    <a:pt x="32" y="188"/>
                  </a:lnTo>
                  <a:lnTo>
                    <a:pt x="29" y="183"/>
                  </a:lnTo>
                  <a:lnTo>
                    <a:pt x="26" y="182"/>
                  </a:lnTo>
                  <a:lnTo>
                    <a:pt x="22" y="180"/>
                  </a:lnTo>
                  <a:lnTo>
                    <a:pt x="22" y="176"/>
                  </a:lnTo>
                  <a:lnTo>
                    <a:pt x="29" y="175"/>
                  </a:lnTo>
                  <a:lnTo>
                    <a:pt x="40" y="170"/>
                  </a:lnTo>
                  <a:lnTo>
                    <a:pt x="48" y="169"/>
                  </a:lnTo>
                  <a:lnTo>
                    <a:pt x="43" y="159"/>
                  </a:lnTo>
                  <a:lnTo>
                    <a:pt x="30" y="160"/>
                  </a:lnTo>
                  <a:lnTo>
                    <a:pt x="4" y="169"/>
                  </a:lnTo>
                  <a:lnTo>
                    <a:pt x="0" y="172"/>
                  </a:lnTo>
                  <a:lnTo>
                    <a:pt x="1" y="179"/>
                  </a:lnTo>
                  <a:lnTo>
                    <a:pt x="7" y="185"/>
                  </a:lnTo>
                  <a:lnTo>
                    <a:pt x="13" y="188"/>
                  </a:lnTo>
                  <a:close/>
                  <a:moveTo>
                    <a:pt x="221" y="106"/>
                  </a:moveTo>
                  <a:lnTo>
                    <a:pt x="237" y="99"/>
                  </a:lnTo>
                  <a:lnTo>
                    <a:pt x="239" y="99"/>
                  </a:lnTo>
                  <a:lnTo>
                    <a:pt x="239" y="99"/>
                  </a:lnTo>
                  <a:lnTo>
                    <a:pt x="239" y="96"/>
                  </a:lnTo>
                  <a:lnTo>
                    <a:pt x="199" y="96"/>
                  </a:lnTo>
                  <a:lnTo>
                    <a:pt x="180" y="99"/>
                  </a:lnTo>
                  <a:lnTo>
                    <a:pt x="164" y="108"/>
                  </a:lnTo>
                  <a:lnTo>
                    <a:pt x="179" y="112"/>
                  </a:lnTo>
                  <a:lnTo>
                    <a:pt x="221" y="106"/>
                  </a:lnTo>
                  <a:close/>
                  <a:moveTo>
                    <a:pt x="1694" y="488"/>
                  </a:moveTo>
                  <a:lnTo>
                    <a:pt x="1685" y="486"/>
                  </a:lnTo>
                  <a:lnTo>
                    <a:pt x="1679" y="483"/>
                  </a:lnTo>
                  <a:lnTo>
                    <a:pt x="1669" y="473"/>
                  </a:lnTo>
                  <a:lnTo>
                    <a:pt x="1660" y="470"/>
                  </a:lnTo>
                  <a:lnTo>
                    <a:pt x="1653" y="472"/>
                  </a:lnTo>
                  <a:lnTo>
                    <a:pt x="1642" y="480"/>
                  </a:lnTo>
                  <a:lnTo>
                    <a:pt x="1636" y="482"/>
                  </a:lnTo>
                  <a:lnTo>
                    <a:pt x="1628" y="480"/>
                  </a:lnTo>
                  <a:lnTo>
                    <a:pt x="1627" y="480"/>
                  </a:lnTo>
                  <a:lnTo>
                    <a:pt x="1623" y="477"/>
                  </a:lnTo>
                  <a:lnTo>
                    <a:pt x="1609" y="463"/>
                  </a:lnTo>
                  <a:lnTo>
                    <a:pt x="1599" y="444"/>
                  </a:lnTo>
                  <a:lnTo>
                    <a:pt x="1598" y="441"/>
                  </a:lnTo>
                  <a:lnTo>
                    <a:pt x="1592" y="437"/>
                  </a:lnTo>
                  <a:lnTo>
                    <a:pt x="1589" y="434"/>
                  </a:lnTo>
                  <a:lnTo>
                    <a:pt x="1586" y="431"/>
                  </a:lnTo>
                  <a:lnTo>
                    <a:pt x="1583" y="432"/>
                  </a:lnTo>
                  <a:lnTo>
                    <a:pt x="1579" y="438"/>
                  </a:lnTo>
                  <a:lnTo>
                    <a:pt x="1576" y="438"/>
                  </a:lnTo>
                  <a:lnTo>
                    <a:pt x="1573" y="431"/>
                  </a:lnTo>
                  <a:lnTo>
                    <a:pt x="1570" y="428"/>
                  </a:lnTo>
                  <a:lnTo>
                    <a:pt x="1567" y="424"/>
                  </a:lnTo>
                  <a:lnTo>
                    <a:pt x="1566" y="421"/>
                  </a:lnTo>
                  <a:lnTo>
                    <a:pt x="1563" y="419"/>
                  </a:lnTo>
                  <a:lnTo>
                    <a:pt x="1558" y="419"/>
                  </a:lnTo>
                  <a:lnTo>
                    <a:pt x="1556" y="422"/>
                  </a:lnTo>
                  <a:lnTo>
                    <a:pt x="1553" y="425"/>
                  </a:lnTo>
                  <a:lnTo>
                    <a:pt x="1547" y="429"/>
                  </a:lnTo>
                  <a:lnTo>
                    <a:pt x="1544" y="434"/>
                  </a:lnTo>
                  <a:lnTo>
                    <a:pt x="1540" y="435"/>
                  </a:lnTo>
                  <a:lnTo>
                    <a:pt x="1535" y="432"/>
                  </a:lnTo>
                  <a:lnTo>
                    <a:pt x="1532" y="429"/>
                  </a:lnTo>
                  <a:lnTo>
                    <a:pt x="1522" y="424"/>
                  </a:lnTo>
                  <a:lnTo>
                    <a:pt x="1484" y="387"/>
                  </a:lnTo>
                  <a:lnTo>
                    <a:pt x="1452" y="368"/>
                  </a:lnTo>
                  <a:lnTo>
                    <a:pt x="1442" y="360"/>
                  </a:lnTo>
                  <a:lnTo>
                    <a:pt x="1435" y="349"/>
                  </a:lnTo>
                  <a:lnTo>
                    <a:pt x="1430" y="345"/>
                  </a:lnTo>
                  <a:lnTo>
                    <a:pt x="1424" y="343"/>
                  </a:lnTo>
                  <a:lnTo>
                    <a:pt x="1419" y="341"/>
                  </a:lnTo>
                  <a:lnTo>
                    <a:pt x="1416" y="333"/>
                  </a:lnTo>
                  <a:lnTo>
                    <a:pt x="1416" y="323"/>
                  </a:lnTo>
                  <a:lnTo>
                    <a:pt x="1416" y="316"/>
                  </a:lnTo>
                  <a:lnTo>
                    <a:pt x="1408" y="306"/>
                  </a:lnTo>
                  <a:lnTo>
                    <a:pt x="1395" y="303"/>
                  </a:lnTo>
                  <a:lnTo>
                    <a:pt x="1371" y="304"/>
                  </a:lnTo>
                  <a:lnTo>
                    <a:pt x="1359" y="309"/>
                  </a:lnTo>
                  <a:lnTo>
                    <a:pt x="1344" y="304"/>
                  </a:lnTo>
                  <a:lnTo>
                    <a:pt x="1295" y="274"/>
                  </a:lnTo>
                  <a:lnTo>
                    <a:pt x="1283" y="269"/>
                  </a:lnTo>
                  <a:lnTo>
                    <a:pt x="1274" y="269"/>
                  </a:lnTo>
                  <a:lnTo>
                    <a:pt x="1260" y="269"/>
                  </a:lnTo>
                  <a:lnTo>
                    <a:pt x="1257" y="269"/>
                  </a:lnTo>
                  <a:lnTo>
                    <a:pt x="1254" y="272"/>
                  </a:lnTo>
                  <a:lnTo>
                    <a:pt x="1245" y="282"/>
                  </a:lnTo>
                  <a:lnTo>
                    <a:pt x="1245" y="284"/>
                  </a:lnTo>
                  <a:lnTo>
                    <a:pt x="1226" y="285"/>
                  </a:lnTo>
                  <a:lnTo>
                    <a:pt x="1220" y="284"/>
                  </a:lnTo>
                  <a:lnTo>
                    <a:pt x="1215" y="279"/>
                  </a:lnTo>
                  <a:lnTo>
                    <a:pt x="1210" y="275"/>
                  </a:lnTo>
                  <a:lnTo>
                    <a:pt x="1207" y="269"/>
                  </a:lnTo>
                  <a:lnTo>
                    <a:pt x="1200" y="268"/>
                  </a:lnTo>
                  <a:lnTo>
                    <a:pt x="1196" y="265"/>
                  </a:lnTo>
                  <a:lnTo>
                    <a:pt x="1190" y="258"/>
                  </a:lnTo>
                  <a:lnTo>
                    <a:pt x="1187" y="258"/>
                  </a:lnTo>
                  <a:lnTo>
                    <a:pt x="1174" y="262"/>
                  </a:lnTo>
                  <a:lnTo>
                    <a:pt x="1172" y="263"/>
                  </a:lnTo>
                  <a:lnTo>
                    <a:pt x="1171" y="265"/>
                  </a:lnTo>
                  <a:lnTo>
                    <a:pt x="1171" y="266"/>
                  </a:lnTo>
                  <a:lnTo>
                    <a:pt x="1171" y="268"/>
                  </a:lnTo>
                  <a:lnTo>
                    <a:pt x="1172" y="268"/>
                  </a:lnTo>
                  <a:lnTo>
                    <a:pt x="1172" y="269"/>
                  </a:lnTo>
                  <a:lnTo>
                    <a:pt x="1171" y="271"/>
                  </a:lnTo>
                  <a:lnTo>
                    <a:pt x="1171" y="272"/>
                  </a:lnTo>
                  <a:lnTo>
                    <a:pt x="1165" y="275"/>
                  </a:lnTo>
                  <a:lnTo>
                    <a:pt x="1156" y="279"/>
                  </a:lnTo>
                  <a:lnTo>
                    <a:pt x="1152" y="279"/>
                  </a:lnTo>
                  <a:lnTo>
                    <a:pt x="1151" y="279"/>
                  </a:lnTo>
                  <a:lnTo>
                    <a:pt x="1143" y="275"/>
                  </a:lnTo>
                  <a:lnTo>
                    <a:pt x="1142" y="274"/>
                  </a:lnTo>
                  <a:lnTo>
                    <a:pt x="1140" y="275"/>
                  </a:lnTo>
                  <a:lnTo>
                    <a:pt x="1133" y="278"/>
                  </a:lnTo>
                  <a:lnTo>
                    <a:pt x="1130" y="278"/>
                  </a:lnTo>
                  <a:lnTo>
                    <a:pt x="1130" y="277"/>
                  </a:lnTo>
                  <a:lnTo>
                    <a:pt x="1129" y="275"/>
                  </a:lnTo>
                  <a:lnTo>
                    <a:pt x="1129" y="269"/>
                  </a:lnTo>
                  <a:lnTo>
                    <a:pt x="1129" y="263"/>
                  </a:lnTo>
                  <a:lnTo>
                    <a:pt x="1126" y="260"/>
                  </a:lnTo>
                  <a:lnTo>
                    <a:pt x="1124" y="259"/>
                  </a:lnTo>
                  <a:lnTo>
                    <a:pt x="1123" y="259"/>
                  </a:lnTo>
                  <a:lnTo>
                    <a:pt x="1120" y="260"/>
                  </a:lnTo>
                  <a:lnTo>
                    <a:pt x="1119" y="262"/>
                  </a:lnTo>
                  <a:lnTo>
                    <a:pt x="1114" y="268"/>
                  </a:lnTo>
                  <a:lnTo>
                    <a:pt x="1113" y="269"/>
                  </a:lnTo>
                  <a:lnTo>
                    <a:pt x="1111" y="268"/>
                  </a:lnTo>
                  <a:lnTo>
                    <a:pt x="1100" y="258"/>
                  </a:lnTo>
                  <a:lnTo>
                    <a:pt x="1097" y="255"/>
                  </a:lnTo>
                  <a:lnTo>
                    <a:pt x="1095" y="252"/>
                  </a:lnTo>
                  <a:lnTo>
                    <a:pt x="1094" y="247"/>
                  </a:lnTo>
                  <a:lnTo>
                    <a:pt x="1092" y="244"/>
                  </a:lnTo>
                  <a:lnTo>
                    <a:pt x="1091" y="239"/>
                  </a:lnTo>
                  <a:lnTo>
                    <a:pt x="1089" y="237"/>
                  </a:lnTo>
                  <a:lnTo>
                    <a:pt x="1088" y="236"/>
                  </a:lnTo>
                  <a:lnTo>
                    <a:pt x="1086" y="234"/>
                  </a:lnTo>
                  <a:lnTo>
                    <a:pt x="1085" y="233"/>
                  </a:lnTo>
                  <a:lnTo>
                    <a:pt x="1085" y="231"/>
                  </a:lnTo>
                  <a:lnTo>
                    <a:pt x="1085" y="230"/>
                  </a:lnTo>
                  <a:lnTo>
                    <a:pt x="1084" y="228"/>
                  </a:lnTo>
                  <a:lnTo>
                    <a:pt x="1081" y="224"/>
                  </a:lnTo>
                  <a:lnTo>
                    <a:pt x="1079" y="204"/>
                  </a:lnTo>
                  <a:lnTo>
                    <a:pt x="1079" y="201"/>
                  </a:lnTo>
                  <a:lnTo>
                    <a:pt x="1056" y="196"/>
                  </a:lnTo>
                  <a:lnTo>
                    <a:pt x="1035" y="182"/>
                  </a:lnTo>
                  <a:lnTo>
                    <a:pt x="1031" y="180"/>
                  </a:lnTo>
                  <a:lnTo>
                    <a:pt x="1022" y="179"/>
                  </a:lnTo>
                  <a:lnTo>
                    <a:pt x="1017" y="176"/>
                  </a:lnTo>
                  <a:lnTo>
                    <a:pt x="1011" y="172"/>
                  </a:lnTo>
                  <a:lnTo>
                    <a:pt x="987" y="137"/>
                  </a:lnTo>
                  <a:lnTo>
                    <a:pt x="982" y="118"/>
                  </a:lnTo>
                  <a:lnTo>
                    <a:pt x="977" y="112"/>
                  </a:lnTo>
                  <a:lnTo>
                    <a:pt x="967" y="105"/>
                  </a:lnTo>
                  <a:lnTo>
                    <a:pt x="954" y="87"/>
                  </a:lnTo>
                  <a:lnTo>
                    <a:pt x="920" y="28"/>
                  </a:lnTo>
                  <a:lnTo>
                    <a:pt x="912" y="17"/>
                  </a:lnTo>
                  <a:lnTo>
                    <a:pt x="909" y="16"/>
                  </a:lnTo>
                  <a:lnTo>
                    <a:pt x="897" y="16"/>
                  </a:lnTo>
                  <a:lnTo>
                    <a:pt x="891" y="16"/>
                  </a:lnTo>
                  <a:lnTo>
                    <a:pt x="887" y="12"/>
                  </a:lnTo>
                  <a:lnTo>
                    <a:pt x="881" y="16"/>
                  </a:lnTo>
                  <a:lnTo>
                    <a:pt x="853" y="16"/>
                  </a:lnTo>
                  <a:lnTo>
                    <a:pt x="826" y="23"/>
                  </a:lnTo>
                  <a:lnTo>
                    <a:pt x="820" y="30"/>
                  </a:lnTo>
                  <a:lnTo>
                    <a:pt x="805" y="29"/>
                  </a:lnTo>
                  <a:lnTo>
                    <a:pt x="781" y="35"/>
                  </a:lnTo>
                  <a:lnTo>
                    <a:pt x="765" y="36"/>
                  </a:lnTo>
                  <a:lnTo>
                    <a:pt x="738" y="29"/>
                  </a:lnTo>
                  <a:lnTo>
                    <a:pt x="725" y="22"/>
                  </a:lnTo>
                  <a:lnTo>
                    <a:pt x="712" y="12"/>
                  </a:lnTo>
                  <a:lnTo>
                    <a:pt x="703" y="1"/>
                  </a:lnTo>
                  <a:lnTo>
                    <a:pt x="700" y="0"/>
                  </a:lnTo>
                  <a:lnTo>
                    <a:pt x="693" y="0"/>
                  </a:lnTo>
                  <a:lnTo>
                    <a:pt x="684" y="1"/>
                  </a:lnTo>
                  <a:lnTo>
                    <a:pt x="677" y="6"/>
                  </a:lnTo>
                  <a:lnTo>
                    <a:pt x="670" y="13"/>
                  </a:lnTo>
                  <a:lnTo>
                    <a:pt x="665" y="20"/>
                  </a:lnTo>
                  <a:lnTo>
                    <a:pt x="660" y="36"/>
                  </a:lnTo>
                  <a:lnTo>
                    <a:pt x="651" y="71"/>
                  </a:lnTo>
                  <a:lnTo>
                    <a:pt x="638" y="103"/>
                  </a:lnTo>
                  <a:lnTo>
                    <a:pt x="635" y="112"/>
                  </a:lnTo>
                  <a:lnTo>
                    <a:pt x="635" y="122"/>
                  </a:lnTo>
                  <a:lnTo>
                    <a:pt x="635" y="132"/>
                  </a:lnTo>
                  <a:lnTo>
                    <a:pt x="641" y="145"/>
                  </a:lnTo>
                  <a:lnTo>
                    <a:pt x="642" y="156"/>
                  </a:lnTo>
                  <a:lnTo>
                    <a:pt x="645" y="161"/>
                  </a:lnTo>
                  <a:lnTo>
                    <a:pt x="647" y="164"/>
                  </a:lnTo>
                  <a:lnTo>
                    <a:pt x="649" y="173"/>
                  </a:lnTo>
                  <a:lnTo>
                    <a:pt x="652" y="176"/>
                  </a:lnTo>
                  <a:lnTo>
                    <a:pt x="661" y="199"/>
                  </a:lnTo>
                  <a:lnTo>
                    <a:pt x="663" y="202"/>
                  </a:lnTo>
                  <a:lnTo>
                    <a:pt x="660" y="218"/>
                  </a:lnTo>
                  <a:lnTo>
                    <a:pt x="660" y="218"/>
                  </a:lnTo>
                  <a:lnTo>
                    <a:pt x="652" y="226"/>
                  </a:lnTo>
                  <a:lnTo>
                    <a:pt x="644" y="231"/>
                  </a:lnTo>
                  <a:lnTo>
                    <a:pt x="639" y="244"/>
                  </a:lnTo>
                  <a:lnTo>
                    <a:pt x="639" y="260"/>
                  </a:lnTo>
                  <a:lnTo>
                    <a:pt x="642" y="297"/>
                  </a:lnTo>
                  <a:lnTo>
                    <a:pt x="641" y="311"/>
                  </a:lnTo>
                  <a:lnTo>
                    <a:pt x="636" y="301"/>
                  </a:lnTo>
                  <a:lnTo>
                    <a:pt x="635" y="287"/>
                  </a:lnTo>
                  <a:lnTo>
                    <a:pt x="635" y="255"/>
                  </a:lnTo>
                  <a:lnTo>
                    <a:pt x="636" y="237"/>
                  </a:lnTo>
                  <a:lnTo>
                    <a:pt x="642" y="224"/>
                  </a:lnTo>
                  <a:lnTo>
                    <a:pt x="649" y="215"/>
                  </a:lnTo>
                  <a:lnTo>
                    <a:pt x="658" y="208"/>
                  </a:lnTo>
                  <a:lnTo>
                    <a:pt x="658" y="204"/>
                  </a:lnTo>
                  <a:lnTo>
                    <a:pt x="645" y="198"/>
                  </a:lnTo>
                  <a:lnTo>
                    <a:pt x="614" y="192"/>
                  </a:lnTo>
                  <a:lnTo>
                    <a:pt x="601" y="185"/>
                  </a:lnTo>
                  <a:lnTo>
                    <a:pt x="597" y="179"/>
                  </a:lnTo>
                  <a:lnTo>
                    <a:pt x="593" y="170"/>
                  </a:lnTo>
                  <a:lnTo>
                    <a:pt x="587" y="163"/>
                  </a:lnTo>
                  <a:lnTo>
                    <a:pt x="581" y="160"/>
                  </a:lnTo>
                  <a:lnTo>
                    <a:pt x="566" y="161"/>
                  </a:lnTo>
                  <a:lnTo>
                    <a:pt x="561" y="163"/>
                  </a:lnTo>
                  <a:lnTo>
                    <a:pt x="556" y="169"/>
                  </a:lnTo>
                  <a:lnTo>
                    <a:pt x="553" y="176"/>
                  </a:lnTo>
                  <a:lnTo>
                    <a:pt x="550" y="196"/>
                  </a:lnTo>
                  <a:lnTo>
                    <a:pt x="547" y="207"/>
                  </a:lnTo>
                  <a:lnTo>
                    <a:pt x="546" y="214"/>
                  </a:lnTo>
                  <a:lnTo>
                    <a:pt x="553" y="215"/>
                  </a:lnTo>
                  <a:lnTo>
                    <a:pt x="568" y="212"/>
                  </a:lnTo>
                  <a:lnTo>
                    <a:pt x="578" y="224"/>
                  </a:lnTo>
                  <a:lnTo>
                    <a:pt x="575" y="244"/>
                  </a:lnTo>
                  <a:lnTo>
                    <a:pt x="568" y="263"/>
                  </a:lnTo>
                  <a:lnTo>
                    <a:pt x="561" y="277"/>
                  </a:lnTo>
                  <a:lnTo>
                    <a:pt x="556" y="281"/>
                  </a:lnTo>
                  <a:lnTo>
                    <a:pt x="552" y="282"/>
                  </a:lnTo>
                  <a:lnTo>
                    <a:pt x="549" y="284"/>
                  </a:lnTo>
                  <a:lnTo>
                    <a:pt x="543" y="284"/>
                  </a:lnTo>
                  <a:lnTo>
                    <a:pt x="537" y="281"/>
                  </a:lnTo>
                  <a:lnTo>
                    <a:pt x="534" y="277"/>
                  </a:lnTo>
                  <a:lnTo>
                    <a:pt x="531" y="271"/>
                  </a:lnTo>
                  <a:lnTo>
                    <a:pt x="529" y="268"/>
                  </a:lnTo>
                  <a:lnTo>
                    <a:pt x="526" y="266"/>
                  </a:lnTo>
                  <a:lnTo>
                    <a:pt x="520" y="259"/>
                  </a:lnTo>
                  <a:lnTo>
                    <a:pt x="515" y="256"/>
                  </a:lnTo>
                  <a:lnTo>
                    <a:pt x="510" y="256"/>
                  </a:lnTo>
                  <a:lnTo>
                    <a:pt x="505" y="258"/>
                  </a:lnTo>
                  <a:lnTo>
                    <a:pt x="501" y="260"/>
                  </a:lnTo>
                  <a:lnTo>
                    <a:pt x="496" y="255"/>
                  </a:lnTo>
                  <a:lnTo>
                    <a:pt x="494" y="247"/>
                  </a:lnTo>
                  <a:lnTo>
                    <a:pt x="486" y="228"/>
                  </a:lnTo>
                  <a:lnTo>
                    <a:pt x="492" y="224"/>
                  </a:lnTo>
                  <a:lnTo>
                    <a:pt x="507" y="223"/>
                  </a:lnTo>
                  <a:lnTo>
                    <a:pt x="512" y="220"/>
                  </a:lnTo>
                  <a:lnTo>
                    <a:pt x="520" y="214"/>
                  </a:lnTo>
                  <a:lnTo>
                    <a:pt x="524" y="208"/>
                  </a:lnTo>
                  <a:lnTo>
                    <a:pt x="524" y="198"/>
                  </a:lnTo>
                  <a:lnTo>
                    <a:pt x="521" y="192"/>
                  </a:lnTo>
                  <a:lnTo>
                    <a:pt x="512" y="191"/>
                  </a:lnTo>
                  <a:lnTo>
                    <a:pt x="508" y="188"/>
                  </a:lnTo>
                  <a:lnTo>
                    <a:pt x="511" y="180"/>
                  </a:lnTo>
                  <a:lnTo>
                    <a:pt x="511" y="176"/>
                  </a:lnTo>
                  <a:lnTo>
                    <a:pt x="499" y="169"/>
                  </a:lnTo>
                  <a:lnTo>
                    <a:pt x="485" y="150"/>
                  </a:lnTo>
                  <a:lnTo>
                    <a:pt x="475" y="128"/>
                  </a:lnTo>
                  <a:lnTo>
                    <a:pt x="478" y="112"/>
                  </a:lnTo>
                  <a:lnTo>
                    <a:pt x="478" y="108"/>
                  </a:lnTo>
                  <a:lnTo>
                    <a:pt x="450" y="100"/>
                  </a:lnTo>
                  <a:lnTo>
                    <a:pt x="345" y="115"/>
                  </a:lnTo>
                  <a:lnTo>
                    <a:pt x="294" y="125"/>
                  </a:lnTo>
                  <a:lnTo>
                    <a:pt x="285" y="124"/>
                  </a:lnTo>
                  <a:lnTo>
                    <a:pt x="282" y="118"/>
                  </a:lnTo>
                  <a:lnTo>
                    <a:pt x="278" y="115"/>
                  </a:lnTo>
                  <a:lnTo>
                    <a:pt x="224" y="121"/>
                  </a:lnTo>
                  <a:lnTo>
                    <a:pt x="198" y="132"/>
                  </a:lnTo>
                  <a:lnTo>
                    <a:pt x="185" y="145"/>
                  </a:lnTo>
                  <a:lnTo>
                    <a:pt x="177" y="150"/>
                  </a:lnTo>
                  <a:lnTo>
                    <a:pt x="164" y="164"/>
                  </a:lnTo>
                  <a:lnTo>
                    <a:pt x="154" y="172"/>
                  </a:lnTo>
                  <a:lnTo>
                    <a:pt x="148" y="179"/>
                  </a:lnTo>
                  <a:lnTo>
                    <a:pt x="150" y="186"/>
                  </a:lnTo>
                  <a:lnTo>
                    <a:pt x="154" y="191"/>
                  </a:lnTo>
                  <a:lnTo>
                    <a:pt x="164" y="196"/>
                  </a:lnTo>
                  <a:lnTo>
                    <a:pt x="167" y="201"/>
                  </a:lnTo>
                  <a:lnTo>
                    <a:pt x="167" y="208"/>
                  </a:lnTo>
                  <a:lnTo>
                    <a:pt x="166" y="214"/>
                  </a:lnTo>
                  <a:lnTo>
                    <a:pt x="161" y="215"/>
                  </a:lnTo>
                  <a:lnTo>
                    <a:pt x="160" y="220"/>
                  </a:lnTo>
                  <a:lnTo>
                    <a:pt x="147" y="217"/>
                  </a:lnTo>
                  <a:lnTo>
                    <a:pt x="140" y="217"/>
                  </a:lnTo>
                  <a:lnTo>
                    <a:pt x="137" y="223"/>
                  </a:lnTo>
                  <a:lnTo>
                    <a:pt x="135" y="231"/>
                  </a:lnTo>
                  <a:lnTo>
                    <a:pt x="128" y="249"/>
                  </a:lnTo>
                  <a:lnTo>
                    <a:pt x="126" y="258"/>
                  </a:lnTo>
                  <a:lnTo>
                    <a:pt x="126" y="301"/>
                  </a:lnTo>
                  <a:lnTo>
                    <a:pt x="132" y="317"/>
                  </a:lnTo>
                  <a:lnTo>
                    <a:pt x="145" y="323"/>
                  </a:lnTo>
                  <a:lnTo>
                    <a:pt x="224" y="326"/>
                  </a:lnTo>
                  <a:lnTo>
                    <a:pt x="237" y="332"/>
                  </a:lnTo>
                  <a:lnTo>
                    <a:pt x="246" y="343"/>
                  </a:lnTo>
                  <a:lnTo>
                    <a:pt x="240" y="341"/>
                  </a:lnTo>
                  <a:lnTo>
                    <a:pt x="227" y="333"/>
                  </a:lnTo>
                  <a:lnTo>
                    <a:pt x="220" y="332"/>
                  </a:lnTo>
                  <a:lnTo>
                    <a:pt x="212" y="332"/>
                  </a:lnTo>
                  <a:lnTo>
                    <a:pt x="207" y="335"/>
                  </a:lnTo>
                  <a:lnTo>
                    <a:pt x="198" y="348"/>
                  </a:lnTo>
                  <a:lnTo>
                    <a:pt x="201" y="354"/>
                  </a:lnTo>
                  <a:lnTo>
                    <a:pt x="199" y="361"/>
                  </a:lnTo>
                  <a:lnTo>
                    <a:pt x="196" y="367"/>
                  </a:lnTo>
                  <a:lnTo>
                    <a:pt x="193" y="371"/>
                  </a:lnTo>
                  <a:lnTo>
                    <a:pt x="189" y="376"/>
                  </a:lnTo>
                  <a:lnTo>
                    <a:pt x="186" y="377"/>
                  </a:lnTo>
                  <a:lnTo>
                    <a:pt x="188" y="393"/>
                  </a:lnTo>
                  <a:lnTo>
                    <a:pt x="188" y="403"/>
                  </a:lnTo>
                  <a:lnTo>
                    <a:pt x="188" y="403"/>
                  </a:lnTo>
                  <a:lnTo>
                    <a:pt x="186" y="412"/>
                  </a:lnTo>
                  <a:lnTo>
                    <a:pt x="183" y="422"/>
                  </a:lnTo>
                  <a:lnTo>
                    <a:pt x="179" y="435"/>
                  </a:lnTo>
                  <a:lnTo>
                    <a:pt x="179" y="440"/>
                  </a:lnTo>
                  <a:lnTo>
                    <a:pt x="179" y="440"/>
                  </a:lnTo>
                  <a:lnTo>
                    <a:pt x="179" y="447"/>
                  </a:lnTo>
                  <a:lnTo>
                    <a:pt x="180" y="450"/>
                  </a:lnTo>
                  <a:lnTo>
                    <a:pt x="182" y="453"/>
                  </a:lnTo>
                  <a:lnTo>
                    <a:pt x="183" y="459"/>
                  </a:lnTo>
                  <a:lnTo>
                    <a:pt x="186" y="499"/>
                  </a:lnTo>
                  <a:lnTo>
                    <a:pt x="186" y="499"/>
                  </a:lnTo>
                  <a:lnTo>
                    <a:pt x="185" y="520"/>
                  </a:lnTo>
                  <a:lnTo>
                    <a:pt x="182" y="539"/>
                  </a:lnTo>
                  <a:lnTo>
                    <a:pt x="174" y="558"/>
                  </a:lnTo>
                  <a:lnTo>
                    <a:pt x="147" y="603"/>
                  </a:lnTo>
                  <a:lnTo>
                    <a:pt x="144" y="610"/>
                  </a:lnTo>
                  <a:lnTo>
                    <a:pt x="140" y="620"/>
                  </a:lnTo>
                  <a:lnTo>
                    <a:pt x="137" y="639"/>
                  </a:lnTo>
                  <a:lnTo>
                    <a:pt x="134" y="700"/>
                  </a:lnTo>
                  <a:lnTo>
                    <a:pt x="131" y="721"/>
                  </a:lnTo>
                  <a:lnTo>
                    <a:pt x="125" y="734"/>
                  </a:lnTo>
                  <a:lnTo>
                    <a:pt x="112" y="729"/>
                  </a:lnTo>
                  <a:lnTo>
                    <a:pt x="107" y="726"/>
                  </a:lnTo>
                  <a:lnTo>
                    <a:pt x="90" y="729"/>
                  </a:lnTo>
                  <a:lnTo>
                    <a:pt x="71" y="724"/>
                  </a:lnTo>
                  <a:lnTo>
                    <a:pt x="39" y="725"/>
                  </a:lnTo>
                  <a:lnTo>
                    <a:pt x="27" y="728"/>
                  </a:lnTo>
                  <a:lnTo>
                    <a:pt x="20" y="732"/>
                  </a:lnTo>
                  <a:lnTo>
                    <a:pt x="14" y="737"/>
                  </a:lnTo>
                  <a:lnTo>
                    <a:pt x="14" y="737"/>
                  </a:lnTo>
                  <a:lnTo>
                    <a:pt x="17" y="742"/>
                  </a:lnTo>
                  <a:lnTo>
                    <a:pt x="17" y="742"/>
                  </a:lnTo>
                  <a:lnTo>
                    <a:pt x="17" y="748"/>
                  </a:lnTo>
                  <a:lnTo>
                    <a:pt x="16" y="753"/>
                  </a:lnTo>
                  <a:lnTo>
                    <a:pt x="16" y="753"/>
                  </a:lnTo>
                  <a:lnTo>
                    <a:pt x="16" y="757"/>
                  </a:lnTo>
                  <a:lnTo>
                    <a:pt x="19" y="761"/>
                  </a:lnTo>
                  <a:lnTo>
                    <a:pt x="29" y="772"/>
                  </a:lnTo>
                  <a:lnTo>
                    <a:pt x="29" y="772"/>
                  </a:lnTo>
                  <a:lnTo>
                    <a:pt x="10" y="780"/>
                  </a:lnTo>
                  <a:lnTo>
                    <a:pt x="4" y="782"/>
                  </a:lnTo>
                  <a:lnTo>
                    <a:pt x="4" y="782"/>
                  </a:lnTo>
                  <a:lnTo>
                    <a:pt x="8" y="790"/>
                  </a:lnTo>
                  <a:lnTo>
                    <a:pt x="10" y="801"/>
                  </a:lnTo>
                  <a:lnTo>
                    <a:pt x="10" y="811"/>
                  </a:lnTo>
                  <a:lnTo>
                    <a:pt x="13" y="818"/>
                  </a:lnTo>
                  <a:lnTo>
                    <a:pt x="19" y="827"/>
                  </a:lnTo>
                  <a:lnTo>
                    <a:pt x="29" y="831"/>
                  </a:lnTo>
                  <a:lnTo>
                    <a:pt x="56" y="836"/>
                  </a:lnTo>
                  <a:lnTo>
                    <a:pt x="74" y="841"/>
                  </a:lnTo>
                  <a:lnTo>
                    <a:pt x="84" y="843"/>
                  </a:lnTo>
                  <a:lnTo>
                    <a:pt x="93" y="843"/>
                  </a:lnTo>
                  <a:lnTo>
                    <a:pt x="102" y="840"/>
                  </a:lnTo>
                  <a:lnTo>
                    <a:pt x="105" y="837"/>
                  </a:lnTo>
                  <a:lnTo>
                    <a:pt x="107" y="834"/>
                  </a:lnTo>
                  <a:lnTo>
                    <a:pt x="109" y="833"/>
                  </a:lnTo>
                  <a:lnTo>
                    <a:pt x="131" y="868"/>
                  </a:lnTo>
                  <a:lnTo>
                    <a:pt x="135" y="882"/>
                  </a:lnTo>
                  <a:lnTo>
                    <a:pt x="135" y="882"/>
                  </a:lnTo>
                  <a:lnTo>
                    <a:pt x="132" y="903"/>
                  </a:lnTo>
                  <a:lnTo>
                    <a:pt x="125" y="919"/>
                  </a:lnTo>
                  <a:lnTo>
                    <a:pt x="122" y="927"/>
                  </a:lnTo>
                  <a:lnTo>
                    <a:pt x="122" y="938"/>
                  </a:lnTo>
                  <a:lnTo>
                    <a:pt x="125" y="949"/>
                  </a:lnTo>
                  <a:lnTo>
                    <a:pt x="128" y="954"/>
                  </a:lnTo>
                  <a:lnTo>
                    <a:pt x="137" y="954"/>
                  </a:lnTo>
                  <a:lnTo>
                    <a:pt x="151" y="948"/>
                  </a:lnTo>
                  <a:lnTo>
                    <a:pt x="156" y="945"/>
                  </a:lnTo>
                  <a:lnTo>
                    <a:pt x="158" y="942"/>
                  </a:lnTo>
                  <a:lnTo>
                    <a:pt x="161" y="940"/>
                  </a:lnTo>
                  <a:lnTo>
                    <a:pt x="208" y="938"/>
                  </a:lnTo>
                  <a:lnTo>
                    <a:pt x="223" y="935"/>
                  </a:lnTo>
                  <a:lnTo>
                    <a:pt x="240" y="923"/>
                  </a:lnTo>
                  <a:lnTo>
                    <a:pt x="244" y="919"/>
                  </a:lnTo>
                  <a:lnTo>
                    <a:pt x="246" y="917"/>
                  </a:lnTo>
                  <a:lnTo>
                    <a:pt x="247" y="917"/>
                  </a:lnTo>
                  <a:lnTo>
                    <a:pt x="258" y="914"/>
                  </a:lnTo>
                  <a:lnTo>
                    <a:pt x="260" y="913"/>
                  </a:lnTo>
                  <a:lnTo>
                    <a:pt x="263" y="911"/>
                  </a:lnTo>
                  <a:lnTo>
                    <a:pt x="281" y="892"/>
                  </a:lnTo>
                  <a:lnTo>
                    <a:pt x="297" y="879"/>
                  </a:lnTo>
                  <a:lnTo>
                    <a:pt x="298" y="878"/>
                  </a:lnTo>
                  <a:lnTo>
                    <a:pt x="304" y="876"/>
                  </a:lnTo>
                  <a:lnTo>
                    <a:pt x="306" y="876"/>
                  </a:lnTo>
                  <a:lnTo>
                    <a:pt x="313" y="878"/>
                  </a:lnTo>
                  <a:lnTo>
                    <a:pt x="313" y="878"/>
                  </a:lnTo>
                  <a:lnTo>
                    <a:pt x="314" y="878"/>
                  </a:lnTo>
                  <a:lnTo>
                    <a:pt x="316" y="876"/>
                  </a:lnTo>
                  <a:lnTo>
                    <a:pt x="317" y="873"/>
                  </a:lnTo>
                  <a:lnTo>
                    <a:pt x="317" y="872"/>
                  </a:lnTo>
                  <a:lnTo>
                    <a:pt x="319" y="872"/>
                  </a:lnTo>
                  <a:lnTo>
                    <a:pt x="319" y="872"/>
                  </a:lnTo>
                  <a:lnTo>
                    <a:pt x="320" y="868"/>
                  </a:lnTo>
                  <a:lnTo>
                    <a:pt x="323" y="859"/>
                  </a:lnTo>
                  <a:lnTo>
                    <a:pt x="323" y="856"/>
                  </a:lnTo>
                  <a:lnTo>
                    <a:pt x="326" y="855"/>
                  </a:lnTo>
                  <a:lnTo>
                    <a:pt x="327" y="853"/>
                  </a:lnTo>
                  <a:lnTo>
                    <a:pt x="327" y="852"/>
                  </a:lnTo>
                  <a:lnTo>
                    <a:pt x="327" y="850"/>
                  </a:lnTo>
                  <a:lnTo>
                    <a:pt x="325" y="847"/>
                  </a:lnTo>
                  <a:lnTo>
                    <a:pt x="322" y="846"/>
                  </a:lnTo>
                  <a:lnTo>
                    <a:pt x="322" y="843"/>
                  </a:lnTo>
                  <a:lnTo>
                    <a:pt x="320" y="841"/>
                  </a:lnTo>
                  <a:lnTo>
                    <a:pt x="325" y="823"/>
                  </a:lnTo>
                  <a:lnTo>
                    <a:pt x="326" y="821"/>
                  </a:lnTo>
                  <a:lnTo>
                    <a:pt x="327" y="820"/>
                  </a:lnTo>
                  <a:lnTo>
                    <a:pt x="329" y="820"/>
                  </a:lnTo>
                  <a:lnTo>
                    <a:pt x="330" y="820"/>
                  </a:lnTo>
                  <a:lnTo>
                    <a:pt x="355" y="827"/>
                  </a:lnTo>
                  <a:lnTo>
                    <a:pt x="357" y="828"/>
                  </a:lnTo>
                  <a:lnTo>
                    <a:pt x="358" y="830"/>
                  </a:lnTo>
                  <a:lnTo>
                    <a:pt x="360" y="831"/>
                  </a:lnTo>
                  <a:lnTo>
                    <a:pt x="360" y="834"/>
                  </a:lnTo>
                  <a:lnTo>
                    <a:pt x="362" y="855"/>
                  </a:lnTo>
                  <a:lnTo>
                    <a:pt x="364" y="856"/>
                  </a:lnTo>
                  <a:lnTo>
                    <a:pt x="365" y="857"/>
                  </a:lnTo>
                  <a:lnTo>
                    <a:pt x="374" y="860"/>
                  </a:lnTo>
                  <a:lnTo>
                    <a:pt x="397" y="876"/>
                  </a:lnTo>
                  <a:lnTo>
                    <a:pt x="399" y="876"/>
                  </a:lnTo>
                  <a:lnTo>
                    <a:pt x="402" y="882"/>
                  </a:lnTo>
                  <a:lnTo>
                    <a:pt x="405" y="882"/>
                  </a:lnTo>
                  <a:lnTo>
                    <a:pt x="406" y="884"/>
                  </a:lnTo>
                  <a:lnTo>
                    <a:pt x="429" y="873"/>
                  </a:lnTo>
                  <a:lnTo>
                    <a:pt x="431" y="875"/>
                  </a:lnTo>
                  <a:lnTo>
                    <a:pt x="434" y="875"/>
                  </a:lnTo>
                  <a:lnTo>
                    <a:pt x="435" y="878"/>
                  </a:lnTo>
                  <a:lnTo>
                    <a:pt x="438" y="882"/>
                  </a:lnTo>
                  <a:lnTo>
                    <a:pt x="441" y="885"/>
                  </a:lnTo>
                  <a:lnTo>
                    <a:pt x="445" y="892"/>
                  </a:lnTo>
                  <a:lnTo>
                    <a:pt x="453" y="904"/>
                  </a:lnTo>
                  <a:lnTo>
                    <a:pt x="456" y="908"/>
                  </a:lnTo>
                  <a:lnTo>
                    <a:pt x="457" y="910"/>
                  </a:lnTo>
                  <a:lnTo>
                    <a:pt x="457" y="911"/>
                  </a:lnTo>
                  <a:lnTo>
                    <a:pt x="456" y="913"/>
                  </a:lnTo>
                  <a:lnTo>
                    <a:pt x="454" y="914"/>
                  </a:lnTo>
                  <a:lnTo>
                    <a:pt x="444" y="916"/>
                  </a:lnTo>
                  <a:lnTo>
                    <a:pt x="443" y="916"/>
                  </a:lnTo>
                  <a:lnTo>
                    <a:pt x="441" y="917"/>
                  </a:lnTo>
                  <a:lnTo>
                    <a:pt x="441" y="919"/>
                  </a:lnTo>
                  <a:lnTo>
                    <a:pt x="443" y="922"/>
                  </a:lnTo>
                  <a:lnTo>
                    <a:pt x="443" y="924"/>
                  </a:lnTo>
                  <a:lnTo>
                    <a:pt x="444" y="926"/>
                  </a:lnTo>
                  <a:lnTo>
                    <a:pt x="445" y="929"/>
                  </a:lnTo>
                  <a:lnTo>
                    <a:pt x="447" y="932"/>
                  </a:lnTo>
                  <a:lnTo>
                    <a:pt x="447" y="933"/>
                  </a:lnTo>
                  <a:lnTo>
                    <a:pt x="447" y="935"/>
                  </a:lnTo>
                  <a:lnTo>
                    <a:pt x="444" y="938"/>
                  </a:lnTo>
                  <a:lnTo>
                    <a:pt x="438" y="945"/>
                  </a:lnTo>
                  <a:lnTo>
                    <a:pt x="437" y="946"/>
                  </a:lnTo>
                  <a:lnTo>
                    <a:pt x="437" y="948"/>
                  </a:lnTo>
                  <a:lnTo>
                    <a:pt x="437" y="949"/>
                  </a:lnTo>
                  <a:lnTo>
                    <a:pt x="438" y="951"/>
                  </a:lnTo>
                  <a:lnTo>
                    <a:pt x="440" y="955"/>
                  </a:lnTo>
                  <a:lnTo>
                    <a:pt x="440" y="956"/>
                  </a:lnTo>
                  <a:lnTo>
                    <a:pt x="440" y="958"/>
                  </a:lnTo>
                  <a:lnTo>
                    <a:pt x="440" y="961"/>
                  </a:lnTo>
                  <a:lnTo>
                    <a:pt x="437" y="964"/>
                  </a:lnTo>
                  <a:lnTo>
                    <a:pt x="432" y="968"/>
                  </a:lnTo>
                  <a:lnTo>
                    <a:pt x="431" y="971"/>
                  </a:lnTo>
                  <a:lnTo>
                    <a:pt x="431" y="972"/>
                  </a:lnTo>
                  <a:lnTo>
                    <a:pt x="432" y="975"/>
                  </a:lnTo>
                  <a:lnTo>
                    <a:pt x="434" y="977"/>
                  </a:lnTo>
                  <a:lnTo>
                    <a:pt x="437" y="977"/>
                  </a:lnTo>
                  <a:lnTo>
                    <a:pt x="440" y="977"/>
                  </a:lnTo>
                  <a:lnTo>
                    <a:pt x="443" y="978"/>
                  </a:lnTo>
                  <a:lnTo>
                    <a:pt x="443" y="978"/>
                  </a:lnTo>
                  <a:lnTo>
                    <a:pt x="444" y="981"/>
                  </a:lnTo>
                  <a:lnTo>
                    <a:pt x="444" y="984"/>
                  </a:lnTo>
                  <a:lnTo>
                    <a:pt x="445" y="986"/>
                  </a:lnTo>
                  <a:lnTo>
                    <a:pt x="448" y="987"/>
                  </a:lnTo>
                  <a:lnTo>
                    <a:pt x="453" y="987"/>
                  </a:lnTo>
                  <a:lnTo>
                    <a:pt x="459" y="986"/>
                  </a:lnTo>
                  <a:lnTo>
                    <a:pt x="463" y="986"/>
                  </a:lnTo>
                  <a:lnTo>
                    <a:pt x="469" y="988"/>
                  </a:lnTo>
                  <a:lnTo>
                    <a:pt x="470" y="988"/>
                  </a:lnTo>
                  <a:lnTo>
                    <a:pt x="472" y="990"/>
                  </a:lnTo>
                  <a:lnTo>
                    <a:pt x="472" y="993"/>
                  </a:lnTo>
                  <a:lnTo>
                    <a:pt x="470" y="996"/>
                  </a:lnTo>
                  <a:lnTo>
                    <a:pt x="467" y="1003"/>
                  </a:lnTo>
                  <a:lnTo>
                    <a:pt x="464" y="1010"/>
                  </a:lnTo>
                  <a:lnTo>
                    <a:pt x="464" y="1013"/>
                  </a:lnTo>
                  <a:lnTo>
                    <a:pt x="464" y="1016"/>
                  </a:lnTo>
                  <a:lnTo>
                    <a:pt x="463" y="1019"/>
                  </a:lnTo>
                  <a:lnTo>
                    <a:pt x="459" y="1019"/>
                  </a:lnTo>
                  <a:lnTo>
                    <a:pt x="454" y="1019"/>
                  </a:lnTo>
                  <a:lnTo>
                    <a:pt x="448" y="1021"/>
                  </a:lnTo>
                  <a:lnTo>
                    <a:pt x="440" y="1025"/>
                  </a:lnTo>
                  <a:lnTo>
                    <a:pt x="432" y="1031"/>
                  </a:lnTo>
                  <a:lnTo>
                    <a:pt x="429" y="1035"/>
                  </a:lnTo>
                  <a:lnTo>
                    <a:pt x="428" y="1038"/>
                  </a:lnTo>
                  <a:lnTo>
                    <a:pt x="431" y="1044"/>
                  </a:lnTo>
                  <a:lnTo>
                    <a:pt x="432" y="1048"/>
                  </a:lnTo>
                  <a:lnTo>
                    <a:pt x="435" y="1057"/>
                  </a:lnTo>
                  <a:lnTo>
                    <a:pt x="437" y="1057"/>
                  </a:lnTo>
                  <a:lnTo>
                    <a:pt x="438" y="1058"/>
                  </a:lnTo>
                  <a:lnTo>
                    <a:pt x="448" y="1061"/>
                  </a:lnTo>
                  <a:lnTo>
                    <a:pt x="454" y="1064"/>
                  </a:lnTo>
                  <a:lnTo>
                    <a:pt x="456" y="1067"/>
                  </a:lnTo>
                  <a:lnTo>
                    <a:pt x="457" y="1067"/>
                  </a:lnTo>
                  <a:lnTo>
                    <a:pt x="459" y="1066"/>
                  </a:lnTo>
                  <a:lnTo>
                    <a:pt x="475" y="1051"/>
                  </a:lnTo>
                  <a:lnTo>
                    <a:pt x="479" y="1048"/>
                  </a:lnTo>
                  <a:lnTo>
                    <a:pt x="492" y="1047"/>
                  </a:lnTo>
                  <a:lnTo>
                    <a:pt x="504" y="1051"/>
                  </a:lnTo>
                  <a:lnTo>
                    <a:pt x="529" y="1041"/>
                  </a:lnTo>
                  <a:lnTo>
                    <a:pt x="536" y="1038"/>
                  </a:lnTo>
                  <a:lnTo>
                    <a:pt x="540" y="1034"/>
                  </a:lnTo>
                  <a:lnTo>
                    <a:pt x="542" y="1029"/>
                  </a:lnTo>
                  <a:lnTo>
                    <a:pt x="547" y="1022"/>
                  </a:lnTo>
                  <a:lnTo>
                    <a:pt x="559" y="1013"/>
                  </a:lnTo>
                  <a:lnTo>
                    <a:pt x="603" y="1025"/>
                  </a:lnTo>
                  <a:lnTo>
                    <a:pt x="606" y="1025"/>
                  </a:lnTo>
                  <a:lnTo>
                    <a:pt x="607" y="1023"/>
                  </a:lnTo>
                  <a:lnTo>
                    <a:pt x="607" y="1023"/>
                  </a:lnTo>
                  <a:lnTo>
                    <a:pt x="609" y="1021"/>
                  </a:lnTo>
                  <a:lnTo>
                    <a:pt x="612" y="1013"/>
                  </a:lnTo>
                  <a:lnTo>
                    <a:pt x="613" y="1010"/>
                  </a:lnTo>
                  <a:lnTo>
                    <a:pt x="614" y="1009"/>
                  </a:lnTo>
                  <a:lnTo>
                    <a:pt x="628" y="1000"/>
                  </a:lnTo>
                  <a:lnTo>
                    <a:pt x="632" y="997"/>
                  </a:lnTo>
                  <a:lnTo>
                    <a:pt x="633" y="994"/>
                  </a:lnTo>
                  <a:lnTo>
                    <a:pt x="635" y="993"/>
                  </a:lnTo>
                  <a:lnTo>
                    <a:pt x="636" y="988"/>
                  </a:lnTo>
                  <a:lnTo>
                    <a:pt x="639" y="984"/>
                  </a:lnTo>
                  <a:lnTo>
                    <a:pt x="639" y="983"/>
                  </a:lnTo>
                  <a:lnTo>
                    <a:pt x="639" y="981"/>
                  </a:lnTo>
                  <a:lnTo>
                    <a:pt x="635" y="978"/>
                  </a:lnTo>
                  <a:lnTo>
                    <a:pt x="628" y="972"/>
                  </a:lnTo>
                  <a:lnTo>
                    <a:pt x="628" y="972"/>
                  </a:lnTo>
                  <a:lnTo>
                    <a:pt x="626" y="967"/>
                  </a:lnTo>
                  <a:lnTo>
                    <a:pt x="626" y="946"/>
                  </a:lnTo>
                  <a:lnTo>
                    <a:pt x="626" y="926"/>
                  </a:lnTo>
                  <a:lnTo>
                    <a:pt x="626" y="916"/>
                  </a:lnTo>
                  <a:lnTo>
                    <a:pt x="625" y="907"/>
                  </a:lnTo>
                  <a:lnTo>
                    <a:pt x="622" y="897"/>
                  </a:lnTo>
                  <a:lnTo>
                    <a:pt x="619" y="888"/>
                  </a:lnTo>
                  <a:lnTo>
                    <a:pt x="617" y="884"/>
                  </a:lnTo>
                  <a:lnTo>
                    <a:pt x="614" y="881"/>
                  </a:lnTo>
                  <a:lnTo>
                    <a:pt x="604" y="873"/>
                  </a:lnTo>
                  <a:lnTo>
                    <a:pt x="582" y="863"/>
                  </a:lnTo>
                  <a:lnTo>
                    <a:pt x="579" y="859"/>
                  </a:lnTo>
                  <a:lnTo>
                    <a:pt x="578" y="856"/>
                  </a:lnTo>
                  <a:lnTo>
                    <a:pt x="571" y="833"/>
                  </a:lnTo>
                  <a:lnTo>
                    <a:pt x="578" y="836"/>
                  </a:lnTo>
                  <a:lnTo>
                    <a:pt x="587" y="836"/>
                  </a:lnTo>
                  <a:lnTo>
                    <a:pt x="588" y="836"/>
                  </a:lnTo>
                  <a:lnTo>
                    <a:pt x="591" y="837"/>
                  </a:lnTo>
                  <a:lnTo>
                    <a:pt x="594" y="839"/>
                  </a:lnTo>
                  <a:lnTo>
                    <a:pt x="613" y="836"/>
                  </a:lnTo>
                  <a:lnTo>
                    <a:pt x="619" y="833"/>
                  </a:lnTo>
                  <a:lnTo>
                    <a:pt x="622" y="831"/>
                  </a:lnTo>
                  <a:lnTo>
                    <a:pt x="623" y="830"/>
                  </a:lnTo>
                  <a:lnTo>
                    <a:pt x="623" y="827"/>
                  </a:lnTo>
                  <a:lnTo>
                    <a:pt x="626" y="812"/>
                  </a:lnTo>
                  <a:lnTo>
                    <a:pt x="626" y="812"/>
                  </a:lnTo>
                  <a:lnTo>
                    <a:pt x="628" y="811"/>
                  </a:lnTo>
                  <a:lnTo>
                    <a:pt x="628" y="809"/>
                  </a:lnTo>
                  <a:lnTo>
                    <a:pt x="630" y="808"/>
                  </a:lnTo>
                  <a:lnTo>
                    <a:pt x="633" y="806"/>
                  </a:lnTo>
                  <a:lnTo>
                    <a:pt x="636" y="804"/>
                  </a:lnTo>
                  <a:lnTo>
                    <a:pt x="639" y="802"/>
                  </a:lnTo>
                  <a:lnTo>
                    <a:pt x="645" y="801"/>
                  </a:lnTo>
                  <a:lnTo>
                    <a:pt x="663" y="801"/>
                  </a:lnTo>
                  <a:lnTo>
                    <a:pt x="668" y="801"/>
                  </a:lnTo>
                  <a:lnTo>
                    <a:pt x="686" y="792"/>
                  </a:lnTo>
                  <a:lnTo>
                    <a:pt x="687" y="792"/>
                  </a:lnTo>
                  <a:lnTo>
                    <a:pt x="689" y="792"/>
                  </a:lnTo>
                  <a:lnTo>
                    <a:pt x="695" y="793"/>
                  </a:lnTo>
                  <a:lnTo>
                    <a:pt x="697" y="796"/>
                  </a:lnTo>
                  <a:lnTo>
                    <a:pt x="700" y="799"/>
                  </a:lnTo>
                  <a:lnTo>
                    <a:pt x="711" y="817"/>
                  </a:lnTo>
                  <a:lnTo>
                    <a:pt x="712" y="821"/>
                  </a:lnTo>
                  <a:lnTo>
                    <a:pt x="712" y="825"/>
                  </a:lnTo>
                  <a:lnTo>
                    <a:pt x="712" y="827"/>
                  </a:lnTo>
                  <a:lnTo>
                    <a:pt x="711" y="833"/>
                  </a:lnTo>
                  <a:lnTo>
                    <a:pt x="711" y="836"/>
                  </a:lnTo>
                  <a:lnTo>
                    <a:pt x="711" y="839"/>
                  </a:lnTo>
                  <a:lnTo>
                    <a:pt x="712" y="840"/>
                  </a:lnTo>
                  <a:lnTo>
                    <a:pt x="712" y="843"/>
                  </a:lnTo>
                  <a:lnTo>
                    <a:pt x="714" y="844"/>
                  </a:lnTo>
                  <a:lnTo>
                    <a:pt x="714" y="846"/>
                  </a:lnTo>
                  <a:lnTo>
                    <a:pt x="712" y="852"/>
                  </a:lnTo>
                  <a:lnTo>
                    <a:pt x="712" y="855"/>
                  </a:lnTo>
                  <a:lnTo>
                    <a:pt x="712" y="857"/>
                  </a:lnTo>
                  <a:lnTo>
                    <a:pt x="712" y="860"/>
                  </a:lnTo>
                  <a:lnTo>
                    <a:pt x="712" y="862"/>
                  </a:lnTo>
                  <a:lnTo>
                    <a:pt x="714" y="863"/>
                  </a:lnTo>
                  <a:lnTo>
                    <a:pt x="714" y="863"/>
                  </a:lnTo>
                  <a:lnTo>
                    <a:pt x="718" y="865"/>
                  </a:lnTo>
                  <a:lnTo>
                    <a:pt x="753" y="868"/>
                  </a:lnTo>
                  <a:lnTo>
                    <a:pt x="765" y="868"/>
                  </a:lnTo>
                  <a:lnTo>
                    <a:pt x="775" y="863"/>
                  </a:lnTo>
                  <a:lnTo>
                    <a:pt x="776" y="862"/>
                  </a:lnTo>
                  <a:lnTo>
                    <a:pt x="799" y="857"/>
                  </a:lnTo>
                  <a:lnTo>
                    <a:pt x="801" y="856"/>
                  </a:lnTo>
                  <a:lnTo>
                    <a:pt x="802" y="855"/>
                  </a:lnTo>
                  <a:lnTo>
                    <a:pt x="802" y="853"/>
                  </a:lnTo>
                  <a:lnTo>
                    <a:pt x="808" y="837"/>
                  </a:lnTo>
                  <a:lnTo>
                    <a:pt x="811" y="828"/>
                  </a:lnTo>
                  <a:lnTo>
                    <a:pt x="813" y="827"/>
                  </a:lnTo>
                  <a:lnTo>
                    <a:pt x="823" y="817"/>
                  </a:lnTo>
                  <a:lnTo>
                    <a:pt x="842" y="806"/>
                  </a:lnTo>
                  <a:lnTo>
                    <a:pt x="843" y="806"/>
                  </a:lnTo>
                  <a:lnTo>
                    <a:pt x="845" y="806"/>
                  </a:lnTo>
                  <a:lnTo>
                    <a:pt x="848" y="808"/>
                  </a:lnTo>
                  <a:lnTo>
                    <a:pt x="852" y="815"/>
                  </a:lnTo>
                  <a:lnTo>
                    <a:pt x="853" y="815"/>
                  </a:lnTo>
                  <a:lnTo>
                    <a:pt x="853" y="817"/>
                  </a:lnTo>
                  <a:lnTo>
                    <a:pt x="855" y="817"/>
                  </a:lnTo>
                  <a:lnTo>
                    <a:pt x="856" y="818"/>
                  </a:lnTo>
                  <a:lnTo>
                    <a:pt x="859" y="818"/>
                  </a:lnTo>
                  <a:lnTo>
                    <a:pt x="861" y="820"/>
                  </a:lnTo>
                  <a:lnTo>
                    <a:pt x="861" y="821"/>
                  </a:lnTo>
                  <a:lnTo>
                    <a:pt x="859" y="825"/>
                  </a:lnTo>
                  <a:lnTo>
                    <a:pt x="858" y="827"/>
                  </a:lnTo>
                  <a:lnTo>
                    <a:pt x="856" y="830"/>
                  </a:lnTo>
                  <a:lnTo>
                    <a:pt x="855" y="830"/>
                  </a:lnTo>
                  <a:lnTo>
                    <a:pt x="852" y="831"/>
                  </a:lnTo>
                  <a:lnTo>
                    <a:pt x="852" y="833"/>
                  </a:lnTo>
                  <a:lnTo>
                    <a:pt x="852" y="836"/>
                  </a:lnTo>
                  <a:lnTo>
                    <a:pt x="852" y="839"/>
                  </a:lnTo>
                  <a:lnTo>
                    <a:pt x="858" y="857"/>
                  </a:lnTo>
                  <a:lnTo>
                    <a:pt x="846" y="876"/>
                  </a:lnTo>
                  <a:lnTo>
                    <a:pt x="840" y="889"/>
                  </a:lnTo>
                  <a:lnTo>
                    <a:pt x="839" y="891"/>
                  </a:lnTo>
                  <a:lnTo>
                    <a:pt x="836" y="892"/>
                  </a:lnTo>
                  <a:lnTo>
                    <a:pt x="833" y="894"/>
                  </a:lnTo>
                  <a:lnTo>
                    <a:pt x="830" y="897"/>
                  </a:lnTo>
                  <a:lnTo>
                    <a:pt x="827" y="897"/>
                  </a:lnTo>
                  <a:lnTo>
                    <a:pt x="820" y="895"/>
                  </a:lnTo>
                  <a:lnTo>
                    <a:pt x="818" y="895"/>
                  </a:lnTo>
                  <a:lnTo>
                    <a:pt x="817" y="897"/>
                  </a:lnTo>
                  <a:lnTo>
                    <a:pt x="815" y="898"/>
                  </a:lnTo>
                  <a:lnTo>
                    <a:pt x="814" y="900"/>
                  </a:lnTo>
                  <a:lnTo>
                    <a:pt x="813" y="905"/>
                  </a:lnTo>
                  <a:lnTo>
                    <a:pt x="811" y="910"/>
                  </a:lnTo>
                  <a:lnTo>
                    <a:pt x="810" y="926"/>
                  </a:lnTo>
                  <a:lnTo>
                    <a:pt x="810" y="930"/>
                  </a:lnTo>
                  <a:lnTo>
                    <a:pt x="808" y="933"/>
                  </a:lnTo>
                  <a:lnTo>
                    <a:pt x="808" y="936"/>
                  </a:lnTo>
                  <a:lnTo>
                    <a:pt x="807" y="938"/>
                  </a:lnTo>
                  <a:lnTo>
                    <a:pt x="808" y="939"/>
                  </a:lnTo>
                  <a:lnTo>
                    <a:pt x="808" y="940"/>
                  </a:lnTo>
                  <a:lnTo>
                    <a:pt x="810" y="942"/>
                  </a:lnTo>
                  <a:lnTo>
                    <a:pt x="811" y="943"/>
                  </a:lnTo>
                  <a:lnTo>
                    <a:pt x="817" y="945"/>
                  </a:lnTo>
                  <a:lnTo>
                    <a:pt x="829" y="951"/>
                  </a:lnTo>
                  <a:lnTo>
                    <a:pt x="836" y="952"/>
                  </a:lnTo>
                  <a:lnTo>
                    <a:pt x="839" y="952"/>
                  </a:lnTo>
                  <a:lnTo>
                    <a:pt x="839" y="954"/>
                  </a:lnTo>
                  <a:lnTo>
                    <a:pt x="837" y="955"/>
                  </a:lnTo>
                  <a:lnTo>
                    <a:pt x="830" y="959"/>
                  </a:lnTo>
                  <a:lnTo>
                    <a:pt x="829" y="962"/>
                  </a:lnTo>
                  <a:lnTo>
                    <a:pt x="827" y="965"/>
                  </a:lnTo>
                  <a:lnTo>
                    <a:pt x="827" y="967"/>
                  </a:lnTo>
                  <a:lnTo>
                    <a:pt x="827" y="968"/>
                  </a:lnTo>
                  <a:lnTo>
                    <a:pt x="829" y="970"/>
                  </a:lnTo>
                  <a:lnTo>
                    <a:pt x="830" y="972"/>
                  </a:lnTo>
                  <a:lnTo>
                    <a:pt x="830" y="977"/>
                  </a:lnTo>
                  <a:lnTo>
                    <a:pt x="830" y="978"/>
                  </a:lnTo>
                  <a:lnTo>
                    <a:pt x="829" y="980"/>
                  </a:lnTo>
                  <a:lnTo>
                    <a:pt x="820" y="978"/>
                  </a:lnTo>
                  <a:lnTo>
                    <a:pt x="810" y="981"/>
                  </a:lnTo>
                  <a:lnTo>
                    <a:pt x="811" y="988"/>
                  </a:lnTo>
                  <a:lnTo>
                    <a:pt x="815" y="996"/>
                  </a:lnTo>
                  <a:lnTo>
                    <a:pt x="815" y="997"/>
                  </a:lnTo>
                  <a:lnTo>
                    <a:pt x="815" y="1000"/>
                  </a:lnTo>
                  <a:lnTo>
                    <a:pt x="817" y="1002"/>
                  </a:lnTo>
                  <a:lnTo>
                    <a:pt x="815" y="1005"/>
                  </a:lnTo>
                  <a:lnTo>
                    <a:pt x="815" y="1006"/>
                  </a:lnTo>
                  <a:lnTo>
                    <a:pt x="815" y="1007"/>
                  </a:lnTo>
                  <a:lnTo>
                    <a:pt x="814" y="1007"/>
                  </a:lnTo>
                  <a:lnTo>
                    <a:pt x="813" y="1010"/>
                  </a:lnTo>
                  <a:lnTo>
                    <a:pt x="813" y="1013"/>
                  </a:lnTo>
                  <a:lnTo>
                    <a:pt x="813" y="1013"/>
                  </a:lnTo>
                  <a:lnTo>
                    <a:pt x="815" y="1013"/>
                  </a:lnTo>
                  <a:lnTo>
                    <a:pt x="818" y="1012"/>
                  </a:lnTo>
                  <a:lnTo>
                    <a:pt x="824" y="1010"/>
                  </a:lnTo>
                  <a:lnTo>
                    <a:pt x="829" y="1012"/>
                  </a:lnTo>
                  <a:lnTo>
                    <a:pt x="836" y="1010"/>
                  </a:lnTo>
                  <a:lnTo>
                    <a:pt x="861" y="1013"/>
                  </a:lnTo>
                  <a:lnTo>
                    <a:pt x="864" y="1015"/>
                  </a:lnTo>
                  <a:lnTo>
                    <a:pt x="865" y="1018"/>
                  </a:lnTo>
                  <a:lnTo>
                    <a:pt x="864" y="1021"/>
                  </a:lnTo>
                  <a:lnTo>
                    <a:pt x="862" y="1023"/>
                  </a:lnTo>
                  <a:lnTo>
                    <a:pt x="862" y="1025"/>
                  </a:lnTo>
                  <a:lnTo>
                    <a:pt x="862" y="1026"/>
                  </a:lnTo>
                  <a:lnTo>
                    <a:pt x="862" y="1028"/>
                  </a:lnTo>
                  <a:lnTo>
                    <a:pt x="865" y="1031"/>
                  </a:lnTo>
                  <a:lnTo>
                    <a:pt x="875" y="1035"/>
                  </a:lnTo>
                  <a:lnTo>
                    <a:pt x="880" y="1041"/>
                  </a:lnTo>
                  <a:lnTo>
                    <a:pt x="880" y="1044"/>
                  </a:lnTo>
                  <a:lnTo>
                    <a:pt x="880" y="1045"/>
                  </a:lnTo>
                  <a:lnTo>
                    <a:pt x="880" y="1047"/>
                  </a:lnTo>
                  <a:lnTo>
                    <a:pt x="875" y="1054"/>
                  </a:lnTo>
                  <a:lnTo>
                    <a:pt x="875" y="1055"/>
                  </a:lnTo>
                  <a:lnTo>
                    <a:pt x="875" y="1055"/>
                  </a:lnTo>
                  <a:lnTo>
                    <a:pt x="875" y="1058"/>
                  </a:lnTo>
                  <a:lnTo>
                    <a:pt x="878" y="1067"/>
                  </a:lnTo>
                  <a:lnTo>
                    <a:pt x="883" y="1077"/>
                  </a:lnTo>
                  <a:lnTo>
                    <a:pt x="883" y="1079"/>
                  </a:lnTo>
                  <a:lnTo>
                    <a:pt x="883" y="1080"/>
                  </a:lnTo>
                  <a:lnTo>
                    <a:pt x="883" y="1082"/>
                  </a:lnTo>
                  <a:lnTo>
                    <a:pt x="881" y="1083"/>
                  </a:lnTo>
                  <a:lnTo>
                    <a:pt x="881" y="1085"/>
                  </a:lnTo>
                  <a:lnTo>
                    <a:pt x="880" y="1086"/>
                  </a:lnTo>
                  <a:lnTo>
                    <a:pt x="878" y="1087"/>
                  </a:lnTo>
                  <a:lnTo>
                    <a:pt x="875" y="1089"/>
                  </a:lnTo>
                  <a:lnTo>
                    <a:pt x="875" y="1089"/>
                  </a:lnTo>
                  <a:lnTo>
                    <a:pt x="875" y="1090"/>
                  </a:lnTo>
                  <a:lnTo>
                    <a:pt x="875" y="1090"/>
                  </a:lnTo>
                  <a:lnTo>
                    <a:pt x="875" y="1092"/>
                  </a:lnTo>
                  <a:lnTo>
                    <a:pt x="875" y="1093"/>
                  </a:lnTo>
                  <a:lnTo>
                    <a:pt x="875" y="1093"/>
                  </a:lnTo>
                  <a:lnTo>
                    <a:pt x="874" y="1095"/>
                  </a:lnTo>
                  <a:lnTo>
                    <a:pt x="874" y="1095"/>
                  </a:lnTo>
                  <a:lnTo>
                    <a:pt x="872" y="1096"/>
                  </a:lnTo>
                  <a:lnTo>
                    <a:pt x="875" y="1098"/>
                  </a:lnTo>
                  <a:lnTo>
                    <a:pt x="878" y="1099"/>
                  </a:lnTo>
                  <a:lnTo>
                    <a:pt x="887" y="1104"/>
                  </a:lnTo>
                  <a:lnTo>
                    <a:pt x="890" y="1105"/>
                  </a:lnTo>
                  <a:lnTo>
                    <a:pt x="891" y="1104"/>
                  </a:lnTo>
                  <a:lnTo>
                    <a:pt x="891" y="1104"/>
                  </a:lnTo>
                  <a:lnTo>
                    <a:pt x="891" y="1102"/>
                  </a:lnTo>
                  <a:lnTo>
                    <a:pt x="891" y="1102"/>
                  </a:lnTo>
                  <a:lnTo>
                    <a:pt x="893" y="1101"/>
                  </a:lnTo>
                  <a:lnTo>
                    <a:pt x="893" y="1099"/>
                  </a:lnTo>
                  <a:lnTo>
                    <a:pt x="894" y="1099"/>
                  </a:lnTo>
                  <a:lnTo>
                    <a:pt x="896" y="1098"/>
                  </a:lnTo>
                  <a:lnTo>
                    <a:pt x="897" y="1098"/>
                  </a:lnTo>
                  <a:lnTo>
                    <a:pt x="899" y="1098"/>
                  </a:lnTo>
                  <a:lnTo>
                    <a:pt x="900" y="1098"/>
                  </a:lnTo>
                  <a:lnTo>
                    <a:pt x="913" y="1104"/>
                  </a:lnTo>
                  <a:lnTo>
                    <a:pt x="913" y="1105"/>
                  </a:lnTo>
                  <a:lnTo>
                    <a:pt x="913" y="1108"/>
                  </a:lnTo>
                  <a:lnTo>
                    <a:pt x="909" y="1124"/>
                  </a:lnTo>
                  <a:lnTo>
                    <a:pt x="909" y="1124"/>
                  </a:lnTo>
                  <a:lnTo>
                    <a:pt x="907" y="1127"/>
                  </a:lnTo>
                  <a:lnTo>
                    <a:pt x="906" y="1128"/>
                  </a:lnTo>
                  <a:lnTo>
                    <a:pt x="903" y="1131"/>
                  </a:lnTo>
                  <a:lnTo>
                    <a:pt x="903" y="1131"/>
                  </a:lnTo>
                  <a:lnTo>
                    <a:pt x="903" y="1133"/>
                  </a:lnTo>
                  <a:lnTo>
                    <a:pt x="904" y="1133"/>
                  </a:lnTo>
                  <a:lnTo>
                    <a:pt x="915" y="1131"/>
                  </a:lnTo>
                  <a:lnTo>
                    <a:pt x="919" y="1131"/>
                  </a:lnTo>
                  <a:lnTo>
                    <a:pt x="926" y="1136"/>
                  </a:lnTo>
                  <a:lnTo>
                    <a:pt x="929" y="1138"/>
                  </a:lnTo>
                  <a:lnTo>
                    <a:pt x="929" y="1140"/>
                  </a:lnTo>
                  <a:lnTo>
                    <a:pt x="929" y="1141"/>
                  </a:lnTo>
                  <a:lnTo>
                    <a:pt x="931" y="1144"/>
                  </a:lnTo>
                  <a:lnTo>
                    <a:pt x="931" y="1149"/>
                  </a:lnTo>
                  <a:lnTo>
                    <a:pt x="931" y="1154"/>
                  </a:lnTo>
                  <a:lnTo>
                    <a:pt x="925" y="1169"/>
                  </a:lnTo>
                  <a:lnTo>
                    <a:pt x="929" y="1169"/>
                  </a:lnTo>
                  <a:lnTo>
                    <a:pt x="932" y="1169"/>
                  </a:lnTo>
                  <a:lnTo>
                    <a:pt x="939" y="1166"/>
                  </a:lnTo>
                  <a:lnTo>
                    <a:pt x="941" y="1166"/>
                  </a:lnTo>
                  <a:lnTo>
                    <a:pt x="957" y="1166"/>
                  </a:lnTo>
                  <a:lnTo>
                    <a:pt x="964" y="1165"/>
                  </a:lnTo>
                  <a:lnTo>
                    <a:pt x="967" y="1165"/>
                  </a:lnTo>
                  <a:lnTo>
                    <a:pt x="970" y="1163"/>
                  </a:lnTo>
                  <a:lnTo>
                    <a:pt x="971" y="1162"/>
                  </a:lnTo>
                  <a:lnTo>
                    <a:pt x="973" y="1163"/>
                  </a:lnTo>
                  <a:lnTo>
                    <a:pt x="974" y="1163"/>
                  </a:lnTo>
                  <a:lnTo>
                    <a:pt x="973" y="1168"/>
                  </a:lnTo>
                  <a:lnTo>
                    <a:pt x="971" y="1169"/>
                  </a:lnTo>
                  <a:lnTo>
                    <a:pt x="970" y="1172"/>
                  </a:lnTo>
                  <a:lnTo>
                    <a:pt x="967" y="1176"/>
                  </a:lnTo>
                  <a:lnTo>
                    <a:pt x="967" y="1178"/>
                  </a:lnTo>
                  <a:lnTo>
                    <a:pt x="967" y="1179"/>
                  </a:lnTo>
                  <a:lnTo>
                    <a:pt x="968" y="1181"/>
                  </a:lnTo>
                  <a:lnTo>
                    <a:pt x="970" y="1181"/>
                  </a:lnTo>
                  <a:lnTo>
                    <a:pt x="973" y="1182"/>
                  </a:lnTo>
                  <a:lnTo>
                    <a:pt x="974" y="1182"/>
                  </a:lnTo>
                  <a:lnTo>
                    <a:pt x="974" y="1184"/>
                  </a:lnTo>
                  <a:lnTo>
                    <a:pt x="974" y="1185"/>
                  </a:lnTo>
                  <a:lnTo>
                    <a:pt x="971" y="1187"/>
                  </a:lnTo>
                  <a:lnTo>
                    <a:pt x="971" y="1188"/>
                  </a:lnTo>
                  <a:lnTo>
                    <a:pt x="971" y="1191"/>
                  </a:lnTo>
                  <a:lnTo>
                    <a:pt x="971" y="1197"/>
                  </a:lnTo>
                  <a:lnTo>
                    <a:pt x="970" y="1201"/>
                  </a:lnTo>
                  <a:lnTo>
                    <a:pt x="968" y="1208"/>
                  </a:lnTo>
                  <a:lnTo>
                    <a:pt x="966" y="1217"/>
                  </a:lnTo>
                  <a:lnTo>
                    <a:pt x="964" y="1219"/>
                  </a:lnTo>
                  <a:lnTo>
                    <a:pt x="963" y="1221"/>
                  </a:lnTo>
                  <a:lnTo>
                    <a:pt x="960" y="1223"/>
                  </a:lnTo>
                  <a:lnTo>
                    <a:pt x="955" y="1226"/>
                  </a:lnTo>
                  <a:lnTo>
                    <a:pt x="955" y="1227"/>
                  </a:lnTo>
                  <a:lnTo>
                    <a:pt x="954" y="1227"/>
                  </a:lnTo>
                  <a:lnTo>
                    <a:pt x="954" y="1229"/>
                  </a:lnTo>
                  <a:lnTo>
                    <a:pt x="954" y="1232"/>
                  </a:lnTo>
                  <a:lnTo>
                    <a:pt x="952" y="1233"/>
                  </a:lnTo>
                  <a:lnTo>
                    <a:pt x="952" y="1235"/>
                  </a:lnTo>
                  <a:lnTo>
                    <a:pt x="951" y="1235"/>
                  </a:lnTo>
                  <a:lnTo>
                    <a:pt x="951" y="1236"/>
                  </a:lnTo>
                  <a:lnTo>
                    <a:pt x="950" y="1236"/>
                  </a:lnTo>
                  <a:lnTo>
                    <a:pt x="950" y="1237"/>
                  </a:lnTo>
                  <a:lnTo>
                    <a:pt x="950" y="1240"/>
                  </a:lnTo>
                  <a:lnTo>
                    <a:pt x="950" y="1243"/>
                  </a:lnTo>
                  <a:lnTo>
                    <a:pt x="950" y="1246"/>
                  </a:lnTo>
                  <a:lnTo>
                    <a:pt x="950" y="1253"/>
                  </a:lnTo>
                  <a:lnTo>
                    <a:pt x="951" y="1256"/>
                  </a:lnTo>
                  <a:lnTo>
                    <a:pt x="950" y="1258"/>
                  </a:lnTo>
                  <a:lnTo>
                    <a:pt x="950" y="1259"/>
                  </a:lnTo>
                  <a:lnTo>
                    <a:pt x="948" y="1261"/>
                  </a:lnTo>
                  <a:lnTo>
                    <a:pt x="948" y="1262"/>
                  </a:lnTo>
                  <a:lnTo>
                    <a:pt x="948" y="1265"/>
                  </a:lnTo>
                  <a:lnTo>
                    <a:pt x="950" y="1269"/>
                  </a:lnTo>
                  <a:lnTo>
                    <a:pt x="948" y="1271"/>
                  </a:lnTo>
                  <a:lnTo>
                    <a:pt x="948" y="1272"/>
                  </a:lnTo>
                  <a:lnTo>
                    <a:pt x="945" y="1274"/>
                  </a:lnTo>
                  <a:lnTo>
                    <a:pt x="945" y="1274"/>
                  </a:lnTo>
                  <a:lnTo>
                    <a:pt x="944" y="1275"/>
                  </a:lnTo>
                  <a:lnTo>
                    <a:pt x="944" y="1278"/>
                  </a:lnTo>
                  <a:lnTo>
                    <a:pt x="944" y="1281"/>
                  </a:lnTo>
                  <a:lnTo>
                    <a:pt x="944" y="1284"/>
                  </a:lnTo>
                  <a:lnTo>
                    <a:pt x="944" y="1286"/>
                  </a:lnTo>
                  <a:lnTo>
                    <a:pt x="944" y="1287"/>
                  </a:lnTo>
                  <a:lnTo>
                    <a:pt x="944" y="1288"/>
                  </a:lnTo>
                  <a:lnTo>
                    <a:pt x="945" y="1290"/>
                  </a:lnTo>
                  <a:lnTo>
                    <a:pt x="951" y="1290"/>
                  </a:lnTo>
                  <a:lnTo>
                    <a:pt x="967" y="1286"/>
                  </a:lnTo>
                  <a:lnTo>
                    <a:pt x="970" y="1287"/>
                  </a:lnTo>
                  <a:lnTo>
                    <a:pt x="976" y="1281"/>
                  </a:lnTo>
                  <a:lnTo>
                    <a:pt x="982" y="1281"/>
                  </a:lnTo>
                  <a:lnTo>
                    <a:pt x="983" y="1283"/>
                  </a:lnTo>
                  <a:lnTo>
                    <a:pt x="984" y="1284"/>
                  </a:lnTo>
                  <a:lnTo>
                    <a:pt x="984" y="1287"/>
                  </a:lnTo>
                  <a:lnTo>
                    <a:pt x="984" y="1288"/>
                  </a:lnTo>
                  <a:lnTo>
                    <a:pt x="984" y="1290"/>
                  </a:lnTo>
                  <a:lnTo>
                    <a:pt x="984" y="1291"/>
                  </a:lnTo>
                  <a:lnTo>
                    <a:pt x="984" y="1293"/>
                  </a:lnTo>
                  <a:lnTo>
                    <a:pt x="986" y="1294"/>
                  </a:lnTo>
                  <a:lnTo>
                    <a:pt x="987" y="1296"/>
                  </a:lnTo>
                  <a:lnTo>
                    <a:pt x="990" y="1296"/>
                  </a:lnTo>
                  <a:lnTo>
                    <a:pt x="995" y="1297"/>
                  </a:lnTo>
                  <a:lnTo>
                    <a:pt x="998" y="1296"/>
                  </a:lnTo>
                  <a:lnTo>
                    <a:pt x="999" y="1296"/>
                  </a:lnTo>
                  <a:lnTo>
                    <a:pt x="999" y="1294"/>
                  </a:lnTo>
                  <a:lnTo>
                    <a:pt x="1001" y="1293"/>
                  </a:lnTo>
                  <a:lnTo>
                    <a:pt x="1002" y="1291"/>
                  </a:lnTo>
                  <a:lnTo>
                    <a:pt x="1003" y="1290"/>
                  </a:lnTo>
                  <a:lnTo>
                    <a:pt x="1005" y="1290"/>
                  </a:lnTo>
                  <a:lnTo>
                    <a:pt x="1006" y="1290"/>
                  </a:lnTo>
                  <a:lnTo>
                    <a:pt x="1006" y="1291"/>
                  </a:lnTo>
                  <a:lnTo>
                    <a:pt x="1008" y="1293"/>
                  </a:lnTo>
                  <a:lnTo>
                    <a:pt x="1009" y="1296"/>
                  </a:lnTo>
                  <a:lnTo>
                    <a:pt x="1014" y="1297"/>
                  </a:lnTo>
                  <a:lnTo>
                    <a:pt x="1017" y="1297"/>
                  </a:lnTo>
                  <a:lnTo>
                    <a:pt x="1019" y="1297"/>
                  </a:lnTo>
                  <a:lnTo>
                    <a:pt x="1024" y="1297"/>
                  </a:lnTo>
                  <a:lnTo>
                    <a:pt x="1028" y="1296"/>
                  </a:lnTo>
                  <a:lnTo>
                    <a:pt x="1030" y="1294"/>
                  </a:lnTo>
                  <a:lnTo>
                    <a:pt x="1030" y="1296"/>
                  </a:lnTo>
                  <a:lnTo>
                    <a:pt x="1031" y="1299"/>
                  </a:lnTo>
                  <a:lnTo>
                    <a:pt x="1031" y="1302"/>
                  </a:lnTo>
                  <a:lnTo>
                    <a:pt x="1033" y="1303"/>
                  </a:lnTo>
                  <a:lnTo>
                    <a:pt x="1040" y="1306"/>
                  </a:lnTo>
                  <a:lnTo>
                    <a:pt x="1041" y="1307"/>
                  </a:lnTo>
                  <a:lnTo>
                    <a:pt x="1041" y="1310"/>
                  </a:lnTo>
                  <a:lnTo>
                    <a:pt x="1043" y="1315"/>
                  </a:lnTo>
                  <a:lnTo>
                    <a:pt x="1046" y="1320"/>
                  </a:lnTo>
                  <a:lnTo>
                    <a:pt x="1051" y="1328"/>
                  </a:lnTo>
                  <a:lnTo>
                    <a:pt x="1049" y="1334"/>
                  </a:lnTo>
                  <a:lnTo>
                    <a:pt x="1047" y="1335"/>
                  </a:lnTo>
                  <a:lnTo>
                    <a:pt x="1046" y="1335"/>
                  </a:lnTo>
                  <a:lnTo>
                    <a:pt x="1037" y="1328"/>
                  </a:lnTo>
                  <a:lnTo>
                    <a:pt x="1037" y="1328"/>
                  </a:lnTo>
                  <a:lnTo>
                    <a:pt x="1035" y="1328"/>
                  </a:lnTo>
                  <a:lnTo>
                    <a:pt x="1035" y="1328"/>
                  </a:lnTo>
                  <a:lnTo>
                    <a:pt x="1034" y="1328"/>
                  </a:lnTo>
                  <a:lnTo>
                    <a:pt x="1034" y="1329"/>
                  </a:lnTo>
                  <a:lnTo>
                    <a:pt x="1034" y="1331"/>
                  </a:lnTo>
                  <a:lnTo>
                    <a:pt x="1034" y="1334"/>
                  </a:lnTo>
                  <a:lnTo>
                    <a:pt x="1038" y="1339"/>
                  </a:lnTo>
                  <a:lnTo>
                    <a:pt x="1037" y="1339"/>
                  </a:lnTo>
                  <a:lnTo>
                    <a:pt x="1037" y="1341"/>
                  </a:lnTo>
                  <a:lnTo>
                    <a:pt x="1035" y="1341"/>
                  </a:lnTo>
                  <a:lnTo>
                    <a:pt x="1034" y="1341"/>
                  </a:lnTo>
                  <a:lnTo>
                    <a:pt x="1033" y="1341"/>
                  </a:lnTo>
                  <a:lnTo>
                    <a:pt x="1030" y="1339"/>
                  </a:lnTo>
                  <a:lnTo>
                    <a:pt x="1028" y="1339"/>
                  </a:lnTo>
                  <a:lnTo>
                    <a:pt x="1028" y="1341"/>
                  </a:lnTo>
                  <a:lnTo>
                    <a:pt x="1028" y="1344"/>
                  </a:lnTo>
                  <a:lnTo>
                    <a:pt x="1028" y="1350"/>
                  </a:lnTo>
                  <a:lnTo>
                    <a:pt x="1027" y="1352"/>
                  </a:lnTo>
                  <a:lnTo>
                    <a:pt x="1027" y="1355"/>
                  </a:lnTo>
                  <a:lnTo>
                    <a:pt x="1025" y="1355"/>
                  </a:lnTo>
                  <a:lnTo>
                    <a:pt x="1024" y="1357"/>
                  </a:lnTo>
                  <a:lnTo>
                    <a:pt x="1021" y="1357"/>
                  </a:lnTo>
                  <a:lnTo>
                    <a:pt x="1021" y="1358"/>
                  </a:lnTo>
                  <a:lnTo>
                    <a:pt x="1021" y="1361"/>
                  </a:lnTo>
                  <a:lnTo>
                    <a:pt x="1028" y="1377"/>
                  </a:lnTo>
                  <a:lnTo>
                    <a:pt x="1030" y="1380"/>
                  </a:lnTo>
                  <a:lnTo>
                    <a:pt x="1031" y="1382"/>
                  </a:lnTo>
                  <a:lnTo>
                    <a:pt x="1034" y="1383"/>
                  </a:lnTo>
                  <a:lnTo>
                    <a:pt x="1035" y="1385"/>
                  </a:lnTo>
                  <a:lnTo>
                    <a:pt x="1035" y="1386"/>
                  </a:lnTo>
                  <a:lnTo>
                    <a:pt x="1035" y="1387"/>
                  </a:lnTo>
                  <a:lnTo>
                    <a:pt x="1033" y="1390"/>
                  </a:lnTo>
                  <a:lnTo>
                    <a:pt x="1033" y="1390"/>
                  </a:lnTo>
                  <a:lnTo>
                    <a:pt x="1033" y="1393"/>
                  </a:lnTo>
                  <a:lnTo>
                    <a:pt x="1034" y="1395"/>
                  </a:lnTo>
                  <a:lnTo>
                    <a:pt x="1035" y="1398"/>
                  </a:lnTo>
                  <a:lnTo>
                    <a:pt x="1035" y="1401"/>
                  </a:lnTo>
                  <a:lnTo>
                    <a:pt x="1034" y="1402"/>
                  </a:lnTo>
                  <a:lnTo>
                    <a:pt x="1034" y="1405"/>
                  </a:lnTo>
                  <a:lnTo>
                    <a:pt x="1035" y="1418"/>
                  </a:lnTo>
                  <a:lnTo>
                    <a:pt x="1034" y="1421"/>
                  </a:lnTo>
                  <a:lnTo>
                    <a:pt x="1034" y="1422"/>
                  </a:lnTo>
                  <a:lnTo>
                    <a:pt x="1024" y="1424"/>
                  </a:lnTo>
                  <a:lnTo>
                    <a:pt x="1021" y="1425"/>
                  </a:lnTo>
                  <a:lnTo>
                    <a:pt x="1019" y="1425"/>
                  </a:lnTo>
                  <a:lnTo>
                    <a:pt x="1017" y="1424"/>
                  </a:lnTo>
                  <a:lnTo>
                    <a:pt x="1017" y="1424"/>
                  </a:lnTo>
                  <a:lnTo>
                    <a:pt x="1015" y="1425"/>
                  </a:lnTo>
                  <a:lnTo>
                    <a:pt x="1014" y="1427"/>
                  </a:lnTo>
                  <a:lnTo>
                    <a:pt x="1014" y="1428"/>
                  </a:lnTo>
                  <a:lnTo>
                    <a:pt x="1012" y="1430"/>
                  </a:lnTo>
                  <a:lnTo>
                    <a:pt x="1009" y="1433"/>
                  </a:lnTo>
                  <a:lnTo>
                    <a:pt x="1009" y="1434"/>
                  </a:lnTo>
                  <a:lnTo>
                    <a:pt x="1009" y="1437"/>
                  </a:lnTo>
                  <a:lnTo>
                    <a:pt x="1012" y="1441"/>
                  </a:lnTo>
                  <a:lnTo>
                    <a:pt x="1012" y="1443"/>
                  </a:lnTo>
                  <a:lnTo>
                    <a:pt x="1012" y="1444"/>
                  </a:lnTo>
                  <a:lnTo>
                    <a:pt x="1011" y="1446"/>
                  </a:lnTo>
                  <a:lnTo>
                    <a:pt x="1009" y="1446"/>
                  </a:lnTo>
                  <a:lnTo>
                    <a:pt x="1006" y="1444"/>
                  </a:lnTo>
                  <a:lnTo>
                    <a:pt x="1001" y="1443"/>
                  </a:lnTo>
                  <a:lnTo>
                    <a:pt x="999" y="1443"/>
                  </a:lnTo>
                  <a:lnTo>
                    <a:pt x="999" y="1444"/>
                  </a:lnTo>
                  <a:lnTo>
                    <a:pt x="1002" y="1447"/>
                  </a:lnTo>
                  <a:lnTo>
                    <a:pt x="1011" y="1456"/>
                  </a:lnTo>
                  <a:lnTo>
                    <a:pt x="1018" y="1457"/>
                  </a:lnTo>
                  <a:lnTo>
                    <a:pt x="1041" y="1468"/>
                  </a:lnTo>
                  <a:lnTo>
                    <a:pt x="1044" y="1469"/>
                  </a:lnTo>
                  <a:lnTo>
                    <a:pt x="1046" y="1468"/>
                  </a:lnTo>
                  <a:lnTo>
                    <a:pt x="1051" y="1470"/>
                  </a:lnTo>
                  <a:lnTo>
                    <a:pt x="1060" y="1484"/>
                  </a:lnTo>
                  <a:lnTo>
                    <a:pt x="1065" y="1484"/>
                  </a:lnTo>
                  <a:lnTo>
                    <a:pt x="1066" y="1484"/>
                  </a:lnTo>
                  <a:lnTo>
                    <a:pt x="1069" y="1482"/>
                  </a:lnTo>
                  <a:lnTo>
                    <a:pt x="1078" y="1473"/>
                  </a:lnTo>
                  <a:lnTo>
                    <a:pt x="1081" y="1470"/>
                  </a:lnTo>
                  <a:lnTo>
                    <a:pt x="1082" y="1469"/>
                  </a:lnTo>
                  <a:lnTo>
                    <a:pt x="1082" y="1468"/>
                  </a:lnTo>
                  <a:lnTo>
                    <a:pt x="1082" y="1466"/>
                  </a:lnTo>
                  <a:lnTo>
                    <a:pt x="1082" y="1465"/>
                  </a:lnTo>
                  <a:lnTo>
                    <a:pt x="1082" y="1465"/>
                  </a:lnTo>
                  <a:lnTo>
                    <a:pt x="1082" y="1463"/>
                  </a:lnTo>
                  <a:lnTo>
                    <a:pt x="1084" y="1463"/>
                  </a:lnTo>
                  <a:lnTo>
                    <a:pt x="1084" y="1462"/>
                  </a:lnTo>
                  <a:lnTo>
                    <a:pt x="1084" y="1462"/>
                  </a:lnTo>
                  <a:lnTo>
                    <a:pt x="1085" y="1462"/>
                  </a:lnTo>
                  <a:lnTo>
                    <a:pt x="1085" y="1460"/>
                  </a:lnTo>
                  <a:lnTo>
                    <a:pt x="1086" y="1459"/>
                  </a:lnTo>
                  <a:lnTo>
                    <a:pt x="1086" y="1459"/>
                  </a:lnTo>
                  <a:lnTo>
                    <a:pt x="1086" y="1457"/>
                  </a:lnTo>
                  <a:lnTo>
                    <a:pt x="1086" y="1457"/>
                  </a:lnTo>
                  <a:lnTo>
                    <a:pt x="1085" y="1456"/>
                  </a:lnTo>
                  <a:lnTo>
                    <a:pt x="1085" y="1456"/>
                  </a:lnTo>
                  <a:lnTo>
                    <a:pt x="1084" y="1456"/>
                  </a:lnTo>
                  <a:lnTo>
                    <a:pt x="1081" y="1456"/>
                  </a:lnTo>
                  <a:lnTo>
                    <a:pt x="1078" y="1460"/>
                  </a:lnTo>
                  <a:lnTo>
                    <a:pt x="1076" y="1462"/>
                  </a:lnTo>
                  <a:lnTo>
                    <a:pt x="1076" y="1462"/>
                  </a:lnTo>
                  <a:lnTo>
                    <a:pt x="1075" y="1462"/>
                  </a:lnTo>
                  <a:lnTo>
                    <a:pt x="1072" y="1460"/>
                  </a:lnTo>
                  <a:lnTo>
                    <a:pt x="1063" y="1451"/>
                  </a:lnTo>
                  <a:lnTo>
                    <a:pt x="1062" y="1449"/>
                  </a:lnTo>
                  <a:lnTo>
                    <a:pt x="1062" y="1446"/>
                  </a:lnTo>
                  <a:lnTo>
                    <a:pt x="1062" y="1446"/>
                  </a:lnTo>
                  <a:lnTo>
                    <a:pt x="1062" y="1444"/>
                  </a:lnTo>
                  <a:lnTo>
                    <a:pt x="1062" y="1444"/>
                  </a:lnTo>
                  <a:lnTo>
                    <a:pt x="1076" y="1435"/>
                  </a:lnTo>
                  <a:lnTo>
                    <a:pt x="1081" y="1431"/>
                  </a:lnTo>
                  <a:lnTo>
                    <a:pt x="1089" y="1428"/>
                  </a:lnTo>
                  <a:lnTo>
                    <a:pt x="1091" y="1427"/>
                  </a:lnTo>
                  <a:lnTo>
                    <a:pt x="1092" y="1425"/>
                  </a:lnTo>
                  <a:lnTo>
                    <a:pt x="1091" y="1424"/>
                  </a:lnTo>
                  <a:lnTo>
                    <a:pt x="1091" y="1422"/>
                  </a:lnTo>
                  <a:lnTo>
                    <a:pt x="1091" y="1421"/>
                  </a:lnTo>
                  <a:lnTo>
                    <a:pt x="1091" y="1419"/>
                  </a:lnTo>
                  <a:lnTo>
                    <a:pt x="1091" y="1419"/>
                  </a:lnTo>
                  <a:lnTo>
                    <a:pt x="1092" y="1418"/>
                  </a:lnTo>
                  <a:lnTo>
                    <a:pt x="1094" y="1419"/>
                  </a:lnTo>
                  <a:lnTo>
                    <a:pt x="1101" y="1422"/>
                  </a:lnTo>
                  <a:lnTo>
                    <a:pt x="1102" y="1425"/>
                  </a:lnTo>
                  <a:lnTo>
                    <a:pt x="1104" y="1427"/>
                  </a:lnTo>
                  <a:lnTo>
                    <a:pt x="1105" y="1428"/>
                  </a:lnTo>
                  <a:lnTo>
                    <a:pt x="1107" y="1434"/>
                  </a:lnTo>
                  <a:lnTo>
                    <a:pt x="1108" y="1437"/>
                  </a:lnTo>
                  <a:lnTo>
                    <a:pt x="1110" y="1438"/>
                  </a:lnTo>
                  <a:lnTo>
                    <a:pt x="1111" y="1438"/>
                  </a:lnTo>
                  <a:lnTo>
                    <a:pt x="1113" y="1438"/>
                  </a:lnTo>
                  <a:lnTo>
                    <a:pt x="1114" y="1438"/>
                  </a:lnTo>
                  <a:lnTo>
                    <a:pt x="1117" y="1435"/>
                  </a:lnTo>
                  <a:lnTo>
                    <a:pt x="1119" y="1434"/>
                  </a:lnTo>
                  <a:lnTo>
                    <a:pt x="1119" y="1433"/>
                  </a:lnTo>
                  <a:lnTo>
                    <a:pt x="1116" y="1425"/>
                  </a:lnTo>
                  <a:lnTo>
                    <a:pt x="1114" y="1425"/>
                  </a:lnTo>
                  <a:lnTo>
                    <a:pt x="1114" y="1424"/>
                  </a:lnTo>
                  <a:lnTo>
                    <a:pt x="1113" y="1422"/>
                  </a:lnTo>
                  <a:lnTo>
                    <a:pt x="1113" y="1421"/>
                  </a:lnTo>
                  <a:lnTo>
                    <a:pt x="1113" y="1419"/>
                  </a:lnTo>
                  <a:lnTo>
                    <a:pt x="1113" y="1418"/>
                  </a:lnTo>
                  <a:lnTo>
                    <a:pt x="1114" y="1418"/>
                  </a:lnTo>
                  <a:lnTo>
                    <a:pt x="1116" y="1418"/>
                  </a:lnTo>
                  <a:lnTo>
                    <a:pt x="1120" y="1418"/>
                  </a:lnTo>
                  <a:lnTo>
                    <a:pt x="1121" y="1417"/>
                  </a:lnTo>
                  <a:lnTo>
                    <a:pt x="1123" y="1415"/>
                  </a:lnTo>
                  <a:lnTo>
                    <a:pt x="1124" y="1414"/>
                  </a:lnTo>
                  <a:lnTo>
                    <a:pt x="1126" y="1412"/>
                  </a:lnTo>
                  <a:lnTo>
                    <a:pt x="1127" y="1414"/>
                  </a:lnTo>
                  <a:lnTo>
                    <a:pt x="1127" y="1414"/>
                  </a:lnTo>
                  <a:lnTo>
                    <a:pt x="1129" y="1417"/>
                  </a:lnTo>
                  <a:lnTo>
                    <a:pt x="1129" y="1421"/>
                  </a:lnTo>
                  <a:lnTo>
                    <a:pt x="1129" y="1421"/>
                  </a:lnTo>
                  <a:lnTo>
                    <a:pt x="1132" y="1425"/>
                  </a:lnTo>
                  <a:lnTo>
                    <a:pt x="1143" y="1434"/>
                  </a:lnTo>
                  <a:lnTo>
                    <a:pt x="1161" y="1419"/>
                  </a:lnTo>
                  <a:lnTo>
                    <a:pt x="1165" y="1414"/>
                  </a:lnTo>
                  <a:lnTo>
                    <a:pt x="1167" y="1412"/>
                  </a:lnTo>
                  <a:lnTo>
                    <a:pt x="1172" y="1411"/>
                  </a:lnTo>
                  <a:lnTo>
                    <a:pt x="1174" y="1408"/>
                  </a:lnTo>
                  <a:lnTo>
                    <a:pt x="1175" y="1406"/>
                  </a:lnTo>
                  <a:lnTo>
                    <a:pt x="1175" y="1405"/>
                  </a:lnTo>
                  <a:lnTo>
                    <a:pt x="1177" y="1406"/>
                  </a:lnTo>
                  <a:lnTo>
                    <a:pt x="1184" y="1412"/>
                  </a:lnTo>
                  <a:lnTo>
                    <a:pt x="1186" y="1412"/>
                  </a:lnTo>
                  <a:lnTo>
                    <a:pt x="1187" y="1412"/>
                  </a:lnTo>
                  <a:lnTo>
                    <a:pt x="1188" y="1409"/>
                  </a:lnTo>
                  <a:lnTo>
                    <a:pt x="1190" y="1406"/>
                  </a:lnTo>
                  <a:lnTo>
                    <a:pt x="1196" y="1405"/>
                  </a:lnTo>
                  <a:lnTo>
                    <a:pt x="1213" y="1406"/>
                  </a:lnTo>
                  <a:lnTo>
                    <a:pt x="1212" y="1403"/>
                  </a:lnTo>
                  <a:lnTo>
                    <a:pt x="1212" y="1402"/>
                  </a:lnTo>
                  <a:lnTo>
                    <a:pt x="1212" y="1401"/>
                  </a:lnTo>
                  <a:lnTo>
                    <a:pt x="1213" y="1399"/>
                  </a:lnTo>
                  <a:lnTo>
                    <a:pt x="1218" y="1399"/>
                  </a:lnTo>
                  <a:lnTo>
                    <a:pt x="1219" y="1398"/>
                  </a:lnTo>
                  <a:lnTo>
                    <a:pt x="1220" y="1396"/>
                  </a:lnTo>
                  <a:lnTo>
                    <a:pt x="1223" y="1392"/>
                  </a:lnTo>
                  <a:lnTo>
                    <a:pt x="1225" y="1389"/>
                  </a:lnTo>
                  <a:lnTo>
                    <a:pt x="1225" y="1389"/>
                  </a:lnTo>
                  <a:lnTo>
                    <a:pt x="1223" y="1387"/>
                  </a:lnTo>
                  <a:lnTo>
                    <a:pt x="1223" y="1387"/>
                  </a:lnTo>
                  <a:lnTo>
                    <a:pt x="1223" y="1386"/>
                  </a:lnTo>
                  <a:lnTo>
                    <a:pt x="1223" y="1385"/>
                  </a:lnTo>
                  <a:lnTo>
                    <a:pt x="1223" y="1383"/>
                  </a:lnTo>
                  <a:lnTo>
                    <a:pt x="1225" y="1383"/>
                  </a:lnTo>
                  <a:lnTo>
                    <a:pt x="1226" y="1382"/>
                  </a:lnTo>
                  <a:lnTo>
                    <a:pt x="1226" y="1380"/>
                  </a:lnTo>
                  <a:lnTo>
                    <a:pt x="1229" y="1379"/>
                  </a:lnTo>
                  <a:lnTo>
                    <a:pt x="1232" y="1379"/>
                  </a:lnTo>
                  <a:lnTo>
                    <a:pt x="1234" y="1379"/>
                  </a:lnTo>
                  <a:lnTo>
                    <a:pt x="1235" y="1380"/>
                  </a:lnTo>
                  <a:lnTo>
                    <a:pt x="1235" y="1380"/>
                  </a:lnTo>
                  <a:lnTo>
                    <a:pt x="1235" y="1382"/>
                  </a:lnTo>
                  <a:lnTo>
                    <a:pt x="1235" y="1383"/>
                  </a:lnTo>
                  <a:lnTo>
                    <a:pt x="1237" y="1383"/>
                  </a:lnTo>
                  <a:lnTo>
                    <a:pt x="1237" y="1385"/>
                  </a:lnTo>
                  <a:lnTo>
                    <a:pt x="1238" y="1385"/>
                  </a:lnTo>
                  <a:lnTo>
                    <a:pt x="1242" y="1385"/>
                  </a:lnTo>
                  <a:lnTo>
                    <a:pt x="1244" y="1383"/>
                  </a:lnTo>
                  <a:lnTo>
                    <a:pt x="1260" y="1374"/>
                  </a:lnTo>
                  <a:lnTo>
                    <a:pt x="1261" y="1373"/>
                  </a:lnTo>
                  <a:lnTo>
                    <a:pt x="1263" y="1373"/>
                  </a:lnTo>
                  <a:lnTo>
                    <a:pt x="1263" y="1371"/>
                  </a:lnTo>
                  <a:lnTo>
                    <a:pt x="1264" y="1369"/>
                  </a:lnTo>
                  <a:lnTo>
                    <a:pt x="1264" y="1366"/>
                  </a:lnTo>
                  <a:lnTo>
                    <a:pt x="1266" y="1364"/>
                  </a:lnTo>
                  <a:lnTo>
                    <a:pt x="1267" y="1363"/>
                  </a:lnTo>
                  <a:lnTo>
                    <a:pt x="1273" y="1358"/>
                  </a:lnTo>
                  <a:lnTo>
                    <a:pt x="1277" y="1357"/>
                  </a:lnTo>
                  <a:lnTo>
                    <a:pt x="1277" y="1355"/>
                  </a:lnTo>
                  <a:lnTo>
                    <a:pt x="1279" y="1355"/>
                  </a:lnTo>
                  <a:lnTo>
                    <a:pt x="1279" y="1354"/>
                  </a:lnTo>
                  <a:lnTo>
                    <a:pt x="1280" y="1352"/>
                  </a:lnTo>
                  <a:lnTo>
                    <a:pt x="1286" y="1348"/>
                  </a:lnTo>
                  <a:lnTo>
                    <a:pt x="1287" y="1344"/>
                  </a:lnTo>
                  <a:lnTo>
                    <a:pt x="1292" y="1334"/>
                  </a:lnTo>
                  <a:lnTo>
                    <a:pt x="1292" y="1331"/>
                  </a:lnTo>
                  <a:lnTo>
                    <a:pt x="1293" y="1328"/>
                  </a:lnTo>
                  <a:lnTo>
                    <a:pt x="1293" y="1326"/>
                  </a:lnTo>
                  <a:lnTo>
                    <a:pt x="1293" y="1325"/>
                  </a:lnTo>
                  <a:lnTo>
                    <a:pt x="1292" y="1325"/>
                  </a:lnTo>
                  <a:lnTo>
                    <a:pt x="1292" y="1323"/>
                  </a:lnTo>
                  <a:lnTo>
                    <a:pt x="1290" y="1322"/>
                  </a:lnTo>
                  <a:lnTo>
                    <a:pt x="1290" y="1322"/>
                  </a:lnTo>
                  <a:lnTo>
                    <a:pt x="1290" y="1320"/>
                  </a:lnTo>
                  <a:lnTo>
                    <a:pt x="1292" y="1320"/>
                  </a:lnTo>
                  <a:lnTo>
                    <a:pt x="1292" y="1319"/>
                  </a:lnTo>
                  <a:lnTo>
                    <a:pt x="1295" y="1319"/>
                  </a:lnTo>
                  <a:lnTo>
                    <a:pt x="1301" y="1319"/>
                  </a:lnTo>
                  <a:lnTo>
                    <a:pt x="1305" y="1318"/>
                  </a:lnTo>
                  <a:lnTo>
                    <a:pt x="1308" y="1316"/>
                  </a:lnTo>
                  <a:lnTo>
                    <a:pt x="1311" y="1318"/>
                  </a:lnTo>
                  <a:lnTo>
                    <a:pt x="1327" y="1326"/>
                  </a:lnTo>
                  <a:lnTo>
                    <a:pt x="1340" y="1336"/>
                  </a:lnTo>
                  <a:lnTo>
                    <a:pt x="1344" y="1336"/>
                  </a:lnTo>
                  <a:lnTo>
                    <a:pt x="1355" y="1336"/>
                  </a:lnTo>
                  <a:lnTo>
                    <a:pt x="1356" y="1336"/>
                  </a:lnTo>
                  <a:lnTo>
                    <a:pt x="1373" y="1328"/>
                  </a:lnTo>
                  <a:lnTo>
                    <a:pt x="1376" y="1326"/>
                  </a:lnTo>
                  <a:lnTo>
                    <a:pt x="1378" y="1328"/>
                  </a:lnTo>
                  <a:lnTo>
                    <a:pt x="1382" y="1332"/>
                  </a:lnTo>
                  <a:lnTo>
                    <a:pt x="1384" y="1334"/>
                  </a:lnTo>
                  <a:lnTo>
                    <a:pt x="1385" y="1334"/>
                  </a:lnTo>
                  <a:lnTo>
                    <a:pt x="1387" y="1334"/>
                  </a:lnTo>
                  <a:lnTo>
                    <a:pt x="1388" y="1331"/>
                  </a:lnTo>
                  <a:lnTo>
                    <a:pt x="1389" y="1326"/>
                  </a:lnTo>
                  <a:lnTo>
                    <a:pt x="1388" y="1325"/>
                  </a:lnTo>
                  <a:lnTo>
                    <a:pt x="1388" y="1323"/>
                  </a:lnTo>
                  <a:lnTo>
                    <a:pt x="1387" y="1322"/>
                  </a:lnTo>
                  <a:lnTo>
                    <a:pt x="1384" y="1319"/>
                  </a:lnTo>
                  <a:lnTo>
                    <a:pt x="1382" y="1315"/>
                  </a:lnTo>
                  <a:lnTo>
                    <a:pt x="1381" y="1313"/>
                  </a:lnTo>
                  <a:lnTo>
                    <a:pt x="1379" y="1312"/>
                  </a:lnTo>
                  <a:lnTo>
                    <a:pt x="1379" y="1310"/>
                  </a:lnTo>
                  <a:lnTo>
                    <a:pt x="1381" y="1309"/>
                  </a:lnTo>
                  <a:lnTo>
                    <a:pt x="1387" y="1302"/>
                  </a:lnTo>
                  <a:lnTo>
                    <a:pt x="1404" y="1291"/>
                  </a:lnTo>
                  <a:lnTo>
                    <a:pt x="1394" y="1274"/>
                  </a:lnTo>
                  <a:lnTo>
                    <a:pt x="1394" y="1261"/>
                  </a:lnTo>
                  <a:lnTo>
                    <a:pt x="1394" y="1258"/>
                  </a:lnTo>
                  <a:lnTo>
                    <a:pt x="1392" y="1252"/>
                  </a:lnTo>
                  <a:lnTo>
                    <a:pt x="1391" y="1251"/>
                  </a:lnTo>
                  <a:lnTo>
                    <a:pt x="1389" y="1249"/>
                  </a:lnTo>
                  <a:lnTo>
                    <a:pt x="1385" y="1245"/>
                  </a:lnTo>
                  <a:lnTo>
                    <a:pt x="1385" y="1245"/>
                  </a:lnTo>
                  <a:lnTo>
                    <a:pt x="1382" y="1239"/>
                  </a:lnTo>
                  <a:lnTo>
                    <a:pt x="1381" y="1235"/>
                  </a:lnTo>
                  <a:lnTo>
                    <a:pt x="1379" y="1233"/>
                  </a:lnTo>
                  <a:lnTo>
                    <a:pt x="1378" y="1227"/>
                  </a:lnTo>
                  <a:lnTo>
                    <a:pt x="1378" y="1226"/>
                  </a:lnTo>
                  <a:lnTo>
                    <a:pt x="1376" y="1223"/>
                  </a:lnTo>
                  <a:lnTo>
                    <a:pt x="1375" y="1223"/>
                  </a:lnTo>
                  <a:lnTo>
                    <a:pt x="1373" y="1221"/>
                  </a:lnTo>
                  <a:lnTo>
                    <a:pt x="1371" y="1220"/>
                  </a:lnTo>
                  <a:lnTo>
                    <a:pt x="1369" y="1217"/>
                  </a:lnTo>
                  <a:lnTo>
                    <a:pt x="1368" y="1217"/>
                  </a:lnTo>
                  <a:lnTo>
                    <a:pt x="1366" y="1214"/>
                  </a:lnTo>
                  <a:lnTo>
                    <a:pt x="1365" y="1213"/>
                  </a:lnTo>
                  <a:lnTo>
                    <a:pt x="1365" y="1211"/>
                  </a:lnTo>
                  <a:lnTo>
                    <a:pt x="1363" y="1210"/>
                  </a:lnTo>
                  <a:lnTo>
                    <a:pt x="1363" y="1203"/>
                  </a:lnTo>
                  <a:lnTo>
                    <a:pt x="1362" y="1201"/>
                  </a:lnTo>
                  <a:lnTo>
                    <a:pt x="1362" y="1200"/>
                  </a:lnTo>
                  <a:lnTo>
                    <a:pt x="1362" y="1198"/>
                  </a:lnTo>
                  <a:lnTo>
                    <a:pt x="1363" y="1184"/>
                  </a:lnTo>
                  <a:lnTo>
                    <a:pt x="1363" y="1175"/>
                  </a:lnTo>
                  <a:lnTo>
                    <a:pt x="1363" y="1173"/>
                  </a:lnTo>
                  <a:lnTo>
                    <a:pt x="1365" y="1172"/>
                  </a:lnTo>
                  <a:lnTo>
                    <a:pt x="1371" y="1170"/>
                  </a:lnTo>
                  <a:lnTo>
                    <a:pt x="1371" y="1169"/>
                  </a:lnTo>
                  <a:lnTo>
                    <a:pt x="1372" y="1168"/>
                  </a:lnTo>
                  <a:lnTo>
                    <a:pt x="1373" y="1165"/>
                  </a:lnTo>
                  <a:lnTo>
                    <a:pt x="1375" y="1163"/>
                  </a:lnTo>
                  <a:lnTo>
                    <a:pt x="1376" y="1162"/>
                  </a:lnTo>
                  <a:lnTo>
                    <a:pt x="1379" y="1162"/>
                  </a:lnTo>
                  <a:lnTo>
                    <a:pt x="1379" y="1160"/>
                  </a:lnTo>
                  <a:lnTo>
                    <a:pt x="1381" y="1159"/>
                  </a:lnTo>
                  <a:lnTo>
                    <a:pt x="1382" y="1156"/>
                  </a:lnTo>
                  <a:lnTo>
                    <a:pt x="1382" y="1154"/>
                  </a:lnTo>
                  <a:lnTo>
                    <a:pt x="1384" y="1154"/>
                  </a:lnTo>
                  <a:lnTo>
                    <a:pt x="1384" y="1153"/>
                  </a:lnTo>
                  <a:lnTo>
                    <a:pt x="1384" y="1152"/>
                  </a:lnTo>
                  <a:lnTo>
                    <a:pt x="1384" y="1149"/>
                  </a:lnTo>
                  <a:lnTo>
                    <a:pt x="1382" y="1140"/>
                  </a:lnTo>
                  <a:lnTo>
                    <a:pt x="1382" y="1138"/>
                  </a:lnTo>
                  <a:lnTo>
                    <a:pt x="1381" y="1137"/>
                  </a:lnTo>
                  <a:lnTo>
                    <a:pt x="1375" y="1133"/>
                  </a:lnTo>
                  <a:lnTo>
                    <a:pt x="1375" y="1131"/>
                  </a:lnTo>
                  <a:lnTo>
                    <a:pt x="1373" y="1131"/>
                  </a:lnTo>
                  <a:lnTo>
                    <a:pt x="1375" y="1125"/>
                  </a:lnTo>
                  <a:lnTo>
                    <a:pt x="1376" y="1120"/>
                  </a:lnTo>
                  <a:lnTo>
                    <a:pt x="1378" y="1118"/>
                  </a:lnTo>
                  <a:lnTo>
                    <a:pt x="1379" y="1117"/>
                  </a:lnTo>
                  <a:lnTo>
                    <a:pt x="1384" y="1115"/>
                  </a:lnTo>
                  <a:lnTo>
                    <a:pt x="1385" y="1114"/>
                  </a:lnTo>
                  <a:lnTo>
                    <a:pt x="1385" y="1112"/>
                  </a:lnTo>
                  <a:lnTo>
                    <a:pt x="1385" y="1111"/>
                  </a:lnTo>
                  <a:lnTo>
                    <a:pt x="1384" y="1111"/>
                  </a:lnTo>
                  <a:lnTo>
                    <a:pt x="1382" y="1112"/>
                  </a:lnTo>
                  <a:lnTo>
                    <a:pt x="1379" y="1112"/>
                  </a:lnTo>
                  <a:lnTo>
                    <a:pt x="1378" y="1111"/>
                  </a:lnTo>
                  <a:lnTo>
                    <a:pt x="1376" y="1108"/>
                  </a:lnTo>
                  <a:lnTo>
                    <a:pt x="1375" y="1106"/>
                  </a:lnTo>
                  <a:lnTo>
                    <a:pt x="1366" y="1102"/>
                  </a:lnTo>
                  <a:lnTo>
                    <a:pt x="1366" y="1098"/>
                  </a:lnTo>
                  <a:lnTo>
                    <a:pt x="1365" y="1096"/>
                  </a:lnTo>
                  <a:lnTo>
                    <a:pt x="1365" y="1095"/>
                  </a:lnTo>
                  <a:lnTo>
                    <a:pt x="1360" y="1089"/>
                  </a:lnTo>
                  <a:lnTo>
                    <a:pt x="1359" y="1087"/>
                  </a:lnTo>
                  <a:lnTo>
                    <a:pt x="1359" y="1087"/>
                  </a:lnTo>
                  <a:lnTo>
                    <a:pt x="1359" y="1087"/>
                  </a:lnTo>
                  <a:lnTo>
                    <a:pt x="1359" y="1086"/>
                  </a:lnTo>
                  <a:lnTo>
                    <a:pt x="1359" y="1085"/>
                  </a:lnTo>
                  <a:lnTo>
                    <a:pt x="1360" y="1083"/>
                  </a:lnTo>
                  <a:lnTo>
                    <a:pt x="1363" y="1082"/>
                  </a:lnTo>
                  <a:lnTo>
                    <a:pt x="1373" y="1083"/>
                  </a:lnTo>
                  <a:lnTo>
                    <a:pt x="1375" y="1083"/>
                  </a:lnTo>
                  <a:lnTo>
                    <a:pt x="1378" y="1082"/>
                  </a:lnTo>
                  <a:lnTo>
                    <a:pt x="1382" y="1079"/>
                  </a:lnTo>
                  <a:lnTo>
                    <a:pt x="1385" y="1074"/>
                  </a:lnTo>
                  <a:lnTo>
                    <a:pt x="1388" y="1071"/>
                  </a:lnTo>
                  <a:lnTo>
                    <a:pt x="1388" y="1070"/>
                  </a:lnTo>
                  <a:lnTo>
                    <a:pt x="1388" y="1069"/>
                  </a:lnTo>
                  <a:lnTo>
                    <a:pt x="1388" y="1067"/>
                  </a:lnTo>
                  <a:lnTo>
                    <a:pt x="1388" y="1066"/>
                  </a:lnTo>
                  <a:lnTo>
                    <a:pt x="1388" y="1064"/>
                  </a:lnTo>
                  <a:lnTo>
                    <a:pt x="1391" y="1063"/>
                  </a:lnTo>
                  <a:lnTo>
                    <a:pt x="1410" y="1060"/>
                  </a:lnTo>
                  <a:lnTo>
                    <a:pt x="1456" y="1060"/>
                  </a:lnTo>
                  <a:lnTo>
                    <a:pt x="1465" y="1055"/>
                  </a:lnTo>
                  <a:lnTo>
                    <a:pt x="1473" y="1055"/>
                  </a:lnTo>
                  <a:lnTo>
                    <a:pt x="1490" y="1055"/>
                  </a:lnTo>
                  <a:lnTo>
                    <a:pt x="1493" y="1055"/>
                  </a:lnTo>
                  <a:lnTo>
                    <a:pt x="1494" y="1055"/>
                  </a:lnTo>
                  <a:lnTo>
                    <a:pt x="1496" y="1054"/>
                  </a:lnTo>
                  <a:lnTo>
                    <a:pt x="1497" y="1054"/>
                  </a:lnTo>
                  <a:lnTo>
                    <a:pt x="1497" y="1051"/>
                  </a:lnTo>
                  <a:lnTo>
                    <a:pt x="1499" y="1050"/>
                  </a:lnTo>
                  <a:lnTo>
                    <a:pt x="1499" y="1045"/>
                  </a:lnTo>
                  <a:lnTo>
                    <a:pt x="1499" y="1042"/>
                  </a:lnTo>
                  <a:lnTo>
                    <a:pt x="1497" y="1041"/>
                  </a:lnTo>
                  <a:lnTo>
                    <a:pt x="1497" y="1041"/>
                  </a:lnTo>
                  <a:lnTo>
                    <a:pt x="1491" y="1037"/>
                  </a:lnTo>
                  <a:lnTo>
                    <a:pt x="1491" y="1035"/>
                  </a:lnTo>
                  <a:lnTo>
                    <a:pt x="1490" y="1035"/>
                  </a:lnTo>
                  <a:lnTo>
                    <a:pt x="1490" y="1034"/>
                  </a:lnTo>
                  <a:lnTo>
                    <a:pt x="1491" y="1032"/>
                  </a:lnTo>
                  <a:lnTo>
                    <a:pt x="1491" y="1031"/>
                  </a:lnTo>
                  <a:lnTo>
                    <a:pt x="1494" y="1029"/>
                  </a:lnTo>
                  <a:lnTo>
                    <a:pt x="1506" y="1025"/>
                  </a:lnTo>
                  <a:lnTo>
                    <a:pt x="1513" y="1021"/>
                  </a:lnTo>
                  <a:lnTo>
                    <a:pt x="1522" y="1013"/>
                  </a:lnTo>
                  <a:lnTo>
                    <a:pt x="1523" y="1012"/>
                  </a:lnTo>
                  <a:lnTo>
                    <a:pt x="1525" y="1009"/>
                  </a:lnTo>
                  <a:lnTo>
                    <a:pt x="1528" y="1005"/>
                  </a:lnTo>
                  <a:lnTo>
                    <a:pt x="1529" y="1002"/>
                  </a:lnTo>
                  <a:lnTo>
                    <a:pt x="1529" y="999"/>
                  </a:lnTo>
                  <a:lnTo>
                    <a:pt x="1528" y="993"/>
                  </a:lnTo>
                  <a:lnTo>
                    <a:pt x="1526" y="991"/>
                  </a:lnTo>
                  <a:lnTo>
                    <a:pt x="1525" y="990"/>
                  </a:lnTo>
                  <a:lnTo>
                    <a:pt x="1523" y="990"/>
                  </a:lnTo>
                  <a:lnTo>
                    <a:pt x="1522" y="990"/>
                  </a:lnTo>
                  <a:lnTo>
                    <a:pt x="1521" y="990"/>
                  </a:lnTo>
                  <a:lnTo>
                    <a:pt x="1519" y="988"/>
                  </a:lnTo>
                  <a:lnTo>
                    <a:pt x="1518" y="988"/>
                  </a:lnTo>
                  <a:lnTo>
                    <a:pt x="1518" y="987"/>
                  </a:lnTo>
                  <a:lnTo>
                    <a:pt x="1516" y="986"/>
                  </a:lnTo>
                  <a:lnTo>
                    <a:pt x="1515" y="983"/>
                  </a:lnTo>
                  <a:lnTo>
                    <a:pt x="1515" y="981"/>
                  </a:lnTo>
                  <a:lnTo>
                    <a:pt x="1516" y="978"/>
                  </a:lnTo>
                  <a:lnTo>
                    <a:pt x="1519" y="972"/>
                  </a:lnTo>
                  <a:lnTo>
                    <a:pt x="1521" y="970"/>
                  </a:lnTo>
                  <a:lnTo>
                    <a:pt x="1522" y="968"/>
                  </a:lnTo>
                  <a:lnTo>
                    <a:pt x="1529" y="965"/>
                  </a:lnTo>
                  <a:lnTo>
                    <a:pt x="1534" y="965"/>
                  </a:lnTo>
                  <a:lnTo>
                    <a:pt x="1535" y="964"/>
                  </a:lnTo>
                  <a:lnTo>
                    <a:pt x="1537" y="962"/>
                  </a:lnTo>
                  <a:lnTo>
                    <a:pt x="1538" y="961"/>
                  </a:lnTo>
                  <a:lnTo>
                    <a:pt x="1538" y="959"/>
                  </a:lnTo>
                  <a:lnTo>
                    <a:pt x="1538" y="958"/>
                  </a:lnTo>
                  <a:lnTo>
                    <a:pt x="1538" y="952"/>
                  </a:lnTo>
                  <a:lnTo>
                    <a:pt x="1538" y="951"/>
                  </a:lnTo>
                  <a:lnTo>
                    <a:pt x="1538" y="949"/>
                  </a:lnTo>
                  <a:lnTo>
                    <a:pt x="1535" y="946"/>
                  </a:lnTo>
                  <a:lnTo>
                    <a:pt x="1535" y="946"/>
                  </a:lnTo>
                  <a:lnTo>
                    <a:pt x="1534" y="946"/>
                  </a:lnTo>
                  <a:lnTo>
                    <a:pt x="1534" y="948"/>
                  </a:lnTo>
                  <a:lnTo>
                    <a:pt x="1534" y="949"/>
                  </a:lnTo>
                  <a:lnTo>
                    <a:pt x="1532" y="949"/>
                  </a:lnTo>
                  <a:lnTo>
                    <a:pt x="1532" y="951"/>
                  </a:lnTo>
                  <a:lnTo>
                    <a:pt x="1531" y="951"/>
                  </a:lnTo>
                  <a:lnTo>
                    <a:pt x="1531" y="949"/>
                  </a:lnTo>
                  <a:lnTo>
                    <a:pt x="1531" y="946"/>
                  </a:lnTo>
                  <a:lnTo>
                    <a:pt x="1531" y="942"/>
                  </a:lnTo>
                  <a:lnTo>
                    <a:pt x="1529" y="940"/>
                  </a:lnTo>
                  <a:lnTo>
                    <a:pt x="1528" y="940"/>
                  </a:lnTo>
                  <a:lnTo>
                    <a:pt x="1525" y="940"/>
                  </a:lnTo>
                  <a:lnTo>
                    <a:pt x="1523" y="940"/>
                  </a:lnTo>
                  <a:lnTo>
                    <a:pt x="1523" y="939"/>
                  </a:lnTo>
                  <a:lnTo>
                    <a:pt x="1522" y="936"/>
                  </a:lnTo>
                  <a:lnTo>
                    <a:pt x="1521" y="935"/>
                  </a:lnTo>
                  <a:lnTo>
                    <a:pt x="1518" y="933"/>
                  </a:lnTo>
                  <a:lnTo>
                    <a:pt x="1513" y="926"/>
                  </a:lnTo>
                  <a:lnTo>
                    <a:pt x="1513" y="924"/>
                  </a:lnTo>
                  <a:lnTo>
                    <a:pt x="1515" y="923"/>
                  </a:lnTo>
                  <a:lnTo>
                    <a:pt x="1516" y="922"/>
                  </a:lnTo>
                  <a:lnTo>
                    <a:pt x="1519" y="919"/>
                  </a:lnTo>
                  <a:lnTo>
                    <a:pt x="1521" y="917"/>
                  </a:lnTo>
                  <a:lnTo>
                    <a:pt x="1521" y="916"/>
                  </a:lnTo>
                  <a:lnTo>
                    <a:pt x="1519" y="913"/>
                  </a:lnTo>
                  <a:lnTo>
                    <a:pt x="1518" y="911"/>
                  </a:lnTo>
                  <a:lnTo>
                    <a:pt x="1518" y="911"/>
                  </a:lnTo>
                  <a:lnTo>
                    <a:pt x="1518" y="910"/>
                  </a:lnTo>
                  <a:lnTo>
                    <a:pt x="1518" y="908"/>
                  </a:lnTo>
                  <a:lnTo>
                    <a:pt x="1516" y="907"/>
                  </a:lnTo>
                  <a:lnTo>
                    <a:pt x="1516" y="907"/>
                  </a:lnTo>
                  <a:lnTo>
                    <a:pt x="1516" y="905"/>
                  </a:lnTo>
                  <a:lnTo>
                    <a:pt x="1513" y="904"/>
                  </a:lnTo>
                  <a:lnTo>
                    <a:pt x="1510" y="903"/>
                  </a:lnTo>
                  <a:lnTo>
                    <a:pt x="1509" y="903"/>
                  </a:lnTo>
                  <a:lnTo>
                    <a:pt x="1509" y="901"/>
                  </a:lnTo>
                  <a:lnTo>
                    <a:pt x="1509" y="900"/>
                  </a:lnTo>
                  <a:lnTo>
                    <a:pt x="1509" y="897"/>
                  </a:lnTo>
                  <a:lnTo>
                    <a:pt x="1509" y="895"/>
                  </a:lnTo>
                  <a:lnTo>
                    <a:pt x="1509" y="895"/>
                  </a:lnTo>
                  <a:lnTo>
                    <a:pt x="1509" y="894"/>
                  </a:lnTo>
                  <a:lnTo>
                    <a:pt x="1512" y="892"/>
                  </a:lnTo>
                  <a:lnTo>
                    <a:pt x="1515" y="891"/>
                  </a:lnTo>
                  <a:lnTo>
                    <a:pt x="1525" y="889"/>
                  </a:lnTo>
                  <a:lnTo>
                    <a:pt x="1531" y="888"/>
                  </a:lnTo>
                  <a:lnTo>
                    <a:pt x="1532" y="887"/>
                  </a:lnTo>
                  <a:lnTo>
                    <a:pt x="1532" y="885"/>
                  </a:lnTo>
                  <a:lnTo>
                    <a:pt x="1534" y="882"/>
                  </a:lnTo>
                  <a:lnTo>
                    <a:pt x="1534" y="879"/>
                  </a:lnTo>
                  <a:lnTo>
                    <a:pt x="1534" y="878"/>
                  </a:lnTo>
                  <a:lnTo>
                    <a:pt x="1532" y="875"/>
                  </a:lnTo>
                  <a:lnTo>
                    <a:pt x="1532" y="873"/>
                  </a:lnTo>
                  <a:lnTo>
                    <a:pt x="1522" y="865"/>
                  </a:lnTo>
                  <a:lnTo>
                    <a:pt x="1518" y="863"/>
                  </a:lnTo>
                  <a:lnTo>
                    <a:pt x="1516" y="863"/>
                  </a:lnTo>
                  <a:lnTo>
                    <a:pt x="1513" y="862"/>
                  </a:lnTo>
                  <a:lnTo>
                    <a:pt x="1512" y="860"/>
                  </a:lnTo>
                  <a:lnTo>
                    <a:pt x="1487" y="827"/>
                  </a:lnTo>
                  <a:lnTo>
                    <a:pt x="1489" y="821"/>
                  </a:lnTo>
                  <a:lnTo>
                    <a:pt x="1489" y="818"/>
                  </a:lnTo>
                  <a:lnTo>
                    <a:pt x="1489" y="817"/>
                  </a:lnTo>
                  <a:lnTo>
                    <a:pt x="1490" y="815"/>
                  </a:lnTo>
                  <a:lnTo>
                    <a:pt x="1490" y="815"/>
                  </a:lnTo>
                  <a:lnTo>
                    <a:pt x="1490" y="814"/>
                  </a:lnTo>
                  <a:lnTo>
                    <a:pt x="1490" y="812"/>
                  </a:lnTo>
                  <a:lnTo>
                    <a:pt x="1490" y="811"/>
                  </a:lnTo>
                  <a:lnTo>
                    <a:pt x="1491" y="809"/>
                  </a:lnTo>
                  <a:lnTo>
                    <a:pt x="1491" y="808"/>
                  </a:lnTo>
                  <a:lnTo>
                    <a:pt x="1493" y="808"/>
                  </a:lnTo>
                  <a:lnTo>
                    <a:pt x="1496" y="806"/>
                  </a:lnTo>
                  <a:lnTo>
                    <a:pt x="1497" y="805"/>
                  </a:lnTo>
                  <a:lnTo>
                    <a:pt x="1499" y="805"/>
                  </a:lnTo>
                  <a:lnTo>
                    <a:pt x="1500" y="805"/>
                  </a:lnTo>
                  <a:lnTo>
                    <a:pt x="1506" y="806"/>
                  </a:lnTo>
                  <a:lnTo>
                    <a:pt x="1509" y="806"/>
                  </a:lnTo>
                  <a:lnTo>
                    <a:pt x="1509" y="806"/>
                  </a:lnTo>
                  <a:lnTo>
                    <a:pt x="1509" y="804"/>
                  </a:lnTo>
                  <a:lnTo>
                    <a:pt x="1506" y="801"/>
                  </a:lnTo>
                  <a:lnTo>
                    <a:pt x="1497" y="785"/>
                  </a:lnTo>
                  <a:lnTo>
                    <a:pt x="1496" y="783"/>
                  </a:lnTo>
                  <a:lnTo>
                    <a:pt x="1494" y="783"/>
                  </a:lnTo>
                  <a:lnTo>
                    <a:pt x="1493" y="780"/>
                  </a:lnTo>
                  <a:lnTo>
                    <a:pt x="1493" y="779"/>
                  </a:lnTo>
                  <a:lnTo>
                    <a:pt x="1491" y="777"/>
                  </a:lnTo>
                  <a:lnTo>
                    <a:pt x="1491" y="774"/>
                  </a:lnTo>
                  <a:lnTo>
                    <a:pt x="1490" y="769"/>
                  </a:lnTo>
                  <a:lnTo>
                    <a:pt x="1490" y="767"/>
                  </a:lnTo>
                  <a:lnTo>
                    <a:pt x="1490" y="757"/>
                  </a:lnTo>
                  <a:lnTo>
                    <a:pt x="1490" y="756"/>
                  </a:lnTo>
                  <a:lnTo>
                    <a:pt x="1490" y="754"/>
                  </a:lnTo>
                  <a:lnTo>
                    <a:pt x="1491" y="753"/>
                  </a:lnTo>
                  <a:lnTo>
                    <a:pt x="1491" y="753"/>
                  </a:lnTo>
                  <a:lnTo>
                    <a:pt x="1497" y="745"/>
                  </a:lnTo>
                  <a:lnTo>
                    <a:pt x="1500" y="744"/>
                  </a:lnTo>
                  <a:lnTo>
                    <a:pt x="1500" y="742"/>
                  </a:lnTo>
                  <a:lnTo>
                    <a:pt x="1500" y="741"/>
                  </a:lnTo>
                  <a:lnTo>
                    <a:pt x="1500" y="740"/>
                  </a:lnTo>
                  <a:lnTo>
                    <a:pt x="1499" y="737"/>
                  </a:lnTo>
                  <a:lnTo>
                    <a:pt x="1496" y="735"/>
                  </a:lnTo>
                  <a:lnTo>
                    <a:pt x="1494" y="735"/>
                  </a:lnTo>
                  <a:lnTo>
                    <a:pt x="1491" y="735"/>
                  </a:lnTo>
                  <a:lnTo>
                    <a:pt x="1491" y="737"/>
                  </a:lnTo>
                  <a:lnTo>
                    <a:pt x="1487" y="741"/>
                  </a:lnTo>
                  <a:lnTo>
                    <a:pt x="1486" y="741"/>
                  </a:lnTo>
                  <a:lnTo>
                    <a:pt x="1484" y="740"/>
                  </a:lnTo>
                  <a:lnTo>
                    <a:pt x="1481" y="737"/>
                  </a:lnTo>
                  <a:lnTo>
                    <a:pt x="1468" y="719"/>
                  </a:lnTo>
                  <a:lnTo>
                    <a:pt x="1455" y="693"/>
                  </a:lnTo>
                  <a:lnTo>
                    <a:pt x="1452" y="686"/>
                  </a:lnTo>
                  <a:lnTo>
                    <a:pt x="1449" y="683"/>
                  </a:lnTo>
                  <a:lnTo>
                    <a:pt x="1446" y="681"/>
                  </a:lnTo>
                  <a:lnTo>
                    <a:pt x="1443" y="681"/>
                  </a:lnTo>
                  <a:lnTo>
                    <a:pt x="1440" y="681"/>
                  </a:lnTo>
                  <a:lnTo>
                    <a:pt x="1439" y="678"/>
                  </a:lnTo>
                  <a:lnTo>
                    <a:pt x="1438" y="671"/>
                  </a:lnTo>
                  <a:lnTo>
                    <a:pt x="1438" y="668"/>
                  </a:lnTo>
                  <a:lnTo>
                    <a:pt x="1438" y="664"/>
                  </a:lnTo>
                  <a:lnTo>
                    <a:pt x="1436" y="662"/>
                  </a:lnTo>
                  <a:lnTo>
                    <a:pt x="1432" y="658"/>
                  </a:lnTo>
                  <a:lnTo>
                    <a:pt x="1430" y="655"/>
                  </a:lnTo>
                  <a:lnTo>
                    <a:pt x="1426" y="646"/>
                  </a:lnTo>
                  <a:lnTo>
                    <a:pt x="1424" y="645"/>
                  </a:lnTo>
                  <a:lnTo>
                    <a:pt x="1424" y="643"/>
                  </a:lnTo>
                  <a:lnTo>
                    <a:pt x="1424" y="642"/>
                  </a:lnTo>
                  <a:lnTo>
                    <a:pt x="1424" y="641"/>
                  </a:lnTo>
                  <a:lnTo>
                    <a:pt x="1424" y="638"/>
                  </a:lnTo>
                  <a:lnTo>
                    <a:pt x="1426" y="633"/>
                  </a:lnTo>
                  <a:lnTo>
                    <a:pt x="1426" y="632"/>
                  </a:lnTo>
                  <a:lnTo>
                    <a:pt x="1426" y="630"/>
                  </a:lnTo>
                  <a:lnTo>
                    <a:pt x="1424" y="627"/>
                  </a:lnTo>
                  <a:lnTo>
                    <a:pt x="1424" y="624"/>
                  </a:lnTo>
                  <a:lnTo>
                    <a:pt x="1424" y="623"/>
                  </a:lnTo>
                  <a:lnTo>
                    <a:pt x="1424" y="622"/>
                  </a:lnTo>
                  <a:lnTo>
                    <a:pt x="1426" y="619"/>
                  </a:lnTo>
                  <a:lnTo>
                    <a:pt x="1426" y="617"/>
                  </a:lnTo>
                  <a:lnTo>
                    <a:pt x="1424" y="614"/>
                  </a:lnTo>
                  <a:lnTo>
                    <a:pt x="1426" y="611"/>
                  </a:lnTo>
                  <a:lnTo>
                    <a:pt x="1438" y="607"/>
                  </a:lnTo>
                  <a:lnTo>
                    <a:pt x="1454" y="606"/>
                  </a:lnTo>
                  <a:lnTo>
                    <a:pt x="1468" y="607"/>
                  </a:lnTo>
                  <a:lnTo>
                    <a:pt x="1474" y="606"/>
                  </a:lnTo>
                  <a:lnTo>
                    <a:pt x="1478" y="603"/>
                  </a:lnTo>
                  <a:lnTo>
                    <a:pt x="1489" y="600"/>
                  </a:lnTo>
                  <a:lnTo>
                    <a:pt x="1494" y="597"/>
                  </a:lnTo>
                  <a:lnTo>
                    <a:pt x="1499" y="592"/>
                  </a:lnTo>
                  <a:lnTo>
                    <a:pt x="1505" y="587"/>
                  </a:lnTo>
                  <a:lnTo>
                    <a:pt x="1506" y="585"/>
                  </a:lnTo>
                  <a:lnTo>
                    <a:pt x="1506" y="585"/>
                  </a:lnTo>
                  <a:lnTo>
                    <a:pt x="1506" y="584"/>
                  </a:lnTo>
                  <a:lnTo>
                    <a:pt x="1506" y="581"/>
                  </a:lnTo>
                  <a:lnTo>
                    <a:pt x="1506" y="579"/>
                  </a:lnTo>
                  <a:lnTo>
                    <a:pt x="1507" y="578"/>
                  </a:lnTo>
                  <a:lnTo>
                    <a:pt x="1507" y="575"/>
                  </a:lnTo>
                  <a:lnTo>
                    <a:pt x="1507" y="574"/>
                  </a:lnTo>
                  <a:lnTo>
                    <a:pt x="1507" y="574"/>
                  </a:lnTo>
                  <a:lnTo>
                    <a:pt x="1509" y="572"/>
                  </a:lnTo>
                  <a:lnTo>
                    <a:pt x="1509" y="572"/>
                  </a:lnTo>
                  <a:lnTo>
                    <a:pt x="1509" y="572"/>
                  </a:lnTo>
                  <a:lnTo>
                    <a:pt x="1513" y="569"/>
                  </a:lnTo>
                  <a:lnTo>
                    <a:pt x="1521" y="569"/>
                  </a:lnTo>
                  <a:lnTo>
                    <a:pt x="1526" y="569"/>
                  </a:lnTo>
                  <a:lnTo>
                    <a:pt x="1537" y="572"/>
                  </a:lnTo>
                  <a:lnTo>
                    <a:pt x="1542" y="575"/>
                  </a:lnTo>
                  <a:lnTo>
                    <a:pt x="1545" y="576"/>
                  </a:lnTo>
                  <a:lnTo>
                    <a:pt x="1566" y="575"/>
                  </a:lnTo>
                  <a:lnTo>
                    <a:pt x="1583" y="578"/>
                  </a:lnTo>
                  <a:lnTo>
                    <a:pt x="1585" y="578"/>
                  </a:lnTo>
                  <a:lnTo>
                    <a:pt x="1585" y="579"/>
                  </a:lnTo>
                  <a:lnTo>
                    <a:pt x="1586" y="581"/>
                  </a:lnTo>
                  <a:lnTo>
                    <a:pt x="1588" y="582"/>
                  </a:lnTo>
                  <a:lnTo>
                    <a:pt x="1592" y="584"/>
                  </a:lnTo>
                  <a:lnTo>
                    <a:pt x="1592" y="584"/>
                  </a:lnTo>
                  <a:lnTo>
                    <a:pt x="1593" y="585"/>
                  </a:lnTo>
                  <a:lnTo>
                    <a:pt x="1593" y="587"/>
                  </a:lnTo>
                  <a:lnTo>
                    <a:pt x="1595" y="588"/>
                  </a:lnTo>
                  <a:lnTo>
                    <a:pt x="1595" y="590"/>
                  </a:lnTo>
                  <a:lnTo>
                    <a:pt x="1596" y="590"/>
                  </a:lnTo>
                  <a:lnTo>
                    <a:pt x="1596" y="590"/>
                  </a:lnTo>
                  <a:lnTo>
                    <a:pt x="1598" y="590"/>
                  </a:lnTo>
                  <a:lnTo>
                    <a:pt x="1601" y="590"/>
                  </a:lnTo>
                  <a:lnTo>
                    <a:pt x="1604" y="587"/>
                  </a:lnTo>
                  <a:lnTo>
                    <a:pt x="1605" y="585"/>
                  </a:lnTo>
                  <a:lnTo>
                    <a:pt x="1608" y="585"/>
                  </a:lnTo>
                  <a:lnTo>
                    <a:pt x="1609" y="587"/>
                  </a:lnTo>
                  <a:lnTo>
                    <a:pt x="1617" y="585"/>
                  </a:lnTo>
                  <a:lnTo>
                    <a:pt x="1639" y="576"/>
                  </a:lnTo>
                  <a:lnTo>
                    <a:pt x="1650" y="574"/>
                  </a:lnTo>
                  <a:lnTo>
                    <a:pt x="1652" y="572"/>
                  </a:lnTo>
                  <a:lnTo>
                    <a:pt x="1672" y="553"/>
                  </a:lnTo>
                  <a:lnTo>
                    <a:pt x="1675" y="553"/>
                  </a:lnTo>
                  <a:lnTo>
                    <a:pt x="1682" y="552"/>
                  </a:lnTo>
                  <a:lnTo>
                    <a:pt x="1682" y="552"/>
                  </a:lnTo>
                  <a:lnTo>
                    <a:pt x="1684" y="552"/>
                  </a:lnTo>
                  <a:lnTo>
                    <a:pt x="1682" y="547"/>
                  </a:lnTo>
                  <a:lnTo>
                    <a:pt x="1682" y="544"/>
                  </a:lnTo>
                  <a:lnTo>
                    <a:pt x="1681" y="542"/>
                  </a:lnTo>
                  <a:lnTo>
                    <a:pt x="1681" y="540"/>
                  </a:lnTo>
                  <a:lnTo>
                    <a:pt x="1681" y="537"/>
                  </a:lnTo>
                  <a:lnTo>
                    <a:pt x="1682" y="525"/>
                  </a:lnTo>
                  <a:lnTo>
                    <a:pt x="1682" y="524"/>
                  </a:lnTo>
                  <a:lnTo>
                    <a:pt x="1685" y="518"/>
                  </a:lnTo>
                  <a:lnTo>
                    <a:pt x="1685" y="517"/>
                  </a:lnTo>
                  <a:lnTo>
                    <a:pt x="1688" y="515"/>
                  </a:lnTo>
                  <a:lnTo>
                    <a:pt x="1691" y="514"/>
                  </a:lnTo>
                  <a:lnTo>
                    <a:pt x="1692" y="514"/>
                  </a:lnTo>
                  <a:lnTo>
                    <a:pt x="1695" y="515"/>
                  </a:lnTo>
                  <a:lnTo>
                    <a:pt x="1700" y="515"/>
                  </a:lnTo>
                  <a:lnTo>
                    <a:pt x="1704" y="514"/>
                  </a:lnTo>
                  <a:lnTo>
                    <a:pt x="1710" y="495"/>
                  </a:lnTo>
                  <a:lnTo>
                    <a:pt x="1694" y="488"/>
                  </a:lnTo>
                  <a:close/>
                  <a:moveTo>
                    <a:pt x="810" y="466"/>
                  </a:moveTo>
                  <a:lnTo>
                    <a:pt x="807" y="469"/>
                  </a:lnTo>
                  <a:lnTo>
                    <a:pt x="807" y="472"/>
                  </a:lnTo>
                  <a:lnTo>
                    <a:pt x="805" y="476"/>
                  </a:lnTo>
                  <a:lnTo>
                    <a:pt x="805" y="483"/>
                  </a:lnTo>
                  <a:lnTo>
                    <a:pt x="804" y="486"/>
                  </a:lnTo>
                  <a:lnTo>
                    <a:pt x="804" y="489"/>
                  </a:lnTo>
                  <a:lnTo>
                    <a:pt x="799" y="495"/>
                  </a:lnTo>
                  <a:lnTo>
                    <a:pt x="786" y="504"/>
                  </a:lnTo>
                  <a:lnTo>
                    <a:pt x="783" y="505"/>
                  </a:lnTo>
                  <a:lnTo>
                    <a:pt x="767" y="492"/>
                  </a:lnTo>
                  <a:lnTo>
                    <a:pt x="767" y="492"/>
                  </a:lnTo>
                  <a:lnTo>
                    <a:pt x="767" y="493"/>
                  </a:lnTo>
                  <a:lnTo>
                    <a:pt x="767" y="495"/>
                  </a:lnTo>
                  <a:lnTo>
                    <a:pt x="767" y="496"/>
                  </a:lnTo>
                  <a:lnTo>
                    <a:pt x="766" y="498"/>
                  </a:lnTo>
                  <a:lnTo>
                    <a:pt x="765" y="498"/>
                  </a:lnTo>
                  <a:lnTo>
                    <a:pt x="759" y="499"/>
                  </a:lnTo>
                  <a:lnTo>
                    <a:pt x="756" y="499"/>
                  </a:lnTo>
                  <a:lnTo>
                    <a:pt x="753" y="499"/>
                  </a:lnTo>
                  <a:lnTo>
                    <a:pt x="737" y="488"/>
                  </a:lnTo>
                  <a:lnTo>
                    <a:pt x="734" y="488"/>
                  </a:lnTo>
                  <a:lnTo>
                    <a:pt x="732" y="488"/>
                  </a:lnTo>
                  <a:lnTo>
                    <a:pt x="730" y="489"/>
                  </a:lnTo>
                  <a:lnTo>
                    <a:pt x="716" y="492"/>
                  </a:lnTo>
                  <a:lnTo>
                    <a:pt x="711" y="491"/>
                  </a:lnTo>
                  <a:lnTo>
                    <a:pt x="711" y="491"/>
                  </a:lnTo>
                  <a:lnTo>
                    <a:pt x="711" y="489"/>
                  </a:lnTo>
                  <a:lnTo>
                    <a:pt x="711" y="489"/>
                  </a:lnTo>
                  <a:lnTo>
                    <a:pt x="711" y="489"/>
                  </a:lnTo>
                  <a:lnTo>
                    <a:pt x="711" y="488"/>
                  </a:lnTo>
                  <a:lnTo>
                    <a:pt x="711" y="473"/>
                  </a:lnTo>
                  <a:lnTo>
                    <a:pt x="711" y="470"/>
                  </a:lnTo>
                  <a:lnTo>
                    <a:pt x="709" y="470"/>
                  </a:lnTo>
                  <a:lnTo>
                    <a:pt x="706" y="469"/>
                  </a:lnTo>
                  <a:lnTo>
                    <a:pt x="693" y="453"/>
                  </a:lnTo>
                  <a:lnTo>
                    <a:pt x="687" y="444"/>
                  </a:lnTo>
                  <a:lnTo>
                    <a:pt x="687" y="441"/>
                  </a:lnTo>
                  <a:lnTo>
                    <a:pt x="686" y="438"/>
                  </a:lnTo>
                  <a:lnTo>
                    <a:pt x="686" y="438"/>
                  </a:lnTo>
                  <a:lnTo>
                    <a:pt x="686" y="426"/>
                  </a:lnTo>
                  <a:lnTo>
                    <a:pt x="680" y="416"/>
                  </a:lnTo>
                  <a:lnTo>
                    <a:pt x="679" y="415"/>
                  </a:lnTo>
                  <a:lnTo>
                    <a:pt x="671" y="416"/>
                  </a:lnTo>
                  <a:lnTo>
                    <a:pt x="667" y="415"/>
                  </a:lnTo>
                  <a:lnTo>
                    <a:pt x="658" y="409"/>
                  </a:lnTo>
                  <a:lnTo>
                    <a:pt x="644" y="403"/>
                  </a:lnTo>
                  <a:lnTo>
                    <a:pt x="641" y="397"/>
                  </a:lnTo>
                  <a:lnTo>
                    <a:pt x="641" y="393"/>
                  </a:lnTo>
                  <a:lnTo>
                    <a:pt x="638" y="390"/>
                  </a:lnTo>
                  <a:lnTo>
                    <a:pt x="647" y="389"/>
                  </a:lnTo>
                  <a:lnTo>
                    <a:pt x="649" y="389"/>
                  </a:lnTo>
                  <a:lnTo>
                    <a:pt x="661" y="396"/>
                  </a:lnTo>
                  <a:lnTo>
                    <a:pt x="663" y="397"/>
                  </a:lnTo>
                  <a:lnTo>
                    <a:pt x="663" y="397"/>
                  </a:lnTo>
                  <a:lnTo>
                    <a:pt x="670" y="394"/>
                  </a:lnTo>
                  <a:lnTo>
                    <a:pt x="671" y="394"/>
                  </a:lnTo>
                  <a:lnTo>
                    <a:pt x="681" y="400"/>
                  </a:lnTo>
                  <a:lnTo>
                    <a:pt x="702" y="409"/>
                  </a:lnTo>
                  <a:lnTo>
                    <a:pt x="706" y="410"/>
                  </a:lnTo>
                  <a:lnTo>
                    <a:pt x="709" y="410"/>
                  </a:lnTo>
                  <a:lnTo>
                    <a:pt x="711" y="409"/>
                  </a:lnTo>
                  <a:lnTo>
                    <a:pt x="711" y="409"/>
                  </a:lnTo>
                  <a:lnTo>
                    <a:pt x="712" y="409"/>
                  </a:lnTo>
                  <a:lnTo>
                    <a:pt x="714" y="409"/>
                  </a:lnTo>
                  <a:lnTo>
                    <a:pt x="721" y="408"/>
                  </a:lnTo>
                  <a:lnTo>
                    <a:pt x="725" y="409"/>
                  </a:lnTo>
                  <a:lnTo>
                    <a:pt x="725" y="409"/>
                  </a:lnTo>
                  <a:lnTo>
                    <a:pt x="727" y="409"/>
                  </a:lnTo>
                  <a:lnTo>
                    <a:pt x="727" y="410"/>
                  </a:lnTo>
                  <a:lnTo>
                    <a:pt x="727" y="410"/>
                  </a:lnTo>
                  <a:lnTo>
                    <a:pt x="727" y="412"/>
                  </a:lnTo>
                  <a:lnTo>
                    <a:pt x="727" y="413"/>
                  </a:lnTo>
                  <a:lnTo>
                    <a:pt x="727" y="415"/>
                  </a:lnTo>
                  <a:lnTo>
                    <a:pt x="730" y="416"/>
                  </a:lnTo>
                  <a:lnTo>
                    <a:pt x="737" y="421"/>
                  </a:lnTo>
                  <a:lnTo>
                    <a:pt x="738" y="422"/>
                  </a:lnTo>
                  <a:lnTo>
                    <a:pt x="748" y="421"/>
                  </a:lnTo>
                  <a:lnTo>
                    <a:pt x="753" y="422"/>
                  </a:lnTo>
                  <a:lnTo>
                    <a:pt x="753" y="422"/>
                  </a:lnTo>
                  <a:lnTo>
                    <a:pt x="759" y="428"/>
                  </a:lnTo>
                  <a:lnTo>
                    <a:pt x="765" y="432"/>
                  </a:lnTo>
                  <a:lnTo>
                    <a:pt x="778" y="440"/>
                  </a:lnTo>
                  <a:lnTo>
                    <a:pt x="781" y="440"/>
                  </a:lnTo>
                  <a:lnTo>
                    <a:pt x="782" y="440"/>
                  </a:lnTo>
                  <a:lnTo>
                    <a:pt x="783" y="438"/>
                  </a:lnTo>
                  <a:lnTo>
                    <a:pt x="783" y="438"/>
                  </a:lnTo>
                  <a:lnTo>
                    <a:pt x="785" y="437"/>
                  </a:lnTo>
                  <a:lnTo>
                    <a:pt x="785" y="435"/>
                  </a:lnTo>
                  <a:lnTo>
                    <a:pt x="785" y="434"/>
                  </a:lnTo>
                  <a:lnTo>
                    <a:pt x="785" y="432"/>
                  </a:lnTo>
                  <a:lnTo>
                    <a:pt x="788" y="428"/>
                  </a:lnTo>
                  <a:lnTo>
                    <a:pt x="788" y="426"/>
                  </a:lnTo>
                  <a:lnTo>
                    <a:pt x="789" y="426"/>
                  </a:lnTo>
                  <a:lnTo>
                    <a:pt x="791" y="425"/>
                  </a:lnTo>
                  <a:lnTo>
                    <a:pt x="791" y="425"/>
                  </a:lnTo>
                  <a:lnTo>
                    <a:pt x="792" y="425"/>
                  </a:lnTo>
                  <a:lnTo>
                    <a:pt x="797" y="429"/>
                  </a:lnTo>
                  <a:lnTo>
                    <a:pt x="804" y="438"/>
                  </a:lnTo>
                  <a:lnTo>
                    <a:pt x="805" y="440"/>
                  </a:lnTo>
                  <a:lnTo>
                    <a:pt x="805" y="441"/>
                  </a:lnTo>
                  <a:lnTo>
                    <a:pt x="804" y="442"/>
                  </a:lnTo>
                  <a:lnTo>
                    <a:pt x="799" y="447"/>
                  </a:lnTo>
                  <a:lnTo>
                    <a:pt x="799" y="448"/>
                  </a:lnTo>
                  <a:lnTo>
                    <a:pt x="799" y="448"/>
                  </a:lnTo>
                  <a:lnTo>
                    <a:pt x="801" y="453"/>
                  </a:lnTo>
                  <a:lnTo>
                    <a:pt x="808" y="461"/>
                  </a:lnTo>
                  <a:lnTo>
                    <a:pt x="810" y="463"/>
                  </a:lnTo>
                  <a:lnTo>
                    <a:pt x="810" y="464"/>
                  </a:lnTo>
                  <a:lnTo>
                    <a:pt x="810" y="466"/>
                  </a:lnTo>
                  <a:close/>
                  <a:moveTo>
                    <a:pt x="135" y="116"/>
                  </a:moveTo>
                  <a:lnTo>
                    <a:pt x="87" y="122"/>
                  </a:lnTo>
                  <a:lnTo>
                    <a:pt x="75" y="128"/>
                  </a:lnTo>
                  <a:lnTo>
                    <a:pt x="148" y="121"/>
                  </a:lnTo>
                  <a:lnTo>
                    <a:pt x="135" y="116"/>
                  </a:lnTo>
                  <a:close/>
                  <a:moveTo>
                    <a:pt x="75" y="156"/>
                  </a:moveTo>
                  <a:lnTo>
                    <a:pt x="81" y="157"/>
                  </a:lnTo>
                  <a:lnTo>
                    <a:pt x="91" y="147"/>
                  </a:lnTo>
                  <a:lnTo>
                    <a:pt x="90" y="144"/>
                  </a:lnTo>
                  <a:lnTo>
                    <a:pt x="81" y="141"/>
                  </a:lnTo>
                  <a:lnTo>
                    <a:pt x="75" y="141"/>
                  </a:lnTo>
                  <a:lnTo>
                    <a:pt x="74" y="143"/>
                  </a:lnTo>
                  <a:lnTo>
                    <a:pt x="73" y="144"/>
                  </a:lnTo>
                  <a:lnTo>
                    <a:pt x="71" y="145"/>
                  </a:lnTo>
                  <a:lnTo>
                    <a:pt x="71" y="151"/>
                  </a:lnTo>
                  <a:lnTo>
                    <a:pt x="75" y="156"/>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14">
              <a:extLst>
                <a:ext uri="{FF2B5EF4-FFF2-40B4-BE49-F238E27FC236}">
                  <a16:creationId xmlns:a16="http://schemas.microsoft.com/office/drawing/2014/main" id="{36029B04-F432-459B-BCC8-B9842554D21B}"/>
                </a:ext>
              </a:extLst>
            </p:cNvPr>
            <p:cNvSpPr>
              <a:spLocks/>
            </p:cNvSpPr>
            <p:nvPr/>
          </p:nvSpPr>
          <p:spPr bwMode="gray">
            <a:xfrm>
              <a:off x="4625976" y="3148013"/>
              <a:ext cx="1357313" cy="1955800"/>
            </a:xfrm>
            <a:custGeom>
              <a:avLst/>
              <a:gdLst>
                <a:gd name="T0" fmla="*/ 766 w 855"/>
                <a:gd name="T1" fmla="*/ 204 h 1232"/>
                <a:gd name="T2" fmla="*/ 810 w 855"/>
                <a:gd name="T3" fmla="*/ 243 h 1232"/>
                <a:gd name="T4" fmla="*/ 844 w 855"/>
                <a:gd name="T5" fmla="*/ 300 h 1232"/>
                <a:gd name="T6" fmla="*/ 822 w 855"/>
                <a:gd name="T7" fmla="*/ 296 h 1232"/>
                <a:gd name="T8" fmla="*/ 842 w 855"/>
                <a:gd name="T9" fmla="*/ 339 h 1232"/>
                <a:gd name="T10" fmla="*/ 810 w 855"/>
                <a:gd name="T11" fmla="*/ 360 h 1232"/>
                <a:gd name="T12" fmla="*/ 758 w 855"/>
                <a:gd name="T13" fmla="*/ 398 h 1232"/>
                <a:gd name="T14" fmla="*/ 775 w 855"/>
                <a:gd name="T15" fmla="*/ 406 h 1232"/>
                <a:gd name="T16" fmla="*/ 759 w 855"/>
                <a:gd name="T17" fmla="*/ 462 h 1232"/>
                <a:gd name="T18" fmla="*/ 752 w 855"/>
                <a:gd name="T19" fmla="*/ 501 h 1232"/>
                <a:gd name="T20" fmla="*/ 734 w 855"/>
                <a:gd name="T21" fmla="*/ 565 h 1232"/>
                <a:gd name="T22" fmla="*/ 764 w 855"/>
                <a:gd name="T23" fmla="*/ 546 h 1232"/>
                <a:gd name="T24" fmla="*/ 791 w 855"/>
                <a:gd name="T25" fmla="*/ 584 h 1232"/>
                <a:gd name="T26" fmla="*/ 746 w 855"/>
                <a:gd name="T27" fmla="*/ 684 h 1232"/>
                <a:gd name="T28" fmla="*/ 683 w 855"/>
                <a:gd name="T29" fmla="*/ 747 h 1232"/>
                <a:gd name="T30" fmla="*/ 621 w 855"/>
                <a:gd name="T31" fmla="*/ 786 h 1232"/>
                <a:gd name="T32" fmla="*/ 600 w 855"/>
                <a:gd name="T33" fmla="*/ 814 h 1232"/>
                <a:gd name="T34" fmla="*/ 561 w 855"/>
                <a:gd name="T35" fmla="*/ 845 h 1232"/>
                <a:gd name="T36" fmla="*/ 478 w 855"/>
                <a:gd name="T37" fmla="*/ 856 h 1232"/>
                <a:gd name="T38" fmla="*/ 430 w 855"/>
                <a:gd name="T39" fmla="*/ 868 h 1232"/>
                <a:gd name="T40" fmla="*/ 445 w 855"/>
                <a:gd name="T41" fmla="*/ 917 h 1232"/>
                <a:gd name="T42" fmla="*/ 459 w 855"/>
                <a:gd name="T43" fmla="*/ 993 h 1232"/>
                <a:gd name="T44" fmla="*/ 468 w 855"/>
                <a:gd name="T45" fmla="*/ 1038 h 1232"/>
                <a:gd name="T46" fmla="*/ 465 w 855"/>
                <a:gd name="T47" fmla="*/ 1098 h 1232"/>
                <a:gd name="T48" fmla="*/ 459 w 855"/>
                <a:gd name="T49" fmla="*/ 1149 h 1232"/>
                <a:gd name="T50" fmla="*/ 434 w 855"/>
                <a:gd name="T51" fmla="*/ 1175 h 1232"/>
                <a:gd name="T52" fmla="*/ 395 w 855"/>
                <a:gd name="T53" fmla="*/ 1206 h 1232"/>
                <a:gd name="T54" fmla="*/ 363 w 855"/>
                <a:gd name="T55" fmla="*/ 1216 h 1232"/>
                <a:gd name="T56" fmla="*/ 389 w 855"/>
                <a:gd name="T57" fmla="*/ 1179 h 1232"/>
                <a:gd name="T58" fmla="*/ 319 w 855"/>
                <a:gd name="T59" fmla="*/ 1137 h 1232"/>
                <a:gd name="T60" fmla="*/ 293 w 855"/>
                <a:gd name="T61" fmla="*/ 1152 h 1232"/>
                <a:gd name="T62" fmla="*/ 239 w 855"/>
                <a:gd name="T63" fmla="*/ 1046 h 1232"/>
                <a:gd name="T64" fmla="*/ 82 w 855"/>
                <a:gd name="T65" fmla="*/ 909 h 1232"/>
                <a:gd name="T66" fmla="*/ 40 w 855"/>
                <a:gd name="T67" fmla="*/ 843 h 1232"/>
                <a:gd name="T68" fmla="*/ 44 w 855"/>
                <a:gd name="T69" fmla="*/ 815 h 1232"/>
                <a:gd name="T70" fmla="*/ 91 w 855"/>
                <a:gd name="T71" fmla="*/ 775 h 1232"/>
                <a:gd name="T72" fmla="*/ 89 w 855"/>
                <a:gd name="T73" fmla="*/ 703 h 1232"/>
                <a:gd name="T74" fmla="*/ 79 w 855"/>
                <a:gd name="T75" fmla="*/ 651 h 1232"/>
                <a:gd name="T76" fmla="*/ 125 w 855"/>
                <a:gd name="T77" fmla="*/ 616 h 1232"/>
                <a:gd name="T78" fmla="*/ 136 w 855"/>
                <a:gd name="T79" fmla="*/ 526 h 1232"/>
                <a:gd name="T80" fmla="*/ 125 w 855"/>
                <a:gd name="T81" fmla="*/ 484 h 1232"/>
                <a:gd name="T82" fmla="*/ 209 w 855"/>
                <a:gd name="T83" fmla="*/ 438 h 1232"/>
                <a:gd name="T84" fmla="*/ 257 w 855"/>
                <a:gd name="T85" fmla="*/ 374 h 1232"/>
                <a:gd name="T86" fmla="*/ 309 w 855"/>
                <a:gd name="T87" fmla="*/ 315 h 1232"/>
                <a:gd name="T88" fmla="*/ 340 w 855"/>
                <a:gd name="T89" fmla="*/ 255 h 1232"/>
                <a:gd name="T90" fmla="*/ 318 w 855"/>
                <a:gd name="T91" fmla="*/ 220 h 1232"/>
                <a:gd name="T92" fmla="*/ 283 w 855"/>
                <a:gd name="T93" fmla="*/ 219 h 1232"/>
                <a:gd name="T94" fmla="*/ 324 w 855"/>
                <a:gd name="T95" fmla="*/ 162 h 1232"/>
                <a:gd name="T96" fmla="*/ 408 w 855"/>
                <a:gd name="T97" fmla="*/ 134 h 1232"/>
                <a:gd name="T98" fmla="*/ 427 w 855"/>
                <a:gd name="T99" fmla="*/ 85 h 1232"/>
                <a:gd name="T100" fmla="*/ 496 w 855"/>
                <a:gd name="T101" fmla="*/ 111 h 1232"/>
                <a:gd name="T102" fmla="*/ 533 w 855"/>
                <a:gd name="T103" fmla="*/ 70 h 1232"/>
                <a:gd name="T104" fmla="*/ 544 w 855"/>
                <a:gd name="T105" fmla="*/ 26 h 1232"/>
                <a:gd name="T106" fmla="*/ 615 w 855"/>
                <a:gd name="T107" fmla="*/ 10 h 1232"/>
                <a:gd name="T108" fmla="*/ 662 w 855"/>
                <a:gd name="T109" fmla="*/ 53 h 1232"/>
                <a:gd name="T110" fmla="*/ 640 w 855"/>
                <a:gd name="T111" fmla="*/ 74 h 1232"/>
                <a:gd name="T112" fmla="*/ 647 w 855"/>
                <a:gd name="T113" fmla="*/ 141 h 1232"/>
                <a:gd name="T114" fmla="*/ 624 w 855"/>
                <a:gd name="T115" fmla="*/ 175 h 1232"/>
                <a:gd name="T116" fmla="*/ 699 w 855"/>
                <a:gd name="T117" fmla="*/ 178 h 1232"/>
                <a:gd name="T118" fmla="*/ 705 w 855"/>
                <a:gd name="T119" fmla="*/ 144 h 1232"/>
                <a:gd name="T120" fmla="*/ 727 w 855"/>
                <a:gd name="T121" fmla="*/ 143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55" h="1232">
                  <a:moveTo>
                    <a:pt x="756" y="153"/>
                  </a:moveTo>
                  <a:lnTo>
                    <a:pt x="750" y="159"/>
                  </a:lnTo>
                  <a:lnTo>
                    <a:pt x="749" y="160"/>
                  </a:lnTo>
                  <a:lnTo>
                    <a:pt x="748" y="165"/>
                  </a:lnTo>
                  <a:lnTo>
                    <a:pt x="748" y="166"/>
                  </a:lnTo>
                  <a:lnTo>
                    <a:pt x="748" y="169"/>
                  </a:lnTo>
                  <a:lnTo>
                    <a:pt x="749" y="169"/>
                  </a:lnTo>
                  <a:lnTo>
                    <a:pt x="749" y="170"/>
                  </a:lnTo>
                  <a:lnTo>
                    <a:pt x="749" y="175"/>
                  </a:lnTo>
                  <a:lnTo>
                    <a:pt x="749" y="176"/>
                  </a:lnTo>
                  <a:lnTo>
                    <a:pt x="750" y="178"/>
                  </a:lnTo>
                  <a:lnTo>
                    <a:pt x="752" y="179"/>
                  </a:lnTo>
                  <a:lnTo>
                    <a:pt x="753" y="181"/>
                  </a:lnTo>
                  <a:lnTo>
                    <a:pt x="755" y="184"/>
                  </a:lnTo>
                  <a:lnTo>
                    <a:pt x="755" y="188"/>
                  </a:lnTo>
                  <a:lnTo>
                    <a:pt x="755" y="194"/>
                  </a:lnTo>
                  <a:lnTo>
                    <a:pt x="756" y="195"/>
                  </a:lnTo>
                  <a:lnTo>
                    <a:pt x="756" y="197"/>
                  </a:lnTo>
                  <a:lnTo>
                    <a:pt x="758" y="195"/>
                  </a:lnTo>
                  <a:lnTo>
                    <a:pt x="759" y="197"/>
                  </a:lnTo>
                  <a:lnTo>
                    <a:pt x="762" y="198"/>
                  </a:lnTo>
                  <a:lnTo>
                    <a:pt x="765" y="203"/>
                  </a:lnTo>
                  <a:lnTo>
                    <a:pt x="766" y="204"/>
                  </a:lnTo>
                  <a:lnTo>
                    <a:pt x="768" y="205"/>
                  </a:lnTo>
                  <a:lnTo>
                    <a:pt x="771" y="205"/>
                  </a:lnTo>
                  <a:lnTo>
                    <a:pt x="774" y="205"/>
                  </a:lnTo>
                  <a:lnTo>
                    <a:pt x="775" y="205"/>
                  </a:lnTo>
                  <a:lnTo>
                    <a:pt x="782" y="208"/>
                  </a:lnTo>
                  <a:lnTo>
                    <a:pt x="788" y="210"/>
                  </a:lnTo>
                  <a:lnTo>
                    <a:pt x="791" y="211"/>
                  </a:lnTo>
                  <a:lnTo>
                    <a:pt x="793" y="213"/>
                  </a:lnTo>
                  <a:lnTo>
                    <a:pt x="793" y="214"/>
                  </a:lnTo>
                  <a:lnTo>
                    <a:pt x="791" y="219"/>
                  </a:lnTo>
                  <a:lnTo>
                    <a:pt x="791" y="221"/>
                  </a:lnTo>
                  <a:lnTo>
                    <a:pt x="791" y="223"/>
                  </a:lnTo>
                  <a:lnTo>
                    <a:pt x="793" y="224"/>
                  </a:lnTo>
                  <a:lnTo>
                    <a:pt x="799" y="229"/>
                  </a:lnTo>
                  <a:lnTo>
                    <a:pt x="799" y="232"/>
                  </a:lnTo>
                  <a:lnTo>
                    <a:pt x="800" y="237"/>
                  </a:lnTo>
                  <a:lnTo>
                    <a:pt x="801" y="239"/>
                  </a:lnTo>
                  <a:lnTo>
                    <a:pt x="803" y="240"/>
                  </a:lnTo>
                  <a:lnTo>
                    <a:pt x="804" y="240"/>
                  </a:lnTo>
                  <a:lnTo>
                    <a:pt x="806" y="242"/>
                  </a:lnTo>
                  <a:lnTo>
                    <a:pt x="807" y="243"/>
                  </a:lnTo>
                  <a:lnTo>
                    <a:pt x="809" y="243"/>
                  </a:lnTo>
                  <a:lnTo>
                    <a:pt x="810" y="243"/>
                  </a:lnTo>
                  <a:lnTo>
                    <a:pt x="813" y="245"/>
                  </a:lnTo>
                  <a:lnTo>
                    <a:pt x="815" y="245"/>
                  </a:lnTo>
                  <a:lnTo>
                    <a:pt x="819" y="246"/>
                  </a:lnTo>
                  <a:lnTo>
                    <a:pt x="820" y="246"/>
                  </a:lnTo>
                  <a:lnTo>
                    <a:pt x="823" y="249"/>
                  </a:lnTo>
                  <a:lnTo>
                    <a:pt x="826" y="249"/>
                  </a:lnTo>
                  <a:lnTo>
                    <a:pt x="828" y="249"/>
                  </a:lnTo>
                  <a:lnTo>
                    <a:pt x="831" y="249"/>
                  </a:lnTo>
                  <a:lnTo>
                    <a:pt x="833" y="251"/>
                  </a:lnTo>
                  <a:lnTo>
                    <a:pt x="839" y="253"/>
                  </a:lnTo>
                  <a:lnTo>
                    <a:pt x="842" y="256"/>
                  </a:lnTo>
                  <a:lnTo>
                    <a:pt x="850" y="261"/>
                  </a:lnTo>
                  <a:lnTo>
                    <a:pt x="854" y="262"/>
                  </a:lnTo>
                  <a:lnTo>
                    <a:pt x="855" y="264"/>
                  </a:lnTo>
                  <a:lnTo>
                    <a:pt x="855" y="265"/>
                  </a:lnTo>
                  <a:lnTo>
                    <a:pt x="855" y="265"/>
                  </a:lnTo>
                  <a:lnTo>
                    <a:pt x="854" y="268"/>
                  </a:lnTo>
                  <a:lnTo>
                    <a:pt x="848" y="275"/>
                  </a:lnTo>
                  <a:lnTo>
                    <a:pt x="847" y="280"/>
                  </a:lnTo>
                  <a:lnTo>
                    <a:pt x="847" y="283"/>
                  </a:lnTo>
                  <a:lnTo>
                    <a:pt x="847" y="286"/>
                  </a:lnTo>
                  <a:lnTo>
                    <a:pt x="845" y="297"/>
                  </a:lnTo>
                  <a:lnTo>
                    <a:pt x="844" y="300"/>
                  </a:lnTo>
                  <a:lnTo>
                    <a:pt x="842" y="300"/>
                  </a:lnTo>
                  <a:lnTo>
                    <a:pt x="842" y="299"/>
                  </a:lnTo>
                  <a:lnTo>
                    <a:pt x="841" y="296"/>
                  </a:lnTo>
                  <a:lnTo>
                    <a:pt x="841" y="296"/>
                  </a:lnTo>
                  <a:lnTo>
                    <a:pt x="838" y="294"/>
                  </a:lnTo>
                  <a:lnTo>
                    <a:pt x="838" y="293"/>
                  </a:lnTo>
                  <a:lnTo>
                    <a:pt x="838" y="293"/>
                  </a:lnTo>
                  <a:lnTo>
                    <a:pt x="839" y="291"/>
                  </a:lnTo>
                  <a:lnTo>
                    <a:pt x="839" y="290"/>
                  </a:lnTo>
                  <a:lnTo>
                    <a:pt x="838" y="288"/>
                  </a:lnTo>
                  <a:lnTo>
                    <a:pt x="836" y="286"/>
                  </a:lnTo>
                  <a:lnTo>
                    <a:pt x="835" y="284"/>
                  </a:lnTo>
                  <a:lnTo>
                    <a:pt x="832" y="284"/>
                  </a:lnTo>
                  <a:lnTo>
                    <a:pt x="829" y="284"/>
                  </a:lnTo>
                  <a:lnTo>
                    <a:pt x="820" y="286"/>
                  </a:lnTo>
                  <a:lnTo>
                    <a:pt x="819" y="287"/>
                  </a:lnTo>
                  <a:lnTo>
                    <a:pt x="817" y="288"/>
                  </a:lnTo>
                  <a:lnTo>
                    <a:pt x="819" y="290"/>
                  </a:lnTo>
                  <a:lnTo>
                    <a:pt x="820" y="290"/>
                  </a:lnTo>
                  <a:lnTo>
                    <a:pt x="820" y="291"/>
                  </a:lnTo>
                  <a:lnTo>
                    <a:pt x="822" y="293"/>
                  </a:lnTo>
                  <a:lnTo>
                    <a:pt x="822" y="294"/>
                  </a:lnTo>
                  <a:lnTo>
                    <a:pt x="822" y="296"/>
                  </a:lnTo>
                  <a:lnTo>
                    <a:pt x="823" y="297"/>
                  </a:lnTo>
                  <a:lnTo>
                    <a:pt x="823" y="297"/>
                  </a:lnTo>
                  <a:lnTo>
                    <a:pt x="825" y="297"/>
                  </a:lnTo>
                  <a:lnTo>
                    <a:pt x="832" y="299"/>
                  </a:lnTo>
                  <a:lnTo>
                    <a:pt x="833" y="300"/>
                  </a:lnTo>
                  <a:lnTo>
                    <a:pt x="832" y="303"/>
                  </a:lnTo>
                  <a:lnTo>
                    <a:pt x="832" y="307"/>
                  </a:lnTo>
                  <a:lnTo>
                    <a:pt x="826" y="315"/>
                  </a:lnTo>
                  <a:lnTo>
                    <a:pt x="825" y="319"/>
                  </a:lnTo>
                  <a:lnTo>
                    <a:pt x="825" y="323"/>
                  </a:lnTo>
                  <a:lnTo>
                    <a:pt x="823" y="328"/>
                  </a:lnTo>
                  <a:lnTo>
                    <a:pt x="823" y="331"/>
                  </a:lnTo>
                  <a:lnTo>
                    <a:pt x="823" y="334"/>
                  </a:lnTo>
                  <a:lnTo>
                    <a:pt x="825" y="334"/>
                  </a:lnTo>
                  <a:lnTo>
                    <a:pt x="828" y="334"/>
                  </a:lnTo>
                  <a:lnTo>
                    <a:pt x="829" y="335"/>
                  </a:lnTo>
                  <a:lnTo>
                    <a:pt x="831" y="335"/>
                  </a:lnTo>
                  <a:lnTo>
                    <a:pt x="832" y="336"/>
                  </a:lnTo>
                  <a:lnTo>
                    <a:pt x="833" y="338"/>
                  </a:lnTo>
                  <a:lnTo>
                    <a:pt x="835" y="338"/>
                  </a:lnTo>
                  <a:lnTo>
                    <a:pt x="839" y="338"/>
                  </a:lnTo>
                  <a:lnTo>
                    <a:pt x="841" y="339"/>
                  </a:lnTo>
                  <a:lnTo>
                    <a:pt x="842" y="339"/>
                  </a:lnTo>
                  <a:lnTo>
                    <a:pt x="844" y="342"/>
                  </a:lnTo>
                  <a:lnTo>
                    <a:pt x="845" y="347"/>
                  </a:lnTo>
                  <a:lnTo>
                    <a:pt x="847" y="348"/>
                  </a:lnTo>
                  <a:lnTo>
                    <a:pt x="847" y="350"/>
                  </a:lnTo>
                  <a:lnTo>
                    <a:pt x="847" y="352"/>
                  </a:lnTo>
                  <a:lnTo>
                    <a:pt x="842" y="364"/>
                  </a:lnTo>
                  <a:lnTo>
                    <a:pt x="841" y="366"/>
                  </a:lnTo>
                  <a:lnTo>
                    <a:pt x="839" y="366"/>
                  </a:lnTo>
                  <a:lnTo>
                    <a:pt x="832" y="366"/>
                  </a:lnTo>
                  <a:lnTo>
                    <a:pt x="823" y="367"/>
                  </a:lnTo>
                  <a:lnTo>
                    <a:pt x="822" y="367"/>
                  </a:lnTo>
                  <a:lnTo>
                    <a:pt x="820" y="367"/>
                  </a:lnTo>
                  <a:lnTo>
                    <a:pt x="819" y="366"/>
                  </a:lnTo>
                  <a:lnTo>
                    <a:pt x="817" y="364"/>
                  </a:lnTo>
                  <a:lnTo>
                    <a:pt x="816" y="364"/>
                  </a:lnTo>
                  <a:lnTo>
                    <a:pt x="816" y="364"/>
                  </a:lnTo>
                  <a:lnTo>
                    <a:pt x="816" y="363"/>
                  </a:lnTo>
                  <a:lnTo>
                    <a:pt x="817" y="360"/>
                  </a:lnTo>
                  <a:lnTo>
                    <a:pt x="817" y="360"/>
                  </a:lnTo>
                  <a:lnTo>
                    <a:pt x="816" y="358"/>
                  </a:lnTo>
                  <a:lnTo>
                    <a:pt x="815" y="358"/>
                  </a:lnTo>
                  <a:lnTo>
                    <a:pt x="812" y="360"/>
                  </a:lnTo>
                  <a:lnTo>
                    <a:pt x="810" y="360"/>
                  </a:lnTo>
                  <a:lnTo>
                    <a:pt x="806" y="358"/>
                  </a:lnTo>
                  <a:lnTo>
                    <a:pt x="796" y="358"/>
                  </a:lnTo>
                  <a:lnTo>
                    <a:pt x="791" y="360"/>
                  </a:lnTo>
                  <a:lnTo>
                    <a:pt x="782" y="366"/>
                  </a:lnTo>
                  <a:lnTo>
                    <a:pt x="782" y="373"/>
                  </a:lnTo>
                  <a:lnTo>
                    <a:pt x="784" y="377"/>
                  </a:lnTo>
                  <a:lnTo>
                    <a:pt x="784" y="377"/>
                  </a:lnTo>
                  <a:lnTo>
                    <a:pt x="785" y="379"/>
                  </a:lnTo>
                  <a:lnTo>
                    <a:pt x="787" y="382"/>
                  </a:lnTo>
                  <a:lnTo>
                    <a:pt x="790" y="385"/>
                  </a:lnTo>
                  <a:lnTo>
                    <a:pt x="790" y="392"/>
                  </a:lnTo>
                  <a:lnTo>
                    <a:pt x="790" y="395"/>
                  </a:lnTo>
                  <a:lnTo>
                    <a:pt x="788" y="396"/>
                  </a:lnTo>
                  <a:lnTo>
                    <a:pt x="782" y="398"/>
                  </a:lnTo>
                  <a:lnTo>
                    <a:pt x="778" y="398"/>
                  </a:lnTo>
                  <a:lnTo>
                    <a:pt x="766" y="398"/>
                  </a:lnTo>
                  <a:lnTo>
                    <a:pt x="765" y="396"/>
                  </a:lnTo>
                  <a:lnTo>
                    <a:pt x="765" y="396"/>
                  </a:lnTo>
                  <a:lnTo>
                    <a:pt x="764" y="395"/>
                  </a:lnTo>
                  <a:lnTo>
                    <a:pt x="764" y="395"/>
                  </a:lnTo>
                  <a:lnTo>
                    <a:pt x="761" y="395"/>
                  </a:lnTo>
                  <a:lnTo>
                    <a:pt x="759" y="396"/>
                  </a:lnTo>
                  <a:lnTo>
                    <a:pt x="758" y="398"/>
                  </a:lnTo>
                  <a:lnTo>
                    <a:pt x="758" y="399"/>
                  </a:lnTo>
                  <a:lnTo>
                    <a:pt x="758" y="402"/>
                  </a:lnTo>
                  <a:lnTo>
                    <a:pt x="758" y="403"/>
                  </a:lnTo>
                  <a:lnTo>
                    <a:pt x="759" y="405"/>
                  </a:lnTo>
                  <a:lnTo>
                    <a:pt x="761" y="405"/>
                  </a:lnTo>
                  <a:lnTo>
                    <a:pt x="761" y="403"/>
                  </a:lnTo>
                  <a:lnTo>
                    <a:pt x="762" y="402"/>
                  </a:lnTo>
                  <a:lnTo>
                    <a:pt x="764" y="402"/>
                  </a:lnTo>
                  <a:lnTo>
                    <a:pt x="764" y="405"/>
                  </a:lnTo>
                  <a:lnTo>
                    <a:pt x="764" y="411"/>
                  </a:lnTo>
                  <a:lnTo>
                    <a:pt x="764" y="414"/>
                  </a:lnTo>
                  <a:lnTo>
                    <a:pt x="765" y="415"/>
                  </a:lnTo>
                  <a:lnTo>
                    <a:pt x="766" y="415"/>
                  </a:lnTo>
                  <a:lnTo>
                    <a:pt x="768" y="415"/>
                  </a:lnTo>
                  <a:lnTo>
                    <a:pt x="768" y="414"/>
                  </a:lnTo>
                  <a:lnTo>
                    <a:pt x="769" y="412"/>
                  </a:lnTo>
                  <a:lnTo>
                    <a:pt x="769" y="411"/>
                  </a:lnTo>
                  <a:lnTo>
                    <a:pt x="771" y="409"/>
                  </a:lnTo>
                  <a:lnTo>
                    <a:pt x="771" y="409"/>
                  </a:lnTo>
                  <a:lnTo>
                    <a:pt x="772" y="408"/>
                  </a:lnTo>
                  <a:lnTo>
                    <a:pt x="774" y="408"/>
                  </a:lnTo>
                  <a:lnTo>
                    <a:pt x="774" y="408"/>
                  </a:lnTo>
                  <a:lnTo>
                    <a:pt x="775" y="406"/>
                  </a:lnTo>
                  <a:lnTo>
                    <a:pt x="777" y="406"/>
                  </a:lnTo>
                  <a:lnTo>
                    <a:pt x="777" y="408"/>
                  </a:lnTo>
                  <a:lnTo>
                    <a:pt x="778" y="408"/>
                  </a:lnTo>
                  <a:lnTo>
                    <a:pt x="781" y="411"/>
                  </a:lnTo>
                  <a:lnTo>
                    <a:pt x="785" y="414"/>
                  </a:lnTo>
                  <a:lnTo>
                    <a:pt x="787" y="415"/>
                  </a:lnTo>
                  <a:lnTo>
                    <a:pt x="788" y="418"/>
                  </a:lnTo>
                  <a:lnTo>
                    <a:pt x="790" y="422"/>
                  </a:lnTo>
                  <a:lnTo>
                    <a:pt x="791" y="425"/>
                  </a:lnTo>
                  <a:lnTo>
                    <a:pt x="794" y="428"/>
                  </a:lnTo>
                  <a:lnTo>
                    <a:pt x="784" y="440"/>
                  </a:lnTo>
                  <a:lnTo>
                    <a:pt x="782" y="441"/>
                  </a:lnTo>
                  <a:lnTo>
                    <a:pt x="782" y="444"/>
                  </a:lnTo>
                  <a:lnTo>
                    <a:pt x="784" y="447"/>
                  </a:lnTo>
                  <a:lnTo>
                    <a:pt x="782" y="453"/>
                  </a:lnTo>
                  <a:lnTo>
                    <a:pt x="782" y="456"/>
                  </a:lnTo>
                  <a:lnTo>
                    <a:pt x="781" y="456"/>
                  </a:lnTo>
                  <a:lnTo>
                    <a:pt x="778" y="456"/>
                  </a:lnTo>
                  <a:lnTo>
                    <a:pt x="777" y="457"/>
                  </a:lnTo>
                  <a:lnTo>
                    <a:pt x="774" y="459"/>
                  </a:lnTo>
                  <a:lnTo>
                    <a:pt x="771" y="459"/>
                  </a:lnTo>
                  <a:lnTo>
                    <a:pt x="765" y="460"/>
                  </a:lnTo>
                  <a:lnTo>
                    <a:pt x="759" y="462"/>
                  </a:lnTo>
                  <a:lnTo>
                    <a:pt x="758" y="463"/>
                  </a:lnTo>
                  <a:lnTo>
                    <a:pt x="756" y="465"/>
                  </a:lnTo>
                  <a:lnTo>
                    <a:pt x="756" y="466"/>
                  </a:lnTo>
                  <a:lnTo>
                    <a:pt x="756" y="468"/>
                  </a:lnTo>
                  <a:lnTo>
                    <a:pt x="755" y="472"/>
                  </a:lnTo>
                  <a:lnTo>
                    <a:pt x="755" y="473"/>
                  </a:lnTo>
                  <a:lnTo>
                    <a:pt x="753" y="475"/>
                  </a:lnTo>
                  <a:lnTo>
                    <a:pt x="753" y="478"/>
                  </a:lnTo>
                  <a:lnTo>
                    <a:pt x="755" y="479"/>
                  </a:lnTo>
                  <a:lnTo>
                    <a:pt x="755" y="482"/>
                  </a:lnTo>
                  <a:lnTo>
                    <a:pt x="755" y="484"/>
                  </a:lnTo>
                  <a:lnTo>
                    <a:pt x="755" y="486"/>
                  </a:lnTo>
                  <a:lnTo>
                    <a:pt x="755" y="488"/>
                  </a:lnTo>
                  <a:lnTo>
                    <a:pt x="755" y="488"/>
                  </a:lnTo>
                  <a:lnTo>
                    <a:pt x="753" y="486"/>
                  </a:lnTo>
                  <a:lnTo>
                    <a:pt x="753" y="486"/>
                  </a:lnTo>
                  <a:lnTo>
                    <a:pt x="752" y="486"/>
                  </a:lnTo>
                  <a:lnTo>
                    <a:pt x="750" y="488"/>
                  </a:lnTo>
                  <a:lnTo>
                    <a:pt x="749" y="488"/>
                  </a:lnTo>
                  <a:lnTo>
                    <a:pt x="746" y="494"/>
                  </a:lnTo>
                  <a:lnTo>
                    <a:pt x="750" y="498"/>
                  </a:lnTo>
                  <a:lnTo>
                    <a:pt x="752" y="501"/>
                  </a:lnTo>
                  <a:lnTo>
                    <a:pt x="752" y="501"/>
                  </a:lnTo>
                  <a:lnTo>
                    <a:pt x="752" y="505"/>
                  </a:lnTo>
                  <a:lnTo>
                    <a:pt x="752" y="508"/>
                  </a:lnTo>
                  <a:lnTo>
                    <a:pt x="750" y="510"/>
                  </a:lnTo>
                  <a:lnTo>
                    <a:pt x="750" y="513"/>
                  </a:lnTo>
                  <a:lnTo>
                    <a:pt x="745" y="521"/>
                  </a:lnTo>
                  <a:lnTo>
                    <a:pt x="743" y="526"/>
                  </a:lnTo>
                  <a:lnTo>
                    <a:pt x="743" y="529"/>
                  </a:lnTo>
                  <a:lnTo>
                    <a:pt x="745" y="530"/>
                  </a:lnTo>
                  <a:lnTo>
                    <a:pt x="745" y="532"/>
                  </a:lnTo>
                  <a:lnTo>
                    <a:pt x="742" y="536"/>
                  </a:lnTo>
                  <a:lnTo>
                    <a:pt x="740" y="536"/>
                  </a:lnTo>
                  <a:lnTo>
                    <a:pt x="740" y="537"/>
                  </a:lnTo>
                  <a:lnTo>
                    <a:pt x="739" y="537"/>
                  </a:lnTo>
                  <a:lnTo>
                    <a:pt x="737" y="539"/>
                  </a:lnTo>
                  <a:lnTo>
                    <a:pt x="736" y="542"/>
                  </a:lnTo>
                  <a:lnTo>
                    <a:pt x="733" y="546"/>
                  </a:lnTo>
                  <a:lnTo>
                    <a:pt x="732" y="549"/>
                  </a:lnTo>
                  <a:lnTo>
                    <a:pt x="732" y="552"/>
                  </a:lnTo>
                  <a:lnTo>
                    <a:pt x="732" y="555"/>
                  </a:lnTo>
                  <a:lnTo>
                    <a:pt x="732" y="559"/>
                  </a:lnTo>
                  <a:lnTo>
                    <a:pt x="732" y="562"/>
                  </a:lnTo>
                  <a:lnTo>
                    <a:pt x="733" y="564"/>
                  </a:lnTo>
                  <a:lnTo>
                    <a:pt x="734" y="565"/>
                  </a:lnTo>
                  <a:lnTo>
                    <a:pt x="737" y="564"/>
                  </a:lnTo>
                  <a:lnTo>
                    <a:pt x="739" y="564"/>
                  </a:lnTo>
                  <a:lnTo>
                    <a:pt x="740" y="562"/>
                  </a:lnTo>
                  <a:lnTo>
                    <a:pt x="742" y="562"/>
                  </a:lnTo>
                  <a:lnTo>
                    <a:pt x="743" y="562"/>
                  </a:lnTo>
                  <a:lnTo>
                    <a:pt x="749" y="567"/>
                  </a:lnTo>
                  <a:lnTo>
                    <a:pt x="750" y="568"/>
                  </a:lnTo>
                  <a:lnTo>
                    <a:pt x="755" y="568"/>
                  </a:lnTo>
                  <a:lnTo>
                    <a:pt x="756" y="568"/>
                  </a:lnTo>
                  <a:lnTo>
                    <a:pt x="758" y="568"/>
                  </a:lnTo>
                  <a:lnTo>
                    <a:pt x="758" y="567"/>
                  </a:lnTo>
                  <a:lnTo>
                    <a:pt x="759" y="564"/>
                  </a:lnTo>
                  <a:lnTo>
                    <a:pt x="761" y="561"/>
                  </a:lnTo>
                  <a:lnTo>
                    <a:pt x="761" y="561"/>
                  </a:lnTo>
                  <a:lnTo>
                    <a:pt x="759" y="559"/>
                  </a:lnTo>
                  <a:lnTo>
                    <a:pt x="756" y="555"/>
                  </a:lnTo>
                  <a:lnTo>
                    <a:pt x="756" y="553"/>
                  </a:lnTo>
                  <a:lnTo>
                    <a:pt x="756" y="552"/>
                  </a:lnTo>
                  <a:lnTo>
                    <a:pt x="756" y="551"/>
                  </a:lnTo>
                  <a:lnTo>
                    <a:pt x="756" y="549"/>
                  </a:lnTo>
                  <a:lnTo>
                    <a:pt x="758" y="549"/>
                  </a:lnTo>
                  <a:lnTo>
                    <a:pt x="758" y="548"/>
                  </a:lnTo>
                  <a:lnTo>
                    <a:pt x="764" y="546"/>
                  </a:lnTo>
                  <a:lnTo>
                    <a:pt x="766" y="545"/>
                  </a:lnTo>
                  <a:lnTo>
                    <a:pt x="771" y="542"/>
                  </a:lnTo>
                  <a:lnTo>
                    <a:pt x="774" y="542"/>
                  </a:lnTo>
                  <a:lnTo>
                    <a:pt x="775" y="540"/>
                  </a:lnTo>
                  <a:lnTo>
                    <a:pt x="777" y="542"/>
                  </a:lnTo>
                  <a:lnTo>
                    <a:pt x="782" y="543"/>
                  </a:lnTo>
                  <a:lnTo>
                    <a:pt x="788" y="543"/>
                  </a:lnTo>
                  <a:lnTo>
                    <a:pt x="793" y="545"/>
                  </a:lnTo>
                  <a:lnTo>
                    <a:pt x="794" y="546"/>
                  </a:lnTo>
                  <a:lnTo>
                    <a:pt x="796" y="548"/>
                  </a:lnTo>
                  <a:lnTo>
                    <a:pt x="796" y="549"/>
                  </a:lnTo>
                  <a:lnTo>
                    <a:pt x="800" y="558"/>
                  </a:lnTo>
                  <a:lnTo>
                    <a:pt x="800" y="571"/>
                  </a:lnTo>
                  <a:lnTo>
                    <a:pt x="800" y="572"/>
                  </a:lnTo>
                  <a:lnTo>
                    <a:pt x="800" y="574"/>
                  </a:lnTo>
                  <a:lnTo>
                    <a:pt x="799" y="572"/>
                  </a:lnTo>
                  <a:lnTo>
                    <a:pt x="797" y="572"/>
                  </a:lnTo>
                  <a:lnTo>
                    <a:pt x="794" y="574"/>
                  </a:lnTo>
                  <a:lnTo>
                    <a:pt x="791" y="578"/>
                  </a:lnTo>
                  <a:lnTo>
                    <a:pt x="790" y="580"/>
                  </a:lnTo>
                  <a:lnTo>
                    <a:pt x="790" y="581"/>
                  </a:lnTo>
                  <a:lnTo>
                    <a:pt x="791" y="583"/>
                  </a:lnTo>
                  <a:lnTo>
                    <a:pt x="791" y="584"/>
                  </a:lnTo>
                  <a:lnTo>
                    <a:pt x="791" y="585"/>
                  </a:lnTo>
                  <a:lnTo>
                    <a:pt x="791" y="596"/>
                  </a:lnTo>
                  <a:lnTo>
                    <a:pt x="791" y="597"/>
                  </a:lnTo>
                  <a:lnTo>
                    <a:pt x="791" y="599"/>
                  </a:lnTo>
                  <a:lnTo>
                    <a:pt x="791" y="600"/>
                  </a:lnTo>
                  <a:lnTo>
                    <a:pt x="791" y="601"/>
                  </a:lnTo>
                  <a:lnTo>
                    <a:pt x="794" y="607"/>
                  </a:lnTo>
                  <a:lnTo>
                    <a:pt x="794" y="610"/>
                  </a:lnTo>
                  <a:lnTo>
                    <a:pt x="791" y="620"/>
                  </a:lnTo>
                  <a:lnTo>
                    <a:pt x="790" y="623"/>
                  </a:lnTo>
                  <a:lnTo>
                    <a:pt x="790" y="625"/>
                  </a:lnTo>
                  <a:lnTo>
                    <a:pt x="790" y="626"/>
                  </a:lnTo>
                  <a:lnTo>
                    <a:pt x="791" y="628"/>
                  </a:lnTo>
                  <a:lnTo>
                    <a:pt x="793" y="628"/>
                  </a:lnTo>
                  <a:lnTo>
                    <a:pt x="791" y="635"/>
                  </a:lnTo>
                  <a:lnTo>
                    <a:pt x="791" y="636"/>
                  </a:lnTo>
                  <a:lnTo>
                    <a:pt x="790" y="638"/>
                  </a:lnTo>
                  <a:lnTo>
                    <a:pt x="790" y="639"/>
                  </a:lnTo>
                  <a:lnTo>
                    <a:pt x="782" y="651"/>
                  </a:lnTo>
                  <a:lnTo>
                    <a:pt x="778" y="658"/>
                  </a:lnTo>
                  <a:lnTo>
                    <a:pt x="774" y="666"/>
                  </a:lnTo>
                  <a:lnTo>
                    <a:pt x="768" y="671"/>
                  </a:lnTo>
                  <a:lnTo>
                    <a:pt x="746" y="684"/>
                  </a:lnTo>
                  <a:lnTo>
                    <a:pt x="726" y="692"/>
                  </a:lnTo>
                  <a:lnTo>
                    <a:pt x="721" y="693"/>
                  </a:lnTo>
                  <a:lnTo>
                    <a:pt x="718" y="693"/>
                  </a:lnTo>
                  <a:lnTo>
                    <a:pt x="717" y="693"/>
                  </a:lnTo>
                  <a:lnTo>
                    <a:pt x="714" y="692"/>
                  </a:lnTo>
                  <a:lnTo>
                    <a:pt x="711" y="689"/>
                  </a:lnTo>
                  <a:lnTo>
                    <a:pt x="710" y="687"/>
                  </a:lnTo>
                  <a:lnTo>
                    <a:pt x="707" y="683"/>
                  </a:lnTo>
                  <a:lnTo>
                    <a:pt x="707" y="682"/>
                  </a:lnTo>
                  <a:lnTo>
                    <a:pt x="705" y="682"/>
                  </a:lnTo>
                  <a:lnTo>
                    <a:pt x="704" y="682"/>
                  </a:lnTo>
                  <a:lnTo>
                    <a:pt x="704" y="682"/>
                  </a:lnTo>
                  <a:lnTo>
                    <a:pt x="699" y="683"/>
                  </a:lnTo>
                  <a:lnTo>
                    <a:pt x="698" y="684"/>
                  </a:lnTo>
                  <a:lnTo>
                    <a:pt x="694" y="690"/>
                  </a:lnTo>
                  <a:lnTo>
                    <a:pt x="685" y="721"/>
                  </a:lnTo>
                  <a:lnTo>
                    <a:pt x="686" y="728"/>
                  </a:lnTo>
                  <a:lnTo>
                    <a:pt x="686" y="731"/>
                  </a:lnTo>
                  <a:lnTo>
                    <a:pt x="686" y="734"/>
                  </a:lnTo>
                  <a:lnTo>
                    <a:pt x="686" y="738"/>
                  </a:lnTo>
                  <a:lnTo>
                    <a:pt x="686" y="743"/>
                  </a:lnTo>
                  <a:lnTo>
                    <a:pt x="685" y="746"/>
                  </a:lnTo>
                  <a:lnTo>
                    <a:pt x="683" y="747"/>
                  </a:lnTo>
                  <a:lnTo>
                    <a:pt x="678" y="751"/>
                  </a:lnTo>
                  <a:lnTo>
                    <a:pt x="672" y="754"/>
                  </a:lnTo>
                  <a:lnTo>
                    <a:pt x="667" y="754"/>
                  </a:lnTo>
                  <a:lnTo>
                    <a:pt x="663" y="757"/>
                  </a:lnTo>
                  <a:lnTo>
                    <a:pt x="660" y="760"/>
                  </a:lnTo>
                  <a:lnTo>
                    <a:pt x="657" y="763"/>
                  </a:lnTo>
                  <a:lnTo>
                    <a:pt x="656" y="770"/>
                  </a:lnTo>
                  <a:lnTo>
                    <a:pt x="656" y="775"/>
                  </a:lnTo>
                  <a:lnTo>
                    <a:pt x="656" y="778"/>
                  </a:lnTo>
                  <a:lnTo>
                    <a:pt x="657" y="779"/>
                  </a:lnTo>
                  <a:lnTo>
                    <a:pt x="657" y="781"/>
                  </a:lnTo>
                  <a:lnTo>
                    <a:pt x="656" y="782"/>
                  </a:lnTo>
                  <a:lnTo>
                    <a:pt x="646" y="785"/>
                  </a:lnTo>
                  <a:lnTo>
                    <a:pt x="640" y="788"/>
                  </a:lnTo>
                  <a:lnTo>
                    <a:pt x="634" y="788"/>
                  </a:lnTo>
                  <a:lnTo>
                    <a:pt x="632" y="786"/>
                  </a:lnTo>
                  <a:lnTo>
                    <a:pt x="631" y="786"/>
                  </a:lnTo>
                  <a:lnTo>
                    <a:pt x="631" y="785"/>
                  </a:lnTo>
                  <a:lnTo>
                    <a:pt x="630" y="785"/>
                  </a:lnTo>
                  <a:lnTo>
                    <a:pt x="630" y="785"/>
                  </a:lnTo>
                  <a:lnTo>
                    <a:pt x="628" y="785"/>
                  </a:lnTo>
                  <a:lnTo>
                    <a:pt x="627" y="785"/>
                  </a:lnTo>
                  <a:lnTo>
                    <a:pt x="621" y="786"/>
                  </a:lnTo>
                  <a:lnTo>
                    <a:pt x="621" y="786"/>
                  </a:lnTo>
                  <a:lnTo>
                    <a:pt x="619" y="786"/>
                  </a:lnTo>
                  <a:lnTo>
                    <a:pt x="619" y="785"/>
                  </a:lnTo>
                  <a:lnTo>
                    <a:pt x="618" y="782"/>
                  </a:lnTo>
                  <a:lnTo>
                    <a:pt x="616" y="781"/>
                  </a:lnTo>
                  <a:lnTo>
                    <a:pt x="615" y="781"/>
                  </a:lnTo>
                  <a:lnTo>
                    <a:pt x="615" y="781"/>
                  </a:lnTo>
                  <a:lnTo>
                    <a:pt x="614" y="781"/>
                  </a:lnTo>
                  <a:lnTo>
                    <a:pt x="611" y="782"/>
                  </a:lnTo>
                  <a:lnTo>
                    <a:pt x="609" y="782"/>
                  </a:lnTo>
                  <a:lnTo>
                    <a:pt x="608" y="782"/>
                  </a:lnTo>
                  <a:lnTo>
                    <a:pt x="605" y="781"/>
                  </a:lnTo>
                  <a:lnTo>
                    <a:pt x="603" y="781"/>
                  </a:lnTo>
                  <a:lnTo>
                    <a:pt x="602" y="782"/>
                  </a:lnTo>
                  <a:lnTo>
                    <a:pt x="602" y="786"/>
                  </a:lnTo>
                  <a:lnTo>
                    <a:pt x="603" y="797"/>
                  </a:lnTo>
                  <a:lnTo>
                    <a:pt x="603" y="799"/>
                  </a:lnTo>
                  <a:lnTo>
                    <a:pt x="600" y="807"/>
                  </a:lnTo>
                  <a:lnTo>
                    <a:pt x="600" y="808"/>
                  </a:lnTo>
                  <a:lnTo>
                    <a:pt x="599" y="811"/>
                  </a:lnTo>
                  <a:lnTo>
                    <a:pt x="600" y="811"/>
                  </a:lnTo>
                  <a:lnTo>
                    <a:pt x="600" y="813"/>
                  </a:lnTo>
                  <a:lnTo>
                    <a:pt x="600" y="814"/>
                  </a:lnTo>
                  <a:lnTo>
                    <a:pt x="600" y="814"/>
                  </a:lnTo>
                  <a:lnTo>
                    <a:pt x="602" y="814"/>
                  </a:lnTo>
                  <a:lnTo>
                    <a:pt x="608" y="815"/>
                  </a:lnTo>
                  <a:lnTo>
                    <a:pt x="609" y="815"/>
                  </a:lnTo>
                  <a:lnTo>
                    <a:pt x="609" y="817"/>
                  </a:lnTo>
                  <a:lnTo>
                    <a:pt x="611" y="817"/>
                  </a:lnTo>
                  <a:lnTo>
                    <a:pt x="611" y="818"/>
                  </a:lnTo>
                  <a:lnTo>
                    <a:pt x="609" y="820"/>
                  </a:lnTo>
                  <a:lnTo>
                    <a:pt x="606" y="829"/>
                  </a:lnTo>
                  <a:lnTo>
                    <a:pt x="605" y="832"/>
                  </a:lnTo>
                  <a:lnTo>
                    <a:pt x="603" y="834"/>
                  </a:lnTo>
                  <a:lnTo>
                    <a:pt x="605" y="836"/>
                  </a:lnTo>
                  <a:lnTo>
                    <a:pt x="606" y="846"/>
                  </a:lnTo>
                  <a:lnTo>
                    <a:pt x="605" y="848"/>
                  </a:lnTo>
                  <a:lnTo>
                    <a:pt x="603" y="850"/>
                  </a:lnTo>
                  <a:lnTo>
                    <a:pt x="581" y="859"/>
                  </a:lnTo>
                  <a:lnTo>
                    <a:pt x="576" y="859"/>
                  </a:lnTo>
                  <a:lnTo>
                    <a:pt x="568" y="858"/>
                  </a:lnTo>
                  <a:lnTo>
                    <a:pt x="565" y="856"/>
                  </a:lnTo>
                  <a:lnTo>
                    <a:pt x="563" y="852"/>
                  </a:lnTo>
                  <a:lnTo>
                    <a:pt x="563" y="850"/>
                  </a:lnTo>
                  <a:lnTo>
                    <a:pt x="561" y="846"/>
                  </a:lnTo>
                  <a:lnTo>
                    <a:pt x="561" y="845"/>
                  </a:lnTo>
                  <a:lnTo>
                    <a:pt x="560" y="845"/>
                  </a:lnTo>
                  <a:lnTo>
                    <a:pt x="558" y="842"/>
                  </a:lnTo>
                  <a:lnTo>
                    <a:pt x="554" y="839"/>
                  </a:lnTo>
                  <a:lnTo>
                    <a:pt x="541" y="833"/>
                  </a:lnTo>
                  <a:lnTo>
                    <a:pt x="539" y="833"/>
                  </a:lnTo>
                  <a:lnTo>
                    <a:pt x="535" y="833"/>
                  </a:lnTo>
                  <a:lnTo>
                    <a:pt x="533" y="833"/>
                  </a:lnTo>
                  <a:lnTo>
                    <a:pt x="530" y="832"/>
                  </a:lnTo>
                  <a:lnTo>
                    <a:pt x="529" y="832"/>
                  </a:lnTo>
                  <a:lnTo>
                    <a:pt x="514" y="832"/>
                  </a:lnTo>
                  <a:lnTo>
                    <a:pt x="510" y="830"/>
                  </a:lnTo>
                  <a:lnTo>
                    <a:pt x="509" y="830"/>
                  </a:lnTo>
                  <a:lnTo>
                    <a:pt x="506" y="830"/>
                  </a:lnTo>
                  <a:lnTo>
                    <a:pt x="496" y="834"/>
                  </a:lnTo>
                  <a:lnTo>
                    <a:pt x="494" y="834"/>
                  </a:lnTo>
                  <a:lnTo>
                    <a:pt x="493" y="836"/>
                  </a:lnTo>
                  <a:lnTo>
                    <a:pt x="493" y="837"/>
                  </a:lnTo>
                  <a:lnTo>
                    <a:pt x="493" y="840"/>
                  </a:lnTo>
                  <a:lnTo>
                    <a:pt x="493" y="842"/>
                  </a:lnTo>
                  <a:lnTo>
                    <a:pt x="493" y="843"/>
                  </a:lnTo>
                  <a:lnTo>
                    <a:pt x="485" y="850"/>
                  </a:lnTo>
                  <a:lnTo>
                    <a:pt x="481" y="855"/>
                  </a:lnTo>
                  <a:lnTo>
                    <a:pt x="478" y="856"/>
                  </a:lnTo>
                  <a:lnTo>
                    <a:pt x="478" y="856"/>
                  </a:lnTo>
                  <a:lnTo>
                    <a:pt x="478" y="855"/>
                  </a:lnTo>
                  <a:lnTo>
                    <a:pt x="478" y="853"/>
                  </a:lnTo>
                  <a:lnTo>
                    <a:pt x="479" y="850"/>
                  </a:lnTo>
                  <a:lnTo>
                    <a:pt x="481" y="849"/>
                  </a:lnTo>
                  <a:lnTo>
                    <a:pt x="481" y="848"/>
                  </a:lnTo>
                  <a:lnTo>
                    <a:pt x="479" y="848"/>
                  </a:lnTo>
                  <a:lnTo>
                    <a:pt x="475" y="846"/>
                  </a:lnTo>
                  <a:lnTo>
                    <a:pt x="474" y="845"/>
                  </a:lnTo>
                  <a:lnTo>
                    <a:pt x="469" y="842"/>
                  </a:lnTo>
                  <a:lnTo>
                    <a:pt x="468" y="840"/>
                  </a:lnTo>
                  <a:lnTo>
                    <a:pt x="466" y="840"/>
                  </a:lnTo>
                  <a:lnTo>
                    <a:pt x="465" y="840"/>
                  </a:lnTo>
                  <a:lnTo>
                    <a:pt x="463" y="840"/>
                  </a:lnTo>
                  <a:lnTo>
                    <a:pt x="446" y="849"/>
                  </a:lnTo>
                  <a:lnTo>
                    <a:pt x="434" y="852"/>
                  </a:lnTo>
                  <a:lnTo>
                    <a:pt x="433" y="852"/>
                  </a:lnTo>
                  <a:lnTo>
                    <a:pt x="431" y="853"/>
                  </a:lnTo>
                  <a:lnTo>
                    <a:pt x="431" y="855"/>
                  </a:lnTo>
                  <a:lnTo>
                    <a:pt x="430" y="856"/>
                  </a:lnTo>
                  <a:lnTo>
                    <a:pt x="430" y="858"/>
                  </a:lnTo>
                  <a:lnTo>
                    <a:pt x="430" y="861"/>
                  </a:lnTo>
                  <a:lnTo>
                    <a:pt x="430" y="868"/>
                  </a:lnTo>
                  <a:lnTo>
                    <a:pt x="428" y="871"/>
                  </a:lnTo>
                  <a:lnTo>
                    <a:pt x="428" y="872"/>
                  </a:lnTo>
                  <a:lnTo>
                    <a:pt x="427" y="874"/>
                  </a:lnTo>
                  <a:lnTo>
                    <a:pt x="427" y="874"/>
                  </a:lnTo>
                  <a:lnTo>
                    <a:pt x="426" y="874"/>
                  </a:lnTo>
                  <a:lnTo>
                    <a:pt x="424" y="874"/>
                  </a:lnTo>
                  <a:lnTo>
                    <a:pt x="423" y="875"/>
                  </a:lnTo>
                  <a:lnTo>
                    <a:pt x="420" y="878"/>
                  </a:lnTo>
                  <a:lnTo>
                    <a:pt x="418" y="880"/>
                  </a:lnTo>
                  <a:lnTo>
                    <a:pt x="421" y="881"/>
                  </a:lnTo>
                  <a:lnTo>
                    <a:pt x="424" y="884"/>
                  </a:lnTo>
                  <a:lnTo>
                    <a:pt x="426" y="884"/>
                  </a:lnTo>
                  <a:lnTo>
                    <a:pt x="427" y="882"/>
                  </a:lnTo>
                  <a:lnTo>
                    <a:pt x="430" y="881"/>
                  </a:lnTo>
                  <a:lnTo>
                    <a:pt x="434" y="882"/>
                  </a:lnTo>
                  <a:lnTo>
                    <a:pt x="436" y="884"/>
                  </a:lnTo>
                  <a:lnTo>
                    <a:pt x="436" y="885"/>
                  </a:lnTo>
                  <a:lnTo>
                    <a:pt x="437" y="897"/>
                  </a:lnTo>
                  <a:lnTo>
                    <a:pt x="442" y="901"/>
                  </a:lnTo>
                  <a:lnTo>
                    <a:pt x="440" y="909"/>
                  </a:lnTo>
                  <a:lnTo>
                    <a:pt x="442" y="909"/>
                  </a:lnTo>
                  <a:lnTo>
                    <a:pt x="442" y="912"/>
                  </a:lnTo>
                  <a:lnTo>
                    <a:pt x="445" y="917"/>
                  </a:lnTo>
                  <a:lnTo>
                    <a:pt x="445" y="917"/>
                  </a:lnTo>
                  <a:lnTo>
                    <a:pt x="445" y="919"/>
                  </a:lnTo>
                  <a:lnTo>
                    <a:pt x="443" y="919"/>
                  </a:lnTo>
                  <a:lnTo>
                    <a:pt x="436" y="916"/>
                  </a:lnTo>
                  <a:lnTo>
                    <a:pt x="436" y="955"/>
                  </a:lnTo>
                  <a:lnTo>
                    <a:pt x="436" y="958"/>
                  </a:lnTo>
                  <a:lnTo>
                    <a:pt x="440" y="971"/>
                  </a:lnTo>
                  <a:lnTo>
                    <a:pt x="443" y="980"/>
                  </a:lnTo>
                  <a:lnTo>
                    <a:pt x="447" y="995"/>
                  </a:lnTo>
                  <a:lnTo>
                    <a:pt x="449" y="996"/>
                  </a:lnTo>
                  <a:lnTo>
                    <a:pt x="450" y="997"/>
                  </a:lnTo>
                  <a:lnTo>
                    <a:pt x="450" y="999"/>
                  </a:lnTo>
                  <a:lnTo>
                    <a:pt x="450" y="999"/>
                  </a:lnTo>
                  <a:lnTo>
                    <a:pt x="452" y="999"/>
                  </a:lnTo>
                  <a:lnTo>
                    <a:pt x="452" y="999"/>
                  </a:lnTo>
                  <a:lnTo>
                    <a:pt x="453" y="999"/>
                  </a:lnTo>
                  <a:lnTo>
                    <a:pt x="453" y="997"/>
                  </a:lnTo>
                  <a:lnTo>
                    <a:pt x="455" y="993"/>
                  </a:lnTo>
                  <a:lnTo>
                    <a:pt x="456" y="993"/>
                  </a:lnTo>
                  <a:lnTo>
                    <a:pt x="458" y="992"/>
                  </a:lnTo>
                  <a:lnTo>
                    <a:pt x="458" y="992"/>
                  </a:lnTo>
                  <a:lnTo>
                    <a:pt x="458" y="993"/>
                  </a:lnTo>
                  <a:lnTo>
                    <a:pt x="459" y="993"/>
                  </a:lnTo>
                  <a:lnTo>
                    <a:pt x="459" y="995"/>
                  </a:lnTo>
                  <a:lnTo>
                    <a:pt x="459" y="996"/>
                  </a:lnTo>
                  <a:lnTo>
                    <a:pt x="458" y="1000"/>
                  </a:lnTo>
                  <a:lnTo>
                    <a:pt x="458" y="1005"/>
                  </a:lnTo>
                  <a:lnTo>
                    <a:pt x="458" y="1008"/>
                  </a:lnTo>
                  <a:lnTo>
                    <a:pt x="461" y="1014"/>
                  </a:lnTo>
                  <a:lnTo>
                    <a:pt x="461" y="1015"/>
                  </a:lnTo>
                  <a:lnTo>
                    <a:pt x="462" y="1018"/>
                  </a:lnTo>
                  <a:lnTo>
                    <a:pt x="465" y="1019"/>
                  </a:lnTo>
                  <a:lnTo>
                    <a:pt x="466" y="1019"/>
                  </a:lnTo>
                  <a:lnTo>
                    <a:pt x="468" y="1019"/>
                  </a:lnTo>
                  <a:lnTo>
                    <a:pt x="469" y="1018"/>
                  </a:lnTo>
                  <a:lnTo>
                    <a:pt x="471" y="1018"/>
                  </a:lnTo>
                  <a:lnTo>
                    <a:pt x="472" y="1018"/>
                  </a:lnTo>
                  <a:lnTo>
                    <a:pt x="472" y="1018"/>
                  </a:lnTo>
                  <a:lnTo>
                    <a:pt x="474" y="1019"/>
                  </a:lnTo>
                  <a:lnTo>
                    <a:pt x="475" y="1021"/>
                  </a:lnTo>
                  <a:lnTo>
                    <a:pt x="475" y="1022"/>
                  </a:lnTo>
                  <a:lnTo>
                    <a:pt x="475" y="1025"/>
                  </a:lnTo>
                  <a:lnTo>
                    <a:pt x="474" y="1028"/>
                  </a:lnTo>
                  <a:lnTo>
                    <a:pt x="469" y="1034"/>
                  </a:lnTo>
                  <a:lnTo>
                    <a:pt x="468" y="1037"/>
                  </a:lnTo>
                  <a:lnTo>
                    <a:pt x="468" y="1038"/>
                  </a:lnTo>
                  <a:lnTo>
                    <a:pt x="469" y="1041"/>
                  </a:lnTo>
                  <a:lnTo>
                    <a:pt x="472" y="1043"/>
                  </a:lnTo>
                  <a:lnTo>
                    <a:pt x="478" y="1044"/>
                  </a:lnTo>
                  <a:lnTo>
                    <a:pt x="478" y="1046"/>
                  </a:lnTo>
                  <a:lnTo>
                    <a:pt x="478" y="1048"/>
                  </a:lnTo>
                  <a:lnTo>
                    <a:pt x="474" y="1057"/>
                  </a:lnTo>
                  <a:lnTo>
                    <a:pt x="472" y="1060"/>
                  </a:lnTo>
                  <a:lnTo>
                    <a:pt x="472" y="1062"/>
                  </a:lnTo>
                  <a:lnTo>
                    <a:pt x="472" y="1064"/>
                  </a:lnTo>
                  <a:lnTo>
                    <a:pt x="474" y="1067"/>
                  </a:lnTo>
                  <a:lnTo>
                    <a:pt x="474" y="1069"/>
                  </a:lnTo>
                  <a:lnTo>
                    <a:pt x="474" y="1070"/>
                  </a:lnTo>
                  <a:lnTo>
                    <a:pt x="472" y="1072"/>
                  </a:lnTo>
                  <a:lnTo>
                    <a:pt x="471" y="1073"/>
                  </a:lnTo>
                  <a:lnTo>
                    <a:pt x="469" y="1075"/>
                  </a:lnTo>
                  <a:lnTo>
                    <a:pt x="468" y="1076"/>
                  </a:lnTo>
                  <a:lnTo>
                    <a:pt x="466" y="1076"/>
                  </a:lnTo>
                  <a:lnTo>
                    <a:pt x="463" y="1076"/>
                  </a:lnTo>
                  <a:lnTo>
                    <a:pt x="462" y="1076"/>
                  </a:lnTo>
                  <a:lnTo>
                    <a:pt x="461" y="1076"/>
                  </a:lnTo>
                  <a:lnTo>
                    <a:pt x="461" y="1079"/>
                  </a:lnTo>
                  <a:lnTo>
                    <a:pt x="462" y="1083"/>
                  </a:lnTo>
                  <a:lnTo>
                    <a:pt x="465" y="1098"/>
                  </a:lnTo>
                  <a:lnTo>
                    <a:pt x="465" y="1101"/>
                  </a:lnTo>
                  <a:lnTo>
                    <a:pt x="465" y="1104"/>
                  </a:lnTo>
                  <a:lnTo>
                    <a:pt x="463" y="1105"/>
                  </a:lnTo>
                  <a:lnTo>
                    <a:pt x="462" y="1107"/>
                  </a:lnTo>
                  <a:lnTo>
                    <a:pt x="461" y="1107"/>
                  </a:lnTo>
                  <a:lnTo>
                    <a:pt x="458" y="1110"/>
                  </a:lnTo>
                  <a:lnTo>
                    <a:pt x="455" y="1113"/>
                  </a:lnTo>
                  <a:lnTo>
                    <a:pt x="453" y="1114"/>
                  </a:lnTo>
                  <a:lnTo>
                    <a:pt x="453" y="1115"/>
                  </a:lnTo>
                  <a:lnTo>
                    <a:pt x="452" y="1117"/>
                  </a:lnTo>
                  <a:lnTo>
                    <a:pt x="452" y="1120"/>
                  </a:lnTo>
                  <a:lnTo>
                    <a:pt x="453" y="1121"/>
                  </a:lnTo>
                  <a:lnTo>
                    <a:pt x="461" y="1127"/>
                  </a:lnTo>
                  <a:lnTo>
                    <a:pt x="465" y="1136"/>
                  </a:lnTo>
                  <a:lnTo>
                    <a:pt x="462" y="1142"/>
                  </a:lnTo>
                  <a:lnTo>
                    <a:pt x="461" y="1142"/>
                  </a:lnTo>
                  <a:lnTo>
                    <a:pt x="459" y="1142"/>
                  </a:lnTo>
                  <a:lnTo>
                    <a:pt x="455" y="1137"/>
                  </a:lnTo>
                  <a:lnTo>
                    <a:pt x="453" y="1137"/>
                  </a:lnTo>
                  <a:lnTo>
                    <a:pt x="452" y="1139"/>
                  </a:lnTo>
                  <a:lnTo>
                    <a:pt x="452" y="1140"/>
                  </a:lnTo>
                  <a:lnTo>
                    <a:pt x="453" y="1143"/>
                  </a:lnTo>
                  <a:lnTo>
                    <a:pt x="459" y="1149"/>
                  </a:lnTo>
                  <a:lnTo>
                    <a:pt x="461" y="1152"/>
                  </a:lnTo>
                  <a:lnTo>
                    <a:pt x="462" y="1155"/>
                  </a:lnTo>
                  <a:lnTo>
                    <a:pt x="463" y="1156"/>
                  </a:lnTo>
                  <a:lnTo>
                    <a:pt x="466" y="1162"/>
                  </a:lnTo>
                  <a:lnTo>
                    <a:pt x="471" y="1168"/>
                  </a:lnTo>
                  <a:lnTo>
                    <a:pt x="471" y="1171"/>
                  </a:lnTo>
                  <a:lnTo>
                    <a:pt x="471" y="1172"/>
                  </a:lnTo>
                  <a:lnTo>
                    <a:pt x="469" y="1172"/>
                  </a:lnTo>
                  <a:lnTo>
                    <a:pt x="469" y="1172"/>
                  </a:lnTo>
                  <a:lnTo>
                    <a:pt x="468" y="1172"/>
                  </a:lnTo>
                  <a:lnTo>
                    <a:pt x="466" y="1172"/>
                  </a:lnTo>
                  <a:lnTo>
                    <a:pt x="466" y="1171"/>
                  </a:lnTo>
                  <a:lnTo>
                    <a:pt x="463" y="1168"/>
                  </a:lnTo>
                  <a:lnTo>
                    <a:pt x="462" y="1166"/>
                  </a:lnTo>
                  <a:lnTo>
                    <a:pt x="462" y="1166"/>
                  </a:lnTo>
                  <a:lnTo>
                    <a:pt x="461" y="1166"/>
                  </a:lnTo>
                  <a:lnTo>
                    <a:pt x="456" y="1166"/>
                  </a:lnTo>
                  <a:lnTo>
                    <a:pt x="453" y="1166"/>
                  </a:lnTo>
                  <a:lnTo>
                    <a:pt x="450" y="1166"/>
                  </a:lnTo>
                  <a:lnTo>
                    <a:pt x="442" y="1174"/>
                  </a:lnTo>
                  <a:lnTo>
                    <a:pt x="440" y="1175"/>
                  </a:lnTo>
                  <a:lnTo>
                    <a:pt x="439" y="1175"/>
                  </a:lnTo>
                  <a:lnTo>
                    <a:pt x="434" y="1175"/>
                  </a:lnTo>
                  <a:lnTo>
                    <a:pt x="433" y="1174"/>
                  </a:lnTo>
                  <a:lnTo>
                    <a:pt x="430" y="1174"/>
                  </a:lnTo>
                  <a:lnTo>
                    <a:pt x="412" y="1174"/>
                  </a:lnTo>
                  <a:lnTo>
                    <a:pt x="411" y="1175"/>
                  </a:lnTo>
                  <a:lnTo>
                    <a:pt x="411" y="1175"/>
                  </a:lnTo>
                  <a:lnTo>
                    <a:pt x="411" y="1175"/>
                  </a:lnTo>
                  <a:lnTo>
                    <a:pt x="411" y="1177"/>
                  </a:lnTo>
                  <a:lnTo>
                    <a:pt x="402" y="1185"/>
                  </a:lnTo>
                  <a:lnTo>
                    <a:pt x="401" y="1187"/>
                  </a:lnTo>
                  <a:lnTo>
                    <a:pt x="401" y="1187"/>
                  </a:lnTo>
                  <a:lnTo>
                    <a:pt x="402" y="1188"/>
                  </a:lnTo>
                  <a:lnTo>
                    <a:pt x="404" y="1190"/>
                  </a:lnTo>
                  <a:lnTo>
                    <a:pt x="405" y="1193"/>
                  </a:lnTo>
                  <a:lnTo>
                    <a:pt x="407" y="1196"/>
                  </a:lnTo>
                  <a:lnTo>
                    <a:pt x="407" y="1197"/>
                  </a:lnTo>
                  <a:lnTo>
                    <a:pt x="408" y="1200"/>
                  </a:lnTo>
                  <a:lnTo>
                    <a:pt x="407" y="1201"/>
                  </a:lnTo>
                  <a:lnTo>
                    <a:pt x="405" y="1204"/>
                  </a:lnTo>
                  <a:lnTo>
                    <a:pt x="399" y="1209"/>
                  </a:lnTo>
                  <a:lnTo>
                    <a:pt x="396" y="1210"/>
                  </a:lnTo>
                  <a:lnTo>
                    <a:pt x="395" y="1209"/>
                  </a:lnTo>
                  <a:lnTo>
                    <a:pt x="395" y="1209"/>
                  </a:lnTo>
                  <a:lnTo>
                    <a:pt x="395" y="1206"/>
                  </a:lnTo>
                  <a:lnTo>
                    <a:pt x="394" y="1204"/>
                  </a:lnTo>
                  <a:lnTo>
                    <a:pt x="392" y="1204"/>
                  </a:lnTo>
                  <a:lnTo>
                    <a:pt x="392" y="1206"/>
                  </a:lnTo>
                  <a:lnTo>
                    <a:pt x="391" y="1207"/>
                  </a:lnTo>
                  <a:lnTo>
                    <a:pt x="389" y="1213"/>
                  </a:lnTo>
                  <a:lnTo>
                    <a:pt x="389" y="1214"/>
                  </a:lnTo>
                  <a:lnTo>
                    <a:pt x="389" y="1216"/>
                  </a:lnTo>
                  <a:lnTo>
                    <a:pt x="385" y="1222"/>
                  </a:lnTo>
                  <a:lnTo>
                    <a:pt x="379" y="1229"/>
                  </a:lnTo>
                  <a:lnTo>
                    <a:pt x="375" y="1230"/>
                  </a:lnTo>
                  <a:lnTo>
                    <a:pt x="373" y="1232"/>
                  </a:lnTo>
                  <a:lnTo>
                    <a:pt x="370" y="1230"/>
                  </a:lnTo>
                  <a:lnTo>
                    <a:pt x="367" y="1230"/>
                  </a:lnTo>
                  <a:lnTo>
                    <a:pt x="363" y="1229"/>
                  </a:lnTo>
                  <a:lnTo>
                    <a:pt x="361" y="1228"/>
                  </a:lnTo>
                  <a:lnTo>
                    <a:pt x="361" y="1228"/>
                  </a:lnTo>
                  <a:lnTo>
                    <a:pt x="361" y="1226"/>
                  </a:lnTo>
                  <a:lnTo>
                    <a:pt x="360" y="1225"/>
                  </a:lnTo>
                  <a:lnTo>
                    <a:pt x="361" y="1220"/>
                  </a:lnTo>
                  <a:lnTo>
                    <a:pt x="361" y="1217"/>
                  </a:lnTo>
                  <a:lnTo>
                    <a:pt x="361" y="1217"/>
                  </a:lnTo>
                  <a:lnTo>
                    <a:pt x="363" y="1216"/>
                  </a:lnTo>
                  <a:lnTo>
                    <a:pt x="363" y="1216"/>
                  </a:lnTo>
                  <a:lnTo>
                    <a:pt x="367" y="1214"/>
                  </a:lnTo>
                  <a:lnTo>
                    <a:pt x="367" y="1213"/>
                  </a:lnTo>
                  <a:lnTo>
                    <a:pt x="369" y="1212"/>
                  </a:lnTo>
                  <a:lnTo>
                    <a:pt x="369" y="1210"/>
                  </a:lnTo>
                  <a:lnTo>
                    <a:pt x="369" y="1209"/>
                  </a:lnTo>
                  <a:lnTo>
                    <a:pt x="367" y="1201"/>
                  </a:lnTo>
                  <a:lnTo>
                    <a:pt x="367" y="1198"/>
                  </a:lnTo>
                  <a:lnTo>
                    <a:pt x="367" y="1197"/>
                  </a:lnTo>
                  <a:lnTo>
                    <a:pt x="367" y="1194"/>
                  </a:lnTo>
                  <a:lnTo>
                    <a:pt x="367" y="1193"/>
                  </a:lnTo>
                  <a:lnTo>
                    <a:pt x="369" y="1191"/>
                  </a:lnTo>
                  <a:lnTo>
                    <a:pt x="375" y="1185"/>
                  </a:lnTo>
                  <a:lnTo>
                    <a:pt x="375" y="1184"/>
                  </a:lnTo>
                  <a:lnTo>
                    <a:pt x="376" y="1184"/>
                  </a:lnTo>
                  <a:lnTo>
                    <a:pt x="379" y="1187"/>
                  </a:lnTo>
                  <a:lnTo>
                    <a:pt x="379" y="1188"/>
                  </a:lnTo>
                  <a:lnTo>
                    <a:pt x="382" y="1190"/>
                  </a:lnTo>
                  <a:lnTo>
                    <a:pt x="383" y="1190"/>
                  </a:lnTo>
                  <a:lnTo>
                    <a:pt x="383" y="1190"/>
                  </a:lnTo>
                  <a:lnTo>
                    <a:pt x="386" y="1185"/>
                  </a:lnTo>
                  <a:lnTo>
                    <a:pt x="388" y="1184"/>
                  </a:lnTo>
                  <a:lnTo>
                    <a:pt x="389" y="1181"/>
                  </a:lnTo>
                  <a:lnTo>
                    <a:pt x="389" y="1179"/>
                  </a:lnTo>
                  <a:lnTo>
                    <a:pt x="389" y="1178"/>
                  </a:lnTo>
                  <a:lnTo>
                    <a:pt x="389" y="1177"/>
                  </a:lnTo>
                  <a:lnTo>
                    <a:pt x="389" y="1177"/>
                  </a:lnTo>
                  <a:lnTo>
                    <a:pt x="389" y="1175"/>
                  </a:lnTo>
                  <a:lnTo>
                    <a:pt x="389" y="1174"/>
                  </a:lnTo>
                  <a:lnTo>
                    <a:pt x="372" y="1175"/>
                  </a:lnTo>
                  <a:lnTo>
                    <a:pt x="367" y="1175"/>
                  </a:lnTo>
                  <a:lnTo>
                    <a:pt x="366" y="1174"/>
                  </a:lnTo>
                  <a:lnTo>
                    <a:pt x="364" y="1172"/>
                  </a:lnTo>
                  <a:lnTo>
                    <a:pt x="364" y="1172"/>
                  </a:lnTo>
                  <a:lnTo>
                    <a:pt x="363" y="1166"/>
                  </a:lnTo>
                  <a:lnTo>
                    <a:pt x="361" y="1165"/>
                  </a:lnTo>
                  <a:lnTo>
                    <a:pt x="360" y="1163"/>
                  </a:lnTo>
                  <a:lnTo>
                    <a:pt x="359" y="1163"/>
                  </a:lnTo>
                  <a:lnTo>
                    <a:pt x="351" y="1165"/>
                  </a:lnTo>
                  <a:lnTo>
                    <a:pt x="345" y="1163"/>
                  </a:lnTo>
                  <a:lnTo>
                    <a:pt x="338" y="1161"/>
                  </a:lnTo>
                  <a:lnTo>
                    <a:pt x="328" y="1153"/>
                  </a:lnTo>
                  <a:lnTo>
                    <a:pt x="327" y="1152"/>
                  </a:lnTo>
                  <a:lnTo>
                    <a:pt x="325" y="1150"/>
                  </a:lnTo>
                  <a:lnTo>
                    <a:pt x="325" y="1149"/>
                  </a:lnTo>
                  <a:lnTo>
                    <a:pt x="324" y="1147"/>
                  </a:lnTo>
                  <a:lnTo>
                    <a:pt x="319" y="1137"/>
                  </a:lnTo>
                  <a:lnTo>
                    <a:pt x="318" y="1131"/>
                  </a:lnTo>
                  <a:lnTo>
                    <a:pt x="318" y="1130"/>
                  </a:lnTo>
                  <a:lnTo>
                    <a:pt x="318" y="1130"/>
                  </a:lnTo>
                  <a:lnTo>
                    <a:pt x="319" y="1129"/>
                  </a:lnTo>
                  <a:lnTo>
                    <a:pt x="319" y="1127"/>
                  </a:lnTo>
                  <a:lnTo>
                    <a:pt x="319" y="1126"/>
                  </a:lnTo>
                  <a:lnTo>
                    <a:pt x="319" y="1124"/>
                  </a:lnTo>
                  <a:lnTo>
                    <a:pt x="319" y="1121"/>
                  </a:lnTo>
                  <a:lnTo>
                    <a:pt x="316" y="1117"/>
                  </a:lnTo>
                  <a:lnTo>
                    <a:pt x="315" y="1115"/>
                  </a:lnTo>
                  <a:lnTo>
                    <a:pt x="315" y="1111"/>
                  </a:lnTo>
                  <a:lnTo>
                    <a:pt x="313" y="1111"/>
                  </a:lnTo>
                  <a:lnTo>
                    <a:pt x="312" y="1111"/>
                  </a:lnTo>
                  <a:lnTo>
                    <a:pt x="289" y="1117"/>
                  </a:lnTo>
                  <a:lnTo>
                    <a:pt x="287" y="1117"/>
                  </a:lnTo>
                  <a:lnTo>
                    <a:pt x="287" y="1118"/>
                  </a:lnTo>
                  <a:lnTo>
                    <a:pt x="287" y="1120"/>
                  </a:lnTo>
                  <a:lnTo>
                    <a:pt x="289" y="1130"/>
                  </a:lnTo>
                  <a:lnTo>
                    <a:pt x="289" y="1131"/>
                  </a:lnTo>
                  <a:lnTo>
                    <a:pt x="293" y="1145"/>
                  </a:lnTo>
                  <a:lnTo>
                    <a:pt x="293" y="1147"/>
                  </a:lnTo>
                  <a:lnTo>
                    <a:pt x="293" y="1150"/>
                  </a:lnTo>
                  <a:lnTo>
                    <a:pt x="293" y="1152"/>
                  </a:lnTo>
                  <a:lnTo>
                    <a:pt x="293" y="1152"/>
                  </a:lnTo>
                  <a:lnTo>
                    <a:pt x="293" y="1153"/>
                  </a:lnTo>
                  <a:lnTo>
                    <a:pt x="292" y="1155"/>
                  </a:lnTo>
                  <a:lnTo>
                    <a:pt x="290" y="1155"/>
                  </a:lnTo>
                  <a:lnTo>
                    <a:pt x="286" y="1156"/>
                  </a:lnTo>
                  <a:lnTo>
                    <a:pt x="286" y="1158"/>
                  </a:lnTo>
                  <a:lnTo>
                    <a:pt x="284" y="1158"/>
                  </a:lnTo>
                  <a:lnTo>
                    <a:pt x="283" y="1159"/>
                  </a:lnTo>
                  <a:lnTo>
                    <a:pt x="276" y="1162"/>
                  </a:lnTo>
                  <a:lnTo>
                    <a:pt x="252" y="1137"/>
                  </a:lnTo>
                  <a:lnTo>
                    <a:pt x="243" y="1130"/>
                  </a:lnTo>
                  <a:lnTo>
                    <a:pt x="239" y="1129"/>
                  </a:lnTo>
                  <a:lnTo>
                    <a:pt x="238" y="1129"/>
                  </a:lnTo>
                  <a:lnTo>
                    <a:pt x="235" y="1129"/>
                  </a:lnTo>
                  <a:lnTo>
                    <a:pt x="225" y="1134"/>
                  </a:lnTo>
                  <a:lnTo>
                    <a:pt x="219" y="1117"/>
                  </a:lnTo>
                  <a:lnTo>
                    <a:pt x="210" y="1101"/>
                  </a:lnTo>
                  <a:lnTo>
                    <a:pt x="204" y="1088"/>
                  </a:lnTo>
                  <a:lnTo>
                    <a:pt x="206" y="1075"/>
                  </a:lnTo>
                  <a:lnTo>
                    <a:pt x="211" y="1064"/>
                  </a:lnTo>
                  <a:lnTo>
                    <a:pt x="220" y="1057"/>
                  </a:lnTo>
                  <a:lnTo>
                    <a:pt x="232" y="1056"/>
                  </a:lnTo>
                  <a:lnTo>
                    <a:pt x="239" y="1046"/>
                  </a:lnTo>
                  <a:lnTo>
                    <a:pt x="243" y="1038"/>
                  </a:lnTo>
                  <a:lnTo>
                    <a:pt x="245" y="1034"/>
                  </a:lnTo>
                  <a:lnTo>
                    <a:pt x="239" y="1031"/>
                  </a:lnTo>
                  <a:lnTo>
                    <a:pt x="233" y="1032"/>
                  </a:lnTo>
                  <a:lnTo>
                    <a:pt x="226" y="1034"/>
                  </a:lnTo>
                  <a:lnTo>
                    <a:pt x="223" y="1028"/>
                  </a:lnTo>
                  <a:lnTo>
                    <a:pt x="223" y="1024"/>
                  </a:lnTo>
                  <a:lnTo>
                    <a:pt x="222" y="1019"/>
                  </a:lnTo>
                  <a:lnTo>
                    <a:pt x="214" y="1008"/>
                  </a:lnTo>
                  <a:lnTo>
                    <a:pt x="213" y="1003"/>
                  </a:lnTo>
                  <a:lnTo>
                    <a:pt x="213" y="999"/>
                  </a:lnTo>
                  <a:lnTo>
                    <a:pt x="211" y="993"/>
                  </a:lnTo>
                  <a:lnTo>
                    <a:pt x="209" y="986"/>
                  </a:lnTo>
                  <a:lnTo>
                    <a:pt x="200" y="974"/>
                  </a:lnTo>
                  <a:lnTo>
                    <a:pt x="197" y="967"/>
                  </a:lnTo>
                  <a:lnTo>
                    <a:pt x="203" y="948"/>
                  </a:lnTo>
                  <a:lnTo>
                    <a:pt x="195" y="931"/>
                  </a:lnTo>
                  <a:lnTo>
                    <a:pt x="159" y="888"/>
                  </a:lnTo>
                  <a:lnTo>
                    <a:pt x="153" y="884"/>
                  </a:lnTo>
                  <a:lnTo>
                    <a:pt x="149" y="884"/>
                  </a:lnTo>
                  <a:lnTo>
                    <a:pt x="140" y="884"/>
                  </a:lnTo>
                  <a:lnTo>
                    <a:pt x="96" y="898"/>
                  </a:lnTo>
                  <a:lnTo>
                    <a:pt x="82" y="909"/>
                  </a:lnTo>
                  <a:lnTo>
                    <a:pt x="66" y="917"/>
                  </a:lnTo>
                  <a:lnTo>
                    <a:pt x="51" y="922"/>
                  </a:lnTo>
                  <a:lnTo>
                    <a:pt x="37" y="923"/>
                  </a:lnTo>
                  <a:lnTo>
                    <a:pt x="31" y="913"/>
                  </a:lnTo>
                  <a:lnTo>
                    <a:pt x="29" y="907"/>
                  </a:lnTo>
                  <a:lnTo>
                    <a:pt x="26" y="903"/>
                  </a:lnTo>
                  <a:lnTo>
                    <a:pt x="5" y="882"/>
                  </a:lnTo>
                  <a:lnTo>
                    <a:pt x="0" y="881"/>
                  </a:lnTo>
                  <a:lnTo>
                    <a:pt x="0" y="880"/>
                  </a:lnTo>
                  <a:lnTo>
                    <a:pt x="13" y="869"/>
                  </a:lnTo>
                  <a:lnTo>
                    <a:pt x="19" y="865"/>
                  </a:lnTo>
                  <a:lnTo>
                    <a:pt x="23" y="862"/>
                  </a:lnTo>
                  <a:lnTo>
                    <a:pt x="25" y="861"/>
                  </a:lnTo>
                  <a:lnTo>
                    <a:pt x="25" y="856"/>
                  </a:lnTo>
                  <a:lnTo>
                    <a:pt x="25" y="853"/>
                  </a:lnTo>
                  <a:lnTo>
                    <a:pt x="26" y="850"/>
                  </a:lnTo>
                  <a:lnTo>
                    <a:pt x="28" y="846"/>
                  </a:lnTo>
                  <a:lnTo>
                    <a:pt x="31" y="845"/>
                  </a:lnTo>
                  <a:lnTo>
                    <a:pt x="32" y="843"/>
                  </a:lnTo>
                  <a:lnTo>
                    <a:pt x="34" y="845"/>
                  </a:lnTo>
                  <a:lnTo>
                    <a:pt x="35" y="845"/>
                  </a:lnTo>
                  <a:lnTo>
                    <a:pt x="37" y="845"/>
                  </a:lnTo>
                  <a:lnTo>
                    <a:pt x="40" y="843"/>
                  </a:lnTo>
                  <a:lnTo>
                    <a:pt x="42" y="843"/>
                  </a:lnTo>
                  <a:lnTo>
                    <a:pt x="42" y="843"/>
                  </a:lnTo>
                  <a:lnTo>
                    <a:pt x="44" y="845"/>
                  </a:lnTo>
                  <a:lnTo>
                    <a:pt x="47" y="846"/>
                  </a:lnTo>
                  <a:lnTo>
                    <a:pt x="47" y="848"/>
                  </a:lnTo>
                  <a:lnTo>
                    <a:pt x="48" y="849"/>
                  </a:lnTo>
                  <a:lnTo>
                    <a:pt x="51" y="850"/>
                  </a:lnTo>
                  <a:lnTo>
                    <a:pt x="51" y="849"/>
                  </a:lnTo>
                  <a:lnTo>
                    <a:pt x="53" y="848"/>
                  </a:lnTo>
                  <a:lnTo>
                    <a:pt x="53" y="846"/>
                  </a:lnTo>
                  <a:lnTo>
                    <a:pt x="53" y="845"/>
                  </a:lnTo>
                  <a:lnTo>
                    <a:pt x="53" y="842"/>
                  </a:lnTo>
                  <a:lnTo>
                    <a:pt x="54" y="837"/>
                  </a:lnTo>
                  <a:lnTo>
                    <a:pt x="56" y="836"/>
                  </a:lnTo>
                  <a:lnTo>
                    <a:pt x="56" y="834"/>
                  </a:lnTo>
                  <a:lnTo>
                    <a:pt x="54" y="833"/>
                  </a:lnTo>
                  <a:lnTo>
                    <a:pt x="53" y="833"/>
                  </a:lnTo>
                  <a:lnTo>
                    <a:pt x="47" y="829"/>
                  </a:lnTo>
                  <a:lnTo>
                    <a:pt x="45" y="829"/>
                  </a:lnTo>
                  <a:lnTo>
                    <a:pt x="44" y="826"/>
                  </a:lnTo>
                  <a:lnTo>
                    <a:pt x="42" y="824"/>
                  </a:lnTo>
                  <a:lnTo>
                    <a:pt x="42" y="821"/>
                  </a:lnTo>
                  <a:lnTo>
                    <a:pt x="44" y="815"/>
                  </a:lnTo>
                  <a:lnTo>
                    <a:pt x="48" y="807"/>
                  </a:lnTo>
                  <a:lnTo>
                    <a:pt x="50" y="802"/>
                  </a:lnTo>
                  <a:lnTo>
                    <a:pt x="53" y="799"/>
                  </a:lnTo>
                  <a:lnTo>
                    <a:pt x="58" y="798"/>
                  </a:lnTo>
                  <a:lnTo>
                    <a:pt x="63" y="794"/>
                  </a:lnTo>
                  <a:lnTo>
                    <a:pt x="72" y="789"/>
                  </a:lnTo>
                  <a:lnTo>
                    <a:pt x="74" y="786"/>
                  </a:lnTo>
                  <a:lnTo>
                    <a:pt x="76" y="785"/>
                  </a:lnTo>
                  <a:lnTo>
                    <a:pt x="77" y="785"/>
                  </a:lnTo>
                  <a:lnTo>
                    <a:pt x="77" y="785"/>
                  </a:lnTo>
                  <a:lnTo>
                    <a:pt x="79" y="786"/>
                  </a:lnTo>
                  <a:lnTo>
                    <a:pt x="80" y="788"/>
                  </a:lnTo>
                  <a:lnTo>
                    <a:pt x="82" y="789"/>
                  </a:lnTo>
                  <a:lnTo>
                    <a:pt x="83" y="791"/>
                  </a:lnTo>
                  <a:lnTo>
                    <a:pt x="85" y="791"/>
                  </a:lnTo>
                  <a:lnTo>
                    <a:pt x="88" y="792"/>
                  </a:lnTo>
                  <a:lnTo>
                    <a:pt x="89" y="791"/>
                  </a:lnTo>
                  <a:lnTo>
                    <a:pt x="89" y="788"/>
                  </a:lnTo>
                  <a:lnTo>
                    <a:pt x="93" y="782"/>
                  </a:lnTo>
                  <a:lnTo>
                    <a:pt x="95" y="781"/>
                  </a:lnTo>
                  <a:lnTo>
                    <a:pt x="93" y="779"/>
                  </a:lnTo>
                  <a:lnTo>
                    <a:pt x="91" y="775"/>
                  </a:lnTo>
                  <a:lnTo>
                    <a:pt x="91" y="775"/>
                  </a:lnTo>
                  <a:lnTo>
                    <a:pt x="91" y="772"/>
                  </a:lnTo>
                  <a:lnTo>
                    <a:pt x="92" y="769"/>
                  </a:lnTo>
                  <a:lnTo>
                    <a:pt x="93" y="766"/>
                  </a:lnTo>
                  <a:lnTo>
                    <a:pt x="95" y="766"/>
                  </a:lnTo>
                  <a:lnTo>
                    <a:pt x="112" y="766"/>
                  </a:lnTo>
                  <a:lnTo>
                    <a:pt x="118" y="765"/>
                  </a:lnTo>
                  <a:lnTo>
                    <a:pt x="120" y="765"/>
                  </a:lnTo>
                  <a:lnTo>
                    <a:pt x="121" y="763"/>
                  </a:lnTo>
                  <a:lnTo>
                    <a:pt x="121" y="762"/>
                  </a:lnTo>
                  <a:lnTo>
                    <a:pt x="121" y="760"/>
                  </a:lnTo>
                  <a:lnTo>
                    <a:pt x="121" y="759"/>
                  </a:lnTo>
                  <a:lnTo>
                    <a:pt x="121" y="757"/>
                  </a:lnTo>
                  <a:lnTo>
                    <a:pt x="120" y="754"/>
                  </a:lnTo>
                  <a:lnTo>
                    <a:pt x="117" y="740"/>
                  </a:lnTo>
                  <a:lnTo>
                    <a:pt x="114" y="735"/>
                  </a:lnTo>
                  <a:lnTo>
                    <a:pt x="114" y="735"/>
                  </a:lnTo>
                  <a:lnTo>
                    <a:pt x="109" y="733"/>
                  </a:lnTo>
                  <a:lnTo>
                    <a:pt x="107" y="730"/>
                  </a:lnTo>
                  <a:lnTo>
                    <a:pt x="105" y="725"/>
                  </a:lnTo>
                  <a:lnTo>
                    <a:pt x="98" y="711"/>
                  </a:lnTo>
                  <a:lnTo>
                    <a:pt x="96" y="708"/>
                  </a:lnTo>
                  <a:lnTo>
                    <a:pt x="91" y="705"/>
                  </a:lnTo>
                  <a:lnTo>
                    <a:pt x="89" y="703"/>
                  </a:lnTo>
                  <a:lnTo>
                    <a:pt x="89" y="702"/>
                  </a:lnTo>
                  <a:lnTo>
                    <a:pt x="89" y="699"/>
                  </a:lnTo>
                  <a:lnTo>
                    <a:pt x="88" y="698"/>
                  </a:lnTo>
                  <a:lnTo>
                    <a:pt x="86" y="698"/>
                  </a:lnTo>
                  <a:lnTo>
                    <a:pt x="72" y="695"/>
                  </a:lnTo>
                  <a:lnTo>
                    <a:pt x="70" y="693"/>
                  </a:lnTo>
                  <a:lnTo>
                    <a:pt x="70" y="692"/>
                  </a:lnTo>
                  <a:lnTo>
                    <a:pt x="70" y="689"/>
                  </a:lnTo>
                  <a:lnTo>
                    <a:pt x="74" y="686"/>
                  </a:lnTo>
                  <a:lnTo>
                    <a:pt x="76" y="680"/>
                  </a:lnTo>
                  <a:lnTo>
                    <a:pt x="77" y="674"/>
                  </a:lnTo>
                  <a:lnTo>
                    <a:pt x="79" y="670"/>
                  </a:lnTo>
                  <a:lnTo>
                    <a:pt x="85" y="664"/>
                  </a:lnTo>
                  <a:lnTo>
                    <a:pt x="85" y="663"/>
                  </a:lnTo>
                  <a:lnTo>
                    <a:pt x="86" y="663"/>
                  </a:lnTo>
                  <a:lnTo>
                    <a:pt x="85" y="661"/>
                  </a:lnTo>
                  <a:lnTo>
                    <a:pt x="82" y="660"/>
                  </a:lnTo>
                  <a:lnTo>
                    <a:pt x="80" y="658"/>
                  </a:lnTo>
                  <a:lnTo>
                    <a:pt x="80" y="658"/>
                  </a:lnTo>
                  <a:lnTo>
                    <a:pt x="79" y="657"/>
                  </a:lnTo>
                  <a:lnTo>
                    <a:pt x="79" y="655"/>
                  </a:lnTo>
                  <a:lnTo>
                    <a:pt x="79" y="652"/>
                  </a:lnTo>
                  <a:lnTo>
                    <a:pt x="79" y="651"/>
                  </a:lnTo>
                  <a:lnTo>
                    <a:pt x="79" y="651"/>
                  </a:lnTo>
                  <a:lnTo>
                    <a:pt x="79" y="632"/>
                  </a:lnTo>
                  <a:lnTo>
                    <a:pt x="80" y="628"/>
                  </a:lnTo>
                  <a:lnTo>
                    <a:pt x="80" y="626"/>
                  </a:lnTo>
                  <a:lnTo>
                    <a:pt x="82" y="625"/>
                  </a:lnTo>
                  <a:lnTo>
                    <a:pt x="85" y="623"/>
                  </a:lnTo>
                  <a:lnTo>
                    <a:pt x="86" y="622"/>
                  </a:lnTo>
                  <a:lnTo>
                    <a:pt x="91" y="617"/>
                  </a:lnTo>
                  <a:lnTo>
                    <a:pt x="92" y="615"/>
                  </a:lnTo>
                  <a:lnTo>
                    <a:pt x="93" y="613"/>
                  </a:lnTo>
                  <a:lnTo>
                    <a:pt x="98" y="612"/>
                  </a:lnTo>
                  <a:lnTo>
                    <a:pt x="101" y="612"/>
                  </a:lnTo>
                  <a:lnTo>
                    <a:pt x="102" y="612"/>
                  </a:lnTo>
                  <a:lnTo>
                    <a:pt x="104" y="613"/>
                  </a:lnTo>
                  <a:lnTo>
                    <a:pt x="109" y="620"/>
                  </a:lnTo>
                  <a:lnTo>
                    <a:pt x="111" y="622"/>
                  </a:lnTo>
                  <a:lnTo>
                    <a:pt x="111" y="622"/>
                  </a:lnTo>
                  <a:lnTo>
                    <a:pt x="115" y="623"/>
                  </a:lnTo>
                  <a:lnTo>
                    <a:pt x="117" y="623"/>
                  </a:lnTo>
                  <a:lnTo>
                    <a:pt x="117" y="622"/>
                  </a:lnTo>
                  <a:lnTo>
                    <a:pt x="118" y="622"/>
                  </a:lnTo>
                  <a:lnTo>
                    <a:pt x="124" y="617"/>
                  </a:lnTo>
                  <a:lnTo>
                    <a:pt x="125" y="616"/>
                  </a:lnTo>
                  <a:lnTo>
                    <a:pt x="127" y="615"/>
                  </a:lnTo>
                  <a:lnTo>
                    <a:pt x="127" y="613"/>
                  </a:lnTo>
                  <a:lnTo>
                    <a:pt x="133" y="600"/>
                  </a:lnTo>
                  <a:lnTo>
                    <a:pt x="136" y="591"/>
                  </a:lnTo>
                  <a:lnTo>
                    <a:pt x="134" y="590"/>
                  </a:lnTo>
                  <a:lnTo>
                    <a:pt x="134" y="588"/>
                  </a:lnTo>
                  <a:lnTo>
                    <a:pt x="131" y="587"/>
                  </a:lnTo>
                  <a:lnTo>
                    <a:pt x="130" y="584"/>
                  </a:lnTo>
                  <a:lnTo>
                    <a:pt x="128" y="581"/>
                  </a:lnTo>
                  <a:lnTo>
                    <a:pt x="128" y="574"/>
                  </a:lnTo>
                  <a:lnTo>
                    <a:pt x="125" y="568"/>
                  </a:lnTo>
                  <a:lnTo>
                    <a:pt x="121" y="558"/>
                  </a:lnTo>
                  <a:lnTo>
                    <a:pt x="121" y="556"/>
                  </a:lnTo>
                  <a:lnTo>
                    <a:pt x="121" y="553"/>
                  </a:lnTo>
                  <a:lnTo>
                    <a:pt x="121" y="552"/>
                  </a:lnTo>
                  <a:lnTo>
                    <a:pt x="123" y="549"/>
                  </a:lnTo>
                  <a:lnTo>
                    <a:pt x="124" y="546"/>
                  </a:lnTo>
                  <a:lnTo>
                    <a:pt x="125" y="537"/>
                  </a:lnTo>
                  <a:lnTo>
                    <a:pt x="128" y="530"/>
                  </a:lnTo>
                  <a:lnTo>
                    <a:pt x="130" y="529"/>
                  </a:lnTo>
                  <a:lnTo>
                    <a:pt x="131" y="527"/>
                  </a:lnTo>
                  <a:lnTo>
                    <a:pt x="136" y="526"/>
                  </a:lnTo>
                  <a:lnTo>
                    <a:pt x="136" y="526"/>
                  </a:lnTo>
                  <a:lnTo>
                    <a:pt x="137" y="524"/>
                  </a:lnTo>
                  <a:lnTo>
                    <a:pt x="139" y="520"/>
                  </a:lnTo>
                  <a:lnTo>
                    <a:pt x="140" y="505"/>
                  </a:lnTo>
                  <a:lnTo>
                    <a:pt x="140" y="504"/>
                  </a:lnTo>
                  <a:lnTo>
                    <a:pt x="140" y="504"/>
                  </a:lnTo>
                  <a:lnTo>
                    <a:pt x="139" y="502"/>
                  </a:lnTo>
                  <a:lnTo>
                    <a:pt x="139" y="501"/>
                  </a:lnTo>
                  <a:lnTo>
                    <a:pt x="137" y="500"/>
                  </a:lnTo>
                  <a:lnTo>
                    <a:pt x="130" y="494"/>
                  </a:lnTo>
                  <a:lnTo>
                    <a:pt x="128" y="494"/>
                  </a:lnTo>
                  <a:lnTo>
                    <a:pt x="128" y="492"/>
                  </a:lnTo>
                  <a:lnTo>
                    <a:pt x="128" y="492"/>
                  </a:lnTo>
                  <a:lnTo>
                    <a:pt x="128" y="491"/>
                  </a:lnTo>
                  <a:lnTo>
                    <a:pt x="128" y="489"/>
                  </a:lnTo>
                  <a:lnTo>
                    <a:pt x="128" y="489"/>
                  </a:lnTo>
                  <a:lnTo>
                    <a:pt x="127" y="488"/>
                  </a:lnTo>
                  <a:lnTo>
                    <a:pt x="127" y="488"/>
                  </a:lnTo>
                  <a:lnTo>
                    <a:pt x="125" y="488"/>
                  </a:lnTo>
                  <a:lnTo>
                    <a:pt x="125" y="486"/>
                  </a:lnTo>
                  <a:lnTo>
                    <a:pt x="125" y="486"/>
                  </a:lnTo>
                  <a:lnTo>
                    <a:pt x="125" y="485"/>
                  </a:lnTo>
                  <a:lnTo>
                    <a:pt x="125" y="485"/>
                  </a:lnTo>
                  <a:lnTo>
                    <a:pt x="125" y="484"/>
                  </a:lnTo>
                  <a:lnTo>
                    <a:pt x="127" y="482"/>
                  </a:lnTo>
                  <a:lnTo>
                    <a:pt x="144" y="468"/>
                  </a:lnTo>
                  <a:lnTo>
                    <a:pt x="146" y="460"/>
                  </a:lnTo>
                  <a:lnTo>
                    <a:pt x="147" y="459"/>
                  </a:lnTo>
                  <a:lnTo>
                    <a:pt x="147" y="459"/>
                  </a:lnTo>
                  <a:lnTo>
                    <a:pt x="155" y="454"/>
                  </a:lnTo>
                  <a:lnTo>
                    <a:pt x="155" y="453"/>
                  </a:lnTo>
                  <a:lnTo>
                    <a:pt x="156" y="450"/>
                  </a:lnTo>
                  <a:lnTo>
                    <a:pt x="158" y="450"/>
                  </a:lnTo>
                  <a:lnTo>
                    <a:pt x="172" y="435"/>
                  </a:lnTo>
                  <a:lnTo>
                    <a:pt x="176" y="431"/>
                  </a:lnTo>
                  <a:lnTo>
                    <a:pt x="178" y="430"/>
                  </a:lnTo>
                  <a:lnTo>
                    <a:pt x="179" y="430"/>
                  </a:lnTo>
                  <a:lnTo>
                    <a:pt x="184" y="430"/>
                  </a:lnTo>
                  <a:lnTo>
                    <a:pt x="184" y="430"/>
                  </a:lnTo>
                  <a:lnTo>
                    <a:pt x="185" y="431"/>
                  </a:lnTo>
                  <a:lnTo>
                    <a:pt x="188" y="438"/>
                  </a:lnTo>
                  <a:lnTo>
                    <a:pt x="191" y="440"/>
                  </a:lnTo>
                  <a:lnTo>
                    <a:pt x="195" y="441"/>
                  </a:lnTo>
                  <a:lnTo>
                    <a:pt x="201" y="440"/>
                  </a:lnTo>
                  <a:lnTo>
                    <a:pt x="206" y="440"/>
                  </a:lnTo>
                  <a:lnTo>
                    <a:pt x="207" y="438"/>
                  </a:lnTo>
                  <a:lnTo>
                    <a:pt x="209" y="438"/>
                  </a:lnTo>
                  <a:lnTo>
                    <a:pt x="216" y="433"/>
                  </a:lnTo>
                  <a:lnTo>
                    <a:pt x="217" y="431"/>
                  </a:lnTo>
                  <a:lnTo>
                    <a:pt x="217" y="430"/>
                  </a:lnTo>
                  <a:lnTo>
                    <a:pt x="217" y="427"/>
                  </a:lnTo>
                  <a:lnTo>
                    <a:pt x="217" y="425"/>
                  </a:lnTo>
                  <a:lnTo>
                    <a:pt x="219" y="422"/>
                  </a:lnTo>
                  <a:lnTo>
                    <a:pt x="227" y="414"/>
                  </a:lnTo>
                  <a:lnTo>
                    <a:pt x="233" y="409"/>
                  </a:lnTo>
                  <a:lnTo>
                    <a:pt x="235" y="409"/>
                  </a:lnTo>
                  <a:lnTo>
                    <a:pt x="239" y="411"/>
                  </a:lnTo>
                  <a:lnTo>
                    <a:pt x="241" y="411"/>
                  </a:lnTo>
                  <a:lnTo>
                    <a:pt x="241" y="409"/>
                  </a:lnTo>
                  <a:lnTo>
                    <a:pt x="242" y="408"/>
                  </a:lnTo>
                  <a:lnTo>
                    <a:pt x="242" y="399"/>
                  </a:lnTo>
                  <a:lnTo>
                    <a:pt x="242" y="396"/>
                  </a:lnTo>
                  <a:lnTo>
                    <a:pt x="242" y="395"/>
                  </a:lnTo>
                  <a:lnTo>
                    <a:pt x="245" y="389"/>
                  </a:lnTo>
                  <a:lnTo>
                    <a:pt x="249" y="379"/>
                  </a:lnTo>
                  <a:lnTo>
                    <a:pt x="252" y="376"/>
                  </a:lnTo>
                  <a:lnTo>
                    <a:pt x="255" y="376"/>
                  </a:lnTo>
                  <a:lnTo>
                    <a:pt x="255" y="374"/>
                  </a:lnTo>
                  <a:lnTo>
                    <a:pt x="257" y="374"/>
                  </a:lnTo>
                  <a:lnTo>
                    <a:pt x="257" y="374"/>
                  </a:lnTo>
                  <a:lnTo>
                    <a:pt x="257" y="373"/>
                  </a:lnTo>
                  <a:lnTo>
                    <a:pt x="258" y="370"/>
                  </a:lnTo>
                  <a:lnTo>
                    <a:pt x="260" y="367"/>
                  </a:lnTo>
                  <a:lnTo>
                    <a:pt x="261" y="364"/>
                  </a:lnTo>
                  <a:lnTo>
                    <a:pt x="262" y="361"/>
                  </a:lnTo>
                  <a:lnTo>
                    <a:pt x="262" y="361"/>
                  </a:lnTo>
                  <a:lnTo>
                    <a:pt x="267" y="357"/>
                  </a:lnTo>
                  <a:lnTo>
                    <a:pt x="268" y="352"/>
                  </a:lnTo>
                  <a:lnTo>
                    <a:pt x="268" y="350"/>
                  </a:lnTo>
                  <a:lnTo>
                    <a:pt x="268" y="347"/>
                  </a:lnTo>
                  <a:lnTo>
                    <a:pt x="265" y="339"/>
                  </a:lnTo>
                  <a:lnTo>
                    <a:pt x="265" y="336"/>
                  </a:lnTo>
                  <a:lnTo>
                    <a:pt x="265" y="332"/>
                  </a:lnTo>
                  <a:lnTo>
                    <a:pt x="267" y="331"/>
                  </a:lnTo>
                  <a:lnTo>
                    <a:pt x="265" y="329"/>
                  </a:lnTo>
                  <a:lnTo>
                    <a:pt x="265" y="326"/>
                  </a:lnTo>
                  <a:lnTo>
                    <a:pt x="262" y="322"/>
                  </a:lnTo>
                  <a:lnTo>
                    <a:pt x="261" y="319"/>
                  </a:lnTo>
                  <a:lnTo>
                    <a:pt x="260" y="318"/>
                  </a:lnTo>
                  <a:lnTo>
                    <a:pt x="261" y="312"/>
                  </a:lnTo>
                  <a:lnTo>
                    <a:pt x="297" y="312"/>
                  </a:lnTo>
                  <a:lnTo>
                    <a:pt x="308" y="315"/>
                  </a:lnTo>
                  <a:lnTo>
                    <a:pt x="309" y="315"/>
                  </a:lnTo>
                  <a:lnTo>
                    <a:pt x="309" y="315"/>
                  </a:lnTo>
                  <a:lnTo>
                    <a:pt x="310" y="315"/>
                  </a:lnTo>
                  <a:lnTo>
                    <a:pt x="315" y="310"/>
                  </a:lnTo>
                  <a:lnTo>
                    <a:pt x="324" y="306"/>
                  </a:lnTo>
                  <a:lnTo>
                    <a:pt x="325" y="304"/>
                  </a:lnTo>
                  <a:lnTo>
                    <a:pt x="325" y="303"/>
                  </a:lnTo>
                  <a:lnTo>
                    <a:pt x="325" y="302"/>
                  </a:lnTo>
                  <a:lnTo>
                    <a:pt x="324" y="300"/>
                  </a:lnTo>
                  <a:lnTo>
                    <a:pt x="321" y="294"/>
                  </a:lnTo>
                  <a:lnTo>
                    <a:pt x="321" y="294"/>
                  </a:lnTo>
                  <a:lnTo>
                    <a:pt x="321" y="293"/>
                  </a:lnTo>
                  <a:lnTo>
                    <a:pt x="321" y="293"/>
                  </a:lnTo>
                  <a:lnTo>
                    <a:pt x="321" y="291"/>
                  </a:lnTo>
                  <a:lnTo>
                    <a:pt x="322" y="290"/>
                  </a:lnTo>
                  <a:lnTo>
                    <a:pt x="328" y="281"/>
                  </a:lnTo>
                  <a:lnTo>
                    <a:pt x="340" y="268"/>
                  </a:lnTo>
                  <a:lnTo>
                    <a:pt x="340" y="267"/>
                  </a:lnTo>
                  <a:lnTo>
                    <a:pt x="341" y="265"/>
                  </a:lnTo>
                  <a:lnTo>
                    <a:pt x="341" y="262"/>
                  </a:lnTo>
                  <a:lnTo>
                    <a:pt x="341" y="261"/>
                  </a:lnTo>
                  <a:lnTo>
                    <a:pt x="340" y="258"/>
                  </a:lnTo>
                  <a:lnTo>
                    <a:pt x="340" y="255"/>
                  </a:lnTo>
                  <a:lnTo>
                    <a:pt x="340" y="255"/>
                  </a:lnTo>
                  <a:lnTo>
                    <a:pt x="340" y="253"/>
                  </a:lnTo>
                  <a:lnTo>
                    <a:pt x="338" y="248"/>
                  </a:lnTo>
                  <a:lnTo>
                    <a:pt x="338" y="245"/>
                  </a:lnTo>
                  <a:lnTo>
                    <a:pt x="335" y="236"/>
                  </a:lnTo>
                  <a:lnTo>
                    <a:pt x="335" y="235"/>
                  </a:lnTo>
                  <a:lnTo>
                    <a:pt x="335" y="233"/>
                  </a:lnTo>
                  <a:lnTo>
                    <a:pt x="334" y="226"/>
                  </a:lnTo>
                  <a:lnTo>
                    <a:pt x="334" y="226"/>
                  </a:lnTo>
                  <a:lnTo>
                    <a:pt x="332" y="224"/>
                  </a:lnTo>
                  <a:lnTo>
                    <a:pt x="329" y="223"/>
                  </a:lnTo>
                  <a:lnTo>
                    <a:pt x="329" y="223"/>
                  </a:lnTo>
                  <a:lnTo>
                    <a:pt x="329" y="223"/>
                  </a:lnTo>
                  <a:lnTo>
                    <a:pt x="329" y="221"/>
                  </a:lnTo>
                  <a:lnTo>
                    <a:pt x="331" y="217"/>
                  </a:lnTo>
                  <a:lnTo>
                    <a:pt x="331" y="217"/>
                  </a:lnTo>
                  <a:lnTo>
                    <a:pt x="331" y="216"/>
                  </a:lnTo>
                  <a:lnTo>
                    <a:pt x="331" y="216"/>
                  </a:lnTo>
                  <a:lnTo>
                    <a:pt x="329" y="214"/>
                  </a:lnTo>
                  <a:lnTo>
                    <a:pt x="329" y="214"/>
                  </a:lnTo>
                  <a:lnTo>
                    <a:pt x="328" y="214"/>
                  </a:lnTo>
                  <a:lnTo>
                    <a:pt x="327" y="214"/>
                  </a:lnTo>
                  <a:lnTo>
                    <a:pt x="325" y="216"/>
                  </a:lnTo>
                  <a:lnTo>
                    <a:pt x="318" y="220"/>
                  </a:lnTo>
                  <a:lnTo>
                    <a:pt x="310" y="223"/>
                  </a:lnTo>
                  <a:lnTo>
                    <a:pt x="303" y="223"/>
                  </a:lnTo>
                  <a:lnTo>
                    <a:pt x="302" y="224"/>
                  </a:lnTo>
                  <a:lnTo>
                    <a:pt x="300" y="224"/>
                  </a:lnTo>
                  <a:lnTo>
                    <a:pt x="300" y="224"/>
                  </a:lnTo>
                  <a:lnTo>
                    <a:pt x="300" y="226"/>
                  </a:lnTo>
                  <a:lnTo>
                    <a:pt x="297" y="229"/>
                  </a:lnTo>
                  <a:lnTo>
                    <a:pt x="297" y="230"/>
                  </a:lnTo>
                  <a:lnTo>
                    <a:pt x="296" y="230"/>
                  </a:lnTo>
                  <a:lnTo>
                    <a:pt x="296" y="232"/>
                  </a:lnTo>
                  <a:lnTo>
                    <a:pt x="293" y="232"/>
                  </a:lnTo>
                  <a:lnTo>
                    <a:pt x="290" y="230"/>
                  </a:lnTo>
                  <a:lnTo>
                    <a:pt x="289" y="230"/>
                  </a:lnTo>
                  <a:lnTo>
                    <a:pt x="289" y="229"/>
                  </a:lnTo>
                  <a:lnTo>
                    <a:pt x="287" y="229"/>
                  </a:lnTo>
                  <a:lnTo>
                    <a:pt x="287" y="227"/>
                  </a:lnTo>
                  <a:lnTo>
                    <a:pt x="287" y="227"/>
                  </a:lnTo>
                  <a:lnTo>
                    <a:pt x="287" y="226"/>
                  </a:lnTo>
                  <a:lnTo>
                    <a:pt x="286" y="223"/>
                  </a:lnTo>
                  <a:lnTo>
                    <a:pt x="286" y="223"/>
                  </a:lnTo>
                  <a:lnTo>
                    <a:pt x="286" y="221"/>
                  </a:lnTo>
                  <a:lnTo>
                    <a:pt x="284" y="220"/>
                  </a:lnTo>
                  <a:lnTo>
                    <a:pt x="283" y="219"/>
                  </a:lnTo>
                  <a:lnTo>
                    <a:pt x="280" y="217"/>
                  </a:lnTo>
                  <a:lnTo>
                    <a:pt x="280" y="217"/>
                  </a:lnTo>
                  <a:lnTo>
                    <a:pt x="280" y="216"/>
                  </a:lnTo>
                  <a:lnTo>
                    <a:pt x="280" y="216"/>
                  </a:lnTo>
                  <a:lnTo>
                    <a:pt x="278" y="214"/>
                  </a:lnTo>
                  <a:lnTo>
                    <a:pt x="280" y="213"/>
                  </a:lnTo>
                  <a:lnTo>
                    <a:pt x="280" y="211"/>
                  </a:lnTo>
                  <a:lnTo>
                    <a:pt x="284" y="204"/>
                  </a:lnTo>
                  <a:lnTo>
                    <a:pt x="286" y="200"/>
                  </a:lnTo>
                  <a:lnTo>
                    <a:pt x="293" y="191"/>
                  </a:lnTo>
                  <a:lnTo>
                    <a:pt x="305" y="179"/>
                  </a:lnTo>
                  <a:lnTo>
                    <a:pt x="305" y="178"/>
                  </a:lnTo>
                  <a:lnTo>
                    <a:pt x="306" y="176"/>
                  </a:lnTo>
                  <a:lnTo>
                    <a:pt x="306" y="175"/>
                  </a:lnTo>
                  <a:lnTo>
                    <a:pt x="306" y="175"/>
                  </a:lnTo>
                  <a:lnTo>
                    <a:pt x="306" y="173"/>
                  </a:lnTo>
                  <a:lnTo>
                    <a:pt x="309" y="170"/>
                  </a:lnTo>
                  <a:lnTo>
                    <a:pt x="313" y="169"/>
                  </a:lnTo>
                  <a:lnTo>
                    <a:pt x="315" y="165"/>
                  </a:lnTo>
                  <a:lnTo>
                    <a:pt x="315" y="165"/>
                  </a:lnTo>
                  <a:lnTo>
                    <a:pt x="316" y="163"/>
                  </a:lnTo>
                  <a:lnTo>
                    <a:pt x="318" y="163"/>
                  </a:lnTo>
                  <a:lnTo>
                    <a:pt x="324" y="162"/>
                  </a:lnTo>
                  <a:lnTo>
                    <a:pt x="332" y="157"/>
                  </a:lnTo>
                  <a:lnTo>
                    <a:pt x="334" y="157"/>
                  </a:lnTo>
                  <a:lnTo>
                    <a:pt x="340" y="157"/>
                  </a:lnTo>
                  <a:lnTo>
                    <a:pt x="347" y="156"/>
                  </a:lnTo>
                  <a:lnTo>
                    <a:pt x="356" y="153"/>
                  </a:lnTo>
                  <a:lnTo>
                    <a:pt x="360" y="153"/>
                  </a:lnTo>
                  <a:lnTo>
                    <a:pt x="361" y="153"/>
                  </a:lnTo>
                  <a:lnTo>
                    <a:pt x="364" y="153"/>
                  </a:lnTo>
                  <a:lnTo>
                    <a:pt x="366" y="153"/>
                  </a:lnTo>
                  <a:lnTo>
                    <a:pt x="367" y="154"/>
                  </a:lnTo>
                  <a:lnTo>
                    <a:pt x="375" y="156"/>
                  </a:lnTo>
                  <a:lnTo>
                    <a:pt x="376" y="156"/>
                  </a:lnTo>
                  <a:lnTo>
                    <a:pt x="376" y="156"/>
                  </a:lnTo>
                  <a:lnTo>
                    <a:pt x="378" y="156"/>
                  </a:lnTo>
                  <a:lnTo>
                    <a:pt x="386" y="150"/>
                  </a:lnTo>
                  <a:lnTo>
                    <a:pt x="389" y="149"/>
                  </a:lnTo>
                  <a:lnTo>
                    <a:pt x="404" y="147"/>
                  </a:lnTo>
                  <a:lnTo>
                    <a:pt x="405" y="146"/>
                  </a:lnTo>
                  <a:lnTo>
                    <a:pt x="407" y="144"/>
                  </a:lnTo>
                  <a:lnTo>
                    <a:pt x="408" y="140"/>
                  </a:lnTo>
                  <a:lnTo>
                    <a:pt x="410" y="137"/>
                  </a:lnTo>
                  <a:lnTo>
                    <a:pt x="410" y="136"/>
                  </a:lnTo>
                  <a:lnTo>
                    <a:pt x="408" y="134"/>
                  </a:lnTo>
                  <a:lnTo>
                    <a:pt x="407" y="133"/>
                  </a:lnTo>
                  <a:lnTo>
                    <a:pt x="407" y="133"/>
                  </a:lnTo>
                  <a:lnTo>
                    <a:pt x="399" y="131"/>
                  </a:lnTo>
                  <a:lnTo>
                    <a:pt x="398" y="131"/>
                  </a:lnTo>
                  <a:lnTo>
                    <a:pt x="398" y="131"/>
                  </a:lnTo>
                  <a:lnTo>
                    <a:pt x="398" y="130"/>
                  </a:lnTo>
                  <a:lnTo>
                    <a:pt x="398" y="128"/>
                  </a:lnTo>
                  <a:lnTo>
                    <a:pt x="398" y="124"/>
                  </a:lnTo>
                  <a:lnTo>
                    <a:pt x="398" y="122"/>
                  </a:lnTo>
                  <a:lnTo>
                    <a:pt x="396" y="117"/>
                  </a:lnTo>
                  <a:lnTo>
                    <a:pt x="396" y="115"/>
                  </a:lnTo>
                  <a:lnTo>
                    <a:pt x="395" y="112"/>
                  </a:lnTo>
                  <a:lnTo>
                    <a:pt x="395" y="112"/>
                  </a:lnTo>
                  <a:lnTo>
                    <a:pt x="392" y="108"/>
                  </a:lnTo>
                  <a:lnTo>
                    <a:pt x="392" y="106"/>
                  </a:lnTo>
                  <a:lnTo>
                    <a:pt x="391" y="105"/>
                  </a:lnTo>
                  <a:lnTo>
                    <a:pt x="391" y="104"/>
                  </a:lnTo>
                  <a:lnTo>
                    <a:pt x="392" y="102"/>
                  </a:lnTo>
                  <a:lnTo>
                    <a:pt x="392" y="101"/>
                  </a:lnTo>
                  <a:lnTo>
                    <a:pt x="392" y="99"/>
                  </a:lnTo>
                  <a:lnTo>
                    <a:pt x="394" y="98"/>
                  </a:lnTo>
                  <a:lnTo>
                    <a:pt x="412" y="89"/>
                  </a:lnTo>
                  <a:lnTo>
                    <a:pt x="427" y="85"/>
                  </a:lnTo>
                  <a:lnTo>
                    <a:pt x="431" y="82"/>
                  </a:lnTo>
                  <a:lnTo>
                    <a:pt x="434" y="83"/>
                  </a:lnTo>
                  <a:lnTo>
                    <a:pt x="437" y="85"/>
                  </a:lnTo>
                  <a:lnTo>
                    <a:pt x="445" y="89"/>
                  </a:lnTo>
                  <a:lnTo>
                    <a:pt x="449" y="92"/>
                  </a:lnTo>
                  <a:lnTo>
                    <a:pt x="450" y="92"/>
                  </a:lnTo>
                  <a:lnTo>
                    <a:pt x="452" y="92"/>
                  </a:lnTo>
                  <a:lnTo>
                    <a:pt x="453" y="92"/>
                  </a:lnTo>
                  <a:lnTo>
                    <a:pt x="453" y="93"/>
                  </a:lnTo>
                  <a:lnTo>
                    <a:pt x="456" y="96"/>
                  </a:lnTo>
                  <a:lnTo>
                    <a:pt x="456" y="102"/>
                  </a:lnTo>
                  <a:lnTo>
                    <a:pt x="456" y="104"/>
                  </a:lnTo>
                  <a:lnTo>
                    <a:pt x="456" y="104"/>
                  </a:lnTo>
                  <a:lnTo>
                    <a:pt x="456" y="109"/>
                  </a:lnTo>
                  <a:lnTo>
                    <a:pt x="456" y="109"/>
                  </a:lnTo>
                  <a:lnTo>
                    <a:pt x="456" y="111"/>
                  </a:lnTo>
                  <a:lnTo>
                    <a:pt x="458" y="114"/>
                  </a:lnTo>
                  <a:lnTo>
                    <a:pt x="465" y="118"/>
                  </a:lnTo>
                  <a:lnTo>
                    <a:pt x="477" y="121"/>
                  </a:lnTo>
                  <a:lnTo>
                    <a:pt x="479" y="121"/>
                  </a:lnTo>
                  <a:lnTo>
                    <a:pt x="481" y="121"/>
                  </a:lnTo>
                  <a:lnTo>
                    <a:pt x="494" y="111"/>
                  </a:lnTo>
                  <a:lnTo>
                    <a:pt x="496" y="111"/>
                  </a:lnTo>
                  <a:lnTo>
                    <a:pt x="500" y="111"/>
                  </a:lnTo>
                  <a:lnTo>
                    <a:pt x="500" y="111"/>
                  </a:lnTo>
                  <a:lnTo>
                    <a:pt x="501" y="109"/>
                  </a:lnTo>
                  <a:lnTo>
                    <a:pt x="501" y="108"/>
                  </a:lnTo>
                  <a:lnTo>
                    <a:pt x="503" y="106"/>
                  </a:lnTo>
                  <a:lnTo>
                    <a:pt x="503" y="105"/>
                  </a:lnTo>
                  <a:lnTo>
                    <a:pt x="503" y="104"/>
                  </a:lnTo>
                  <a:lnTo>
                    <a:pt x="503" y="102"/>
                  </a:lnTo>
                  <a:lnTo>
                    <a:pt x="503" y="101"/>
                  </a:lnTo>
                  <a:lnTo>
                    <a:pt x="503" y="99"/>
                  </a:lnTo>
                  <a:lnTo>
                    <a:pt x="503" y="98"/>
                  </a:lnTo>
                  <a:lnTo>
                    <a:pt x="504" y="96"/>
                  </a:lnTo>
                  <a:lnTo>
                    <a:pt x="504" y="95"/>
                  </a:lnTo>
                  <a:lnTo>
                    <a:pt x="506" y="93"/>
                  </a:lnTo>
                  <a:lnTo>
                    <a:pt x="507" y="90"/>
                  </a:lnTo>
                  <a:lnTo>
                    <a:pt x="514" y="88"/>
                  </a:lnTo>
                  <a:lnTo>
                    <a:pt x="517" y="86"/>
                  </a:lnTo>
                  <a:lnTo>
                    <a:pt x="520" y="83"/>
                  </a:lnTo>
                  <a:lnTo>
                    <a:pt x="525" y="80"/>
                  </a:lnTo>
                  <a:lnTo>
                    <a:pt x="529" y="77"/>
                  </a:lnTo>
                  <a:lnTo>
                    <a:pt x="530" y="76"/>
                  </a:lnTo>
                  <a:lnTo>
                    <a:pt x="532" y="74"/>
                  </a:lnTo>
                  <a:lnTo>
                    <a:pt x="533" y="70"/>
                  </a:lnTo>
                  <a:lnTo>
                    <a:pt x="535" y="67"/>
                  </a:lnTo>
                  <a:lnTo>
                    <a:pt x="536" y="64"/>
                  </a:lnTo>
                  <a:lnTo>
                    <a:pt x="539" y="61"/>
                  </a:lnTo>
                  <a:lnTo>
                    <a:pt x="542" y="60"/>
                  </a:lnTo>
                  <a:lnTo>
                    <a:pt x="544" y="57"/>
                  </a:lnTo>
                  <a:lnTo>
                    <a:pt x="545" y="53"/>
                  </a:lnTo>
                  <a:lnTo>
                    <a:pt x="546" y="50"/>
                  </a:lnTo>
                  <a:lnTo>
                    <a:pt x="546" y="48"/>
                  </a:lnTo>
                  <a:lnTo>
                    <a:pt x="546" y="48"/>
                  </a:lnTo>
                  <a:lnTo>
                    <a:pt x="546" y="45"/>
                  </a:lnTo>
                  <a:lnTo>
                    <a:pt x="548" y="42"/>
                  </a:lnTo>
                  <a:lnTo>
                    <a:pt x="548" y="41"/>
                  </a:lnTo>
                  <a:lnTo>
                    <a:pt x="549" y="37"/>
                  </a:lnTo>
                  <a:lnTo>
                    <a:pt x="549" y="37"/>
                  </a:lnTo>
                  <a:lnTo>
                    <a:pt x="549" y="35"/>
                  </a:lnTo>
                  <a:lnTo>
                    <a:pt x="549" y="35"/>
                  </a:lnTo>
                  <a:lnTo>
                    <a:pt x="549" y="34"/>
                  </a:lnTo>
                  <a:lnTo>
                    <a:pt x="549" y="34"/>
                  </a:lnTo>
                  <a:lnTo>
                    <a:pt x="545" y="31"/>
                  </a:lnTo>
                  <a:lnTo>
                    <a:pt x="544" y="29"/>
                  </a:lnTo>
                  <a:lnTo>
                    <a:pt x="542" y="28"/>
                  </a:lnTo>
                  <a:lnTo>
                    <a:pt x="542" y="28"/>
                  </a:lnTo>
                  <a:lnTo>
                    <a:pt x="544" y="26"/>
                  </a:lnTo>
                  <a:lnTo>
                    <a:pt x="546" y="25"/>
                  </a:lnTo>
                  <a:lnTo>
                    <a:pt x="571" y="16"/>
                  </a:lnTo>
                  <a:lnTo>
                    <a:pt x="574" y="13"/>
                  </a:lnTo>
                  <a:lnTo>
                    <a:pt x="580" y="5"/>
                  </a:lnTo>
                  <a:lnTo>
                    <a:pt x="583" y="6"/>
                  </a:lnTo>
                  <a:lnTo>
                    <a:pt x="589" y="0"/>
                  </a:lnTo>
                  <a:lnTo>
                    <a:pt x="595" y="0"/>
                  </a:lnTo>
                  <a:lnTo>
                    <a:pt x="596" y="2"/>
                  </a:lnTo>
                  <a:lnTo>
                    <a:pt x="597" y="3"/>
                  </a:lnTo>
                  <a:lnTo>
                    <a:pt x="597" y="6"/>
                  </a:lnTo>
                  <a:lnTo>
                    <a:pt x="597" y="7"/>
                  </a:lnTo>
                  <a:lnTo>
                    <a:pt x="597" y="9"/>
                  </a:lnTo>
                  <a:lnTo>
                    <a:pt x="597" y="10"/>
                  </a:lnTo>
                  <a:lnTo>
                    <a:pt x="597" y="12"/>
                  </a:lnTo>
                  <a:lnTo>
                    <a:pt x="599" y="13"/>
                  </a:lnTo>
                  <a:lnTo>
                    <a:pt x="600" y="15"/>
                  </a:lnTo>
                  <a:lnTo>
                    <a:pt x="603" y="15"/>
                  </a:lnTo>
                  <a:lnTo>
                    <a:pt x="608" y="16"/>
                  </a:lnTo>
                  <a:lnTo>
                    <a:pt x="611" y="15"/>
                  </a:lnTo>
                  <a:lnTo>
                    <a:pt x="612" y="15"/>
                  </a:lnTo>
                  <a:lnTo>
                    <a:pt x="612" y="13"/>
                  </a:lnTo>
                  <a:lnTo>
                    <a:pt x="614" y="12"/>
                  </a:lnTo>
                  <a:lnTo>
                    <a:pt x="615" y="10"/>
                  </a:lnTo>
                  <a:lnTo>
                    <a:pt x="616" y="9"/>
                  </a:lnTo>
                  <a:lnTo>
                    <a:pt x="618" y="9"/>
                  </a:lnTo>
                  <a:lnTo>
                    <a:pt x="619" y="9"/>
                  </a:lnTo>
                  <a:lnTo>
                    <a:pt x="619" y="10"/>
                  </a:lnTo>
                  <a:lnTo>
                    <a:pt x="621" y="12"/>
                  </a:lnTo>
                  <a:lnTo>
                    <a:pt x="622" y="15"/>
                  </a:lnTo>
                  <a:lnTo>
                    <a:pt x="627" y="16"/>
                  </a:lnTo>
                  <a:lnTo>
                    <a:pt x="630" y="16"/>
                  </a:lnTo>
                  <a:lnTo>
                    <a:pt x="632" y="16"/>
                  </a:lnTo>
                  <a:lnTo>
                    <a:pt x="637" y="16"/>
                  </a:lnTo>
                  <a:lnTo>
                    <a:pt x="641" y="15"/>
                  </a:lnTo>
                  <a:lnTo>
                    <a:pt x="643" y="13"/>
                  </a:lnTo>
                  <a:lnTo>
                    <a:pt x="643" y="15"/>
                  </a:lnTo>
                  <a:lnTo>
                    <a:pt x="644" y="18"/>
                  </a:lnTo>
                  <a:lnTo>
                    <a:pt x="644" y="21"/>
                  </a:lnTo>
                  <a:lnTo>
                    <a:pt x="646" y="22"/>
                  </a:lnTo>
                  <a:lnTo>
                    <a:pt x="653" y="25"/>
                  </a:lnTo>
                  <a:lnTo>
                    <a:pt x="654" y="26"/>
                  </a:lnTo>
                  <a:lnTo>
                    <a:pt x="654" y="29"/>
                  </a:lnTo>
                  <a:lnTo>
                    <a:pt x="656" y="34"/>
                  </a:lnTo>
                  <a:lnTo>
                    <a:pt x="659" y="39"/>
                  </a:lnTo>
                  <a:lnTo>
                    <a:pt x="664" y="47"/>
                  </a:lnTo>
                  <a:lnTo>
                    <a:pt x="662" y="53"/>
                  </a:lnTo>
                  <a:lnTo>
                    <a:pt x="660" y="54"/>
                  </a:lnTo>
                  <a:lnTo>
                    <a:pt x="659" y="54"/>
                  </a:lnTo>
                  <a:lnTo>
                    <a:pt x="650" y="47"/>
                  </a:lnTo>
                  <a:lnTo>
                    <a:pt x="650" y="47"/>
                  </a:lnTo>
                  <a:lnTo>
                    <a:pt x="648" y="47"/>
                  </a:lnTo>
                  <a:lnTo>
                    <a:pt x="648" y="47"/>
                  </a:lnTo>
                  <a:lnTo>
                    <a:pt x="647" y="47"/>
                  </a:lnTo>
                  <a:lnTo>
                    <a:pt x="647" y="48"/>
                  </a:lnTo>
                  <a:lnTo>
                    <a:pt x="647" y="50"/>
                  </a:lnTo>
                  <a:lnTo>
                    <a:pt x="647" y="53"/>
                  </a:lnTo>
                  <a:lnTo>
                    <a:pt x="651" y="58"/>
                  </a:lnTo>
                  <a:lnTo>
                    <a:pt x="650" y="58"/>
                  </a:lnTo>
                  <a:lnTo>
                    <a:pt x="650" y="60"/>
                  </a:lnTo>
                  <a:lnTo>
                    <a:pt x="648" y="60"/>
                  </a:lnTo>
                  <a:lnTo>
                    <a:pt x="647" y="60"/>
                  </a:lnTo>
                  <a:lnTo>
                    <a:pt x="646" y="60"/>
                  </a:lnTo>
                  <a:lnTo>
                    <a:pt x="643" y="58"/>
                  </a:lnTo>
                  <a:lnTo>
                    <a:pt x="641" y="58"/>
                  </a:lnTo>
                  <a:lnTo>
                    <a:pt x="641" y="60"/>
                  </a:lnTo>
                  <a:lnTo>
                    <a:pt x="641" y="63"/>
                  </a:lnTo>
                  <a:lnTo>
                    <a:pt x="641" y="69"/>
                  </a:lnTo>
                  <a:lnTo>
                    <a:pt x="640" y="71"/>
                  </a:lnTo>
                  <a:lnTo>
                    <a:pt x="640" y="74"/>
                  </a:lnTo>
                  <a:lnTo>
                    <a:pt x="638" y="74"/>
                  </a:lnTo>
                  <a:lnTo>
                    <a:pt x="637" y="76"/>
                  </a:lnTo>
                  <a:lnTo>
                    <a:pt x="634" y="76"/>
                  </a:lnTo>
                  <a:lnTo>
                    <a:pt x="634" y="77"/>
                  </a:lnTo>
                  <a:lnTo>
                    <a:pt x="634" y="80"/>
                  </a:lnTo>
                  <a:lnTo>
                    <a:pt x="641" y="96"/>
                  </a:lnTo>
                  <a:lnTo>
                    <a:pt x="643" y="99"/>
                  </a:lnTo>
                  <a:lnTo>
                    <a:pt x="644" y="101"/>
                  </a:lnTo>
                  <a:lnTo>
                    <a:pt x="647" y="102"/>
                  </a:lnTo>
                  <a:lnTo>
                    <a:pt x="648" y="104"/>
                  </a:lnTo>
                  <a:lnTo>
                    <a:pt x="648" y="105"/>
                  </a:lnTo>
                  <a:lnTo>
                    <a:pt x="648" y="106"/>
                  </a:lnTo>
                  <a:lnTo>
                    <a:pt x="646" y="109"/>
                  </a:lnTo>
                  <a:lnTo>
                    <a:pt x="646" y="109"/>
                  </a:lnTo>
                  <a:lnTo>
                    <a:pt x="646" y="112"/>
                  </a:lnTo>
                  <a:lnTo>
                    <a:pt x="647" y="114"/>
                  </a:lnTo>
                  <a:lnTo>
                    <a:pt x="648" y="117"/>
                  </a:lnTo>
                  <a:lnTo>
                    <a:pt x="648" y="120"/>
                  </a:lnTo>
                  <a:lnTo>
                    <a:pt x="647" y="121"/>
                  </a:lnTo>
                  <a:lnTo>
                    <a:pt x="647" y="124"/>
                  </a:lnTo>
                  <a:lnTo>
                    <a:pt x="648" y="137"/>
                  </a:lnTo>
                  <a:lnTo>
                    <a:pt x="647" y="140"/>
                  </a:lnTo>
                  <a:lnTo>
                    <a:pt x="647" y="141"/>
                  </a:lnTo>
                  <a:lnTo>
                    <a:pt x="637" y="143"/>
                  </a:lnTo>
                  <a:lnTo>
                    <a:pt x="634" y="144"/>
                  </a:lnTo>
                  <a:lnTo>
                    <a:pt x="632" y="144"/>
                  </a:lnTo>
                  <a:lnTo>
                    <a:pt x="630" y="143"/>
                  </a:lnTo>
                  <a:lnTo>
                    <a:pt x="630" y="143"/>
                  </a:lnTo>
                  <a:lnTo>
                    <a:pt x="628" y="144"/>
                  </a:lnTo>
                  <a:lnTo>
                    <a:pt x="627" y="146"/>
                  </a:lnTo>
                  <a:lnTo>
                    <a:pt x="627" y="147"/>
                  </a:lnTo>
                  <a:lnTo>
                    <a:pt x="625" y="149"/>
                  </a:lnTo>
                  <a:lnTo>
                    <a:pt x="622" y="152"/>
                  </a:lnTo>
                  <a:lnTo>
                    <a:pt x="622" y="153"/>
                  </a:lnTo>
                  <a:lnTo>
                    <a:pt x="622" y="156"/>
                  </a:lnTo>
                  <a:lnTo>
                    <a:pt x="625" y="160"/>
                  </a:lnTo>
                  <a:lnTo>
                    <a:pt x="625" y="162"/>
                  </a:lnTo>
                  <a:lnTo>
                    <a:pt x="625" y="163"/>
                  </a:lnTo>
                  <a:lnTo>
                    <a:pt x="624" y="165"/>
                  </a:lnTo>
                  <a:lnTo>
                    <a:pt x="622" y="165"/>
                  </a:lnTo>
                  <a:lnTo>
                    <a:pt x="619" y="163"/>
                  </a:lnTo>
                  <a:lnTo>
                    <a:pt x="614" y="162"/>
                  </a:lnTo>
                  <a:lnTo>
                    <a:pt x="612" y="162"/>
                  </a:lnTo>
                  <a:lnTo>
                    <a:pt x="612" y="163"/>
                  </a:lnTo>
                  <a:lnTo>
                    <a:pt x="615" y="166"/>
                  </a:lnTo>
                  <a:lnTo>
                    <a:pt x="624" y="175"/>
                  </a:lnTo>
                  <a:lnTo>
                    <a:pt x="631" y="176"/>
                  </a:lnTo>
                  <a:lnTo>
                    <a:pt x="654" y="187"/>
                  </a:lnTo>
                  <a:lnTo>
                    <a:pt x="657" y="188"/>
                  </a:lnTo>
                  <a:lnTo>
                    <a:pt x="659" y="187"/>
                  </a:lnTo>
                  <a:lnTo>
                    <a:pt x="664" y="189"/>
                  </a:lnTo>
                  <a:lnTo>
                    <a:pt x="673" y="203"/>
                  </a:lnTo>
                  <a:lnTo>
                    <a:pt x="678" y="203"/>
                  </a:lnTo>
                  <a:lnTo>
                    <a:pt x="679" y="203"/>
                  </a:lnTo>
                  <a:lnTo>
                    <a:pt x="682" y="201"/>
                  </a:lnTo>
                  <a:lnTo>
                    <a:pt x="691" y="192"/>
                  </a:lnTo>
                  <a:lnTo>
                    <a:pt x="694" y="189"/>
                  </a:lnTo>
                  <a:lnTo>
                    <a:pt x="695" y="188"/>
                  </a:lnTo>
                  <a:lnTo>
                    <a:pt x="695" y="187"/>
                  </a:lnTo>
                  <a:lnTo>
                    <a:pt x="695" y="185"/>
                  </a:lnTo>
                  <a:lnTo>
                    <a:pt x="695" y="184"/>
                  </a:lnTo>
                  <a:lnTo>
                    <a:pt x="695" y="184"/>
                  </a:lnTo>
                  <a:lnTo>
                    <a:pt x="695" y="182"/>
                  </a:lnTo>
                  <a:lnTo>
                    <a:pt x="697" y="182"/>
                  </a:lnTo>
                  <a:lnTo>
                    <a:pt x="697" y="181"/>
                  </a:lnTo>
                  <a:lnTo>
                    <a:pt x="697" y="181"/>
                  </a:lnTo>
                  <a:lnTo>
                    <a:pt x="698" y="181"/>
                  </a:lnTo>
                  <a:lnTo>
                    <a:pt x="698" y="179"/>
                  </a:lnTo>
                  <a:lnTo>
                    <a:pt x="699" y="178"/>
                  </a:lnTo>
                  <a:lnTo>
                    <a:pt x="699" y="178"/>
                  </a:lnTo>
                  <a:lnTo>
                    <a:pt x="699" y="176"/>
                  </a:lnTo>
                  <a:lnTo>
                    <a:pt x="699" y="176"/>
                  </a:lnTo>
                  <a:lnTo>
                    <a:pt x="698" y="175"/>
                  </a:lnTo>
                  <a:lnTo>
                    <a:pt x="698" y="175"/>
                  </a:lnTo>
                  <a:lnTo>
                    <a:pt x="697" y="175"/>
                  </a:lnTo>
                  <a:lnTo>
                    <a:pt x="694" y="175"/>
                  </a:lnTo>
                  <a:lnTo>
                    <a:pt x="691" y="179"/>
                  </a:lnTo>
                  <a:lnTo>
                    <a:pt x="689" y="181"/>
                  </a:lnTo>
                  <a:lnTo>
                    <a:pt x="689" y="181"/>
                  </a:lnTo>
                  <a:lnTo>
                    <a:pt x="688" y="181"/>
                  </a:lnTo>
                  <a:lnTo>
                    <a:pt x="685" y="179"/>
                  </a:lnTo>
                  <a:lnTo>
                    <a:pt x="676" y="170"/>
                  </a:lnTo>
                  <a:lnTo>
                    <a:pt x="675" y="168"/>
                  </a:lnTo>
                  <a:lnTo>
                    <a:pt x="675" y="165"/>
                  </a:lnTo>
                  <a:lnTo>
                    <a:pt x="675" y="165"/>
                  </a:lnTo>
                  <a:lnTo>
                    <a:pt x="675" y="163"/>
                  </a:lnTo>
                  <a:lnTo>
                    <a:pt x="675" y="163"/>
                  </a:lnTo>
                  <a:lnTo>
                    <a:pt x="689" y="154"/>
                  </a:lnTo>
                  <a:lnTo>
                    <a:pt x="694" y="150"/>
                  </a:lnTo>
                  <a:lnTo>
                    <a:pt x="702" y="147"/>
                  </a:lnTo>
                  <a:lnTo>
                    <a:pt x="704" y="146"/>
                  </a:lnTo>
                  <a:lnTo>
                    <a:pt x="705" y="144"/>
                  </a:lnTo>
                  <a:lnTo>
                    <a:pt x="704" y="143"/>
                  </a:lnTo>
                  <a:lnTo>
                    <a:pt x="704" y="141"/>
                  </a:lnTo>
                  <a:lnTo>
                    <a:pt x="704" y="140"/>
                  </a:lnTo>
                  <a:lnTo>
                    <a:pt x="704" y="138"/>
                  </a:lnTo>
                  <a:lnTo>
                    <a:pt x="704" y="138"/>
                  </a:lnTo>
                  <a:lnTo>
                    <a:pt x="705" y="137"/>
                  </a:lnTo>
                  <a:lnTo>
                    <a:pt x="707" y="138"/>
                  </a:lnTo>
                  <a:lnTo>
                    <a:pt x="714" y="141"/>
                  </a:lnTo>
                  <a:lnTo>
                    <a:pt x="715" y="144"/>
                  </a:lnTo>
                  <a:lnTo>
                    <a:pt x="717" y="146"/>
                  </a:lnTo>
                  <a:lnTo>
                    <a:pt x="718" y="147"/>
                  </a:lnTo>
                  <a:lnTo>
                    <a:pt x="720" y="153"/>
                  </a:lnTo>
                  <a:lnTo>
                    <a:pt x="721" y="156"/>
                  </a:lnTo>
                  <a:lnTo>
                    <a:pt x="723" y="157"/>
                  </a:lnTo>
                  <a:lnTo>
                    <a:pt x="724" y="157"/>
                  </a:lnTo>
                  <a:lnTo>
                    <a:pt x="726" y="157"/>
                  </a:lnTo>
                  <a:lnTo>
                    <a:pt x="727" y="157"/>
                  </a:lnTo>
                  <a:lnTo>
                    <a:pt x="730" y="154"/>
                  </a:lnTo>
                  <a:lnTo>
                    <a:pt x="732" y="153"/>
                  </a:lnTo>
                  <a:lnTo>
                    <a:pt x="732" y="152"/>
                  </a:lnTo>
                  <a:lnTo>
                    <a:pt x="729" y="144"/>
                  </a:lnTo>
                  <a:lnTo>
                    <a:pt x="727" y="144"/>
                  </a:lnTo>
                  <a:lnTo>
                    <a:pt x="727" y="143"/>
                  </a:lnTo>
                  <a:lnTo>
                    <a:pt x="726" y="141"/>
                  </a:lnTo>
                  <a:lnTo>
                    <a:pt x="726" y="140"/>
                  </a:lnTo>
                  <a:lnTo>
                    <a:pt x="726" y="138"/>
                  </a:lnTo>
                  <a:lnTo>
                    <a:pt x="726" y="137"/>
                  </a:lnTo>
                  <a:lnTo>
                    <a:pt x="727" y="137"/>
                  </a:lnTo>
                  <a:lnTo>
                    <a:pt x="729" y="137"/>
                  </a:lnTo>
                  <a:lnTo>
                    <a:pt x="733" y="137"/>
                  </a:lnTo>
                  <a:lnTo>
                    <a:pt x="734" y="136"/>
                  </a:lnTo>
                  <a:lnTo>
                    <a:pt x="736" y="134"/>
                  </a:lnTo>
                  <a:lnTo>
                    <a:pt x="737" y="133"/>
                  </a:lnTo>
                  <a:lnTo>
                    <a:pt x="739" y="131"/>
                  </a:lnTo>
                  <a:lnTo>
                    <a:pt x="740" y="133"/>
                  </a:lnTo>
                  <a:lnTo>
                    <a:pt x="740" y="133"/>
                  </a:lnTo>
                  <a:lnTo>
                    <a:pt x="742" y="136"/>
                  </a:lnTo>
                  <a:lnTo>
                    <a:pt x="742" y="140"/>
                  </a:lnTo>
                  <a:lnTo>
                    <a:pt x="742" y="140"/>
                  </a:lnTo>
                  <a:lnTo>
                    <a:pt x="745" y="144"/>
                  </a:lnTo>
                  <a:lnTo>
                    <a:pt x="756" y="153"/>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15">
              <a:extLst>
                <a:ext uri="{FF2B5EF4-FFF2-40B4-BE49-F238E27FC236}">
                  <a16:creationId xmlns:a16="http://schemas.microsoft.com/office/drawing/2014/main" id="{9773C86A-F11C-488D-A953-0AA94F92CF23}"/>
                </a:ext>
              </a:extLst>
            </p:cNvPr>
            <p:cNvSpPr>
              <a:spLocks/>
            </p:cNvSpPr>
            <p:nvPr/>
          </p:nvSpPr>
          <p:spPr bwMode="gray">
            <a:xfrm>
              <a:off x="5710238" y="1266825"/>
              <a:ext cx="323850" cy="300038"/>
            </a:xfrm>
            <a:custGeom>
              <a:avLst/>
              <a:gdLst>
                <a:gd name="T0" fmla="*/ 187 w 204"/>
                <a:gd name="T1" fmla="*/ 173 h 189"/>
                <a:gd name="T2" fmla="*/ 175 w 204"/>
                <a:gd name="T3" fmla="*/ 188 h 189"/>
                <a:gd name="T4" fmla="*/ 145 w 204"/>
                <a:gd name="T5" fmla="*/ 183 h 189"/>
                <a:gd name="T6" fmla="*/ 130 w 204"/>
                <a:gd name="T7" fmla="*/ 172 h 189"/>
                <a:gd name="T8" fmla="*/ 117 w 204"/>
                <a:gd name="T9" fmla="*/ 162 h 189"/>
                <a:gd name="T10" fmla="*/ 101 w 204"/>
                <a:gd name="T11" fmla="*/ 169 h 189"/>
                <a:gd name="T12" fmla="*/ 102 w 204"/>
                <a:gd name="T13" fmla="*/ 172 h 189"/>
                <a:gd name="T14" fmla="*/ 101 w 204"/>
                <a:gd name="T15" fmla="*/ 176 h 189"/>
                <a:gd name="T16" fmla="*/ 82 w 204"/>
                <a:gd name="T17" fmla="*/ 183 h 189"/>
                <a:gd name="T18" fmla="*/ 72 w 204"/>
                <a:gd name="T19" fmla="*/ 178 h 189"/>
                <a:gd name="T20" fmla="*/ 60 w 204"/>
                <a:gd name="T21" fmla="*/ 182 h 189"/>
                <a:gd name="T22" fmla="*/ 59 w 204"/>
                <a:gd name="T23" fmla="*/ 173 h 189"/>
                <a:gd name="T24" fmla="*/ 54 w 204"/>
                <a:gd name="T25" fmla="*/ 163 h 189"/>
                <a:gd name="T26" fmla="*/ 49 w 204"/>
                <a:gd name="T27" fmla="*/ 166 h 189"/>
                <a:gd name="T28" fmla="*/ 41 w 204"/>
                <a:gd name="T29" fmla="*/ 172 h 189"/>
                <a:gd name="T30" fmla="*/ 25 w 204"/>
                <a:gd name="T31" fmla="*/ 156 h 189"/>
                <a:gd name="T32" fmla="*/ 21 w 204"/>
                <a:gd name="T33" fmla="*/ 143 h 189"/>
                <a:gd name="T34" fmla="*/ 16 w 204"/>
                <a:gd name="T35" fmla="*/ 138 h 189"/>
                <a:gd name="T36" fmla="*/ 15 w 204"/>
                <a:gd name="T37" fmla="*/ 134 h 189"/>
                <a:gd name="T38" fmla="*/ 9 w 204"/>
                <a:gd name="T39" fmla="*/ 108 h 189"/>
                <a:gd name="T40" fmla="*/ 32 w 204"/>
                <a:gd name="T41" fmla="*/ 108 h 189"/>
                <a:gd name="T42" fmla="*/ 0 w 204"/>
                <a:gd name="T43" fmla="*/ 92 h 189"/>
                <a:gd name="T44" fmla="*/ 5 w 204"/>
                <a:gd name="T45" fmla="*/ 73 h 189"/>
                <a:gd name="T46" fmla="*/ 6 w 204"/>
                <a:gd name="T47" fmla="*/ 68 h 189"/>
                <a:gd name="T48" fmla="*/ 9 w 204"/>
                <a:gd name="T49" fmla="*/ 64 h 189"/>
                <a:gd name="T50" fmla="*/ 12 w 204"/>
                <a:gd name="T51" fmla="*/ 58 h 189"/>
                <a:gd name="T52" fmla="*/ 21 w 204"/>
                <a:gd name="T53" fmla="*/ 61 h 189"/>
                <a:gd name="T54" fmla="*/ 25 w 204"/>
                <a:gd name="T55" fmla="*/ 64 h 189"/>
                <a:gd name="T56" fmla="*/ 24 w 204"/>
                <a:gd name="T57" fmla="*/ 74 h 189"/>
                <a:gd name="T58" fmla="*/ 24 w 204"/>
                <a:gd name="T59" fmla="*/ 77 h 189"/>
                <a:gd name="T60" fmla="*/ 25 w 204"/>
                <a:gd name="T61" fmla="*/ 79 h 189"/>
                <a:gd name="T62" fmla="*/ 66 w 204"/>
                <a:gd name="T63" fmla="*/ 48 h 189"/>
                <a:gd name="T64" fmla="*/ 85 w 204"/>
                <a:gd name="T65" fmla="*/ 48 h 189"/>
                <a:gd name="T66" fmla="*/ 92 w 204"/>
                <a:gd name="T67" fmla="*/ 36 h 189"/>
                <a:gd name="T68" fmla="*/ 99 w 204"/>
                <a:gd name="T69" fmla="*/ 31 h 189"/>
                <a:gd name="T70" fmla="*/ 110 w 204"/>
                <a:gd name="T71" fmla="*/ 32 h 189"/>
                <a:gd name="T72" fmla="*/ 118 w 204"/>
                <a:gd name="T73" fmla="*/ 9 h 189"/>
                <a:gd name="T74" fmla="*/ 121 w 204"/>
                <a:gd name="T75" fmla="*/ 6 h 189"/>
                <a:gd name="T76" fmla="*/ 140 w 204"/>
                <a:gd name="T77" fmla="*/ 9 h 189"/>
                <a:gd name="T78" fmla="*/ 150 w 204"/>
                <a:gd name="T79" fmla="*/ 1 h 189"/>
                <a:gd name="T80" fmla="*/ 156 w 204"/>
                <a:gd name="T81" fmla="*/ 0 h 189"/>
                <a:gd name="T82" fmla="*/ 159 w 204"/>
                <a:gd name="T83" fmla="*/ 3 h 189"/>
                <a:gd name="T84" fmla="*/ 153 w 204"/>
                <a:gd name="T85" fmla="*/ 13 h 189"/>
                <a:gd name="T86" fmla="*/ 149 w 204"/>
                <a:gd name="T87" fmla="*/ 26 h 189"/>
                <a:gd name="T88" fmla="*/ 162 w 204"/>
                <a:gd name="T89" fmla="*/ 38 h 189"/>
                <a:gd name="T90" fmla="*/ 164 w 204"/>
                <a:gd name="T91" fmla="*/ 45 h 189"/>
                <a:gd name="T92" fmla="*/ 167 w 204"/>
                <a:gd name="T93" fmla="*/ 51 h 189"/>
                <a:gd name="T94" fmla="*/ 168 w 204"/>
                <a:gd name="T95" fmla="*/ 60 h 189"/>
                <a:gd name="T96" fmla="*/ 167 w 204"/>
                <a:gd name="T97" fmla="*/ 67 h 189"/>
                <a:gd name="T98" fmla="*/ 165 w 204"/>
                <a:gd name="T99" fmla="*/ 83 h 189"/>
                <a:gd name="T100" fmla="*/ 162 w 204"/>
                <a:gd name="T101" fmla="*/ 86 h 189"/>
                <a:gd name="T102" fmla="*/ 152 w 204"/>
                <a:gd name="T103" fmla="*/ 89 h 189"/>
                <a:gd name="T104" fmla="*/ 152 w 204"/>
                <a:gd name="T105" fmla="*/ 95 h 189"/>
                <a:gd name="T106" fmla="*/ 155 w 204"/>
                <a:gd name="T107" fmla="*/ 114 h 189"/>
                <a:gd name="T108" fmla="*/ 159 w 204"/>
                <a:gd name="T109" fmla="*/ 121 h 189"/>
                <a:gd name="T110" fmla="*/ 177 w 204"/>
                <a:gd name="T111" fmla="*/ 140 h 189"/>
                <a:gd name="T112" fmla="*/ 200 w 204"/>
                <a:gd name="T113" fmla="*/ 160 h 189"/>
                <a:gd name="T114" fmla="*/ 201 w 204"/>
                <a:gd name="T115" fmla="*/ 159 h 189"/>
                <a:gd name="T116" fmla="*/ 204 w 204"/>
                <a:gd name="T117" fmla="*/ 17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4" h="189">
                  <a:moveTo>
                    <a:pt x="204" y="173"/>
                  </a:moveTo>
                  <a:lnTo>
                    <a:pt x="190" y="173"/>
                  </a:lnTo>
                  <a:lnTo>
                    <a:pt x="187" y="173"/>
                  </a:lnTo>
                  <a:lnTo>
                    <a:pt x="184" y="176"/>
                  </a:lnTo>
                  <a:lnTo>
                    <a:pt x="175" y="186"/>
                  </a:lnTo>
                  <a:lnTo>
                    <a:pt x="175" y="188"/>
                  </a:lnTo>
                  <a:lnTo>
                    <a:pt x="156" y="189"/>
                  </a:lnTo>
                  <a:lnTo>
                    <a:pt x="150" y="188"/>
                  </a:lnTo>
                  <a:lnTo>
                    <a:pt x="145" y="183"/>
                  </a:lnTo>
                  <a:lnTo>
                    <a:pt x="140" y="179"/>
                  </a:lnTo>
                  <a:lnTo>
                    <a:pt x="137" y="173"/>
                  </a:lnTo>
                  <a:lnTo>
                    <a:pt x="130" y="172"/>
                  </a:lnTo>
                  <a:lnTo>
                    <a:pt x="126" y="169"/>
                  </a:lnTo>
                  <a:lnTo>
                    <a:pt x="120" y="162"/>
                  </a:lnTo>
                  <a:lnTo>
                    <a:pt x="117" y="162"/>
                  </a:lnTo>
                  <a:lnTo>
                    <a:pt x="104" y="166"/>
                  </a:lnTo>
                  <a:lnTo>
                    <a:pt x="102" y="167"/>
                  </a:lnTo>
                  <a:lnTo>
                    <a:pt x="101" y="169"/>
                  </a:lnTo>
                  <a:lnTo>
                    <a:pt x="101" y="170"/>
                  </a:lnTo>
                  <a:lnTo>
                    <a:pt x="101" y="172"/>
                  </a:lnTo>
                  <a:lnTo>
                    <a:pt x="102" y="172"/>
                  </a:lnTo>
                  <a:lnTo>
                    <a:pt x="102" y="173"/>
                  </a:lnTo>
                  <a:lnTo>
                    <a:pt x="101" y="175"/>
                  </a:lnTo>
                  <a:lnTo>
                    <a:pt x="101" y="176"/>
                  </a:lnTo>
                  <a:lnTo>
                    <a:pt x="95" y="179"/>
                  </a:lnTo>
                  <a:lnTo>
                    <a:pt x="86" y="183"/>
                  </a:lnTo>
                  <a:lnTo>
                    <a:pt x="82" y="183"/>
                  </a:lnTo>
                  <a:lnTo>
                    <a:pt x="81" y="183"/>
                  </a:lnTo>
                  <a:lnTo>
                    <a:pt x="73" y="179"/>
                  </a:lnTo>
                  <a:lnTo>
                    <a:pt x="72" y="178"/>
                  </a:lnTo>
                  <a:lnTo>
                    <a:pt x="70" y="179"/>
                  </a:lnTo>
                  <a:lnTo>
                    <a:pt x="63" y="182"/>
                  </a:lnTo>
                  <a:lnTo>
                    <a:pt x="60" y="182"/>
                  </a:lnTo>
                  <a:lnTo>
                    <a:pt x="60" y="181"/>
                  </a:lnTo>
                  <a:lnTo>
                    <a:pt x="59" y="179"/>
                  </a:lnTo>
                  <a:lnTo>
                    <a:pt x="59" y="173"/>
                  </a:lnTo>
                  <a:lnTo>
                    <a:pt x="59" y="167"/>
                  </a:lnTo>
                  <a:lnTo>
                    <a:pt x="56" y="164"/>
                  </a:lnTo>
                  <a:lnTo>
                    <a:pt x="54" y="163"/>
                  </a:lnTo>
                  <a:lnTo>
                    <a:pt x="53" y="163"/>
                  </a:lnTo>
                  <a:lnTo>
                    <a:pt x="50" y="164"/>
                  </a:lnTo>
                  <a:lnTo>
                    <a:pt x="49" y="166"/>
                  </a:lnTo>
                  <a:lnTo>
                    <a:pt x="44" y="172"/>
                  </a:lnTo>
                  <a:lnTo>
                    <a:pt x="43" y="173"/>
                  </a:lnTo>
                  <a:lnTo>
                    <a:pt x="41" y="172"/>
                  </a:lnTo>
                  <a:lnTo>
                    <a:pt x="30" y="162"/>
                  </a:lnTo>
                  <a:lnTo>
                    <a:pt x="27" y="159"/>
                  </a:lnTo>
                  <a:lnTo>
                    <a:pt x="25" y="156"/>
                  </a:lnTo>
                  <a:lnTo>
                    <a:pt x="24" y="151"/>
                  </a:lnTo>
                  <a:lnTo>
                    <a:pt x="22" y="148"/>
                  </a:lnTo>
                  <a:lnTo>
                    <a:pt x="21" y="143"/>
                  </a:lnTo>
                  <a:lnTo>
                    <a:pt x="19" y="141"/>
                  </a:lnTo>
                  <a:lnTo>
                    <a:pt x="18" y="140"/>
                  </a:lnTo>
                  <a:lnTo>
                    <a:pt x="16" y="138"/>
                  </a:lnTo>
                  <a:lnTo>
                    <a:pt x="15" y="137"/>
                  </a:lnTo>
                  <a:lnTo>
                    <a:pt x="15" y="135"/>
                  </a:lnTo>
                  <a:lnTo>
                    <a:pt x="15" y="134"/>
                  </a:lnTo>
                  <a:lnTo>
                    <a:pt x="14" y="132"/>
                  </a:lnTo>
                  <a:lnTo>
                    <a:pt x="11" y="128"/>
                  </a:lnTo>
                  <a:lnTo>
                    <a:pt x="9" y="108"/>
                  </a:lnTo>
                  <a:lnTo>
                    <a:pt x="9" y="105"/>
                  </a:lnTo>
                  <a:lnTo>
                    <a:pt x="28" y="109"/>
                  </a:lnTo>
                  <a:lnTo>
                    <a:pt x="32" y="108"/>
                  </a:lnTo>
                  <a:lnTo>
                    <a:pt x="28" y="100"/>
                  </a:lnTo>
                  <a:lnTo>
                    <a:pt x="15" y="93"/>
                  </a:lnTo>
                  <a:lnTo>
                    <a:pt x="0" y="92"/>
                  </a:lnTo>
                  <a:lnTo>
                    <a:pt x="3" y="80"/>
                  </a:lnTo>
                  <a:lnTo>
                    <a:pt x="5" y="76"/>
                  </a:lnTo>
                  <a:lnTo>
                    <a:pt x="5" y="73"/>
                  </a:lnTo>
                  <a:lnTo>
                    <a:pt x="5" y="70"/>
                  </a:lnTo>
                  <a:lnTo>
                    <a:pt x="6" y="70"/>
                  </a:lnTo>
                  <a:lnTo>
                    <a:pt x="6" y="68"/>
                  </a:lnTo>
                  <a:lnTo>
                    <a:pt x="8" y="67"/>
                  </a:lnTo>
                  <a:lnTo>
                    <a:pt x="9" y="65"/>
                  </a:lnTo>
                  <a:lnTo>
                    <a:pt x="9" y="64"/>
                  </a:lnTo>
                  <a:lnTo>
                    <a:pt x="11" y="60"/>
                  </a:lnTo>
                  <a:lnTo>
                    <a:pt x="11" y="58"/>
                  </a:lnTo>
                  <a:lnTo>
                    <a:pt x="12" y="58"/>
                  </a:lnTo>
                  <a:lnTo>
                    <a:pt x="14" y="58"/>
                  </a:lnTo>
                  <a:lnTo>
                    <a:pt x="18" y="60"/>
                  </a:lnTo>
                  <a:lnTo>
                    <a:pt x="21" y="61"/>
                  </a:lnTo>
                  <a:lnTo>
                    <a:pt x="21" y="61"/>
                  </a:lnTo>
                  <a:lnTo>
                    <a:pt x="24" y="64"/>
                  </a:lnTo>
                  <a:lnTo>
                    <a:pt x="25" y="64"/>
                  </a:lnTo>
                  <a:lnTo>
                    <a:pt x="25" y="67"/>
                  </a:lnTo>
                  <a:lnTo>
                    <a:pt x="24" y="71"/>
                  </a:lnTo>
                  <a:lnTo>
                    <a:pt x="24" y="74"/>
                  </a:lnTo>
                  <a:lnTo>
                    <a:pt x="24" y="76"/>
                  </a:lnTo>
                  <a:lnTo>
                    <a:pt x="24" y="77"/>
                  </a:lnTo>
                  <a:lnTo>
                    <a:pt x="24" y="77"/>
                  </a:lnTo>
                  <a:lnTo>
                    <a:pt x="25" y="77"/>
                  </a:lnTo>
                  <a:lnTo>
                    <a:pt x="25" y="79"/>
                  </a:lnTo>
                  <a:lnTo>
                    <a:pt x="25" y="79"/>
                  </a:lnTo>
                  <a:lnTo>
                    <a:pt x="27" y="79"/>
                  </a:lnTo>
                  <a:lnTo>
                    <a:pt x="31" y="77"/>
                  </a:lnTo>
                  <a:lnTo>
                    <a:pt x="66" y="48"/>
                  </a:lnTo>
                  <a:lnTo>
                    <a:pt x="75" y="45"/>
                  </a:lnTo>
                  <a:lnTo>
                    <a:pt x="85" y="48"/>
                  </a:lnTo>
                  <a:lnTo>
                    <a:pt x="85" y="48"/>
                  </a:lnTo>
                  <a:lnTo>
                    <a:pt x="88" y="47"/>
                  </a:lnTo>
                  <a:lnTo>
                    <a:pt x="89" y="45"/>
                  </a:lnTo>
                  <a:lnTo>
                    <a:pt x="92" y="36"/>
                  </a:lnTo>
                  <a:lnTo>
                    <a:pt x="94" y="33"/>
                  </a:lnTo>
                  <a:lnTo>
                    <a:pt x="95" y="32"/>
                  </a:lnTo>
                  <a:lnTo>
                    <a:pt x="99" y="31"/>
                  </a:lnTo>
                  <a:lnTo>
                    <a:pt x="102" y="31"/>
                  </a:lnTo>
                  <a:lnTo>
                    <a:pt x="105" y="31"/>
                  </a:lnTo>
                  <a:lnTo>
                    <a:pt x="110" y="32"/>
                  </a:lnTo>
                  <a:lnTo>
                    <a:pt x="113" y="29"/>
                  </a:lnTo>
                  <a:lnTo>
                    <a:pt x="114" y="28"/>
                  </a:lnTo>
                  <a:lnTo>
                    <a:pt x="118" y="9"/>
                  </a:lnTo>
                  <a:lnTo>
                    <a:pt x="120" y="7"/>
                  </a:lnTo>
                  <a:lnTo>
                    <a:pt x="121" y="6"/>
                  </a:lnTo>
                  <a:lnTo>
                    <a:pt x="121" y="6"/>
                  </a:lnTo>
                  <a:lnTo>
                    <a:pt x="123" y="4"/>
                  </a:lnTo>
                  <a:lnTo>
                    <a:pt x="123" y="4"/>
                  </a:lnTo>
                  <a:lnTo>
                    <a:pt x="140" y="9"/>
                  </a:lnTo>
                  <a:lnTo>
                    <a:pt x="143" y="9"/>
                  </a:lnTo>
                  <a:lnTo>
                    <a:pt x="145" y="7"/>
                  </a:lnTo>
                  <a:lnTo>
                    <a:pt x="150" y="1"/>
                  </a:lnTo>
                  <a:lnTo>
                    <a:pt x="152" y="0"/>
                  </a:lnTo>
                  <a:lnTo>
                    <a:pt x="155" y="0"/>
                  </a:lnTo>
                  <a:lnTo>
                    <a:pt x="156" y="0"/>
                  </a:lnTo>
                  <a:lnTo>
                    <a:pt x="158" y="1"/>
                  </a:lnTo>
                  <a:lnTo>
                    <a:pt x="158" y="1"/>
                  </a:lnTo>
                  <a:lnTo>
                    <a:pt x="159" y="3"/>
                  </a:lnTo>
                  <a:lnTo>
                    <a:pt x="158" y="6"/>
                  </a:lnTo>
                  <a:lnTo>
                    <a:pt x="158" y="7"/>
                  </a:lnTo>
                  <a:lnTo>
                    <a:pt x="153" y="13"/>
                  </a:lnTo>
                  <a:lnTo>
                    <a:pt x="150" y="20"/>
                  </a:lnTo>
                  <a:lnTo>
                    <a:pt x="149" y="25"/>
                  </a:lnTo>
                  <a:lnTo>
                    <a:pt x="149" y="26"/>
                  </a:lnTo>
                  <a:lnTo>
                    <a:pt x="149" y="28"/>
                  </a:lnTo>
                  <a:lnTo>
                    <a:pt x="150" y="29"/>
                  </a:lnTo>
                  <a:lnTo>
                    <a:pt x="162" y="38"/>
                  </a:lnTo>
                  <a:lnTo>
                    <a:pt x="162" y="39"/>
                  </a:lnTo>
                  <a:lnTo>
                    <a:pt x="162" y="42"/>
                  </a:lnTo>
                  <a:lnTo>
                    <a:pt x="164" y="45"/>
                  </a:lnTo>
                  <a:lnTo>
                    <a:pt x="164" y="49"/>
                  </a:lnTo>
                  <a:lnTo>
                    <a:pt x="165" y="51"/>
                  </a:lnTo>
                  <a:lnTo>
                    <a:pt x="167" y="51"/>
                  </a:lnTo>
                  <a:lnTo>
                    <a:pt x="168" y="52"/>
                  </a:lnTo>
                  <a:lnTo>
                    <a:pt x="168" y="55"/>
                  </a:lnTo>
                  <a:lnTo>
                    <a:pt x="168" y="60"/>
                  </a:lnTo>
                  <a:lnTo>
                    <a:pt x="168" y="61"/>
                  </a:lnTo>
                  <a:lnTo>
                    <a:pt x="167" y="64"/>
                  </a:lnTo>
                  <a:lnTo>
                    <a:pt x="167" y="67"/>
                  </a:lnTo>
                  <a:lnTo>
                    <a:pt x="165" y="74"/>
                  </a:lnTo>
                  <a:lnTo>
                    <a:pt x="165" y="82"/>
                  </a:lnTo>
                  <a:lnTo>
                    <a:pt x="165" y="83"/>
                  </a:lnTo>
                  <a:lnTo>
                    <a:pt x="164" y="84"/>
                  </a:lnTo>
                  <a:lnTo>
                    <a:pt x="164" y="84"/>
                  </a:lnTo>
                  <a:lnTo>
                    <a:pt x="162" y="86"/>
                  </a:lnTo>
                  <a:lnTo>
                    <a:pt x="159" y="87"/>
                  </a:lnTo>
                  <a:lnTo>
                    <a:pt x="153" y="89"/>
                  </a:lnTo>
                  <a:lnTo>
                    <a:pt x="152" y="89"/>
                  </a:lnTo>
                  <a:lnTo>
                    <a:pt x="152" y="90"/>
                  </a:lnTo>
                  <a:lnTo>
                    <a:pt x="150" y="92"/>
                  </a:lnTo>
                  <a:lnTo>
                    <a:pt x="152" y="95"/>
                  </a:lnTo>
                  <a:lnTo>
                    <a:pt x="153" y="105"/>
                  </a:lnTo>
                  <a:lnTo>
                    <a:pt x="155" y="109"/>
                  </a:lnTo>
                  <a:lnTo>
                    <a:pt x="155" y="114"/>
                  </a:lnTo>
                  <a:lnTo>
                    <a:pt x="155" y="116"/>
                  </a:lnTo>
                  <a:lnTo>
                    <a:pt x="156" y="119"/>
                  </a:lnTo>
                  <a:lnTo>
                    <a:pt x="159" y="121"/>
                  </a:lnTo>
                  <a:lnTo>
                    <a:pt x="165" y="122"/>
                  </a:lnTo>
                  <a:lnTo>
                    <a:pt x="168" y="125"/>
                  </a:lnTo>
                  <a:lnTo>
                    <a:pt x="177" y="140"/>
                  </a:lnTo>
                  <a:lnTo>
                    <a:pt x="185" y="144"/>
                  </a:lnTo>
                  <a:lnTo>
                    <a:pt x="188" y="147"/>
                  </a:lnTo>
                  <a:lnTo>
                    <a:pt x="200" y="160"/>
                  </a:lnTo>
                  <a:lnTo>
                    <a:pt x="200" y="160"/>
                  </a:lnTo>
                  <a:lnTo>
                    <a:pt x="200" y="159"/>
                  </a:lnTo>
                  <a:lnTo>
                    <a:pt x="201" y="159"/>
                  </a:lnTo>
                  <a:lnTo>
                    <a:pt x="203" y="159"/>
                  </a:lnTo>
                  <a:lnTo>
                    <a:pt x="203" y="162"/>
                  </a:lnTo>
                  <a:lnTo>
                    <a:pt x="204" y="173"/>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16">
              <a:extLst>
                <a:ext uri="{FF2B5EF4-FFF2-40B4-BE49-F238E27FC236}">
                  <a16:creationId xmlns:a16="http://schemas.microsoft.com/office/drawing/2014/main" id="{A3A21147-A9A2-44FA-B94D-39254DF6958C}"/>
                </a:ext>
              </a:extLst>
            </p:cNvPr>
            <p:cNvSpPr>
              <a:spLocks/>
            </p:cNvSpPr>
            <p:nvPr/>
          </p:nvSpPr>
          <p:spPr bwMode="gray">
            <a:xfrm>
              <a:off x="5024438" y="1731963"/>
              <a:ext cx="273050" cy="184150"/>
            </a:xfrm>
            <a:custGeom>
              <a:avLst/>
              <a:gdLst>
                <a:gd name="T0" fmla="*/ 25 w 172"/>
                <a:gd name="T1" fmla="*/ 8 h 116"/>
                <a:gd name="T2" fmla="*/ 32 w 172"/>
                <a:gd name="T3" fmla="*/ 5 h 116"/>
                <a:gd name="T4" fmla="*/ 43 w 172"/>
                <a:gd name="T5" fmla="*/ 11 h 116"/>
                <a:gd name="T6" fmla="*/ 68 w 172"/>
                <a:gd name="T7" fmla="*/ 21 h 116"/>
                <a:gd name="T8" fmla="*/ 73 w 172"/>
                <a:gd name="T9" fmla="*/ 20 h 116"/>
                <a:gd name="T10" fmla="*/ 74 w 172"/>
                <a:gd name="T11" fmla="*/ 20 h 116"/>
                <a:gd name="T12" fmla="*/ 83 w 172"/>
                <a:gd name="T13" fmla="*/ 19 h 116"/>
                <a:gd name="T14" fmla="*/ 87 w 172"/>
                <a:gd name="T15" fmla="*/ 20 h 116"/>
                <a:gd name="T16" fmla="*/ 89 w 172"/>
                <a:gd name="T17" fmla="*/ 21 h 116"/>
                <a:gd name="T18" fmla="*/ 89 w 172"/>
                <a:gd name="T19" fmla="*/ 23 h 116"/>
                <a:gd name="T20" fmla="*/ 89 w 172"/>
                <a:gd name="T21" fmla="*/ 26 h 116"/>
                <a:gd name="T22" fmla="*/ 99 w 172"/>
                <a:gd name="T23" fmla="*/ 32 h 116"/>
                <a:gd name="T24" fmla="*/ 110 w 172"/>
                <a:gd name="T25" fmla="*/ 32 h 116"/>
                <a:gd name="T26" fmla="*/ 115 w 172"/>
                <a:gd name="T27" fmla="*/ 33 h 116"/>
                <a:gd name="T28" fmla="*/ 127 w 172"/>
                <a:gd name="T29" fmla="*/ 43 h 116"/>
                <a:gd name="T30" fmla="*/ 143 w 172"/>
                <a:gd name="T31" fmla="*/ 51 h 116"/>
                <a:gd name="T32" fmla="*/ 145 w 172"/>
                <a:gd name="T33" fmla="*/ 49 h 116"/>
                <a:gd name="T34" fmla="*/ 147 w 172"/>
                <a:gd name="T35" fmla="*/ 48 h 116"/>
                <a:gd name="T36" fmla="*/ 147 w 172"/>
                <a:gd name="T37" fmla="*/ 45 h 116"/>
                <a:gd name="T38" fmla="*/ 150 w 172"/>
                <a:gd name="T39" fmla="*/ 39 h 116"/>
                <a:gd name="T40" fmla="*/ 151 w 172"/>
                <a:gd name="T41" fmla="*/ 37 h 116"/>
                <a:gd name="T42" fmla="*/ 153 w 172"/>
                <a:gd name="T43" fmla="*/ 36 h 116"/>
                <a:gd name="T44" fmla="*/ 159 w 172"/>
                <a:gd name="T45" fmla="*/ 40 h 116"/>
                <a:gd name="T46" fmla="*/ 167 w 172"/>
                <a:gd name="T47" fmla="*/ 51 h 116"/>
                <a:gd name="T48" fmla="*/ 166 w 172"/>
                <a:gd name="T49" fmla="*/ 53 h 116"/>
                <a:gd name="T50" fmla="*/ 161 w 172"/>
                <a:gd name="T51" fmla="*/ 59 h 116"/>
                <a:gd name="T52" fmla="*/ 163 w 172"/>
                <a:gd name="T53" fmla="*/ 64 h 116"/>
                <a:gd name="T54" fmla="*/ 172 w 172"/>
                <a:gd name="T55" fmla="*/ 74 h 116"/>
                <a:gd name="T56" fmla="*/ 172 w 172"/>
                <a:gd name="T57" fmla="*/ 77 h 116"/>
                <a:gd name="T58" fmla="*/ 169 w 172"/>
                <a:gd name="T59" fmla="*/ 83 h 116"/>
                <a:gd name="T60" fmla="*/ 167 w 172"/>
                <a:gd name="T61" fmla="*/ 94 h 116"/>
                <a:gd name="T62" fmla="*/ 166 w 172"/>
                <a:gd name="T63" fmla="*/ 100 h 116"/>
                <a:gd name="T64" fmla="*/ 148 w 172"/>
                <a:gd name="T65" fmla="*/ 115 h 116"/>
                <a:gd name="T66" fmla="*/ 129 w 172"/>
                <a:gd name="T67" fmla="*/ 103 h 116"/>
                <a:gd name="T68" fmla="*/ 129 w 172"/>
                <a:gd name="T69" fmla="*/ 104 h 116"/>
                <a:gd name="T70" fmla="*/ 129 w 172"/>
                <a:gd name="T71" fmla="*/ 107 h 116"/>
                <a:gd name="T72" fmla="*/ 127 w 172"/>
                <a:gd name="T73" fmla="*/ 109 h 116"/>
                <a:gd name="T74" fmla="*/ 118 w 172"/>
                <a:gd name="T75" fmla="*/ 110 h 116"/>
                <a:gd name="T76" fmla="*/ 99 w 172"/>
                <a:gd name="T77" fmla="*/ 99 h 116"/>
                <a:gd name="T78" fmla="*/ 94 w 172"/>
                <a:gd name="T79" fmla="*/ 99 h 116"/>
                <a:gd name="T80" fmla="*/ 78 w 172"/>
                <a:gd name="T81" fmla="*/ 103 h 116"/>
                <a:gd name="T82" fmla="*/ 73 w 172"/>
                <a:gd name="T83" fmla="*/ 102 h 116"/>
                <a:gd name="T84" fmla="*/ 73 w 172"/>
                <a:gd name="T85" fmla="*/ 100 h 116"/>
                <a:gd name="T86" fmla="*/ 73 w 172"/>
                <a:gd name="T87" fmla="*/ 99 h 116"/>
                <a:gd name="T88" fmla="*/ 73 w 172"/>
                <a:gd name="T89" fmla="*/ 81 h 116"/>
                <a:gd name="T90" fmla="*/ 68 w 172"/>
                <a:gd name="T91" fmla="*/ 80 h 116"/>
                <a:gd name="T92" fmla="*/ 49 w 172"/>
                <a:gd name="T93" fmla="*/ 55 h 116"/>
                <a:gd name="T94" fmla="*/ 48 w 172"/>
                <a:gd name="T95" fmla="*/ 49 h 116"/>
                <a:gd name="T96" fmla="*/ 48 w 172"/>
                <a:gd name="T97" fmla="*/ 37 h 116"/>
                <a:gd name="T98" fmla="*/ 41 w 172"/>
                <a:gd name="T99" fmla="*/ 26 h 116"/>
                <a:gd name="T100" fmla="*/ 29 w 172"/>
                <a:gd name="T101" fmla="*/ 26 h 116"/>
                <a:gd name="T102" fmla="*/ 6 w 172"/>
                <a:gd name="T103" fmla="*/ 14 h 116"/>
                <a:gd name="T104" fmla="*/ 3 w 172"/>
                <a:gd name="T105" fmla="*/ 4 h 116"/>
                <a:gd name="T106" fmla="*/ 9 w 172"/>
                <a:gd name="T107" fmla="*/ 0 h 116"/>
                <a:gd name="T108" fmla="*/ 23 w 172"/>
                <a:gd name="T109" fmla="*/ 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116">
                  <a:moveTo>
                    <a:pt x="23" y="7"/>
                  </a:moveTo>
                  <a:lnTo>
                    <a:pt x="25" y="8"/>
                  </a:lnTo>
                  <a:lnTo>
                    <a:pt x="25" y="8"/>
                  </a:lnTo>
                  <a:lnTo>
                    <a:pt x="32" y="5"/>
                  </a:lnTo>
                  <a:lnTo>
                    <a:pt x="33" y="5"/>
                  </a:lnTo>
                  <a:lnTo>
                    <a:pt x="43" y="11"/>
                  </a:lnTo>
                  <a:lnTo>
                    <a:pt x="64" y="20"/>
                  </a:lnTo>
                  <a:lnTo>
                    <a:pt x="68" y="21"/>
                  </a:lnTo>
                  <a:lnTo>
                    <a:pt x="71" y="21"/>
                  </a:lnTo>
                  <a:lnTo>
                    <a:pt x="73" y="20"/>
                  </a:lnTo>
                  <a:lnTo>
                    <a:pt x="73" y="20"/>
                  </a:lnTo>
                  <a:lnTo>
                    <a:pt x="74" y="20"/>
                  </a:lnTo>
                  <a:lnTo>
                    <a:pt x="76" y="20"/>
                  </a:lnTo>
                  <a:lnTo>
                    <a:pt x="83" y="19"/>
                  </a:lnTo>
                  <a:lnTo>
                    <a:pt x="87" y="20"/>
                  </a:lnTo>
                  <a:lnTo>
                    <a:pt x="87" y="20"/>
                  </a:lnTo>
                  <a:lnTo>
                    <a:pt x="89" y="20"/>
                  </a:lnTo>
                  <a:lnTo>
                    <a:pt x="89" y="21"/>
                  </a:lnTo>
                  <a:lnTo>
                    <a:pt x="89" y="21"/>
                  </a:lnTo>
                  <a:lnTo>
                    <a:pt x="89" y="23"/>
                  </a:lnTo>
                  <a:lnTo>
                    <a:pt x="89" y="24"/>
                  </a:lnTo>
                  <a:lnTo>
                    <a:pt x="89" y="26"/>
                  </a:lnTo>
                  <a:lnTo>
                    <a:pt x="92" y="27"/>
                  </a:lnTo>
                  <a:lnTo>
                    <a:pt x="99" y="32"/>
                  </a:lnTo>
                  <a:lnTo>
                    <a:pt x="100" y="33"/>
                  </a:lnTo>
                  <a:lnTo>
                    <a:pt x="110" y="32"/>
                  </a:lnTo>
                  <a:lnTo>
                    <a:pt x="115" y="33"/>
                  </a:lnTo>
                  <a:lnTo>
                    <a:pt x="115" y="33"/>
                  </a:lnTo>
                  <a:lnTo>
                    <a:pt x="121" y="39"/>
                  </a:lnTo>
                  <a:lnTo>
                    <a:pt x="127" y="43"/>
                  </a:lnTo>
                  <a:lnTo>
                    <a:pt x="140" y="51"/>
                  </a:lnTo>
                  <a:lnTo>
                    <a:pt x="143" y="51"/>
                  </a:lnTo>
                  <a:lnTo>
                    <a:pt x="144" y="51"/>
                  </a:lnTo>
                  <a:lnTo>
                    <a:pt x="145" y="49"/>
                  </a:lnTo>
                  <a:lnTo>
                    <a:pt x="145" y="49"/>
                  </a:lnTo>
                  <a:lnTo>
                    <a:pt x="147" y="48"/>
                  </a:lnTo>
                  <a:lnTo>
                    <a:pt x="147" y="46"/>
                  </a:lnTo>
                  <a:lnTo>
                    <a:pt x="147" y="45"/>
                  </a:lnTo>
                  <a:lnTo>
                    <a:pt x="147" y="43"/>
                  </a:lnTo>
                  <a:lnTo>
                    <a:pt x="150" y="39"/>
                  </a:lnTo>
                  <a:lnTo>
                    <a:pt x="150" y="37"/>
                  </a:lnTo>
                  <a:lnTo>
                    <a:pt x="151" y="37"/>
                  </a:lnTo>
                  <a:lnTo>
                    <a:pt x="153" y="36"/>
                  </a:lnTo>
                  <a:lnTo>
                    <a:pt x="153" y="36"/>
                  </a:lnTo>
                  <a:lnTo>
                    <a:pt x="154" y="36"/>
                  </a:lnTo>
                  <a:lnTo>
                    <a:pt x="159" y="40"/>
                  </a:lnTo>
                  <a:lnTo>
                    <a:pt x="166" y="49"/>
                  </a:lnTo>
                  <a:lnTo>
                    <a:pt x="167" y="51"/>
                  </a:lnTo>
                  <a:lnTo>
                    <a:pt x="167" y="52"/>
                  </a:lnTo>
                  <a:lnTo>
                    <a:pt x="166" y="53"/>
                  </a:lnTo>
                  <a:lnTo>
                    <a:pt x="161" y="58"/>
                  </a:lnTo>
                  <a:lnTo>
                    <a:pt x="161" y="59"/>
                  </a:lnTo>
                  <a:lnTo>
                    <a:pt x="161" y="59"/>
                  </a:lnTo>
                  <a:lnTo>
                    <a:pt x="163" y="64"/>
                  </a:lnTo>
                  <a:lnTo>
                    <a:pt x="170" y="72"/>
                  </a:lnTo>
                  <a:lnTo>
                    <a:pt x="172" y="74"/>
                  </a:lnTo>
                  <a:lnTo>
                    <a:pt x="172" y="75"/>
                  </a:lnTo>
                  <a:lnTo>
                    <a:pt x="172" y="77"/>
                  </a:lnTo>
                  <a:lnTo>
                    <a:pt x="169" y="80"/>
                  </a:lnTo>
                  <a:lnTo>
                    <a:pt x="169" y="83"/>
                  </a:lnTo>
                  <a:lnTo>
                    <a:pt x="167" y="87"/>
                  </a:lnTo>
                  <a:lnTo>
                    <a:pt x="167" y="94"/>
                  </a:lnTo>
                  <a:lnTo>
                    <a:pt x="166" y="97"/>
                  </a:lnTo>
                  <a:lnTo>
                    <a:pt x="166" y="100"/>
                  </a:lnTo>
                  <a:lnTo>
                    <a:pt x="161" y="106"/>
                  </a:lnTo>
                  <a:lnTo>
                    <a:pt x="148" y="115"/>
                  </a:lnTo>
                  <a:lnTo>
                    <a:pt x="145" y="116"/>
                  </a:lnTo>
                  <a:lnTo>
                    <a:pt x="129" y="103"/>
                  </a:lnTo>
                  <a:lnTo>
                    <a:pt x="129" y="103"/>
                  </a:lnTo>
                  <a:lnTo>
                    <a:pt x="129" y="104"/>
                  </a:lnTo>
                  <a:lnTo>
                    <a:pt x="129" y="106"/>
                  </a:lnTo>
                  <a:lnTo>
                    <a:pt x="129" y="107"/>
                  </a:lnTo>
                  <a:lnTo>
                    <a:pt x="128" y="109"/>
                  </a:lnTo>
                  <a:lnTo>
                    <a:pt x="127" y="109"/>
                  </a:lnTo>
                  <a:lnTo>
                    <a:pt x="121" y="110"/>
                  </a:lnTo>
                  <a:lnTo>
                    <a:pt x="118" y="110"/>
                  </a:lnTo>
                  <a:lnTo>
                    <a:pt x="115" y="110"/>
                  </a:lnTo>
                  <a:lnTo>
                    <a:pt x="99" y="99"/>
                  </a:lnTo>
                  <a:lnTo>
                    <a:pt x="96" y="99"/>
                  </a:lnTo>
                  <a:lnTo>
                    <a:pt x="94" y="99"/>
                  </a:lnTo>
                  <a:lnTo>
                    <a:pt x="92" y="100"/>
                  </a:lnTo>
                  <a:lnTo>
                    <a:pt x="78" y="103"/>
                  </a:lnTo>
                  <a:lnTo>
                    <a:pt x="73" y="102"/>
                  </a:lnTo>
                  <a:lnTo>
                    <a:pt x="73" y="102"/>
                  </a:lnTo>
                  <a:lnTo>
                    <a:pt x="73" y="100"/>
                  </a:lnTo>
                  <a:lnTo>
                    <a:pt x="73" y="100"/>
                  </a:lnTo>
                  <a:lnTo>
                    <a:pt x="73" y="100"/>
                  </a:lnTo>
                  <a:lnTo>
                    <a:pt x="73" y="99"/>
                  </a:lnTo>
                  <a:lnTo>
                    <a:pt x="73" y="84"/>
                  </a:lnTo>
                  <a:lnTo>
                    <a:pt x="73" y="81"/>
                  </a:lnTo>
                  <a:lnTo>
                    <a:pt x="71" y="81"/>
                  </a:lnTo>
                  <a:lnTo>
                    <a:pt x="68" y="80"/>
                  </a:lnTo>
                  <a:lnTo>
                    <a:pt x="55" y="64"/>
                  </a:lnTo>
                  <a:lnTo>
                    <a:pt x="49" y="55"/>
                  </a:lnTo>
                  <a:lnTo>
                    <a:pt x="49" y="52"/>
                  </a:lnTo>
                  <a:lnTo>
                    <a:pt x="48" y="49"/>
                  </a:lnTo>
                  <a:lnTo>
                    <a:pt x="48" y="49"/>
                  </a:lnTo>
                  <a:lnTo>
                    <a:pt x="48" y="37"/>
                  </a:lnTo>
                  <a:lnTo>
                    <a:pt x="42" y="27"/>
                  </a:lnTo>
                  <a:lnTo>
                    <a:pt x="41" y="26"/>
                  </a:lnTo>
                  <a:lnTo>
                    <a:pt x="33" y="27"/>
                  </a:lnTo>
                  <a:lnTo>
                    <a:pt x="29" y="26"/>
                  </a:lnTo>
                  <a:lnTo>
                    <a:pt x="20" y="20"/>
                  </a:lnTo>
                  <a:lnTo>
                    <a:pt x="6" y="14"/>
                  </a:lnTo>
                  <a:lnTo>
                    <a:pt x="3" y="8"/>
                  </a:lnTo>
                  <a:lnTo>
                    <a:pt x="3" y="4"/>
                  </a:lnTo>
                  <a:lnTo>
                    <a:pt x="0" y="1"/>
                  </a:lnTo>
                  <a:lnTo>
                    <a:pt x="9" y="0"/>
                  </a:lnTo>
                  <a:lnTo>
                    <a:pt x="11" y="0"/>
                  </a:lnTo>
                  <a:lnTo>
                    <a:pt x="23" y="7"/>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17">
              <a:extLst>
                <a:ext uri="{FF2B5EF4-FFF2-40B4-BE49-F238E27FC236}">
                  <a16:creationId xmlns:a16="http://schemas.microsoft.com/office/drawing/2014/main" id="{85860ACD-B57A-419E-A3A6-30E7BC76FB2A}"/>
                </a:ext>
              </a:extLst>
            </p:cNvPr>
            <p:cNvSpPr>
              <a:spLocks noEditPoints="1"/>
            </p:cNvSpPr>
            <p:nvPr/>
          </p:nvSpPr>
          <p:spPr bwMode="gray">
            <a:xfrm>
              <a:off x="6557963" y="1438275"/>
              <a:ext cx="1924050" cy="1982788"/>
            </a:xfrm>
            <a:custGeom>
              <a:avLst/>
              <a:gdLst>
                <a:gd name="T0" fmla="*/ 708 w 1212"/>
                <a:gd name="T1" fmla="*/ 527 h 1249"/>
                <a:gd name="T2" fmla="*/ 695 w 1212"/>
                <a:gd name="T3" fmla="*/ 522 h 1249"/>
                <a:gd name="T4" fmla="*/ 657 w 1212"/>
                <a:gd name="T5" fmla="*/ 546 h 1249"/>
                <a:gd name="T6" fmla="*/ 645 w 1212"/>
                <a:gd name="T7" fmla="*/ 611 h 1249"/>
                <a:gd name="T8" fmla="*/ 636 w 1212"/>
                <a:gd name="T9" fmla="*/ 640 h 1249"/>
                <a:gd name="T10" fmla="*/ 655 w 1212"/>
                <a:gd name="T11" fmla="*/ 659 h 1249"/>
                <a:gd name="T12" fmla="*/ 702 w 1212"/>
                <a:gd name="T13" fmla="*/ 651 h 1249"/>
                <a:gd name="T14" fmla="*/ 748 w 1212"/>
                <a:gd name="T15" fmla="*/ 662 h 1249"/>
                <a:gd name="T16" fmla="*/ 772 w 1212"/>
                <a:gd name="T17" fmla="*/ 659 h 1249"/>
                <a:gd name="T18" fmla="*/ 823 w 1212"/>
                <a:gd name="T19" fmla="*/ 688 h 1249"/>
                <a:gd name="T20" fmla="*/ 845 w 1212"/>
                <a:gd name="T21" fmla="*/ 662 h 1249"/>
                <a:gd name="T22" fmla="*/ 855 w 1212"/>
                <a:gd name="T23" fmla="*/ 624 h 1249"/>
                <a:gd name="T24" fmla="*/ 773 w 1212"/>
                <a:gd name="T25" fmla="*/ 537 h 1249"/>
                <a:gd name="T26" fmla="*/ 919 w 1212"/>
                <a:gd name="T27" fmla="*/ 68 h 1249"/>
                <a:gd name="T28" fmla="*/ 983 w 1212"/>
                <a:gd name="T29" fmla="*/ 157 h 1249"/>
                <a:gd name="T30" fmla="*/ 1097 w 1212"/>
                <a:gd name="T31" fmla="*/ 166 h 1249"/>
                <a:gd name="T32" fmla="*/ 1070 w 1212"/>
                <a:gd name="T33" fmla="*/ 276 h 1249"/>
                <a:gd name="T34" fmla="*/ 990 w 1212"/>
                <a:gd name="T35" fmla="*/ 400 h 1249"/>
                <a:gd name="T36" fmla="*/ 1161 w 1212"/>
                <a:gd name="T37" fmla="*/ 549 h 1249"/>
                <a:gd name="T38" fmla="*/ 1169 w 1212"/>
                <a:gd name="T39" fmla="*/ 735 h 1249"/>
                <a:gd name="T40" fmla="*/ 1206 w 1212"/>
                <a:gd name="T41" fmla="*/ 849 h 1249"/>
                <a:gd name="T42" fmla="*/ 1151 w 1212"/>
                <a:gd name="T43" fmla="*/ 994 h 1249"/>
                <a:gd name="T44" fmla="*/ 1193 w 1212"/>
                <a:gd name="T45" fmla="*/ 1141 h 1249"/>
                <a:gd name="T46" fmla="*/ 970 w 1212"/>
                <a:gd name="T47" fmla="*/ 1179 h 1249"/>
                <a:gd name="T48" fmla="*/ 796 w 1212"/>
                <a:gd name="T49" fmla="*/ 1239 h 1249"/>
                <a:gd name="T50" fmla="*/ 687 w 1212"/>
                <a:gd name="T51" fmla="*/ 1227 h 1249"/>
                <a:gd name="T52" fmla="*/ 661 w 1212"/>
                <a:gd name="T53" fmla="*/ 1214 h 1249"/>
                <a:gd name="T54" fmla="*/ 673 w 1212"/>
                <a:gd name="T55" fmla="*/ 1169 h 1249"/>
                <a:gd name="T56" fmla="*/ 648 w 1212"/>
                <a:gd name="T57" fmla="*/ 1115 h 1249"/>
                <a:gd name="T58" fmla="*/ 655 w 1212"/>
                <a:gd name="T59" fmla="*/ 1029 h 1249"/>
                <a:gd name="T60" fmla="*/ 648 w 1212"/>
                <a:gd name="T61" fmla="*/ 965 h 1249"/>
                <a:gd name="T62" fmla="*/ 546 w 1212"/>
                <a:gd name="T63" fmla="*/ 917 h 1249"/>
                <a:gd name="T64" fmla="*/ 425 w 1212"/>
                <a:gd name="T65" fmla="*/ 883 h 1249"/>
                <a:gd name="T66" fmla="*/ 378 w 1212"/>
                <a:gd name="T67" fmla="*/ 862 h 1249"/>
                <a:gd name="T68" fmla="*/ 322 w 1212"/>
                <a:gd name="T69" fmla="*/ 771 h 1249"/>
                <a:gd name="T70" fmla="*/ 324 w 1212"/>
                <a:gd name="T71" fmla="*/ 710 h 1249"/>
                <a:gd name="T72" fmla="*/ 333 w 1212"/>
                <a:gd name="T73" fmla="*/ 665 h 1249"/>
                <a:gd name="T74" fmla="*/ 352 w 1212"/>
                <a:gd name="T75" fmla="*/ 610 h 1249"/>
                <a:gd name="T76" fmla="*/ 341 w 1212"/>
                <a:gd name="T77" fmla="*/ 594 h 1249"/>
                <a:gd name="T78" fmla="*/ 316 w 1212"/>
                <a:gd name="T79" fmla="*/ 592 h 1249"/>
                <a:gd name="T80" fmla="*/ 303 w 1212"/>
                <a:gd name="T81" fmla="*/ 572 h 1249"/>
                <a:gd name="T82" fmla="*/ 324 w 1212"/>
                <a:gd name="T83" fmla="*/ 518 h 1249"/>
                <a:gd name="T84" fmla="*/ 319 w 1212"/>
                <a:gd name="T85" fmla="*/ 467 h 1249"/>
                <a:gd name="T86" fmla="*/ 326 w 1212"/>
                <a:gd name="T87" fmla="*/ 399 h 1249"/>
                <a:gd name="T88" fmla="*/ 260 w 1212"/>
                <a:gd name="T89" fmla="*/ 380 h 1249"/>
                <a:gd name="T90" fmla="*/ 164 w 1212"/>
                <a:gd name="T91" fmla="*/ 319 h 1249"/>
                <a:gd name="T92" fmla="*/ 90 w 1212"/>
                <a:gd name="T93" fmla="*/ 284 h 1249"/>
                <a:gd name="T94" fmla="*/ 35 w 1212"/>
                <a:gd name="T95" fmla="*/ 252 h 1249"/>
                <a:gd name="T96" fmla="*/ 91 w 1212"/>
                <a:gd name="T97" fmla="*/ 196 h 1249"/>
                <a:gd name="T98" fmla="*/ 204 w 1212"/>
                <a:gd name="T99" fmla="*/ 170 h 1249"/>
                <a:gd name="T100" fmla="*/ 291 w 1212"/>
                <a:gd name="T101" fmla="*/ 105 h 1249"/>
                <a:gd name="T102" fmla="*/ 333 w 1212"/>
                <a:gd name="T103" fmla="*/ 118 h 1249"/>
                <a:gd name="T104" fmla="*/ 425 w 1212"/>
                <a:gd name="T105" fmla="*/ 158 h 1249"/>
                <a:gd name="T106" fmla="*/ 515 w 1212"/>
                <a:gd name="T107" fmla="*/ 204 h 1249"/>
                <a:gd name="T108" fmla="*/ 582 w 1212"/>
                <a:gd name="T109" fmla="*/ 202 h 1249"/>
                <a:gd name="T110" fmla="*/ 616 w 1212"/>
                <a:gd name="T111" fmla="*/ 201 h 1249"/>
                <a:gd name="T112" fmla="*/ 648 w 1212"/>
                <a:gd name="T113" fmla="*/ 169 h 1249"/>
                <a:gd name="T114" fmla="*/ 689 w 1212"/>
                <a:gd name="T115" fmla="*/ 156 h 1249"/>
                <a:gd name="T116" fmla="*/ 786 w 1212"/>
                <a:gd name="T117" fmla="*/ 86 h 1249"/>
                <a:gd name="T118" fmla="*/ 903 w 1212"/>
                <a:gd name="T119" fmla="*/ 33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12" h="1249">
                  <a:moveTo>
                    <a:pt x="763" y="508"/>
                  </a:moveTo>
                  <a:lnTo>
                    <a:pt x="754" y="515"/>
                  </a:lnTo>
                  <a:lnTo>
                    <a:pt x="753" y="517"/>
                  </a:lnTo>
                  <a:lnTo>
                    <a:pt x="753" y="520"/>
                  </a:lnTo>
                  <a:lnTo>
                    <a:pt x="751" y="521"/>
                  </a:lnTo>
                  <a:lnTo>
                    <a:pt x="750" y="521"/>
                  </a:lnTo>
                  <a:lnTo>
                    <a:pt x="750" y="521"/>
                  </a:lnTo>
                  <a:lnTo>
                    <a:pt x="743" y="517"/>
                  </a:lnTo>
                  <a:lnTo>
                    <a:pt x="735" y="522"/>
                  </a:lnTo>
                  <a:lnTo>
                    <a:pt x="732" y="527"/>
                  </a:lnTo>
                  <a:lnTo>
                    <a:pt x="732" y="528"/>
                  </a:lnTo>
                  <a:lnTo>
                    <a:pt x="731" y="530"/>
                  </a:lnTo>
                  <a:lnTo>
                    <a:pt x="729" y="530"/>
                  </a:lnTo>
                  <a:lnTo>
                    <a:pt x="727" y="531"/>
                  </a:lnTo>
                  <a:lnTo>
                    <a:pt x="713" y="530"/>
                  </a:lnTo>
                  <a:lnTo>
                    <a:pt x="708" y="527"/>
                  </a:lnTo>
                  <a:lnTo>
                    <a:pt x="706" y="527"/>
                  </a:lnTo>
                  <a:lnTo>
                    <a:pt x="706" y="525"/>
                  </a:lnTo>
                  <a:lnTo>
                    <a:pt x="705" y="524"/>
                  </a:lnTo>
                  <a:lnTo>
                    <a:pt x="705" y="518"/>
                  </a:lnTo>
                  <a:lnTo>
                    <a:pt x="705" y="517"/>
                  </a:lnTo>
                  <a:lnTo>
                    <a:pt x="703" y="515"/>
                  </a:lnTo>
                  <a:lnTo>
                    <a:pt x="705" y="514"/>
                  </a:lnTo>
                  <a:lnTo>
                    <a:pt x="705" y="512"/>
                  </a:lnTo>
                  <a:lnTo>
                    <a:pt x="705" y="512"/>
                  </a:lnTo>
                  <a:lnTo>
                    <a:pt x="705" y="512"/>
                  </a:lnTo>
                  <a:lnTo>
                    <a:pt x="700" y="512"/>
                  </a:lnTo>
                  <a:lnTo>
                    <a:pt x="699" y="512"/>
                  </a:lnTo>
                  <a:lnTo>
                    <a:pt x="697" y="514"/>
                  </a:lnTo>
                  <a:lnTo>
                    <a:pt x="697" y="517"/>
                  </a:lnTo>
                  <a:lnTo>
                    <a:pt x="696" y="520"/>
                  </a:lnTo>
                  <a:lnTo>
                    <a:pt x="695" y="522"/>
                  </a:lnTo>
                  <a:lnTo>
                    <a:pt x="690" y="525"/>
                  </a:lnTo>
                  <a:lnTo>
                    <a:pt x="687" y="527"/>
                  </a:lnTo>
                  <a:lnTo>
                    <a:pt x="677" y="528"/>
                  </a:lnTo>
                  <a:lnTo>
                    <a:pt x="677" y="530"/>
                  </a:lnTo>
                  <a:lnTo>
                    <a:pt x="673" y="538"/>
                  </a:lnTo>
                  <a:lnTo>
                    <a:pt x="673" y="540"/>
                  </a:lnTo>
                  <a:lnTo>
                    <a:pt x="673" y="541"/>
                  </a:lnTo>
                  <a:lnTo>
                    <a:pt x="673" y="544"/>
                  </a:lnTo>
                  <a:lnTo>
                    <a:pt x="673" y="546"/>
                  </a:lnTo>
                  <a:lnTo>
                    <a:pt x="673" y="546"/>
                  </a:lnTo>
                  <a:lnTo>
                    <a:pt x="674" y="549"/>
                  </a:lnTo>
                  <a:lnTo>
                    <a:pt x="674" y="549"/>
                  </a:lnTo>
                  <a:lnTo>
                    <a:pt x="676" y="550"/>
                  </a:lnTo>
                  <a:lnTo>
                    <a:pt x="676" y="552"/>
                  </a:lnTo>
                  <a:lnTo>
                    <a:pt x="671" y="552"/>
                  </a:lnTo>
                  <a:lnTo>
                    <a:pt x="657" y="546"/>
                  </a:lnTo>
                  <a:lnTo>
                    <a:pt x="654" y="544"/>
                  </a:lnTo>
                  <a:lnTo>
                    <a:pt x="654" y="544"/>
                  </a:lnTo>
                  <a:lnTo>
                    <a:pt x="652" y="546"/>
                  </a:lnTo>
                  <a:lnTo>
                    <a:pt x="651" y="549"/>
                  </a:lnTo>
                  <a:lnTo>
                    <a:pt x="651" y="550"/>
                  </a:lnTo>
                  <a:lnTo>
                    <a:pt x="651" y="552"/>
                  </a:lnTo>
                  <a:lnTo>
                    <a:pt x="649" y="553"/>
                  </a:lnTo>
                  <a:lnTo>
                    <a:pt x="651" y="554"/>
                  </a:lnTo>
                  <a:lnTo>
                    <a:pt x="651" y="557"/>
                  </a:lnTo>
                  <a:lnTo>
                    <a:pt x="651" y="563"/>
                  </a:lnTo>
                  <a:lnTo>
                    <a:pt x="649" y="572"/>
                  </a:lnTo>
                  <a:lnTo>
                    <a:pt x="648" y="588"/>
                  </a:lnTo>
                  <a:lnTo>
                    <a:pt x="654" y="597"/>
                  </a:lnTo>
                  <a:lnTo>
                    <a:pt x="654" y="598"/>
                  </a:lnTo>
                  <a:lnTo>
                    <a:pt x="654" y="601"/>
                  </a:lnTo>
                  <a:lnTo>
                    <a:pt x="645" y="611"/>
                  </a:lnTo>
                  <a:lnTo>
                    <a:pt x="644" y="613"/>
                  </a:lnTo>
                  <a:lnTo>
                    <a:pt x="641" y="614"/>
                  </a:lnTo>
                  <a:lnTo>
                    <a:pt x="641" y="614"/>
                  </a:lnTo>
                  <a:lnTo>
                    <a:pt x="639" y="616"/>
                  </a:lnTo>
                  <a:lnTo>
                    <a:pt x="639" y="617"/>
                  </a:lnTo>
                  <a:lnTo>
                    <a:pt x="638" y="621"/>
                  </a:lnTo>
                  <a:lnTo>
                    <a:pt x="638" y="624"/>
                  </a:lnTo>
                  <a:lnTo>
                    <a:pt x="638" y="627"/>
                  </a:lnTo>
                  <a:lnTo>
                    <a:pt x="638" y="630"/>
                  </a:lnTo>
                  <a:lnTo>
                    <a:pt x="639" y="632"/>
                  </a:lnTo>
                  <a:lnTo>
                    <a:pt x="641" y="635"/>
                  </a:lnTo>
                  <a:lnTo>
                    <a:pt x="641" y="635"/>
                  </a:lnTo>
                  <a:lnTo>
                    <a:pt x="639" y="636"/>
                  </a:lnTo>
                  <a:lnTo>
                    <a:pt x="638" y="637"/>
                  </a:lnTo>
                  <a:lnTo>
                    <a:pt x="636" y="639"/>
                  </a:lnTo>
                  <a:lnTo>
                    <a:pt x="636" y="640"/>
                  </a:lnTo>
                  <a:lnTo>
                    <a:pt x="636" y="640"/>
                  </a:lnTo>
                  <a:lnTo>
                    <a:pt x="636" y="642"/>
                  </a:lnTo>
                  <a:lnTo>
                    <a:pt x="636" y="643"/>
                  </a:lnTo>
                  <a:lnTo>
                    <a:pt x="635" y="643"/>
                  </a:lnTo>
                  <a:lnTo>
                    <a:pt x="632" y="648"/>
                  </a:lnTo>
                  <a:lnTo>
                    <a:pt x="632" y="649"/>
                  </a:lnTo>
                  <a:lnTo>
                    <a:pt x="632" y="649"/>
                  </a:lnTo>
                  <a:lnTo>
                    <a:pt x="632" y="651"/>
                  </a:lnTo>
                  <a:lnTo>
                    <a:pt x="632" y="651"/>
                  </a:lnTo>
                  <a:lnTo>
                    <a:pt x="632" y="651"/>
                  </a:lnTo>
                  <a:lnTo>
                    <a:pt x="633" y="651"/>
                  </a:lnTo>
                  <a:lnTo>
                    <a:pt x="639" y="656"/>
                  </a:lnTo>
                  <a:lnTo>
                    <a:pt x="641" y="656"/>
                  </a:lnTo>
                  <a:lnTo>
                    <a:pt x="642" y="658"/>
                  </a:lnTo>
                  <a:lnTo>
                    <a:pt x="654" y="659"/>
                  </a:lnTo>
                  <a:lnTo>
                    <a:pt x="655" y="659"/>
                  </a:lnTo>
                  <a:lnTo>
                    <a:pt x="657" y="659"/>
                  </a:lnTo>
                  <a:lnTo>
                    <a:pt x="658" y="658"/>
                  </a:lnTo>
                  <a:lnTo>
                    <a:pt x="658" y="656"/>
                  </a:lnTo>
                  <a:lnTo>
                    <a:pt x="660" y="655"/>
                  </a:lnTo>
                  <a:lnTo>
                    <a:pt x="674" y="648"/>
                  </a:lnTo>
                  <a:lnTo>
                    <a:pt x="676" y="648"/>
                  </a:lnTo>
                  <a:lnTo>
                    <a:pt x="678" y="649"/>
                  </a:lnTo>
                  <a:lnTo>
                    <a:pt x="683" y="652"/>
                  </a:lnTo>
                  <a:lnTo>
                    <a:pt x="686" y="655"/>
                  </a:lnTo>
                  <a:lnTo>
                    <a:pt x="687" y="655"/>
                  </a:lnTo>
                  <a:lnTo>
                    <a:pt x="689" y="655"/>
                  </a:lnTo>
                  <a:lnTo>
                    <a:pt x="699" y="651"/>
                  </a:lnTo>
                  <a:lnTo>
                    <a:pt x="700" y="651"/>
                  </a:lnTo>
                  <a:lnTo>
                    <a:pt x="702" y="649"/>
                  </a:lnTo>
                  <a:lnTo>
                    <a:pt x="702" y="649"/>
                  </a:lnTo>
                  <a:lnTo>
                    <a:pt x="702" y="651"/>
                  </a:lnTo>
                  <a:lnTo>
                    <a:pt x="703" y="652"/>
                  </a:lnTo>
                  <a:lnTo>
                    <a:pt x="706" y="656"/>
                  </a:lnTo>
                  <a:lnTo>
                    <a:pt x="708" y="658"/>
                  </a:lnTo>
                  <a:lnTo>
                    <a:pt x="708" y="658"/>
                  </a:lnTo>
                  <a:lnTo>
                    <a:pt x="716" y="655"/>
                  </a:lnTo>
                  <a:lnTo>
                    <a:pt x="719" y="653"/>
                  </a:lnTo>
                  <a:lnTo>
                    <a:pt x="721" y="655"/>
                  </a:lnTo>
                  <a:lnTo>
                    <a:pt x="722" y="656"/>
                  </a:lnTo>
                  <a:lnTo>
                    <a:pt x="727" y="661"/>
                  </a:lnTo>
                  <a:lnTo>
                    <a:pt x="729" y="664"/>
                  </a:lnTo>
                  <a:lnTo>
                    <a:pt x="731" y="665"/>
                  </a:lnTo>
                  <a:lnTo>
                    <a:pt x="737" y="668"/>
                  </a:lnTo>
                  <a:lnTo>
                    <a:pt x="747" y="668"/>
                  </a:lnTo>
                  <a:lnTo>
                    <a:pt x="748" y="665"/>
                  </a:lnTo>
                  <a:lnTo>
                    <a:pt x="748" y="664"/>
                  </a:lnTo>
                  <a:lnTo>
                    <a:pt x="748" y="662"/>
                  </a:lnTo>
                  <a:lnTo>
                    <a:pt x="747" y="659"/>
                  </a:lnTo>
                  <a:lnTo>
                    <a:pt x="747" y="656"/>
                  </a:lnTo>
                  <a:lnTo>
                    <a:pt x="747" y="655"/>
                  </a:lnTo>
                  <a:lnTo>
                    <a:pt x="747" y="653"/>
                  </a:lnTo>
                  <a:lnTo>
                    <a:pt x="748" y="652"/>
                  </a:lnTo>
                  <a:lnTo>
                    <a:pt x="748" y="652"/>
                  </a:lnTo>
                  <a:lnTo>
                    <a:pt x="750" y="651"/>
                  </a:lnTo>
                  <a:lnTo>
                    <a:pt x="756" y="649"/>
                  </a:lnTo>
                  <a:lnTo>
                    <a:pt x="759" y="649"/>
                  </a:lnTo>
                  <a:lnTo>
                    <a:pt x="760" y="649"/>
                  </a:lnTo>
                  <a:lnTo>
                    <a:pt x="763" y="651"/>
                  </a:lnTo>
                  <a:lnTo>
                    <a:pt x="764" y="653"/>
                  </a:lnTo>
                  <a:lnTo>
                    <a:pt x="764" y="656"/>
                  </a:lnTo>
                  <a:lnTo>
                    <a:pt x="766" y="658"/>
                  </a:lnTo>
                  <a:lnTo>
                    <a:pt x="767" y="659"/>
                  </a:lnTo>
                  <a:lnTo>
                    <a:pt x="772" y="659"/>
                  </a:lnTo>
                  <a:lnTo>
                    <a:pt x="775" y="659"/>
                  </a:lnTo>
                  <a:lnTo>
                    <a:pt x="776" y="659"/>
                  </a:lnTo>
                  <a:lnTo>
                    <a:pt x="776" y="658"/>
                  </a:lnTo>
                  <a:lnTo>
                    <a:pt x="778" y="656"/>
                  </a:lnTo>
                  <a:lnTo>
                    <a:pt x="779" y="656"/>
                  </a:lnTo>
                  <a:lnTo>
                    <a:pt x="780" y="655"/>
                  </a:lnTo>
                  <a:lnTo>
                    <a:pt x="783" y="655"/>
                  </a:lnTo>
                  <a:lnTo>
                    <a:pt x="796" y="661"/>
                  </a:lnTo>
                  <a:lnTo>
                    <a:pt x="802" y="664"/>
                  </a:lnTo>
                  <a:lnTo>
                    <a:pt x="811" y="667"/>
                  </a:lnTo>
                  <a:lnTo>
                    <a:pt x="814" y="668"/>
                  </a:lnTo>
                  <a:lnTo>
                    <a:pt x="817" y="667"/>
                  </a:lnTo>
                  <a:lnTo>
                    <a:pt x="820" y="668"/>
                  </a:lnTo>
                  <a:lnTo>
                    <a:pt x="821" y="671"/>
                  </a:lnTo>
                  <a:lnTo>
                    <a:pt x="823" y="680"/>
                  </a:lnTo>
                  <a:lnTo>
                    <a:pt x="823" y="688"/>
                  </a:lnTo>
                  <a:lnTo>
                    <a:pt x="823" y="690"/>
                  </a:lnTo>
                  <a:lnTo>
                    <a:pt x="823" y="690"/>
                  </a:lnTo>
                  <a:lnTo>
                    <a:pt x="824" y="691"/>
                  </a:lnTo>
                  <a:lnTo>
                    <a:pt x="827" y="691"/>
                  </a:lnTo>
                  <a:lnTo>
                    <a:pt x="831" y="681"/>
                  </a:lnTo>
                  <a:lnTo>
                    <a:pt x="833" y="680"/>
                  </a:lnTo>
                  <a:lnTo>
                    <a:pt x="833" y="680"/>
                  </a:lnTo>
                  <a:lnTo>
                    <a:pt x="842" y="677"/>
                  </a:lnTo>
                  <a:lnTo>
                    <a:pt x="842" y="677"/>
                  </a:lnTo>
                  <a:lnTo>
                    <a:pt x="843" y="675"/>
                  </a:lnTo>
                  <a:lnTo>
                    <a:pt x="843" y="675"/>
                  </a:lnTo>
                  <a:lnTo>
                    <a:pt x="845" y="674"/>
                  </a:lnTo>
                  <a:lnTo>
                    <a:pt x="845" y="672"/>
                  </a:lnTo>
                  <a:lnTo>
                    <a:pt x="845" y="671"/>
                  </a:lnTo>
                  <a:lnTo>
                    <a:pt x="845" y="668"/>
                  </a:lnTo>
                  <a:lnTo>
                    <a:pt x="845" y="662"/>
                  </a:lnTo>
                  <a:lnTo>
                    <a:pt x="845" y="659"/>
                  </a:lnTo>
                  <a:lnTo>
                    <a:pt x="846" y="655"/>
                  </a:lnTo>
                  <a:lnTo>
                    <a:pt x="847" y="653"/>
                  </a:lnTo>
                  <a:lnTo>
                    <a:pt x="849" y="652"/>
                  </a:lnTo>
                  <a:lnTo>
                    <a:pt x="855" y="646"/>
                  </a:lnTo>
                  <a:lnTo>
                    <a:pt x="856" y="645"/>
                  </a:lnTo>
                  <a:lnTo>
                    <a:pt x="856" y="643"/>
                  </a:lnTo>
                  <a:lnTo>
                    <a:pt x="856" y="639"/>
                  </a:lnTo>
                  <a:lnTo>
                    <a:pt x="856" y="637"/>
                  </a:lnTo>
                  <a:lnTo>
                    <a:pt x="856" y="636"/>
                  </a:lnTo>
                  <a:lnTo>
                    <a:pt x="858" y="635"/>
                  </a:lnTo>
                  <a:lnTo>
                    <a:pt x="861" y="633"/>
                  </a:lnTo>
                  <a:lnTo>
                    <a:pt x="861" y="632"/>
                  </a:lnTo>
                  <a:lnTo>
                    <a:pt x="861" y="630"/>
                  </a:lnTo>
                  <a:lnTo>
                    <a:pt x="858" y="626"/>
                  </a:lnTo>
                  <a:lnTo>
                    <a:pt x="855" y="624"/>
                  </a:lnTo>
                  <a:lnTo>
                    <a:pt x="842" y="617"/>
                  </a:lnTo>
                  <a:lnTo>
                    <a:pt x="834" y="610"/>
                  </a:lnTo>
                  <a:lnTo>
                    <a:pt x="830" y="607"/>
                  </a:lnTo>
                  <a:lnTo>
                    <a:pt x="817" y="608"/>
                  </a:lnTo>
                  <a:lnTo>
                    <a:pt x="817" y="607"/>
                  </a:lnTo>
                  <a:lnTo>
                    <a:pt x="817" y="602"/>
                  </a:lnTo>
                  <a:lnTo>
                    <a:pt x="826" y="584"/>
                  </a:lnTo>
                  <a:lnTo>
                    <a:pt x="824" y="579"/>
                  </a:lnTo>
                  <a:lnTo>
                    <a:pt x="817" y="578"/>
                  </a:lnTo>
                  <a:lnTo>
                    <a:pt x="813" y="575"/>
                  </a:lnTo>
                  <a:lnTo>
                    <a:pt x="810" y="572"/>
                  </a:lnTo>
                  <a:lnTo>
                    <a:pt x="805" y="570"/>
                  </a:lnTo>
                  <a:lnTo>
                    <a:pt x="798" y="565"/>
                  </a:lnTo>
                  <a:lnTo>
                    <a:pt x="775" y="538"/>
                  </a:lnTo>
                  <a:lnTo>
                    <a:pt x="773" y="537"/>
                  </a:lnTo>
                  <a:lnTo>
                    <a:pt x="773" y="537"/>
                  </a:lnTo>
                  <a:lnTo>
                    <a:pt x="773" y="533"/>
                  </a:lnTo>
                  <a:lnTo>
                    <a:pt x="773" y="530"/>
                  </a:lnTo>
                  <a:lnTo>
                    <a:pt x="773" y="527"/>
                  </a:lnTo>
                  <a:lnTo>
                    <a:pt x="775" y="522"/>
                  </a:lnTo>
                  <a:lnTo>
                    <a:pt x="775" y="521"/>
                  </a:lnTo>
                  <a:lnTo>
                    <a:pt x="773" y="520"/>
                  </a:lnTo>
                  <a:lnTo>
                    <a:pt x="773" y="518"/>
                  </a:lnTo>
                  <a:lnTo>
                    <a:pt x="767" y="514"/>
                  </a:lnTo>
                  <a:lnTo>
                    <a:pt x="766" y="511"/>
                  </a:lnTo>
                  <a:lnTo>
                    <a:pt x="766" y="509"/>
                  </a:lnTo>
                  <a:lnTo>
                    <a:pt x="764" y="508"/>
                  </a:lnTo>
                  <a:lnTo>
                    <a:pt x="763" y="508"/>
                  </a:lnTo>
                  <a:close/>
                  <a:moveTo>
                    <a:pt x="903" y="33"/>
                  </a:moveTo>
                  <a:lnTo>
                    <a:pt x="913" y="52"/>
                  </a:lnTo>
                  <a:lnTo>
                    <a:pt x="914" y="59"/>
                  </a:lnTo>
                  <a:lnTo>
                    <a:pt x="919" y="68"/>
                  </a:lnTo>
                  <a:lnTo>
                    <a:pt x="944" y="67"/>
                  </a:lnTo>
                  <a:lnTo>
                    <a:pt x="964" y="68"/>
                  </a:lnTo>
                  <a:lnTo>
                    <a:pt x="971" y="71"/>
                  </a:lnTo>
                  <a:lnTo>
                    <a:pt x="980" y="73"/>
                  </a:lnTo>
                  <a:lnTo>
                    <a:pt x="987" y="62"/>
                  </a:lnTo>
                  <a:lnTo>
                    <a:pt x="996" y="61"/>
                  </a:lnTo>
                  <a:lnTo>
                    <a:pt x="1009" y="67"/>
                  </a:lnTo>
                  <a:lnTo>
                    <a:pt x="1024" y="67"/>
                  </a:lnTo>
                  <a:lnTo>
                    <a:pt x="1031" y="68"/>
                  </a:lnTo>
                  <a:lnTo>
                    <a:pt x="1032" y="83"/>
                  </a:lnTo>
                  <a:lnTo>
                    <a:pt x="1031" y="94"/>
                  </a:lnTo>
                  <a:lnTo>
                    <a:pt x="1025" y="106"/>
                  </a:lnTo>
                  <a:lnTo>
                    <a:pt x="1012" y="126"/>
                  </a:lnTo>
                  <a:lnTo>
                    <a:pt x="983" y="147"/>
                  </a:lnTo>
                  <a:lnTo>
                    <a:pt x="983" y="151"/>
                  </a:lnTo>
                  <a:lnTo>
                    <a:pt x="983" y="157"/>
                  </a:lnTo>
                  <a:lnTo>
                    <a:pt x="998" y="160"/>
                  </a:lnTo>
                  <a:lnTo>
                    <a:pt x="1011" y="163"/>
                  </a:lnTo>
                  <a:lnTo>
                    <a:pt x="1034" y="166"/>
                  </a:lnTo>
                  <a:lnTo>
                    <a:pt x="1038" y="161"/>
                  </a:lnTo>
                  <a:lnTo>
                    <a:pt x="1041" y="154"/>
                  </a:lnTo>
                  <a:lnTo>
                    <a:pt x="1050" y="150"/>
                  </a:lnTo>
                  <a:lnTo>
                    <a:pt x="1060" y="137"/>
                  </a:lnTo>
                  <a:lnTo>
                    <a:pt x="1083" y="122"/>
                  </a:lnTo>
                  <a:lnTo>
                    <a:pt x="1083" y="122"/>
                  </a:lnTo>
                  <a:lnTo>
                    <a:pt x="1085" y="132"/>
                  </a:lnTo>
                  <a:lnTo>
                    <a:pt x="1086" y="138"/>
                  </a:lnTo>
                  <a:lnTo>
                    <a:pt x="1086" y="148"/>
                  </a:lnTo>
                  <a:lnTo>
                    <a:pt x="1088" y="154"/>
                  </a:lnTo>
                  <a:lnTo>
                    <a:pt x="1089" y="157"/>
                  </a:lnTo>
                  <a:lnTo>
                    <a:pt x="1095" y="161"/>
                  </a:lnTo>
                  <a:lnTo>
                    <a:pt x="1097" y="166"/>
                  </a:lnTo>
                  <a:lnTo>
                    <a:pt x="1101" y="169"/>
                  </a:lnTo>
                  <a:lnTo>
                    <a:pt x="1094" y="183"/>
                  </a:lnTo>
                  <a:lnTo>
                    <a:pt x="1091" y="188"/>
                  </a:lnTo>
                  <a:lnTo>
                    <a:pt x="1089" y="190"/>
                  </a:lnTo>
                  <a:lnTo>
                    <a:pt x="1089" y="190"/>
                  </a:lnTo>
                  <a:lnTo>
                    <a:pt x="1089" y="190"/>
                  </a:lnTo>
                  <a:lnTo>
                    <a:pt x="1085" y="193"/>
                  </a:lnTo>
                  <a:lnTo>
                    <a:pt x="1082" y="198"/>
                  </a:lnTo>
                  <a:lnTo>
                    <a:pt x="1082" y="198"/>
                  </a:lnTo>
                  <a:lnTo>
                    <a:pt x="1079" y="205"/>
                  </a:lnTo>
                  <a:lnTo>
                    <a:pt x="1078" y="212"/>
                  </a:lnTo>
                  <a:lnTo>
                    <a:pt x="1079" y="222"/>
                  </a:lnTo>
                  <a:lnTo>
                    <a:pt x="1082" y="230"/>
                  </a:lnTo>
                  <a:lnTo>
                    <a:pt x="1082" y="238"/>
                  </a:lnTo>
                  <a:lnTo>
                    <a:pt x="1072" y="272"/>
                  </a:lnTo>
                  <a:lnTo>
                    <a:pt x="1070" y="276"/>
                  </a:lnTo>
                  <a:lnTo>
                    <a:pt x="1066" y="287"/>
                  </a:lnTo>
                  <a:lnTo>
                    <a:pt x="1066" y="287"/>
                  </a:lnTo>
                  <a:lnTo>
                    <a:pt x="1056" y="298"/>
                  </a:lnTo>
                  <a:lnTo>
                    <a:pt x="1035" y="314"/>
                  </a:lnTo>
                  <a:lnTo>
                    <a:pt x="1014" y="326"/>
                  </a:lnTo>
                  <a:lnTo>
                    <a:pt x="998" y="338"/>
                  </a:lnTo>
                  <a:lnTo>
                    <a:pt x="998" y="338"/>
                  </a:lnTo>
                  <a:lnTo>
                    <a:pt x="998" y="342"/>
                  </a:lnTo>
                  <a:lnTo>
                    <a:pt x="999" y="348"/>
                  </a:lnTo>
                  <a:lnTo>
                    <a:pt x="1003" y="368"/>
                  </a:lnTo>
                  <a:lnTo>
                    <a:pt x="1005" y="375"/>
                  </a:lnTo>
                  <a:lnTo>
                    <a:pt x="1003" y="386"/>
                  </a:lnTo>
                  <a:lnTo>
                    <a:pt x="1000" y="390"/>
                  </a:lnTo>
                  <a:lnTo>
                    <a:pt x="999" y="393"/>
                  </a:lnTo>
                  <a:lnTo>
                    <a:pt x="990" y="400"/>
                  </a:lnTo>
                  <a:lnTo>
                    <a:pt x="990" y="400"/>
                  </a:lnTo>
                  <a:lnTo>
                    <a:pt x="995" y="409"/>
                  </a:lnTo>
                  <a:lnTo>
                    <a:pt x="1000" y="413"/>
                  </a:lnTo>
                  <a:lnTo>
                    <a:pt x="1008" y="416"/>
                  </a:lnTo>
                  <a:lnTo>
                    <a:pt x="1015" y="416"/>
                  </a:lnTo>
                  <a:lnTo>
                    <a:pt x="1022" y="419"/>
                  </a:lnTo>
                  <a:lnTo>
                    <a:pt x="1034" y="432"/>
                  </a:lnTo>
                  <a:lnTo>
                    <a:pt x="1043" y="438"/>
                  </a:lnTo>
                  <a:lnTo>
                    <a:pt x="1081" y="466"/>
                  </a:lnTo>
                  <a:lnTo>
                    <a:pt x="1085" y="471"/>
                  </a:lnTo>
                  <a:lnTo>
                    <a:pt x="1097" y="495"/>
                  </a:lnTo>
                  <a:lnTo>
                    <a:pt x="1101" y="498"/>
                  </a:lnTo>
                  <a:lnTo>
                    <a:pt x="1107" y="502"/>
                  </a:lnTo>
                  <a:lnTo>
                    <a:pt x="1117" y="515"/>
                  </a:lnTo>
                  <a:lnTo>
                    <a:pt x="1139" y="524"/>
                  </a:lnTo>
                  <a:lnTo>
                    <a:pt x="1158" y="546"/>
                  </a:lnTo>
                  <a:lnTo>
                    <a:pt x="1161" y="549"/>
                  </a:lnTo>
                  <a:lnTo>
                    <a:pt x="1171" y="557"/>
                  </a:lnTo>
                  <a:lnTo>
                    <a:pt x="1161" y="578"/>
                  </a:lnTo>
                  <a:lnTo>
                    <a:pt x="1159" y="591"/>
                  </a:lnTo>
                  <a:lnTo>
                    <a:pt x="1165" y="597"/>
                  </a:lnTo>
                  <a:lnTo>
                    <a:pt x="1167" y="602"/>
                  </a:lnTo>
                  <a:lnTo>
                    <a:pt x="1161" y="616"/>
                  </a:lnTo>
                  <a:lnTo>
                    <a:pt x="1161" y="616"/>
                  </a:lnTo>
                  <a:lnTo>
                    <a:pt x="1152" y="630"/>
                  </a:lnTo>
                  <a:lnTo>
                    <a:pt x="1134" y="645"/>
                  </a:lnTo>
                  <a:lnTo>
                    <a:pt x="1134" y="645"/>
                  </a:lnTo>
                  <a:lnTo>
                    <a:pt x="1136" y="668"/>
                  </a:lnTo>
                  <a:lnTo>
                    <a:pt x="1145" y="693"/>
                  </a:lnTo>
                  <a:lnTo>
                    <a:pt x="1152" y="709"/>
                  </a:lnTo>
                  <a:lnTo>
                    <a:pt x="1151" y="719"/>
                  </a:lnTo>
                  <a:lnTo>
                    <a:pt x="1158" y="728"/>
                  </a:lnTo>
                  <a:lnTo>
                    <a:pt x="1169" y="735"/>
                  </a:lnTo>
                  <a:lnTo>
                    <a:pt x="1180" y="736"/>
                  </a:lnTo>
                  <a:lnTo>
                    <a:pt x="1190" y="741"/>
                  </a:lnTo>
                  <a:lnTo>
                    <a:pt x="1194" y="751"/>
                  </a:lnTo>
                  <a:lnTo>
                    <a:pt x="1194" y="763"/>
                  </a:lnTo>
                  <a:lnTo>
                    <a:pt x="1194" y="763"/>
                  </a:lnTo>
                  <a:lnTo>
                    <a:pt x="1188" y="771"/>
                  </a:lnTo>
                  <a:lnTo>
                    <a:pt x="1188" y="771"/>
                  </a:lnTo>
                  <a:lnTo>
                    <a:pt x="1188" y="774"/>
                  </a:lnTo>
                  <a:lnTo>
                    <a:pt x="1193" y="783"/>
                  </a:lnTo>
                  <a:lnTo>
                    <a:pt x="1191" y="790"/>
                  </a:lnTo>
                  <a:lnTo>
                    <a:pt x="1188" y="801"/>
                  </a:lnTo>
                  <a:lnTo>
                    <a:pt x="1185" y="815"/>
                  </a:lnTo>
                  <a:lnTo>
                    <a:pt x="1188" y="824"/>
                  </a:lnTo>
                  <a:lnTo>
                    <a:pt x="1212" y="841"/>
                  </a:lnTo>
                  <a:lnTo>
                    <a:pt x="1212" y="841"/>
                  </a:lnTo>
                  <a:lnTo>
                    <a:pt x="1206" y="849"/>
                  </a:lnTo>
                  <a:lnTo>
                    <a:pt x="1203" y="851"/>
                  </a:lnTo>
                  <a:lnTo>
                    <a:pt x="1203" y="853"/>
                  </a:lnTo>
                  <a:lnTo>
                    <a:pt x="1201" y="859"/>
                  </a:lnTo>
                  <a:lnTo>
                    <a:pt x="1201" y="863"/>
                  </a:lnTo>
                  <a:lnTo>
                    <a:pt x="1200" y="869"/>
                  </a:lnTo>
                  <a:lnTo>
                    <a:pt x="1191" y="882"/>
                  </a:lnTo>
                  <a:lnTo>
                    <a:pt x="1190" y="888"/>
                  </a:lnTo>
                  <a:lnTo>
                    <a:pt x="1188" y="923"/>
                  </a:lnTo>
                  <a:lnTo>
                    <a:pt x="1185" y="933"/>
                  </a:lnTo>
                  <a:lnTo>
                    <a:pt x="1181" y="943"/>
                  </a:lnTo>
                  <a:lnTo>
                    <a:pt x="1181" y="943"/>
                  </a:lnTo>
                  <a:lnTo>
                    <a:pt x="1174" y="952"/>
                  </a:lnTo>
                  <a:lnTo>
                    <a:pt x="1153" y="972"/>
                  </a:lnTo>
                  <a:lnTo>
                    <a:pt x="1153" y="972"/>
                  </a:lnTo>
                  <a:lnTo>
                    <a:pt x="1149" y="983"/>
                  </a:lnTo>
                  <a:lnTo>
                    <a:pt x="1151" y="994"/>
                  </a:lnTo>
                  <a:lnTo>
                    <a:pt x="1156" y="1003"/>
                  </a:lnTo>
                  <a:lnTo>
                    <a:pt x="1162" y="1007"/>
                  </a:lnTo>
                  <a:lnTo>
                    <a:pt x="1168" y="1013"/>
                  </a:lnTo>
                  <a:lnTo>
                    <a:pt x="1169" y="1028"/>
                  </a:lnTo>
                  <a:lnTo>
                    <a:pt x="1172" y="1042"/>
                  </a:lnTo>
                  <a:lnTo>
                    <a:pt x="1180" y="1052"/>
                  </a:lnTo>
                  <a:lnTo>
                    <a:pt x="1197" y="1065"/>
                  </a:lnTo>
                  <a:lnTo>
                    <a:pt x="1201" y="1076"/>
                  </a:lnTo>
                  <a:lnTo>
                    <a:pt x="1204" y="1090"/>
                  </a:lnTo>
                  <a:lnTo>
                    <a:pt x="1206" y="1105"/>
                  </a:lnTo>
                  <a:lnTo>
                    <a:pt x="1201" y="1115"/>
                  </a:lnTo>
                  <a:lnTo>
                    <a:pt x="1201" y="1115"/>
                  </a:lnTo>
                  <a:lnTo>
                    <a:pt x="1194" y="1127"/>
                  </a:lnTo>
                  <a:lnTo>
                    <a:pt x="1194" y="1127"/>
                  </a:lnTo>
                  <a:lnTo>
                    <a:pt x="1191" y="1137"/>
                  </a:lnTo>
                  <a:lnTo>
                    <a:pt x="1193" y="1141"/>
                  </a:lnTo>
                  <a:lnTo>
                    <a:pt x="1193" y="1141"/>
                  </a:lnTo>
                  <a:lnTo>
                    <a:pt x="1178" y="1140"/>
                  </a:lnTo>
                  <a:lnTo>
                    <a:pt x="1162" y="1134"/>
                  </a:lnTo>
                  <a:lnTo>
                    <a:pt x="1153" y="1130"/>
                  </a:lnTo>
                  <a:lnTo>
                    <a:pt x="1146" y="1128"/>
                  </a:lnTo>
                  <a:lnTo>
                    <a:pt x="1139" y="1128"/>
                  </a:lnTo>
                  <a:lnTo>
                    <a:pt x="1124" y="1132"/>
                  </a:lnTo>
                  <a:lnTo>
                    <a:pt x="1078" y="1156"/>
                  </a:lnTo>
                  <a:lnTo>
                    <a:pt x="1065" y="1159"/>
                  </a:lnTo>
                  <a:lnTo>
                    <a:pt x="1053" y="1150"/>
                  </a:lnTo>
                  <a:lnTo>
                    <a:pt x="1041" y="1146"/>
                  </a:lnTo>
                  <a:lnTo>
                    <a:pt x="1024" y="1144"/>
                  </a:lnTo>
                  <a:lnTo>
                    <a:pt x="1002" y="1148"/>
                  </a:lnTo>
                  <a:lnTo>
                    <a:pt x="989" y="1157"/>
                  </a:lnTo>
                  <a:lnTo>
                    <a:pt x="984" y="1160"/>
                  </a:lnTo>
                  <a:lnTo>
                    <a:pt x="970" y="1179"/>
                  </a:lnTo>
                  <a:lnTo>
                    <a:pt x="968" y="1182"/>
                  </a:lnTo>
                  <a:lnTo>
                    <a:pt x="968" y="1186"/>
                  </a:lnTo>
                  <a:lnTo>
                    <a:pt x="968" y="1191"/>
                  </a:lnTo>
                  <a:lnTo>
                    <a:pt x="963" y="1204"/>
                  </a:lnTo>
                  <a:lnTo>
                    <a:pt x="944" y="1231"/>
                  </a:lnTo>
                  <a:lnTo>
                    <a:pt x="936" y="1242"/>
                  </a:lnTo>
                  <a:lnTo>
                    <a:pt x="935" y="1243"/>
                  </a:lnTo>
                  <a:lnTo>
                    <a:pt x="933" y="1243"/>
                  </a:lnTo>
                  <a:lnTo>
                    <a:pt x="932" y="1242"/>
                  </a:lnTo>
                  <a:lnTo>
                    <a:pt x="928" y="1242"/>
                  </a:lnTo>
                  <a:lnTo>
                    <a:pt x="926" y="1240"/>
                  </a:lnTo>
                  <a:lnTo>
                    <a:pt x="903" y="1243"/>
                  </a:lnTo>
                  <a:lnTo>
                    <a:pt x="866" y="1249"/>
                  </a:lnTo>
                  <a:lnTo>
                    <a:pt x="853" y="1247"/>
                  </a:lnTo>
                  <a:lnTo>
                    <a:pt x="813" y="1245"/>
                  </a:lnTo>
                  <a:lnTo>
                    <a:pt x="796" y="1239"/>
                  </a:lnTo>
                  <a:lnTo>
                    <a:pt x="792" y="1239"/>
                  </a:lnTo>
                  <a:lnTo>
                    <a:pt x="789" y="1239"/>
                  </a:lnTo>
                  <a:lnTo>
                    <a:pt x="785" y="1240"/>
                  </a:lnTo>
                  <a:lnTo>
                    <a:pt x="780" y="1237"/>
                  </a:lnTo>
                  <a:lnTo>
                    <a:pt x="775" y="1229"/>
                  </a:lnTo>
                  <a:lnTo>
                    <a:pt x="770" y="1226"/>
                  </a:lnTo>
                  <a:lnTo>
                    <a:pt x="766" y="1223"/>
                  </a:lnTo>
                  <a:lnTo>
                    <a:pt x="763" y="1220"/>
                  </a:lnTo>
                  <a:lnTo>
                    <a:pt x="759" y="1215"/>
                  </a:lnTo>
                  <a:lnTo>
                    <a:pt x="743" y="1208"/>
                  </a:lnTo>
                  <a:lnTo>
                    <a:pt x="738" y="1207"/>
                  </a:lnTo>
                  <a:lnTo>
                    <a:pt x="734" y="1208"/>
                  </a:lnTo>
                  <a:lnTo>
                    <a:pt x="731" y="1213"/>
                  </a:lnTo>
                  <a:lnTo>
                    <a:pt x="725" y="1215"/>
                  </a:lnTo>
                  <a:lnTo>
                    <a:pt x="693" y="1226"/>
                  </a:lnTo>
                  <a:lnTo>
                    <a:pt x="687" y="1227"/>
                  </a:lnTo>
                  <a:lnTo>
                    <a:pt x="683" y="1220"/>
                  </a:lnTo>
                  <a:lnTo>
                    <a:pt x="680" y="1218"/>
                  </a:lnTo>
                  <a:lnTo>
                    <a:pt x="676" y="1218"/>
                  </a:lnTo>
                  <a:lnTo>
                    <a:pt x="674" y="1221"/>
                  </a:lnTo>
                  <a:lnTo>
                    <a:pt x="670" y="1221"/>
                  </a:lnTo>
                  <a:lnTo>
                    <a:pt x="668" y="1223"/>
                  </a:lnTo>
                  <a:lnTo>
                    <a:pt x="667" y="1224"/>
                  </a:lnTo>
                  <a:lnTo>
                    <a:pt x="665" y="1227"/>
                  </a:lnTo>
                  <a:lnTo>
                    <a:pt x="664" y="1227"/>
                  </a:lnTo>
                  <a:lnTo>
                    <a:pt x="662" y="1226"/>
                  </a:lnTo>
                  <a:lnTo>
                    <a:pt x="661" y="1223"/>
                  </a:lnTo>
                  <a:lnTo>
                    <a:pt x="661" y="1221"/>
                  </a:lnTo>
                  <a:lnTo>
                    <a:pt x="661" y="1220"/>
                  </a:lnTo>
                  <a:lnTo>
                    <a:pt x="660" y="1217"/>
                  </a:lnTo>
                  <a:lnTo>
                    <a:pt x="660" y="1215"/>
                  </a:lnTo>
                  <a:lnTo>
                    <a:pt x="661" y="1214"/>
                  </a:lnTo>
                  <a:lnTo>
                    <a:pt x="661" y="1213"/>
                  </a:lnTo>
                  <a:lnTo>
                    <a:pt x="665" y="1210"/>
                  </a:lnTo>
                  <a:lnTo>
                    <a:pt x="665" y="1208"/>
                  </a:lnTo>
                  <a:lnTo>
                    <a:pt x="667" y="1207"/>
                  </a:lnTo>
                  <a:lnTo>
                    <a:pt x="668" y="1201"/>
                  </a:lnTo>
                  <a:lnTo>
                    <a:pt x="668" y="1194"/>
                  </a:lnTo>
                  <a:lnTo>
                    <a:pt x="670" y="1188"/>
                  </a:lnTo>
                  <a:lnTo>
                    <a:pt x="668" y="1182"/>
                  </a:lnTo>
                  <a:lnTo>
                    <a:pt x="667" y="1181"/>
                  </a:lnTo>
                  <a:lnTo>
                    <a:pt x="665" y="1178"/>
                  </a:lnTo>
                  <a:lnTo>
                    <a:pt x="665" y="1176"/>
                  </a:lnTo>
                  <a:lnTo>
                    <a:pt x="667" y="1175"/>
                  </a:lnTo>
                  <a:lnTo>
                    <a:pt x="668" y="1175"/>
                  </a:lnTo>
                  <a:lnTo>
                    <a:pt x="670" y="1173"/>
                  </a:lnTo>
                  <a:lnTo>
                    <a:pt x="671" y="1172"/>
                  </a:lnTo>
                  <a:lnTo>
                    <a:pt x="673" y="1169"/>
                  </a:lnTo>
                  <a:lnTo>
                    <a:pt x="673" y="1166"/>
                  </a:lnTo>
                  <a:lnTo>
                    <a:pt x="673" y="1162"/>
                  </a:lnTo>
                  <a:lnTo>
                    <a:pt x="670" y="1154"/>
                  </a:lnTo>
                  <a:lnTo>
                    <a:pt x="668" y="1150"/>
                  </a:lnTo>
                  <a:lnTo>
                    <a:pt x="668" y="1148"/>
                  </a:lnTo>
                  <a:lnTo>
                    <a:pt x="661" y="1144"/>
                  </a:lnTo>
                  <a:lnTo>
                    <a:pt x="657" y="1138"/>
                  </a:lnTo>
                  <a:lnTo>
                    <a:pt x="657" y="1135"/>
                  </a:lnTo>
                  <a:lnTo>
                    <a:pt x="658" y="1134"/>
                  </a:lnTo>
                  <a:lnTo>
                    <a:pt x="658" y="1131"/>
                  </a:lnTo>
                  <a:lnTo>
                    <a:pt x="660" y="1127"/>
                  </a:lnTo>
                  <a:lnTo>
                    <a:pt x="658" y="1125"/>
                  </a:lnTo>
                  <a:lnTo>
                    <a:pt x="657" y="1124"/>
                  </a:lnTo>
                  <a:lnTo>
                    <a:pt x="654" y="1121"/>
                  </a:lnTo>
                  <a:lnTo>
                    <a:pt x="648" y="1116"/>
                  </a:lnTo>
                  <a:lnTo>
                    <a:pt x="648" y="1115"/>
                  </a:lnTo>
                  <a:lnTo>
                    <a:pt x="646" y="1115"/>
                  </a:lnTo>
                  <a:lnTo>
                    <a:pt x="645" y="1116"/>
                  </a:lnTo>
                  <a:lnTo>
                    <a:pt x="644" y="1116"/>
                  </a:lnTo>
                  <a:lnTo>
                    <a:pt x="642" y="1118"/>
                  </a:lnTo>
                  <a:lnTo>
                    <a:pt x="639" y="1116"/>
                  </a:lnTo>
                  <a:lnTo>
                    <a:pt x="635" y="1114"/>
                  </a:lnTo>
                  <a:lnTo>
                    <a:pt x="625" y="1102"/>
                  </a:lnTo>
                  <a:lnTo>
                    <a:pt x="622" y="1100"/>
                  </a:lnTo>
                  <a:lnTo>
                    <a:pt x="628" y="1087"/>
                  </a:lnTo>
                  <a:lnTo>
                    <a:pt x="630" y="1084"/>
                  </a:lnTo>
                  <a:lnTo>
                    <a:pt x="652" y="1067"/>
                  </a:lnTo>
                  <a:lnTo>
                    <a:pt x="661" y="1054"/>
                  </a:lnTo>
                  <a:lnTo>
                    <a:pt x="662" y="1048"/>
                  </a:lnTo>
                  <a:lnTo>
                    <a:pt x="660" y="1041"/>
                  </a:lnTo>
                  <a:lnTo>
                    <a:pt x="657" y="1035"/>
                  </a:lnTo>
                  <a:lnTo>
                    <a:pt x="655" y="1029"/>
                  </a:lnTo>
                  <a:lnTo>
                    <a:pt x="654" y="1025"/>
                  </a:lnTo>
                  <a:lnTo>
                    <a:pt x="654" y="1010"/>
                  </a:lnTo>
                  <a:lnTo>
                    <a:pt x="655" y="1006"/>
                  </a:lnTo>
                  <a:lnTo>
                    <a:pt x="657" y="1003"/>
                  </a:lnTo>
                  <a:lnTo>
                    <a:pt x="667" y="985"/>
                  </a:lnTo>
                  <a:lnTo>
                    <a:pt x="678" y="972"/>
                  </a:lnTo>
                  <a:lnTo>
                    <a:pt x="681" y="965"/>
                  </a:lnTo>
                  <a:lnTo>
                    <a:pt x="676" y="962"/>
                  </a:lnTo>
                  <a:lnTo>
                    <a:pt x="664" y="962"/>
                  </a:lnTo>
                  <a:lnTo>
                    <a:pt x="662" y="962"/>
                  </a:lnTo>
                  <a:lnTo>
                    <a:pt x="660" y="964"/>
                  </a:lnTo>
                  <a:lnTo>
                    <a:pt x="657" y="969"/>
                  </a:lnTo>
                  <a:lnTo>
                    <a:pt x="655" y="971"/>
                  </a:lnTo>
                  <a:lnTo>
                    <a:pt x="652" y="971"/>
                  </a:lnTo>
                  <a:lnTo>
                    <a:pt x="651" y="968"/>
                  </a:lnTo>
                  <a:lnTo>
                    <a:pt x="648" y="965"/>
                  </a:lnTo>
                  <a:lnTo>
                    <a:pt x="645" y="964"/>
                  </a:lnTo>
                  <a:lnTo>
                    <a:pt x="623" y="966"/>
                  </a:lnTo>
                  <a:lnTo>
                    <a:pt x="616" y="965"/>
                  </a:lnTo>
                  <a:lnTo>
                    <a:pt x="597" y="950"/>
                  </a:lnTo>
                  <a:lnTo>
                    <a:pt x="594" y="948"/>
                  </a:lnTo>
                  <a:lnTo>
                    <a:pt x="593" y="945"/>
                  </a:lnTo>
                  <a:lnTo>
                    <a:pt x="591" y="942"/>
                  </a:lnTo>
                  <a:lnTo>
                    <a:pt x="587" y="939"/>
                  </a:lnTo>
                  <a:lnTo>
                    <a:pt x="582" y="936"/>
                  </a:lnTo>
                  <a:lnTo>
                    <a:pt x="575" y="934"/>
                  </a:lnTo>
                  <a:lnTo>
                    <a:pt x="559" y="934"/>
                  </a:lnTo>
                  <a:lnTo>
                    <a:pt x="556" y="934"/>
                  </a:lnTo>
                  <a:lnTo>
                    <a:pt x="555" y="933"/>
                  </a:lnTo>
                  <a:lnTo>
                    <a:pt x="552" y="924"/>
                  </a:lnTo>
                  <a:lnTo>
                    <a:pt x="550" y="920"/>
                  </a:lnTo>
                  <a:lnTo>
                    <a:pt x="546" y="917"/>
                  </a:lnTo>
                  <a:lnTo>
                    <a:pt x="533" y="916"/>
                  </a:lnTo>
                  <a:lnTo>
                    <a:pt x="528" y="914"/>
                  </a:lnTo>
                  <a:lnTo>
                    <a:pt x="498" y="895"/>
                  </a:lnTo>
                  <a:lnTo>
                    <a:pt x="483" y="888"/>
                  </a:lnTo>
                  <a:lnTo>
                    <a:pt x="482" y="886"/>
                  </a:lnTo>
                  <a:lnTo>
                    <a:pt x="480" y="888"/>
                  </a:lnTo>
                  <a:lnTo>
                    <a:pt x="479" y="888"/>
                  </a:lnTo>
                  <a:lnTo>
                    <a:pt x="479" y="891"/>
                  </a:lnTo>
                  <a:lnTo>
                    <a:pt x="479" y="892"/>
                  </a:lnTo>
                  <a:lnTo>
                    <a:pt x="477" y="894"/>
                  </a:lnTo>
                  <a:lnTo>
                    <a:pt x="473" y="897"/>
                  </a:lnTo>
                  <a:lnTo>
                    <a:pt x="469" y="898"/>
                  </a:lnTo>
                  <a:lnTo>
                    <a:pt x="463" y="904"/>
                  </a:lnTo>
                  <a:lnTo>
                    <a:pt x="447" y="900"/>
                  </a:lnTo>
                  <a:lnTo>
                    <a:pt x="441" y="897"/>
                  </a:lnTo>
                  <a:lnTo>
                    <a:pt x="425" y="883"/>
                  </a:lnTo>
                  <a:lnTo>
                    <a:pt x="418" y="875"/>
                  </a:lnTo>
                  <a:lnTo>
                    <a:pt x="416" y="873"/>
                  </a:lnTo>
                  <a:lnTo>
                    <a:pt x="415" y="872"/>
                  </a:lnTo>
                  <a:lnTo>
                    <a:pt x="413" y="872"/>
                  </a:lnTo>
                  <a:lnTo>
                    <a:pt x="412" y="873"/>
                  </a:lnTo>
                  <a:lnTo>
                    <a:pt x="410" y="875"/>
                  </a:lnTo>
                  <a:lnTo>
                    <a:pt x="410" y="876"/>
                  </a:lnTo>
                  <a:lnTo>
                    <a:pt x="409" y="878"/>
                  </a:lnTo>
                  <a:lnTo>
                    <a:pt x="406" y="879"/>
                  </a:lnTo>
                  <a:lnTo>
                    <a:pt x="402" y="879"/>
                  </a:lnTo>
                  <a:lnTo>
                    <a:pt x="400" y="878"/>
                  </a:lnTo>
                  <a:lnTo>
                    <a:pt x="399" y="878"/>
                  </a:lnTo>
                  <a:lnTo>
                    <a:pt x="394" y="873"/>
                  </a:lnTo>
                  <a:lnTo>
                    <a:pt x="384" y="866"/>
                  </a:lnTo>
                  <a:lnTo>
                    <a:pt x="381" y="863"/>
                  </a:lnTo>
                  <a:lnTo>
                    <a:pt x="378" y="862"/>
                  </a:lnTo>
                  <a:lnTo>
                    <a:pt x="378" y="859"/>
                  </a:lnTo>
                  <a:lnTo>
                    <a:pt x="378" y="857"/>
                  </a:lnTo>
                  <a:lnTo>
                    <a:pt x="378" y="856"/>
                  </a:lnTo>
                  <a:lnTo>
                    <a:pt x="378" y="851"/>
                  </a:lnTo>
                  <a:lnTo>
                    <a:pt x="357" y="822"/>
                  </a:lnTo>
                  <a:lnTo>
                    <a:pt x="349" y="815"/>
                  </a:lnTo>
                  <a:lnTo>
                    <a:pt x="342" y="812"/>
                  </a:lnTo>
                  <a:lnTo>
                    <a:pt x="341" y="811"/>
                  </a:lnTo>
                  <a:lnTo>
                    <a:pt x="341" y="808"/>
                  </a:lnTo>
                  <a:lnTo>
                    <a:pt x="338" y="801"/>
                  </a:lnTo>
                  <a:lnTo>
                    <a:pt x="329" y="792"/>
                  </a:lnTo>
                  <a:lnTo>
                    <a:pt x="327" y="790"/>
                  </a:lnTo>
                  <a:lnTo>
                    <a:pt x="324" y="783"/>
                  </a:lnTo>
                  <a:lnTo>
                    <a:pt x="322" y="774"/>
                  </a:lnTo>
                  <a:lnTo>
                    <a:pt x="322" y="773"/>
                  </a:lnTo>
                  <a:lnTo>
                    <a:pt x="322" y="771"/>
                  </a:lnTo>
                  <a:lnTo>
                    <a:pt x="324" y="767"/>
                  </a:lnTo>
                  <a:lnTo>
                    <a:pt x="329" y="752"/>
                  </a:lnTo>
                  <a:lnTo>
                    <a:pt x="338" y="745"/>
                  </a:lnTo>
                  <a:lnTo>
                    <a:pt x="338" y="744"/>
                  </a:lnTo>
                  <a:lnTo>
                    <a:pt x="338" y="742"/>
                  </a:lnTo>
                  <a:lnTo>
                    <a:pt x="338" y="741"/>
                  </a:lnTo>
                  <a:lnTo>
                    <a:pt x="336" y="738"/>
                  </a:lnTo>
                  <a:lnTo>
                    <a:pt x="335" y="735"/>
                  </a:lnTo>
                  <a:lnTo>
                    <a:pt x="333" y="734"/>
                  </a:lnTo>
                  <a:lnTo>
                    <a:pt x="332" y="732"/>
                  </a:lnTo>
                  <a:lnTo>
                    <a:pt x="329" y="732"/>
                  </a:lnTo>
                  <a:lnTo>
                    <a:pt x="326" y="729"/>
                  </a:lnTo>
                  <a:lnTo>
                    <a:pt x="324" y="726"/>
                  </a:lnTo>
                  <a:lnTo>
                    <a:pt x="324" y="718"/>
                  </a:lnTo>
                  <a:lnTo>
                    <a:pt x="323" y="713"/>
                  </a:lnTo>
                  <a:lnTo>
                    <a:pt x="324" y="710"/>
                  </a:lnTo>
                  <a:lnTo>
                    <a:pt x="324" y="709"/>
                  </a:lnTo>
                  <a:lnTo>
                    <a:pt x="327" y="704"/>
                  </a:lnTo>
                  <a:lnTo>
                    <a:pt x="327" y="700"/>
                  </a:lnTo>
                  <a:lnTo>
                    <a:pt x="327" y="699"/>
                  </a:lnTo>
                  <a:lnTo>
                    <a:pt x="329" y="696"/>
                  </a:lnTo>
                  <a:lnTo>
                    <a:pt x="333" y="688"/>
                  </a:lnTo>
                  <a:lnTo>
                    <a:pt x="333" y="687"/>
                  </a:lnTo>
                  <a:lnTo>
                    <a:pt x="333" y="684"/>
                  </a:lnTo>
                  <a:lnTo>
                    <a:pt x="333" y="683"/>
                  </a:lnTo>
                  <a:lnTo>
                    <a:pt x="333" y="680"/>
                  </a:lnTo>
                  <a:lnTo>
                    <a:pt x="332" y="675"/>
                  </a:lnTo>
                  <a:lnTo>
                    <a:pt x="332" y="674"/>
                  </a:lnTo>
                  <a:lnTo>
                    <a:pt x="333" y="672"/>
                  </a:lnTo>
                  <a:lnTo>
                    <a:pt x="333" y="669"/>
                  </a:lnTo>
                  <a:lnTo>
                    <a:pt x="333" y="668"/>
                  </a:lnTo>
                  <a:lnTo>
                    <a:pt x="333" y="665"/>
                  </a:lnTo>
                  <a:lnTo>
                    <a:pt x="333" y="664"/>
                  </a:lnTo>
                  <a:lnTo>
                    <a:pt x="338" y="656"/>
                  </a:lnTo>
                  <a:lnTo>
                    <a:pt x="339" y="653"/>
                  </a:lnTo>
                  <a:lnTo>
                    <a:pt x="341" y="646"/>
                  </a:lnTo>
                  <a:lnTo>
                    <a:pt x="342" y="643"/>
                  </a:lnTo>
                  <a:lnTo>
                    <a:pt x="342" y="640"/>
                  </a:lnTo>
                  <a:lnTo>
                    <a:pt x="341" y="639"/>
                  </a:lnTo>
                  <a:lnTo>
                    <a:pt x="339" y="637"/>
                  </a:lnTo>
                  <a:lnTo>
                    <a:pt x="339" y="636"/>
                  </a:lnTo>
                  <a:lnTo>
                    <a:pt x="338" y="635"/>
                  </a:lnTo>
                  <a:lnTo>
                    <a:pt x="338" y="633"/>
                  </a:lnTo>
                  <a:lnTo>
                    <a:pt x="339" y="632"/>
                  </a:lnTo>
                  <a:lnTo>
                    <a:pt x="342" y="629"/>
                  </a:lnTo>
                  <a:lnTo>
                    <a:pt x="345" y="626"/>
                  </a:lnTo>
                  <a:lnTo>
                    <a:pt x="348" y="617"/>
                  </a:lnTo>
                  <a:lnTo>
                    <a:pt x="352" y="610"/>
                  </a:lnTo>
                  <a:lnTo>
                    <a:pt x="352" y="608"/>
                  </a:lnTo>
                  <a:lnTo>
                    <a:pt x="352" y="605"/>
                  </a:lnTo>
                  <a:lnTo>
                    <a:pt x="352" y="601"/>
                  </a:lnTo>
                  <a:lnTo>
                    <a:pt x="352" y="598"/>
                  </a:lnTo>
                  <a:lnTo>
                    <a:pt x="354" y="595"/>
                  </a:lnTo>
                  <a:lnTo>
                    <a:pt x="355" y="592"/>
                  </a:lnTo>
                  <a:lnTo>
                    <a:pt x="354" y="591"/>
                  </a:lnTo>
                  <a:lnTo>
                    <a:pt x="354" y="591"/>
                  </a:lnTo>
                  <a:lnTo>
                    <a:pt x="351" y="592"/>
                  </a:lnTo>
                  <a:lnTo>
                    <a:pt x="349" y="592"/>
                  </a:lnTo>
                  <a:lnTo>
                    <a:pt x="348" y="592"/>
                  </a:lnTo>
                  <a:lnTo>
                    <a:pt x="346" y="592"/>
                  </a:lnTo>
                  <a:lnTo>
                    <a:pt x="345" y="592"/>
                  </a:lnTo>
                  <a:lnTo>
                    <a:pt x="343" y="592"/>
                  </a:lnTo>
                  <a:lnTo>
                    <a:pt x="343" y="594"/>
                  </a:lnTo>
                  <a:lnTo>
                    <a:pt x="341" y="594"/>
                  </a:lnTo>
                  <a:lnTo>
                    <a:pt x="339" y="591"/>
                  </a:lnTo>
                  <a:lnTo>
                    <a:pt x="333" y="582"/>
                  </a:lnTo>
                  <a:lnTo>
                    <a:pt x="332" y="581"/>
                  </a:lnTo>
                  <a:lnTo>
                    <a:pt x="329" y="578"/>
                  </a:lnTo>
                  <a:lnTo>
                    <a:pt x="327" y="578"/>
                  </a:lnTo>
                  <a:lnTo>
                    <a:pt x="326" y="578"/>
                  </a:lnTo>
                  <a:lnTo>
                    <a:pt x="324" y="578"/>
                  </a:lnTo>
                  <a:lnTo>
                    <a:pt x="323" y="579"/>
                  </a:lnTo>
                  <a:lnTo>
                    <a:pt x="323" y="581"/>
                  </a:lnTo>
                  <a:lnTo>
                    <a:pt x="323" y="585"/>
                  </a:lnTo>
                  <a:lnTo>
                    <a:pt x="322" y="586"/>
                  </a:lnTo>
                  <a:lnTo>
                    <a:pt x="322" y="588"/>
                  </a:lnTo>
                  <a:lnTo>
                    <a:pt x="320" y="589"/>
                  </a:lnTo>
                  <a:lnTo>
                    <a:pt x="319" y="591"/>
                  </a:lnTo>
                  <a:lnTo>
                    <a:pt x="319" y="591"/>
                  </a:lnTo>
                  <a:lnTo>
                    <a:pt x="316" y="592"/>
                  </a:lnTo>
                  <a:lnTo>
                    <a:pt x="311" y="594"/>
                  </a:lnTo>
                  <a:lnTo>
                    <a:pt x="307" y="592"/>
                  </a:lnTo>
                  <a:lnTo>
                    <a:pt x="306" y="591"/>
                  </a:lnTo>
                  <a:lnTo>
                    <a:pt x="304" y="589"/>
                  </a:lnTo>
                  <a:lnTo>
                    <a:pt x="304" y="588"/>
                  </a:lnTo>
                  <a:lnTo>
                    <a:pt x="303" y="585"/>
                  </a:lnTo>
                  <a:lnTo>
                    <a:pt x="303" y="584"/>
                  </a:lnTo>
                  <a:lnTo>
                    <a:pt x="304" y="581"/>
                  </a:lnTo>
                  <a:lnTo>
                    <a:pt x="306" y="579"/>
                  </a:lnTo>
                  <a:lnTo>
                    <a:pt x="306" y="578"/>
                  </a:lnTo>
                  <a:lnTo>
                    <a:pt x="307" y="576"/>
                  </a:lnTo>
                  <a:lnTo>
                    <a:pt x="308" y="575"/>
                  </a:lnTo>
                  <a:lnTo>
                    <a:pt x="308" y="573"/>
                  </a:lnTo>
                  <a:lnTo>
                    <a:pt x="307" y="572"/>
                  </a:lnTo>
                  <a:lnTo>
                    <a:pt x="306" y="572"/>
                  </a:lnTo>
                  <a:lnTo>
                    <a:pt x="303" y="572"/>
                  </a:lnTo>
                  <a:lnTo>
                    <a:pt x="300" y="573"/>
                  </a:lnTo>
                  <a:lnTo>
                    <a:pt x="297" y="573"/>
                  </a:lnTo>
                  <a:lnTo>
                    <a:pt x="295" y="572"/>
                  </a:lnTo>
                  <a:lnTo>
                    <a:pt x="295" y="570"/>
                  </a:lnTo>
                  <a:lnTo>
                    <a:pt x="295" y="570"/>
                  </a:lnTo>
                  <a:lnTo>
                    <a:pt x="304" y="556"/>
                  </a:lnTo>
                  <a:lnTo>
                    <a:pt x="306" y="552"/>
                  </a:lnTo>
                  <a:lnTo>
                    <a:pt x="306" y="546"/>
                  </a:lnTo>
                  <a:lnTo>
                    <a:pt x="307" y="533"/>
                  </a:lnTo>
                  <a:lnTo>
                    <a:pt x="307" y="527"/>
                  </a:lnTo>
                  <a:lnTo>
                    <a:pt x="308" y="524"/>
                  </a:lnTo>
                  <a:lnTo>
                    <a:pt x="310" y="524"/>
                  </a:lnTo>
                  <a:lnTo>
                    <a:pt x="317" y="524"/>
                  </a:lnTo>
                  <a:lnTo>
                    <a:pt x="320" y="522"/>
                  </a:lnTo>
                  <a:lnTo>
                    <a:pt x="323" y="521"/>
                  </a:lnTo>
                  <a:lnTo>
                    <a:pt x="324" y="518"/>
                  </a:lnTo>
                  <a:lnTo>
                    <a:pt x="327" y="514"/>
                  </a:lnTo>
                  <a:lnTo>
                    <a:pt x="330" y="502"/>
                  </a:lnTo>
                  <a:lnTo>
                    <a:pt x="332" y="498"/>
                  </a:lnTo>
                  <a:lnTo>
                    <a:pt x="332" y="493"/>
                  </a:lnTo>
                  <a:lnTo>
                    <a:pt x="330" y="490"/>
                  </a:lnTo>
                  <a:lnTo>
                    <a:pt x="329" y="490"/>
                  </a:lnTo>
                  <a:lnTo>
                    <a:pt x="326" y="487"/>
                  </a:lnTo>
                  <a:lnTo>
                    <a:pt x="324" y="486"/>
                  </a:lnTo>
                  <a:lnTo>
                    <a:pt x="324" y="483"/>
                  </a:lnTo>
                  <a:lnTo>
                    <a:pt x="323" y="480"/>
                  </a:lnTo>
                  <a:lnTo>
                    <a:pt x="323" y="477"/>
                  </a:lnTo>
                  <a:lnTo>
                    <a:pt x="322" y="476"/>
                  </a:lnTo>
                  <a:lnTo>
                    <a:pt x="320" y="473"/>
                  </a:lnTo>
                  <a:lnTo>
                    <a:pt x="319" y="471"/>
                  </a:lnTo>
                  <a:lnTo>
                    <a:pt x="319" y="469"/>
                  </a:lnTo>
                  <a:lnTo>
                    <a:pt x="319" y="467"/>
                  </a:lnTo>
                  <a:lnTo>
                    <a:pt x="319" y="464"/>
                  </a:lnTo>
                  <a:lnTo>
                    <a:pt x="320" y="463"/>
                  </a:lnTo>
                  <a:lnTo>
                    <a:pt x="323" y="460"/>
                  </a:lnTo>
                  <a:lnTo>
                    <a:pt x="324" y="457"/>
                  </a:lnTo>
                  <a:lnTo>
                    <a:pt x="324" y="455"/>
                  </a:lnTo>
                  <a:lnTo>
                    <a:pt x="324" y="454"/>
                  </a:lnTo>
                  <a:lnTo>
                    <a:pt x="323" y="453"/>
                  </a:lnTo>
                  <a:lnTo>
                    <a:pt x="322" y="451"/>
                  </a:lnTo>
                  <a:lnTo>
                    <a:pt x="320" y="448"/>
                  </a:lnTo>
                  <a:lnTo>
                    <a:pt x="320" y="444"/>
                  </a:lnTo>
                  <a:lnTo>
                    <a:pt x="320" y="442"/>
                  </a:lnTo>
                  <a:lnTo>
                    <a:pt x="320" y="439"/>
                  </a:lnTo>
                  <a:lnTo>
                    <a:pt x="332" y="431"/>
                  </a:lnTo>
                  <a:lnTo>
                    <a:pt x="333" y="425"/>
                  </a:lnTo>
                  <a:lnTo>
                    <a:pt x="333" y="420"/>
                  </a:lnTo>
                  <a:lnTo>
                    <a:pt x="326" y="399"/>
                  </a:lnTo>
                  <a:lnTo>
                    <a:pt x="324" y="394"/>
                  </a:lnTo>
                  <a:lnTo>
                    <a:pt x="323" y="391"/>
                  </a:lnTo>
                  <a:lnTo>
                    <a:pt x="319" y="391"/>
                  </a:lnTo>
                  <a:lnTo>
                    <a:pt x="314" y="388"/>
                  </a:lnTo>
                  <a:lnTo>
                    <a:pt x="313" y="388"/>
                  </a:lnTo>
                  <a:lnTo>
                    <a:pt x="311" y="388"/>
                  </a:lnTo>
                  <a:lnTo>
                    <a:pt x="300" y="391"/>
                  </a:lnTo>
                  <a:lnTo>
                    <a:pt x="295" y="393"/>
                  </a:lnTo>
                  <a:lnTo>
                    <a:pt x="291" y="391"/>
                  </a:lnTo>
                  <a:lnTo>
                    <a:pt x="291" y="386"/>
                  </a:lnTo>
                  <a:lnTo>
                    <a:pt x="291" y="383"/>
                  </a:lnTo>
                  <a:lnTo>
                    <a:pt x="290" y="381"/>
                  </a:lnTo>
                  <a:lnTo>
                    <a:pt x="287" y="378"/>
                  </a:lnTo>
                  <a:lnTo>
                    <a:pt x="285" y="378"/>
                  </a:lnTo>
                  <a:lnTo>
                    <a:pt x="284" y="377"/>
                  </a:lnTo>
                  <a:lnTo>
                    <a:pt x="260" y="380"/>
                  </a:lnTo>
                  <a:lnTo>
                    <a:pt x="252" y="380"/>
                  </a:lnTo>
                  <a:lnTo>
                    <a:pt x="246" y="383"/>
                  </a:lnTo>
                  <a:lnTo>
                    <a:pt x="240" y="381"/>
                  </a:lnTo>
                  <a:lnTo>
                    <a:pt x="231" y="375"/>
                  </a:lnTo>
                  <a:lnTo>
                    <a:pt x="225" y="374"/>
                  </a:lnTo>
                  <a:lnTo>
                    <a:pt x="220" y="372"/>
                  </a:lnTo>
                  <a:lnTo>
                    <a:pt x="217" y="371"/>
                  </a:lnTo>
                  <a:lnTo>
                    <a:pt x="193" y="356"/>
                  </a:lnTo>
                  <a:lnTo>
                    <a:pt x="195" y="354"/>
                  </a:lnTo>
                  <a:lnTo>
                    <a:pt x="198" y="348"/>
                  </a:lnTo>
                  <a:lnTo>
                    <a:pt x="201" y="340"/>
                  </a:lnTo>
                  <a:lnTo>
                    <a:pt x="196" y="339"/>
                  </a:lnTo>
                  <a:lnTo>
                    <a:pt x="185" y="338"/>
                  </a:lnTo>
                  <a:lnTo>
                    <a:pt x="180" y="333"/>
                  </a:lnTo>
                  <a:lnTo>
                    <a:pt x="170" y="317"/>
                  </a:lnTo>
                  <a:lnTo>
                    <a:pt x="164" y="319"/>
                  </a:lnTo>
                  <a:lnTo>
                    <a:pt x="156" y="324"/>
                  </a:lnTo>
                  <a:lnTo>
                    <a:pt x="153" y="326"/>
                  </a:lnTo>
                  <a:lnTo>
                    <a:pt x="145" y="324"/>
                  </a:lnTo>
                  <a:lnTo>
                    <a:pt x="144" y="320"/>
                  </a:lnTo>
                  <a:lnTo>
                    <a:pt x="144" y="316"/>
                  </a:lnTo>
                  <a:lnTo>
                    <a:pt x="141" y="308"/>
                  </a:lnTo>
                  <a:lnTo>
                    <a:pt x="137" y="305"/>
                  </a:lnTo>
                  <a:lnTo>
                    <a:pt x="125" y="304"/>
                  </a:lnTo>
                  <a:lnTo>
                    <a:pt x="121" y="303"/>
                  </a:lnTo>
                  <a:lnTo>
                    <a:pt x="123" y="300"/>
                  </a:lnTo>
                  <a:lnTo>
                    <a:pt x="126" y="294"/>
                  </a:lnTo>
                  <a:lnTo>
                    <a:pt x="126" y="292"/>
                  </a:lnTo>
                  <a:lnTo>
                    <a:pt x="125" y="288"/>
                  </a:lnTo>
                  <a:lnTo>
                    <a:pt x="122" y="287"/>
                  </a:lnTo>
                  <a:lnTo>
                    <a:pt x="106" y="291"/>
                  </a:lnTo>
                  <a:lnTo>
                    <a:pt x="90" y="284"/>
                  </a:lnTo>
                  <a:lnTo>
                    <a:pt x="81" y="282"/>
                  </a:lnTo>
                  <a:lnTo>
                    <a:pt x="75" y="279"/>
                  </a:lnTo>
                  <a:lnTo>
                    <a:pt x="65" y="269"/>
                  </a:lnTo>
                  <a:lnTo>
                    <a:pt x="56" y="266"/>
                  </a:lnTo>
                  <a:lnTo>
                    <a:pt x="49" y="268"/>
                  </a:lnTo>
                  <a:lnTo>
                    <a:pt x="38" y="276"/>
                  </a:lnTo>
                  <a:lnTo>
                    <a:pt x="32" y="278"/>
                  </a:lnTo>
                  <a:lnTo>
                    <a:pt x="23" y="276"/>
                  </a:lnTo>
                  <a:lnTo>
                    <a:pt x="21" y="276"/>
                  </a:lnTo>
                  <a:lnTo>
                    <a:pt x="19" y="273"/>
                  </a:lnTo>
                  <a:lnTo>
                    <a:pt x="5" y="259"/>
                  </a:lnTo>
                  <a:lnTo>
                    <a:pt x="0" y="247"/>
                  </a:lnTo>
                  <a:lnTo>
                    <a:pt x="7" y="246"/>
                  </a:lnTo>
                  <a:lnTo>
                    <a:pt x="16" y="249"/>
                  </a:lnTo>
                  <a:lnTo>
                    <a:pt x="27" y="249"/>
                  </a:lnTo>
                  <a:lnTo>
                    <a:pt x="35" y="252"/>
                  </a:lnTo>
                  <a:lnTo>
                    <a:pt x="42" y="253"/>
                  </a:lnTo>
                  <a:lnTo>
                    <a:pt x="42" y="244"/>
                  </a:lnTo>
                  <a:lnTo>
                    <a:pt x="43" y="238"/>
                  </a:lnTo>
                  <a:lnTo>
                    <a:pt x="49" y="236"/>
                  </a:lnTo>
                  <a:lnTo>
                    <a:pt x="59" y="236"/>
                  </a:lnTo>
                  <a:lnTo>
                    <a:pt x="78" y="246"/>
                  </a:lnTo>
                  <a:lnTo>
                    <a:pt x="88" y="246"/>
                  </a:lnTo>
                  <a:lnTo>
                    <a:pt x="96" y="240"/>
                  </a:lnTo>
                  <a:lnTo>
                    <a:pt x="97" y="231"/>
                  </a:lnTo>
                  <a:lnTo>
                    <a:pt x="96" y="227"/>
                  </a:lnTo>
                  <a:lnTo>
                    <a:pt x="96" y="217"/>
                  </a:lnTo>
                  <a:lnTo>
                    <a:pt x="94" y="212"/>
                  </a:lnTo>
                  <a:lnTo>
                    <a:pt x="93" y="209"/>
                  </a:lnTo>
                  <a:lnTo>
                    <a:pt x="90" y="206"/>
                  </a:lnTo>
                  <a:lnTo>
                    <a:pt x="88" y="202"/>
                  </a:lnTo>
                  <a:lnTo>
                    <a:pt x="91" y="196"/>
                  </a:lnTo>
                  <a:lnTo>
                    <a:pt x="106" y="182"/>
                  </a:lnTo>
                  <a:lnTo>
                    <a:pt x="113" y="177"/>
                  </a:lnTo>
                  <a:lnTo>
                    <a:pt x="132" y="170"/>
                  </a:lnTo>
                  <a:lnTo>
                    <a:pt x="144" y="170"/>
                  </a:lnTo>
                  <a:lnTo>
                    <a:pt x="148" y="172"/>
                  </a:lnTo>
                  <a:lnTo>
                    <a:pt x="158" y="180"/>
                  </a:lnTo>
                  <a:lnTo>
                    <a:pt x="163" y="190"/>
                  </a:lnTo>
                  <a:lnTo>
                    <a:pt x="170" y="186"/>
                  </a:lnTo>
                  <a:lnTo>
                    <a:pt x="177" y="183"/>
                  </a:lnTo>
                  <a:lnTo>
                    <a:pt x="186" y="183"/>
                  </a:lnTo>
                  <a:lnTo>
                    <a:pt x="196" y="185"/>
                  </a:lnTo>
                  <a:lnTo>
                    <a:pt x="195" y="176"/>
                  </a:lnTo>
                  <a:lnTo>
                    <a:pt x="188" y="170"/>
                  </a:lnTo>
                  <a:lnTo>
                    <a:pt x="192" y="169"/>
                  </a:lnTo>
                  <a:lnTo>
                    <a:pt x="195" y="167"/>
                  </a:lnTo>
                  <a:lnTo>
                    <a:pt x="204" y="170"/>
                  </a:lnTo>
                  <a:lnTo>
                    <a:pt x="212" y="160"/>
                  </a:lnTo>
                  <a:lnTo>
                    <a:pt x="225" y="153"/>
                  </a:lnTo>
                  <a:lnTo>
                    <a:pt x="228" y="153"/>
                  </a:lnTo>
                  <a:lnTo>
                    <a:pt x="231" y="151"/>
                  </a:lnTo>
                  <a:lnTo>
                    <a:pt x="239" y="154"/>
                  </a:lnTo>
                  <a:lnTo>
                    <a:pt x="244" y="147"/>
                  </a:lnTo>
                  <a:lnTo>
                    <a:pt x="250" y="142"/>
                  </a:lnTo>
                  <a:lnTo>
                    <a:pt x="256" y="142"/>
                  </a:lnTo>
                  <a:lnTo>
                    <a:pt x="259" y="132"/>
                  </a:lnTo>
                  <a:lnTo>
                    <a:pt x="260" y="125"/>
                  </a:lnTo>
                  <a:lnTo>
                    <a:pt x="269" y="119"/>
                  </a:lnTo>
                  <a:lnTo>
                    <a:pt x="275" y="109"/>
                  </a:lnTo>
                  <a:lnTo>
                    <a:pt x="276" y="109"/>
                  </a:lnTo>
                  <a:lnTo>
                    <a:pt x="279" y="107"/>
                  </a:lnTo>
                  <a:lnTo>
                    <a:pt x="285" y="105"/>
                  </a:lnTo>
                  <a:lnTo>
                    <a:pt x="291" y="105"/>
                  </a:lnTo>
                  <a:lnTo>
                    <a:pt x="294" y="103"/>
                  </a:lnTo>
                  <a:lnTo>
                    <a:pt x="295" y="103"/>
                  </a:lnTo>
                  <a:lnTo>
                    <a:pt x="297" y="103"/>
                  </a:lnTo>
                  <a:lnTo>
                    <a:pt x="303" y="109"/>
                  </a:lnTo>
                  <a:lnTo>
                    <a:pt x="304" y="110"/>
                  </a:lnTo>
                  <a:lnTo>
                    <a:pt x="306" y="109"/>
                  </a:lnTo>
                  <a:lnTo>
                    <a:pt x="307" y="109"/>
                  </a:lnTo>
                  <a:lnTo>
                    <a:pt x="314" y="103"/>
                  </a:lnTo>
                  <a:lnTo>
                    <a:pt x="317" y="102"/>
                  </a:lnTo>
                  <a:lnTo>
                    <a:pt x="319" y="102"/>
                  </a:lnTo>
                  <a:lnTo>
                    <a:pt x="320" y="102"/>
                  </a:lnTo>
                  <a:lnTo>
                    <a:pt x="323" y="103"/>
                  </a:lnTo>
                  <a:lnTo>
                    <a:pt x="324" y="106"/>
                  </a:lnTo>
                  <a:lnTo>
                    <a:pt x="329" y="113"/>
                  </a:lnTo>
                  <a:lnTo>
                    <a:pt x="330" y="116"/>
                  </a:lnTo>
                  <a:lnTo>
                    <a:pt x="333" y="118"/>
                  </a:lnTo>
                  <a:lnTo>
                    <a:pt x="355" y="123"/>
                  </a:lnTo>
                  <a:lnTo>
                    <a:pt x="368" y="131"/>
                  </a:lnTo>
                  <a:lnTo>
                    <a:pt x="370" y="132"/>
                  </a:lnTo>
                  <a:lnTo>
                    <a:pt x="380" y="141"/>
                  </a:lnTo>
                  <a:lnTo>
                    <a:pt x="381" y="142"/>
                  </a:lnTo>
                  <a:lnTo>
                    <a:pt x="384" y="144"/>
                  </a:lnTo>
                  <a:lnTo>
                    <a:pt x="384" y="145"/>
                  </a:lnTo>
                  <a:lnTo>
                    <a:pt x="387" y="147"/>
                  </a:lnTo>
                  <a:lnTo>
                    <a:pt x="396" y="153"/>
                  </a:lnTo>
                  <a:lnTo>
                    <a:pt x="397" y="154"/>
                  </a:lnTo>
                  <a:lnTo>
                    <a:pt x="400" y="158"/>
                  </a:lnTo>
                  <a:lnTo>
                    <a:pt x="402" y="160"/>
                  </a:lnTo>
                  <a:lnTo>
                    <a:pt x="403" y="161"/>
                  </a:lnTo>
                  <a:lnTo>
                    <a:pt x="408" y="161"/>
                  </a:lnTo>
                  <a:lnTo>
                    <a:pt x="419" y="160"/>
                  </a:lnTo>
                  <a:lnTo>
                    <a:pt x="425" y="158"/>
                  </a:lnTo>
                  <a:lnTo>
                    <a:pt x="431" y="157"/>
                  </a:lnTo>
                  <a:lnTo>
                    <a:pt x="467" y="167"/>
                  </a:lnTo>
                  <a:lnTo>
                    <a:pt x="469" y="167"/>
                  </a:lnTo>
                  <a:lnTo>
                    <a:pt x="473" y="169"/>
                  </a:lnTo>
                  <a:lnTo>
                    <a:pt x="483" y="179"/>
                  </a:lnTo>
                  <a:lnTo>
                    <a:pt x="498" y="183"/>
                  </a:lnTo>
                  <a:lnTo>
                    <a:pt x="507" y="183"/>
                  </a:lnTo>
                  <a:lnTo>
                    <a:pt x="510" y="185"/>
                  </a:lnTo>
                  <a:lnTo>
                    <a:pt x="510" y="193"/>
                  </a:lnTo>
                  <a:lnTo>
                    <a:pt x="510" y="198"/>
                  </a:lnTo>
                  <a:lnTo>
                    <a:pt x="510" y="199"/>
                  </a:lnTo>
                  <a:lnTo>
                    <a:pt x="511" y="201"/>
                  </a:lnTo>
                  <a:lnTo>
                    <a:pt x="511" y="201"/>
                  </a:lnTo>
                  <a:lnTo>
                    <a:pt x="512" y="202"/>
                  </a:lnTo>
                  <a:lnTo>
                    <a:pt x="514" y="204"/>
                  </a:lnTo>
                  <a:lnTo>
                    <a:pt x="515" y="204"/>
                  </a:lnTo>
                  <a:lnTo>
                    <a:pt x="518" y="204"/>
                  </a:lnTo>
                  <a:lnTo>
                    <a:pt x="533" y="201"/>
                  </a:lnTo>
                  <a:lnTo>
                    <a:pt x="539" y="201"/>
                  </a:lnTo>
                  <a:lnTo>
                    <a:pt x="540" y="201"/>
                  </a:lnTo>
                  <a:lnTo>
                    <a:pt x="543" y="202"/>
                  </a:lnTo>
                  <a:lnTo>
                    <a:pt x="547" y="206"/>
                  </a:lnTo>
                  <a:lnTo>
                    <a:pt x="550" y="208"/>
                  </a:lnTo>
                  <a:lnTo>
                    <a:pt x="553" y="208"/>
                  </a:lnTo>
                  <a:lnTo>
                    <a:pt x="559" y="208"/>
                  </a:lnTo>
                  <a:lnTo>
                    <a:pt x="562" y="206"/>
                  </a:lnTo>
                  <a:lnTo>
                    <a:pt x="565" y="205"/>
                  </a:lnTo>
                  <a:lnTo>
                    <a:pt x="566" y="205"/>
                  </a:lnTo>
                  <a:lnTo>
                    <a:pt x="577" y="205"/>
                  </a:lnTo>
                  <a:lnTo>
                    <a:pt x="579" y="204"/>
                  </a:lnTo>
                  <a:lnTo>
                    <a:pt x="581" y="204"/>
                  </a:lnTo>
                  <a:lnTo>
                    <a:pt x="582" y="202"/>
                  </a:lnTo>
                  <a:lnTo>
                    <a:pt x="584" y="202"/>
                  </a:lnTo>
                  <a:lnTo>
                    <a:pt x="585" y="204"/>
                  </a:lnTo>
                  <a:lnTo>
                    <a:pt x="585" y="206"/>
                  </a:lnTo>
                  <a:lnTo>
                    <a:pt x="585" y="208"/>
                  </a:lnTo>
                  <a:lnTo>
                    <a:pt x="584" y="209"/>
                  </a:lnTo>
                  <a:lnTo>
                    <a:pt x="582" y="211"/>
                  </a:lnTo>
                  <a:lnTo>
                    <a:pt x="581" y="211"/>
                  </a:lnTo>
                  <a:lnTo>
                    <a:pt x="581" y="212"/>
                  </a:lnTo>
                  <a:lnTo>
                    <a:pt x="581" y="215"/>
                  </a:lnTo>
                  <a:lnTo>
                    <a:pt x="582" y="217"/>
                  </a:lnTo>
                  <a:lnTo>
                    <a:pt x="591" y="220"/>
                  </a:lnTo>
                  <a:lnTo>
                    <a:pt x="600" y="218"/>
                  </a:lnTo>
                  <a:lnTo>
                    <a:pt x="609" y="209"/>
                  </a:lnTo>
                  <a:lnTo>
                    <a:pt x="610" y="206"/>
                  </a:lnTo>
                  <a:lnTo>
                    <a:pt x="614" y="202"/>
                  </a:lnTo>
                  <a:lnTo>
                    <a:pt x="616" y="201"/>
                  </a:lnTo>
                  <a:lnTo>
                    <a:pt x="626" y="195"/>
                  </a:lnTo>
                  <a:lnTo>
                    <a:pt x="630" y="190"/>
                  </a:lnTo>
                  <a:lnTo>
                    <a:pt x="633" y="188"/>
                  </a:lnTo>
                  <a:lnTo>
                    <a:pt x="635" y="186"/>
                  </a:lnTo>
                  <a:lnTo>
                    <a:pt x="636" y="185"/>
                  </a:lnTo>
                  <a:lnTo>
                    <a:pt x="636" y="183"/>
                  </a:lnTo>
                  <a:lnTo>
                    <a:pt x="636" y="183"/>
                  </a:lnTo>
                  <a:lnTo>
                    <a:pt x="638" y="182"/>
                  </a:lnTo>
                  <a:lnTo>
                    <a:pt x="638" y="180"/>
                  </a:lnTo>
                  <a:lnTo>
                    <a:pt x="638" y="177"/>
                  </a:lnTo>
                  <a:lnTo>
                    <a:pt x="639" y="176"/>
                  </a:lnTo>
                  <a:lnTo>
                    <a:pt x="641" y="174"/>
                  </a:lnTo>
                  <a:lnTo>
                    <a:pt x="642" y="173"/>
                  </a:lnTo>
                  <a:lnTo>
                    <a:pt x="645" y="172"/>
                  </a:lnTo>
                  <a:lnTo>
                    <a:pt x="646" y="170"/>
                  </a:lnTo>
                  <a:lnTo>
                    <a:pt x="648" y="169"/>
                  </a:lnTo>
                  <a:lnTo>
                    <a:pt x="649" y="167"/>
                  </a:lnTo>
                  <a:lnTo>
                    <a:pt x="651" y="166"/>
                  </a:lnTo>
                  <a:lnTo>
                    <a:pt x="654" y="166"/>
                  </a:lnTo>
                  <a:lnTo>
                    <a:pt x="655" y="166"/>
                  </a:lnTo>
                  <a:lnTo>
                    <a:pt x="658" y="167"/>
                  </a:lnTo>
                  <a:lnTo>
                    <a:pt x="662" y="173"/>
                  </a:lnTo>
                  <a:lnTo>
                    <a:pt x="665" y="177"/>
                  </a:lnTo>
                  <a:lnTo>
                    <a:pt x="665" y="179"/>
                  </a:lnTo>
                  <a:lnTo>
                    <a:pt x="670" y="180"/>
                  </a:lnTo>
                  <a:lnTo>
                    <a:pt x="680" y="180"/>
                  </a:lnTo>
                  <a:lnTo>
                    <a:pt x="681" y="174"/>
                  </a:lnTo>
                  <a:lnTo>
                    <a:pt x="681" y="170"/>
                  </a:lnTo>
                  <a:lnTo>
                    <a:pt x="681" y="169"/>
                  </a:lnTo>
                  <a:lnTo>
                    <a:pt x="683" y="166"/>
                  </a:lnTo>
                  <a:lnTo>
                    <a:pt x="686" y="158"/>
                  </a:lnTo>
                  <a:lnTo>
                    <a:pt x="689" y="156"/>
                  </a:lnTo>
                  <a:lnTo>
                    <a:pt x="692" y="151"/>
                  </a:lnTo>
                  <a:lnTo>
                    <a:pt x="697" y="148"/>
                  </a:lnTo>
                  <a:lnTo>
                    <a:pt x="706" y="148"/>
                  </a:lnTo>
                  <a:lnTo>
                    <a:pt x="713" y="150"/>
                  </a:lnTo>
                  <a:lnTo>
                    <a:pt x="722" y="153"/>
                  </a:lnTo>
                  <a:lnTo>
                    <a:pt x="728" y="157"/>
                  </a:lnTo>
                  <a:lnTo>
                    <a:pt x="734" y="158"/>
                  </a:lnTo>
                  <a:lnTo>
                    <a:pt x="741" y="157"/>
                  </a:lnTo>
                  <a:lnTo>
                    <a:pt x="759" y="141"/>
                  </a:lnTo>
                  <a:lnTo>
                    <a:pt x="763" y="141"/>
                  </a:lnTo>
                  <a:lnTo>
                    <a:pt x="766" y="137"/>
                  </a:lnTo>
                  <a:lnTo>
                    <a:pt x="772" y="131"/>
                  </a:lnTo>
                  <a:lnTo>
                    <a:pt x="776" y="118"/>
                  </a:lnTo>
                  <a:lnTo>
                    <a:pt x="782" y="103"/>
                  </a:lnTo>
                  <a:lnTo>
                    <a:pt x="785" y="91"/>
                  </a:lnTo>
                  <a:lnTo>
                    <a:pt x="786" y="86"/>
                  </a:lnTo>
                  <a:lnTo>
                    <a:pt x="792" y="81"/>
                  </a:lnTo>
                  <a:lnTo>
                    <a:pt x="798" y="77"/>
                  </a:lnTo>
                  <a:lnTo>
                    <a:pt x="811" y="77"/>
                  </a:lnTo>
                  <a:lnTo>
                    <a:pt x="818" y="70"/>
                  </a:lnTo>
                  <a:lnTo>
                    <a:pt x="826" y="58"/>
                  </a:lnTo>
                  <a:lnTo>
                    <a:pt x="846" y="39"/>
                  </a:lnTo>
                  <a:lnTo>
                    <a:pt x="859" y="38"/>
                  </a:lnTo>
                  <a:lnTo>
                    <a:pt x="871" y="39"/>
                  </a:lnTo>
                  <a:lnTo>
                    <a:pt x="881" y="35"/>
                  </a:lnTo>
                  <a:lnTo>
                    <a:pt x="880" y="27"/>
                  </a:lnTo>
                  <a:lnTo>
                    <a:pt x="871" y="11"/>
                  </a:lnTo>
                  <a:lnTo>
                    <a:pt x="871" y="0"/>
                  </a:lnTo>
                  <a:lnTo>
                    <a:pt x="877" y="1"/>
                  </a:lnTo>
                  <a:lnTo>
                    <a:pt x="885" y="14"/>
                  </a:lnTo>
                  <a:lnTo>
                    <a:pt x="901" y="20"/>
                  </a:lnTo>
                  <a:lnTo>
                    <a:pt x="903" y="33"/>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18">
              <a:extLst>
                <a:ext uri="{FF2B5EF4-FFF2-40B4-BE49-F238E27FC236}">
                  <a16:creationId xmlns:a16="http://schemas.microsoft.com/office/drawing/2014/main" id="{8E3D703D-90BE-4BDD-913F-E51249435B63}"/>
                </a:ext>
              </a:extLst>
            </p:cNvPr>
            <p:cNvSpPr>
              <a:spLocks/>
            </p:cNvSpPr>
            <p:nvPr/>
          </p:nvSpPr>
          <p:spPr bwMode="gray">
            <a:xfrm>
              <a:off x="7561263" y="2244725"/>
              <a:ext cx="363538" cy="290513"/>
            </a:xfrm>
            <a:custGeom>
              <a:avLst/>
              <a:gdLst>
                <a:gd name="T0" fmla="*/ 141 w 229"/>
                <a:gd name="T1" fmla="*/ 19 h 183"/>
                <a:gd name="T2" fmla="*/ 141 w 229"/>
                <a:gd name="T3" fmla="*/ 29 h 183"/>
                <a:gd name="T4" fmla="*/ 178 w 229"/>
                <a:gd name="T5" fmla="*/ 64 h 183"/>
                <a:gd name="T6" fmla="*/ 194 w 229"/>
                <a:gd name="T7" fmla="*/ 76 h 183"/>
                <a:gd name="T8" fmla="*/ 198 w 229"/>
                <a:gd name="T9" fmla="*/ 99 h 183"/>
                <a:gd name="T10" fmla="*/ 226 w 229"/>
                <a:gd name="T11" fmla="*/ 118 h 183"/>
                <a:gd name="T12" fmla="*/ 226 w 229"/>
                <a:gd name="T13" fmla="*/ 127 h 183"/>
                <a:gd name="T14" fmla="*/ 224 w 229"/>
                <a:gd name="T15" fmla="*/ 135 h 183"/>
                <a:gd name="T16" fmla="*/ 215 w 229"/>
                <a:gd name="T17" fmla="*/ 145 h 183"/>
                <a:gd name="T18" fmla="*/ 213 w 229"/>
                <a:gd name="T19" fmla="*/ 160 h 183"/>
                <a:gd name="T20" fmla="*/ 211 w 229"/>
                <a:gd name="T21" fmla="*/ 167 h 183"/>
                <a:gd name="T22" fmla="*/ 201 w 229"/>
                <a:gd name="T23" fmla="*/ 172 h 183"/>
                <a:gd name="T24" fmla="*/ 192 w 229"/>
                <a:gd name="T25" fmla="*/ 183 h 183"/>
                <a:gd name="T26" fmla="*/ 191 w 229"/>
                <a:gd name="T27" fmla="*/ 172 h 183"/>
                <a:gd name="T28" fmla="*/ 182 w 229"/>
                <a:gd name="T29" fmla="*/ 160 h 183"/>
                <a:gd name="T30" fmla="*/ 151 w 229"/>
                <a:gd name="T31" fmla="*/ 147 h 183"/>
                <a:gd name="T32" fmla="*/ 144 w 229"/>
                <a:gd name="T33" fmla="*/ 150 h 183"/>
                <a:gd name="T34" fmla="*/ 135 w 229"/>
                <a:gd name="T35" fmla="*/ 151 h 183"/>
                <a:gd name="T36" fmla="*/ 131 w 229"/>
                <a:gd name="T37" fmla="*/ 143 h 183"/>
                <a:gd name="T38" fmla="*/ 118 w 229"/>
                <a:gd name="T39" fmla="*/ 143 h 183"/>
                <a:gd name="T40" fmla="*/ 115 w 229"/>
                <a:gd name="T41" fmla="*/ 147 h 183"/>
                <a:gd name="T42" fmla="*/ 116 w 229"/>
                <a:gd name="T43" fmla="*/ 156 h 183"/>
                <a:gd name="T44" fmla="*/ 99 w 229"/>
                <a:gd name="T45" fmla="*/ 157 h 183"/>
                <a:gd name="T46" fmla="*/ 89 w 229"/>
                <a:gd name="T47" fmla="*/ 147 h 183"/>
                <a:gd name="T48" fmla="*/ 76 w 229"/>
                <a:gd name="T49" fmla="*/ 150 h 183"/>
                <a:gd name="T50" fmla="*/ 70 w 229"/>
                <a:gd name="T51" fmla="*/ 141 h 183"/>
                <a:gd name="T52" fmla="*/ 57 w 229"/>
                <a:gd name="T53" fmla="*/ 147 h 183"/>
                <a:gd name="T54" fmla="*/ 46 w 229"/>
                <a:gd name="T55" fmla="*/ 141 h 183"/>
                <a:gd name="T56" fmla="*/ 26 w 229"/>
                <a:gd name="T57" fmla="*/ 148 h 183"/>
                <a:gd name="T58" fmla="*/ 22 w 229"/>
                <a:gd name="T59" fmla="*/ 151 h 183"/>
                <a:gd name="T60" fmla="*/ 1 w 229"/>
                <a:gd name="T61" fmla="*/ 143 h 183"/>
                <a:gd name="T62" fmla="*/ 0 w 229"/>
                <a:gd name="T63" fmla="*/ 141 h 183"/>
                <a:gd name="T64" fmla="*/ 4 w 229"/>
                <a:gd name="T65" fmla="*/ 135 h 183"/>
                <a:gd name="T66" fmla="*/ 4 w 229"/>
                <a:gd name="T67" fmla="*/ 131 h 183"/>
                <a:gd name="T68" fmla="*/ 9 w 229"/>
                <a:gd name="T69" fmla="*/ 127 h 183"/>
                <a:gd name="T70" fmla="*/ 6 w 229"/>
                <a:gd name="T71" fmla="*/ 116 h 183"/>
                <a:gd name="T72" fmla="*/ 9 w 229"/>
                <a:gd name="T73" fmla="*/ 106 h 183"/>
                <a:gd name="T74" fmla="*/ 22 w 229"/>
                <a:gd name="T75" fmla="*/ 93 h 183"/>
                <a:gd name="T76" fmla="*/ 17 w 229"/>
                <a:gd name="T77" fmla="*/ 64 h 183"/>
                <a:gd name="T78" fmla="*/ 17 w 229"/>
                <a:gd name="T79" fmla="*/ 45 h 183"/>
                <a:gd name="T80" fmla="*/ 20 w 229"/>
                <a:gd name="T81" fmla="*/ 38 h 183"/>
                <a:gd name="T82" fmla="*/ 39 w 229"/>
                <a:gd name="T83" fmla="*/ 44 h 183"/>
                <a:gd name="T84" fmla="*/ 42 w 229"/>
                <a:gd name="T85" fmla="*/ 41 h 183"/>
                <a:gd name="T86" fmla="*/ 41 w 229"/>
                <a:gd name="T87" fmla="*/ 33 h 183"/>
                <a:gd name="T88" fmla="*/ 45 w 229"/>
                <a:gd name="T89" fmla="*/ 20 h 183"/>
                <a:gd name="T90" fmla="*/ 64 w 229"/>
                <a:gd name="T91" fmla="*/ 12 h 183"/>
                <a:gd name="T92" fmla="*/ 68 w 229"/>
                <a:gd name="T93" fmla="*/ 4 h 183"/>
                <a:gd name="T94" fmla="*/ 73 w 229"/>
                <a:gd name="T95" fmla="*/ 6 h 183"/>
                <a:gd name="T96" fmla="*/ 73 w 229"/>
                <a:gd name="T97" fmla="*/ 16 h 183"/>
                <a:gd name="T98" fmla="*/ 81 w 229"/>
                <a:gd name="T99" fmla="*/ 22 h 183"/>
                <a:gd name="T100" fmla="*/ 100 w 229"/>
                <a:gd name="T101" fmla="*/ 20 h 183"/>
                <a:gd name="T102" fmla="*/ 118 w 229"/>
                <a:gd name="T103" fmla="*/ 13 h 183"/>
                <a:gd name="T104" fmla="*/ 121 w 229"/>
                <a:gd name="T105" fmla="*/ 9 h 183"/>
                <a:gd name="T106" fmla="*/ 134 w 229"/>
                <a:gd name="T107" fmla="*/ 1 h 183"/>
                <a:gd name="T108" fmla="*/ 141 w 229"/>
                <a:gd name="T109" fmla="*/ 1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9" h="183">
                  <a:moveTo>
                    <a:pt x="141" y="12"/>
                  </a:moveTo>
                  <a:lnTo>
                    <a:pt x="143" y="13"/>
                  </a:lnTo>
                  <a:lnTo>
                    <a:pt x="143" y="14"/>
                  </a:lnTo>
                  <a:lnTo>
                    <a:pt x="141" y="19"/>
                  </a:lnTo>
                  <a:lnTo>
                    <a:pt x="141" y="22"/>
                  </a:lnTo>
                  <a:lnTo>
                    <a:pt x="141" y="25"/>
                  </a:lnTo>
                  <a:lnTo>
                    <a:pt x="141" y="29"/>
                  </a:lnTo>
                  <a:lnTo>
                    <a:pt x="141" y="29"/>
                  </a:lnTo>
                  <a:lnTo>
                    <a:pt x="143" y="30"/>
                  </a:lnTo>
                  <a:lnTo>
                    <a:pt x="166" y="57"/>
                  </a:lnTo>
                  <a:lnTo>
                    <a:pt x="173" y="62"/>
                  </a:lnTo>
                  <a:lnTo>
                    <a:pt x="178" y="64"/>
                  </a:lnTo>
                  <a:lnTo>
                    <a:pt x="181" y="67"/>
                  </a:lnTo>
                  <a:lnTo>
                    <a:pt x="185" y="70"/>
                  </a:lnTo>
                  <a:lnTo>
                    <a:pt x="192" y="71"/>
                  </a:lnTo>
                  <a:lnTo>
                    <a:pt x="194" y="76"/>
                  </a:lnTo>
                  <a:lnTo>
                    <a:pt x="185" y="94"/>
                  </a:lnTo>
                  <a:lnTo>
                    <a:pt x="185" y="99"/>
                  </a:lnTo>
                  <a:lnTo>
                    <a:pt x="185" y="100"/>
                  </a:lnTo>
                  <a:lnTo>
                    <a:pt x="198" y="99"/>
                  </a:lnTo>
                  <a:lnTo>
                    <a:pt x="202" y="102"/>
                  </a:lnTo>
                  <a:lnTo>
                    <a:pt x="210" y="109"/>
                  </a:lnTo>
                  <a:lnTo>
                    <a:pt x="223" y="116"/>
                  </a:lnTo>
                  <a:lnTo>
                    <a:pt x="226" y="118"/>
                  </a:lnTo>
                  <a:lnTo>
                    <a:pt x="229" y="122"/>
                  </a:lnTo>
                  <a:lnTo>
                    <a:pt x="229" y="124"/>
                  </a:lnTo>
                  <a:lnTo>
                    <a:pt x="229" y="125"/>
                  </a:lnTo>
                  <a:lnTo>
                    <a:pt x="226" y="127"/>
                  </a:lnTo>
                  <a:lnTo>
                    <a:pt x="224" y="128"/>
                  </a:lnTo>
                  <a:lnTo>
                    <a:pt x="224" y="129"/>
                  </a:lnTo>
                  <a:lnTo>
                    <a:pt x="224" y="131"/>
                  </a:lnTo>
                  <a:lnTo>
                    <a:pt x="224" y="135"/>
                  </a:lnTo>
                  <a:lnTo>
                    <a:pt x="224" y="137"/>
                  </a:lnTo>
                  <a:lnTo>
                    <a:pt x="223" y="138"/>
                  </a:lnTo>
                  <a:lnTo>
                    <a:pt x="217" y="144"/>
                  </a:lnTo>
                  <a:lnTo>
                    <a:pt x="215" y="145"/>
                  </a:lnTo>
                  <a:lnTo>
                    <a:pt x="214" y="147"/>
                  </a:lnTo>
                  <a:lnTo>
                    <a:pt x="213" y="151"/>
                  </a:lnTo>
                  <a:lnTo>
                    <a:pt x="213" y="154"/>
                  </a:lnTo>
                  <a:lnTo>
                    <a:pt x="213" y="160"/>
                  </a:lnTo>
                  <a:lnTo>
                    <a:pt x="213" y="163"/>
                  </a:lnTo>
                  <a:lnTo>
                    <a:pt x="213" y="164"/>
                  </a:lnTo>
                  <a:lnTo>
                    <a:pt x="213" y="166"/>
                  </a:lnTo>
                  <a:lnTo>
                    <a:pt x="211" y="167"/>
                  </a:lnTo>
                  <a:lnTo>
                    <a:pt x="211" y="167"/>
                  </a:lnTo>
                  <a:lnTo>
                    <a:pt x="210" y="169"/>
                  </a:lnTo>
                  <a:lnTo>
                    <a:pt x="210" y="169"/>
                  </a:lnTo>
                  <a:lnTo>
                    <a:pt x="201" y="172"/>
                  </a:lnTo>
                  <a:lnTo>
                    <a:pt x="201" y="172"/>
                  </a:lnTo>
                  <a:lnTo>
                    <a:pt x="199" y="173"/>
                  </a:lnTo>
                  <a:lnTo>
                    <a:pt x="195" y="183"/>
                  </a:lnTo>
                  <a:lnTo>
                    <a:pt x="192" y="183"/>
                  </a:lnTo>
                  <a:lnTo>
                    <a:pt x="191" y="182"/>
                  </a:lnTo>
                  <a:lnTo>
                    <a:pt x="191" y="182"/>
                  </a:lnTo>
                  <a:lnTo>
                    <a:pt x="191" y="180"/>
                  </a:lnTo>
                  <a:lnTo>
                    <a:pt x="191" y="172"/>
                  </a:lnTo>
                  <a:lnTo>
                    <a:pt x="189" y="163"/>
                  </a:lnTo>
                  <a:lnTo>
                    <a:pt x="188" y="160"/>
                  </a:lnTo>
                  <a:lnTo>
                    <a:pt x="185" y="159"/>
                  </a:lnTo>
                  <a:lnTo>
                    <a:pt x="182" y="160"/>
                  </a:lnTo>
                  <a:lnTo>
                    <a:pt x="179" y="159"/>
                  </a:lnTo>
                  <a:lnTo>
                    <a:pt x="170" y="156"/>
                  </a:lnTo>
                  <a:lnTo>
                    <a:pt x="164" y="153"/>
                  </a:lnTo>
                  <a:lnTo>
                    <a:pt x="151" y="147"/>
                  </a:lnTo>
                  <a:lnTo>
                    <a:pt x="148" y="147"/>
                  </a:lnTo>
                  <a:lnTo>
                    <a:pt x="147" y="148"/>
                  </a:lnTo>
                  <a:lnTo>
                    <a:pt x="146" y="148"/>
                  </a:lnTo>
                  <a:lnTo>
                    <a:pt x="144" y="150"/>
                  </a:lnTo>
                  <a:lnTo>
                    <a:pt x="144" y="151"/>
                  </a:lnTo>
                  <a:lnTo>
                    <a:pt x="143" y="151"/>
                  </a:lnTo>
                  <a:lnTo>
                    <a:pt x="140" y="151"/>
                  </a:lnTo>
                  <a:lnTo>
                    <a:pt x="135" y="151"/>
                  </a:lnTo>
                  <a:lnTo>
                    <a:pt x="134" y="150"/>
                  </a:lnTo>
                  <a:lnTo>
                    <a:pt x="132" y="148"/>
                  </a:lnTo>
                  <a:lnTo>
                    <a:pt x="132" y="145"/>
                  </a:lnTo>
                  <a:lnTo>
                    <a:pt x="131" y="143"/>
                  </a:lnTo>
                  <a:lnTo>
                    <a:pt x="128" y="141"/>
                  </a:lnTo>
                  <a:lnTo>
                    <a:pt x="127" y="141"/>
                  </a:lnTo>
                  <a:lnTo>
                    <a:pt x="124" y="141"/>
                  </a:lnTo>
                  <a:lnTo>
                    <a:pt x="118" y="143"/>
                  </a:lnTo>
                  <a:lnTo>
                    <a:pt x="116" y="144"/>
                  </a:lnTo>
                  <a:lnTo>
                    <a:pt x="116" y="144"/>
                  </a:lnTo>
                  <a:lnTo>
                    <a:pt x="115" y="145"/>
                  </a:lnTo>
                  <a:lnTo>
                    <a:pt x="115" y="147"/>
                  </a:lnTo>
                  <a:lnTo>
                    <a:pt x="115" y="148"/>
                  </a:lnTo>
                  <a:lnTo>
                    <a:pt x="115" y="151"/>
                  </a:lnTo>
                  <a:lnTo>
                    <a:pt x="116" y="154"/>
                  </a:lnTo>
                  <a:lnTo>
                    <a:pt x="116" y="156"/>
                  </a:lnTo>
                  <a:lnTo>
                    <a:pt x="116" y="157"/>
                  </a:lnTo>
                  <a:lnTo>
                    <a:pt x="115" y="160"/>
                  </a:lnTo>
                  <a:lnTo>
                    <a:pt x="105" y="160"/>
                  </a:lnTo>
                  <a:lnTo>
                    <a:pt x="99" y="157"/>
                  </a:lnTo>
                  <a:lnTo>
                    <a:pt x="97" y="156"/>
                  </a:lnTo>
                  <a:lnTo>
                    <a:pt x="95" y="153"/>
                  </a:lnTo>
                  <a:lnTo>
                    <a:pt x="90" y="148"/>
                  </a:lnTo>
                  <a:lnTo>
                    <a:pt x="89" y="147"/>
                  </a:lnTo>
                  <a:lnTo>
                    <a:pt x="87" y="145"/>
                  </a:lnTo>
                  <a:lnTo>
                    <a:pt x="84" y="147"/>
                  </a:lnTo>
                  <a:lnTo>
                    <a:pt x="76" y="150"/>
                  </a:lnTo>
                  <a:lnTo>
                    <a:pt x="76" y="150"/>
                  </a:lnTo>
                  <a:lnTo>
                    <a:pt x="74" y="148"/>
                  </a:lnTo>
                  <a:lnTo>
                    <a:pt x="71" y="144"/>
                  </a:lnTo>
                  <a:lnTo>
                    <a:pt x="70" y="143"/>
                  </a:lnTo>
                  <a:lnTo>
                    <a:pt x="70" y="141"/>
                  </a:lnTo>
                  <a:lnTo>
                    <a:pt x="70" y="141"/>
                  </a:lnTo>
                  <a:lnTo>
                    <a:pt x="68" y="143"/>
                  </a:lnTo>
                  <a:lnTo>
                    <a:pt x="67" y="143"/>
                  </a:lnTo>
                  <a:lnTo>
                    <a:pt x="57" y="147"/>
                  </a:lnTo>
                  <a:lnTo>
                    <a:pt x="55" y="147"/>
                  </a:lnTo>
                  <a:lnTo>
                    <a:pt x="54" y="147"/>
                  </a:lnTo>
                  <a:lnTo>
                    <a:pt x="51" y="144"/>
                  </a:lnTo>
                  <a:lnTo>
                    <a:pt x="46" y="141"/>
                  </a:lnTo>
                  <a:lnTo>
                    <a:pt x="44" y="140"/>
                  </a:lnTo>
                  <a:lnTo>
                    <a:pt x="42" y="140"/>
                  </a:lnTo>
                  <a:lnTo>
                    <a:pt x="28" y="147"/>
                  </a:lnTo>
                  <a:lnTo>
                    <a:pt x="26" y="148"/>
                  </a:lnTo>
                  <a:lnTo>
                    <a:pt x="26" y="150"/>
                  </a:lnTo>
                  <a:lnTo>
                    <a:pt x="25" y="151"/>
                  </a:lnTo>
                  <a:lnTo>
                    <a:pt x="23" y="151"/>
                  </a:lnTo>
                  <a:lnTo>
                    <a:pt x="22" y="151"/>
                  </a:lnTo>
                  <a:lnTo>
                    <a:pt x="10" y="150"/>
                  </a:lnTo>
                  <a:lnTo>
                    <a:pt x="9" y="148"/>
                  </a:lnTo>
                  <a:lnTo>
                    <a:pt x="7" y="148"/>
                  </a:lnTo>
                  <a:lnTo>
                    <a:pt x="1" y="143"/>
                  </a:lnTo>
                  <a:lnTo>
                    <a:pt x="0" y="143"/>
                  </a:lnTo>
                  <a:lnTo>
                    <a:pt x="0" y="143"/>
                  </a:lnTo>
                  <a:lnTo>
                    <a:pt x="0" y="143"/>
                  </a:lnTo>
                  <a:lnTo>
                    <a:pt x="0" y="141"/>
                  </a:lnTo>
                  <a:lnTo>
                    <a:pt x="0" y="141"/>
                  </a:lnTo>
                  <a:lnTo>
                    <a:pt x="0" y="140"/>
                  </a:lnTo>
                  <a:lnTo>
                    <a:pt x="3" y="135"/>
                  </a:lnTo>
                  <a:lnTo>
                    <a:pt x="4" y="135"/>
                  </a:lnTo>
                  <a:lnTo>
                    <a:pt x="4" y="134"/>
                  </a:lnTo>
                  <a:lnTo>
                    <a:pt x="4" y="132"/>
                  </a:lnTo>
                  <a:lnTo>
                    <a:pt x="4" y="132"/>
                  </a:lnTo>
                  <a:lnTo>
                    <a:pt x="4" y="131"/>
                  </a:lnTo>
                  <a:lnTo>
                    <a:pt x="6" y="129"/>
                  </a:lnTo>
                  <a:lnTo>
                    <a:pt x="7" y="128"/>
                  </a:lnTo>
                  <a:lnTo>
                    <a:pt x="9" y="127"/>
                  </a:lnTo>
                  <a:lnTo>
                    <a:pt x="9" y="127"/>
                  </a:lnTo>
                  <a:lnTo>
                    <a:pt x="7" y="124"/>
                  </a:lnTo>
                  <a:lnTo>
                    <a:pt x="6" y="122"/>
                  </a:lnTo>
                  <a:lnTo>
                    <a:pt x="6" y="119"/>
                  </a:lnTo>
                  <a:lnTo>
                    <a:pt x="6" y="116"/>
                  </a:lnTo>
                  <a:lnTo>
                    <a:pt x="6" y="113"/>
                  </a:lnTo>
                  <a:lnTo>
                    <a:pt x="7" y="109"/>
                  </a:lnTo>
                  <a:lnTo>
                    <a:pt x="7" y="108"/>
                  </a:lnTo>
                  <a:lnTo>
                    <a:pt x="9" y="106"/>
                  </a:lnTo>
                  <a:lnTo>
                    <a:pt x="9" y="106"/>
                  </a:lnTo>
                  <a:lnTo>
                    <a:pt x="12" y="105"/>
                  </a:lnTo>
                  <a:lnTo>
                    <a:pt x="13" y="103"/>
                  </a:lnTo>
                  <a:lnTo>
                    <a:pt x="22" y="93"/>
                  </a:lnTo>
                  <a:lnTo>
                    <a:pt x="22" y="90"/>
                  </a:lnTo>
                  <a:lnTo>
                    <a:pt x="22" y="89"/>
                  </a:lnTo>
                  <a:lnTo>
                    <a:pt x="16" y="80"/>
                  </a:lnTo>
                  <a:lnTo>
                    <a:pt x="17" y="64"/>
                  </a:lnTo>
                  <a:lnTo>
                    <a:pt x="19" y="55"/>
                  </a:lnTo>
                  <a:lnTo>
                    <a:pt x="19" y="49"/>
                  </a:lnTo>
                  <a:lnTo>
                    <a:pt x="19" y="46"/>
                  </a:lnTo>
                  <a:lnTo>
                    <a:pt x="17" y="45"/>
                  </a:lnTo>
                  <a:lnTo>
                    <a:pt x="19" y="44"/>
                  </a:lnTo>
                  <a:lnTo>
                    <a:pt x="19" y="42"/>
                  </a:lnTo>
                  <a:lnTo>
                    <a:pt x="19" y="41"/>
                  </a:lnTo>
                  <a:lnTo>
                    <a:pt x="20" y="38"/>
                  </a:lnTo>
                  <a:lnTo>
                    <a:pt x="22" y="36"/>
                  </a:lnTo>
                  <a:lnTo>
                    <a:pt x="22" y="36"/>
                  </a:lnTo>
                  <a:lnTo>
                    <a:pt x="25" y="38"/>
                  </a:lnTo>
                  <a:lnTo>
                    <a:pt x="39" y="44"/>
                  </a:lnTo>
                  <a:lnTo>
                    <a:pt x="44" y="44"/>
                  </a:lnTo>
                  <a:lnTo>
                    <a:pt x="44" y="42"/>
                  </a:lnTo>
                  <a:lnTo>
                    <a:pt x="42" y="41"/>
                  </a:lnTo>
                  <a:lnTo>
                    <a:pt x="42" y="41"/>
                  </a:lnTo>
                  <a:lnTo>
                    <a:pt x="41" y="38"/>
                  </a:lnTo>
                  <a:lnTo>
                    <a:pt x="41" y="38"/>
                  </a:lnTo>
                  <a:lnTo>
                    <a:pt x="41" y="36"/>
                  </a:lnTo>
                  <a:lnTo>
                    <a:pt x="41" y="33"/>
                  </a:lnTo>
                  <a:lnTo>
                    <a:pt x="41" y="32"/>
                  </a:lnTo>
                  <a:lnTo>
                    <a:pt x="41" y="30"/>
                  </a:lnTo>
                  <a:lnTo>
                    <a:pt x="45" y="22"/>
                  </a:lnTo>
                  <a:lnTo>
                    <a:pt x="45" y="20"/>
                  </a:lnTo>
                  <a:lnTo>
                    <a:pt x="55" y="19"/>
                  </a:lnTo>
                  <a:lnTo>
                    <a:pt x="58" y="17"/>
                  </a:lnTo>
                  <a:lnTo>
                    <a:pt x="63" y="14"/>
                  </a:lnTo>
                  <a:lnTo>
                    <a:pt x="64" y="12"/>
                  </a:lnTo>
                  <a:lnTo>
                    <a:pt x="65" y="9"/>
                  </a:lnTo>
                  <a:lnTo>
                    <a:pt x="65" y="6"/>
                  </a:lnTo>
                  <a:lnTo>
                    <a:pt x="67" y="4"/>
                  </a:lnTo>
                  <a:lnTo>
                    <a:pt x="68" y="4"/>
                  </a:lnTo>
                  <a:lnTo>
                    <a:pt x="73" y="4"/>
                  </a:lnTo>
                  <a:lnTo>
                    <a:pt x="73" y="4"/>
                  </a:lnTo>
                  <a:lnTo>
                    <a:pt x="73" y="4"/>
                  </a:lnTo>
                  <a:lnTo>
                    <a:pt x="73" y="6"/>
                  </a:lnTo>
                  <a:lnTo>
                    <a:pt x="71" y="7"/>
                  </a:lnTo>
                  <a:lnTo>
                    <a:pt x="73" y="9"/>
                  </a:lnTo>
                  <a:lnTo>
                    <a:pt x="73" y="10"/>
                  </a:lnTo>
                  <a:lnTo>
                    <a:pt x="73" y="16"/>
                  </a:lnTo>
                  <a:lnTo>
                    <a:pt x="74" y="17"/>
                  </a:lnTo>
                  <a:lnTo>
                    <a:pt x="74" y="19"/>
                  </a:lnTo>
                  <a:lnTo>
                    <a:pt x="76" y="19"/>
                  </a:lnTo>
                  <a:lnTo>
                    <a:pt x="81" y="22"/>
                  </a:lnTo>
                  <a:lnTo>
                    <a:pt x="95" y="23"/>
                  </a:lnTo>
                  <a:lnTo>
                    <a:pt x="97" y="22"/>
                  </a:lnTo>
                  <a:lnTo>
                    <a:pt x="99" y="22"/>
                  </a:lnTo>
                  <a:lnTo>
                    <a:pt x="100" y="20"/>
                  </a:lnTo>
                  <a:lnTo>
                    <a:pt x="100" y="19"/>
                  </a:lnTo>
                  <a:lnTo>
                    <a:pt x="103" y="14"/>
                  </a:lnTo>
                  <a:lnTo>
                    <a:pt x="111" y="9"/>
                  </a:lnTo>
                  <a:lnTo>
                    <a:pt x="118" y="13"/>
                  </a:lnTo>
                  <a:lnTo>
                    <a:pt x="118" y="13"/>
                  </a:lnTo>
                  <a:lnTo>
                    <a:pt x="119" y="13"/>
                  </a:lnTo>
                  <a:lnTo>
                    <a:pt x="121" y="12"/>
                  </a:lnTo>
                  <a:lnTo>
                    <a:pt x="121" y="9"/>
                  </a:lnTo>
                  <a:lnTo>
                    <a:pt x="122" y="7"/>
                  </a:lnTo>
                  <a:lnTo>
                    <a:pt x="131" y="0"/>
                  </a:lnTo>
                  <a:lnTo>
                    <a:pt x="132" y="0"/>
                  </a:lnTo>
                  <a:lnTo>
                    <a:pt x="134" y="1"/>
                  </a:lnTo>
                  <a:lnTo>
                    <a:pt x="134" y="3"/>
                  </a:lnTo>
                  <a:lnTo>
                    <a:pt x="135" y="6"/>
                  </a:lnTo>
                  <a:lnTo>
                    <a:pt x="141" y="10"/>
                  </a:lnTo>
                  <a:lnTo>
                    <a:pt x="141" y="12"/>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19">
              <a:extLst>
                <a:ext uri="{FF2B5EF4-FFF2-40B4-BE49-F238E27FC236}">
                  <a16:creationId xmlns:a16="http://schemas.microsoft.com/office/drawing/2014/main" id="{56D27573-C863-4284-BC20-8596B64C69BC}"/>
                </a:ext>
              </a:extLst>
            </p:cNvPr>
            <p:cNvSpPr>
              <a:spLocks/>
            </p:cNvSpPr>
            <p:nvPr/>
          </p:nvSpPr>
          <p:spPr bwMode="gray">
            <a:xfrm>
              <a:off x="5289551" y="4105275"/>
              <a:ext cx="2671763" cy="2754313"/>
            </a:xfrm>
            <a:custGeom>
              <a:avLst/>
              <a:gdLst>
                <a:gd name="T0" fmla="*/ 484 w 1683"/>
                <a:gd name="T1" fmla="*/ 67 h 1735"/>
                <a:gd name="T2" fmla="*/ 539 w 1683"/>
                <a:gd name="T3" fmla="*/ 115 h 1735"/>
                <a:gd name="T4" fmla="*/ 599 w 1683"/>
                <a:gd name="T5" fmla="*/ 189 h 1735"/>
                <a:gd name="T6" fmla="*/ 647 w 1683"/>
                <a:gd name="T7" fmla="*/ 159 h 1735"/>
                <a:gd name="T8" fmla="*/ 617 w 1683"/>
                <a:gd name="T9" fmla="*/ 112 h 1735"/>
                <a:gd name="T10" fmla="*/ 666 w 1683"/>
                <a:gd name="T11" fmla="*/ 97 h 1735"/>
                <a:gd name="T12" fmla="*/ 742 w 1683"/>
                <a:gd name="T13" fmla="*/ 108 h 1735"/>
                <a:gd name="T14" fmla="*/ 793 w 1683"/>
                <a:gd name="T15" fmla="*/ 150 h 1735"/>
                <a:gd name="T16" fmla="*/ 796 w 1683"/>
                <a:gd name="T17" fmla="*/ 92 h 1735"/>
                <a:gd name="T18" fmla="*/ 823 w 1683"/>
                <a:gd name="T19" fmla="*/ 25 h 1735"/>
                <a:gd name="T20" fmla="*/ 883 w 1683"/>
                <a:gd name="T21" fmla="*/ 99 h 1735"/>
                <a:gd name="T22" fmla="*/ 989 w 1683"/>
                <a:gd name="T23" fmla="*/ 89 h 1735"/>
                <a:gd name="T24" fmla="*/ 1067 w 1683"/>
                <a:gd name="T25" fmla="*/ 128 h 1735"/>
                <a:gd name="T26" fmla="*/ 1132 w 1683"/>
                <a:gd name="T27" fmla="*/ 262 h 1735"/>
                <a:gd name="T28" fmla="*/ 1185 w 1683"/>
                <a:gd name="T29" fmla="*/ 443 h 1735"/>
                <a:gd name="T30" fmla="*/ 1265 w 1683"/>
                <a:gd name="T31" fmla="*/ 566 h 1735"/>
                <a:gd name="T32" fmla="*/ 1418 w 1683"/>
                <a:gd name="T33" fmla="*/ 712 h 1735"/>
                <a:gd name="T34" fmla="*/ 1645 w 1683"/>
                <a:gd name="T35" fmla="*/ 906 h 1735"/>
                <a:gd name="T36" fmla="*/ 1616 w 1683"/>
                <a:gd name="T37" fmla="*/ 1067 h 1735"/>
                <a:gd name="T38" fmla="*/ 1376 w 1683"/>
                <a:gd name="T39" fmla="*/ 1252 h 1735"/>
                <a:gd name="T40" fmla="*/ 1373 w 1683"/>
                <a:gd name="T41" fmla="*/ 1476 h 1735"/>
                <a:gd name="T42" fmla="*/ 1409 w 1683"/>
                <a:gd name="T43" fmla="*/ 1596 h 1735"/>
                <a:gd name="T44" fmla="*/ 1316 w 1683"/>
                <a:gd name="T45" fmla="*/ 1533 h 1735"/>
                <a:gd name="T46" fmla="*/ 1134 w 1683"/>
                <a:gd name="T47" fmla="*/ 1500 h 1735"/>
                <a:gd name="T48" fmla="*/ 895 w 1683"/>
                <a:gd name="T49" fmla="*/ 1612 h 1735"/>
                <a:gd name="T50" fmla="*/ 691 w 1683"/>
                <a:gd name="T51" fmla="*/ 1655 h 1735"/>
                <a:gd name="T52" fmla="*/ 516 w 1683"/>
                <a:gd name="T53" fmla="*/ 1583 h 1735"/>
                <a:gd name="T54" fmla="*/ 410 w 1683"/>
                <a:gd name="T55" fmla="*/ 1734 h 1735"/>
                <a:gd name="T56" fmla="*/ 360 w 1683"/>
                <a:gd name="T57" fmla="*/ 1626 h 1735"/>
                <a:gd name="T58" fmla="*/ 222 w 1683"/>
                <a:gd name="T59" fmla="*/ 1607 h 1735"/>
                <a:gd name="T60" fmla="*/ 376 w 1683"/>
                <a:gd name="T61" fmla="*/ 1527 h 1735"/>
                <a:gd name="T62" fmla="*/ 391 w 1683"/>
                <a:gd name="T63" fmla="*/ 1479 h 1735"/>
                <a:gd name="T64" fmla="*/ 386 w 1683"/>
                <a:gd name="T65" fmla="*/ 1433 h 1735"/>
                <a:gd name="T66" fmla="*/ 404 w 1683"/>
                <a:gd name="T67" fmla="*/ 1306 h 1735"/>
                <a:gd name="T68" fmla="*/ 398 w 1683"/>
                <a:gd name="T69" fmla="*/ 1108 h 1735"/>
                <a:gd name="T70" fmla="*/ 465 w 1683"/>
                <a:gd name="T71" fmla="*/ 1082 h 1735"/>
                <a:gd name="T72" fmla="*/ 456 w 1683"/>
                <a:gd name="T73" fmla="*/ 1025 h 1735"/>
                <a:gd name="T74" fmla="*/ 503 w 1683"/>
                <a:gd name="T75" fmla="*/ 996 h 1735"/>
                <a:gd name="T76" fmla="*/ 507 w 1683"/>
                <a:gd name="T77" fmla="*/ 971 h 1735"/>
                <a:gd name="T78" fmla="*/ 513 w 1683"/>
                <a:gd name="T79" fmla="*/ 914 h 1735"/>
                <a:gd name="T80" fmla="*/ 485 w 1683"/>
                <a:gd name="T81" fmla="*/ 836 h 1735"/>
                <a:gd name="T82" fmla="*/ 446 w 1683"/>
                <a:gd name="T83" fmla="*/ 791 h 1735"/>
                <a:gd name="T84" fmla="*/ 439 w 1683"/>
                <a:gd name="T85" fmla="*/ 754 h 1735"/>
                <a:gd name="T86" fmla="*/ 401 w 1683"/>
                <a:gd name="T87" fmla="*/ 700 h 1735"/>
                <a:gd name="T88" fmla="*/ 398 w 1683"/>
                <a:gd name="T89" fmla="*/ 652 h 1735"/>
                <a:gd name="T90" fmla="*/ 397 w 1683"/>
                <a:gd name="T91" fmla="*/ 565 h 1735"/>
                <a:gd name="T92" fmla="*/ 363 w 1683"/>
                <a:gd name="T93" fmla="*/ 584 h 1735"/>
                <a:gd name="T94" fmla="*/ 321 w 1683"/>
                <a:gd name="T95" fmla="*/ 533 h 1735"/>
                <a:gd name="T96" fmla="*/ 315 w 1683"/>
                <a:gd name="T97" fmla="*/ 517 h 1735"/>
                <a:gd name="T98" fmla="*/ 260 w 1683"/>
                <a:gd name="T99" fmla="*/ 472 h 1735"/>
                <a:gd name="T100" fmla="*/ 230 w 1683"/>
                <a:gd name="T101" fmla="*/ 459 h 1735"/>
                <a:gd name="T102" fmla="*/ 228 w 1683"/>
                <a:gd name="T103" fmla="*/ 425 h 1735"/>
                <a:gd name="T104" fmla="*/ 137 w 1683"/>
                <a:gd name="T105" fmla="*/ 459 h 1735"/>
                <a:gd name="T106" fmla="*/ 146 w 1683"/>
                <a:gd name="T107" fmla="*/ 498 h 1735"/>
                <a:gd name="T108" fmla="*/ 35 w 1683"/>
                <a:gd name="T109" fmla="*/ 518 h 1735"/>
                <a:gd name="T110" fmla="*/ 60 w 1683"/>
                <a:gd name="T111" fmla="*/ 445 h 1735"/>
                <a:gd name="T112" fmla="*/ 40 w 1683"/>
                <a:gd name="T113" fmla="*/ 389 h 1735"/>
                <a:gd name="T114" fmla="*/ 12 w 1683"/>
                <a:gd name="T115" fmla="*/ 278 h 1735"/>
                <a:gd name="T116" fmla="*/ 61 w 1683"/>
                <a:gd name="T117" fmla="*/ 245 h 1735"/>
                <a:gd name="T118" fmla="*/ 143 w 1683"/>
                <a:gd name="T119" fmla="*/ 242 h 1735"/>
                <a:gd name="T120" fmla="*/ 185 w 1683"/>
                <a:gd name="T121" fmla="*/ 194 h 1735"/>
                <a:gd name="T122" fmla="*/ 238 w 1683"/>
                <a:gd name="T123" fmla="*/ 175 h 1735"/>
                <a:gd name="T124" fmla="*/ 303 w 1683"/>
                <a:gd name="T125" fmla="*/ 90 h 1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83" h="1735">
                  <a:moveTo>
                    <a:pt x="402" y="9"/>
                  </a:moveTo>
                  <a:lnTo>
                    <a:pt x="404" y="9"/>
                  </a:lnTo>
                  <a:lnTo>
                    <a:pt x="421" y="7"/>
                  </a:lnTo>
                  <a:lnTo>
                    <a:pt x="424" y="9"/>
                  </a:lnTo>
                  <a:lnTo>
                    <a:pt x="427" y="9"/>
                  </a:lnTo>
                  <a:lnTo>
                    <a:pt x="427" y="10"/>
                  </a:lnTo>
                  <a:lnTo>
                    <a:pt x="429" y="12"/>
                  </a:lnTo>
                  <a:lnTo>
                    <a:pt x="430" y="13"/>
                  </a:lnTo>
                  <a:lnTo>
                    <a:pt x="432" y="14"/>
                  </a:lnTo>
                  <a:lnTo>
                    <a:pt x="433" y="16"/>
                  </a:lnTo>
                  <a:lnTo>
                    <a:pt x="433" y="19"/>
                  </a:lnTo>
                  <a:lnTo>
                    <a:pt x="434" y="23"/>
                  </a:lnTo>
                  <a:lnTo>
                    <a:pt x="436" y="26"/>
                  </a:lnTo>
                  <a:lnTo>
                    <a:pt x="436" y="28"/>
                  </a:lnTo>
                  <a:lnTo>
                    <a:pt x="439" y="29"/>
                  </a:lnTo>
                  <a:lnTo>
                    <a:pt x="466" y="39"/>
                  </a:lnTo>
                  <a:lnTo>
                    <a:pt x="469" y="41"/>
                  </a:lnTo>
                  <a:lnTo>
                    <a:pt x="472" y="42"/>
                  </a:lnTo>
                  <a:lnTo>
                    <a:pt x="472" y="44"/>
                  </a:lnTo>
                  <a:lnTo>
                    <a:pt x="474" y="47"/>
                  </a:lnTo>
                  <a:lnTo>
                    <a:pt x="474" y="48"/>
                  </a:lnTo>
                  <a:lnTo>
                    <a:pt x="474" y="49"/>
                  </a:lnTo>
                  <a:lnTo>
                    <a:pt x="474" y="52"/>
                  </a:lnTo>
                  <a:lnTo>
                    <a:pt x="474" y="54"/>
                  </a:lnTo>
                  <a:lnTo>
                    <a:pt x="474" y="55"/>
                  </a:lnTo>
                  <a:lnTo>
                    <a:pt x="475" y="57"/>
                  </a:lnTo>
                  <a:lnTo>
                    <a:pt x="480" y="61"/>
                  </a:lnTo>
                  <a:lnTo>
                    <a:pt x="481" y="63"/>
                  </a:lnTo>
                  <a:lnTo>
                    <a:pt x="482" y="65"/>
                  </a:lnTo>
                  <a:lnTo>
                    <a:pt x="484" y="67"/>
                  </a:lnTo>
                  <a:lnTo>
                    <a:pt x="485" y="68"/>
                  </a:lnTo>
                  <a:lnTo>
                    <a:pt x="496" y="76"/>
                  </a:lnTo>
                  <a:lnTo>
                    <a:pt x="496" y="79"/>
                  </a:lnTo>
                  <a:lnTo>
                    <a:pt x="496" y="80"/>
                  </a:lnTo>
                  <a:lnTo>
                    <a:pt x="494" y="80"/>
                  </a:lnTo>
                  <a:lnTo>
                    <a:pt x="493" y="83"/>
                  </a:lnTo>
                  <a:lnTo>
                    <a:pt x="493" y="84"/>
                  </a:lnTo>
                  <a:lnTo>
                    <a:pt x="493" y="86"/>
                  </a:lnTo>
                  <a:lnTo>
                    <a:pt x="494" y="89"/>
                  </a:lnTo>
                  <a:lnTo>
                    <a:pt x="496" y="90"/>
                  </a:lnTo>
                  <a:lnTo>
                    <a:pt x="497" y="92"/>
                  </a:lnTo>
                  <a:lnTo>
                    <a:pt x="504" y="92"/>
                  </a:lnTo>
                  <a:lnTo>
                    <a:pt x="507" y="92"/>
                  </a:lnTo>
                  <a:lnTo>
                    <a:pt x="510" y="90"/>
                  </a:lnTo>
                  <a:lnTo>
                    <a:pt x="512" y="89"/>
                  </a:lnTo>
                  <a:lnTo>
                    <a:pt x="513" y="90"/>
                  </a:lnTo>
                  <a:lnTo>
                    <a:pt x="513" y="92"/>
                  </a:lnTo>
                  <a:lnTo>
                    <a:pt x="515" y="93"/>
                  </a:lnTo>
                  <a:lnTo>
                    <a:pt x="515" y="96"/>
                  </a:lnTo>
                  <a:lnTo>
                    <a:pt x="516" y="97"/>
                  </a:lnTo>
                  <a:lnTo>
                    <a:pt x="517" y="99"/>
                  </a:lnTo>
                  <a:lnTo>
                    <a:pt x="528" y="108"/>
                  </a:lnTo>
                  <a:lnTo>
                    <a:pt x="528" y="109"/>
                  </a:lnTo>
                  <a:lnTo>
                    <a:pt x="529" y="111"/>
                  </a:lnTo>
                  <a:lnTo>
                    <a:pt x="528" y="112"/>
                  </a:lnTo>
                  <a:lnTo>
                    <a:pt x="529" y="113"/>
                  </a:lnTo>
                  <a:lnTo>
                    <a:pt x="529" y="113"/>
                  </a:lnTo>
                  <a:lnTo>
                    <a:pt x="535" y="115"/>
                  </a:lnTo>
                  <a:lnTo>
                    <a:pt x="538" y="115"/>
                  </a:lnTo>
                  <a:lnTo>
                    <a:pt x="539" y="115"/>
                  </a:lnTo>
                  <a:lnTo>
                    <a:pt x="539" y="113"/>
                  </a:lnTo>
                  <a:lnTo>
                    <a:pt x="542" y="112"/>
                  </a:lnTo>
                  <a:lnTo>
                    <a:pt x="548" y="111"/>
                  </a:lnTo>
                  <a:lnTo>
                    <a:pt x="552" y="121"/>
                  </a:lnTo>
                  <a:lnTo>
                    <a:pt x="555" y="125"/>
                  </a:lnTo>
                  <a:lnTo>
                    <a:pt x="561" y="128"/>
                  </a:lnTo>
                  <a:lnTo>
                    <a:pt x="561" y="130"/>
                  </a:lnTo>
                  <a:lnTo>
                    <a:pt x="563" y="131"/>
                  </a:lnTo>
                  <a:lnTo>
                    <a:pt x="563" y="134"/>
                  </a:lnTo>
                  <a:lnTo>
                    <a:pt x="563" y="137"/>
                  </a:lnTo>
                  <a:lnTo>
                    <a:pt x="564" y="144"/>
                  </a:lnTo>
                  <a:lnTo>
                    <a:pt x="564" y="147"/>
                  </a:lnTo>
                  <a:lnTo>
                    <a:pt x="564" y="150"/>
                  </a:lnTo>
                  <a:lnTo>
                    <a:pt x="564" y="151"/>
                  </a:lnTo>
                  <a:lnTo>
                    <a:pt x="564" y="154"/>
                  </a:lnTo>
                  <a:lnTo>
                    <a:pt x="563" y="156"/>
                  </a:lnTo>
                  <a:lnTo>
                    <a:pt x="563" y="159"/>
                  </a:lnTo>
                  <a:lnTo>
                    <a:pt x="563" y="160"/>
                  </a:lnTo>
                  <a:lnTo>
                    <a:pt x="564" y="164"/>
                  </a:lnTo>
                  <a:lnTo>
                    <a:pt x="567" y="170"/>
                  </a:lnTo>
                  <a:lnTo>
                    <a:pt x="567" y="172"/>
                  </a:lnTo>
                  <a:lnTo>
                    <a:pt x="567" y="173"/>
                  </a:lnTo>
                  <a:lnTo>
                    <a:pt x="566" y="175"/>
                  </a:lnTo>
                  <a:lnTo>
                    <a:pt x="566" y="176"/>
                  </a:lnTo>
                  <a:lnTo>
                    <a:pt x="566" y="178"/>
                  </a:lnTo>
                  <a:lnTo>
                    <a:pt x="568" y="180"/>
                  </a:lnTo>
                  <a:lnTo>
                    <a:pt x="570" y="183"/>
                  </a:lnTo>
                  <a:lnTo>
                    <a:pt x="586" y="183"/>
                  </a:lnTo>
                  <a:lnTo>
                    <a:pt x="595" y="186"/>
                  </a:lnTo>
                  <a:lnTo>
                    <a:pt x="599" y="189"/>
                  </a:lnTo>
                  <a:lnTo>
                    <a:pt x="603" y="192"/>
                  </a:lnTo>
                  <a:lnTo>
                    <a:pt x="606" y="194"/>
                  </a:lnTo>
                  <a:lnTo>
                    <a:pt x="608" y="194"/>
                  </a:lnTo>
                  <a:lnTo>
                    <a:pt x="609" y="192"/>
                  </a:lnTo>
                  <a:lnTo>
                    <a:pt x="609" y="191"/>
                  </a:lnTo>
                  <a:lnTo>
                    <a:pt x="609" y="186"/>
                  </a:lnTo>
                  <a:lnTo>
                    <a:pt x="611" y="175"/>
                  </a:lnTo>
                  <a:lnTo>
                    <a:pt x="612" y="172"/>
                  </a:lnTo>
                  <a:lnTo>
                    <a:pt x="614" y="172"/>
                  </a:lnTo>
                  <a:lnTo>
                    <a:pt x="615" y="172"/>
                  </a:lnTo>
                  <a:lnTo>
                    <a:pt x="617" y="172"/>
                  </a:lnTo>
                  <a:lnTo>
                    <a:pt x="618" y="173"/>
                  </a:lnTo>
                  <a:lnTo>
                    <a:pt x="619" y="173"/>
                  </a:lnTo>
                  <a:lnTo>
                    <a:pt x="622" y="173"/>
                  </a:lnTo>
                  <a:lnTo>
                    <a:pt x="634" y="172"/>
                  </a:lnTo>
                  <a:lnTo>
                    <a:pt x="635" y="172"/>
                  </a:lnTo>
                  <a:lnTo>
                    <a:pt x="640" y="175"/>
                  </a:lnTo>
                  <a:lnTo>
                    <a:pt x="644" y="175"/>
                  </a:lnTo>
                  <a:lnTo>
                    <a:pt x="647" y="175"/>
                  </a:lnTo>
                  <a:lnTo>
                    <a:pt x="649" y="175"/>
                  </a:lnTo>
                  <a:lnTo>
                    <a:pt x="649" y="173"/>
                  </a:lnTo>
                  <a:lnTo>
                    <a:pt x="650" y="172"/>
                  </a:lnTo>
                  <a:lnTo>
                    <a:pt x="650" y="170"/>
                  </a:lnTo>
                  <a:lnTo>
                    <a:pt x="650" y="167"/>
                  </a:lnTo>
                  <a:lnTo>
                    <a:pt x="650" y="166"/>
                  </a:lnTo>
                  <a:lnTo>
                    <a:pt x="650" y="164"/>
                  </a:lnTo>
                  <a:lnTo>
                    <a:pt x="650" y="162"/>
                  </a:lnTo>
                  <a:lnTo>
                    <a:pt x="649" y="160"/>
                  </a:lnTo>
                  <a:lnTo>
                    <a:pt x="649" y="159"/>
                  </a:lnTo>
                  <a:lnTo>
                    <a:pt x="647" y="159"/>
                  </a:lnTo>
                  <a:lnTo>
                    <a:pt x="641" y="157"/>
                  </a:lnTo>
                  <a:lnTo>
                    <a:pt x="640" y="156"/>
                  </a:lnTo>
                  <a:lnTo>
                    <a:pt x="638" y="156"/>
                  </a:lnTo>
                  <a:lnTo>
                    <a:pt x="637" y="154"/>
                  </a:lnTo>
                  <a:lnTo>
                    <a:pt x="637" y="153"/>
                  </a:lnTo>
                  <a:lnTo>
                    <a:pt x="637" y="153"/>
                  </a:lnTo>
                  <a:lnTo>
                    <a:pt x="635" y="150"/>
                  </a:lnTo>
                  <a:lnTo>
                    <a:pt x="635" y="148"/>
                  </a:lnTo>
                  <a:lnTo>
                    <a:pt x="634" y="147"/>
                  </a:lnTo>
                  <a:lnTo>
                    <a:pt x="633" y="147"/>
                  </a:lnTo>
                  <a:lnTo>
                    <a:pt x="627" y="148"/>
                  </a:lnTo>
                  <a:lnTo>
                    <a:pt x="625" y="147"/>
                  </a:lnTo>
                  <a:lnTo>
                    <a:pt x="624" y="147"/>
                  </a:lnTo>
                  <a:lnTo>
                    <a:pt x="622" y="146"/>
                  </a:lnTo>
                  <a:lnTo>
                    <a:pt x="621" y="146"/>
                  </a:lnTo>
                  <a:lnTo>
                    <a:pt x="617" y="141"/>
                  </a:lnTo>
                  <a:lnTo>
                    <a:pt x="617" y="140"/>
                  </a:lnTo>
                  <a:lnTo>
                    <a:pt x="612" y="137"/>
                  </a:lnTo>
                  <a:lnTo>
                    <a:pt x="609" y="135"/>
                  </a:lnTo>
                  <a:lnTo>
                    <a:pt x="608" y="134"/>
                  </a:lnTo>
                  <a:lnTo>
                    <a:pt x="606" y="134"/>
                  </a:lnTo>
                  <a:lnTo>
                    <a:pt x="605" y="131"/>
                  </a:lnTo>
                  <a:lnTo>
                    <a:pt x="605" y="128"/>
                  </a:lnTo>
                  <a:lnTo>
                    <a:pt x="605" y="115"/>
                  </a:lnTo>
                  <a:lnTo>
                    <a:pt x="606" y="112"/>
                  </a:lnTo>
                  <a:lnTo>
                    <a:pt x="608" y="111"/>
                  </a:lnTo>
                  <a:lnTo>
                    <a:pt x="609" y="111"/>
                  </a:lnTo>
                  <a:lnTo>
                    <a:pt x="612" y="111"/>
                  </a:lnTo>
                  <a:lnTo>
                    <a:pt x="617" y="112"/>
                  </a:lnTo>
                  <a:lnTo>
                    <a:pt x="617" y="112"/>
                  </a:lnTo>
                  <a:lnTo>
                    <a:pt x="618" y="112"/>
                  </a:lnTo>
                  <a:lnTo>
                    <a:pt x="619" y="112"/>
                  </a:lnTo>
                  <a:lnTo>
                    <a:pt x="621" y="111"/>
                  </a:lnTo>
                  <a:lnTo>
                    <a:pt x="621" y="109"/>
                  </a:lnTo>
                  <a:lnTo>
                    <a:pt x="622" y="108"/>
                  </a:lnTo>
                  <a:lnTo>
                    <a:pt x="627" y="99"/>
                  </a:lnTo>
                  <a:lnTo>
                    <a:pt x="628" y="97"/>
                  </a:lnTo>
                  <a:lnTo>
                    <a:pt x="630" y="96"/>
                  </a:lnTo>
                  <a:lnTo>
                    <a:pt x="631" y="96"/>
                  </a:lnTo>
                  <a:lnTo>
                    <a:pt x="633" y="96"/>
                  </a:lnTo>
                  <a:lnTo>
                    <a:pt x="635" y="97"/>
                  </a:lnTo>
                  <a:lnTo>
                    <a:pt x="637" y="99"/>
                  </a:lnTo>
                  <a:lnTo>
                    <a:pt x="637" y="99"/>
                  </a:lnTo>
                  <a:lnTo>
                    <a:pt x="640" y="97"/>
                  </a:lnTo>
                  <a:lnTo>
                    <a:pt x="641" y="97"/>
                  </a:lnTo>
                  <a:lnTo>
                    <a:pt x="646" y="95"/>
                  </a:lnTo>
                  <a:lnTo>
                    <a:pt x="647" y="93"/>
                  </a:lnTo>
                  <a:lnTo>
                    <a:pt x="649" y="93"/>
                  </a:lnTo>
                  <a:lnTo>
                    <a:pt x="654" y="95"/>
                  </a:lnTo>
                  <a:lnTo>
                    <a:pt x="657" y="93"/>
                  </a:lnTo>
                  <a:lnTo>
                    <a:pt x="659" y="92"/>
                  </a:lnTo>
                  <a:lnTo>
                    <a:pt x="660" y="92"/>
                  </a:lnTo>
                  <a:lnTo>
                    <a:pt x="662" y="92"/>
                  </a:lnTo>
                  <a:lnTo>
                    <a:pt x="662" y="92"/>
                  </a:lnTo>
                  <a:lnTo>
                    <a:pt x="663" y="93"/>
                  </a:lnTo>
                  <a:lnTo>
                    <a:pt x="663" y="95"/>
                  </a:lnTo>
                  <a:lnTo>
                    <a:pt x="665" y="95"/>
                  </a:lnTo>
                  <a:lnTo>
                    <a:pt x="665" y="96"/>
                  </a:lnTo>
                  <a:lnTo>
                    <a:pt x="666" y="97"/>
                  </a:lnTo>
                  <a:lnTo>
                    <a:pt x="666" y="97"/>
                  </a:lnTo>
                  <a:lnTo>
                    <a:pt x="668" y="99"/>
                  </a:lnTo>
                  <a:lnTo>
                    <a:pt x="669" y="99"/>
                  </a:lnTo>
                  <a:lnTo>
                    <a:pt x="669" y="99"/>
                  </a:lnTo>
                  <a:lnTo>
                    <a:pt x="679" y="96"/>
                  </a:lnTo>
                  <a:lnTo>
                    <a:pt x="681" y="95"/>
                  </a:lnTo>
                  <a:lnTo>
                    <a:pt x="684" y="96"/>
                  </a:lnTo>
                  <a:lnTo>
                    <a:pt x="695" y="113"/>
                  </a:lnTo>
                  <a:lnTo>
                    <a:pt x="697" y="115"/>
                  </a:lnTo>
                  <a:lnTo>
                    <a:pt x="700" y="116"/>
                  </a:lnTo>
                  <a:lnTo>
                    <a:pt x="700" y="115"/>
                  </a:lnTo>
                  <a:lnTo>
                    <a:pt x="701" y="113"/>
                  </a:lnTo>
                  <a:lnTo>
                    <a:pt x="701" y="113"/>
                  </a:lnTo>
                  <a:lnTo>
                    <a:pt x="701" y="109"/>
                  </a:lnTo>
                  <a:lnTo>
                    <a:pt x="702" y="109"/>
                  </a:lnTo>
                  <a:lnTo>
                    <a:pt x="702" y="109"/>
                  </a:lnTo>
                  <a:lnTo>
                    <a:pt x="713" y="111"/>
                  </a:lnTo>
                  <a:lnTo>
                    <a:pt x="714" y="111"/>
                  </a:lnTo>
                  <a:lnTo>
                    <a:pt x="717" y="113"/>
                  </a:lnTo>
                  <a:lnTo>
                    <a:pt x="718" y="116"/>
                  </a:lnTo>
                  <a:lnTo>
                    <a:pt x="720" y="116"/>
                  </a:lnTo>
                  <a:lnTo>
                    <a:pt x="721" y="118"/>
                  </a:lnTo>
                  <a:lnTo>
                    <a:pt x="726" y="115"/>
                  </a:lnTo>
                  <a:lnTo>
                    <a:pt x="727" y="115"/>
                  </a:lnTo>
                  <a:lnTo>
                    <a:pt x="732" y="113"/>
                  </a:lnTo>
                  <a:lnTo>
                    <a:pt x="733" y="113"/>
                  </a:lnTo>
                  <a:lnTo>
                    <a:pt x="735" y="112"/>
                  </a:lnTo>
                  <a:lnTo>
                    <a:pt x="735" y="112"/>
                  </a:lnTo>
                  <a:lnTo>
                    <a:pt x="736" y="111"/>
                  </a:lnTo>
                  <a:lnTo>
                    <a:pt x="737" y="109"/>
                  </a:lnTo>
                  <a:lnTo>
                    <a:pt x="742" y="108"/>
                  </a:lnTo>
                  <a:lnTo>
                    <a:pt x="743" y="108"/>
                  </a:lnTo>
                  <a:lnTo>
                    <a:pt x="743" y="109"/>
                  </a:lnTo>
                  <a:lnTo>
                    <a:pt x="745" y="112"/>
                  </a:lnTo>
                  <a:lnTo>
                    <a:pt x="746" y="113"/>
                  </a:lnTo>
                  <a:lnTo>
                    <a:pt x="748" y="115"/>
                  </a:lnTo>
                  <a:lnTo>
                    <a:pt x="749" y="115"/>
                  </a:lnTo>
                  <a:lnTo>
                    <a:pt x="751" y="115"/>
                  </a:lnTo>
                  <a:lnTo>
                    <a:pt x="752" y="115"/>
                  </a:lnTo>
                  <a:lnTo>
                    <a:pt x="753" y="121"/>
                  </a:lnTo>
                  <a:lnTo>
                    <a:pt x="756" y="122"/>
                  </a:lnTo>
                  <a:lnTo>
                    <a:pt x="756" y="125"/>
                  </a:lnTo>
                  <a:lnTo>
                    <a:pt x="758" y="127"/>
                  </a:lnTo>
                  <a:lnTo>
                    <a:pt x="758" y="127"/>
                  </a:lnTo>
                  <a:lnTo>
                    <a:pt x="758" y="128"/>
                  </a:lnTo>
                  <a:lnTo>
                    <a:pt x="758" y="130"/>
                  </a:lnTo>
                  <a:lnTo>
                    <a:pt x="758" y="131"/>
                  </a:lnTo>
                  <a:lnTo>
                    <a:pt x="751" y="138"/>
                  </a:lnTo>
                  <a:lnTo>
                    <a:pt x="753" y="143"/>
                  </a:lnTo>
                  <a:lnTo>
                    <a:pt x="771" y="159"/>
                  </a:lnTo>
                  <a:lnTo>
                    <a:pt x="774" y="151"/>
                  </a:lnTo>
                  <a:lnTo>
                    <a:pt x="775" y="151"/>
                  </a:lnTo>
                  <a:lnTo>
                    <a:pt x="778" y="154"/>
                  </a:lnTo>
                  <a:lnTo>
                    <a:pt x="781" y="156"/>
                  </a:lnTo>
                  <a:lnTo>
                    <a:pt x="788" y="157"/>
                  </a:lnTo>
                  <a:lnTo>
                    <a:pt x="791" y="157"/>
                  </a:lnTo>
                  <a:lnTo>
                    <a:pt x="793" y="157"/>
                  </a:lnTo>
                  <a:lnTo>
                    <a:pt x="793" y="156"/>
                  </a:lnTo>
                  <a:lnTo>
                    <a:pt x="793" y="154"/>
                  </a:lnTo>
                  <a:lnTo>
                    <a:pt x="793" y="153"/>
                  </a:lnTo>
                  <a:lnTo>
                    <a:pt x="793" y="150"/>
                  </a:lnTo>
                  <a:lnTo>
                    <a:pt x="793" y="148"/>
                  </a:lnTo>
                  <a:lnTo>
                    <a:pt x="793" y="146"/>
                  </a:lnTo>
                  <a:lnTo>
                    <a:pt x="796" y="143"/>
                  </a:lnTo>
                  <a:lnTo>
                    <a:pt x="796" y="140"/>
                  </a:lnTo>
                  <a:lnTo>
                    <a:pt x="796" y="138"/>
                  </a:lnTo>
                  <a:lnTo>
                    <a:pt x="796" y="137"/>
                  </a:lnTo>
                  <a:lnTo>
                    <a:pt x="794" y="134"/>
                  </a:lnTo>
                  <a:lnTo>
                    <a:pt x="794" y="132"/>
                  </a:lnTo>
                  <a:lnTo>
                    <a:pt x="794" y="130"/>
                  </a:lnTo>
                  <a:lnTo>
                    <a:pt x="797" y="122"/>
                  </a:lnTo>
                  <a:lnTo>
                    <a:pt x="797" y="121"/>
                  </a:lnTo>
                  <a:lnTo>
                    <a:pt x="797" y="119"/>
                  </a:lnTo>
                  <a:lnTo>
                    <a:pt x="797" y="118"/>
                  </a:lnTo>
                  <a:lnTo>
                    <a:pt x="797" y="115"/>
                  </a:lnTo>
                  <a:lnTo>
                    <a:pt x="797" y="115"/>
                  </a:lnTo>
                  <a:lnTo>
                    <a:pt x="797" y="113"/>
                  </a:lnTo>
                  <a:lnTo>
                    <a:pt x="800" y="113"/>
                  </a:lnTo>
                  <a:lnTo>
                    <a:pt x="802" y="112"/>
                  </a:lnTo>
                  <a:lnTo>
                    <a:pt x="802" y="111"/>
                  </a:lnTo>
                  <a:lnTo>
                    <a:pt x="800" y="109"/>
                  </a:lnTo>
                  <a:lnTo>
                    <a:pt x="800" y="108"/>
                  </a:lnTo>
                  <a:lnTo>
                    <a:pt x="800" y="106"/>
                  </a:lnTo>
                  <a:lnTo>
                    <a:pt x="800" y="105"/>
                  </a:lnTo>
                  <a:lnTo>
                    <a:pt x="800" y="103"/>
                  </a:lnTo>
                  <a:lnTo>
                    <a:pt x="800" y="102"/>
                  </a:lnTo>
                  <a:lnTo>
                    <a:pt x="799" y="100"/>
                  </a:lnTo>
                  <a:lnTo>
                    <a:pt x="796" y="97"/>
                  </a:lnTo>
                  <a:lnTo>
                    <a:pt x="796" y="96"/>
                  </a:lnTo>
                  <a:lnTo>
                    <a:pt x="796" y="95"/>
                  </a:lnTo>
                  <a:lnTo>
                    <a:pt x="796" y="92"/>
                  </a:lnTo>
                  <a:lnTo>
                    <a:pt x="796" y="90"/>
                  </a:lnTo>
                  <a:lnTo>
                    <a:pt x="794" y="89"/>
                  </a:lnTo>
                  <a:lnTo>
                    <a:pt x="794" y="87"/>
                  </a:lnTo>
                  <a:lnTo>
                    <a:pt x="794" y="84"/>
                  </a:lnTo>
                  <a:lnTo>
                    <a:pt x="794" y="76"/>
                  </a:lnTo>
                  <a:lnTo>
                    <a:pt x="794" y="74"/>
                  </a:lnTo>
                  <a:lnTo>
                    <a:pt x="794" y="73"/>
                  </a:lnTo>
                  <a:lnTo>
                    <a:pt x="794" y="70"/>
                  </a:lnTo>
                  <a:lnTo>
                    <a:pt x="794" y="68"/>
                  </a:lnTo>
                  <a:lnTo>
                    <a:pt x="793" y="67"/>
                  </a:lnTo>
                  <a:lnTo>
                    <a:pt x="793" y="64"/>
                  </a:lnTo>
                  <a:lnTo>
                    <a:pt x="791" y="63"/>
                  </a:lnTo>
                  <a:lnTo>
                    <a:pt x="793" y="60"/>
                  </a:lnTo>
                  <a:lnTo>
                    <a:pt x="793" y="60"/>
                  </a:lnTo>
                  <a:lnTo>
                    <a:pt x="793" y="58"/>
                  </a:lnTo>
                  <a:lnTo>
                    <a:pt x="791" y="55"/>
                  </a:lnTo>
                  <a:lnTo>
                    <a:pt x="790" y="49"/>
                  </a:lnTo>
                  <a:lnTo>
                    <a:pt x="800" y="45"/>
                  </a:lnTo>
                  <a:lnTo>
                    <a:pt x="806" y="44"/>
                  </a:lnTo>
                  <a:lnTo>
                    <a:pt x="813" y="38"/>
                  </a:lnTo>
                  <a:lnTo>
                    <a:pt x="815" y="36"/>
                  </a:lnTo>
                  <a:lnTo>
                    <a:pt x="815" y="36"/>
                  </a:lnTo>
                  <a:lnTo>
                    <a:pt x="815" y="35"/>
                  </a:lnTo>
                  <a:lnTo>
                    <a:pt x="815" y="35"/>
                  </a:lnTo>
                  <a:lnTo>
                    <a:pt x="815" y="33"/>
                  </a:lnTo>
                  <a:lnTo>
                    <a:pt x="815" y="32"/>
                  </a:lnTo>
                  <a:lnTo>
                    <a:pt x="816" y="30"/>
                  </a:lnTo>
                  <a:lnTo>
                    <a:pt x="819" y="29"/>
                  </a:lnTo>
                  <a:lnTo>
                    <a:pt x="820" y="28"/>
                  </a:lnTo>
                  <a:lnTo>
                    <a:pt x="823" y="25"/>
                  </a:lnTo>
                  <a:lnTo>
                    <a:pt x="847" y="25"/>
                  </a:lnTo>
                  <a:lnTo>
                    <a:pt x="853" y="28"/>
                  </a:lnTo>
                  <a:lnTo>
                    <a:pt x="855" y="33"/>
                  </a:lnTo>
                  <a:lnTo>
                    <a:pt x="855" y="35"/>
                  </a:lnTo>
                  <a:lnTo>
                    <a:pt x="855" y="35"/>
                  </a:lnTo>
                  <a:lnTo>
                    <a:pt x="855" y="36"/>
                  </a:lnTo>
                  <a:lnTo>
                    <a:pt x="855" y="38"/>
                  </a:lnTo>
                  <a:lnTo>
                    <a:pt x="855" y="38"/>
                  </a:lnTo>
                  <a:lnTo>
                    <a:pt x="853" y="41"/>
                  </a:lnTo>
                  <a:lnTo>
                    <a:pt x="850" y="42"/>
                  </a:lnTo>
                  <a:lnTo>
                    <a:pt x="850" y="61"/>
                  </a:lnTo>
                  <a:lnTo>
                    <a:pt x="850" y="63"/>
                  </a:lnTo>
                  <a:lnTo>
                    <a:pt x="850" y="65"/>
                  </a:lnTo>
                  <a:lnTo>
                    <a:pt x="854" y="67"/>
                  </a:lnTo>
                  <a:lnTo>
                    <a:pt x="857" y="70"/>
                  </a:lnTo>
                  <a:lnTo>
                    <a:pt x="860" y="73"/>
                  </a:lnTo>
                  <a:lnTo>
                    <a:pt x="861" y="74"/>
                  </a:lnTo>
                  <a:lnTo>
                    <a:pt x="863" y="74"/>
                  </a:lnTo>
                  <a:lnTo>
                    <a:pt x="864" y="73"/>
                  </a:lnTo>
                  <a:lnTo>
                    <a:pt x="866" y="73"/>
                  </a:lnTo>
                  <a:lnTo>
                    <a:pt x="867" y="73"/>
                  </a:lnTo>
                  <a:lnTo>
                    <a:pt x="870" y="74"/>
                  </a:lnTo>
                  <a:lnTo>
                    <a:pt x="870" y="76"/>
                  </a:lnTo>
                  <a:lnTo>
                    <a:pt x="871" y="77"/>
                  </a:lnTo>
                  <a:lnTo>
                    <a:pt x="871" y="81"/>
                  </a:lnTo>
                  <a:lnTo>
                    <a:pt x="871" y="89"/>
                  </a:lnTo>
                  <a:lnTo>
                    <a:pt x="873" y="90"/>
                  </a:lnTo>
                  <a:lnTo>
                    <a:pt x="874" y="92"/>
                  </a:lnTo>
                  <a:lnTo>
                    <a:pt x="879" y="95"/>
                  </a:lnTo>
                  <a:lnTo>
                    <a:pt x="883" y="99"/>
                  </a:lnTo>
                  <a:lnTo>
                    <a:pt x="886" y="100"/>
                  </a:lnTo>
                  <a:lnTo>
                    <a:pt x="889" y="100"/>
                  </a:lnTo>
                  <a:lnTo>
                    <a:pt x="890" y="99"/>
                  </a:lnTo>
                  <a:lnTo>
                    <a:pt x="896" y="99"/>
                  </a:lnTo>
                  <a:lnTo>
                    <a:pt x="896" y="99"/>
                  </a:lnTo>
                  <a:lnTo>
                    <a:pt x="898" y="97"/>
                  </a:lnTo>
                  <a:lnTo>
                    <a:pt x="899" y="96"/>
                  </a:lnTo>
                  <a:lnTo>
                    <a:pt x="899" y="93"/>
                  </a:lnTo>
                  <a:lnTo>
                    <a:pt x="901" y="92"/>
                  </a:lnTo>
                  <a:lnTo>
                    <a:pt x="902" y="92"/>
                  </a:lnTo>
                  <a:lnTo>
                    <a:pt x="905" y="92"/>
                  </a:lnTo>
                  <a:lnTo>
                    <a:pt x="909" y="92"/>
                  </a:lnTo>
                  <a:lnTo>
                    <a:pt x="920" y="96"/>
                  </a:lnTo>
                  <a:lnTo>
                    <a:pt x="960" y="87"/>
                  </a:lnTo>
                  <a:lnTo>
                    <a:pt x="966" y="86"/>
                  </a:lnTo>
                  <a:lnTo>
                    <a:pt x="968" y="84"/>
                  </a:lnTo>
                  <a:lnTo>
                    <a:pt x="968" y="84"/>
                  </a:lnTo>
                  <a:lnTo>
                    <a:pt x="968" y="83"/>
                  </a:lnTo>
                  <a:lnTo>
                    <a:pt x="971" y="81"/>
                  </a:lnTo>
                  <a:lnTo>
                    <a:pt x="976" y="81"/>
                  </a:lnTo>
                  <a:lnTo>
                    <a:pt x="979" y="81"/>
                  </a:lnTo>
                  <a:lnTo>
                    <a:pt x="981" y="81"/>
                  </a:lnTo>
                  <a:lnTo>
                    <a:pt x="981" y="81"/>
                  </a:lnTo>
                  <a:lnTo>
                    <a:pt x="981" y="83"/>
                  </a:lnTo>
                  <a:lnTo>
                    <a:pt x="982" y="83"/>
                  </a:lnTo>
                  <a:lnTo>
                    <a:pt x="982" y="84"/>
                  </a:lnTo>
                  <a:lnTo>
                    <a:pt x="984" y="84"/>
                  </a:lnTo>
                  <a:lnTo>
                    <a:pt x="985" y="86"/>
                  </a:lnTo>
                  <a:lnTo>
                    <a:pt x="988" y="87"/>
                  </a:lnTo>
                  <a:lnTo>
                    <a:pt x="989" y="89"/>
                  </a:lnTo>
                  <a:lnTo>
                    <a:pt x="989" y="89"/>
                  </a:lnTo>
                  <a:lnTo>
                    <a:pt x="989" y="90"/>
                  </a:lnTo>
                  <a:lnTo>
                    <a:pt x="989" y="92"/>
                  </a:lnTo>
                  <a:lnTo>
                    <a:pt x="989" y="93"/>
                  </a:lnTo>
                  <a:lnTo>
                    <a:pt x="991" y="93"/>
                  </a:lnTo>
                  <a:lnTo>
                    <a:pt x="992" y="93"/>
                  </a:lnTo>
                  <a:lnTo>
                    <a:pt x="994" y="92"/>
                  </a:lnTo>
                  <a:lnTo>
                    <a:pt x="995" y="92"/>
                  </a:lnTo>
                  <a:lnTo>
                    <a:pt x="998" y="90"/>
                  </a:lnTo>
                  <a:lnTo>
                    <a:pt x="1005" y="89"/>
                  </a:lnTo>
                  <a:lnTo>
                    <a:pt x="1007" y="87"/>
                  </a:lnTo>
                  <a:lnTo>
                    <a:pt x="1010" y="84"/>
                  </a:lnTo>
                  <a:lnTo>
                    <a:pt x="1019" y="80"/>
                  </a:lnTo>
                  <a:lnTo>
                    <a:pt x="1027" y="80"/>
                  </a:lnTo>
                  <a:lnTo>
                    <a:pt x="1030" y="81"/>
                  </a:lnTo>
                  <a:lnTo>
                    <a:pt x="1032" y="83"/>
                  </a:lnTo>
                  <a:lnTo>
                    <a:pt x="1032" y="84"/>
                  </a:lnTo>
                  <a:lnTo>
                    <a:pt x="1033" y="84"/>
                  </a:lnTo>
                  <a:lnTo>
                    <a:pt x="1033" y="86"/>
                  </a:lnTo>
                  <a:lnTo>
                    <a:pt x="1038" y="92"/>
                  </a:lnTo>
                  <a:lnTo>
                    <a:pt x="1045" y="96"/>
                  </a:lnTo>
                  <a:lnTo>
                    <a:pt x="1046" y="99"/>
                  </a:lnTo>
                  <a:lnTo>
                    <a:pt x="1045" y="100"/>
                  </a:lnTo>
                  <a:lnTo>
                    <a:pt x="1045" y="102"/>
                  </a:lnTo>
                  <a:lnTo>
                    <a:pt x="1045" y="105"/>
                  </a:lnTo>
                  <a:lnTo>
                    <a:pt x="1046" y="115"/>
                  </a:lnTo>
                  <a:lnTo>
                    <a:pt x="1048" y="116"/>
                  </a:lnTo>
                  <a:lnTo>
                    <a:pt x="1051" y="118"/>
                  </a:lnTo>
                  <a:lnTo>
                    <a:pt x="1065" y="128"/>
                  </a:lnTo>
                  <a:lnTo>
                    <a:pt x="1067" y="128"/>
                  </a:lnTo>
                  <a:lnTo>
                    <a:pt x="1068" y="128"/>
                  </a:lnTo>
                  <a:lnTo>
                    <a:pt x="1070" y="128"/>
                  </a:lnTo>
                  <a:lnTo>
                    <a:pt x="1074" y="128"/>
                  </a:lnTo>
                  <a:lnTo>
                    <a:pt x="1084" y="131"/>
                  </a:lnTo>
                  <a:lnTo>
                    <a:pt x="1086" y="135"/>
                  </a:lnTo>
                  <a:lnTo>
                    <a:pt x="1077" y="134"/>
                  </a:lnTo>
                  <a:lnTo>
                    <a:pt x="1077" y="135"/>
                  </a:lnTo>
                  <a:lnTo>
                    <a:pt x="1086" y="143"/>
                  </a:lnTo>
                  <a:lnTo>
                    <a:pt x="1089" y="148"/>
                  </a:lnTo>
                  <a:lnTo>
                    <a:pt x="1090" y="156"/>
                  </a:lnTo>
                  <a:lnTo>
                    <a:pt x="1090" y="156"/>
                  </a:lnTo>
                  <a:lnTo>
                    <a:pt x="1089" y="163"/>
                  </a:lnTo>
                  <a:lnTo>
                    <a:pt x="1087" y="164"/>
                  </a:lnTo>
                  <a:lnTo>
                    <a:pt x="1083" y="167"/>
                  </a:lnTo>
                  <a:lnTo>
                    <a:pt x="1078" y="173"/>
                  </a:lnTo>
                  <a:lnTo>
                    <a:pt x="1078" y="173"/>
                  </a:lnTo>
                  <a:lnTo>
                    <a:pt x="1083" y="180"/>
                  </a:lnTo>
                  <a:lnTo>
                    <a:pt x="1099" y="191"/>
                  </a:lnTo>
                  <a:lnTo>
                    <a:pt x="1107" y="201"/>
                  </a:lnTo>
                  <a:lnTo>
                    <a:pt x="1112" y="207"/>
                  </a:lnTo>
                  <a:lnTo>
                    <a:pt x="1115" y="212"/>
                  </a:lnTo>
                  <a:lnTo>
                    <a:pt x="1116" y="221"/>
                  </a:lnTo>
                  <a:lnTo>
                    <a:pt x="1115" y="221"/>
                  </a:lnTo>
                  <a:lnTo>
                    <a:pt x="1113" y="233"/>
                  </a:lnTo>
                  <a:lnTo>
                    <a:pt x="1113" y="233"/>
                  </a:lnTo>
                  <a:lnTo>
                    <a:pt x="1113" y="242"/>
                  </a:lnTo>
                  <a:lnTo>
                    <a:pt x="1116" y="249"/>
                  </a:lnTo>
                  <a:lnTo>
                    <a:pt x="1121" y="255"/>
                  </a:lnTo>
                  <a:lnTo>
                    <a:pt x="1126" y="258"/>
                  </a:lnTo>
                  <a:lnTo>
                    <a:pt x="1132" y="262"/>
                  </a:lnTo>
                  <a:lnTo>
                    <a:pt x="1135" y="266"/>
                  </a:lnTo>
                  <a:lnTo>
                    <a:pt x="1135" y="272"/>
                  </a:lnTo>
                  <a:lnTo>
                    <a:pt x="1135" y="278"/>
                  </a:lnTo>
                  <a:lnTo>
                    <a:pt x="1137" y="281"/>
                  </a:lnTo>
                  <a:lnTo>
                    <a:pt x="1189" y="309"/>
                  </a:lnTo>
                  <a:lnTo>
                    <a:pt x="1189" y="309"/>
                  </a:lnTo>
                  <a:lnTo>
                    <a:pt x="1195" y="314"/>
                  </a:lnTo>
                  <a:lnTo>
                    <a:pt x="1208" y="316"/>
                  </a:lnTo>
                  <a:lnTo>
                    <a:pt x="1214" y="322"/>
                  </a:lnTo>
                  <a:lnTo>
                    <a:pt x="1215" y="329"/>
                  </a:lnTo>
                  <a:lnTo>
                    <a:pt x="1215" y="329"/>
                  </a:lnTo>
                  <a:lnTo>
                    <a:pt x="1212" y="336"/>
                  </a:lnTo>
                  <a:lnTo>
                    <a:pt x="1212" y="342"/>
                  </a:lnTo>
                  <a:lnTo>
                    <a:pt x="1212" y="342"/>
                  </a:lnTo>
                  <a:lnTo>
                    <a:pt x="1225" y="351"/>
                  </a:lnTo>
                  <a:lnTo>
                    <a:pt x="1231" y="352"/>
                  </a:lnTo>
                  <a:lnTo>
                    <a:pt x="1233" y="357"/>
                  </a:lnTo>
                  <a:lnTo>
                    <a:pt x="1233" y="357"/>
                  </a:lnTo>
                  <a:lnTo>
                    <a:pt x="1233" y="367"/>
                  </a:lnTo>
                  <a:lnTo>
                    <a:pt x="1230" y="374"/>
                  </a:lnTo>
                  <a:lnTo>
                    <a:pt x="1221" y="390"/>
                  </a:lnTo>
                  <a:lnTo>
                    <a:pt x="1218" y="397"/>
                  </a:lnTo>
                  <a:lnTo>
                    <a:pt x="1212" y="396"/>
                  </a:lnTo>
                  <a:lnTo>
                    <a:pt x="1209" y="403"/>
                  </a:lnTo>
                  <a:lnTo>
                    <a:pt x="1209" y="415"/>
                  </a:lnTo>
                  <a:lnTo>
                    <a:pt x="1208" y="424"/>
                  </a:lnTo>
                  <a:lnTo>
                    <a:pt x="1202" y="429"/>
                  </a:lnTo>
                  <a:lnTo>
                    <a:pt x="1189" y="435"/>
                  </a:lnTo>
                  <a:lnTo>
                    <a:pt x="1185" y="443"/>
                  </a:lnTo>
                  <a:lnTo>
                    <a:pt x="1185" y="443"/>
                  </a:lnTo>
                  <a:lnTo>
                    <a:pt x="1186" y="448"/>
                  </a:lnTo>
                  <a:lnTo>
                    <a:pt x="1189" y="456"/>
                  </a:lnTo>
                  <a:lnTo>
                    <a:pt x="1196" y="466"/>
                  </a:lnTo>
                  <a:lnTo>
                    <a:pt x="1202" y="470"/>
                  </a:lnTo>
                  <a:lnTo>
                    <a:pt x="1207" y="475"/>
                  </a:lnTo>
                  <a:lnTo>
                    <a:pt x="1218" y="479"/>
                  </a:lnTo>
                  <a:lnTo>
                    <a:pt x="1224" y="482"/>
                  </a:lnTo>
                  <a:lnTo>
                    <a:pt x="1227" y="488"/>
                  </a:lnTo>
                  <a:lnTo>
                    <a:pt x="1227" y="495"/>
                  </a:lnTo>
                  <a:lnTo>
                    <a:pt x="1227" y="495"/>
                  </a:lnTo>
                  <a:lnTo>
                    <a:pt x="1224" y="502"/>
                  </a:lnTo>
                  <a:lnTo>
                    <a:pt x="1224" y="502"/>
                  </a:lnTo>
                  <a:lnTo>
                    <a:pt x="1224" y="502"/>
                  </a:lnTo>
                  <a:lnTo>
                    <a:pt x="1227" y="504"/>
                  </a:lnTo>
                  <a:lnTo>
                    <a:pt x="1227" y="504"/>
                  </a:lnTo>
                  <a:lnTo>
                    <a:pt x="1225" y="508"/>
                  </a:lnTo>
                  <a:lnTo>
                    <a:pt x="1225" y="510"/>
                  </a:lnTo>
                  <a:lnTo>
                    <a:pt x="1225" y="510"/>
                  </a:lnTo>
                  <a:lnTo>
                    <a:pt x="1228" y="514"/>
                  </a:lnTo>
                  <a:lnTo>
                    <a:pt x="1237" y="518"/>
                  </a:lnTo>
                  <a:lnTo>
                    <a:pt x="1241" y="523"/>
                  </a:lnTo>
                  <a:lnTo>
                    <a:pt x="1243" y="528"/>
                  </a:lnTo>
                  <a:lnTo>
                    <a:pt x="1244" y="540"/>
                  </a:lnTo>
                  <a:lnTo>
                    <a:pt x="1246" y="546"/>
                  </a:lnTo>
                  <a:lnTo>
                    <a:pt x="1249" y="552"/>
                  </a:lnTo>
                  <a:lnTo>
                    <a:pt x="1250" y="558"/>
                  </a:lnTo>
                  <a:lnTo>
                    <a:pt x="1253" y="560"/>
                  </a:lnTo>
                  <a:lnTo>
                    <a:pt x="1258" y="565"/>
                  </a:lnTo>
                  <a:lnTo>
                    <a:pt x="1262" y="566"/>
                  </a:lnTo>
                  <a:lnTo>
                    <a:pt x="1265" y="566"/>
                  </a:lnTo>
                  <a:lnTo>
                    <a:pt x="1268" y="568"/>
                  </a:lnTo>
                  <a:lnTo>
                    <a:pt x="1268" y="576"/>
                  </a:lnTo>
                  <a:lnTo>
                    <a:pt x="1269" y="594"/>
                  </a:lnTo>
                  <a:lnTo>
                    <a:pt x="1271" y="603"/>
                  </a:lnTo>
                  <a:lnTo>
                    <a:pt x="1275" y="610"/>
                  </a:lnTo>
                  <a:lnTo>
                    <a:pt x="1281" y="616"/>
                  </a:lnTo>
                  <a:lnTo>
                    <a:pt x="1297" y="623"/>
                  </a:lnTo>
                  <a:lnTo>
                    <a:pt x="1304" y="630"/>
                  </a:lnTo>
                  <a:lnTo>
                    <a:pt x="1316" y="657"/>
                  </a:lnTo>
                  <a:lnTo>
                    <a:pt x="1322" y="662"/>
                  </a:lnTo>
                  <a:lnTo>
                    <a:pt x="1329" y="665"/>
                  </a:lnTo>
                  <a:lnTo>
                    <a:pt x="1349" y="668"/>
                  </a:lnTo>
                  <a:lnTo>
                    <a:pt x="1355" y="667"/>
                  </a:lnTo>
                  <a:lnTo>
                    <a:pt x="1355" y="667"/>
                  </a:lnTo>
                  <a:lnTo>
                    <a:pt x="1354" y="659"/>
                  </a:lnTo>
                  <a:lnTo>
                    <a:pt x="1354" y="659"/>
                  </a:lnTo>
                  <a:lnTo>
                    <a:pt x="1358" y="658"/>
                  </a:lnTo>
                  <a:lnTo>
                    <a:pt x="1371" y="662"/>
                  </a:lnTo>
                  <a:lnTo>
                    <a:pt x="1377" y="665"/>
                  </a:lnTo>
                  <a:lnTo>
                    <a:pt x="1383" y="670"/>
                  </a:lnTo>
                  <a:lnTo>
                    <a:pt x="1393" y="680"/>
                  </a:lnTo>
                  <a:lnTo>
                    <a:pt x="1399" y="683"/>
                  </a:lnTo>
                  <a:lnTo>
                    <a:pt x="1400" y="687"/>
                  </a:lnTo>
                  <a:lnTo>
                    <a:pt x="1400" y="692"/>
                  </a:lnTo>
                  <a:lnTo>
                    <a:pt x="1402" y="696"/>
                  </a:lnTo>
                  <a:lnTo>
                    <a:pt x="1413" y="710"/>
                  </a:lnTo>
                  <a:lnTo>
                    <a:pt x="1413" y="710"/>
                  </a:lnTo>
                  <a:lnTo>
                    <a:pt x="1413" y="710"/>
                  </a:lnTo>
                  <a:lnTo>
                    <a:pt x="1413" y="710"/>
                  </a:lnTo>
                  <a:lnTo>
                    <a:pt x="1418" y="712"/>
                  </a:lnTo>
                  <a:lnTo>
                    <a:pt x="1450" y="757"/>
                  </a:lnTo>
                  <a:lnTo>
                    <a:pt x="1456" y="767"/>
                  </a:lnTo>
                  <a:lnTo>
                    <a:pt x="1460" y="776"/>
                  </a:lnTo>
                  <a:lnTo>
                    <a:pt x="1470" y="782"/>
                  </a:lnTo>
                  <a:lnTo>
                    <a:pt x="1492" y="782"/>
                  </a:lnTo>
                  <a:lnTo>
                    <a:pt x="1498" y="785"/>
                  </a:lnTo>
                  <a:lnTo>
                    <a:pt x="1502" y="789"/>
                  </a:lnTo>
                  <a:lnTo>
                    <a:pt x="1512" y="804"/>
                  </a:lnTo>
                  <a:lnTo>
                    <a:pt x="1528" y="818"/>
                  </a:lnTo>
                  <a:lnTo>
                    <a:pt x="1531" y="827"/>
                  </a:lnTo>
                  <a:lnTo>
                    <a:pt x="1531" y="841"/>
                  </a:lnTo>
                  <a:lnTo>
                    <a:pt x="1537" y="850"/>
                  </a:lnTo>
                  <a:lnTo>
                    <a:pt x="1547" y="859"/>
                  </a:lnTo>
                  <a:lnTo>
                    <a:pt x="1558" y="868"/>
                  </a:lnTo>
                  <a:lnTo>
                    <a:pt x="1566" y="871"/>
                  </a:lnTo>
                  <a:lnTo>
                    <a:pt x="1569" y="862"/>
                  </a:lnTo>
                  <a:lnTo>
                    <a:pt x="1574" y="856"/>
                  </a:lnTo>
                  <a:lnTo>
                    <a:pt x="1578" y="855"/>
                  </a:lnTo>
                  <a:lnTo>
                    <a:pt x="1579" y="855"/>
                  </a:lnTo>
                  <a:lnTo>
                    <a:pt x="1585" y="856"/>
                  </a:lnTo>
                  <a:lnTo>
                    <a:pt x="1593" y="859"/>
                  </a:lnTo>
                  <a:lnTo>
                    <a:pt x="1598" y="865"/>
                  </a:lnTo>
                  <a:lnTo>
                    <a:pt x="1604" y="868"/>
                  </a:lnTo>
                  <a:lnTo>
                    <a:pt x="1610" y="866"/>
                  </a:lnTo>
                  <a:lnTo>
                    <a:pt x="1612" y="876"/>
                  </a:lnTo>
                  <a:lnTo>
                    <a:pt x="1614" y="887"/>
                  </a:lnTo>
                  <a:lnTo>
                    <a:pt x="1620" y="894"/>
                  </a:lnTo>
                  <a:lnTo>
                    <a:pt x="1626" y="900"/>
                  </a:lnTo>
                  <a:lnTo>
                    <a:pt x="1632" y="904"/>
                  </a:lnTo>
                  <a:lnTo>
                    <a:pt x="1645" y="906"/>
                  </a:lnTo>
                  <a:lnTo>
                    <a:pt x="1651" y="908"/>
                  </a:lnTo>
                  <a:lnTo>
                    <a:pt x="1658" y="922"/>
                  </a:lnTo>
                  <a:lnTo>
                    <a:pt x="1676" y="954"/>
                  </a:lnTo>
                  <a:lnTo>
                    <a:pt x="1681" y="961"/>
                  </a:lnTo>
                  <a:lnTo>
                    <a:pt x="1681" y="961"/>
                  </a:lnTo>
                  <a:lnTo>
                    <a:pt x="1671" y="983"/>
                  </a:lnTo>
                  <a:lnTo>
                    <a:pt x="1671" y="989"/>
                  </a:lnTo>
                  <a:lnTo>
                    <a:pt x="1673" y="987"/>
                  </a:lnTo>
                  <a:lnTo>
                    <a:pt x="1676" y="994"/>
                  </a:lnTo>
                  <a:lnTo>
                    <a:pt x="1679" y="996"/>
                  </a:lnTo>
                  <a:lnTo>
                    <a:pt x="1683" y="999"/>
                  </a:lnTo>
                  <a:lnTo>
                    <a:pt x="1677" y="1003"/>
                  </a:lnTo>
                  <a:lnTo>
                    <a:pt x="1677" y="1009"/>
                  </a:lnTo>
                  <a:lnTo>
                    <a:pt x="1679" y="1026"/>
                  </a:lnTo>
                  <a:lnTo>
                    <a:pt x="1679" y="1035"/>
                  </a:lnTo>
                  <a:lnTo>
                    <a:pt x="1677" y="1042"/>
                  </a:lnTo>
                  <a:lnTo>
                    <a:pt x="1676" y="1050"/>
                  </a:lnTo>
                  <a:lnTo>
                    <a:pt x="1670" y="1063"/>
                  </a:lnTo>
                  <a:lnTo>
                    <a:pt x="1667" y="1064"/>
                  </a:lnTo>
                  <a:lnTo>
                    <a:pt x="1665" y="1067"/>
                  </a:lnTo>
                  <a:lnTo>
                    <a:pt x="1663" y="1069"/>
                  </a:lnTo>
                  <a:lnTo>
                    <a:pt x="1655" y="1070"/>
                  </a:lnTo>
                  <a:lnTo>
                    <a:pt x="1654" y="1070"/>
                  </a:lnTo>
                  <a:lnTo>
                    <a:pt x="1651" y="1076"/>
                  </a:lnTo>
                  <a:lnTo>
                    <a:pt x="1648" y="1089"/>
                  </a:lnTo>
                  <a:lnTo>
                    <a:pt x="1646" y="1089"/>
                  </a:lnTo>
                  <a:lnTo>
                    <a:pt x="1632" y="1082"/>
                  </a:lnTo>
                  <a:lnTo>
                    <a:pt x="1628" y="1074"/>
                  </a:lnTo>
                  <a:lnTo>
                    <a:pt x="1622" y="1070"/>
                  </a:lnTo>
                  <a:lnTo>
                    <a:pt x="1616" y="1067"/>
                  </a:lnTo>
                  <a:lnTo>
                    <a:pt x="1579" y="1057"/>
                  </a:lnTo>
                  <a:lnTo>
                    <a:pt x="1568" y="1058"/>
                  </a:lnTo>
                  <a:lnTo>
                    <a:pt x="1556" y="1063"/>
                  </a:lnTo>
                  <a:lnTo>
                    <a:pt x="1553" y="1066"/>
                  </a:lnTo>
                  <a:lnTo>
                    <a:pt x="1552" y="1069"/>
                  </a:lnTo>
                  <a:lnTo>
                    <a:pt x="1552" y="1072"/>
                  </a:lnTo>
                  <a:lnTo>
                    <a:pt x="1553" y="1073"/>
                  </a:lnTo>
                  <a:lnTo>
                    <a:pt x="1555" y="1083"/>
                  </a:lnTo>
                  <a:lnTo>
                    <a:pt x="1558" y="1088"/>
                  </a:lnTo>
                  <a:lnTo>
                    <a:pt x="1558" y="1092"/>
                  </a:lnTo>
                  <a:lnTo>
                    <a:pt x="1558" y="1098"/>
                  </a:lnTo>
                  <a:lnTo>
                    <a:pt x="1552" y="1108"/>
                  </a:lnTo>
                  <a:lnTo>
                    <a:pt x="1550" y="1112"/>
                  </a:lnTo>
                  <a:lnTo>
                    <a:pt x="1550" y="1117"/>
                  </a:lnTo>
                  <a:lnTo>
                    <a:pt x="1550" y="1131"/>
                  </a:lnTo>
                  <a:lnTo>
                    <a:pt x="1550" y="1137"/>
                  </a:lnTo>
                  <a:lnTo>
                    <a:pt x="1549" y="1141"/>
                  </a:lnTo>
                  <a:lnTo>
                    <a:pt x="1547" y="1143"/>
                  </a:lnTo>
                  <a:lnTo>
                    <a:pt x="1546" y="1146"/>
                  </a:lnTo>
                  <a:lnTo>
                    <a:pt x="1545" y="1157"/>
                  </a:lnTo>
                  <a:lnTo>
                    <a:pt x="1540" y="1165"/>
                  </a:lnTo>
                  <a:lnTo>
                    <a:pt x="1505" y="1195"/>
                  </a:lnTo>
                  <a:lnTo>
                    <a:pt x="1494" y="1201"/>
                  </a:lnTo>
                  <a:lnTo>
                    <a:pt x="1445" y="1210"/>
                  </a:lnTo>
                  <a:lnTo>
                    <a:pt x="1410" y="1224"/>
                  </a:lnTo>
                  <a:lnTo>
                    <a:pt x="1405" y="1229"/>
                  </a:lnTo>
                  <a:lnTo>
                    <a:pt x="1392" y="1240"/>
                  </a:lnTo>
                  <a:lnTo>
                    <a:pt x="1380" y="1246"/>
                  </a:lnTo>
                  <a:lnTo>
                    <a:pt x="1374" y="1251"/>
                  </a:lnTo>
                  <a:lnTo>
                    <a:pt x="1376" y="1252"/>
                  </a:lnTo>
                  <a:lnTo>
                    <a:pt x="1357" y="1256"/>
                  </a:lnTo>
                  <a:lnTo>
                    <a:pt x="1351" y="1259"/>
                  </a:lnTo>
                  <a:lnTo>
                    <a:pt x="1348" y="1262"/>
                  </a:lnTo>
                  <a:lnTo>
                    <a:pt x="1341" y="1272"/>
                  </a:lnTo>
                  <a:lnTo>
                    <a:pt x="1336" y="1278"/>
                  </a:lnTo>
                  <a:lnTo>
                    <a:pt x="1323" y="1287"/>
                  </a:lnTo>
                  <a:lnTo>
                    <a:pt x="1322" y="1288"/>
                  </a:lnTo>
                  <a:lnTo>
                    <a:pt x="1317" y="1297"/>
                  </a:lnTo>
                  <a:lnTo>
                    <a:pt x="1314" y="1297"/>
                  </a:lnTo>
                  <a:lnTo>
                    <a:pt x="1311" y="1297"/>
                  </a:lnTo>
                  <a:lnTo>
                    <a:pt x="1310" y="1299"/>
                  </a:lnTo>
                  <a:lnTo>
                    <a:pt x="1309" y="1302"/>
                  </a:lnTo>
                  <a:lnTo>
                    <a:pt x="1307" y="1309"/>
                  </a:lnTo>
                  <a:lnTo>
                    <a:pt x="1309" y="1316"/>
                  </a:lnTo>
                  <a:lnTo>
                    <a:pt x="1311" y="1322"/>
                  </a:lnTo>
                  <a:lnTo>
                    <a:pt x="1316" y="1328"/>
                  </a:lnTo>
                  <a:lnTo>
                    <a:pt x="1339" y="1352"/>
                  </a:lnTo>
                  <a:lnTo>
                    <a:pt x="1345" y="1364"/>
                  </a:lnTo>
                  <a:lnTo>
                    <a:pt x="1346" y="1370"/>
                  </a:lnTo>
                  <a:lnTo>
                    <a:pt x="1346" y="1371"/>
                  </a:lnTo>
                  <a:lnTo>
                    <a:pt x="1348" y="1376"/>
                  </a:lnTo>
                  <a:lnTo>
                    <a:pt x="1351" y="1380"/>
                  </a:lnTo>
                  <a:lnTo>
                    <a:pt x="1359" y="1386"/>
                  </a:lnTo>
                  <a:lnTo>
                    <a:pt x="1365" y="1392"/>
                  </a:lnTo>
                  <a:lnTo>
                    <a:pt x="1368" y="1395"/>
                  </a:lnTo>
                  <a:lnTo>
                    <a:pt x="1374" y="1399"/>
                  </a:lnTo>
                  <a:lnTo>
                    <a:pt x="1386" y="1427"/>
                  </a:lnTo>
                  <a:lnTo>
                    <a:pt x="1394" y="1438"/>
                  </a:lnTo>
                  <a:lnTo>
                    <a:pt x="1396" y="1440"/>
                  </a:lnTo>
                  <a:lnTo>
                    <a:pt x="1373" y="1476"/>
                  </a:lnTo>
                  <a:lnTo>
                    <a:pt x="1371" y="1481"/>
                  </a:lnTo>
                  <a:lnTo>
                    <a:pt x="1371" y="1484"/>
                  </a:lnTo>
                  <a:lnTo>
                    <a:pt x="1370" y="1486"/>
                  </a:lnTo>
                  <a:lnTo>
                    <a:pt x="1370" y="1489"/>
                  </a:lnTo>
                  <a:lnTo>
                    <a:pt x="1367" y="1494"/>
                  </a:lnTo>
                  <a:lnTo>
                    <a:pt x="1367" y="1494"/>
                  </a:lnTo>
                  <a:lnTo>
                    <a:pt x="1367" y="1494"/>
                  </a:lnTo>
                  <a:lnTo>
                    <a:pt x="1367" y="1494"/>
                  </a:lnTo>
                  <a:lnTo>
                    <a:pt x="1361" y="1504"/>
                  </a:lnTo>
                  <a:lnTo>
                    <a:pt x="1367" y="1510"/>
                  </a:lnTo>
                  <a:lnTo>
                    <a:pt x="1386" y="1513"/>
                  </a:lnTo>
                  <a:lnTo>
                    <a:pt x="1392" y="1513"/>
                  </a:lnTo>
                  <a:lnTo>
                    <a:pt x="1400" y="1508"/>
                  </a:lnTo>
                  <a:lnTo>
                    <a:pt x="1406" y="1510"/>
                  </a:lnTo>
                  <a:lnTo>
                    <a:pt x="1409" y="1513"/>
                  </a:lnTo>
                  <a:lnTo>
                    <a:pt x="1413" y="1517"/>
                  </a:lnTo>
                  <a:lnTo>
                    <a:pt x="1421" y="1529"/>
                  </a:lnTo>
                  <a:lnTo>
                    <a:pt x="1424" y="1536"/>
                  </a:lnTo>
                  <a:lnTo>
                    <a:pt x="1425" y="1543"/>
                  </a:lnTo>
                  <a:lnTo>
                    <a:pt x="1424" y="1549"/>
                  </a:lnTo>
                  <a:lnTo>
                    <a:pt x="1424" y="1556"/>
                  </a:lnTo>
                  <a:lnTo>
                    <a:pt x="1422" y="1556"/>
                  </a:lnTo>
                  <a:lnTo>
                    <a:pt x="1419" y="1566"/>
                  </a:lnTo>
                  <a:lnTo>
                    <a:pt x="1418" y="1568"/>
                  </a:lnTo>
                  <a:lnTo>
                    <a:pt x="1413" y="1575"/>
                  </a:lnTo>
                  <a:lnTo>
                    <a:pt x="1412" y="1575"/>
                  </a:lnTo>
                  <a:lnTo>
                    <a:pt x="1412" y="1587"/>
                  </a:lnTo>
                  <a:lnTo>
                    <a:pt x="1413" y="1587"/>
                  </a:lnTo>
                  <a:lnTo>
                    <a:pt x="1412" y="1587"/>
                  </a:lnTo>
                  <a:lnTo>
                    <a:pt x="1409" y="1596"/>
                  </a:lnTo>
                  <a:lnTo>
                    <a:pt x="1409" y="1597"/>
                  </a:lnTo>
                  <a:lnTo>
                    <a:pt x="1409" y="1606"/>
                  </a:lnTo>
                  <a:lnTo>
                    <a:pt x="1409" y="1609"/>
                  </a:lnTo>
                  <a:lnTo>
                    <a:pt x="1409" y="1612"/>
                  </a:lnTo>
                  <a:lnTo>
                    <a:pt x="1410" y="1615"/>
                  </a:lnTo>
                  <a:lnTo>
                    <a:pt x="1412" y="1617"/>
                  </a:lnTo>
                  <a:lnTo>
                    <a:pt x="1412" y="1622"/>
                  </a:lnTo>
                  <a:lnTo>
                    <a:pt x="1402" y="1633"/>
                  </a:lnTo>
                  <a:lnTo>
                    <a:pt x="1399" y="1636"/>
                  </a:lnTo>
                  <a:lnTo>
                    <a:pt x="1396" y="1636"/>
                  </a:lnTo>
                  <a:lnTo>
                    <a:pt x="1393" y="1635"/>
                  </a:lnTo>
                  <a:lnTo>
                    <a:pt x="1392" y="1632"/>
                  </a:lnTo>
                  <a:lnTo>
                    <a:pt x="1389" y="1631"/>
                  </a:lnTo>
                  <a:lnTo>
                    <a:pt x="1384" y="1631"/>
                  </a:lnTo>
                  <a:lnTo>
                    <a:pt x="1381" y="1632"/>
                  </a:lnTo>
                  <a:lnTo>
                    <a:pt x="1378" y="1633"/>
                  </a:lnTo>
                  <a:lnTo>
                    <a:pt x="1374" y="1632"/>
                  </a:lnTo>
                  <a:lnTo>
                    <a:pt x="1358" y="1619"/>
                  </a:lnTo>
                  <a:lnTo>
                    <a:pt x="1342" y="1601"/>
                  </a:lnTo>
                  <a:lnTo>
                    <a:pt x="1339" y="1600"/>
                  </a:lnTo>
                  <a:lnTo>
                    <a:pt x="1336" y="1599"/>
                  </a:lnTo>
                  <a:lnTo>
                    <a:pt x="1330" y="1597"/>
                  </a:lnTo>
                  <a:lnTo>
                    <a:pt x="1322" y="1590"/>
                  </a:lnTo>
                  <a:lnTo>
                    <a:pt x="1320" y="1578"/>
                  </a:lnTo>
                  <a:lnTo>
                    <a:pt x="1325" y="1565"/>
                  </a:lnTo>
                  <a:lnTo>
                    <a:pt x="1333" y="1561"/>
                  </a:lnTo>
                  <a:lnTo>
                    <a:pt x="1326" y="1555"/>
                  </a:lnTo>
                  <a:lnTo>
                    <a:pt x="1317" y="1549"/>
                  </a:lnTo>
                  <a:lnTo>
                    <a:pt x="1313" y="1542"/>
                  </a:lnTo>
                  <a:lnTo>
                    <a:pt x="1316" y="1533"/>
                  </a:lnTo>
                  <a:lnTo>
                    <a:pt x="1310" y="1533"/>
                  </a:lnTo>
                  <a:lnTo>
                    <a:pt x="1291" y="1529"/>
                  </a:lnTo>
                  <a:lnTo>
                    <a:pt x="1278" y="1529"/>
                  </a:lnTo>
                  <a:lnTo>
                    <a:pt x="1266" y="1532"/>
                  </a:lnTo>
                  <a:lnTo>
                    <a:pt x="1259" y="1534"/>
                  </a:lnTo>
                  <a:lnTo>
                    <a:pt x="1243" y="1549"/>
                  </a:lnTo>
                  <a:lnTo>
                    <a:pt x="1239" y="1550"/>
                  </a:lnTo>
                  <a:lnTo>
                    <a:pt x="1231" y="1552"/>
                  </a:lnTo>
                  <a:lnTo>
                    <a:pt x="1224" y="1552"/>
                  </a:lnTo>
                  <a:lnTo>
                    <a:pt x="1218" y="1550"/>
                  </a:lnTo>
                  <a:lnTo>
                    <a:pt x="1208" y="1542"/>
                  </a:lnTo>
                  <a:lnTo>
                    <a:pt x="1205" y="1539"/>
                  </a:lnTo>
                  <a:lnTo>
                    <a:pt x="1204" y="1534"/>
                  </a:lnTo>
                  <a:lnTo>
                    <a:pt x="1201" y="1523"/>
                  </a:lnTo>
                  <a:lnTo>
                    <a:pt x="1198" y="1520"/>
                  </a:lnTo>
                  <a:lnTo>
                    <a:pt x="1192" y="1518"/>
                  </a:lnTo>
                  <a:lnTo>
                    <a:pt x="1179" y="1524"/>
                  </a:lnTo>
                  <a:lnTo>
                    <a:pt x="1173" y="1526"/>
                  </a:lnTo>
                  <a:lnTo>
                    <a:pt x="1153" y="1521"/>
                  </a:lnTo>
                  <a:lnTo>
                    <a:pt x="1145" y="1521"/>
                  </a:lnTo>
                  <a:lnTo>
                    <a:pt x="1138" y="1526"/>
                  </a:lnTo>
                  <a:lnTo>
                    <a:pt x="1134" y="1527"/>
                  </a:lnTo>
                  <a:lnTo>
                    <a:pt x="1131" y="1523"/>
                  </a:lnTo>
                  <a:lnTo>
                    <a:pt x="1128" y="1518"/>
                  </a:lnTo>
                  <a:lnTo>
                    <a:pt x="1129" y="1514"/>
                  </a:lnTo>
                  <a:lnTo>
                    <a:pt x="1132" y="1511"/>
                  </a:lnTo>
                  <a:lnTo>
                    <a:pt x="1134" y="1507"/>
                  </a:lnTo>
                  <a:lnTo>
                    <a:pt x="1134" y="1501"/>
                  </a:lnTo>
                  <a:lnTo>
                    <a:pt x="1135" y="1500"/>
                  </a:lnTo>
                  <a:lnTo>
                    <a:pt x="1134" y="1500"/>
                  </a:lnTo>
                  <a:lnTo>
                    <a:pt x="1129" y="1501"/>
                  </a:lnTo>
                  <a:lnTo>
                    <a:pt x="1126" y="1504"/>
                  </a:lnTo>
                  <a:lnTo>
                    <a:pt x="1118" y="1511"/>
                  </a:lnTo>
                  <a:lnTo>
                    <a:pt x="1112" y="1513"/>
                  </a:lnTo>
                  <a:lnTo>
                    <a:pt x="1113" y="1517"/>
                  </a:lnTo>
                  <a:lnTo>
                    <a:pt x="1115" y="1520"/>
                  </a:lnTo>
                  <a:lnTo>
                    <a:pt x="1116" y="1523"/>
                  </a:lnTo>
                  <a:lnTo>
                    <a:pt x="1119" y="1526"/>
                  </a:lnTo>
                  <a:lnTo>
                    <a:pt x="1122" y="1527"/>
                  </a:lnTo>
                  <a:lnTo>
                    <a:pt x="1122" y="1530"/>
                  </a:lnTo>
                  <a:lnTo>
                    <a:pt x="1123" y="1543"/>
                  </a:lnTo>
                  <a:lnTo>
                    <a:pt x="1122" y="1549"/>
                  </a:lnTo>
                  <a:lnTo>
                    <a:pt x="1121" y="1552"/>
                  </a:lnTo>
                  <a:lnTo>
                    <a:pt x="1112" y="1565"/>
                  </a:lnTo>
                  <a:lnTo>
                    <a:pt x="1109" y="1565"/>
                  </a:lnTo>
                  <a:lnTo>
                    <a:pt x="1029" y="1562"/>
                  </a:lnTo>
                  <a:lnTo>
                    <a:pt x="1000" y="1568"/>
                  </a:lnTo>
                  <a:lnTo>
                    <a:pt x="995" y="1569"/>
                  </a:lnTo>
                  <a:lnTo>
                    <a:pt x="992" y="1578"/>
                  </a:lnTo>
                  <a:lnTo>
                    <a:pt x="988" y="1580"/>
                  </a:lnTo>
                  <a:lnTo>
                    <a:pt x="969" y="1575"/>
                  </a:lnTo>
                  <a:lnTo>
                    <a:pt x="941" y="1575"/>
                  </a:lnTo>
                  <a:lnTo>
                    <a:pt x="925" y="1572"/>
                  </a:lnTo>
                  <a:lnTo>
                    <a:pt x="920" y="1572"/>
                  </a:lnTo>
                  <a:lnTo>
                    <a:pt x="918" y="1574"/>
                  </a:lnTo>
                  <a:lnTo>
                    <a:pt x="908" y="1583"/>
                  </a:lnTo>
                  <a:lnTo>
                    <a:pt x="906" y="1588"/>
                  </a:lnTo>
                  <a:lnTo>
                    <a:pt x="904" y="1600"/>
                  </a:lnTo>
                  <a:lnTo>
                    <a:pt x="902" y="1604"/>
                  </a:lnTo>
                  <a:lnTo>
                    <a:pt x="895" y="1612"/>
                  </a:lnTo>
                  <a:lnTo>
                    <a:pt x="887" y="1615"/>
                  </a:lnTo>
                  <a:lnTo>
                    <a:pt x="871" y="1617"/>
                  </a:lnTo>
                  <a:lnTo>
                    <a:pt x="863" y="1615"/>
                  </a:lnTo>
                  <a:lnTo>
                    <a:pt x="855" y="1613"/>
                  </a:lnTo>
                  <a:lnTo>
                    <a:pt x="847" y="1616"/>
                  </a:lnTo>
                  <a:lnTo>
                    <a:pt x="831" y="1633"/>
                  </a:lnTo>
                  <a:lnTo>
                    <a:pt x="835" y="1635"/>
                  </a:lnTo>
                  <a:lnTo>
                    <a:pt x="838" y="1638"/>
                  </a:lnTo>
                  <a:lnTo>
                    <a:pt x="839" y="1642"/>
                  </a:lnTo>
                  <a:lnTo>
                    <a:pt x="837" y="1647"/>
                  </a:lnTo>
                  <a:lnTo>
                    <a:pt x="831" y="1649"/>
                  </a:lnTo>
                  <a:lnTo>
                    <a:pt x="816" y="1649"/>
                  </a:lnTo>
                  <a:lnTo>
                    <a:pt x="810" y="1651"/>
                  </a:lnTo>
                  <a:lnTo>
                    <a:pt x="803" y="1658"/>
                  </a:lnTo>
                  <a:lnTo>
                    <a:pt x="799" y="1664"/>
                  </a:lnTo>
                  <a:lnTo>
                    <a:pt x="793" y="1670"/>
                  </a:lnTo>
                  <a:lnTo>
                    <a:pt x="786" y="1673"/>
                  </a:lnTo>
                  <a:lnTo>
                    <a:pt x="778" y="1671"/>
                  </a:lnTo>
                  <a:lnTo>
                    <a:pt x="778" y="1658"/>
                  </a:lnTo>
                  <a:lnTo>
                    <a:pt x="771" y="1655"/>
                  </a:lnTo>
                  <a:lnTo>
                    <a:pt x="762" y="1657"/>
                  </a:lnTo>
                  <a:lnTo>
                    <a:pt x="739" y="1673"/>
                  </a:lnTo>
                  <a:lnTo>
                    <a:pt x="733" y="1674"/>
                  </a:lnTo>
                  <a:lnTo>
                    <a:pt x="697" y="1674"/>
                  </a:lnTo>
                  <a:lnTo>
                    <a:pt x="691" y="1671"/>
                  </a:lnTo>
                  <a:lnTo>
                    <a:pt x="688" y="1664"/>
                  </a:lnTo>
                  <a:lnTo>
                    <a:pt x="689" y="1664"/>
                  </a:lnTo>
                  <a:lnTo>
                    <a:pt x="689" y="1663"/>
                  </a:lnTo>
                  <a:lnTo>
                    <a:pt x="691" y="1658"/>
                  </a:lnTo>
                  <a:lnTo>
                    <a:pt x="691" y="1655"/>
                  </a:lnTo>
                  <a:lnTo>
                    <a:pt x="689" y="1652"/>
                  </a:lnTo>
                  <a:lnTo>
                    <a:pt x="672" y="1635"/>
                  </a:lnTo>
                  <a:lnTo>
                    <a:pt x="654" y="1626"/>
                  </a:lnTo>
                  <a:lnTo>
                    <a:pt x="651" y="1622"/>
                  </a:lnTo>
                  <a:lnTo>
                    <a:pt x="663" y="1615"/>
                  </a:lnTo>
                  <a:lnTo>
                    <a:pt x="666" y="1610"/>
                  </a:lnTo>
                  <a:lnTo>
                    <a:pt x="659" y="1604"/>
                  </a:lnTo>
                  <a:lnTo>
                    <a:pt x="654" y="1603"/>
                  </a:lnTo>
                  <a:lnTo>
                    <a:pt x="650" y="1603"/>
                  </a:lnTo>
                  <a:lnTo>
                    <a:pt x="644" y="1604"/>
                  </a:lnTo>
                  <a:lnTo>
                    <a:pt x="631" y="1610"/>
                  </a:lnTo>
                  <a:lnTo>
                    <a:pt x="621" y="1612"/>
                  </a:lnTo>
                  <a:lnTo>
                    <a:pt x="618" y="1610"/>
                  </a:lnTo>
                  <a:lnTo>
                    <a:pt x="615" y="1609"/>
                  </a:lnTo>
                  <a:lnTo>
                    <a:pt x="615" y="1606"/>
                  </a:lnTo>
                  <a:lnTo>
                    <a:pt x="614" y="1604"/>
                  </a:lnTo>
                  <a:lnTo>
                    <a:pt x="567" y="1587"/>
                  </a:lnTo>
                  <a:lnTo>
                    <a:pt x="558" y="1587"/>
                  </a:lnTo>
                  <a:lnTo>
                    <a:pt x="554" y="1590"/>
                  </a:lnTo>
                  <a:lnTo>
                    <a:pt x="547" y="1600"/>
                  </a:lnTo>
                  <a:lnTo>
                    <a:pt x="542" y="1603"/>
                  </a:lnTo>
                  <a:lnTo>
                    <a:pt x="538" y="1604"/>
                  </a:lnTo>
                  <a:lnTo>
                    <a:pt x="523" y="1601"/>
                  </a:lnTo>
                  <a:lnTo>
                    <a:pt x="519" y="1599"/>
                  </a:lnTo>
                  <a:lnTo>
                    <a:pt x="516" y="1597"/>
                  </a:lnTo>
                  <a:lnTo>
                    <a:pt x="513" y="1594"/>
                  </a:lnTo>
                  <a:lnTo>
                    <a:pt x="513" y="1590"/>
                  </a:lnTo>
                  <a:lnTo>
                    <a:pt x="515" y="1587"/>
                  </a:lnTo>
                  <a:lnTo>
                    <a:pt x="516" y="1584"/>
                  </a:lnTo>
                  <a:lnTo>
                    <a:pt x="516" y="1583"/>
                  </a:lnTo>
                  <a:lnTo>
                    <a:pt x="515" y="1578"/>
                  </a:lnTo>
                  <a:lnTo>
                    <a:pt x="513" y="1577"/>
                  </a:lnTo>
                  <a:lnTo>
                    <a:pt x="512" y="1578"/>
                  </a:lnTo>
                  <a:lnTo>
                    <a:pt x="506" y="1580"/>
                  </a:lnTo>
                  <a:lnTo>
                    <a:pt x="500" y="1581"/>
                  </a:lnTo>
                  <a:lnTo>
                    <a:pt x="500" y="1585"/>
                  </a:lnTo>
                  <a:lnTo>
                    <a:pt x="503" y="1591"/>
                  </a:lnTo>
                  <a:lnTo>
                    <a:pt x="506" y="1597"/>
                  </a:lnTo>
                  <a:lnTo>
                    <a:pt x="506" y="1601"/>
                  </a:lnTo>
                  <a:lnTo>
                    <a:pt x="501" y="1622"/>
                  </a:lnTo>
                  <a:lnTo>
                    <a:pt x="507" y="1625"/>
                  </a:lnTo>
                  <a:lnTo>
                    <a:pt x="510" y="1628"/>
                  </a:lnTo>
                  <a:lnTo>
                    <a:pt x="512" y="1632"/>
                  </a:lnTo>
                  <a:lnTo>
                    <a:pt x="513" y="1639"/>
                  </a:lnTo>
                  <a:lnTo>
                    <a:pt x="513" y="1649"/>
                  </a:lnTo>
                  <a:lnTo>
                    <a:pt x="510" y="1661"/>
                  </a:lnTo>
                  <a:lnTo>
                    <a:pt x="504" y="1671"/>
                  </a:lnTo>
                  <a:lnTo>
                    <a:pt x="499" y="1679"/>
                  </a:lnTo>
                  <a:lnTo>
                    <a:pt x="496" y="1682"/>
                  </a:lnTo>
                  <a:lnTo>
                    <a:pt x="488" y="1684"/>
                  </a:lnTo>
                  <a:lnTo>
                    <a:pt x="485" y="1686"/>
                  </a:lnTo>
                  <a:lnTo>
                    <a:pt x="482" y="1689"/>
                  </a:lnTo>
                  <a:lnTo>
                    <a:pt x="475" y="1705"/>
                  </a:lnTo>
                  <a:lnTo>
                    <a:pt x="469" y="1714"/>
                  </a:lnTo>
                  <a:lnTo>
                    <a:pt x="462" y="1719"/>
                  </a:lnTo>
                  <a:lnTo>
                    <a:pt x="446" y="1730"/>
                  </a:lnTo>
                  <a:lnTo>
                    <a:pt x="439" y="1732"/>
                  </a:lnTo>
                  <a:lnTo>
                    <a:pt x="417" y="1735"/>
                  </a:lnTo>
                  <a:lnTo>
                    <a:pt x="411" y="1735"/>
                  </a:lnTo>
                  <a:lnTo>
                    <a:pt x="410" y="1734"/>
                  </a:lnTo>
                  <a:lnTo>
                    <a:pt x="411" y="1731"/>
                  </a:lnTo>
                  <a:lnTo>
                    <a:pt x="414" y="1725"/>
                  </a:lnTo>
                  <a:lnTo>
                    <a:pt x="415" y="1725"/>
                  </a:lnTo>
                  <a:lnTo>
                    <a:pt x="420" y="1724"/>
                  </a:lnTo>
                  <a:lnTo>
                    <a:pt x="423" y="1722"/>
                  </a:lnTo>
                  <a:lnTo>
                    <a:pt x="423" y="1718"/>
                  </a:lnTo>
                  <a:lnTo>
                    <a:pt x="423" y="1715"/>
                  </a:lnTo>
                  <a:lnTo>
                    <a:pt x="423" y="1712"/>
                  </a:lnTo>
                  <a:lnTo>
                    <a:pt x="429" y="1693"/>
                  </a:lnTo>
                  <a:lnTo>
                    <a:pt x="429" y="1683"/>
                  </a:lnTo>
                  <a:lnTo>
                    <a:pt x="423" y="1680"/>
                  </a:lnTo>
                  <a:lnTo>
                    <a:pt x="407" y="1683"/>
                  </a:lnTo>
                  <a:lnTo>
                    <a:pt x="402" y="1687"/>
                  </a:lnTo>
                  <a:lnTo>
                    <a:pt x="401" y="1689"/>
                  </a:lnTo>
                  <a:lnTo>
                    <a:pt x="399" y="1689"/>
                  </a:lnTo>
                  <a:lnTo>
                    <a:pt x="397" y="1686"/>
                  </a:lnTo>
                  <a:lnTo>
                    <a:pt x="394" y="1686"/>
                  </a:lnTo>
                  <a:lnTo>
                    <a:pt x="389" y="1689"/>
                  </a:lnTo>
                  <a:lnTo>
                    <a:pt x="386" y="1690"/>
                  </a:lnTo>
                  <a:lnTo>
                    <a:pt x="385" y="1690"/>
                  </a:lnTo>
                  <a:lnTo>
                    <a:pt x="382" y="1687"/>
                  </a:lnTo>
                  <a:lnTo>
                    <a:pt x="379" y="1683"/>
                  </a:lnTo>
                  <a:lnTo>
                    <a:pt x="379" y="1677"/>
                  </a:lnTo>
                  <a:lnTo>
                    <a:pt x="378" y="1671"/>
                  </a:lnTo>
                  <a:lnTo>
                    <a:pt x="375" y="1667"/>
                  </a:lnTo>
                  <a:lnTo>
                    <a:pt x="382" y="1661"/>
                  </a:lnTo>
                  <a:lnTo>
                    <a:pt x="383" y="1655"/>
                  </a:lnTo>
                  <a:lnTo>
                    <a:pt x="381" y="1649"/>
                  </a:lnTo>
                  <a:lnTo>
                    <a:pt x="364" y="1625"/>
                  </a:lnTo>
                  <a:lnTo>
                    <a:pt x="360" y="1626"/>
                  </a:lnTo>
                  <a:lnTo>
                    <a:pt x="357" y="1629"/>
                  </a:lnTo>
                  <a:lnTo>
                    <a:pt x="354" y="1631"/>
                  </a:lnTo>
                  <a:lnTo>
                    <a:pt x="350" y="1628"/>
                  </a:lnTo>
                  <a:lnTo>
                    <a:pt x="350" y="1625"/>
                  </a:lnTo>
                  <a:lnTo>
                    <a:pt x="350" y="1623"/>
                  </a:lnTo>
                  <a:lnTo>
                    <a:pt x="350" y="1622"/>
                  </a:lnTo>
                  <a:lnTo>
                    <a:pt x="346" y="1615"/>
                  </a:lnTo>
                  <a:lnTo>
                    <a:pt x="341" y="1610"/>
                  </a:lnTo>
                  <a:lnTo>
                    <a:pt x="338" y="1606"/>
                  </a:lnTo>
                  <a:lnTo>
                    <a:pt x="337" y="1597"/>
                  </a:lnTo>
                  <a:lnTo>
                    <a:pt x="332" y="1601"/>
                  </a:lnTo>
                  <a:lnTo>
                    <a:pt x="328" y="1601"/>
                  </a:lnTo>
                  <a:lnTo>
                    <a:pt x="318" y="1601"/>
                  </a:lnTo>
                  <a:lnTo>
                    <a:pt x="306" y="1597"/>
                  </a:lnTo>
                  <a:lnTo>
                    <a:pt x="305" y="1597"/>
                  </a:lnTo>
                  <a:lnTo>
                    <a:pt x="300" y="1600"/>
                  </a:lnTo>
                  <a:lnTo>
                    <a:pt x="297" y="1600"/>
                  </a:lnTo>
                  <a:lnTo>
                    <a:pt x="292" y="1597"/>
                  </a:lnTo>
                  <a:lnTo>
                    <a:pt x="290" y="1591"/>
                  </a:lnTo>
                  <a:lnTo>
                    <a:pt x="290" y="1585"/>
                  </a:lnTo>
                  <a:lnTo>
                    <a:pt x="289" y="1580"/>
                  </a:lnTo>
                  <a:lnTo>
                    <a:pt x="286" y="1575"/>
                  </a:lnTo>
                  <a:lnTo>
                    <a:pt x="280" y="1574"/>
                  </a:lnTo>
                  <a:lnTo>
                    <a:pt x="276" y="1574"/>
                  </a:lnTo>
                  <a:lnTo>
                    <a:pt x="270" y="1577"/>
                  </a:lnTo>
                  <a:lnTo>
                    <a:pt x="263" y="1585"/>
                  </a:lnTo>
                  <a:lnTo>
                    <a:pt x="258" y="1594"/>
                  </a:lnTo>
                  <a:lnTo>
                    <a:pt x="254" y="1603"/>
                  </a:lnTo>
                  <a:lnTo>
                    <a:pt x="244" y="1607"/>
                  </a:lnTo>
                  <a:lnTo>
                    <a:pt x="222" y="1607"/>
                  </a:lnTo>
                  <a:lnTo>
                    <a:pt x="201" y="1601"/>
                  </a:lnTo>
                  <a:lnTo>
                    <a:pt x="201" y="1601"/>
                  </a:lnTo>
                  <a:lnTo>
                    <a:pt x="217" y="1580"/>
                  </a:lnTo>
                  <a:lnTo>
                    <a:pt x="222" y="1574"/>
                  </a:lnTo>
                  <a:lnTo>
                    <a:pt x="222" y="1572"/>
                  </a:lnTo>
                  <a:lnTo>
                    <a:pt x="225" y="1572"/>
                  </a:lnTo>
                  <a:lnTo>
                    <a:pt x="233" y="1571"/>
                  </a:lnTo>
                  <a:lnTo>
                    <a:pt x="236" y="1569"/>
                  </a:lnTo>
                  <a:lnTo>
                    <a:pt x="238" y="1568"/>
                  </a:lnTo>
                  <a:lnTo>
                    <a:pt x="238" y="1568"/>
                  </a:lnTo>
                  <a:lnTo>
                    <a:pt x="238" y="1566"/>
                  </a:lnTo>
                  <a:lnTo>
                    <a:pt x="239" y="1564"/>
                  </a:lnTo>
                  <a:lnTo>
                    <a:pt x="245" y="1561"/>
                  </a:lnTo>
                  <a:lnTo>
                    <a:pt x="246" y="1562"/>
                  </a:lnTo>
                  <a:lnTo>
                    <a:pt x="257" y="1565"/>
                  </a:lnTo>
                  <a:lnTo>
                    <a:pt x="273" y="1556"/>
                  </a:lnTo>
                  <a:lnTo>
                    <a:pt x="299" y="1534"/>
                  </a:lnTo>
                  <a:lnTo>
                    <a:pt x="305" y="1530"/>
                  </a:lnTo>
                  <a:lnTo>
                    <a:pt x="309" y="1529"/>
                  </a:lnTo>
                  <a:lnTo>
                    <a:pt x="312" y="1530"/>
                  </a:lnTo>
                  <a:lnTo>
                    <a:pt x="324" y="1534"/>
                  </a:lnTo>
                  <a:lnTo>
                    <a:pt x="331" y="1537"/>
                  </a:lnTo>
                  <a:lnTo>
                    <a:pt x="340" y="1537"/>
                  </a:lnTo>
                  <a:lnTo>
                    <a:pt x="346" y="1536"/>
                  </a:lnTo>
                  <a:lnTo>
                    <a:pt x="351" y="1533"/>
                  </a:lnTo>
                  <a:lnTo>
                    <a:pt x="359" y="1529"/>
                  </a:lnTo>
                  <a:lnTo>
                    <a:pt x="367" y="1526"/>
                  </a:lnTo>
                  <a:lnTo>
                    <a:pt x="372" y="1526"/>
                  </a:lnTo>
                  <a:lnTo>
                    <a:pt x="375" y="1526"/>
                  </a:lnTo>
                  <a:lnTo>
                    <a:pt x="376" y="1527"/>
                  </a:lnTo>
                  <a:lnTo>
                    <a:pt x="378" y="1529"/>
                  </a:lnTo>
                  <a:lnTo>
                    <a:pt x="379" y="1534"/>
                  </a:lnTo>
                  <a:lnTo>
                    <a:pt x="381" y="1537"/>
                  </a:lnTo>
                  <a:lnTo>
                    <a:pt x="382" y="1542"/>
                  </a:lnTo>
                  <a:lnTo>
                    <a:pt x="386" y="1537"/>
                  </a:lnTo>
                  <a:lnTo>
                    <a:pt x="386" y="1530"/>
                  </a:lnTo>
                  <a:lnTo>
                    <a:pt x="386" y="1527"/>
                  </a:lnTo>
                  <a:lnTo>
                    <a:pt x="388" y="1527"/>
                  </a:lnTo>
                  <a:lnTo>
                    <a:pt x="388" y="1526"/>
                  </a:lnTo>
                  <a:lnTo>
                    <a:pt x="388" y="1526"/>
                  </a:lnTo>
                  <a:lnTo>
                    <a:pt x="395" y="1529"/>
                  </a:lnTo>
                  <a:lnTo>
                    <a:pt x="398" y="1529"/>
                  </a:lnTo>
                  <a:lnTo>
                    <a:pt x="399" y="1529"/>
                  </a:lnTo>
                  <a:lnTo>
                    <a:pt x="401" y="1527"/>
                  </a:lnTo>
                  <a:lnTo>
                    <a:pt x="401" y="1526"/>
                  </a:lnTo>
                  <a:lnTo>
                    <a:pt x="401" y="1524"/>
                  </a:lnTo>
                  <a:lnTo>
                    <a:pt x="402" y="1523"/>
                  </a:lnTo>
                  <a:lnTo>
                    <a:pt x="402" y="1520"/>
                  </a:lnTo>
                  <a:lnTo>
                    <a:pt x="401" y="1518"/>
                  </a:lnTo>
                  <a:lnTo>
                    <a:pt x="399" y="1516"/>
                  </a:lnTo>
                  <a:lnTo>
                    <a:pt x="398" y="1510"/>
                  </a:lnTo>
                  <a:lnTo>
                    <a:pt x="398" y="1501"/>
                  </a:lnTo>
                  <a:lnTo>
                    <a:pt x="397" y="1485"/>
                  </a:lnTo>
                  <a:lnTo>
                    <a:pt x="397" y="1484"/>
                  </a:lnTo>
                  <a:lnTo>
                    <a:pt x="397" y="1482"/>
                  </a:lnTo>
                  <a:lnTo>
                    <a:pt x="395" y="1481"/>
                  </a:lnTo>
                  <a:lnTo>
                    <a:pt x="395" y="1481"/>
                  </a:lnTo>
                  <a:lnTo>
                    <a:pt x="392" y="1481"/>
                  </a:lnTo>
                  <a:lnTo>
                    <a:pt x="391" y="1481"/>
                  </a:lnTo>
                  <a:lnTo>
                    <a:pt x="391" y="1479"/>
                  </a:lnTo>
                  <a:lnTo>
                    <a:pt x="389" y="1478"/>
                  </a:lnTo>
                  <a:lnTo>
                    <a:pt x="388" y="1475"/>
                  </a:lnTo>
                  <a:lnTo>
                    <a:pt x="386" y="1473"/>
                  </a:lnTo>
                  <a:lnTo>
                    <a:pt x="383" y="1470"/>
                  </a:lnTo>
                  <a:lnTo>
                    <a:pt x="383" y="1469"/>
                  </a:lnTo>
                  <a:lnTo>
                    <a:pt x="383" y="1467"/>
                  </a:lnTo>
                  <a:lnTo>
                    <a:pt x="386" y="1465"/>
                  </a:lnTo>
                  <a:lnTo>
                    <a:pt x="386" y="1465"/>
                  </a:lnTo>
                  <a:lnTo>
                    <a:pt x="388" y="1463"/>
                  </a:lnTo>
                  <a:lnTo>
                    <a:pt x="388" y="1463"/>
                  </a:lnTo>
                  <a:lnTo>
                    <a:pt x="394" y="1463"/>
                  </a:lnTo>
                  <a:lnTo>
                    <a:pt x="395" y="1463"/>
                  </a:lnTo>
                  <a:lnTo>
                    <a:pt x="397" y="1462"/>
                  </a:lnTo>
                  <a:lnTo>
                    <a:pt x="397" y="1459"/>
                  </a:lnTo>
                  <a:lnTo>
                    <a:pt x="397" y="1459"/>
                  </a:lnTo>
                  <a:lnTo>
                    <a:pt x="398" y="1457"/>
                  </a:lnTo>
                  <a:lnTo>
                    <a:pt x="398" y="1457"/>
                  </a:lnTo>
                  <a:lnTo>
                    <a:pt x="399" y="1457"/>
                  </a:lnTo>
                  <a:lnTo>
                    <a:pt x="401" y="1456"/>
                  </a:lnTo>
                  <a:lnTo>
                    <a:pt x="395" y="1441"/>
                  </a:lnTo>
                  <a:lnTo>
                    <a:pt x="394" y="1437"/>
                  </a:lnTo>
                  <a:lnTo>
                    <a:pt x="392" y="1434"/>
                  </a:lnTo>
                  <a:lnTo>
                    <a:pt x="392" y="1433"/>
                  </a:lnTo>
                  <a:lnTo>
                    <a:pt x="391" y="1433"/>
                  </a:lnTo>
                  <a:lnTo>
                    <a:pt x="391" y="1433"/>
                  </a:lnTo>
                  <a:lnTo>
                    <a:pt x="391" y="1433"/>
                  </a:lnTo>
                  <a:lnTo>
                    <a:pt x="389" y="1433"/>
                  </a:lnTo>
                  <a:lnTo>
                    <a:pt x="389" y="1433"/>
                  </a:lnTo>
                  <a:lnTo>
                    <a:pt x="388" y="1433"/>
                  </a:lnTo>
                  <a:lnTo>
                    <a:pt x="386" y="1433"/>
                  </a:lnTo>
                  <a:lnTo>
                    <a:pt x="386" y="1431"/>
                  </a:lnTo>
                  <a:lnTo>
                    <a:pt x="386" y="1431"/>
                  </a:lnTo>
                  <a:lnTo>
                    <a:pt x="386" y="1430"/>
                  </a:lnTo>
                  <a:lnTo>
                    <a:pt x="388" y="1428"/>
                  </a:lnTo>
                  <a:lnTo>
                    <a:pt x="388" y="1428"/>
                  </a:lnTo>
                  <a:lnTo>
                    <a:pt x="388" y="1428"/>
                  </a:lnTo>
                  <a:lnTo>
                    <a:pt x="389" y="1427"/>
                  </a:lnTo>
                  <a:lnTo>
                    <a:pt x="389" y="1425"/>
                  </a:lnTo>
                  <a:lnTo>
                    <a:pt x="391" y="1424"/>
                  </a:lnTo>
                  <a:lnTo>
                    <a:pt x="391" y="1418"/>
                  </a:lnTo>
                  <a:lnTo>
                    <a:pt x="392" y="1417"/>
                  </a:lnTo>
                  <a:lnTo>
                    <a:pt x="394" y="1414"/>
                  </a:lnTo>
                  <a:lnTo>
                    <a:pt x="394" y="1411"/>
                  </a:lnTo>
                  <a:lnTo>
                    <a:pt x="394" y="1408"/>
                  </a:lnTo>
                  <a:lnTo>
                    <a:pt x="395" y="1395"/>
                  </a:lnTo>
                  <a:lnTo>
                    <a:pt x="394" y="1393"/>
                  </a:lnTo>
                  <a:lnTo>
                    <a:pt x="389" y="1389"/>
                  </a:lnTo>
                  <a:lnTo>
                    <a:pt x="389" y="1387"/>
                  </a:lnTo>
                  <a:lnTo>
                    <a:pt x="386" y="1382"/>
                  </a:lnTo>
                  <a:lnTo>
                    <a:pt x="386" y="1379"/>
                  </a:lnTo>
                  <a:lnTo>
                    <a:pt x="386" y="1377"/>
                  </a:lnTo>
                  <a:lnTo>
                    <a:pt x="386" y="1374"/>
                  </a:lnTo>
                  <a:lnTo>
                    <a:pt x="388" y="1374"/>
                  </a:lnTo>
                  <a:lnTo>
                    <a:pt x="388" y="1373"/>
                  </a:lnTo>
                  <a:lnTo>
                    <a:pt x="391" y="1371"/>
                  </a:lnTo>
                  <a:lnTo>
                    <a:pt x="401" y="1344"/>
                  </a:lnTo>
                  <a:lnTo>
                    <a:pt x="404" y="1332"/>
                  </a:lnTo>
                  <a:lnTo>
                    <a:pt x="405" y="1318"/>
                  </a:lnTo>
                  <a:lnTo>
                    <a:pt x="404" y="1312"/>
                  </a:lnTo>
                  <a:lnTo>
                    <a:pt x="404" y="1306"/>
                  </a:lnTo>
                  <a:lnTo>
                    <a:pt x="394" y="1284"/>
                  </a:lnTo>
                  <a:lnTo>
                    <a:pt x="381" y="1221"/>
                  </a:lnTo>
                  <a:lnTo>
                    <a:pt x="375" y="1202"/>
                  </a:lnTo>
                  <a:lnTo>
                    <a:pt x="373" y="1200"/>
                  </a:lnTo>
                  <a:lnTo>
                    <a:pt x="369" y="1192"/>
                  </a:lnTo>
                  <a:lnTo>
                    <a:pt x="364" y="1184"/>
                  </a:lnTo>
                  <a:lnTo>
                    <a:pt x="357" y="1170"/>
                  </a:lnTo>
                  <a:lnTo>
                    <a:pt x="357" y="1169"/>
                  </a:lnTo>
                  <a:lnTo>
                    <a:pt x="357" y="1169"/>
                  </a:lnTo>
                  <a:lnTo>
                    <a:pt x="356" y="1169"/>
                  </a:lnTo>
                  <a:lnTo>
                    <a:pt x="356" y="1169"/>
                  </a:lnTo>
                  <a:lnTo>
                    <a:pt x="356" y="1169"/>
                  </a:lnTo>
                  <a:lnTo>
                    <a:pt x="354" y="1169"/>
                  </a:lnTo>
                  <a:lnTo>
                    <a:pt x="353" y="1169"/>
                  </a:lnTo>
                  <a:lnTo>
                    <a:pt x="350" y="1163"/>
                  </a:lnTo>
                  <a:lnTo>
                    <a:pt x="369" y="1136"/>
                  </a:lnTo>
                  <a:lnTo>
                    <a:pt x="372" y="1134"/>
                  </a:lnTo>
                  <a:lnTo>
                    <a:pt x="370" y="1131"/>
                  </a:lnTo>
                  <a:lnTo>
                    <a:pt x="370" y="1130"/>
                  </a:lnTo>
                  <a:lnTo>
                    <a:pt x="370" y="1127"/>
                  </a:lnTo>
                  <a:lnTo>
                    <a:pt x="372" y="1122"/>
                  </a:lnTo>
                  <a:lnTo>
                    <a:pt x="373" y="1121"/>
                  </a:lnTo>
                  <a:lnTo>
                    <a:pt x="376" y="1118"/>
                  </a:lnTo>
                  <a:lnTo>
                    <a:pt x="379" y="1117"/>
                  </a:lnTo>
                  <a:lnTo>
                    <a:pt x="379" y="1115"/>
                  </a:lnTo>
                  <a:lnTo>
                    <a:pt x="383" y="1115"/>
                  </a:lnTo>
                  <a:lnTo>
                    <a:pt x="391" y="1114"/>
                  </a:lnTo>
                  <a:lnTo>
                    <a:pt x="391" y="1114"/>
                  </a:lnTo>
                  <a:lnTo>
                    <a:pt x="394" y="1111"/>
                  </a:lnTo>
                  <a:lnTo>
                    <a:pt x="398" y="1108"/>
                  </a:lnTo>
                  <a:lnTo>
                    <a:pt x="399" y="1108"/>
                  </a:lnTo>
                  <a:lnTo>
                    <a:pt x="401" y="1108"/>
                  </a:lnTo>
                  <a:lnTo>
                    <a:pt x="402" y="1108"/>
                  </a:lnTo>
                  <a:lnTo>
                    <a:pt x="402" y="1108"/>
                  </a:lnTo>
                  <a:lnTo>
                    <a:pt x="404" y="1109"/>
                  </a:lnTo>
                  <a:lnTo>
                    <a:pt x="404" y="1109"/>
                  </a:lnTo>
                  <a:lnTo>
                    <a:pt x="404" y="1111"/>
                  </a:lnTo>
                  <a:lnTo>
                    <a:pt x="405" y="1112"/>
                  </a:lnTo>
                  <a:lnTo>
                    <a:pt x="405" y="1115"/>
                  </a:lnTo>
                  <a:lnTo>
                    <a:pt x="405" y="1117"/>
                  </a:lnTo>
                  <a:lnTo>
                    <a:pt x="405" y="1117"/>
                  </a:lnTo>
                  <a:lnTo>
                    <a:pt x="407" y="1118"/>
                  </a:lnTo>
                  <a:lnTo>
                    <a:pt x="407" y="1118"/>
                  </a:lnTo>
                  <a:lnTo>
                    <a:pt x="408" y="1118"/>
                  </a:lnTo>
                  <a:lnTo>
                    <a:pt x="410" y="1120"/>
                  </a:lnTo>
                  <a:lnTo>
                    <a:pt x="443" y="1098"/>
                  </a:lnTo>
                  <a:lnTo>
                    <a:pt x="445" y="1092"/>
                  </a:lnTo>
                  <a:lnTo>
                    <a:pt x="445" y="1092"/>
                  </a:lnTo>
                  <a:lnTo>
                    <a:pt x="445" y="1090"/>
                  </a:lnTo>
                  <a:lnTo>
                    <a:pt x="448" y="1088"/>
                  </a:lnTo>
                  <a:lnTo>
                    <a:pt x="449" y="1088"/>
                  </a:lnTo>
                  <a:lnTo>
                    <a:pt x="449" y="1086"/>
                  </a:lnTo>
                  <a:lnTo>
                    <a:pt x="452" y="1086"/>
                  </a:lnTo>
                  <a:lnTo>
                    <a:pt x="465" y="1085"/>
                  </a:lnTo>
                  <a:lnTo>
                    <a:pt x="466" y="1085"/>
                  </a:lnTo>
                  <a:lnTo>
                    <a:pt x="466" y="1085"/>
                  </a:lnTo>
                  <a:lnTo>
                    <a:pt x="466" y="1083"/>
                  </a:lnTo>
                  <a:lnTo>
                    <a:pt x="465" y="1083"/>
                  </a:lnTo>
                  <a:lnTo>
                    <a:pt x="465" y="1082"/>
                  </a:lnTo>
                  <a:lnTo>
                    <a:pt x="465" y="1082"/>
                  </a:lnTo>
                  <a:lnTo>
                    <a:pt x="465" y="1080"/>
                  </a:lnTo>
                  <a:lnTo>
                    <a:pt x="465" y="1079"/>
                  </a:lnTo>
                  <a:lnTo>
                    <a:pt x="468" y="1069"/>
                  </a:lnTo>
                  <a:lnTo>
                    <a:pt x="469" y="1066"/>
                  </a:lnTo>
                  <a:lnTo>
                    <a:pt x="469" y="1063"/>
                  </a:lnTo>
                  <a:lnTo>
                    <a:pt x="468" y="1060"/>
                  </a:lnTo>
                  <a:lnTo>
                    <a:pt x="468" y="1057"/>
                  </a:lnTo>
                  <a:lnTo>
                    <a:pt x="468" y="1056"/>
                  </a:lnTo>
                  <a:lnTo>
                    <a:pt x="466" y="1053"/>
                  </a:lnTo>
                  <a:lnTo>
                    <a:pt x="465" y="1051"/>
                  </a:lnTo>
                  <a:lnTo>
                    <a:pt x="465" y="1050"/>
                  </a:lnTo>
                  <a:lnTo>
                    <a:pt x="465" y="1048"/>
                  </a:lnTo>
                  <a:lnTo>
                    <a:pt x="464" y="1047"/>
                  </a:lnTo>
                  <a:lnTo>
                    <a:pt x="465" y="1045"/>
                  </a:lnTo>
                  <a:lnTo>
                    <a:pt x="465" y="1044"/>
                  </a:lnTo>
                  <a:lnTo>
                    <a:pt x="466" y="1044"/>
                  </a:lnTo>
                  <a:lnTo>
                    <a:pt x="469" y="1042"/>
                  </a:lnTo>
                  <a:lnTo>
                    <a:pt x="471" y="1041"/>
                  </a:lnTo>
                  <a:lnTo>
                    <a:pt x="472" y="1039"/>
                  </a:lnTo>
                  <a:lnTo>
                    <a:pt x="472" y="1038"/>
                  </a:lnTo>
                  <a:lnTo>
                    <a:pt x="472" y="1037"/>
                  </a:lnTo>
                  <a:lnTo>
                    <a:pt x="471" y="1035"/>
                  </a:lnTo>
                  <a:lnTo>
                    <a:pt x="471" y="1035"/>
                  </a:lnTo>
                  <a:lnTo>
                    <a:pt x="468" y="1034"/>
                  </a:lnTo>
                  <a:lnTo>
                    <a:pt x="465" y="1032"/>
                  </a:lnTo>
                  <a:lnTo>
                    <a:pt x="464" y="1029"/>
                  </a:lnTo>
                  <a:lnTo>
                    <a:pt x="462" y="1028"/>
                  </a:lnTo>
                  <a:lnTo>
                    <a:pt x="461" y="1026"/>
                  </a:lnTo>
                  <a:lnTo>
                    <a:pt x="458" y="1026"/>
                  </a:lnTo>
                  <a:lnTo>
                    <a:pt x="456" y="1025"/>
                  </a:lnTo>
                  <a:lnTo>
                    <a:pt x="456" y="1025"/>
                  </a:lnTo>
                  <a:lnTo>
                    <a:pt x="455" y="1023"/>
                  </a:lnTo>
                  <a:lnTo>
                    <a:pt x="455" y="1021"/>
                  </a:lnTo>
                  <a:lnTo>
                    <a:pt x="455" y="1021"/>
                  </a:lnTo>
                  <a:lnTo>
                    <a:pt x="453" y="1019"/>
                  </a:lnTo>
                  <a:lnTo>
                    <a:pt x="452" y="1018"/>
                  </a:lnTo>
                  <a:lnTo>
                    <a:pt x="450" y="1016"/>
                  </a:lnTo>
                  <a:lnTo>
                    <a:pt x="450" y="1012"/>
                  </a:lnTo>
                  <a:lnTo>
                    <a:pt x="450" y="1006"/>
                  </a:lnTo>
                  <a:lnTo>
                    <a:pt x="450" y="1005"/>
                  </a:lnTo>
                  <a:lnTo>
                    <a:pt x="450" y="1005"/>
                  </a:lnTo>
                  <a:lnTo>
                    <a:pt x="455" y="1002"/>
                  </a:lnTo>
                  <a:lnTo>
                    <a:pt x="456" y="996"/>
                  </a:lnTo>
                  <a:lnTo>
                    <a:pt x="458" y="994"/>
                  </a:lnTo>
                  <a:lnTo>
                    <a:pt x="459" y="994"/>
                  </a:lnTo>
                  <a:lnTo>
                    <a:pt x="461" y="996"/>
                  </a:lnTo>
                  <a:lnTo>
                    <a:pt x="465" y="1000"/>
                  </a:lnTo>
                  <a:lnTo>
                    <a:pt x="466" y="1002"/>
                  </a:lnTo>
                  <a:lnTo>
                    <a:pt x="468" y="1002"/>
                  </a:lnTo>
                  <a:lnTo>
                    <a:pt x="469" y="1002"/>
                  </a:lnTo>
                  <a:lnTo>
                    <a:pt x="477" y="1002"/>
                  </a:lnTo>
                  <a:lnTo>
                    <a:pt x="478" y="1002"/>
                  </a:lnTo>
                  <a:lnTo>
                    <a:pt x="480" y="1003"/>
                  </a:lnTo>
                  <a:lnTo>
                    <a:pt x="481" y="1010"/>
                  </a:lnTo>
                  <a:lnTo>
                    <a:pt x="484" y="1013"/>
                  </a:lnTo>
                  <a:lnTo>
                    <a:pt x="485" y="1015"/>
                  </a:lnTo>
                  <a:lnTo>
                    <a:pt x="485" y="1015"/>
                  </a:lnTo>
                  <a:lnTo>
                    <a:pt x="487" y="1015"/>
                  </a:lnTo>
                  <a:lnTo>
                    <a:pt x="488" y="1013"/>
                  </a:lnTo>
                  <a:lnTo>
                    <a:pt x="503" y="996"/>
                  </a:lnTo>
                  <a:lnTo>
                    <a:pt x="506" y="994"/>
                  </a:lnTo>
                  <a:lnTo>
                    <a:pt x="507" y="994"/>
                  </a:lnTo>
                  <a:lnTo>
                    <a:pt x="509" y="994"/>
                  </a:lnTo>
                  <a:lnTo>
                    <a:pt x="510" y="994"/>
                  </a:lnTo>
                  <a:lnTo>
                    <a:pt x="510" y="997"/>
                  </a:lnTo>
                  <a:lnTo>
                    <a:pt x="510" y="997"/>
                  </a:lnTo>
                  <a:lnTo>
                    <a:pt x="510" y="999"/>
                  </a:lnTo>
                  <a:lnTo>
                    <a:pt x="509" y="999"/>
                  </a:lnTo>
                  <a:lnTo>
                    <a:pt x="507" y="1000"/>
                  </a:lnTo>
                  <a:lnTo>
                    <a:pt x="509" y="1002"/>
                  </a:lnTo>
                  <a:lnTo>
                    <a:pt x="509" y="1003"/>
                  </a:lnTo>
                  <a:lnTo>
                    <a:pt x="507" y="1006"/>
                  </a:lnTo>
                  <a:lnTo>
                    <a:pt x="506" y="1007"/>
                  </a:lnTo>
                  <a:lnTo>
                    <a:pt x="506" y="1007"/>
                  </a:lnTo>
                  <a:lnTo>
                    <a:pt x="506" y="1009"/>
                  </a:lnTo>
                  <a:lnTo>
                    <a:pt x="506" y="1010"/>
                  </a:lnTo>
                  <a:lnTo>
                    <a:pt x="507" y="1012"/>
                  </a:lnTo>
                  <a:lnTo>
                    <a:pt x="507" y="1013"/>
                  </a:lnTo>
                  <a:lnTo>
                    <a:pt x="507" y="1013"/>
                  </a:lnTo>
                  <a:lnTo>
                    <a:pt x="509" y="1013"/>
                  </a:lnTo>
                  <a:lnTo>
                    <a:pt x="513" y="1010"/>
                  </a:lnTo>
                  <a:lnTo>
                    <a:pt x="528" y="997"/>
                  </a:lnTo>
                  <a:lnTo>
                    <a:pt x="522" y="986"/>
                  </a:lnTo>
                  <a:lnTo>
                    <a:pt x="520" y="981"/>
                  </a:lnTo>
                  <a:lnTo>
                    <a:pt x="520" y="978"/>
                  </a:lnTo>
                  <a:lnTo>
                    <a:pt x="519" y="978"/>
                  </a:lnTo>
                  <a:lnTo>
                    <a:pt x="519" y="977"/>
                  </a:lnTo>
                  <a:lnTo>
                    <a:pt x="516" y="978"/>
                  </a:lnTo>
                  <a:lnTo>
                    <a:pt x="509" y="974"/>
                  </a:lnTo>
                  <a:lnTo>
                    <a:pt x="507" y="971"/>
                  </a:lnTo>
                  <a:lnTo>
                    <a:pt x="507" y="971"/>
                  </a:lnTo>
                  <a:lnTo>
                    <a:pt x="506" y="970"/>
                  </a:lnTo>
                  <a:lnTo>
                    <a:pt x="506" y="967"/>
                  </a:lnTo>
                  <a:lnTo>
                    <a:pt x="506" y="964"/>
                  </a:lnTo>
                  <a:lnTo>
                    <a:pt x="506" y="964"/>
                  </a:lnTo>
                  <a:lnTo>
                    <a:pt x="506" y="962"/>
                  </a:lnTo>
                  <a:lnTo>
                    <a:pt x="507" y="961"/>
                  </a:lnTo>
                  <a:lnTo>
                    <a:pt x="507" y="959"/>
                  </a:lnTo>
                  <a:lnTo>
                    <a:pt x="507" y="959"/>
                  </a:lnTo>
                  <a:lnTo>
                    <a:pt x="509" y="958"/>
                  </a:lnTo>
                  <a:lnTo>
                    <a:pt x="509" y="956"/>
                  </a:lnTo>
                  <a:lnTo>
                    <a:pt x="509" y="954"/>
                  </a:lnTo>
                  <a:lnTo>
                    <a:pt x="509" y="948"/>
                  </a:lnTo>
                  <a:lnTo>
                    <a:pt x="509" y="943"/>
                  </a:lnTo>
                  <a:lnTo>
                    <a:pt x="509" y="942"/>
                  </a:lnTo>
                  <a:lnTo>
                    <a:pt x="510" y="940"/>
                  </a:lnTo>
                  <a:lnTo>
                    <a:pt x="513" y="939"/>
                  </a:lnTo>
                  <a:lnTo>
                    <a:pt x="513" y="938"/>
                  </a:lnTo>
                  <a:lnTo>
                    <a:pt x="515" y="936"/>
                  </a:lnTo>
                  <a:lnTo>
                    <a:pt x="515" y="935"/>
                  </a:lnTo>
                  <a:lnTo>
                    <a:pt x="516" y="930"/>
                  </a:lnTo>
                  <a:lnTo>
                    <a:pt x="516" y="927"/>
                  </a:lnTo>
                  <a:lnTo>
                    <a:pt x="516" y="926"/>
                  </a:lnTo>
                  <a:lnTo>
                    <a:pt x="515" y="926"/>
                  </a:lnTo>
                  <a:lnTo>
                    <a:pt x="515" y="924"/>
                  </a:lnTo>
                  <a:lnTo>
                    <a:pt x="512" y="920"/>
                  </a:lnTo>
                  <a:lnTo>
                    <a:pt x="512" y="919"/>
                  </a:lnTo>
                  <a:lnTo>
                    <a:pt x="512" y="917"/>
                  </a:lnTo>
                  <a:lnTo>
                    <a:pt x="512" y="917"/>
                  </a:lnTo>
                  <a:lnTo>
                    <a:pt x="513" y="914"/>
                  </a:lnTo>
                  <a:lnTo>
                    <a:pt x="513" y="913"/>
                  </a:lnTo>
                  <a:lnTo>
                    <a:pt x="513" y="911"/>
                  </a:lnTo>
                  <a:lnTo>
                    <a:pt x="515" y="898"/>
                  </a:lnTo>
                  <a:lnTo>
                    <a:pt x="515" y="894"/>
                  </a:lnTo>
                  <a:lnTo>
                    <a:pt x="515" y="892"/>
                  </a:lnTo>
                  <a:lnTo>
                    <a:pt x="513" y="891"/>
                  </a:lnTo>
                  <a:lnTo>
                    <a:pt x="512" y="888"/>
                  </a:lnTo>
                  <a:lnTo>
                    <a:pt x="510" y="888"/>
                  </a:lnTo>
                  <a:lnTo>
                    <a:pt x="512" y="887"/>
                  </a:lnTo>
                  <a:lnTo>
                    <a:pt x="512" y="887"/>
                  </a:lnTo>
                  <a:lnTo>
                    <a:pt x="516" y="885"/>
                  </a:lnTo>
                  <a:lnTo>
                    <a:pt x="517" y="885"/>
                  </a:lnTo>
                  <a:lnTo>
                    <a:pt x="519" y="884"/>
                  </a:lnTo>
                  <a:lnTo>
                    <a:pt x="519" y="882"/>
                  </a:lnTo>
                  <a:lnTo>
                    <a:pt x="519" y="881"/>
                  </a:lnTo>
                  <a:lnTo>
                    <a:pt x="517" y="875"/>
                  </a:lnTo>
                  <a:lnTo>
                    <a:pt x="516" y="872"/>
                  </a:lnTo>
                  <a:lnTo>
                    <a:pt x="516" y="871"/>
                  </a:lnTo>
                  <a:lnTo>
                    <a:pt x="515" y="869"/>
                  </a:lnTo>
                  <a:lnTo>
                    <a:pt x="515" y="868"/>
                  </a:lnTo>
                  <a:lnTo>
                    <a:pt x="512" y="866"/>
                  </a:lnTo>
                  <a:lnTo>
                    <a:pt x="512" y="865"/>
                  </a:lnTo>
                  <a:lnTo>
                    <a:pt x="510" y="860"/>
                  </a:lnTo>
                  <a:lnTo>
                    <a:pt x="509" y="860"/>
                  </a:lnTo>
                  <a:lnTo>
                    <a:pt x="509" y="859"/>
                  </a:lnTo>
                  <a:lnTo>
                    <a:pt x="509" y="859"/>
                  </a:lnTo>
                  <a:lnTo>
                    <a:pt x="507" y="857"/>
                  </a:lnTo>
                  <a:lnTo>
                    <a:pt x="503" y="853"/>
                  </a:lnTo>
                  <a:lnTo>
                    <a:pt x="500" y="847"/>
                  </a:lnTo>
                  <a:lnTo>
                    <a:pt x="485" y="836"/>
                  </a:lnTo>
                  <a:lnTo>
                    <a:pt x="484" y="833"/>
                  </a:lnTo>
                  <a:lnTo>
                    <a:pt x="482" y="827"/>
                  </a:lnTo>
                  <a:lnTo>
                    <a:pt x="481" y="824"/>
                  </a:lnTo>
                  <a:lnTo>
                    <a:pt x="480" y="823"/>
                  </a:lnTo>
                  <a:lnTo>
                    <a:pt x="480" y="821"/>
                  </a:lnTo>
                  <a:lnTo>
                    <a:pt x="475" y="821"/>
                  </a:lnTo>
                  <a:lnTo>
                    <a:pt x="474" y="821"/>
                  </a:lnTo>
                  <a:lnTo>
                    <a:pt x="474" y="821"/>
                  </a:lnTo>
                  <a:lnTo>
                    <a:pt x="468" y="817"/>
                  </a:lnTo>
                  <a:lnTo>
                    <a:pt x="466" y="817"/>
                  </a:lnTo>
                  <a:lnTo>
                    <a:pt x="465" y="817"/>
                  </a:lnTo>
                  <a:lnTo>
                    <a:pt x="462" y="817"/>
                  </a:lnTo>
                  <a:lnTo>
                    <a:pt x="461" y="817"/>
                  </a:lnTo>
                  <a:lnTo>
                    <a:pt x="455" y="814"/>
                  </a:lnTo>
                  <a:lnTo>
                    <a:pt x="452" y="812"/>
                  </a:lnTo>
                  <a:lnTo>
                    <a:pt x="452" y="812"/>
                  </a:lnTo>
                  <a:lnTo>
                    <a:pt x="452" y="811"/>
                  </a:lnTo>
                  <a:lnTo>
                    <a:pt x="452" y="811"/>
                  </a:lnTo>
                  <a:lnTo>
                    <a:pt x="452" y="809"/>
                  </a:lnTo>
                  <a:lnTo>
                    <a:pt x="452" y="808"/>
                  </a:lnTo>
                  <a:lnTo>
                    <a:pt x="453" y="807"/>
                  </a:lnTo>
                  <a:lnTo>
                    <a:pt x="453" y="804"/>
                  </a:lnTo>
                  <a:lnTo>
                    <a:pt x="448" y="799"/>
                  </a:lnTo>
                  <a:lnTo>
                    <a:pt x="446" y="796"/>
                  </a:lnTo>
                  <a:lnTo>
                    <a:pt x="446" y="796"/>
                  </a:lnTo>
                  <a:lnTo>
                    <a:pt x="446" y="795"/>
                  </a:lnTo>
                  <a:lnTo>
                    <a:pt x="448" y="793"/>
                  </a:lnTo>
                  <a:lnTo>
                    <a:pt x="448" y="792"/>
                  </a:lnTo>
                  <a:lnTo>
                    <a:pt x="448" y="791"/>
                  </a:lnTo>
                  <a:lnTo>
                    <a:pt x="446" y="791"/>
                  </a:lnTo>
                  <a:lnTo>
                    <a:pt x="445" y="789"/>
                  </a:lnTo>
                  <a:lnTo>
                    <a:pt x="442" y="789"/>
                  </a:lnTo>
                  <a:lnTo>
                    <a:pt x="437" y="786"/>
                  </a:lnTo>
                  <a:lnTo>
                    <a:pt x="436" y="785"/>
                  </a:lnTo>
                  <a:lnTo>
                    <a:pt x="436" y="785"/>
                  </a:lnTo>
                  <a:lnTo>
                    <a:pt x="436" y="783"/>
                  </a:lnTo>
                  <a:lnTo>
                    <a:pt x="437" y="783"/>
                  </a:lnTo>
                  <a:lnTo>
                    <a:pt x="437" y="782"/>
                  </a:lnTo>
                  <a:lnTo>
                    <a:pt x="439" y="782"/>
                  </a:lnTo>
                  <a:lnTo>
                    <a:pt x="440" y="783"/>
                  </a:lnTo>
                  <a:lnTo>
                    <a:pt x="442" y="783"/>
                  </a:lnTo>
                  <a:lnTo>
                    <a:pt x="442" y="782"/>
                  </a:lnTo>
                  <a:lnTo>
                    <a:pt x="443" y="782"/>
                  </a:lnTo>
                  <a:lnTo>
                    <a:pt x="443" y="782"/>
                  </a:lnTo>
                  <a:lnTo>
                    <a:pt x="445" y="780"/>
                  </a:lnTo>
                  <a:lnTo>
                    <a:pt x="445" y="780"/>
                  </a:lnTo>
                  <a:lnTo>
                    <a:pt x="445" y="777"/>
                  </a:lnTo>
                  <a:lnTo>
                    <a:pt x="446" y="777"/>
                  </a:lnTo>
                  <a:lnTo>
                    <a:pt x="446" y="776"/>
                  </a:lnTo>
                  <a:lnTo>
                    <a:pt x="446" y="776"/>
                  </a:lnTo>
                  <a:lnTo>
                    <a:pt x="448" y="775"/>
                  </a:lnTo>
                  <a:lnTo>
                    <a:pt x="448" y="772"/>
                  </a:lnTo>
                  <a:lnTo>
                    <a:pt x="449" y="766"/>
                  </a:lnTo>
                  <a:lnTo>
                    <a:pt x="448" y="763"/>
                  </a:lnTo>
                  <a:lnTo>
                    <a:pt x="448" y="760"/>
                  </a:lnTo>
                  <a:lnTo>
                    <a:pt x="448" y="760"/>
                  </a:lnTo>
                  <a:lnTo>
                    <a:pt x="442" y="754"/>
                  </a:lnTo>
                  <a:lnTo>
                    <a:pt x="440" y="754"/>
                  </a:lnTo>
                  <a:lnTo>
                    <a:pt x="440" y="754"/>
                  </a:lnTo>
                  <a:lnTo>
                    <a:pt x="439" y="754"/>
                  </a:lnTo>
                  <a:lnTo>
                    <a:pt x="439" y="754"/>
                  </a:lnTo>
                  <a:lnTo>
                    <a:pt x="437" y="754"/>
                  </a:lnTo>
                  <a:lnTo>
                    <a:pt x="434" y="757"/>
                  </a:lnTo>
                  <a:lnTo>
                    <a:pt x="433" y="757"/>
                  </a:lnTo>
                  <a:lnTo>
                    <a:pt x="432" y="757"/>
                  </a:lnTo>
                  <a:lnTo>
                    <a:pt x="427" y="751"/>
                  </a:lnTo>
                  <a:lnTo>
                    <a:pt x="420" y="742"/>
                  </a:lnTo>
                  <a:lnTo>
                    <a:pt x="418" y="740"/>
                  </a:lnTo>
                  <a:lnTo>
                    <a:pt x="417" y="740"/>
                  </a:lnTo>
                  <a:lnTo>
                    <a:pt x="411" y="735"/>
                  </a:lnTo>
                  <a:lnTo>
                    <a:pt x="408" y="732"/>
                  </a:lnTo>
                  <a:lnTo>
                    <a:pt x="407" y="731"/>
                  </a:lnTo>
                  <a:lnTo>
                    <a:pt x="407" y="729"/>
                  </a:lnTo>
                  <a:lnTo>
                    <a:pt x="408" y="729"/>
                  </a:lnTo>
                  <a:lnTo>
                    <a:pt x="408" y="729"/>
                  </a:lnTo>
                  <a:lnTo>
                    <a:pt x="410" y="729"/>
                  </a:lnTo>
                  <a:lnTo>
                    <a:pt x="411" y="728"/>
                  </a:lnTo>
                  <a:lnTo>
                    <a:pt x="411" y="728"/>
                  </a:lnTo>
                  <a:lnTo>
                    <a:pt x="413" y="726"/>
                  </a:lnTo>
                  <a:lnTo>
                    <a:pt x="411" y="725"/>
                  </a:lnTo>
                  <a:lnTo>
                    <a:pt x="411" y="724"/>
                  </a:lnTo>
                  <a:lnTo>
                    <a:pt x="408" y="721"/>
                  </a:lnTo>
                  <a:lnTo>
                    <a:pt x="407" y="719"/>
                  </a:lnTo>
                  <a:lnTo>
                    <a:pt x="407" y="718"/>
                  </a:lnTo>
                  <a:lnTo>
                    <a:pt x="407" y="715"/>
                  </a:lnTo>
                  <a:lnTo>
                    <a:pt x="407" y="713"/>
                  </a:lnTo>
                  <a:lnTo>
                    <a:pt x="407" y="709"/>
                  </a:lnTo>
                  <a:lnTo>
                    <a:pt x="407" y="706"/>
                  </a:lnTo>
                  <a:lnTo>
                    <a:pt x="407" y="706"/>
                  </a:lnTo>
                  <a:lnTo>
                    <a:pt x="401" y="700"/>
                  </a:lnTo>
                  <a:lnTo>
                    <a:pt x="401" y="699"/>
                  </a:lnTo>
                  <a:lnTo>
                    <a:pt x="399" y="697"/>
                  </a:lnTo>
                  <a:lnTo>
                    <a:pt x="401" y="696"/>
                  </a:lnTo>
                  <a:lnTo>
                    <a:pt x="401" y="694"/>
                  </a:lnTo>
                  <a:lnTo>
                    <a:pt x="401" y="694"/>
                  </a:lnTo>
                  <a:lnTo>
                    <a:pt x="402" y="694"/>
                  </a:lnTo>
                  <a:lnTo>
                    <a:pt x="404" y="696"/>
                  </a:lnTo>
                  <a:lnTo>
                    <a:pt x="405" y="696"/>
                  </a:lnTo>
                  <a:lnTo>
                    <a:pt x="408" y="697"/>
                  </a:lnTo>
                  <a:lnTo>
                    <a:pt x="410" y="697"/>
                  </a:lnTo>
                  <a:lnTo>
                    <a:pt x="411" y="697"/>
                  </a:lnTo>
                  <a:lnTo>
                    <a:pt x="411" y="696"/>
                  </a:lnTo>
                  <a:lnTo>
                    <a:pt x="411" y="693"/>
                  </a:lnTo>
                  <a:lnTo>
                    <a:pt x="411" y="690"/>
                  </a:lnTo>
                  <a:lnTo>
                    <a:pt x="408" y="684"/>
                  </a:lnTo>
                  <a:lnTo>
                    <a:pt x="407" y="681"/>
                  </a:lnTo>
                  <a:lnTo>
                    <a:pt x="407" y="680"/>
                  </a:lnTo>
                  <a:lnTo>
                    <a:pt x="410" y="673"/>
                  </a:lnTo>
                  <a:lnTo>
                    <a:pt x="410" y="671"/>
                  </a:lnTo>
                  <a:lnTo>
                    <a:pt x="410" y="670"/>
                  </a:lnTo>
                  <a:lnTo>
                    <a:pt x="408" y="670"/>
                  </a:lnTo>
                  <a:lnTo>
                    <a:pt x="408" y="668"/>
                  </a:lnTo>
                  <a:lnTo>
                    <a:pt x="407" y="668"/>
                  </a:lnTo>
                  <a:lnTo>
                    <a:pt x="405" y="668"/>
                  </a:lnTo>
                  <a:lnTo>
                    <a:pt x="404" y="667"/>
                  </a:lnTo>
                  <a:lnTo>
                    <a:pt x="402" y="665"/>
                  </a:lnTo>
                  <a:lnTo>
                    <a:pt x="398" y="661"/>
                  </a:lnTo>
                  <a:lnTo>
                    <a:pt x="398" y="658"/>
                  </a:lnTo>
                  <a:lnTo>
                    <a:pt x="398" y="654"/>
                  </a:lnTo>
                  <a:lnTo>
                    <a:pt x="398" y="652"/>
                  </a:lnTo>
                  <a:lnTo>
                    <a:pt x="398" y="642"/>
                  </a:lnTo>
                  <a:lnTo>
                    <a:pt x="405" y="635"/>
                  </a:lnTo>
                  <a:lnTo>
                    <a:pt x="407" y="635"/>
                  </a:lnTo>
                  <a:lnTo>
                    <a:pt x="408" y="635"/>
                  </a:lnTo>
                  <a:lnTo>
                    <a:pt x="411" y="636"/>
                  </a:lnTo>
                  <a:lnTo>
                    <a:pt x="413" y="636"/>
                  </a:lnTo>
                  <a:lnTo>
                    <a:pt x="415" y="638"/>
                  </a:lnTo>
                  <a:lnTo>
                    <a:pt x="415" y="636"/>
                  </a:lnTo>
                  <a:lnTo>
                    <a:pt x="415" y="635"/>
                  </a:lnTo>
                  <a:lnTo>
                    <a:pt x="405" y="610"/>
                  </a:lnTo>
                  <a:lnTo>
                    <a:pt x="405" y="609"/>
                  </a:lnTo>
                  <a:lnTo>
                    <a:pt x="404" y="609"/>
                  </a:lnTo>
                  <a:lnTo>
                    <a:pt x="402" y="607"/>
                  </a:lnTo>
                  <a:lnTo>
                    <a:pt x="397" y="606"/>
                  </a:lnTo>
                  <a:lnTo>
                    <a:pt x="395" y="604"/>
                  </a:lnTo>
                  <a:lnTo>
                    <a:pt x="395" y="603"/>
                  </a:lnTo>
                  <a:lnTo>
                    <a:pt x="397" y="601"/>
                  </a:lnTo>
                  <a:lnTo>
                    <a:pt x="398" y="600"/>
                  </a:lnTo>
                  <a:lnTo>
                    <a:pt x="399" y="597"/>
                  </a:lnTo>
                  <a:lnTo>
                    <a:pt x="402" y="588"/>
                  </a:lnTo>
                  <a:lnTo>
                    <a:pt x="398" y="579"/>
                  </a:lnTo>
                  <a:lnTo>
                    <a:pt x="398" y="578"/>
                  </a:lnTo>
                  <a:lnTo>
                    <a:pt x="398" y="576"/>
                  </a:lnTo>
                  <a:lnTo>
                    <a:pt x="399" y="574"/>
                  </a:lnTo>
                  <a:lnTo>
                    <a:pt x="401" y="571"/>
                  </a:lnTo>
                  <a:lnTo>
                    <a:pt x="401" y="569"/>
                  </a:lnTo>
                  <a:lnTo>
                    <a:pt x="401" y="568"/>
                  </a:lnTo>
                  <a:lnTo>
                    <a:pt x="399" y="566"/>
                  </a:lnTo>
                  <a:lnTo>
                    <a:pt x="398" y="565"/>
                  </a:lnTo>
                  <a:lnTo>
                    <a:pt x="397" y="565"/>
                  </a:lnTo>
                  <a:lnTo>
                    <a:pt x="397" y="565"/>
                  </a:lnTo>
                  <a:lnTo>
                    <a:pt x="395" y="565"/>
                  </a:lnTo>
                  <a:lnTo>
                    <a:pt x="394" y="565"/>
                  </a:lnTo>
                  <a:lnTo>
                    <a:pt x="392" y="565"/>
                  </a:lnTo>
                  <a:lnTo>
                    <a:pt x="391" y="563"/>
                  </a:lnTo>
                  <a:lnTo>
                    <a:pt x="389" y="562"/>
                  </a:lnTo>
                  <a:lnTo>
                    <a:pt x="389" y="560"/>
                  </a:lnTo>
                  <a:lnTo>
                    <a:pt x="389" y="559"/>
                  </a:lnTo>
                  <a:lnTo>
                    <a:pt x="391" y="559"/>
                  </a:lnTo>
                  <a:lnTo>
                    <a:pt x="391" y="558"/>
                  </a:lnTo>
                  <a:lnTo>
                    <a:pt x="392" y="555"/>
                  </a:lnTo>
                  <a:lnTo>
                    <a:pt x="392" y="555"/>
                  </a:lnTo>
                  <a:lnTo>
                    <a:pt x="391" y="553"/>
                  </a:lnTo>
                  <a:lnTo>
                    <a:pt x="389" y="552"/>
                  </a:lnTo>
                  <a:lnTo>
                    <a:pt x="388" y="550"/>
                  </a:lnTo>
                  <a:lnTo>
                    <a:pt x="386" y="550"/>
                  </a:lnTo>
                  <a:lnTo>
                    <a:pt x="378" y="556"/>
                  </a:lnTo>
                  <a:lnTo>
                    <a:pt x="376" y="559"/>
                  </a:lnTo>
                  <a:lnTo>
                    <a:pt x="376" y="559"/>
                  </a:lnTo>
                  <a:lnTo>
                    <a:pt x="376" y="559"/>
                  </a:lnTo>
                  <a:lnTo>
                    <a:pt x="378" y="560"/>
                  </a:lnTo>
                  <a:lnTo>
                    <a:pt x="378" y="560"/>
                  </a:lnTo>
                  <a:lnTo>
                    <a:pt x="378" y="562"/>
                  </a:lnTo>
                  <a:lnTo>
                    <a:pt x="379" y="563"/>
                  </a:lnTo>
                  <a:lnTo>
                    <a:pt x="379" y="563"/>
                  </a:lnTo>
                  <a:lnTo>
                    <a:pt x="379" y="566"/>
                  </a:lnTo>
                  <a:lnTo>
                    <a:pt x="379" y="568"/>
                  </a:lnTo>
                  <a:lnTo>
                    <a:pt x="369" y="579"/>
                  </a:lnTo>
                  <a:lnTo>
                    <a:pt x="366" y="582"/>
                  </a:lnTo>
                  <a:lnTo>
                    <a:pt x="363" y="584"/>
                  </a:lnTo>
                  <a:lnTo>
                    <a:pt x="338" y="584"/>
                  </a:lnTo>
                  <a:lnTo>
                    <a:pt x="335" y="584"/>
                  </a:lnTo>
                  <a:lnTo>
                    <a:pt x="334" y="582"/>
                  </a:lnTo>
                  <a:lnTo>
                    <a:pt x="334" y="582"/>
                  </a:lnTo>
                  <a:lnTo>
                    <a:pt x="334" y="581"/>
                  </a:lnTo>
                  <a:lnTo>
                    <a:pt x="334" y="581"/>
                  </a:lnTo>
                  <a:lnTo>
                    <a:pt x="332" y="569"/>
                  </a:lnTo>
                  <a:lnTo>
                    <a:pt x="332" y="568"/>
                  </a:lnTo>
                  <a:lnTo>
                    <a:pt x="332" y="566"/>
                  </a:lnTo>
                  <a:lnTo>
                    <a:pt x="332" y="563"/>
                  </a:lnTo>
                  <a:lnTo>
                    <a:pt x="334" y="560"/>
                  </a:lnTo>
                  <a:lnTo>
                    <a:pt x="334" y="558"/>
                  </a:lnTo>
                  <a:lnTo>
                    <a:pt x="332" y="553"/>
                  </a:lnTo>
                  <a:lnTo>
                    <a:pt x="331" y="546"/>
                  </a:lnTo>
                  <a:lnTo>
                    <a:pt x="331" y="546"/>
                  </a:lnTo>
                  <a:lnTo>
                    <a:pt x="331" y="544"/>
                  </a:lnTo>
                  <a:lnTo>
                    <a:pt x="325" y="540"/>
                  </a:lnTo>
                  <a:lnTo>
                    <a:pt x="325" y="540"/>
                  </a:lnTo>
                  <a:lnTo>
                    <a:pt x="325" y="540"/>
                  </a:lnTo>
                  <a:lnTo>
                    <a:pt x="327" y="539"/>
                  </a:lnTo>
                  <a:lnTo>
                    <a:pt x="327" y="537"/>
                  </a:lnTo>
                  <a:lnTo>
                    <a:pt x="328" y="536"/>
                  </a:lnTo>
                  <a:lnTo>
                    <a:pt x="328" y="534"/>
                  </a:lnTo>
                  <a:lnTo>
                    <a:pt x="328" y="534"/>
                  </a:lnTo>
                  <a:lnTo>
                    <a:pt x="327" y="533"/>
                  </a:lnTo>
                  <a:lnTo>
                    <a:pt x="325" y="531"/>
                  </a:lnTo>
                  <a:lnTo>
                    <a:pt x="325" y="531"/>
                  </a:lnTo>
                  <a:lnTo>
                    <a:pt x="324" y="531"/>
                  </a:lnTo>
                  <a:lnTo>
                    <a:pt x="322" y="531"/>
                  </a:lnTo>
                  <a:lnTo>
                    <a:pt x="321" y="533"/>
                  </a:lnTo>
                  <a:lnTo>
                    <a:pt x="319" y="536"/>
                  </a:lnTo>
                  <a:lnTo>
                    <a:pt x="318" y="537"/>
                  </a:lnTo>
                  <a:lnTo>
                    <a:pt x="318" y="539"/>
                  </a:lnTo>
                  <a:lnTo>
                    <a:pt x="316" y="539"/>
                  </a:lnTo>
                  <a:lnTo>
                    <a:pt x="315" y="539"/>
                  </a:lnTo>
                  <a:lnTo>
                    <a:pt x="314" y="540"/>
                  </a:lnTo>
                  <a:lnTo>
                    <a:pt x="312" y="540"/>
                  </a:lnTo>
                  <a:lnTo>
                    <a:pt x="312" y="542"/>
                  </a:lnTo>
                  <a:lnTo>
                    <a:pt x="311" y="546"/>
                  </a:lnTo>
                  <a:lnTo>
                    <a:pt x="311" y="547"/>
                  </a:lnTo>
                  <a:lnTo>
                    <a:pt x="309" y="549"/>
                  </a:lnTo>
                  <a:lnTo>
                    <a:pt x="306" y="550"/>
                  </a:lnTo>
                  <a:lnTo>
                    <a:pt x="303" y="550"/>
                  </a:lnTo>
                  <a:lnTo>
                    <a:pt x="300" y="549"/>
                  </a:lnTo>
                  <a:lnTo>
                    <a:pt x="300" y="547"/>
                  </a:lnTo>
                  <a:lnTo>
                    <a:pt x="300" y="546"/>
                  </a:lnTo>
                  <a:lnTo>
                    <a:pt x="302" y="544"/>
                  </a:lnTo>
                  <a:lnTo>
                    <a:pt x="306" y="539"/>
                  </a:lnTo>
                  <a:lnTo>
                    <a:pt x="306" y="539"/>
                  </a:lnTo>
                  <a:lnTo>
                    <a:pt x="308" y="537"/>
                  </a:lnTo>
                  <a:lnTo>
                    <a:pt x="308" y="536"/>
                  </a:lnTo>
                  <a:lnTo>
                    <a:pt x="308" y="534"/>
                  </a:lnTo>
                  <a:lnTo>
                    <a:pt x="308" y="531"/>
                  </a:lnTo>
                  <a:lnTo>
                    <a:pt x="308" y="530"/>
                  </a:lnTo>
                  <a:lnTo>
                    <a:pt x="308" y="528"/>
                  </a:lnTo>
                  <a:lnTo>
                    <a:pt x="308" y="526"/>
                  </a:lnTo>
                  <a:lnTo>
                    <a:pt x="311" y="521"/>
                  </a:lnTo>
                  <a:lnTo>
                    <a:pt x="314" y="518"/>
                  </a:lnTo>
                  <a:lnTo>
                    <a:pt x="315" y="518"/>
                  </a:lnTo>
                  <a:lnTo>
                    <a:pt x="315" y="517"/>
                  </a:lnTo>
                  <a:lnTo>
                    <a:pt x="315" y="515"/>
                  </a:lnTo>
                  <a:lnTo>
                    <a:pt x="315" y="515"/>
                  </a:lnTo>
                  <a:lnTo>
                    <a:pt x="315" y="514"/>
                  </a:lnTo>
                  <a:lnTo>
                    <a:pt x="315" y="512"/>
                  </a:lnTo>
                  <a:lnTo>
                    <a:pt x="315" y="511"/>
                  </a:lnTo>
                  <a:lnTo>
                    <a:pt x="312" y="508"/>
                  </a:lnTo>
                  <a:lnTo>
                    <a:pt x="300" y="496"/>
                  </a:lnTo>
                  <a:lnTo>
                    <a:pt x="299" y="493"/>
                  </a:lnTo>
                  <a:lnTo>
                    <a:pt x="299" y="492"/>
                  </a:lnTo>
                  <a:lnTo>
                    <a:pt x="299" y="492"/>
                  </a:lnTo>
                  <a:lnTo>
                    <a:pt x="297" y="486"/>
                  </a:lnTo>
                  <a:lnTo>
                    <a:pt x="299" y="476"/>
                  </a:lnTo>
                  <a:lnTo>
                    <a:pt x="297" y="473"/>
                  </a:lnTo>
                  <a:lnTo>
                    <a:pt x="297" y="473"/>
                  </a:lnTo>
                  <a:lnTo>
                    <a:pt x="297" y="472"/>
                  </a:lnTo>
                  <a:lnTo>
                    <a:pt x="287" y="460"/>
                  </a:lnTo>
                  <a:lnTo>
                    <a:pt x="286" y="456"/>
                  </a:lnTo>
                  <a:lnTo>
                    <a:pt x="284" y="456"/>
                  </a:lnTo>
                  <a:lnTo>
                    <a:pt x="284" y="454"/>
                  </a:lnTo>
                  <a:lnTo>
                    <a:pt x="281" y="457"/>
                  </a:lnTo>
                  <a:lnTo>
                    <a:pt x="276" y="459"/>
                  </a:lnTo>
                  <a:lnTo>
                    <a:pt x="274" y="460"/>
                  </a:lnTo>
                  <a:lnTo>
                    <a:pt x="273" y="461"/>
                  </a:lnTo>
                  <a:lnTo>
                    <a:pt x="273" y="461"/>
                  </a:lnTo>
                  <a:lnTo>
                    <a:pt x="265" y="469"/>
                  </a:lnTo>
                  <a:lnTo>
                    <a:pt x="264" y="472"/>
                  </a:lnTo>
                  <a:lnTo>
                    <a:pt x="263" y="472"/>
                  </a:lnTo>
                  <a:lnTo>
                    <a:pt x="261" y="473"/>
                  </a:lnTo>
                  <a:lnTo>
                    <a:pt x="260" y="473"/>
                  </a:lnTo>
                  <a:lnTo>
                    <a:pt x="260" y="472"/>
                  </a:lnTo>
                  <a:lnTo>
                    <a:pt x="257" y="464"/>
                  </a:lnTo>
                  <a:lnTo>
                    <a:pt x="255" y="463"/>
                  </a:lnTo>
                  <a:lnTo>
                    <a:pt x="255" y="461"/>
                  </a:lnTo>
                  <a:lnTo>
                    <a:pt x="255" y="459"/>
                  </a:lnTo>
                  <a:lnTo>
                    <a:pt x="255" y="456"/>
                  </a:lnTo>
                  <a:lnTo>
                    <a:pt x="254" y="456"/>
                  </a:lnTo>
                  <a:lnTo>
                    <a:pt x="254" y="456"/>
                  </a:lnTo>
                  <a:lnTo>
                    <a:pt x="254" y="456"/>
                  </a:lnTo>
                  <a:lnTo>
                    <a:pt x="252" y="456"/>
                  </a:lnTo>
                  <a:lnTo>
                    <a:pt x="251" y="459"/>
                  </a:lnTo>
                  <a:lnTo>
                    <a:pt x="251" y="460"/>
                  </a:lnTo>
                  <a:lnTo>
                    <a:pt x="246" y="461"/>
                  </a:lnTo>
                  <a:lnTo>
                    <a:pt x="245" y="463"/>
                  </a:lnTo>
                  <a:lnTo>
                    <a:pt x="245" y="463"/>
                  </a:lnTo>
                  <a:lnTo>
                    <a:pt x="245" y="466"/>
                  </a:lnTo>
                  <a:lnTo>
                    <a:pt x="245" y="469"/>
                  </a:lnTo>
                  <a:lnTo>
                    <a:pt x="245" y="470"/>
                  </a:lnTo>
                  <a:lnTo>
                    <a:pt x="244" y="472"/>
                  </a:lnTo>
                  <a:lnTo>
                    <a:pt x="242" y="473"/>
                  </a:lnTo>
                  <a:lnTo>
                    <a:pt x="241" y="473"/>
                  </a:lnTo>
                  <a:lnTo>
                    <a:pt x="235" y="473"/>
                  </a:lnTo>
                  <a:lnTo>
                    <a:pt x="232" y="472"/>
                  </a:lnTo>
                  <a:lnTo>
                    <a:pt x="229" y="470"/>
                  </a:lnTo>
                  <a:lnTo>
                    <a:pt x="228" y="469"/>
                  </a:lnTo>
                  <a:lnTo>
                    <a:pt x="228" y="467"/>
                  </a:lnTo>
                  <a:lnTo>
                    <a:pt x="228" y="467"/>
                  </a:lnTo>
                  <a:lnTo>
                    <a:pt x="228" y="466"/>
                  </a:lnTo>
                  <a:lnTo>
                    <a:pt x="228" y="464"/>
                  </a:lnTo>
                  <a:lnTo>
                    <a:pt x="230" y="460"/>
                  </a:lnTo>
                  <a:lnTo>
                    <a:pt x="230" y="459"/>
                  </a:lnTo>
                  <a:lnTo>
                    <a:pt x="230" y="457"/>
                  </a:lnTo>
                  <a:lnTo>
                    <a:pt x="230" y="454"/>
                  </a:lnTo>
                  <a:lnTo>
                    <a:pt x="230" y="454"/>
                  </a:lnTo>
                  <a:lnTo>
                    <a:pt x="230" y="453"/>
                  </a:lnTo>
                  <a:lnTo>
                    <a:pt x="233" y="451"/>
                  </a:lnTo>
                  <a:lnTo>
                    <a:pt x="233" y="451"/>
                  </a:lnTo>
                  <a:lnTo>
                    <a:pt x="233" y="450"/>
                  </a:lnTo>
                  <a:lnTo>
                    <a:pt x="233" y="447"/>
                  </a:lnTo>
                  <a:lnTo>
                    <a:pt x="233" y="445"/>
                  </a:lnTo>
                  <a:lnTo>
                    <a:pt x="233" y="444"/>
                  </a:lnTo>
                  <a:lnTo>
                    <a:pt x="233" y="443"/>
                  </a:lnTo>
                  <a:lnTo>
                    <a:pt x="233" y="441"/>
                  </a:lnTo>
                  <a:lnTo>
                    <a:pt x="235" y="440"/>
                  </a:lnTo>
                  <a:lnTo>
                    <a:pt x="235" y="440"/>
                  </a:lnTo>
                  <a:lnTo>
                    <a:pt x="235" y="438"/>
                  </a:lnTo>
                  <a:lnTo>
                    <a:pt x="235" y="437"/>
                  </a:lnTo>
                  <a:lnTo>
                    <a:pt x="233" y="435"/>
                  </a:lnTo>
                  <a:lnTo>
                    <a:pt x="233" y="432"/>
                  </a:lnTo>
                  <a:lnTo>
                    <a:pt x="233" y="431"/>
                  </a:lnTo>
                  <a:lnTo>
                    <a:pt x="233" y="429"/>
                  </a:lnTo>
                  <a:lnTo>
                    <a:pt x="235" y="429"/>
                  </a:lnTo>
                  <a:lnTo>
                    <a:pt x="235" y="428"/>
                  </a:lnTo>
                  <a:lnTo>
                    <a:pt x="236" y="427"/>
                  </a:lnTo>
                  <a:lnTo>
                    <a:pt x="236" y="425"/>
                  </a:lnTo>
                  <a:lnTo>
                    <a:pt x="235" y="422"/>
                  </a:lnTo>
                  <a:lnTo>
                    <a:pt x="235" y="422"/>
                  </a:lnTo>
                  <a:lnTo>
                    <a:pt x="233" y="422"/>
                  </a:lnTo>
                  <a:lnTo>
                    <a:pt x="232" y="422"/>
                  </a:lnTo>
                  <a:lnTo>
                    <a:pt x="230" y="424"/>
                  </a:lnTo>
                  <a:lnTo>
                    <a:pt x="228" y="425"/>
                  </a:lnTo>
                  <a:lnTo>
                    <a:pt x="222" y="428"/>
                  </a:lnTo>
                  <a:lnTo>
                    <a:pt x="217" y="428"/>
                  </a:lnTo>
                  <a:lnTo>
                    <a:pt x="209" y="422"/>
                  </a:lnTo>
                  <a:lnTo>
                    <a:pt x="206" y="424"/>
                  </a:lnTo>
                  <a:lnTo>
                    <a:pt x="203" y="425"/>
                  </a:lnTo>
                  <a:lnTo>
                    <a:pt x="198" y="424"/>
                  </a:lnTo>
                  <a:lnTo>
                    <a:pt x="179" y="415"/>
                  </a:lnTo>
                  <a:lnTo>
                    <a:pt x="172" y="415"/>
                  </a:lnTo>
                  <a:lnTo>
                    <a:pt x="161" y="416"/>
                  </a:lnTo>
                  <a:lnTo>
                    <a:pt x="147" y="422"/>
                  </a:lnTo>
                  <a:lnTo>
                    <a:pt x="131" y="421"/>
                  </a:lnTo>
                  <a:lnTo>
                    <a:pt x="127" y="422"/>
                  </a:lnTo>
                  <a:lnTo>
                    <a:pt x="123" y="425"/>
                  </a:lnTo>
                  <a:lnTo>
                    <a:pt x="118" y="428"/>
                  </a:lnTo>
                  <a:lnTo>
                    <a:pt x="117" y="431"/>
                  </a:lnTo>
                  <a:lnTo>
                    <a:pt x="120" y="438"/>
                  </a:lnTo>
                  <a:lnTo>
                    <a:pt x="120" y="440"/>
                  </a:lnTo>
                  <a:lnTo>
                    <a:pt x="120" y="440"/>
                  </a:lnTo>
                  <a:lnTo>
                    <a:pt x="120" y="441"/>
                  </a:lnTo>
                  <a:lnTo>
                    <a:pt x="120" y="443"/>
                  </a:lnTo>
                  <a:lnTo>
                    <a:pt x="117" y="445"/>
                  </a:lnTo>
                  <a:lnTo>
                    <a:pt x="117" y="447"/>
                  </a:lnTo>
                  <a:lnTo>
                    <a:pt x="117" y="450"/>
                  </a:lnTo>
                  <a:lnTo>
                    <a:pt x="118" y="450"/>
                  </a:lnTo>
                  <a:lnTo>
                    <a:pt x="120" y="451"/>
                  </a:lnTo>
                  <a:lnTo>
                    <a:pt x="123" y="453"/>
                  </a:lnTo>
                  <a:lnTo>
                    <a:pt x="134" y="454"/>
                  </a:lnTo>
                  <a:lnTo>
                    <a:pt x="136" y="456"/>
                  </a:lnTo>
                  <a:lnTo>
                    <a:pt x="137" y="456"/>
                  </a:lnTo>
                  <a:lnTo>
                    <a:pt x="137" y="459"/>
                  </a:lnTo>
                  <a:lnTo>
                    <a:pt x="137" y="460"/>
                  </a:lnTo>
                  <a:lnTo>
                    <a:pt x="136" y="464"/>
                  </a:lnTo>
                  <a:lnTo>
                    <a:pt x="136" y="466"/>
                  </a:lnTo>
                  <a:lnTo>
                    <a:pt x="137" y="467"/>
                  </a:lnTo>
                  <a:lnTo>
                    <a:pt x="139" y="467"/>
                  </a:lnTo>
                  <a:lnTo>
                    <a:pt x="139" y="467"/>
                  </a:lnTo>
                  <a:lnTo>
                    <a:pt x="140" y="467"/>
                  </a:lnTo>
                  <a:lnTo>
                    <a:pt x="142" y="466"/>
                  </a:lnTo>
                  <a:lnTo>
                    <a:pt x="143" y="466"/>
                  </a:lnTo>
                  <a:lnTo>
                    <a:pt x="143" y="463"/>
                  </a:lnTo>
                  <a:lnTo>
                    <a:pt x="145" y="459"/>
                  </a:lnTo>
                  <a:lnTo>
                    <a:pt x="145" y="459"/>
                  </a:lnTo>
                  <a:lnTo>
                    <a:pt x="145" y="457"/>
                  </a:lnTo>
                  <a:lnTo>
                    <a:pt x="146" y="457"/>
                  </a:lnTo>
                  <a:lnTo>
                    <a:pt x="146" y="457"/>
                  </a:lnTo>
                  <a:lnTo>
                    <a:pt x="147" y="457"/>
                  </a:lnTo>
                  <a:lnTo>
                    <a:pt x="149" y="457"/>
                  </a:lnTo>
                  <a:lnTo>
                    <a:pt x="155" y="460"/>
                  </a:lnTo>
                  <a:lnTo>
                    <a:pt x="156" y="460"/>
                  </a:lnTo>
                  <a:lnTo>
                    <a:pt x="156" y="461"/>
                  </a:lnTo>
                  <a:lnTo>
                    <a:pt x="158" y="461"/>
                  </a:lnTo>
                  <a:lnTo>
                    <a:pt x="153" y="483"/>
                  </a:lnTo>
                  <a:lnTo>
                    <a:pt x="153" y="486"/>
                  </a:lnTo>
                  <a:lnTo>
                    <a:pt x="153" y="486"/>
                  </a:lnTo>
                  <a:lnTo>
                    <a:pt x="153" y="486"/>
                  </a:lnTo>
                  <a:lnTo>
                    <a:pt x="155" y="489"/>
                  </a:lnTo>
                  <a:lnTo>
                    <a:pt x="156" y="492"/>
                  </a:lnTo>
                  <a:lnTo>
                    <a:pt x="149" y="498"/>
                  </a:lnTo>
                  <a:lnTo>
                    <a:pt x="147" y="499"/>
                  </a:lnTo>
                  <a:lnTo>
                    <a:pt x="146" y="498"/>
                  </a:lnTo>
                  <a:lnTo>
                    <a:pt x="142" y="493"/>
                  </a:lnTo>
                  <a:lnTo>
                    <a:pt x="140" y="493"/>
                  </a:lnTo>
                  <a:lnTo>
                    <a:pt x="140" y="493"/>
                  </a:lnTo>
                  <a:lnTo>
                    <a:pt x="130" y="498"/>
                  </a:lnTo>
                  <a:lnTo>
                    <a:pt x="126" y="498"/>
                  </a:lnTo>
                  <a:lnTo>
                    <a:pt x="121" y="498"/>
                  </a:lnTo>
                  <a:lnTo>
                    <a:pt x="118" y="498"/>
                  </a:lnTo>
                  <a:lnTo>
                    <a:pt x="115" y="499"/>
                  </a:lnTo>
                  <a:lnTo>
                    <a:pt x="111" y="502"/>
                  </a:lnTo>
                  <a:lnTo>
                    <a:pt x="110" y="504"/>
                  </a:lnTo>
                  <a:lnTo>
                    <a:pt x="108" y="505"/>
                  </a:lnTo>
                  <a:lnTo>
                    <a:pt x="110" y="512"/>
                  </a:lnTo>
                  <a:lnTo>
                    <a:pt x="110" y="514"/>
                  </a:lnTo>
                  <a:lnTo>
                    <a:pt x="110" y="514"/>
                  </a:lnTo>
                  <a:lnTo>
                    <a:pt x="108" y="515"/>
                  </a:lnTo>
                  <a:lnTo>
                    <a:pt x="105" y="518"/>
                  </a:lnTo>
                  <a:lnTo>
                    <a:pt x="104" y="520"/>
                  </a:lnTo>
                  <a:lnTo>
                    <a:pt x="104" y="521"/>
                  </a:lnTo>
                  <a:lnTo>
                    <a:pt x="102" y="526"/>
                  </a:lnTo>
                  <a:lnTo>
                    <a:pt x="102" y="527"/>
                  </a:lnTo>
                  <a:lnTo>
                    <a:pt x="101" y="530"/>
                  </a:lnTo>
                  <a:lnTo>
                    <a:pt x="98" y="531"/>
                  </a:lnTo>
                  <a:lnTo>
                    <a:pt x="96" y="531"/>
                  </a:lnTo>
                  <a:lnTo>
                    <a:pt x="76" y="531"/>
                  </a:lnTo>
                  <a:lnTo>
                    <a:pt x="70" y="531"/>
                  </a:lnTo>
                  <a:lnTo>
                    <a:pt x="51" y="536"/>
                  </a:lnTo>
                  <a:lnTo>
                    <a:pt x="50" y="536"/>
                  </a:lnTo>
                  <a:lnTo>
                    <a:pt x="47" y="533"/>
                  </a:lnTo>
                  <a:lnTo>
                    <a:pt x="43" y="524"/>
                  </a:lnTo>
                  <a:lnTo>
                    <a:pt x="35" y="518"/>
                  </a:lnTo>
                  <a:lnTo>
                    <a:pt x="34" y="517"/>
                  </a:lnTo>
                  <a:lnTo>
                    <a:pt x="34" y="514"/>
                  </a:lnTo>
                  <a:lnTo>
                    <a:pt x="35" y="512"/>
                  </a:lnTo>
                  <a:lnTo>
                    <a:pt x="35" y="511"/>
                  </a:lnTo>
                  <a:lnTo>
                    <a:pt x="37" y="510"/>
                  </a:lnTo>
                  <a:lnTo>
                    <a:pt x="40" y="507"/>
                  </a:lnTo>
                  <a:lnTo>
                    <a:pt x="43" y="504"/>
                  </a:lnTo>
                  <a:lnTo>
                    <a:pt x="44" y="504"/>
                  </a:lnTo>
                  <a:lnTo>
                    <a:pt x="45" y="502"/>
                  </a:lnTo>
                  <a:lnTo>
                    <a:pt x="47" y="501"/>
                  </a:lnTo>
                  <a:lnTo>
                    <a:pt x="47" y="498"/>
                  </a:lnTo>
                  <a:lnTo>
                    <a:pt x="47" y="495"/>
                  </a:lnTo>
                  <a:lnTo>
                    <a:pt x="44" y="480"/>
                  </a:lnTo>
                  <a:lnTo>
                    <a:pt x="43" y="476"/>
                  </a:lnTo>
                  <a:lnTo>
                    <a:pt x="43" y="473"/>
                  </a:lnTo>
                  <a:lnTo>
                    <a:pt x="44" y="473"/>
                  </a:lnTo>
                  <a:lnTo>
                    <a:pt x="45" y="473"/>
                  </a:lnTo>
                  <a:lnTo>
                    <a:pt x="48" y="473"/>
                  </a:lnTo>
                  <a:lnTo>
                    <a:pt x="50" y="473"/>
                  </a:lnTo>
                  <a:lnTo>
                    <a:pt x="51" y="472"/>
                  </a:lnTo>
                  <a:lnTo>
                    <a:pt x="53" y="470"/>
                  </a:lnTo>
                  <a:lnTo>
                    <a:pt x="54" y="469"/>
                  </a:lnTo>
                  <a:lnTo>
                    <a:pt x="56" y="467"/>
                  </a:lnTo>
                  <a:lnTo>
                    <a:pt x="56" y="466"/>
                  </a:lnTo>
                  <a:lnTo>
                    <a:pt x="56" y="464"/>
                  </a:lnTo>
                  <a:lnTo>
                    <a:pt x="54" y="461"/>
                  </a:lnTo>
                  <a:lnTo>
                    <a:pt x="54" y="459"/>
                  </a:lnTo>
                  <a:lnTo>
                    <a:pt x="54" y="457"/>
                  </a:lnTo>
                  <a:lnTo>
                    <a:pt x="56" y="454"/>
                  </a:lnTo>
                  <a:lnTo>
                    <a:pt x="60" y="445"/>
                  </a:lnTo>
                  <a:lnTo>
                    <a:pt x="60" y="443"/>
                  </a:lnTo>
                  <a:lnTo>
                    <a:pt x="60" y="441"/>
                  </a:lnTo>
                  <a:lnTo>
                    <a:pt x="54" y="440"/>
                  </a:lnTo>
                  <a:lnTo>
                    <a:pt x="51" y="438"/>
                  </a:lnTo>
                  <a:lnTo>
                    <a:pt x="50" y="435"/>
                  </a:lnTo>
                  <a:lnTo>
                    <a:pt x="50" y="434"/>
                  </a:lnTo>
                  <a:lnTo>
                    <a:pt x="51" y="431"/>
                  </a:lnTo>
                  <a:lnTo>
                    <a:pt x="56" y="425"/>
                  </a:lnTo>
                  <a:lnTo>
                    <a:pt x="57" y="422"/>
                  </a:lnTo>
                  <a:lnTo>
                    <a:pt x="57" y="419"/>
                  </a:lnTo>
                  <a:lnTo>
                    <a:pt x="57" y="418"/>
                  </a:lnTo>
                  <a:lnTo>
                    <a:pt x="56" y="416"/>
                  </a:lnTo>
                  <a:lnTo>
                    <a:pt x="54" y="415"/>
                  </a:lnTo>
                  <a:lnTo>
                    <a:pt x="54" y="415"/>
                  </a:lnTo>
                  <a:lnTo>
                    <a:pt x="53" y="415"/>
                  </a:lnTo>
                  <a:lnTo>
                    <a:pt x="51" y="415"/>
                  </a:lnTo>
                  <a:lnTo>
                    <a:pt x="50" y="416"/>
                  </a:lnTo>
                  <a:lnTo>
                    <a:pt x="48" y="416"/>
                  </a:lnTo>
                  <a:lnTo>
                    <a:pt x="47" y="416"/>
                  </a:lnTo>
                  <a:lnTo>
                    <a:pt x="44" y="415"/>
                  </a:lnTo>
                  <a:lnTo>
                    <a:pt x="43" y="412"/>
                  </a:lnTo>
                  <a:lnTo>
                    <a:pt x="43" y="411"/>
                  </a:lnTo>
                  <a:lnTo>
                    <a:pt x="40" y="405"/>
                  </a:lnTo>
                  <a:lnTo>
                    <a:pt x="40" y="402"/>
                  </a:lnTo>
                  <a:lnTo>
                    <a:pt x="40" y="397"/>
                  </a:lnTo>
                  <a:lnTo>
                    <a:pt x="41" y="393"/>
                  </a:lnTo>
                  <a:lnTo>
                    <a:pt x="41" y="392"/>
                  </a:lnTo>
                  <a:lnTo>
                    <a:pt x="41" y="390"/>
                  </a:lnTo>
                  <a:lnTo>
                    <a:pt x="40" y="390"/>
                  </a:lnTo>
                  <a:lnTo>
                    <a:pt x="40" y="389"/>
                  </a:lnTo>
                  <a:lnTo>
                    <a:pt x="40" y="389"/>
                  </a:lnTo>
                  <a:lnTo>
                    <a:pt x="38" y="390"/>
                  </a:lnTo>
                  <a:lnTo>
                    <a:pt x="37" y="390"/>
                  </a:lnTo>
                  <a:lnTo>
                    <a:pt x="35" y="394"/>
                  </a:lnTo>
                  <a:lnTo>
                    <a:pt x="35" y="396"/>
                  </a:lnTo>
                  <a:lnTo>
                    <a:pt x="34" y="396"/>
                  </a:lnTo>
                  <a:lnTo>
                    <a:pt x="34" y="396"/>
                  </a:lnTo>
                  <a:lnTo>
                    <a:pt x="32" y="396"/>
                  </a:lnTo>
                  <a:lnTo>
                    <a:pt x="32" y="396"/>
                  </a:lnTo>
                  <a:lnTo>
                    <a:pt x="32" y="394"/>
                  </a:lnTo>
                  <a:lnTo>
                    <a:pt x="31" y="393"/>
                  </a:lnTo>
                  <a:lnTo>
                    <a:pt x="29" y="392"/>
                  </a:lnTo>
                  <a:lnTo>
                    <a:pt x="25" y="377"/>
                  </a:lnTo>
                  <a:lnTo>
                    <a:pt x="22" y="368"/>
                  </a:lnTo>
                  <a:lnTo>
                    <a:pt x="18" y="355"/>
                  </a:lnTo>
                  <a:lnTo>
                    <a:pt x="18" y="352"/>
                  </a:lnTo>
                  <a:lnTo>
                    <a:pt x="18" y="313"/>
                  </a:lnTo>
                  <a:lnTo>
                    <a:pt x="25" y="316"/>
                  </a:lnTo>
                  <a:lnTo>
                    <a:pt x="27" y="316"/>
                  </a:lnTo>
                  <a:lnTo>
                    <a:pt x="27" y="314"/>
                  </a:lnTo>
                  <a:lnTo>
                    <a:pt x="27" y="314"/>
                  </a:lnTo>
                  <a:lnTo>
                    <a:pt x="24" y="309"/>
                  </a:lnTo>
                  <a:lnTo>
                    <a:pt x="24" y="306"/>
                  </a:lnTo>
                  <a:lnTo>
                    <a:pt x="22" y="306"/>
                  </a:lnTo>
                  <a:lnTo>
                    <a:pt x="24" y="298"/>
                  </a:lnTo>
                  <a:lnTo>
                    <a:pt x="19" y="294"/>
                  </a:lnTo>
                  <a:lnTo>
                    <a:pt x="18" y="282"/>
                  </a:lnTo>
                  <a:lnTo>
                    <a:pt x="18" y="281"/>
                  </a:lnTo>
                  <a:lnTo>
                    <a:pt x="16" y="279"/>
                  </a:lnTo>
                  <a:lnTo>
                    <a:pt x="12" y="278"/>
                  </a:lnTo>
                  <a:lnTo>
                    <a:pt x="9" y="279"/>
                  </a:lnTo>
                  <a:lnTo>
                    <a:pt x="8" y="281"/>
                  </a:lnTo>
                  <a:lnTo>
                    <a:pt x="6" y="281"/>
                  </a:lnTo>
                  <a:lnTo>
                    <a:pt x="3" y="278"/>
                  </a:lnTo>
                  <a:lnTo>
                    <a:pt x="0" y="277"/>
                  </a:lnTo>
                  <a:lnTo>
                    <a:pt x="2" y="275"/>
                  </a:lnTo>
                  <a:lnTo>
                    <a:pt x="5" y="272"/>
                  </a:lnTo>
                  <a:lnTo>
                    <a:pt x="6" y="271"/>
                  </a:lnTo>
                  <a:lnTo>
                    <a:pt x="8" y="271"/>
                  </a:lnTo>
                  <a:lnTo>
                    <a:pt x="9" y="271"/>
                  </a:lnTo>
                  <a:lnTo>
                    <a:pt x="9" y="271"/>
                  </a:lnTo>
                  <a:lnTo>
                    <a:pt x="10" y="269"/>
                  </a:lnTo>
                  <a:lnTo>
                    <a:pt x="10" y="268"/>
                  </a:lnTo>
                  <a:lnTo>
                    <a:pt x="12" y="265"/>
                  </a:lnTo>
                  <a:lnTo>
                    <a:pt x="12" y="258"/>
                  </a:lnTo>
                  <a:lnTo>
                    <a:pt x="12" y="255"/>
                  </a:lnTo>
                  <a:lnTo>
                    <a:pt x="12" y="253"/>
                  </a:lnTo>
                  <a:lnTo>
                    <a:pt x="13" y="252"/>
                  </a:lnTo>
                  <a:lnTo>
                    <a:pt x="13" y="250"/>
                  </a:lnTo>
                  <a:lnTo>
                    <a:pt x="15" y="249"/>
                  </a:lnTo>
                  <a:lnTo>
                    <a:pt x="16" y="249"/>
                  </a:lnTo>
                  <a:lnTo>
                    <a:pt x="28" y="246"/>
                  </a:lnTo>
                  <a:lnTo>
                    <a:pt x="45" y="237"/>
                  </a:lnTo>
                  <a:lnTo>
                    <a:pt x="47" y="237"/>
                  </a:lnTo>
                  <a:lnTo>
                    <a:pt x="48" y="237"/>
                  </a:lnTo>
                  <a:lnTo>
                    <a:pt x="50" y="237"/>
                  </a:lnTo>
                  <a:lnTo>
                    <a:pt x="51" y="239"/>
                  </a:lnTo>
                  <a:lnTo>
                    <a:pt x="56" y="242"/>
                  </a:lnTo>
                  <a:lnTo>
                    <a:pt x="57" y="243"/>
                  </a:lnTo>
                  <a:lnTo>
                    <a:pt x="61" y="245"/>
                  </a:lnTo>
                  <a:lnTo>
                    <a:pt x="63" y="245"/>
                  </a:lnTo>
                  <a:lnTo>
                    <a:pt x="63" y="246"/>
                  </a:lnTo>
                  <a:lnTo>
                    <a:pt x="61" y="247"/>
                  </a:lnTo>
                  <a:lnTo>
                    <a:pt x="60" y="250"/>
                  </a:lnTo>
                  <a:lnTo>
                    <a:pt x="60" y="252"/>
                  </a:lnTo>
                  <a:lnTo>
                    <a:pt x="60" y="253"/>
                  </a:lnTo>
                  <a:lnTo>
                    <a:pt x="60" y="253"/>
                  </a:lnTo>
                  <a:lnTo>
                    <a:pt x="63" y="252"/>
                  </a:lnTo>
                  <a:lnTo>
                    <a:pt x="67" y="247"/>
                  </a:lnTo>
                  <a:lnTo>
                    <a:pt x="75" y="240"/>
                  </a:lnTo>
                  <a:lnTo>
                    <a:pt x="75" y="239"/>
                  </a:lnTo>
                  <a:lnTo>
                    <a:pt x="75" y="237"/>
                  </a:lnTo>
                  <a:lnTo>
                    <a:pt x="75" y="234"/>
                  </a:lnTo>
                  <a:lnTo>
                    <a:pt x="75" y="233"/>
                  </a:lnTo>
                  <a:lnTo>
                    <a:pt x="76" y="231"/>
                  </a:lnTo>
                  <a:lnTo>
                    <a:pt x="78" y="231"/>
                  </a:lnTo>
                  <a:lnTo>
                    <a:pt x="88" y="227"/>
                  </a:lnTo>
                  <a:lnTo>
                    <a:pt x="91" y="227"/>
                  </a:lnTo>
                  <a:lnTo>
                    <a:pt x="92" y="227"/>
                  </a:lnTo>
                  <a:lnTo>
                    <a:pt x="96" y="229"/>
                  </a:lnTo>
                  <a:lnTo>
                    <a:pt x="111" y="229"/>
                  </a:lnTo>
                  <a:lnTo>
                    <a:pt x="112" y="229"/>
                  </a:lnTo>
                  <a:lnTo>
                    <a:pt x="115" y="230"/>
                  </a:lnTo>
                  <a:lnTo>
                    <a:pt x="117" y="230"/>
                  </a:lnTo>
                  <a:lnTo>
                    <a:pt x="121" y="230"/>
                  </a:lnTo>
                  <a:lnTo>
                    <a:pt x="123" y="230"/>
                  </a:lnTo>
                  <a:lnTo>
                    <a:pt x="136" y="236"/>
                  </a:lnTo>
                  <a:lnTo>
                    <a:pt x="140" y="239"/>
                  </a:lnTo>
                  <a:lnTo>
                    <a:pt x="142" y="242"/>
                  </a:lnTo>
                  <a:lnTo>
                    <a:pt x="143" y="242"/>
                  </a:lnTo>
                  <a:lnTo>
                    <a:pt x="143" y="243"/>
                  </a:lnTo>
                  <a:lnTo>
                    <a:pt x="145" y="247"/>
                  </a:lnTo>
                  <a:lnTo>
                    <a:pt x="145" y="249"/>
                  </a:lnTo>
                  <a:lnTo>
                    <a:pt x="147" y="253"/>
                  </a:lnTo>
                  <a:lnTo>
                    <a:pt x="150" y="255"/>
                  </a:lnTo>
                  <a:lnTo>
                    <a:pt x="158" y="256"/>
                  </a:lnTo>
                  <a:lnTo>
                    <a:pt x="163" y="256"/>
                  </a:lnTo>
                  <a:lnTo>
                    <a:pt x="185" y="247"/>
                  </a:lnTo>
                  <a:lnTo>
                    <a:pt x="187" y="245"/>
                  </a:lnTo>
                  <a:lnTo>
                    <a:pt x="188" y="243"/>
                  </a:lnTo>
                  <a:lnTo>
                    <a:pt x="187" y="233"/>
                  </a:lnTo>
                  <a:lnTo>
                    <a:pt x="185" y="231"/>
                  </a:lnTo>
                  <a:lnTo>
                    <a:pt x="187" y="229"/>
                  </a:lnTo>
                  <a:lnTo>
                    <a:pt x="188" y="226"/>
                  </a:lnTo>
                  <a:lnTo>
                    <a:pt x="191" y="217"/>
                  </a:lnTo>
                  <a:lnTo>
                    <a:pt x="193" y="215"/>
                  </a:lnTo>
                  <a:lnTo>
                    <a:pt x="193" y="214"/>
                  </a:lnTo>
                  <a:lnTo>
                    <a:pt x="191" y="214"/>
                  </a:lnTo>
                  <a:lnTo>
                    <a:pt x="191" y="212"/>
                  </a:lnTo>
                  <a:lnTo>
                    <a:pt x="190" y="212"/>
                  </a:lnTo>
                  <a:lnTo>
                    <a:pt x="184" y="211"/>
                  </a:lnTo>
                  <a:lnTo>
                    <a:pt x="182" y="211"/>
                  </a:lnTo>
                  <a:lnTo>
                    <a:pt x="182" y="211"/>
                  </a:lnTo>
                  <a:lnTo>
                    <a:pt x="182" y="210"/>
                  </a:lnTo>
                  <a:lnTo>
                    <a:pt x="182" y="208"/>
                  </a:lnTo>
                  <a:lnTo>
                    <a:pt x="181" y="208"/>
                  </a:lnTo>
                  <a:lnTo>
                    <a:pt x="182" y="205"/>
                  </a:lnTo>
                  <a:lnTo>
                    <a:pt x="182" y="204"/>
                  </a:lnTo>
                  <a:lnTo>
                    <a:pt x="185" y="196"/>
                  </a:lnTo>
                  <a:lnTo>
                    <a:pt x="185" y="194"/>
                  </a:lnTo>
                  <a:lnTo>
                    <a:pt x="184" y="183"/>
                  </a:lnTo>
                  <a:lnTo>
                    <a:pt x="184" y="179"/>
                  </a:lnTo>
                  <a:lnTo>
                    <a:pt x="185" y="178"/>
                  </a:lnTo>
                  <a:lnTo>
                    <a:pt x="187" y="178"/>
                  </a:lnTo>
                  <a:lnTo>
                    <a:pt x="190" y="179"/>
                  </a:lnTo>
                  <a:lnTo>
                    <a:pt x="191" y="179"/>
                  </a:lnTo>
                  <a:lnTo>
                    <a:pt x="193" y="179"/>
                  </a:lnTo>
                  <a:lnTo>
                    <a:pt x="196" y="178"/>
                  </a:lnTo>
                  <a:lnTo>
                    <a:pt x="197" y="178"/>
                  </a:lnTo>
                  <a:lnTo>
                    <a:pt x="197" y="178"/>
                  </a:lnTo>
                  <a:lnTo>
                    <a:pt x="198" y="178"/>
                  </a:lnTo>
                  <a:lnTo>
                    <a:pt x="200" y="179"/>
                  </a:lnTo>
                  <a:lnTo>
                    <a:pt x="201" y="182"/>
                  </a:lnTo>
                  <a:lnTo>
                    <a:pt x="201" y="183"/>
                  </a:lnTo>
                  <a:lnTo>
                    <a:pt x="203" y="183"/>
                  </a:lnTo>
                  <a:lnTo>
                    <a:pt x="203" y="183"/>
                  </a:lnTo>
                  <a:lnTo>
                    <a:pt x="209" y="182"/>
                  </a:lnTo>
                  <a:lnTo>
                    <a:pt x="210" y="182"/>
                  </a:lnTo>
                  <a:lnTo>
                    <a:pt x="212" y="182"/>
                  </a:lnTo>
                  <a:lnTo>
                    <a:pt x="212" y="182"/>
                  </a:lnTo>
                  <a:lnTo>
                    <a:pt x="213" y="182"/>
                  </a:lnTo>
                  <a:lnTo>
                    <a:pt x="213" y="183"/>
                  </a:lnTo>
                  <a:lnTo>
                    <a:pt x="214" y="183"/>
                  </a:lnTo>
                  <a:lnTo>
                    <a:pt x="216" y="185"/>
                  </a:lnTo>
                  <a:lnTo>
                    <a:pt x="222" y="185"/>
                  </a:lnTo>
                  <a:lnTo>
                    <a:pt x="228" y="182"/>
                  </a:lnTo>
                  <a:lnTo>
                    <a:pt x="238" y="179"/>
                  </a:lnTo>
                  <a:lnTo>
                    <a:pt x="239" y="178"/>
                  </a:lnTo>
                  <a:lnTo>
                    <a:pt x="239" y="176"/>
                  </a:lnTo>
                  <a:lnTo>
                    <a:pt x="238" y="175"/>
                  </a:lnTo>
                  <a:lnTo>
                    <a:pt x="238" y="172"/>
                  </a:lnTo>
                  <a:lnTo>
                    <a:pt x="238" y="167"/>
                  </a:lnTo>
                  <a:lnTo>
                    <a:pt x="239" y="160"/>
                  </a:lnTo>
                  <a:lnTo>
                    <a:pt x="242" y="157"/>
                  </a:lnTo>
                  <a:lnTo>
                    <a:pt x="245" y="154"/>
                  </a:lnTo>
                  <a:lnTo>
                    <a:pt x="249" y="151"/>
                  </a:lnTo>
                  <a:lnTo>
                    <a:pt x="254" y="151"/>
                  </a:lnTo>
                  <a:lnTo>
                    <a:pt x="260" y="148"/>
                  </a:lnTo>
                  <a:lnTo>
                    <a:pt x="265" y="144"/>
                  </a:lnTo>
                  <a:lnTo>
                    <a:pt x="267" y="143"/>
                  </a:lnTo>
                  <a:lnTo>
                    <a:pt x="268" y="140"/>
                  </a:lnTo>
                  <a:lnTo>
                    <a:pt x="268" y="135"/>
                  </a:lnTo>
                  <a:lnTo>
                    <a:pt x="268" y="131"/>
                  </a:lnTo>
                  <a:lnTo>
                    <a:pt x="268" y="128"/>
                  </a:lnTo>
                  <a:lnTo>
                    <a:pt x="268" y="125"/>
                  </a:lnTo>
                  <a:lnTo>
                    <a:pt x="267" y="118"/>
                  </a:lnTo>
                  <a:lnTo>
                    <a:pt x="276" y="87"/>
                  </a:lnTo>
                  <a:lnTo>
                    <a:pt x="280" y="81"/>
                  </a:lnTo>
                  <a:lnTo>
                    <a:pt x="281" y="80"/>
                  </a:lnTo>
                  <a:lnTo>
                    <a:pt x="286" y="79"/>
                  </a:lnTo>
                  <a:lnTo>
                    <a:pt x="286" y="79"/>
                  </a:lnTo>
                  <a:lnTo>
                    <a:pt x="287" y="79"/>
                  </a:lnTo>
                  <a:lnTo>
                    <a:pt x="289" y="79"/>
                  </a:lnTo>
                  <a:lnTo>
                    <a:pt x="289" y="80"/>
                  </a:lnTo>
                  <a:lnTo>
                    <a:pt x="292" y="84"/>
                  </a:lnTo>
                  <a:lnTo>
                    <a:pt x="293" y="86"/>
                  </a:lnTo>
                  <a:lnTo>
                    <a:pt x="296" y="89"/>
                  </a:lnTo>
                  <a:lnTo>
                    <a:pt x="299" y="90"/>
                  </a:lnTo>
                  <a:lnTo>
                    <a:pt x="300" y="90"/>
                  </a:lnTo>
                  <a:lnTo>
                    <a:pt x="303" y="90"/>
                  </a:lnTo>
                  <a:lnTo>
                    <a:pt x="308" y="89"/>
                  </a:lnTo>
                  <a:lnTo>
                    <a:pt x="328" y="81"/>
                  </a:lnTo>
                  <a:lnTo>
                    <a:pt x="350" y="68"/>
                  </a:lnTo>
                  <a:lnTo>
                    <a:pt x="356" y="63"/>
                  </a:lnTo>
                  <a:lnTo>
                    <a:pt x="360" y="55"/>
                  </a:lnTo>
                  <a:lnTo>
                    <a:pt x="364" y="48"/>
                  </a:lnTo>
                  <a:lnTo>
                    <a:pt x="372" y="36"/>
                  </a:lnTo>
                  <a:lnTo>
                    <a:pt x="372" y="35"/>
                  </a:lnTo>
                  <a:lnTo>
                    <a:pt x="373" y="33"/>
                  </a:lnTo>
                  <a:lnTo>
                    <a:pt x="373" y="32"/>
                  </a:lnTo>
                  <a:lnTo>
                    <a:pt x="375" y="25"/>
                  </a:lnTo>
                  <a:lnTo>
                    <a:pt x="394" y="4"/>
                  </a:lnTo>
                  <a:lnTo>
                    <a:pt x="399" y="0"/>
                  </a:lnTo>
                  <a:lnTo>
                    <a:pt x="401" y="1"/>
                  </a:lnTo>
                  <a:lnTo>
                    <a:pt x="401" y="3"/>
                  </a:lnTo>
                  <a:lnTo>
                    <a:pt x="401" y="4"/>
                  </a:lnTo>
                  <a:lnTo>
                    <a:pt x="401" y="6"/>
                  </a:lnTo>
                  <a:lnTo>
                    <a:pt x="401" y="7"/>
                  </a:lnTo>
                  <a:lnTo>
                    <a:pt x="401" y="9"/>
                  </a:lnTo>
                  <a:lnTo>
                    <a:pt x="402" y="9"/>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0">
              <a:extLst>
                <a:ext uri="{FF2B5EF4-FFF2-40B4-BE49-F238E27FC236}">
                  <a16:creationId xmlns:a16="http://schemas.microsoft.com/office/drawing/2014/main" id="{7DDA2120-F5D6-4FD1-AF93-FA3D6A253FD3}"/>
                </a:ext>
              </a:extLst>
            </p:cNvPr>
            <p:cNvSpPr>
              <a:spLocks/>
            </p:cNvSpPr>
            <p:nvPr/>
          </p:nvSpPr>
          <p:spPr bwMode="gray">
            <a:xfrm>
              <a:off x="4483101" y="4764088"/>
              <a:ext cx="1644650" cy="1882775"/>
            </a:xfrm>
            <a:custGeom>
              <a:avLst/>
              <a:gdLst>
                <a:gd name="T0" fmla="*/ 741 w 1036"/>
                <a:gd name="T1" fmla="*/ 16 h 1186"/>
                <a:gd name="T2" fmla="*/ 738 w 1036"/>
                <a:gd name="T3" fmla="*/ 44 h 1186"/>
                <a:gd name="T4" fmla="*/ 759 w 1036"/>
                <a:gd name="T5" fmla="*/ 45 h 1186"/>
                <a:gd name="T6" fmla="*/ 782 w 1036"/>
                <a:gd name="T7" fmla="*/ 45 h 1186"/>
                <a:gd name="T8" fmla="*/ 823 w 1036"/>
                <a:gd name="T9" fmla="*/ 99 h 1186"/>
                <a:gd name="T10" fmla="*/ 808 w 1036"/>
                <a:gd name="T11" fmla="*/ 134 h 1186"/>
                <a:gd name="T12" fmla="*/ 835 w 1036"/>
                <a:gd name="T13" fmla="*/ 118 h 1186"/>
                <a:gd name="T14" fmla="*/ 842 w 1036"/>
                <a:gd name="T15" fmla="*/ 166 h 1186"/>
                <a:gd name="T16" fmla="*/ 886 w 1036"/>
                <a:gd name="T17" fmla="*/ 141 h 1186"/>
                <a:gd name="T18" fmla="*/ 907 w 1036"/>
                <a:gd name="T19" fmla="*/ 151 h 1186"/>
                <a:gd name="T20" fmla="*/ 923 w 1036"/>
                <a:gd name="T21" fmla="*/ 220 h 1186"/>
                <a:gd name="T22" fmla="*/ 918 w 1036"/>
                <a:gd name="T23" fmla="*/ 255 h 1186"/>
                <a:gd name="T24" fmla="*/ 909 w 1036"/>
                <a:gd name="T25" fmla="*/ 284 h 1186"/>
                <a:gd name="T26" fmla="*/ 915 w 1036"/>
                <a:gd name="T27" fmla="*/ 316 h 1186"/>
                <a:gd name="T28" fmla="*/ 957 w 1036"/>
                <a:gd name="T29" fmla="*/ 351 h 1186"/>
                <a:gd name="T30" fmla="*/ 944 w 1036"/>
                <a:gd name="T31" fmla="*/ 370 h 1186"/>
                <a:gd name="T32" fmla="*/ 960 w 1036"/>
                <a:gd name="T33" fmla="*/ 397 h 1186"/>
                <a:gd name="T34" fmla="*/ 1017 w 1036"/>
                <a:gd name="T35" fmla="*/ 444 h 1186"/>
                <a:gd name="T36" fmla="*/ 1020 w 1036"/>
                <a:gd name="T37" fmla="*/ 473 h 1186"/>
                <a:gd name="T38" fmla="*/ 1021 w 1036"/>
                <a:gd name="T39" fmla="*/ 523 h 1186"/>
                <a:gd name="T40" fmla="*/ 1017 w 1036"/>
                <a:gd name="T41" fmla="*/ 559 h 1186"/>
                <a:gd name="T42" fmla="*/ 1017 w 1036"/>
                <a:gd name="T43" fmla="*/ 587 h 1186"/>
                <a:gd name="T44" fmla="*/ 985 w 1036"/>
                <a:gd name="T45" fmla="*/ 587 h 1186"/>
                <a:gd name="T46" fmla="*/ 963 w 1036"/>
                <a:gd name="T47" fmla="*/ 608 h 1186"/>
                <a:gd name="T48" fmla="*/ 972 w 1036"/>
                <a:gd name="T49" fmla="*/ 632 h 1186"/>
                <a:gd name="T50" fmla="*/ 973 w 1036"/>
                <a:gd name="T51" fmla="*/ 670 h 1186"/>
                <a:gd name="T52" fmla="*/ 912 w 1036"/>
                <a:gd name="T53" fmla="*/ 694 h 1186"/>
                <a:gd name="T54" fmla="*/ 877 w 1036"/>
                <a:gd name="T55" fmla="*/ 721 h 1186"/>
                <a:gd name="T56" fmla="*/ 912 w 1036"/>
                <a:gd name="T57" fmla="*/ 917 h 1186"/>
                <a:gd name="T58" fmla="*/ 897 w 1036"/>
                <a:gd name="T59" fmla="*/ 1010 h 1186"/>
                <a:gd name="T60" fmla="*/ 909 w 1036"/>
                <a:gd name="T61" fmla="*/ 1041 h 1186"/>
                <a:gd name="T62" fmla="*/ 899 w 1036"/>
                <a:gd name="T63" fmla="*/ 1064 h 1186"/>
                <a:gd name="T64" fmla="*/ 903 w 1036"/>
                <a:gd name="T65" fmla="*/ 1114 h 1186"/>
                <a:gd name="T66" fmla="*/ 839 w 1036"/>
                <a:gd name="T67" fmla="*/ 1122 h 1186"/>
                <a:gd name="T68" fmla="*/ 725 w 1036"/>
                <a:gd name="T69" fmla="*/ 1165 h 1186"/>
                <a:gd name="T70" fmla="*/ 460 w 1036"/>
                <a:gd name="T71" fmla="*/ 1106 h 1186"/>
                <a:gd name="T72" fmla="*/ 419 w 1036"/>
                <a:gd name="T73" fmla="*/ 1076 h 1186"/>
                <a:gd name="T74" fmla="*/ 357 w 1036"/>
                <a:gd name="T75" fmla="*/ 1051 h 1186"/>
                <a:gd name="T76" fmla="*/ 304 w 1036"/>
                <a:gd name="T77" fmla="*/ 1118 h 1186"/>
                <a:gd name="T78" fmla="*/ 374 w 1036"/>
                <a:gd name="T79" fmla="*/ 1130 h 1186"/>
                <a:gd name="T80" fmla="*/ 341 w 1036"/>
                <a:gd name="T81" fmla="*/ 1141 h 1186"/>
                <a:gd name="T82" fmla="*/ 211 w 1036"/>
                <a:gd name="T83" fmla="*/ 1156 h 1186"/>
                <a:gd name="T84" fmla="*/ 33 w 1036"/>
                <a:gd name="T85" fmla="*/ 1170 h 1186"/>
                <a:gd name="T86" fmla="*/ 1 w 1036"/>
                <a:gd name="T87" fmla="*/ 1114 h 1186"/>
                <a:gd name="T88" fmla="*/ 16 w 1036"/>
                <a:gd name="T89" fmla="*/ 1012 h 1186"/>
                <a:gd name="T90" fmla="*/ 22 w 1036"/>
                <a:gd name="T91" fmla="*/ 919 h 1186"/>
                <a:gd name="T92" fmla="*/ 83 w 1036"/>
                <a:gd name="T93" fmla="*/ 761 h 1186"/>
                <a:gd name="T94" fmla="*/ 103 w 1036"/>
                <a:gd name="T95" fmla="*/ 626 h 1186"/>
                <a:gd name="T96" fmla="*/ 182 w 1036"/>
                <a:gd name="T97" fmla="*/ 534 h 1186"/>
                <a:gd name="T98" fmla="*/ 336 w 1036"/>
                <a:gd name="T99" fmla="*/ 266 h 1186"/>
                <a:gd name="T100" fmla="*/ 317 w 1036"/>
                <a:gd name="T101" fmla="*/ 140 h 1186"/>
                <a:gd name="T102" fmla="*/ 383 w 1036"/>
                <a:gd name="T103" fmla="*/ 129 h 1186"/>
                <a:gd name="T104" fmla="*/ 408 w 1036"/>
                <a:gd name="T105" fmla="*/ 112 h 1186"/>
                <a:gd name="T106" fmla="*/ 462 w 1036"/>
                <a:gd name="T107" fmla="*/ 157 h 1186"/>
                <a:gd name="T108" fmla="*/ 457 w 1036"/>
                <a:gd name="T109" fmla="*/ 175 h 1186"/>
                <a:gd name="T110" fmla="*/ 453 w 1036"/>
                <a:gd name="T111" fmla="*/ 211 h 1186"/>
                <a:gd name="T112" fmla="*/ 495 w 1036"/>
                <a:gd name="T113" fmla="*/ 186 h 1186"/>
                <a:gd name="T114" fmla="*/ 529 w 1036"/>
                <a:gd name="T115" fmla="*/ 157 h 1186"/>
                <a:gd name="T116" fmla="*/ 553 w 1036"/>
                <a:gd name="T117" fmla="*/ 138 h 1186"/>
                <a:gd name="T118" fmla="*/ 609 w 1036"/>
                <a:gd name="T119" fmla="*/ 115 h 1186"/>
                <a:gd name="T120" fmla="*/ 648 w 1036"/>
                <a:gd name="T121" fmla="*/ 78 h 1186"/>
                <a:gd name="T122" fmla="*/ 653 w 1036"/>
                <a:gd name="T123" fmla="*/ 42 h 1186"/>
                <a:gd name="T124" fmla="*/ 626 w 1036"/>
                <a:gd name="T125" fmla="*/ 35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36" h="1186">
                  <a:moveTo>
                    <a:pt x="687" y="0"/>
                  </a:moveTo>
                  <a:lnTo>
                    <a:pt x="706" y="9"/>
                  </a:lnTo>
                  <a:lnTo>
                    <a:pt x="711" y="10"/>
                  </a:lnTo>
                  <a:lnTo>
                    <a:pt x="714" y="9"/>
                  </a:lnTo>
                  <a:lnTo>
                    <a:pt x="717" y="7"/>
                  </a:lnTo>
                  <a:lnTo>
                    <a:pt x="725" y="13"/>
                  </a:lnTo>
                  <a:lnTo>
                    <a:pt x="730" y="13"/>
                  </a:lnTo>
                  <a:lnTo>
                    <a:pt x="736" y="10"/>
                  </a:lnTo>
                  <a:lnTo>
                    <a:pt x="738" y="9"/>
                  </a:lnTo>
                  <a:lnTo>
                    <a:pt x="740" y="7"/>
                  </a:lnTo>
                  <a:lnTo>
                    <a:pt x="741" y="7"/>
                  </a:lnTo>
                  <a:lnTo>
                    <a:pt x="743" y="7"/>
                  </a:lnTo>
                  <a:lnTo>
                    <a:pt x="743" y="7"/>
                  </a:lnTo>
                  <a:lnTo>
                    <a:pt x="744" y="10"/>
                  </a:lnTo>
                  <a:lnTo>
                    <a:pt x="744" y="12"/>
                  </a:lnTo>
                  <a:lnTo>
                    <a:pt x="743" y="13"/>
                  </a:lnTo>
                  <a:lnTo>
                    <a:pt x="743" y="14"/>
                  </a:lnTo>
                  <a:lnTo>
                    <a:pt x="741" y="14"/>
                  </a:lnTo>
                  <a:lnTo>
                    <a:pt x="741" y="16"/>
                  </a:lnTo>
                  <a:lnTo>
                    <a:pt x="741" y="17"/>
                  </a:lnTo>
                  <a:lnTo>
                    <a:pt x="741" y="20"/>
                  </a:lnTo>
                  <a:lnTo>
                    <a:pt x="743" y="22"/>
                  </a:lnTo>
                  <a:lnTo>
                    <a:pt x="743" y="23"/>
                  </a:lnTo>
                  <a:lnTo>
                    <a:pt x="743" y="25"/>
                  </a:lnTo>
                  <a:lnTo>
                    <a:pt x="743" y="25"/>
                  </a:lnTo>
                  <a:lnTo>
                    <a:pt x="741" y="26"/>
                  </a:lnTo>
                  <a:lnTo>
                    <a:pt x="741" y="28"/>
                  </a:lnTo>
                  <a:lnTo>
                    <a:pt x="741" y="29"/>
                  </a:lnTo>
                  <a:lnTo>
                    <a:pt x="741" y="30"/>
                  </a:lnTo>
                  <a:lnTo>
                    <a:pt x="741" y="32"/>
                  </a:lnTo>
                  <a:lnTo>
                    <a:pt x="741" y="35"/>
                  </a:lnTo>
                  <a:lnTo>
                    <a:pt x="741" y="36"/>
                  </a:lnTo>
                  <a:lnTo>
                    <a:pt x="741" y="36"/>
                  </a:lnTo>
                  <a:lnTo>
                    <a:pt x="738" y="38"/>
                  </a:lnTo>
                  <a:lnTo>
                    <a:pt x="738" y="39"/>
                  </a:lnTo>
                  <a:lnTo>
                    <a:pt x="738" y="39"/>
                  </a:lnTo>
                  <a:lnTo>
                    <a:pt x="738" y="42"/>
                  </a:lnTo>
                  <a:lnTo>
                    <a:pt x="738" y="44"/>
                  </a:lnTo>
                  <a:lnTo>
                    <a:pt x="738" y="45"/>
                  </a:lnTo>
                  <a:lnTo>
                    <a:pt x="736" y="49"/>
                  </a:lnTo>
                  <a:lnTo>
                    <a:pt x="736" y="51"/>
                  </a:lnTo>
                  <a:lnTo>
                    <a:pt x="736" y="52"/>
                  </a:lnTo>
                  <a:lnTo>
                    <a:pt x="736" y="52"/>
                  </a:lnTo>
                  <a:lnTo>
                    <a:pt x="736" y="54"/>
                  </a:lnTo>
                  <a:lnTo>
                    <a:pt x="737" y="55"/>
                  </a:lnTo>
                  <a:lnTo>
                    <a:pt x="740" y="57"/>
                  </a:lnTo>
                  <a:lnTo>
                    <a:pt x="743" y="58"/>
                  </a:lnTo>
                  <a:lnTo>
                    <a:pt x="749" y="58"/>
                  </a:lnTo>
                  <a:lnTo>
                    <a:pt x="750" y="58"/>
                  </a:lnTo>
                  <a:lnTo>
                    <a:pt x="752" y="57"/>
                  </a:lnTo>
                  <a:lnTo>
                    <a:pt x="753" y="55"/>
                  </a:lnTo>
                  <a:lnTo>
                    <a:pt x="753" y="54"/>
                  </a:lnTo>
                  <a:lnTo>
                    <a:pt x="753" y="51"/>
                  </a:lnTo>
                  <a:lnTo>
                    <a:pt x="753" y="48"/>
                  </a:lnTo>
                  <a:lnTo>
                    <a:pt x="753" y="48"/>
                  </a:lnTo>
                  <a:lnTo>
                    <a:pt x="754" y="46"/>
                  </a:lnTo>
                  <a:lnTo>
                    <a:pt x="759" y="45"/>
                  </a:lnTo>
                  <a:lnTo>
                    <a:pt x="759" y="44"/>
                  </a:lnTo>
                  <a:lnTo>
                    <a:pt x="760" y="41"/>
                  </a:lnTo>
                  <a:lnTo>
                    <a:pt x="762" y="41"/>
                  </a:lnTo>
                  <a:lnTo>
                    <a:pt x="762" y="41"/>
                  </a:lnTo>
                  <a:lnTo>
                    <a:pt x="762" y="41"/>
                  </a:lnTo>
                  <a:lnTo>
                    <a:pt x="763" y="41"/>
                  </a:lnTo>
                  <a:lnTo>
                    <a:pt x="763" y="44"/>
                  </a:lnTo>
                  <a:lnTo>
                    <a:pt x="763" y="46"/>
                  </a:lnTo>
                  <a:lnTo>
                    <a:pt x="763" y="48"/>
                  </a:lnTo>
                  <a:lnTo>
                    <a:pt x="765" y="49"/>
                  </a:lnTo>
                  <a:lnTo>
                    <a:pt x="768" y="57"/>
                  </a:lnTo>
                  <a:lnTo>
                    <a:pt x="768" y="58"/>
                  </a:lnTo>
                  <a:lnTo>
                    <a:pt x="769" y="58"/>
                  </a:lnTo>
                  <a:lnTo>
                    <a:pt x="771" y="57"/>
                  </a:lnTo>
                  <a:lnTo>
                    <a:pt x="772" y="57"/>
                  </a:lnTo>
                  <a:lnTo>
                    <a:pt x="773" y="54"/>
                  </a:lnTo>
                  <a:lnTo>
                    <a:pt x="781" y="46"/>
                  </a:lnTo>
                  <a:lnTo>
                    <a:pt x="781" y="46"/>
                  </a:lnTo>
                  <a:lnTo>
                    <a:pt x="782" y="45"/>
                  </a:lnTo>
                  <a:lnTo>
                    <a:pt x="784" y="44"/>
                  </a:lnTo>
                  <a:lnTo>
                    <a:pt x="789" y="42"/>
                  </a:lnTo>
                  <a:lnTo>
                    <a:pt x="792" y="39"/>
                  </a:lnTo>
                  <a:lnTo>
                    <a:pt x="792" y="41"/>
                  </a:lnTo>
                  <a:lnTo>
                    <a:pt x="794" y="41"/>
                  </a:lnTo>
                  <a:lnTo>
                    <a:pt x="795" y="45"/>
                  </a:lnTo>
                  <a:lnTo>
                    <a:pt x="805" y="57"/>
                  </a:lnTo>
                  <a:lnTo>
                    <a:pt x="805" y="58"/>
                  </a:lnTo>
                  <a:lnTo>
                    <a:pt x="805" y="58"/>
                  </a:lnTo>
                  <a:lnTo>
                    <a:pt x="807" y="61"/>
                  </a:lnTo>
                  <a:lnTo>
                    <a:pt x="805" y="71"/>
                  </a:lnTo>
                  <a:lnTo>
                    <a:pt x="807" y="77"/>
                  </a:lnTo>
                  <a:lnTo>
                    <a:pt x="807" y="77"/>
                  </a:lnTo>
                  <a:lnTo>
                    <a:pt x="807" y="78"/>
                  </a:lnTo>
                  <a:lnTo>
                    <a:pt x="808" y="81"/>
                  </a:lnTo>
                  <a:lnTo>
                    <a:pt x="820" y="93"/>
                  </a:lnTo>
                  <a:lnTo>
                    <a:pt x="823" y="96"/>
                  </a:lnTo>
                  <a:lnTo>
                    <a:pt x="823" y="97"/>
                  </a:lnTo>
                  <a:lnTo>
                    <a:pt x="823" y="99"/>
                  </a:lnTo>
                  <a:lnTo>
                    <a:pt x="823" y="100"/>
                  </a:lnTo>
                  <a:lnTo>
                    <a:pt x="823" y="100"/>
                  </a:lnTo>
                  <a:lnTo>
                    <a:pt x="823" y="102"/>
                  </a:lnTo>
                  <a:lnTo>
                    <a:pt x="823" y="103"/>
                  </a:lnTo>
                  <a:lnTo>
                    <a:pt x="822" y="103"/>
                  </a:lnTo>
                  <a:lnTo>
                    <a:pt x="819" y="106"/>
                  </a:lnTo>
                  <a:lnTo>
                    <a:pt x="816" y="111"/>
                  </a:lnTo>
                  <a:lnTo>
                    <a:pt x="816" y="113"/>
                  </a:lnTo>
                  <a:lnTo>
                    <a:pt x="816" y="115"/>
                  </a:lnTo>
                  <a:lnTo>
                    <a:pt x="816" y="116"/>
                  </a:lnTo>
                  <a:lnTo>
                    <a:pt x="816" y="119"/>
                  </a:lnTo>
                  <a:lnTo>
                    <a:pt x="816" y="121"/>
                  </a:lnTo>
                  <a:lnTo>
                    <a:pt x="816" y="122"/>
                  </a:lnTo>
                  <a:lnTo>
                    <a:pt x="814" y="124"/>
                  </a:lnTo>
                  <a:lnTo>
                    <a:pt x="814" y="124"/>
                  </a:lnTo>
                  <a:lnTo>
                    <a:pt x="810" y="129"/>
                  </a:lnTo>
                  <a:lnTo>
                    <a:pt x="808" y="131"/>
                  </a:lnTo>
                  <a:lnTo>
                    <a:pt x="808" y="132"/>
                  </a:lnTo>
                  <a:lnTo>
                    <a:pt x="808" y="134"/>
                  </a:lnTo>
                  <a:lnTo>
                    <a:pt x="811" y="135"/>
                  </a:lnTo>
                  <a:lnTo>
                    <a:pt x="814" y="135"/>
                  </a:lnTo>
                  <a:lnTo>
                    <a:pt x="817" y="134"/>
                  </a:lnTo>
                  <a:lnTo>
                    <a:pt x="819" y="132"/>
                  </a:lnTo>
                  <a:lnTo>
                    <a:pt x="819" y="131"/>
                  </a:lnTo>
                  <a:lnTo>
                    <a:pt x="820" y="127"/>
                  </a:lnTo>
                  <a:lnTo>
                    <a:pt x="820" y="125"/>
                  </a:lnTo>
                  <a:lnTo>
                    <a:pt x="822" y="125"/>
                  </a:lnTo>
                  <a:lnTo>
                    <a:pt x="823" y="124"/>
                  </a:lnTo>
                  <a:lnTo>
                    <a:pt x="824" y="124"/>
                  </a:lnTo>
                  <a:lnTo>
                    <a:pt x="826" y="124"/>
                  </a:lnTo>
                  <a:lnTo>
                    <a:pt x="826" y="122"/>
                  </a:lnTo>
                  <a:lnTo>
                    <a:pt x="827" y="121"/>
                  </a:lnTo>
                  <a:lnTo>
                    <a:pt x="829" y="118"/>
                  </a:lnTo>
                  <a:lnTo>
                    <a:pt x="830" y="116"/>
                  </a:lnTo>
                  <a:lnTo>
                    <a:pt x="832" y="116"/>
                  </a:lnTo>
                  <a:lnTo>
                    <a:pt x="833" y="116"/>
                  </a:lnTo>
                  <a:lnTo>
                    <a:pt x="833" y="116"/>
                  </a:lnTo>
                  <a:lnTo>
                    <a:pt x="835" y="118"/>
                  </a:lnTo>
                  <a:lnTo>
                    <a:pt x="836" y="119"/>
                  </a:lnTo>
                  <a:lnTo>
                    <a:pt x="836" y="119"/>
                  </a:lnTo>
                  <a:lnTo>
                    <a:pt x="836" y="121"/>
                  </a:lnTo>
                  <a:lnTo>
                    <a:pt x="835" y="122"/>
                  </a:lnTo>
                  <a:lnTo>
                    <a:pt x="835" y="124"/>
                  </a:lnTo>
                  <a:lnTo>
                    <a:pt x="833" y="125"/>
                  </a:lnTo>
                  <a:lnTo>
                    <a:pt x="833" y="125"/>
                  </a:lnTo>
                  <a:lnTo>
                    <a:pt x="833" y="125"/>
                  </a:lnTo>
                  <a:lnTo>
                    <a:pt x="839" y="129"/>
                  </a:lnTo>
                  <a:lnTo>
                    <a:pt x="839" y="131"/>
                  </a:lnTo>
                  <a:lnTo>
                    <a:pt x="839" y="131"/>
                  </a:lnTo>
                  <a:lnTo>
                    <a:pt x="840" y="138"/>
                  </a:lnTo>
                  <a:lnTo>
                    <a:pt x="842" y="143"/>
                  </a:lnTo>
                  <a:lnTo>
                    <a:pt x="842" y="145"/>
                  </a:lnTo>
                  <a:lnTo>
                    <a:pt x="840" y="148"/>
                  </a:lnTo>
                  <a:lnTo>
                    <a:pt x="840" y="151"/>
                  </a:lnTo>
                  <a:lnTo>
                    <a:pt x="840" y="153"/>
                  </a:lnTo>
                  <a:lnTo>
                    <a:pt x="840" y="154"/>
                  </a:lnTo>
                  <a:lnTo>
                    <a:pt x="842" y="166"/>
                  </a:lnTo>
                  <a:lnTo>
                    <a:pt x="842" y="166"/>
                  </a:lnTo>
                  <a:lnTo>
                    <a:pt x="842" y="167"/>
                  </a:lnTo>
                  <a:lnTo>
                    <a:pt x="842" y="167"/>
                  </a:lnTo>
                  <a:lnTo>
                    <a:pt x="843" y="169"/>
                  </a:lnTo>
                  <a:lnTo>
                    <a:pt x="846" y="169"/>
                  </a:lnTo>
                  <a:lnTo>
                    <a:pt x="871" y="169"/>
                  </a:lnTo>
                  <a:lnTo>
                    <a:pt x="874" y="167"/>
                  </a:lnTo>
                  <a:lnTo>
                    <a:pt x="877" y="164"/>
                  </a:lnTo>
                  <a:lnTo>
                    <a:pt x="887" y="153"/>
                  </a:lnTo>
                  <a:lnTo>
                    <a:pt x="887" y="151"/>
                  </a:lnTo>
                  <a:lnTo>
                    <a:pt x="887" y="148"/>
                  </a:lnTo>
                  <a:lnTo>
                    <a:pt x="887" y="148"/>
                  </a:lnTo>
                  <a:lnTo>
                    <a:pt x="886" y="147"/>
                  </a:lnTo>
                  <a:lnTo>
                    <a:pt x="886" y="145"/>
                  </a:lnTo>
                  <a:lnTo>
                    <a:pt x="886" y="145"/>
                  </a:lnTo>
                  <a:lnTo>
                    <a:pt x="884" y="144"/>
                  </a:lnTo>
                  <a:lnTo>
                    <a:pt x="884" y="144"/>
                  </a:lnTo>
                  <a:lnTo>
                    <a:pt x="884" y="144"/>
                  </a:lnTo>
                  <a:lnTo>
                    <a:pt x="886" y="141"/>
                  </a:lnTo>
                  <a:lnTo>
                    <a:pt x="894" y="135"/>
                  </a:lnTo>
                  <a:lnTo>
                    <a:pt x="896" y="135"/>
                  </a:lnTo>
                  <a:lnTo>
                    <a:pt x="897" y="137"/>
                  </a:lnTo>
                  <a:lnTo>
                    <a:pt x="899" y="138"/>
                  </a:lnTo>
                  <a:lnTo>
                    <a:pt x="900" y="140"/>
                  </a:lnTo>
                  <a:lnTo>
                    <a:pt x="900" y="140"/>
                  </a:lnTo>
                  <a:lnTo>
                    <a:pt x="899" y="143"/>
                  </a:lnTo>
                  <a:lnTo>
                    <a:pt x="899" y="144"/>
                  </a:lnTo>
                  <a:lnTo>
                    <a:pt x="897" y="144"/>
                  </a:lnTo>
                  <a:lnTo>
                    <a:pt x="897" y="145"/>
                  </a:lnTo>
                  <a:lnTo>
                    <a:pt x="897" y="147"/>
                  </a:lnTo>
                  <a:lnTo>
                    <a:pt x="899" y="148"/>
                  </a:lnTo>
                  <a:lnTo>
                    <a:pt x="900" y="150"/>
                  </a:lnTo>
                  <a:lnTo>
                    <a:pt x="902" y="150"/>
                  </a:lnTo>
                  <a:lnTo>
                    <a:pt x="903" y="150"/>
                  </a:lnTo>
                  <a:lnTo>
                    <a:pt x="905" y="150"/>
                  </a:lnTo>
                  <a:lnTo>
                    <a:pt x="905" y="150"/>
                  </a:lnTo>
                  <a:lnTo>
                    <a:pt x="906" y="150"/>
                  </a:lnTo>
                  <a:lnTo>
                    <a:pt x="907" y="151"/>
                  </a:lnTo>
                  <a:lnTo>
                    <a:pt x="909" y="153"/>
                  </a:lnTo>
                  <a:lnTo>
                    <a:pt x="909" y="154"/>
                  </a:lnTo>
                  <a:lnTo>
                    <a:pt x="909" y="156"/>
                  </a:lnTo>
                  <a:lnTo>
                    <a:pt x="907" y="159"/>
                  </a:lnTo>
                  <a:lnTo>
                    <a:pt x="906" y="161"/>
                  </a:lnTo>
                  <a:lnTo>
                    <a:pt x="906" y="163"/>
                  </a:lnTo>
                  <a:lnTo>
                    <a:pt x="906" y="164"/>
                  </a:lnTo>
                  <a:lnTo>
                    <a:pt x="910" y="173"/>
                  </a:lnTo>
                  <a:lnTo>
                    <a:pt x="907" y="182"/>
                  </a:lnTo>
                  <a:lnTo>
                    <a:pt x="906" y="185"/>
                  </a:lnTo>
                  <a:lnTo>
                    <a:pt x="905" y="186"/>
                  </a:lnTo>
                  <a:lnTo>
                    <a:pt x="903" y="188"/>
                  </a:lnTo>
                  <a:lnTo>
                    <a:pt x="903" y="189"/>
                  </a:lnTo>
                  <a:lnTo>
                    <a:pt x="905" y="191"/>
                  </a:lnTo>
                  <a:lnTo>
                    <a:pt x="910" y="192"/>
                  </a:lnTo>
                  <a:lnTo>
                    <a:pt x="912" y="194"/>
                  </a:lnTo>
                  <a:lnTo>
                    <a:pt x="913" y="194"/>
                  </a:lnTo>
                  <a:lnTo>
                    <a:pt x="913" y="195"/>
                  </a:lnTo>
                  <a:lnTo>
                    <a:pt x="923" y="220"/>
                  </a:lnTo>
                  <a:lnTo>
                    <a:pt x="923" y="221"/>
                  </a:lnTo>
                  <a:lnTo>
                    <a:pt x="923" y="223"/>
                  </a:lnTo>
                  <a:lnTo>
                    <a:pt x="921" y="221"/>
                  </a:lnTo>
                  <a:lnTo>
                    <a:pt x="919" y="221"/>
                  </a:lnTo>
                  <a:lnTo>
                    <a:pt x="916" y="220"/>
                  </a:lnTo>
                  <a:lnTo>
                    <a:pt x="915" y="220"/>
                  </a:lnTo>
                  <a:lnTo>
                    <a:pt x="913" y="220"/>
                  </a:lnTo>
                  <a:lnTo>
                    <a:pt x="906" y="227"/>
                  </a:lnTo>
                  <a:lnTo>
                    <a:pt x="906" y="237"/>
                  </a:lnTo>
                  <a:lnTo>
                    <a:pt x="906" y="239"/>
                  </a:lnTo>
                  <a:lnTo>
                    <a:pt x="906" y="243"/>
                  </a:lnTo>
                  <a:lnTo>
                    <a:pt x="906" y="246"/>
                  </a:lnTo>
                  <a:lnTo>
                    <a:pt x="910" y="250"/>
                  </a:lnTo>
                  <a:lnTo>
                    <a:pt x="912" y="252"/>
                  </a:lnTo>
                  <a:lnTo>
                    <a:pt x="913" y="253"/>
                  </a:lnTo>
                  <a:lnTo>
                    <a:pt x="915" y="253"/>
                  </a:lnTo>
                  <a:lnTo>
                    <a:pt x="916" y="253"/>
                  </a:lnTo>
                  <a:lnTo>
                    <a:pt x="916" y="255"/>
                  </a:lnTo>
                  <a:lnTo>
                    <a:pt x="918" y="255"/>
                  </a:lnTo>
                  <a:lnTo>
                    <a:pt x="918" y="256"/>
                  </a:lnTo>
                  <a:lnTo>
                    <a:pt x="918" y="258"/>
                  </a:lnTo>
                  <a:lnTo>
                    <a:pt x="915" y="265"/>
                  </a:lnTo>
                  <a:lnTo>
                    <a:pt x="915" y="266"/>
                  </a:lnTo>
                  <a:lnTo>
                    <a:pt x="916" y="269"/>
                  </a:lnTo>
                  <a:lnTo>
                    <a:pt x="919" y="275"/>
                  </a:lnTo>
                  <a:lnTo>
                    <a:pt x="919" y="278"/>
                  </a:lnTo>
                  <a:lnTo>
                    <a:pt x="919" y="281"/>
                  </a:lnTo>
                  <a:lnTo>
                    <a:pt x="919" y="282"/>
                  </a:lnTo>
                  <a:lnTo>
                    <a:pt x="918" y="282"/>
                  </a:lnTo>
                  <a:lnTo>
                    <a:pt x="916" y="282"/>
                  </a:lnTo>
                  <a:lnTo>
                    <a:pt x="913" y="281"/>
                  </a:lnTo>
                  <a:lnTo>
                    <a:pt x="912" y="281"/>
                  </a:lnTo>
                  <a:lnTo>
                    <a:pt x="910" y="279"/>
                  </a:lnTo>
                  <a:lnTo>
                    <a:pt x="909" y="279"/>
                  </a:lnTo>
                  <a:lnTo>
                    <a:pt x="909" y="279"/>
                  </a:lnTo>
                  <a:lnTo>
                    <a:pt x="909" y="281"/>
                  </a:lnTo>
                  <a:lnTo>
                    <a:pt x="907" y="282"/>
                  </a:lnTo>
                  <a:lnTo>
                    <a:pt x="909" y="284"/>
                  </a:lnTo>
                  <a:lnTo>
                    <a:pt x="909" y="285"/>
                  </a:lnTo>
                  <a:lnTo>
                    <a:pt x="915" y="291"/>
                  </a:lnTo>
                  <a:lnTo>
                    <a:pt x="915" y="291"/>
                  </a:lnTo>
                  <a:lnTo>
                    <a:pt x="915" y="294"/>
                  </a:lnTo>
                  <a:lnTo>
                    <a:pt x="915" y="298"/>
                  </a:lnTo>
                  <a:lnTo>
                    <a:pt x="915" y="300"/>
                  </a:lnTo>
                  <a:lnTo>
                    <a:pt x="915" y="303"/>
                  </a:lnTo>
                  <a:lnTo>
                    <a:pt x="915" y="304"/>
                  </a:lnTo>
                  <a:lnTo>
                    <a:pt x="916" y="306"/>
                  </a:lnTo>
                  <a:lnTo>
                    <a:pt x="919" y="309"/>
                  </a:lnTo>
                  <a:lnTo>
                    <a:pt x="919" y="310"/>
                  </a:lnTo>
                  <a:lnTo>
                    <a:pt x="921" y="311"/>
                  </a:lnTo>
                  <a:lnTo>
                    <a:pt x="919" y="313"/>
                  </a:lnTo>
                  <a:lnTo>
                    <a:pt x="919" y="313"/>
                  </a:lnTo>
                  <a:lnTo>
                    <a:pt x="918" y="314"/>
                  </a:lnTo>
                  <a:lnTo>
                    <a:pt x="916" y="314"/>
                  </a:lnTo>
                  <a:lnTo>
                    <a:pt x="916" y="314"/>
                  </a:lnTo>
                  <a:lnTo>
                    <a:pt x="915" y="314"/>
                  </a:lnTo>
                  <a:lnTo>
                    <a:pt x="915" y="316"/>
                  </a:lnTo>
                  <a:lnTo>
                    <a:pt x="916" y="317"/>
                  </a:lnTo>
                  <a:lnTo>
                    <a:pt x="919" y="320"/>
                  </a:lnTo>
                  <a:lnTo>
                    <a:pt x="925" y="325"/>
                  </a:lnTo>
                  <a:lnTo>
                    <a:pt x="926" y="325"/>
                  </a:lnTo>
                  <a:lnTo>
                    <a:pt x="928" y="327"/>
                  </a:lnTo>
                  <a:lnTo>
                    <a:pt x="935" y="336"/>
                  </a:lnTo>
                  <a:lnTo>
                    <a:pt x="940" y="342"/>
                  </a:lnTo>
                  <a:lnTo>
                    <a:pt x="941" y="342"/>
                  </a:lnTo>
                  <a:lnTo>
                    <a:pt x="942" y="342"/>
                  </a:lnTo>
                  <a:lnTo>
                    <a:pt x="945" y="339"/>
                  </a:lnTo>
                  <a:lnTo>
                    <a:pt x="947" y="339"/>
                  </a:lnTo>
                  <a:lnTo>
                    <a:pt x="947" y="339"/>
                  </a:lnTo>
                  <a:lnTo>
                    <a:pt x="948" y="339"/>
                  </a:lnTo>
                  <a:lnTo>
                    <a:pt x="948" y="339"/>
                  </a:lnTo>
                  <a:lnTo>
                    <a:pt x="950" y="339"/>
                  </a:lnTo>
                  <a:lnTo>
                    <a:pt x="956" y="345"/>
                  </a:lnTo>
                  <a:lnTo>
                    <a:pt x="956" y="345"/>
                  </a:lnTo>
                  <a:lnTo>
                    <a:pt x="956" y="348"/>
                  </a:lnTo>
                  <a:lnTo>
                    <a:pt x="957" y="351"/>
                  </a:lnTo>
                  <a:lnTo>
                    <a:pt x="956" y="357"/>
                  </a:lnTo>
                  <a:lnTo>
                    <a:pt x="956" y="360"/>
                  </a:lnTo>
                  <a:lnTo>
                    <a:pt x="954" y="361"/>
                  </a:lnTo>
                  <a:lnTo>
                    <a:pt x="954" y="361"/>
                  </a:lnTo>
                  <a:lnTo>
                    <a:pt x="954" y="362"/>
                  </a:lnTo>
                  <a:lnTo>
                    <a:pt x="953" y="362"/>
                  </a:lnTo>
                  <a:lnTo>
                    <a:pt x="953" y="365"/>
                  </a:lnTo>
                  <a:lnTo>
                    <a:pt x="953" y="365"/>
                  </a:lnTo>
                  <a:lnTo>
                    <a:pt x="951" y="367"/>
                  </a:lnTo>
                  <a:lnTo>
                    <a:pt x="951" y="367"/>
                  </a:lnTo>
                  <a:lnTo>
                    <a:pt x="950" y="367"/>
                  </a:lnTo>
                  <a:lnTo>
                    <a:pt x="950" y="368"/>
                  </a:lnTo>
                  <a:lnTo>
                    <a:pt x="948" y="368"/>
                  </a:lnTo>
                  <a:lnTo>
                    <a:pt x="947" y="367"/>
                  </a:lnTo>
                  <a:lnTo>
                    <a:pt x="945" y="367"/>
                  </a:lnTo>
                  <a:lnTo>
                    <a:pt x="945" y="368"/>
                  </a:lnTo>
                  <a:lnTo>
                    <a:pt x="944" y="368"/>
                  </a:lnTo>
                  <a:lnTo>
                    <a:pt x="944" y="370"/>
                  </a:lnTo>
                  <a:lnTo>
                    <a:pt x="944" y="370"/>
                  </a:lnTo>
                  <a:lnTo>
                    <a:pt x="945" y="371"/>
                  </a:lnTo>
                  <a:lnTo>
                    <a:pt x="950" y="374"/>
                  </a:lnTo>
                  <a:lnTo>
                    <a:pt x="953" y="374"/>
                  </a:lnTo>
                  <a:lnTo>
                    <a:pt x="954" y="376"/>
                  </a:lnTo>
                  <a:lnTo>
                    <a:pt x="956" y="376"/>
                  </a:lnTo>
                  <a:lnTo>
                    <a:pt x="956" y="377"/>
                  </a:lnTo>
                  <a:lnTo>
                    <a:pt x="956" y="378"/>
                  </a:lnTo>
                  <a:lnTo>
                    <a:pt x="954" y="380"/>
                  </a:lnTo>
                  <a:lnTo>
                    <a:pt x="954" y="381"/>
                  </a:lnTo>
                  <a:lnTo>
                    <a:pt x="954" y="381"/>
                  </a:lnTo>
                  <a:lnTo>
                    <a:pt x="956" y="384"/>
                  </a:lnTo>
                  <a:lnTo>
                    <a:pt x="961" y="389"/>
                  </a:lnTo>
                  <a:lnTo>
                    <a:pt x="961" y="392"/>
                  </a:lnTo>
                  <a:lnTo>
                    <a:pt x="960" y="393"/>
                  </a:lnTo>
                  <a:lnTo>
                    <a:pt x="960" y="394"/>
                  </a:lnTo>
                  <a:lnTo>
                    <a:pt x="960" y="396"/>
                  </a:lnTo>
                  <a:lnTo>
                    <a:pt x="960" y="396"/>
                  </a:lnTo>
                  <a:lnTo>
                    <a:pt x="960" y="397"/>
                  </a:lnTo>
                  <a:lnTo>
                    <a:pt x="960" y="397"/>
                  </a:lnTo>
                  <a:lnTo>
                    <a:pt x="963" y="399"/>
                  </a:lnTo>
                  <a:lnTo>
                    <a:pt x="969" y="402"/>
                  </a:lnTo>
                  <a:lnTo>
                    <a:pt x="970" y="402"/>
                  </a:lnTo>
                  <a:lnTo>
                    <a:pt x="973" y="402"/>
                  </a:lnTo>
                  <a:lnTo>
                    <a:pt x="974" y="402"/>
                  </a:lnTo>
                  <a:lnTo>
                    <a:pt x="976" y="402"/>
                  </a:lnTo>
                  <a:lnTo>
                    <a:pt x="982" y="406"/>
                  </a:lnTo>
                  <a:lnTo>
                    <a:pt x="982" y="406"/>
                  </a:lnTo>
                  <a:lnTo>
                    <a:pt x="983" y="406"/>
                  </a:lnTo>
                  <a:lnTo>
                    <a:pt x="988" y="406"/>
                  </a:lnTo>
                  <a:lnTo>
                    <a:pt x="988" y="408"/>
                  </a:lnTo>
                  <a:lnTo>
                    <a:pt x="989" y="409"/>
                  </a:lnTo>
                  <a:lnTo>
                    <a:pt x="990" y="412"/>
                  </a:lnTo>
                  <a:lnTo>
                    <a:pt x="992" y="418"/>
                  </a:lnTo>
                  <a:lnTo>
                    <a:pt x="993" y="421"/>
                  </a:lnTo>
                  <a:lnTo>
                    <a:pt x="1008" y="432"/>
                  </a:lnTo>
                  <a:lnTo>
                    <a:pt x="1011" y="438"/>
                  </a:lnTo>
                  <a:lnTo>
                    <a:pt x="1015" y="442"/>
                  </a:lnTo>
                  <a:lnTo>
                    <a:pt x="1017" y="444"/>
                  </a:lnTo>
                  <a:lnTo>
                    <a:pt x="1017" y="444"/>
                  </a:lnTo>
                  <a:lnTo>
                    <a:pt x="1017" y="445"/>
                  </a:lnTo>
                  <a:lnTo>
                    <a:pt x="1018" y="445"/>
                  </a:lnTo>
                  <a:lnTo>
                    <a:pt x="1020" y="450"/>
                  </a:lnTo>
                  <a:lnTo>
                    <a:pt x="1020" y="451"/>
                  </a:lnTo>
                  <a:lnTo>
                    <a:pt x="1023" y="453"/>
                  </a:lnTo>
                  <a:lnTo>
                    <a:pt x="1023" y="454"/>
                  </a:lnTo>
                  <a:lnTo>
                    <a:pt x="1024" y="456"/>
                  </a:lnTo>
                  <a:lnTo>
                    <a:pt x="1024" y="457"/>
                  </a:lnTo>
                  <a:lnTo>
                    <a:pt x="1025" y="460"/>
                  </a:lnTo>
                  <a:lnTo>
                    <a:pt x="1027" y="466"/>
                  </a:lnTo>
                  <a:lnTo>
                    <a:pt x="1027" y="467"/>
                  </a:lnTo>
                  <a:lnTo>
                    <a:pt x="1027" y="469"/>
                  </a:lnTo>
                  <a:lnTo>
                    <a:pt x="1025" y="470"/>
                  </a:lnTo>
                  <a:lnTo>
                    <a:pt x="1024" y="470"/>
                  </a:lnTo>
                  <a:lnTo>
                    <a:pt x="1020" y="472"/>
                  </a:lnTo>
                  <a:lnTo>
                    <a:pt x="1020" y="472"/>
                  </a:lnTo>
                  <a:lnTo>
                    <a:pt x="1018" y="473"/>
                  </a:lnTo>
                  <a:lnTo>
                    <a:pt x="1020" y="473"/>
                  </a:lnTo>
                  <a:lnTo>
                    <a:pt x="1021" y="476"/>
                  </a:lnTo>
                  <a:lnTo>
                    <a:pt x="1023" y="477"/>
                  </a:lnTo>
                  <a:lnTo>
                    <a:pt x="1023" y="479"/>
                  </a:lnTo>
                  <a:lnTo>
                    <a:pt x="1023" y="483"/>
                  </a:lnTo>
                  <a:lnTo>
                    <a:pt x="1021" y="496"/>
                  </a:lnTo>
                  <a:lnTo>
                    <a:pt x="1021" y="498"/>
                  </a:lnTo>
                  <a:lnTo>
                    <a:pt x="1021" y="499"/>
                  </a:lnTo>
                  <a:lnTo>
                    <a:pt x="1020" y="502"/>
                  </a:lnTo>
                  <a:lnTo>
                    <a:pt x="1020" y="502"/>
                  </a:lnTo>
                  <a:lnTo>
                    <a:pt x="1020" y="504"/>
                  </a:lnTo>
                  <a:lnTo>
                    <a:pt x="1020" y="505"/>
                  </a:lnTo>
                  <a:lnTo>
                    <a:pt x="1023" y="509"/>
                  </a:lnTo>
                  <a:lnTo>
                    <a:pt x="1023" y="511"/>
                  </a:lnTo>
                  <a:lnTo>
                    <a:pt x="1024" y="511"/>
                  </a:lnTo>
                  <a:lnTo>
                    <a:pt x="1024" y="512"/>
                  </a:lnTo>
                  <a:lnTo>
                    <a:pt x="1024" y="515"/>
                  </a:lnTo>
                  <a:lnTo>
                    <a:pt x="1023" y="520"/>
                  </a:lnTo>
                  <a:lnTo>
                    <a:pt x="1023" y="521"/>
                  </a:lnTo>
                  <a:lnTo>
                    <a:pt x="1021" y="523"/>
                  </a:lnTo>
                  <a:lnTo>
                    <a:pt x="1021" y="524"/>
                  </a:lnTo>
                  <a:lnTo>
                    <a:pt x="1018" y="525"/>
                  </a:lnTo>
                  <a:lnTo>
                    <a:pt x="1017" y="527"/>
                  </a:lnTo>
                  <a:lnTo>
                    <a:pt x="1017" y="528"/>
                  </a:lnTo>
                  <a:lnTo>
                    <a:pt x="1017" y="533"/>
                  </a:lnTo>
                  <a:lnTo>
                    <a:pt x="1017" y="539"/>
                  </a:lnTo>
                  <a:lnTo>
                    <a:pt x="1017" y="541"/>
                  </a:lnTo>
                  <a:lnTo>
                    <a:pt x="1017" y="543"/>
                  </a:lnTo>
                  <a:lnTo>
                    <a:pt x="1015" y="544"/>
                  </a:lnTo>
                  <a:lnTo>
                    <a:pt x="1015" y="544"/>
                  </a:lnTo>
                  <a:lnTo>
                    <a:pt x="1015" y="546"/>
                  </a:lnTo>
                  <a:lnTo>
                    <a:pt x="1014" y="547"/>
                  </a:lnTo>
                  <a:lnTo>
                    <a:pt x="1014" y="549"/>
                  </a:lnTo>
                  <a:lnTo>
                    <a:pt x="1014" y="549"/>
                  </a:lnTo>
                  <a:lnTo>
                    <a:pt x="1014" y="552"/>
                  </a:lnTo>
                  <a:lnTo>
                    <a:pt x="1014" y="555"/>
                  </a:lnTo>
                  <a:lnTo>
                    <a:pt x="1015" y="556"/>
                  </a:lnTo>
                  <a:lnTo>
                    <a:pt x="1015" y="556"/>
                  </a:lnTo>
                  <a:lnTo>
                    <a:pt x="1017" y="559"/>
                  </a:lnTo>
                  <a:lnTo>
                    <a:pt x="1024" y="563"/>
                  </a:lnTo>
                  <a:lnTo>
                    <a:pt x="1027" y="562"/>
                  </a:lnTo>
                  <a:lnTo>
                    <a:pt x="1027" y="563"/>
                  </a:lnTo>
                  <a:lnTo>
                    <a:pt x="1028" y="563"/>
                  </a:lnTo>
                  <a:lnTo>
                    <a:pt x="1028" y="566"/>
                  </a:lnTo>
                  <a:lnTo>
                    <a:pt x="1030" y="571"/>
                  </a:lnTo>
                  <a:lnTo>
                    <a:pt x="1036" y="582"/>
                  </a:lnTo>
                  <a:lnTo>
                    <a:pt x="1021" y="595"/>
                  </a:lnTo>
                  <a:lnTo>
                    <a:pt x="1017" y="598"/>
                  </a:lnTo>
                  <a:lnTo>
                    <a:pt x="1015" y="598"/>
                  </a:lnTo>
                  <a:lnTo>
                    <a:pt x="1015" y="598"/>
                  </a:lnTo>
                  <a:lnTo>
                    <a:pt x="1015" y="597"/>
                  </a:lnTo>
                  <a:lnTo>
                    <a:pt x="1014" y="595"/>
                  </a:lnTo>
                  <a:lnTo>
                    <a:pt x="1014" y="594"/>
                  </a:lnTo>
                  <a:lnTo>
                    <a:pt x="1014" y="592"/>
                  </a:lnTo>
                  <a:lnTo>
                    <a:pt x="1014" y="592"/>
                  </a:lnTo>
                  <a:lnTo>
                    <a:pt x="1015" y="591"/>
                  </a:lnTo>
                  <a:lnTo>
                    <a:pt x="1017" y="588"/>
                  </a:lnTo>
                  <a:lnTo>
                    <a:pt x="1017" y="587"/>
                  </a:lnTo>
                  <a:lnTo>
                    <a:pt x="1015" y="585"/>
                  </a:lnTo>
                  <a:lnTo>
                    <a:pt x="1017" y="584"/>
                  </a:lnTo>
                  <a:lnTo>
                    <a:pt x="1018" y="584"/>
                  </a:lnTo>
                  <a:lnTo>
                    <a:pt x="1018" y="582"/>
                  </a:lnTo>
                  <a:lnTo>
                    <a:pt x="1018" y="582"/>
                  </a:lnTo>
                  <a:lnTo>
                    <a:pt x="1018" y="579"/>
                  </a:lnTo>
                  <a:lnTo>
                    <a:pt x="1017" y="579"/>
                  </a:lnTo>
                  <a:lnTo>
                    <a:pt x="1015" y="579"/>
                  </a:lnTo>
                  <a:lnTo>
                    <a:pt x="1014" y="579"/>
                  </a:lnTo>
                  <a:lnTo>
                    <a:pt x="1011" y="581"/>
                  </a:lnTo>
                  <a:lnTo>
                    <a:pt x="996" y="598"/>
                  </a:lnTo>
                  <a:lnTo>
                    <a:pt x="995" y="600"/>
                  </a:lnTo>
                  <a:lnTo>
                    <a:pt x="993" y="600"/>
                  </a:lnTo>
                  <a:lnTo>
                    <a:pt x="993" y="600"/>
                  </a:lnTo>
                  <a:lnTo>
                    <a:pt x="992" y="598"/>
                  </a:lnTo>
                  <a:lnTo>
                    <a:pt x="989" y="595"/>
                  </a:lnTo>
                  <a:lnTo>
                    <a:pt x="988" y="588"/>
                  </a:lnTo>
                  <a:lnTo>
                    <a:pt x="986" y="587"/>
                  </a:lnTo>
                  <a:lnTo>
                    <a:pt x="985" y="587"/>
                  </a:lnTo>
                  <a:lnTo>
                    <a:pt x="977" y="587"/>
                  </a:lnTo>
                  <a:lnTo>
                    <a:pt x="976" y="587"/>
                  </a:lnTo>
                  <a:lnTo>
                    <a:pt x="974" y="587"/>
                  </a:lnTo>
                  <a:lnTo>
                    <a:pt x="973" y="585"/>
                  </a:lnTo>
                  <a:lnTo>
                    <a:pt x="969" y="581"/>
                  </a:lnTo>
                  <a:lnTo>
                    <a:pt x="967" y="579"/>
                  </a:lnTo>
                  <a:lnTo>
                    <a:pt x="966" y="579"/>
                  </a:lnTo>
                  <a:lnTo>
                    <a:pt x="964" y="581"/>
                  </a:lnTo>
                  <a:lnTo>
                    <a:pt x="963" y="587"/>
                  </a:lnTo>
                  <a:lnTo>
                    <a:pt x="958" y="590"/>
                  </a:lnTo>
                  <a:lnTo>
                    <a:pt x="958" y="590"/>
                  </a:lnTo>
                  <a:lnTo>
                    <a:pt x="958" y="591"/>
                  </a:lnTo>
                  <a:lnTo>
                    <a:pt x="958" y="597"/>
                  </a:lnTo>
                  <a:lnTo>
                    <a:pt x="958" y="601"/>
                  </a:lnTo>
                  <a:lnTo>
                    <a:pt x="960" y="603"/>
                  </a:lnTo>
                  <a:lnTo>
                    <a:pt x="961" y="604"/>
                  </a:lnTo>
                  <a:lnTo>
                    <a:pt x="963" y="606"/>
                  </a:lnTo>
                  <a:lnTo>
                    <a:pt x="963" y="606"/>
                  </a:lnTo>
                  <a:lnTo>
                    <a:pt x="963" y="608"/>
                  </a:lnTo>
                  <a:lnTo>
                    <a:pt x="964" y="610"/>
                  </a:lnTo>
                  <a:lnTo>
                    <a:pt x="964" y="610"/>
                  </a:lnTo>
                  <a:lnTo>
                    <a:pt x="966" y="611"/>
                  </a:lnTo>
                  <a:lnTo>
                    <a:pt x="969" y="611"/>
                  </a:lnTo>
                  <a:lnTo>
                    <a:pt x="970" y="613"/>
                  </a:lnTo>
                  <a:lnTo>
                    <a:pt x="972" y="614"/>
                  </a:lnTo>
                  <a:lnTo>
                    <a:pt x="973" y="617"/>
                  </a:lnTo>
                  <a:lnTo>
                    <a:pt x="976" y="619"/>
                  </a:lnTo>
                  <a:lnTo>
                    <a:pt x="979" y="620"/>
                  </a:lnTo>
                  <a:lnTo>
                    <a:pt x="979" y="620"/>
                  </a:lnTo>
                  <a:lnTo>
                    <a:pt x="980" y="622"/>
                  </a:lnTo>
                  <a:lnTo>
                    <a:pt x="980" y="623"/>
                  </a:lnTo>
                  <a:lnTo>
                    <a:pt x="980" y="624"/>
                  </a:lnTo>
                  <a:lnTo>
                    <a:pt x="979" y="626"/>
                  </a:lnTo>
                  <a:lnTo>
                    <a:pt x="977" y="627"/>
                  </a:lnTo>
                  <a:lnTo>
                    <a:pt x="974" y="629"/>
                  </a:lnTo>
                  <a:lnTo>
                    <a:pt x="973" y="629"/>
                  </a:lnTo>
                  <a:lnTo>
                    <a:pt x="973" y="630"/>
                  </a:lnTo>
                  <a:lnTo>
                    <a:pt x="972" y="632"/>
                  </a:lnTo>
                  <a:lnTo>
                    <a:pt x="973" y="633"/>
                  </a:lnTo>
                  <a:lnTo>
                    <a:pt x="973" y="635"/>
                  </a:lnTo>
                  <a:lnTo>
                    <a:pt x="973" y="636"/>
                  </a:lnTo>
                  <a:lnTo>
                    <a:pt x="974" y="638"/>
                  </a:lnTo>
                  <a:lnTo>
                    <a:pt x="976" y="641"/>
                  </a:lnTo>
                  <a:lnTo>
                    <a:pt x="976" y="642"/>
                  </a:lnTo>
                  <a:lnTo>
                    <a:pt x="976" y="645"/>
                  </a:lnTo>
                  <a:lnTo>
                    <a:pt x="977" y="648"/>
                  </a:lnTo>
                  <a:lnTo>
                    <a:pt x="977" y="651"/>
                  </a:lnTo>
                  <a:lnTo>
                    <a:pt x="976" y="654"/>
                  </a:lnTo>
                  <a:lnTo>
                    <a:pt x="973" y="664"/>
                  </a:lnTo>
                  <a:lnTo>
                    <a:pt x="973" y="665"/>
                  </a:lnTo>
                  <a:lnTo>
                    <a:pt x="973" y="667"/>
                  </a:lnTo>
                  <a:lnTo>
                    <a:pt x="973" y="667"/>
                  </a:lnTo>
                  <a:lnTo>
                    <a:pt x="973" y="668"/>
                  </a:lnTo>
                  <a:lnTo>
                    <a:pt x="974" y="668"/>
                  </a:lnTo>
                  <a:lnTo>
                    <a:pt x="974" y="670"/>
                  </a:lnTo>
                  <a:lnTo>
                    <a:pt x="974" y="670"/>
                  </a:lnTo>
                  <a:lnTo>
                    <a:pt x="973" y="670"/>
                  </a:lnTo>
                  <a:lnTo>
                    <a:pt x="960" y="671"/>
                  </a:lnTo>
                  <a:lnTo>
                    <a:pt x="957" y="671"/>
                  </a:lnTo>
                  <a:lnTo>
                    <a:pt x="957" y="673"/>
                  </a:lnTo>
                  <a:lnTo>
                    <a:pt x="956" y="673"/>
                  </a:lnTo>
                  <a:lnTo>
                    <a:pt x="953" y="675"/>
                  </a:lnTo>
                  <a:lnTo>
                    <a:pt x="953" y="677"/>
                  </a:lnTo>
                  <a:lnTo>
                    <a:pt x="953" y="677"/>
                  </a:lnTo>
                  <a:lnTo>
                    <a:pt x="951" y="683"/>
                  </a:lnTo>
                  <a:lnTo>
                    <a:pt x="918" y="705"/>
                  </a:lnTo>
                  <a:lnTo>
                    <a:pt x="916" y="703"/>
                  </a:lnTo>
                  <a:lnTo>
                    <a:pt x="915" y="703"/>
                  </a:lnTo>
                  <a:lnTo>
                    <a:pt x="915" y="703"/>
                  </a:lnTo>
                  <a:lnTo>
                    <a:pt x="913" y="702"/>
                  </a:lnTo>
                  <a:lnTo>
                    <a:pt x="913" y="702"/>
                  </a:lnTo>
                  <a:lnTo>
                    <a:pt x="913" y="700"/>
                  </a:lnTo>
                  <a:lnTo>
                    <a:pt x="913" y="697"/>
                  </a:lnTo>
                  <a:lnTo>
                    <a:pt x="912" y="696"/>
                  </a:lnTo>
                  <a:lnTo>
                    <a:pt x="912" y="694"/>
                  </a:lnTo>
                  <a:lnTo>
                    <a:pt x="912" y="694"/>
                  </a:lnTo>
                  <a:lnTo>
                    <a:pt x="910" y="693"/>
                  </a:lnTo>
                  <a:lnTo>
                    <a:pt x="910" y="693"/>
                  </a:lnTo>
                  <a:lnTo>
                    <a:pt x="909" y="693"/>
                  </a:lnTo>
                  <a:lnTo>
                    <a:pt x="907" y="693"/>
                  </a:lnTo>
                  <a:lnTo>
                    <a:pt x="906" y="693"/>
                  </a:lnTo>
                  <a:lnTo>
                    <a:pt x="902" y="696"/>
                  </a:lnTo>
                  <a:lnTo>
                    <a:pt x="899" y="699"/>
                  </a:lnTo>
                  <a:lnTo>
                    <a:pt x="899" y="699"/>
                  </a:lnTo>
                  <a:lnTo>
                    <a:pt x="891" y="700"/>
                  </a:lnTo>
                  <a:lnTo>
                    <a:pt x="887" y="700"/>
                  </a:lnTo>
                  <a:lnTo>
                    <a:pt x="887" y="702"/>
                  </a:lnTo>
                  <a:lnTo>
                    <a:pt x="884" y="703"/>
                  </a:lnTo>
                  <a:lnTo>
                    <a:pt x="881" y="706"/>
                  </a:lnTo>
                  <a:lnTo>
                    <a:pt x="880" y="707"/>
                  </a:lnTo>
                  <a:lnTo>
                    <a:pt x="878" y="712"/>
                  </a:lnTo>
                  <a:lnTo>
                    <a:pt x="878" y="715"/>
                  </a:lnTo>
                  <a:lnTo>
                    <a:pt x="878" y="716"/>
                  </a:lnTo>
                  <a:lnTo>
                    <a:pt x="880" y="719"/>
                  </a:lnTo>
                  <a:lnTo>
                    <a:pt x="877" y="721"/>
                  </a:lnTo>
                  <a:lnTo>
                    <a:pt x="858" y="748"/>
                  </a:lnTo>
                  <a:lnTo>
                    <a:pt x="861" y="754"/>
                  </a:lnTo>
                  <a:lnTo>
                    <a:pt x="862" y="754"/>
                  </a:lnTo>
                  <a:lnTo>
                    <a:pt x="864" y="754"/>
                  </a:lnTo>
                  <a:lnTo>
                    <a:pt x="864" y="754"/>
                  </a:lnTo>
                  <a:lnTo>
                    <a:pt x="864" y="754"/>
                  </a:lnTo>
                  <a:lnTo>
                    <a:pt x="865" y="754"/>
                  </a:lnTo>
                  <a:lnTo>
                    <a:pt x="865" y="754"/>
                  </a:lnTo>
                  <a:lnTo>
                    <a:pt x="865" y="755"/>
                  </a:lnTo>
                  <a:lnTo>
                    <a:pt x="872" y="769"/>
                  </a:lnTo>
                  <a:lnTo>
                    <a:pt x="877" y="777"/>
                  </a:lnTo>
                  <a:lnTo>
                    <a:pt x="881" y="785"/>
                  </a:lnTo>
                  <a:lnTo>
                    <a:pt x="883" y="787"/>
                  </a:lnTo>
                  <a:lnTo>
                    <a:pt x="889" y="806"/>
                  </a:lnTo>
                  <a:lnTo>
                    <a:pt x="902" y="869"/>
                  </a:lnTo>
                  <a:lnTo>
                    <a:pt x="912" y="891"/>
                  </a:lnTo>
                  <a:lnTo>
                    <a:pt x="912" y="897"/>
                  </a:lnTo>
                  <a:lnTo>
                    <a:pt x="913" y="903"/>
                  </a:lnTo>
                  <a:lnTo>
                    <a:pt x="912" y="917"/>
                  </a:lnTo>
                  <a:lnTo>
                    <a:pt x="909" y="929"/>
                  </a:lnTo>
                  <a:lnTo>
                    <a:pt x="899" y="956"/>
                  </a:lnTo>
                  <a:lnTo>
                    <a:pt x="896" y="958"/>
                  </a:lnTo>
                  <a:lnTo>
                    <a:pt x="896" y="959"/>
                  </a:lnTo>
                  <a:lnTo>
                    <a:pt x="894" y="959"/>
                  </a:lnTo>
                  <a:lnTo>
                    <a:pt x="894" y="962"/>
                  </a:lnTo>
                  <a:lnTo>
                    <a:pt x="894" y="964"/>
                  </a:lnTo>
                  <a:lnTo>
                    <a:pt x="894" y="967"/>
                  </a:lnTo>
                  <a:lnTo>
                    <a:pt x="897" y="972"/>
                  </a:lnTo>
                  <a:lnTo>
                    <a:pt x="897" y="974"/>
                  </a:lnTo>
                  <a:lnTo>
                    <a:pt x="902" y="978"/>
                  </a:lnTo>
                  <a:lnTo>
                    <a:pt x="903" y="980"/>
                  </a:lnTo>
                  <a:lnTo>
                    <a:pt x="902" y="993"/>
                  </a:lnTo>
                  <a:lnTo>
                    <a:pt x="902" y="996"/>
                  </a:lnTo>
                  <a:lnTo>
                    <a:pt x="902" y="999"/>
                  </a:lnTo>
                  <a:lnTo>
                    <a:pt x="900" y="1002"/>
                  </a:lnTo>
                  <a:lnTo>
                    <a:pt x="899" y="1003"/>
                  </a:lnTo>
                  <a:lnTo>
                    <a:pt x="899" y="1009"/>
                  </a:lnTo>
                  <a:lnTo>
                    <a:pt x="897" y="1010"/>
                  </a:lnTo>
                  <a:lnTo>
                    <a:pt x="897" y="1012"/>
                  </a:lnTo>
                  <a:lnTo>
                    <a:pt x="896" y="1013"/>
                  </a:lnTo>
                  <a:lnTo>
                    <a:pt x="896" y="1013"/>
                  </a:lnTo>
                  <a:lnTo>
                    <a:pt x="896" y="1013"/>
                  </a:lnTo>
                  <a:lnTo>
                    <a:pt x="894" y="1015"/>
                  </a:lnTo>
                  <a:lnTo>
                    <a:pt x="894" y="1016"/>
                  </a:lnTo>
                  <a:lnTo>
                    <a:pt x="894" y="1016"/>
                  </a:lnTo>
                  <a:lnTo>
                    <a:pt x="894" y="1018"/>
                  </a:lnTo>
                  <a:lnTo>
                    <a:pt x="896" y="1018"/>
                  </a:lnTo>
                  <a:lnTo>
                    <a:pt x="897" y="1018"/>
                  </a:lnTo>
                  <a:lnTo>
                    <a:pt x="897" y="1018"/>
                  </a:lnTo>
                  <a:lnTo>
                    <a:pt x="899" y="1018"/>
                  </a:lnTo>
                  <a:lnTo>
                    <a:pt x="899" y="1018"/>
                  </a:lnTo>
                  <a:lnTo>
                    <a:pt x="899" y="1018"/>
                  </a:lnTo>
                  <a:lnTo>
                    <a:pt x="900" y="1018"/>
                  </a:lnTo>
                  <a:lnTo>
                    <a:pt x="900" y="1019"/>
                  </a:lnTo>
                  <a:lnTo>
                    <a:pt x="902" y="1022"/>
                  </a:lnTo>
                  <a:lnTo>
                    <a:pt x="903" y="1026"/>
                  </a:lnTo>
                  <a:lnTo>
                    <a:pt x="909" y="1041"/>
                  </a:lnTo>
                  <a:lnTo>
                    <a:pt x="907" y="1042"/>
                  </a:lnTo>
                  <a:lnTo>
                    <a:pt x="906" y="1042"/>
                  </a:lnTo>
                  <a:lnTo>
                    <a:pt x="906" y="1042"/>
                  </a:lnTo>
                  <a:lnTo>
                    <a:pt x="905" y="1044"/>
                  </a:lnTo>
                  <a:lnTo>
                    <a:pt x="905" y="1044"/>
                  </a:lnTo>
                  <a:lnTo>
                    <a:pt x="905" y="1047"/>
                  </a:lnTo>
                  <a:lnTo>
                    <a:pt x="903" y="1048"/>
                  </a:lnTo>
                  <a:lnTo>
                    <a:pt x="902" y="1048"/>
                  </a:lnTo>
                  <a:lnTo>
                    <a:pt x="896" y="1048"/>
                  </a:lnTo>
                  <a:lnTo>
                    <a:pt x="896" y="1048"/>
                  </a:lnTo>
                  <a:lnTo>
                    <a:pt x="894" y="1050"/>
                  </a:lnTo>
                  <a:lnTo>
                    <a:pt x="894" y="1050"/>
                  </a:lnTo>
                  <a:lnTo>
                    <a:pt x="891" y="1052"/>
                  </a:lnTo>
                  <a:lnTo>
                    <a:pt x="891" y="1054"/>
                  </a:lnTo>
                  <a:lnTo>
                    <a:pt x="891" y="1055"/>
                  </a:lnTo>
                  <a:lnTo>
                    <a:pt x="894" y="1058"/>
                  </a:lnTo>
                  <a:lnTo>
                    <a:pt x="896" y="1060"/>
                  </a:lnTo>
                  <a:lnTo>
                    <a:pt x="897" y="1063"/>
                  </a:lnTo>
                  <a:lnTo>
                    <a:pt x="899" y="1064"/>
                  </a:lnTo>
                  <a:lnTo>
                    <a:pt x="899" y="1066"/>
                  </a:lnTo>
                  <a:lnTo>
                    <a:pt x="900" y="1066"/>
                  </a:lnTo>
                  <a:lnTo>
                    <a:pt x="903" y="1066"/>
                  </a:lnTo>
                  <a:lnTo>
                    <a:pt x="903" y="1066"/>
                  </a:lnTo>
                  <a:lnTo>
                    <a:pt x="905" y="1067"/>
                  </a:lnTo>
                  <a:lnTo>
                    <a:pt x="905" y="1069"/>
                  </a:lnTo>
                  <a:lnTo>
                    <a:pt x="905" y="1070"/>
                  </a:lnTo>
                  <a:lnTo>
                    <a:pt x="906" y="1086"/>
                  </a:lnTo>
                  <a:lnTo>
                    <a:pt x="906" y="1095"/>
                  </a:lnTo>
                  <a:lnTo>
                    <a:pt x="907" y="1101"/>
                  </a:lnTo>
                  <a:lnTo>
                    <a:pt x="909" y="1103"/>
                  </a:lnTo>
                  <a:lnTo>
                    <a:pt x="910" y="1105"/>
                  </a:lnTo>
                  <a:lnTo>
                    <a:pt x="910" y="1108"/>
                  </a:lnTo>
                  <a:lnTo>
                    <a:pt x="909" y="1109"/>
                  </a:lnTo>
                  <a:lnTo>
                    <a:pt x="909" y="1111"/>
                  </a:lnTo>
                  <a:lnTo>
                    <a:pt x="909" y="1112"/>
                  </a:lnTo>
                  <a:lnTo>
                    <a:pt x="907" y="1114"/>
                  </a:lnTo>
                  <a:lnTo>
                    <a:pt x="906" y="1114"/>
                  </a:lnTo>
                  <a:lnTo>
                    <a:pt x="903" y="1114"/>
                  </a:lnTo>
                  <a:lnTo>
                    <a:pt x="896" y="1111"/>
                  </a:lnTo>
                  <a:lnTo>
                    <a:pt x="896" y="1111"/>
                  </a:lnTo>
                  <a:lnTo>
                    <a:pt x="896" y="1112"/>
                  </a:lnTo>
                  <a:lnTo>
                    <a:pt x="894" y="1112"/>
                  </a:lnTo>
                  <a:lnTo>
                    <a:pt x="894" y="1115"/>
                  </a:lnTo>
                  <a:lnTo>
                    <a:pt x="894" y="1122"/>
                  </a:lnTo>
                  <a:lnTo>
                    <a:pt x="890" y="1127"/>
                  </a:lnTo>
                  <a:lnTo>
                    <a:pt x="889" y="1122"/>
                  </a:lnTo>
                  <a:lnTo>
                    <a:pt x="887" y="1119"/>
                  </a:lnTo>
                  <a:lnTo>
                    <a:pt x="886" y="1114"/>
                  </a:lnTo>
                  <a:lnTo>
                    <a:pt x="884" y="1112"/>
                  </a:lnTo>
                  <a:lnTo>
                    <a:pt x="883" y="1111"/>
                  </a:lnTo>
                  <a:lnTo>
                    <a:pt x="880" y="1111"/>
                  </a:lnTo>
                  <a:lnTo>
                    <a:pt x="875" y="1111"/>
                  </a:lnTo>
                  <a:lnTo>
                    <a:pt x="867" y="1114"/>
                  </a:lnTo>
                  <a:lnTo>
                    <a:pt x="859" y="1118"/>
                  </a:lnTo>
                  <a:lnTo>
                    <a:pt x="854" y="1121"/>
                  </a:lnTo>
                  <a:lnTo>
                    <a:pt x="848" y="1122"/>
                  </a:lnTo>
                  <a:lnTo>
                    <a:pt x="839" y="1122"/>
                  </a:lnTo>
                  <a:lnTo>
                    <a:pt x="832" y="1119"/>
                  </a:lnTo>
                  <a:lnTo>
                    <a:pt x="820" y="1115"/>
                  </a:lnTo>
                  <a:lnTo>
                    <a:pt x="817" y="1114"/>
                  </a:lnTo>
                  <a:lnTo>
                    <a:pt x="813" y="1115"/>
                  </a:lnTo>
                  <a:lnTo>
                    <a:pt x="807" y="1119"/>
                  </a:lnTo>
                  <a:lnTo>
                    <a:pt x="781" y="1141"/>
                  </a:lnTo>
                  <a:lnTo>
                    <a:pt x="765" y="1150"/>
                  </a:lnTo>
                  <a:lnTo>
                    <a:pt x="754" y="1147"/>
                  </a:lnTo>
                  <a:lnTo>
                    <a:pt x="753" y="1146"/>
                  </a:lnTo>
                  <a:lnTo>
                    <a:pt x="747" y="1149"/>
                  </a:lnTo>
                  <a:lnTo>
                    <a:pt x="746" y="1151"/>
                  </a:lnTo>
                  <a:lnTo>
                    <a:pt x="746" y="1153"/>
                  </a:lnTo>
                  <a:lnTo>
                    <a:pt x="746" y="1153"/>
                  </a:lnTo>
                  <a:lnTo>
                    <a:pt x="744" y="1154"/>
                  </a:lnTo>
                  <a:lnTo>
                    <a:pt x="741" y="1156"/>
                  </a:lnTo>
                  <a:lnTo>
                    <a:pt x="733" y="1157"/>
                  </a:lnTo>
                  <a:lnTo>
                    <a:pt x="730" y="1157"/>
                  </a:lnTo>
                  <a:lnTo>
                    <a:pt x="730" y="1159"/>
                  </a:lnTo>
                  <a:lnTo>
                    <a:pt x="725" y="1165"/>
                  </a:lnTo>
                  <a:lnTo>
                    <a:pt x="709" y="1186"/>
                  </a:lnTo>
                  <a:lnTo>
                    <a:pt x="709" y="1186"/>
                  </a:lnTo>
                  <a:lnTo>
                    <a:pt x="708" y="1186"/>
                  </a:lnTo>
                  <a:lnTo>
                    <a:pt x="706" y="1185"/>
                  </a:lnTo>
                  <a:lnTo>
                    <a:pt x="612" y="1127"/>
                  </a:lnTo>
                  <a:lnTo>
                    <a:pt x="597" y="1124"/>
                  </a:lnTo>
                  <a:lnTo>
                    <a:pt x="586" y="1124"/>
                  </a:lnTo>
                  <a:lnTo>
                    <a:pt x="580" y="1117"/>
                  </a:lnTo>
                  <a:lnTo>
                    <a:pt x="561" y="1117"/>
                  </a:lnTo>
                  <a:lnTo>
                    <a:pt x="523" y="1112"/>
                  </a:lnTo>
                  <a:lnTo>
                    <a:pt x="516" y="1114"/>
                  </a:lnTo>
                  <a:lnTo>
                    <a:pt x="510" y="1119"/>
                  </a:lnTo>
                  <a:lnTo>
                    <a:pt x="498" y="1124"/>
                  </a:lnTo>
                  <a:lnTo>
                    <a:pt x="484" y="1125"/>
                  </a:lnTo>
                  <a:lnTo>
                    <a:pt x="475" y="1124"/>
                  </a:lnTo>
                  <a:lnTo>
                    <a:pt x="465" y="1115"/>
                  </a:lnTo>
                  <a:lnTo>
                    <a:pt x="460" y="1111"/>
                  </a:lnTo>
                  <a:lnTo>
                    <a:pt x="460" y="1106"/>
                  </a:lnTo>
                  <a:lnTo>
                    <a:pt x="460" y="1106"/>
                  </a:lnTo>
                  <a:lnTo>
                    <a:pt x="466" y="1105"/>
                  </a:lnTo>
                  <a:lnTo>
                    <a:pt x="466" y="1105"/>
                  </a:lnTo>
                  <a:lnTo>
                    <a:pt x="457" y="1098"/>
                  </a:lnTo>
                  <a:lnTo>
                    <a:pt x="446" y="1090"/>
                  </a:lnTo>
                  <a:lnTo>
                    <a:pt x="437" y="1090"/>
                  </a:lnTo>
                  <a:lnTo>
                    <a:pt x="434" y="1101"/>
                  </a:lnTo>
                  <a:lnTo>
                    <a:pt x="434" y="1101"/>
                  </a:lnTo>
                  <a:lnTo>
                    <a:pt x="437" y="1103"/>
                  </a:lnTo>
                  <a:lnTo>
                    <a:pt x="437" y="1103"/>
                  </a:lnTo>
                  <a:lnTo>
                    <a:pt x="418" y="1103"/>
                  </a:lnTo>
                  <a:lnTo>
                    <a:pt x="418" y="1101"/>
                  </a:lnTo>
                  <a:lnTo>
                    <a:pt x="417" y="1096"/>
                  </a:lnTo>
                  <a:lnTo>
                    <a:pt x="414" y="1093"/>
                  </a:lnTo>
                  <a:lnTo>
                    <a:pt x="412" y="1089"/>
                  </a:lnTo>
                  <a:lnTo>
                    <a:pt x="412" y="1089"/>
                  </a:lnTo>
                  <a:lnTo>
                    <a:pt x="414" y="1085"/>
                  </a:lnTo>
                  <a:lnTo>
                    <a:pt x="418" y="1079"/>
                  </a:lnTo>
                  <a:lnTo>
                    <a:pt x="419" y="1076"/>
                  </a:lnTo>
                  <a:lnTo>
                    <a:pt x="419" y="1076"/>
                  </a:lnTo>
                  <a:lnTo>
                    <a:pt x="417" y="1071"/>
                  </a:lnTo>
                  <a:lnTo>
                    <a:pt x="414" y="1070"/>
                  </a:lnTo>
                  <a:lnTo>
                    <a:pt x="409" y="1071"/>
                  </a:lnTo>
                  <a:lnTo>
                    <a:pt x="406" y="1070"/>
                  </a:lnTo>
                  <a:lnTo>
                    <a:pt x="403" y="1067"/>
                  </a:lnTo>
                  <a:lnTo>
                    <a:pt x="400" y="1060"/>
                  </a:lnTo>
                  <a:lnTo>
                    <a:pt x="398" y="1055"/>
                  </a:lnTo>
                  <a:lnTo>
                    <a:pt x="393" y="1054"/>
                  </a:lnTo>
                  <a:lnTo>
                    <a:pt x="390" y="1057"/>
                  </a:lnTo>
                  <a:lnTo>
                    <a:pt x="387" y="1069"/>
                  </a:lnTo>
                  <a:lnTo>
                    <a:pt x="383" y="1071"/>
                  </a:lnTo>
                  <a:lnTo>
                    <a:pt x="380" y="1069"/>
                  </a:lnTo>
                  <a:lnTo>
                    <a:pt x="379" y="1063"/>
                  </a:lnTo>
                  <a:lnTo>
                    <a:pt x="379" y="1055"/>
                  </a:lnTo>
                  <a:lnTo>
                    <a:pt x="379" y="1052"/>
                  </a:lnTo>
                  <a:lnTo>
                    <a:pt x="371" y="1050"/>
                  </a:lnTo>
                  <a:lnTo>
                    <a:pt x="363" y="1048"/>
                  </a:lnTo>
                  <a:lnTo>
                    <a:pt x="357" y="1051"/>
                  </a:lnTo>
                  <a:lnTo>
                    <a:pt x="357" y="1051"/>
                  </a:lnTo>
                  <a:lnTo>
                    <a:pt x="361" y="1060"/>
                  </a:lnTo>
                  <a:lnTo>
                    <a:pt x="361" y="1060"/>
                  </a:lnTo>
                  <a:lnTo>
                    <a:pt x="355" y="1063"/>
                  </a:lnTo>
                  <a:lnTo>
                    <a:pt x="336" y="1066"/>
                  </a:lnTo>
                  <a:lnTo>
                    <a:pt x="333" y="1066"/>
                  </a:lnTo>
                  <a:lnTo>
                    <a:pt x="331" y="1067"/>
                  </a:lnTo>
                  <a:lnTo>
                    <a:pt x="325" y="1074"/>
                  </a:lnTo>
                  <a:lnTo>
                    <a:pt x="323" y="1079"/>
                  </a:lnTo>
                  <a:lnTo>
                    <a:pt x="322" y="1089"/>
                  </a:lnTo>
                  <a:lnTo>
                    <a:pt x="317" y="1092"/>
                  </a:lnTo>
                  <a:lnTo>
                    <a:pt x="309" y="1098"/>
                  </a:lnTo>
                  <a:lnTo>
                    <a:pt x="306" y="1101"/>
                  </a:lnTo>
                  <a:lnTo>
                    <a:pt x="304" y="1105"/>
                  </a:lnTo>
                  <a:lnTo>
                    <a:pt x="304" y="1105"/>
                  </a:lnTo>
                  <a:lnTo>
                    <a:pt x="306" y="1108"/>
                  </a:lnTo>
                  <a:lnTo>
                    <a:pt x="307" y="1112"/>
                  </a:lnTo>
                  <a:lnTo>
                    <a:pt x="307" y="1112"/>
                  </a:lnTo>
                  <a:lnTo>
                    <a:pt x="304" y="1118"/>
                  </a:lnTo>
                  <a:lnTo>
                    <a:pt x="304" y="1118"/>
                  </a:lnTo>
                  <a:lnTo>
                    <a:pt x="310" y="1121"/>
                  </a:lnTo>
                  <a:lnTo>
                    <a:pt x="312" y="1121"/>
                  </a:lnTo>
                  <a:lnTo>
                    <a:pt x="320" y="1128"/>
                  </a:lnTo>
                  <a:lnTo>
                    <a:pt x="328" y="1131"/>
                  </a:lnTo>
                  <a:lnTo>
                    <a:pt x="335" y="1131"/>
                  </a:lnTo>
                  <a:lnTo>
                    <a:pt x="339" y="1128"/>
                  </a:lnTo>
                  <a:lnTo>
                    <a:pt x="344" y="1125"/>
                  </a:lnTo>
                  <a:lnTo>
                    <a:pt x="350" y="1122"/>
                  </a:lnTo>
                  <a:lnTo>
                    <a:pt x="367" y="1119"/>
                  </a:lnTo>
                  <a:lnTo>
                    <a:pt x="371" y="1121"/>
                  </a:lnTo>
                  <a:lnTo>
                    <a:pt x="376" y="1122"/>
                  </a:lnTo>
                  <a:lnTo>
                    <a:pt x="377" y="1122"/>
                  </a:lnTo>
                  <a:lnTo>
                    <a:pt x="380" y="1124"/>
                  </a:lnTo>
                  <a:lnTo>
                    <a:pt x="380" y="1124"/>
                  </a:lnTo>
                  <a:lnTo>
                    <a:pt x="379" y="1135"/>
                  </a:lnTo>
                  <a:lnTo>
                    <a:pt x="376" y="1134"/>
                  </a:lnTo>
                  <a:lnTo>
                    <a:pt x="376" y="1131"/>
                  </a:lnTo>
                  <a:lnTo>
                    <a:pt x="376" y="1130"/>
                  </a:lnTo>
                  <a:lnTo>
                    <a:pt x="374" y="1130"/>
                  </a:lnTo>
                  <a:lnTo>
                    <a:pt x="371" y="1131"/>
                  </a:lnTo>
                  <a:lnTo>
                    <a:pt x="370" y="1133"/>
                  </a:lnTo>
                  <a:lnTo>
                    <a:pt x="370" y="1135"/>
                  </a:lnTo>
                  <a:lnTo>
                    <a:pt x="370" y="1135"/>
                  </a:lnTo>
                  <a:lnTo>
                    <a:pt x="370" y="1137"/>
                  </a:lnTo>
                  <a:lnTo>
                    <a:pt x="371" y="1140"/>
                  </a:lnTo>
                  <a:lnTo>
                    <a:pt x="371" y="1141"/>
                  </a:lnTo>
                  <a:lnTo>
                    <a:pt x="371" y="1141"/>
                  </a:lnTo>
                  <a:lnTo>
                    <a:pt x="371" y="1144"/>
                  </a:lnTo>
                  <a:lnTo>
                    <a:pt x="371" y="1144"/>
                  </a:lnTo>
                  <a:lnTo>
                    <a:pt x="371" y="1149"/>
                  </a:lnTo>
                  <a:lnTo>
                    <a:pt x="371" y="1149"/>
                  </a:lnTo>
                  <a:lnTo>
                    <a:pt x="371" y="1151"/>
                  </a:lnTo>
                  <a:lnTo>
                    <a:pt x="368" y="1156"/>
                  </a:lnTo>
                  <a:lnTo>
                    <a:pt x="364" y="1157"/>
                  </a:lnTo>
                  <a:lnTo>
                    <a:pt x="360" y="1153"/>
                  </a:lnTo>
                  <a:lnTo>
                    <a:pt x="355" y="1146"/>
                  </a:lnTo>
                  <a:lnTo>
                    <a:pt x="351" y="1141"/>
                  </a:lnTo>
                  <a:lnTo>
                    <a:pt x="341" y="1141"/>
                  </a:lnTo>
                  <a:lnTo>
                    <a:pt x="329" y="1149"/>
                  </a:lnTo>
                  <a:lnTo>
                    <a:pt x="325" y="1157"/>
                  </a:lnTo>
                  <a:lnTo>
                    <a:pt x="325" y="1160"/>
                  </a:lnTo>
                  <a:lnTo>
                    <a:pt x="315" y="1162"/>
                  </a:lnTo>
                  <a:lnTo>
                    <a:pt x="293" y="1162"/>
                  </a:lnTo>
                  <a:lnTo>
                    <a:pt x="278" y="1159"/>
                  </a:lnTo>
                  <a:lnTo>
                    <a:pt x="275" y="1156"/>
                  </a:lnTo>
                  <a:lnTo>
                    <a:pt x="272" y="1151"/>
                  </a:lnTo>
                  <a:lnTo>
                    <a:pt x="271" y="1146"/>
                  </a:lnTo>
                  <a:lnTo>
                    <a:pt x="269" y="1144"/>
                  </a:lnTo>
                  <a:lnTo>
                    <a:pt x="265" y="1144"/>
                  </a:lnTo>
                  <a:lnTo>
                    <a:pt x="256" y="1141"/>
                  </a:lnTo>
                  <a:lnTo>
                    <a:pt x="250" y="1141"/>
                  </a:lnTo>
                  <a:lnTo>
                    <a:pt x="232" y="1144"/>
                  </a:lnTo>
                  <a:lnTo>
                    <a:pt x="230" y="1146"/>
                  </a:lnTo>
                  <a:lnTo>
                    <a:pt x="227" y="1147"/>
                  </a:lnTo>
                  <a:lnTo>
                    <a:pt x="226" y="1150"/>
                  </a:lnTo>
                  <a:lnTo>
                    <a:pt x="218" y="1151"/>
                  </a:lnTo>
                  <a:lnTo>
                    <a:pt x="211" y="1156"/>
                  </a:lnTo>
                  <a:lnTo>
                    <a:pt x="208" y="1159"/>
                  </a:lnTo>
                  <a:lnTo>
                    <a:pt x="205" y="1162"/>
                  </a:lnTo>
                  <a:lnTo>
                    <a:pt x="204" y="1165"/>
                  </a:lnTo>
                  <a:lnTo>
                    <a:pt x="202" y="1166"/>
                  </a:lnTo>
                  <a:lnTo>
                    <a:pt x="199" y="1169"/>
                  </a:lnTo>
                  <a:lnTo>
                    <a:pt x="183" y="1172"/>
                  </a:lnTo>
                  <a:lnTo>
                    <a:pt x="138" y="1172"/>
                  </a:lnTo>
                  <a:lnTo>
                    <a:pt x="137" y="1170"/>
                  </a:lnTo>
                  <a:lnTo>
                    <a:pt x="137" y="1165"/>
                  </a:lnTo>
                  <a:lnTo>
                    <a:pt x="135" y="1160"/>
                  </a:lnTo>
                  <a:lnTo>
                    <a:pt x="134" y="1159"/>
                  </a:lnTo>
                  <a:lnTo>
                    <a:pt x="111" y="1157"/>
                  </a:lnTo>
                  <a:lnTo>
                    <a:pt x="106" y="1154"/>
                  </a:lnTo>
                  <a:lnTo>
                    <a:pt x="100" y="1165"/>
                  </a:lnTo>
                  <a:lnTo>
                    <a:pt x="95" y="1170"/>
                  </a:lnTo>
                  <a:lnTo>
                    <a:pt x="87" y="1175"/>
                  </a:lnTo>
                  <a:lnTo>
                    <a:pt x="60" y="1181"/>
                  </a:lnTo>
                  <a:lnTo>
                    <a:pt x="51" y="1179"/>
                  </a:lnTo>
                  <a:lnTo>
                    <a:pt x="33" y="1170"/>
                  </a:lnTo>
                  <a:lnTo>
                    <a:pt x="33" y="1170"/>
                  </a:lnTo>
                  <a:lnTo>
                    <a:pt x="42" y="1170"/>
                  </a:lnTo>
                  <a:lnTo>
                    <a:pt x="46" y="1166"/>
                  </a:lnTo>
                  <a:lnTo>
                    <a:pt x="51" y="1154"/>
                  </a:lnTo>
                  <a:lnTo>
                    <a:pt x="51" y="1154"/>
                  </a:lnTo>
                  <a:lnTo>
                    <a:pt x="42" y="1154"/>
                  </a:lnTo>
                  <a:lnTo>
                    <a:pt x="25" y="1160"/>
                  </a:lnTo>
                  <a:lnTo>
                    <a:pt x="25" y="1160"/>
                  </a:lnTo>
                  <a:lnTo>
                    <a:pt x="26" y="1154"/>
                  </a:lnTo>
                  <a:lnTo>
                    <a:pt x="28" y="1153"/>
                  </a:lnTo>
                  <a:lnTo>
                    <a:pt x="28" y="1153"/>
                  </a:lnTo>
                  <a:lnTo>
                    <a:pt x="26" y="1149"/>
                  </a:lnTo>
                  <a:lnTo>
                    <a:pt x="25" y="1146"/>
                  </a:lnTo>
                  <a:lnTo>
                    <a:pt x="23" y="1143"/>
                  </a:lnTo>
                  <a:lnTo>
                    <a:pt x="20" y="1141"/>
                  </a:lnTo>
                  <a:lnTo>
                    <a:pt x="13" y="1125"/>
                  </a:lnTo>
                  <a:lnTo>
                    <a:pt x="9" y="1118"/>
                  </a:lnTo>
                  <a:lnTo>
                    <a:pt x="3" y="1117"/>
                  </a:lnTo>
                  <a:lnTo>
                    <a:pt x="1" y="1114"/>
                  </a:lnTo>
                  <a:lnTo>
                    <a:pt x="0" y="1108"/>
                  </a:lnTo>
                  <a:lnTo>
                    <a:pt x="0" y="1098"/>
                  </a:lnTo>
                  <a:lnTo>
                    <a:pt x="0" y="1098"/>
                  </a:lnTo>
                  <a:lnTo>
                    <a:pt x="0" y="1093"/>
                  </a:lnTo>
                  <a:lnTo>
                    <a:pt x="6" y="1087"/>
                  </a:lnTo>
                  <a:lnTo>
                    <a:pt x="9" y="1085"/>
                  </a:lnTo>
                  <a:lnTo>
                    <a:pt x="9" y="1076"/>
                  </a:lnTo>
                  <a:lnTo>
                    <a:pt x="9" y="1076"/>
                  </a:lnTo>
                  <a:lnTo>
                    <a:pt x="4" y="1058"/>
                  </a:lnTo>
                  <a:lnTo>
                    <a:pt x="4" y="1058"/>
                  </a:lnTo>
                  <a:lnTo>
                    <a:pt x="6" y="1051"/>
                  </a:lnTo>
                  <a:lnTo>
                    <a:pt x="10" y="1034"/>
                  </a:lnTo>
                  <a:lnTo>
                    <a:pt x="12" y="1032"/>
                  </a:lnTo>
                  <a:lnTo>
                    <a:pt x="17" y="1029"/>
                  </a:lnTo>
                  <a:lnTo>
                    <a:pt x="17" y="1023"/>
                  </a:lnTo>
                  <a:lnTo>
                    <a:pt x="17" y="1023"/>
                  </a:lnTo>
                  <a:lnTo>
                    <a:pt x="16" y="1013"/>
                  </a:lnTo>
                  <a:lnTo>
                    <a:pt x="16" y="1013"/>
                  </a:lnTo>
                  <a:lnTo>
                    <a:pt x="16" y="1012"/>
                  </a:lnTo>
                  <a:lnTo>
                    <a:pt x="16" y="1012"/>
                  </a:lnTo>
                  <a:lnTo>
                    <a:pt x="16" y="1010"/>
                  </a:lnTo>
                  <a:lnTo>
                    <a:pt x="16" y="1009"/>
                  </a:lnTo>
                  <a:lnTo>
                    <a:pt x="16" y="1009"/>
                  </a:lnTo>
                  <a:lnTo>
                    <a:pt x="16" y="1006"/>
                  </a:lnTo>
                  <a:lnTo>
                    <a:pt x="17" y="1004"/>
                  </a:lnTo>
                  <a:lnTo>
                    <a:pt x="19" y="1002"/>
                  </a:lnTo>
                  <a:lnTo>
                    <a:pt x="20" y="1000"/>
                  </a:lnTo>
                  <a:lnTo>
                    <a:pt x="23" y="994"/>
                  </a:lnTo>
                  <a:lnTo>
                    <a:pt x="23" y="991"/>
                  </a:lnTo>
                  <a:lnTo>
                    <a:pt x="23" y="991"/>
                  </a:lnTo>
                  <a:lnTo>
                    <a:pt x="23" y="984"/>
                  </a:lnTo>
                  <a:lnTo>
                    <a:pt x="23" y="984"/>
                  </a:lnTo>
                  <a:lnTo>
                    <a:pt x="25" y="977"/>
                  </a:lnTo>
                  <a:lnTo>
                    <a:pt x="33" y="967"/>
                  </a:lnTo>
                  <a:lnTo>
                    <a:pt x="38" y="961"/>
                  </a:lnTo>
                  <a:lnTo>
                    <a:pt x="38" y="961"/>
                  </a:lnTo>
                  <a:lnTo>
                    <a:pt x="36" y="945"/>
                  </a:lnTo>
                  <a:lnTo>
                    <a:pt x="22" y="919"/>
                  </a:lnTo>
                  <a:lnTo>
                    <a:pt x="20" y="897"/>
                  </a:lnTo>
                  <a:lnTo>
                    <a:pt x="20" y="897"/>
                  </a:lnTo>
                  <a:lnTo>
                    <a:pt x="23" y="887"/>
                  </a:lnTo>
                  <a:lnTo>
                    <a:pt x="25" y="879"/>
                  </a:lnTo>
                  <a:lnTo>
                    <a:pt x="28" y="873"/>
                  </a:lnTo>
                  <a:lnTo>
                    <a:pt x="30" y="870"/>
                  </a:lnTo>
                  <a:lnTo>
                    <a:pt x="32" y="866"/>
                  </a:lnTo>
                  <a:lnTo>
                    <a:pt x="32" y="859"/>
                  </a:lnTo>
                  <a:lnTo>
                    <a:pt x="35" y="853"/>
                  </a:lnTo>
                  <a:lnTo>
                    <a:pt x="57" y="822"/>
                  </a:lnTo>
                  <a:lnTo>
                    <a:pt x="60" y="815"/>
                  </a:lnTo>
                  <a:lnTo>
                    <a:pt x="63" y="806"/>
                  </a:lnTo>
                  <a:lnTo>
                    <a:pt x="63" y="795"/>
                  </a:lnTo>
                  <a:lnTo>
                    <a:pt x="65" y="785"/>
                  </a:lnTo>
                  <a:lnTo>
                    <a:pt x="71" y="780"/>
                  </a:lnTo>
                  <a:lnTo>
                    <a:pt x="77" y="776"/>
                  </a:lnTo>
                  <a:lnTo>
                    <a:pt x="83" y="769"/>
                  </a:lnTo>
                  <a:lnTo>
                    <a:pt x="83" y="761"/>
                  </a:lnTo>
                  <a:lnTo>
                    <a:pt x="83" y="761"/>
                  </a:lnTo>
                  <a:lnTo>
                    <a:pt x="81" y="754"/>
                  </a:lnTo>
                  <a:lnTo>
                    <a:pt x="79" y="748"/>
                  </a:lnTo>
                  <a:lnTo>
                    <a:pt x="77" y="741"/>
                  </a:lnTo>
                  <a:lnTo>
                    <a:pt x="77" y="741"/>
                  </a:lnTo>
                  <a:lnTo>
                    <a:pt x="79" y="735"/>
                  </a:lnTo>
                  <a:lnTo>
                    <a:pt x="80" y="721"/>
                  </a:lnTo>
                  <a:lnTo>
                    <a:pt x="83" y="715"/>
                  </a:lnTo>
                  <a:lnTo>
                    <a:pt x="84" y="710"/>
                  </a:lnTo>
                  <a:lnTo>
                    <a:pt x="87" y="706"/>
                  </a:lnTo>
                  <a:lnTo>
                    <a:pt x="89" y="702"/>
                  </a:lnTo>
                  <a:lnTo>
                    <a:pt x="89" y="691"/>
                  </a:lnTo>
                  <a:lnTo>
                    <a:pt x="92" y="687"/>
                  </a:lnTo>
                  <a:lnTo>
                    <a:pt x="96" y="683"/>
                  </a:lnTo>
                  <a:lnTo>
                    <a:pt x="105" y="675"/>
                  </a:lnTo>
                  <a:lnTo>
                    <a:pt x="105" y="673"/>
                  </a:lnTo>
                  <a:lnTo>
                    <a:pt x="105" y="673"/>
                  </a:lnTo>
                  <a:lnTo>
                    <a:pt x="100" y="661"/>
                  </a:lnTo>
                  <a:lnTo>
                    <a:pt x="100" y="643"/>
                  </a:lnTo>
                  <a:lnTo>
                    <a:pt x="103" y="626"/>
                  </a:lnTo>
                  <a:lnTo>
                    <a:pt x="118" y="603"/>
                  </a:lnTo>
                  <a:lnTo>
                    <a:pt x="122" y="600"/>
                  </a:lnTo>
                  <a:lnTo>
                    <a:pt x="128" y="598"/>
                  </a:lnTo>
                  <a:lnTo>
                    <a:pt x="132" y="594"/>
                  </a:lnTo>
                  <a:lnTo>
                    <a:pt x="143" y="582"/>
                  </a:lnTo>
                  <a:lnTo>
                    <a:pt x="147" y="579"/>
                  </a:lnTo>
                  <a:lnTo>
                    <a:pt x="151" y="575"/>
                  </a:lnTo>
                  <a:lnTo>
                    <a:pt x="154" y="571"/>
                  </a:lnTo>
                  <a:lnTo>
                    <a:pt x="156" y="566"/>
                  </a:lnTo>
                  <a:lnTo>
                    <a:pt x="157" y="556"/>
                  </a:lnTo>
                  <a:lnTo>
                    <a:pt x="159" y="552"/>
                  </a:lnTo>
                  <a:lnTo>
                    <a:pt x="163" y="550"/>
                  </a:lnTo>
                  <a:lnTo>
                    <a:pt x="172" y="550"/>
                  </a:lnTo>
                  <a:lnTo>
                    <a:pt x="175" y="549"/>
                  </a:lnTo>
                  <a:lnTo>
                    <a:pt x="178" y="547"/>
                  </a:lnTo>
                  <a:lnTo>
                    <a:pt x="178" y="544"/>
                  </a:lnTo>
                  <a:lnTo>
                    <a:pt x="179" y="539"/>
                  </a:lnTo>
                  <a:lnTo>
                    <a:pt x="181" y="536"/>
                  </a:lnTo>
                  <a:lnTo>
                    <a:pt x="182" y="534"/>
                  </a:lnTo>
                  <a:lnTo>
                    <a:pt x="182" y="534"/>
                  </a:lnTo>
                  <a:lnTo>
                    <a:pt x="185" y="533"/>
                  </a:lnTo>
                  <a:lnTo>
                    <a:pt x="198" y="527"/>
                  </a:lnTo>
                  <a:lnTo>
                    <a:pt x="201" y="524"/>
                  </a:lnTo>
                  <a:lnTo>
                    <a:pt x="205" y="517"/>
                  </a:lnTo>
                  <a:lnTo>
                    <a:pt x="220" y="475"/>
                  </a:lnTo>
                  <a:lnTo>
                    <a:pt x="232" y="454"/>
                  </a:lnTo>
                  <a:lnTo>
                    <a:pt x="237" y="445"/>
                  </a:lnTo>
                  <a:lnTo>
                    <a:pt x="237" y="445"/>
                  </a:lnTo>
                  <a:lnTo>
                    <a:pt x="249" y="441"/>
                  </a:lnTo>
                  <a:lnTo>
                    <a:pt x="261" y="429"/>
                  </a:lnTo>
                  <a:lnTo>
                    <a:pt x="268" y="418"/>
                  </a:lnTo>
                  <a:lnTo>
                    <a:pt x="293" y="365"/>
                  </a:lnTo>
                  <a:lnTo>
                    <a:pt x="294" y="361"/>
                  </a:lnTo>
                  <a:lnTo>
                    <a:pt x="301" y="310"/>
                  </a:lnTo>
                  <a:lnTo>
                    <a:pt x="304" y="301"/>
                  </a:lnTo>
                  <a:lnTo>
                    <a:pt x="307" y="297"/>
                  </a:lnTo>
                  <a:lnTo>
                    <a:pt x="312" y="294"/>
                  </a:lnTo>
                  <a:lnTo>
                    <a:pt x="336" y="266"/>
                  </a:lnTo>
                  <a:lnTo>
                    <a:pt x="336" y="259"/>
                  </a:lnTo>
                  <a:lnTo>
                    <a:pt x="329" y="256"/>
                  </a:lnTo>
                  <a:lnTo>
                    <a:pt x="329" y="252"/>
                  </a:lnTo>
                  <a:lnTo>
                    <a:pt x="342" y="224"/>
                  </a:lnTo>
                  <a:lnTo>
                    <a:pt x="342" y="218"/>
                  </a:lnTo>
                  <a:lnTo>
                    <a:pt x="339" y="210"/>
                  </a:lnTo>
                  <a:lnTo>
                    <a:pt x="339" y="205"/>
                  </a:lnTo>
                  <a:lnTo>
                    <a:pt x="341" y="205"/>
                  </a:lnTo>
                  <a:lnTo>
                    <a:pt x="344" y="196"/>
                  </a:lnTo>
                  <a:lnTo>
                    <a:pt x="344" y="195"/>
                  </a:lnTo>
                  <a:lnTo>
                    <a:pt x="341" y="189"/>
                  </a:lnTo>
                  <a:lnTo>
                    <a:pt x="335" y="186"/>
                  </a:lnTo>
                  <a:lnTo>
                    <a:pt x="329" y="186"/>
                  </a:lnTo>
                  <a:lnTo>
                    <a:pt x="323" y="183"/>
                  </a:lnTo>
                  <a:lnTo>
                    <a:pt x="323" y="180"/>
                  </a:lnTo>
                  <a:lnTo>
                    <a:pt x="331" y="176"/>
                  </a:lnTo>
                  <a:lnTo>
                    <a:pt x="331" y="173"/>
                  </a:lnTo>
                  <a:lnTo>
                    <a:pt x="326" y="163"/>
                  </a:lnTo>
                  <a:lnTo>
                    <a:pt x="317" y="140"/>
                  </a:lnTo>
                  <a:lnTo>
                    <a:pt x="312" y="129"/>
                  </a:lnTo>
                  <a:lnTo>
                    <a:pt x="315" y="116"/>
                  </a:lnTo>
                  <a:lnTo>
                    <a:pt x="325" y="111"/>
                  </a:lnTo>
                  <a:lnTo>
                    <a:pt x="328" y="111"/>
                  </a:lnTo>
                  <a:lnTo>
                    <a:pt x="329" y="111"/>
                  </a:lnTo>
                  <a:lnTo>
                    <a:pt x="333" y="112"/>
                  </a:lnTo>
                  <a:lnTo>
                    <a:pt x="342" y="119"/>
                  </a:lnTo>
                  <a:lnTo>
                    <a:pt x="366" y="144"/>
                  </a:lnTo>
                  <a:lnTo>
                    <a:pt x="373" y="141"/>
                  </a:lnTo>
                  <a:lnTo>
                    <a:pt x="374" y="140"/>
                  </a:lnTo>
                  <a:lnTo>
                    <a:pt x="376" y="140"/>
                  </a:lnTo>
                  <a:lnTo>
                    <a:pt x="376" y="138"/>
                  </a:lnTo>
                  <a:lnTo>
                    <a:pt x="380" y="137"/>
                  </a:lnTo>
                  <a:lnTo>
                    <a:pt x="382" y="137"/>
                  </a:lnTo>
                  <a:lnTo>
                    <a:pt x="383" y="135"/>
                  </a:lnTo>
                  <a:lnTo>
                    <a:pt x="383" y="134"/>
                  </a:lnTo>
                  <a:lnTo>
                    <a:pt x="383" y="134"/>
                  </a:lnTo>
                  <a:lnTo>
                    <a:pt x="383" y="132"/>
                  </a:lnTo>
                  <a:lnTo>
                    <a:pt x="383" y="129"/>
                  </a:lnTo>
                  <a:lnTo>
                    <a:pt x="383" y="127"/>
                  </a:lnTo>
                  <a:lnTo>
                    <a:pt x="379" y="113"/>
                  </a:lnTo>
                  <a:lnTo>
                    <a:pt x="379" y="112"/>
                  </a:lnTo>
                  <a:lnTo>
                    <a:pt x="377" y="102"/>
                  </a:lnTo>
                  <a:lnTo>
                    <a:pt x="377" y="100"/>
                  </a:lnTo>
                  <a:lnTo>
                    <a:pt x="377" y="99"/>
                  </a:lnTo>
                  <a:lnTo>
                    <a:pt x="379" y="99"/>
                  </a:lnTo>
                  <a:lnTo>
                    <a:pt x="402" y="93"/>
                  </a:lnTo>
                  <a:lnTo>
                    <a:pt x="403" y="93"/>
                  </a:lnTo>
                  <a:lnTo>
                    <a:pt x="405" y="93"/>
                  </a:lnTo>
                  <a:lnTo>
                    <a:pt x="405" y="97"/>
                  </a:lnTo>
                  <a:lnTo>
                    <a:pt x="406" y="99"/>
                  </a:lnTo>
                  <a:lnTo>
                    <a:pt x="409" y="103"/>
                  </a:lnTo>
                  <a:lnTo>
                    <a:pt x="409" y="106"/>
                  </a:lnTo>
                  <a:lnTo>
                    <a:pt x="409" y="108"/>
                  </a:lnTo>
                  <a:lnTo>
                    <a:pt x="409" y="109"/>
                  </a:lnTo>
                  <a:lnTo>
                    <a:pt x="409" y="111"/>
                  </a:lnTo>
                  <a:lnTo>
                    <a:pt x="408" y="112"/>
                  </a:lnTo>
                  <a:lnTo>
                    <a:pt x="408" y="112"/>
                  </a:lnTo>
                  <a:lnTo>
                    <a:pt x="408" y="113"/>
                  </a:lnTo>
                  <a:lnTo>
                    <a:pt x="409" y="119"/>
                  </a:lnTo>
                  <a:lnTo>
                    <a:pt x="414" y="129"/>
                  </a:lnTo>
                  <a:lnTo>
                    <a:pt x="415" y="131"/>
                  </a:lnTo>
                  <a:lnTo>
                    <a:pt x="415" y="132"/>
                  </a:lnTo>
                  <a:lnTo>
                    <a:pt x="417" y="134"/>
                  </a:lnTo>
                  <a:lnTo>
                    <a:pt x="418" y="135"/>
                  </a:lnTo>
                  <a:lnTo>
                    <a:pt x="428" y="143"/>
                  </a:lnTo>
                  <a:lnTo>
                    <a:pt x="435" y="145"/>
                  </a:lnTo>
                  <a:lnTo>
                    <a:pt x="441" y="147"/>
                  </a:lnTo>
                  <a:lnTo>
                    <a:pt x="449" y="145"/>
                  </a:lnTo>
                  <a:lnTo>
                    <a:pt x="450" y="145"/>
                  </a:lnTo>
                  <a:lnTo>
                    <a:pt x="451" y="147"/>
                  </a:lnTo>
                  <a:lnTo>
                    <a:pt x="453" y="148"/>
                  </a:lnTo>
                  <a:lnTo>
                    <a:pt x="454" y="154"/>
                  </a:lnTo>
                  <a:lnTo>
                    <a:pt x="454" y="154"/>
                  </a:lnTo>
                  <a:lnTo>
                    <a:pt x="456" y="156"/>
                  </a:lnTo>
                  <a:lnTo>
                    <a:pt x="457" y="157"/>
                  </a:lnTo>
                  <a:lnTo>
                    <a:pt x="462" y="157"/>
                  </a:lnTo>
                  <a:lnTo>
                    <a:pt x="479" y="156"/>
                  </a:lnTo>
                  <a:lnTo>
                    <a:pt x="479" y="157"/>
                  </a:lnTo>
                  <a:lnTo>
                    <a:pt x="479" y="159"/>
                  </a:lnTo>
                  <a:lnTo>
                    <a:pt x="479" y="159"/>
                  </a:lnTo>
                  <a:lnTo>
                    <a:pt x="479" y="160"/>
                  </a:lnTo>
                  <a:lnTo>
                    <a:pt x="479" y="161"/>
                  </a:lnTo>
                  <a:lnTo>
                    <a:pt x="479" y="163"/>
                  </a:lnTo>
                  <a:lnTo>
                    <a:pt x="478" y="166"/>
                  </a:lnTo>
                  <a:lnTo>
                    <a:pt x="476" y="167"/>
                  </a:lnTo>
                  <a:lnTo>
                    <a:pt x="473" y="172"/>
                  </a:lnTo>
                  <a:lnTo>
                    <a:pt x="473" y="172"/>
                  </a:lnTo>
                  <a:lnTo>
                    <a:pt x="472" y="172"/>
                  </a:lnTo>
                  <a:lnTo>
                    <a:pt x="469" y="170"/>
                  </a:lnTo>
                  <a:lnTo>
                    <a:pt x="469" y="169"/>
                  </a:lnTo>
                  <a:lnTo>
                    <a:pt x="466" y="166"/>
                  </a:lnTo>
                  <a:lnTo>
                    <a:pt x="465" y="166"/>
                  </a:lnTo>
                  <a:lnTo>
                    <a:pt x="465" y="167"/>
                  </a:lnTo>
                  <a:lnTo>
                    <a:pt x="459" y="173"/>
                  </a:lnTo>
                  <a:lnTo>
                    <a:pt x="457" y="175"/>
                  </a:lnTo>
                  <a:lnTo>
                    <a:pt x="457" y="176"/>
                  </a:lnTo>
                  <a:lnTo>
                    <a:pt x="457" y="179"/>
                  </a:lnTo>
                  <a:lnTo>
                    <a:pt x="457" y="180"/>
                  </a:lnTo>
                  <a:lnTo>
                    <a:pt x="457" y="183"/>
                  </a:lnTo>
                  <a:lnTo>
                    <a:pt x="459" y="191"/>
                  </a:lnTo>
                  <a:lnTo>
                    <a:pt x="459" y="192"/>
                  </a:lnTo>
                  <a:lnTo>
                    <a:pt x="459" y="194"/>
                  </a:lnTo>
                  <a:lnTo>
                    <a:pt x="457" y="195"/>
                  </a:lnTo>
                  <a:lnTo>
                    <a:pt x="457" y="196"/>
                  </a:lnTo>
                  <a:lnTo>
                    <a:pt x="453" y="198"/>
                  </a:lnTo>
                  <a:lnTo>
                    <a:pt x="453" y="198"/>
                  </a:lnTo>
                  <a:lnTo>
                    <a:pt x="451" y="199"/>
                  </a:lnTo>
                  <a:lnTo>
                    <a:pt x="451" y="199"/>
                  </a:lnTo>
                  <a:lnTo>
                    <a:pt x="451" y="202"/>
                  </a:lnTo>
                  <a:lnTo>
                    <a:pt x="450" y="207"/>
                  </a:lnTo>
                  <a:lnTo>
                    <a:pt x="451" y="208"/>
                  </a:lnTo>
                  <a:lnTo>
                    <a:pt x="451" y="210"/>
                  </a:lnTo>
                  <a:lnTo>
                    <a:pt x="451" y="210"/>
                  </a:lnTo>
                  <a:lnTo>
                    <a:pt x="453" y="211"/>
                  </a:lnTo>
                  <a:lnTo>
                    <a:pt x="457" y="212"/>
                  </a:lnTo>
                  <a:lnTo>
                    <a:pt x="460" y="212"/>
                  </a:lnTo>
                  <a:lnTo>
                    <a:pt x="463" y="214"/>
                  </a:lnTo>
                  <a:lnTo>
                    <a:pt x="465" y="212"/>
                  </a:lnTo>
                  <a:lnTo>
                    <a:pt x="469" y="211"/>
                  </a:lnTo>
                  <a:lnTo>
                    <a:pt x="475" y="204"/>
                  </a:lnTo>
                  <a:lnTo>
                    <a:pt x="479" y="198"/>
                  </a:lnTo>
                  <a:lnTo>
                    <a:pt x="479" y="196"/>
                  </a:lnTo>
                  <a:lnTo>
                    <a:pt x="479" y="195"/>
                  </a:lnTo>
                  <a:lnTo>
                    <a:pt x="481" y="189"/>
                  </a:lnTo>
                  <a:lnTo>
                    <a:pt x="482" y="188"/>
                  </a:lnTo>
                  <a:lnTo>
                    <a:pt x="482" y="186"/>
                  </a:lnTo>
                  <a:lnTo>
                    <a:pt x="484" y="186"/>
                  </a:lnTo>
                  <a:lnTo>
                    <a:pt x="485" y="188"/>
                  </a:lnTo>
                  <a:lnTo>
                    <a:pt x="485" y="191"/>
                  </a:lnTo>
                  <a:lnTo>
                    <a:pt x="485" y="191"/>
                  </a:lnTo>
                  <a:lnTo>
                    <a:pt x="486" y="192"/>
                  </a:lnTo>
                  <a:lnTo>
                    <a:pt x="489" y="191"/>
                  </a:lnTo>
                  <a:lnTo>
                    <a:pt x="495" y="186"/>
                  </a:lnTo>
                  <a:lnTo>
                    <a:pt x="497" y="183"/>
                  </a:lnTo>
                  <a:lnTo>
                    <a:pt x="498" y="182"/>
                  </a:lnTo>
                  <a:lnTo>
                    <a:pt x="497" y="179"/>
                  </a:lnTo>
                  <a:lnTo>
                    <a:pt x="497" y="178"/>
                  </a:lnTo>
                  <a:lnTo>
                    <a:pt x="495" y="175"/>
                  </a:lnTo>
                  <a:lnTo>
                    <a:pt x="494" y="172"/>
                  </a:lnTo>
                  <a:lnTo>
                    <a:pt x="492" y="170"/>
                  </a:lnTo>
                  <a:lnTo>
                    <a:pt x="491" y="169"/>
                  </a:lnTo>
                  <a:lnTo>
                    <a:pt x="491" y="169"/>
                  </a:lnTo>
                  <a:lnTo>
                    <a:pt x="492" y="167"/>
                  </a:lnTo>
                  <a:lnTo>
                    <a:pt x="501" y="159"/>
                  </a:lnTo>
                  <a:lnTo>
                    <a:pt x="501" y="157"/>
                  </a:lnTo>
                  <a:lnTo>
                    <a:pt x="501" y="157"/>
                  </a:lnTo>
                  <a:lnTo>
                    <a:pt x="501" y="157"/>
                  </a:lnTo>
                  <a:lnTo>
                    <a:pt x="502" y="156"/>
                  </a:lnTo>
                  <a:lnTo>
                    <a:pt x="520" y="156"/>
                  </a:lnTo>
                  <a:lnTo>
                    <a:pt x="523" y="156"/>
                  </a:lnTo>
                  <a:lnTo>
                    <a:pt x="524" y="157"/>
                  </a:lnTo>
                  <a:lnTo>
                    <a:pt x="529" y="157"/>
                  </a:lnTo>
                  <a:lnTo>
                    <a:pt x="530" y="157"/>
                  </a:lnTo>
                  <a:lnTo>
                    <a:pt x="532" y="156"/>
                  </a:lnTo>
                  <a:lnTo>
                    <a:pt x="540" y="148"/>
                  </a:lnTo>
                  <a:lnTo>
                    <a:pt x="543" y="148"/>
                  </a:lnTo>
                  <a:lnTo>
                    <a:pt x="546" y="148"/>
                  </a:lnTo>
                  <a:lnTo>
                    <a:pt x="551" y="148"/>
                  </a:lnTo>
                  <a:lnTo>
                    <a:pt x="552" y="148"/>
                  </a:lnTo>
                  <a:lnTo>
                    <a:pt x="552" y="148"/>
                  </a:lnTo>
                  <a:lnTo>
                    <a:pt x="553" y="150"/>
                  </a:lnTo>
                  <a:lnTo>
                    <a:pt x="556" y="153"/>
                  </a:lnTo>
                  <a:lnTo>
                    <a:pt x="556" y="154"/>
                  </a:lnTo>
                  <a:lnTo>
                    <a:pt x="558" y="154"/>
                  </a:lnTo>
                  <a:lnTo>
                    <a:pt x="559" y="154"/>
                  </a:lnTo>
                  <a:lnTo>
                    <a:pt x="559" y="154"/>
                  </a:lnTo>
                  <a:lnTo>
                    <a:pt x="561" y="154"/>
                  </a:lnTo>
                  <a:lnTo>
                    <a:pt x="561" y="153"/>
                  </a:lnTo>
                  <a:lnTo>
                    <a:pt x="561" y="150"/>
                  </a:lnTo>
                  <a:lnTo>
                    <a:pt x="556" y="144"/>
                  </a:lnTo>
                  <a:lnTo>
                    <a:pt x="553" y="138"/>
                  </a:lnTo>
                  <a:lnTo>
                    <a:pt x="552" y="137"/>
                  </a:lnTo>
                  <a:lnTo>
                    <a:pt x="551" y="134"/>
                  </a:lnTo>
                  <a:lnTo>
                    <a:pt x="549" y="131"/>
                  </a:lnTo>
                  <a:lnTo>
                    <a:pt x="543" y="125"/>
                  </a:lnTo>
                  <a:lnTo>
                    <a:pt x="542" y="122"/>
                  </a:lnTo>
                  <a:lnTo>
                    <a:pt x="542" y="121"/>
                  </a:lnTo>
                  <a:lnTo>
                    <a:pt x="543" y="119"/>
                  </a:lnTo>
                  <a:lnTo>
                    <a:pt x="545" y="119"/>
                  </a:lnTo>
                  <a:lnTo>
                    <a:pt x="549" y="124"/>
                  </a:lnTo>
                  <a:lnTo>
                    <a:pt x="551" y="124"/>
                  </a:lnTo>
                  <a:lnTo>
                    <a:pt x="552" y="124"/>
                  </a:lnTo>
                  <a:lnTo>
                    <a:pt x="555" y="118"/>
                  </a:lnTo>
                  <a:lnTo>
                    <a:pt x="558" y="121"/>
                  </a:lnTo>
                  <a:lnTo>
                    <a:pt x="559" y="121"/>
                  </a:lnTo>
                  <a:lnTo>
                    <a:pt x="578" y="116"/>
                  </a:lnTo>
                  <a:lnTo>
                    <a:pt x="584" y="116"/>
                  </a:lnTo>
                  <a:lnTo>
                    <a:pt x="604" y="116"/>
                  </a:lnTo>
                  <a:lnTo>
                    <a:pt x="606" y="116"/>
                  </a:lnTo>
                  <a:lnTo>
                    <a:pt x="609" y="115"/>
                  </a:lnTo>
                  <a:lnTo>
                    <a:pt x="610" y="112"/>
                  </a:lnTo>
                  <a:lnTo>
                    <a:pt x="610" y="111"/>
                  </a:lnTo>
                  <a:lnTo>
                    <a:pt x="612" y="106"/>
                  </a:lnTo>
                  <a:lnTo>
                    <a:pt x="612" y="105"/>
                  </a:lnTo>
                  <a:lnTo>
                    <a:pt x="613" y="103"/>
                  </a:lnTo>
                  <a:lnTo>
                    <a:pt x="616" y="100"/>
                  </a:lnTo>
                  <a:lnTo>
                    <a:pt x="618" y="99"/>
                  </a:lnTo>
                  <a:lnTo>
                    <a:pt x="618" y="99"/>
                  </a:lnTo>
                  <a:lnTo>
                    <a:pt x="618" y="97"/>
                  </a:lnTo>
                  <a:lnTo>
                    <a:pt x="616" y="90"/>
                  </a:lnTo>
                  <a:lnTo>
                    <a:pt x="618" y="89"/>
                  </a:lnTo>
                  <a:lnTo>
                    <a:pt x="619" y="87"/>
                  </a:lnTo>
                  <a:lnTo>
                    <a:pt x="623" y="84"/>
                  </a:lnTo>
                  <a:lnTo>
                    <a:pt x="626" y="83"/>
                  </a:lnTo>
                  <a:lnTo>
                    <a:pt x="629" y="83"/>
                  </a:lnTo>
                  <a:lnTo>
                    <a:pt x="634" y="83"/>
                  </a:lnTo>
                  <a:lnTo>
                    <a:pt x="638" y="83"/>
                  </a:lnTo>
                  <a:lnTo>
                    <a:pt x="648" y="78"/>
                  </a:lnTo>
                  <a:lnTo>
                    <a:pt x="648" y="78"/>
                  </a:lnTo>
                  <a:lnTo>
                    <a:pt x="650" y="78"/>
                  </a:lnTo>
                  <a:lnTo>
                    <a:pt x="654" y="83"/>
                  </a:lnTo>
                  <a:lnTo>
                    <a:pt x="655" y="84"/>
                  </a:lnTo>
                  <a:lnTo>
                    <a:pt x="657" y="83"/>
                  </a:lnTo>
                  <a:lnTo>
                    <a:pt x="664" y="77"/>
                  </a:lnTo>
                  <a:lnTo>
                    <a:pt x="663" y="74"/>
                  </a:lnTo>
                  <a:lnTo>
                    <a:pt x="661" y="71"/>
                  </a:lnTo>
                  <a:lnTo>
                    <a:pt x="661" y="71"/>
                  </a:lnTo>
                  <a:lnTo>
                    <a:pt x="661" y="71"/>
                  </a:lnTo>
                  <a:lnTo>
                    <a:pt x="661" y="68"/>
                  </a:lnTo>
                  <a:lnTo>
                    <a:pt x="666" y="46"/>
                  </a:lnTo>
                  <a:lnTo>
                    <a:pt x="664" y="46"/>
                  </a:lnTo>
                  <a:lnTo>
                    <a:pt x="664" y="45"/>
                  </a:lnTo>
                  <a:lnTo>
                    <a:pt x="663" y="45"/>
                  </a:lnTo>
                  <a:lnTo>
                    <a:pt x="657" y="42"/>
                  </a:lnTo>
                  <a:lnTo>
                    <a:pt x="655" y="42"/>
                  </a:lnTo>
                  <a:lnTo>
                    <a:pt x="654" y="42"/>
                  </a:lnTo>
                  <a:lnTo>
                    <a:pt x="654" y="42"/>
                  </a:lnTo>
                  <a:lnTo>
                    <a:pt x="653" y="42"/>
                  </a:lnTo>
                  <a:lnTo>
                    <a:pt x="653" y="44"/>
                  </a:lnTo>
                  <a:lnTo>
                    <a:pt x="653" y="44"/>
                  </a:lnTo>
                  <a:lnTo>
                    <a:pt x="651" y="48"/>
                  </a:lnTo>
                  <a:lnTo>
                    <a:pt x="651" y="51"/>
                  </a:lnTo>
                  <a:lnTo>
                    <a:pt x="650" y="51"/>
                  </a:lnTo>
                  <a:lnTo>
                    <a:pt x="648" y="52"/>
                  </a:lnTo>
                  <a:lnTo>
                    <a:pt x="647" y="52"/>
                  </a:lnTo>
                  <a:lnTo>
                    <a:pt x="647" y="52"/>
                  </a:lnTo>
                  <a:lnTo>
                    <a:pt x="645" y="52"/>
                  </a:lnTo>
                  <a:lnTo>
                    <a:pt x="644" y="51"/>
                  </a:lnTo>
                  <a:lnTo>
                    <a:pt x="644" y="49"/>
                  </a:lnTo>
                  <a:lnTo>
                    <a:pt x="645" y="45"/>
                  </a:lnTo>
                  <a:lnTo>
                    <a:pt x="645" y="44"/>
                  </a:lnTo>
                  <a:lnTo>
                    <a:pt x="645" y="41"/>
                  </a:lnTo>
                  <a:lnTo>
                    <a:pt x="644" y="41"/>
                  </a:lnTo>
                  <a:lnTo>
                    <a:pt x="642" y="39"/>
                  </a:lnTo>
                  <a:lnTo>
                    <a:pt x="631" y="38"/>
                  </a:lnTo>
                  <a:lnTo>
                    <a:pt x="628" y="36"/>
                  </a:lnTo>
                  <a:lnTo>
                    <a:pt x="626" y="35"/>
                  </a:lnTo>
                  <a:lnTo>
                    <a:pt x="625" y="35"/>
                  </a:lnTo>
                  <a:lnTo>
                    <a:pt x="625" y="32"/>
                  </a:lnTo>
                  <a:lnTo>
                    <a:pt x="625" y="30"/>
                  </a:lnTo>
                  <a:lnTo>
                    <a:pt x="628" y="28"/>
                  </a:lnTo>
                  <a:lnTo>
                    <a:pt x="628" y="26"/>
                  </a:lnTo>
                  <a:lnTo>
                    <a:pt x="628" y="25"/>
                  </a:lnTo>
                  <a:lnTo>
                    <a:pt x="628" y="25"/>
                  </a:lnTo>
                  <a:lnTo>
                    <a:pt x="628" y="23"/>
                  </a:lnTo>
                  <a:lnTo>
                    <a:pt x="625" y="16"/>
                  </a:lnTo>
                  <a:lnTo>
                    <a:pt x="626" y="13"/>
                  </a:lnTo>
                  <a:lnTo>
                    <a:pt x="631" y="10"/>
                  </a:lnTo>
                  <a:lnTo>
                    <a:pt x="635" y="7"/>
                  </a:lnTo>
                  <a:lnTo>
                    <a:pt x="639" y="6"/>
                  </a:lnTo>
                  <a:lnTo>
                    <a:pt x="655" y="7"/>
                  </a:lnTo>
                  <a:lnTo>
                    <a:pt x="669" y="1"/>
                  </a:lnTo>
                  <a:lnTo>
                    <a:pt x="680" y="0"/>
                  </a:lnTo>
                  <a:lnTo>
                    <a:pt x="687" y="0"/>
                  </a:lnTo>
                  <a:close/>
                </a:path>
              </a:pathLst>
            </a:custGeom>
            <a:grpFill/>
            <a:ln w="6350">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65746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24250AD-A1E2-40BC-AA88-9E338F504BDB}"/>
              </a:ext>
            </a:extLst>
          </p:cNvPr>
          <p:cNvGraphicFramePr>
            <a:graphicFrameLocks noChangeAspect="1"/>
          </p:cNvGraphicFramePr>
          <p:nvPr>
            <p:custDataLst>
              <p:tags r:id="rId1"/>
            </p:custDataLst>
            <p:extLst>
              <p:ext uri="{D42A27DB-BD31-4B8C-83A1-F6EECF244321}">
                <p14:modId xmlns:p14="http://schemas.microsoft.com/office/powerpoint/2010/main" val="563101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7" name="Objekt 6" hidden="1">
                        <a:extLst>
                          <a:ext uri="{FF2B5EF4-FFF2-40B4-BE49-F238E27FC236}">
                            <a16:creationId xmlns:a16="http://schemas.microsoft.com/office/drawing/2014/main" id="{724250AD-A1E2-40BC-AA88-9E338F504B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7C5DD46A-96A5-4B32-B7D1-E24CB516AEA6}"/>
              </a:ext>
            </a:extLst>
          </p:cNvPr>
          <p:cNvSpPr/>
          <p:nvPr>
            <p:custDataLst>
              <p:tags r:id="rId2"/>
            </p:custDataLst>
          </p:nvPr>
        </p:nvSpPr>
        <p:spPr bwMode="gray">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e-DE" sz="3000" dirty="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sym typeface="Open Sans Extrabold" panose="020B0906030804020204" pitchFamily="34" charset="0"/>
            </a:endParaRPr>
          </a:p>
        </p:txBody>
      </p:sp>
      <p:sp>
        <p:nvSpPr>
          <p:cNvPr id="36" name="Titel 35"/>
          <p:cNvSpPr>
            <a:spLocks noGrp="1"/>
          </p:cNvSpPr>
          <p:nvPr>
            <p:ph type="title"/>
            <p:custDataLst>
              <p:tags r:id="rId3"/>
            </p:custDataLst>
          </p:nvPr>
        </p:nvSpPr>
        <p:spPr bwMode="gray"/>
        <p:txBody>
          <a:bodyPr vert="horz"/>
          <a:lstStyle/>
          <a:p>
            <a:r>
              <a:rPr lang="de-DE" dirty="0"/>
              <a:t>Karte: Deutschland mit Bundesländern</a:t>
            </a:r>
          </a:p>
        </p:txBody>
      </p:sp>
      <p:sp>
        <p:nvSpPr>
          <p:cNvPr id="2" name="Datumsplatzhalter 1">
            <a:extLst>
              <a:ext uri="{FF2B5EF4-FFF2-40B4-BE49-F238E27FC236}">
                <a16:creationId xmlns:a16="http://schemas.microsoft.com/office/drawing/2014/main" id="{275A2D44-BDEF-4C53-90B0-6EBE0A7177DB}"/>
              </a:ext>
            </a:extLst>
          </p:cNvPr>
          <p:cNvSpPr>
            <a:spLocks noGrp="1"/>
          </p:cNvSpPr>
          <p:nvPr>
            <p:ph type="dt" sz="half" idx="10"/>
          </p:nvPr>
        </p:nvSpPr>
        <p:spPr bwMode="gray"/>
        <p:txBody>
          <a:bodyPr/>
          <a:lstStyle/>
          <a:p>
            <a:fld id="{3C033185-A452-477C-A560-B7FB1C2D1848}" type="datetime1">
              <a:rPr lang="de-DE" smtClean="0"/>
              <a:t>29.09.25</a:t>
            </a:fld>
            <a:endParaRPr lang="de-DE" dirty="0"/>
          </a:p>
        </p:txBody>
      </p:sp>
      <p:sp>
        <p:nvSpPr>
          <p:cNvPr id="3" name="Fußzeilenplatzhalter 2">
            <a:extLst>
              <a:ext uri="{FF2B5EF4-FFF2-40B4-BE49-F238E27FC236}">
                <a16:creationId xmlns:a16="http://schemas.microsoft.com/office/drawing/2014/main" id="{3E65031D-644F-4269-8B0E-FFD79D22F230}"/>
              </a:ext>
            </a:extLst>
          </p:cNvPr>
          <p:cNvSpPr>
            <a:spLocks noGrp="1"/>
          </p:cNvSpPr>
          <p:nvPr>
            <p:ph type="ftr" sz="quarter" idx="11"/>
          </p:nvPr>
        </p:nvSpPr>
        <p:spPr bwMode="gray"/>
        <p:txBody>
          <a:bodyPr/>
          <a:lstStyle/>
          <a:p>
            <a:r>
              <a:rPr lang="de-DE" dirty="0"/>
              <a:t>TITEL DER PRÄSENTATION | TITEL VORNAME NAME</a:t>
            </a:r>
          </a:p>
        </p:txBody>
      </p:sp>
      <p:sp>
        <p:nvSpPr>
          <p:cNvPr id="4" name="Foliennummernplatzhalter 3">
            <a:extLst>
              <a:ext uri="{FF2B5EF4-FFF2-40B4-BE49-F238E27FC236}">
                <a16:creationId xmlns:a16="http://schemas.microsoft.com/office/drawing/2014/main" id="{6BA38515-9558-414C-AD0C-0AB41E820DE4}"/>
              </a:ext>
            </a:extLst>
          </p:cNvPr>
          <p:cNvSpPr>
            <a:spLocks noGrp="1"/>
          </p:cNvSpPr>
          <p:nvPr>
            <p:ph type="sldNum" sz="quarter" idx="12"/>
          </p:nvPr>
        </p:nvSpPr>
        <p:spPr bwMode="gray"/>
        <p:txBody>
          <a:bodyPr/>
          <a:lstStyle/>
          <a:p>
            <a:fld id="{09E9C37E-8A19-4E30-BE2B-5A966AD23C7A}" type="slidenum">
              <a:rPr lang="de-DE" smtClean="0"/>
              <a:pPr/>
              <a:t>88</a:t>
            </a:fld>
            <a:endParaRPr lang="de-DE" dirty="0"/>
          </a:p>
        </p:txBody>
      </p:sp>
      <p:grpSp>
        <p:nvGrpSpPr>
          <p:cNvPr id="47" name="Group 56">
            <a:extLst>
              <a:ext uri="{FF2B5EF4-FFF2-40B4-BE49-F238E27FC236}">
                <a16:creationId xmlns:a16="http://schemas.microsoft.com/office/drawing/2014/main" id="{9275A3F2-BB2E-4B43-8200-8281CDEA8574}"/>
              </a:ext>
            </a:extLst>
          </p:cNvPr>
          <p:cNvGrpSpPr>
            <a:grpSpLocks noChangeAspect="1"/>
          </p:cNvGrpSpPr>
          <p:nvPr/>
        </p:nvGrpSpPr>
        <p:grpSpPr bwMode="gray">
          <a:xfrm>
            <a:off x="4715080" y="1989000"/>
            <a:ext cx="2761840" cy="3744000"/>
            <a:chOff x="3567113" y="3175"/>
            <a:chExt cx="5057776" cy="6856413"/>
          </a:xfrm>
          <a:solidFill>
            <a:schemeClr val="bg1"/>
          </a:solidFill>
        </p:grpSpPr>
        <p:sp>
          <p:nvSpPr>
            <p:cNvPr id="48" name="Freeform 5">
              <a:extLst>
                <a:ext uri="{FF2B5EF4-FFF2-40B4-BE49-F238E27FC236}">
                  <a16:creationId xmlns:a16="http://schemas.microsoft.com/office/drawing/2014/main" id="{FADFA3DF-661C-4F86-BBD3-988BCAE9AD41}"/>
                </a:ext>
              </a:extLst>
            </p:cNvPr>
            <p:cNvSpPr>
              <a:spLocks/>
            </p:cNvSpPr>
            <p:nvPr/>
          </p:nvSpPr>
          <p:spPr bwMode="gray">
            <a:xfrm>
              <a:off x="5788026" y="3163888"/>
              <a:ext cx="1527175" cy="1249363"/>
            </a:xfrm>
            <a:custGeom>
              <a:avLst/>
              <a:gdLst>
                <a:gd name="T0" fmla="*/ 955 w 962"/>
                <a:gd name="T1" fmla="*/ 417 h 787"/>
                <a:gd name="T2" fmla="*/ 891 w 962"/>
                <a:gd name="T3" fmla="*/ 441 h 787"/>
                <a:gd name="T4" fmla="*/ 837 w 962"/>
                <a:gd name="T5" fmla="*/ 485 h 787"/>
                <a:gd name="T6" fmla="*/ 831 w 962"/>
                <a:gd name="T7" fmla="*/ 510 h 787"/>
                <a:gd name="T8" fmla="*/ 826 w 962"/>
                <a:gd name="T9" fmla="*/ 558 h 787"/>
                <a:gd name="T10" fmla="*/ 775 w 962"/>
                <a:gd name="T11" fmla="*/ 594 h 787"/>
                <a:gd name="T12" fmla="*/ 734 w 962"/>
                <a:gd name="T13" fmla="*/ 602 h 787"/>
                <a:gd name="T14" fmla="*/ 715 w 962"/>
                <a:gd name="T15" fmla="*/ 653 h 787"/>
                <a:gd name="T16" fmla="*/ 678 w 962"/>
                <a:gd name="T17" fmla="*/ 686 h 787"/>
                <a:gd name="T18" fmla="*/ 654 w 962"/>
                <a:gd name="T19" fmla="*/ 676 h 787"/>
                <a:gd name="T20" fmla="*/ 569 w 962"/>
                <a:gd name="T21" fmla="*/ 692 h 787"/>
                <a:gd name="T22" fmla="*/ 536 w 962"/>
                <a:gd name="T23" fmla="*/ 656 h 787"/>
                <a:gd name="T24" fmla="*/ 501 w 962"/>
                <a:gd name="T25" fmla="*/ 628 h 787"/>
                <a:gd name="T26" fmla="*/ 480 w 962"/>
                <a:gd name="T27" fmla="*/ 667 h 787"/>
                <a:gd name="T28" fmla="*/ 488 w 962"/>
                <a:gd name="T29" fmla="*/ 705 h 787"/>
                <a:gd name="T30" fmla="*/ 479 w 962"/>
                <a:gd name="T31" fmla="*/ 743 h 787"/>
                <a:gd name="T32" fmla="*/ 444 w 962"/>
                <a:gd name="T33" fmla="*/ 720 h 787"/>
                <a:gd name="T34" fmla="*/ 418 w 962"/>
                <a:gd name="T35" fmla="*/ 706 h 787"/>
                <a:gd name="T36" fmla="*/ 370 w 962"/>
                <a:gd name="T37" fmla="*/ 689 h 787"/>
                <a:gd name="T38" fmla="*/ 335 w 962"/>
                <a:gd name="T39" fmla="*/ 686 h 787"/>
                <a:gd name="T40" fmla="*/ 303 w 962"/>
                <a:gd name="T41" fmla="*/ 705 h 787"/>
                <a:gd name="T42" fmla="*/ 311 w 962"/>
                <a:gd name="T43" fmla="*/ 740 h 787"/>
                <a:gd name="T44" fmla="*/ 336 w 962"/>
                <a:gd name="T45" fmla="*/ 760 h 787"/>
                <a:gd name="T46" fmla="*/ 295 w 962"/>
                <a:gd name="T47" fmla="*/ 779 h 787"/>
                <a:gd name="T48" fmla="*/ 249 w 962"/>
                <a:gd name="T49" fmla="*/ 753 h 787"/>
                <a:gd name="T50" fmla="*/ 225 w 962"/>
                <a:gd name="T51" fmla="*/ 708 h 787"/>
                <a:gd name="T52" fmla="*/ 190 w 962"/>
                <a:gd name="T53" fmla="*/ 685 h 787"/>
                <a:gd name="T54" fmla="*/ 160 w 962"/>
                <a:gd name="T55" fmla="*/ 647 h 787"/>
                <a:gd name="T56" fmla="*/ 113 w 962"/>
                <a:gd name="T57" fmla="*/ 603 h 787"/>
                <a:gd name="T58" fmla="*/ 58 w 962"/>
                <a:gd name="T59" fmla="*/ 613 h 787"/>
                <a:gd name="T60" fmla="*/ 68 w 962"/>
                <a:gd name="T61" fmla="*/ 564 h 787"/>
                <a:gd name="T62" fmla="*/ 24 w 962"/>
                <a:gd name="T63" fmla="*/ 539 h 787"/>
                <a:gd name="T64" fmla="*/ 7 w 962"/>
                <a:gd name="T65" fmla="*/ 554 h 787"/>
                <a:gd name="T66" fmla="*/ 11 w 962"/>
                <a:gd name="T67" fmla="*/ 519 h 787"/>
                <a:gd name="T68" fmla="*/ 23 w 962"/>
                <a:gd name="T69" fmla="*/ 476 h 787"/>
                <a:gd name="T70" fmla="*/ 49 w 962"/>
                <a:gd name="T71" fmla="*/ 446 h 787"/>
                <a:gd name="T72" fmla="*/ 42 w 962"/>
                <a:gd name="T73" fmla="*/ 398 h 787"/>
                <a:gd name="T74" fmla="*/ 27 w 962"/>
                <a:gd name="T75" fmla="*/ 395 h 787"/>
                <a:gd name="T76" fmla="*/ 55 w 962"/>
                <a:gd name="T77" fmla="*/ 372 h 787"/>
                <a:gd name="T78" fmla="*/ 85 w 962"/>
                <a:gd name="T79" fmla="*/ 354 h 787"/>
                <a:gd name="T80" fmla="*/ 101 w 962"/>
                <a:gd name="T81" fmla="*/ 328 h 787"/>
                <a:gd name="T82" fmla="*/ 91 w 962"/>
                <a:gd name="T83" fmla="*/ 287 h 787"/>
                <a:gd name="T84" fmla="*/ 106 w 962"/>
                <a:gd name="T85" fmla="*/ 283 h 787"/>
                <a:gd name="T86" fmla="*/ 110 w 962"/>
                <a:gd name="T87" fmla="*/ 246 h 787"/>
                <a:gd name="T88" fmla="*/ 68 w 962"/>
                <a:gd name="T89" fmla="*/ 227 h 787"/>
                <a:gd name="T90" fmla="*/ 30 w 962"/>
                <a:gd name="T91" fmla="*/ 188 h 787"/>
                <a:gd name="T92" fmla="*/ 17 w 962"/>
                <a:gd name="T93" fmla="*/ 150 h 787"/>
                <a:gd name="T94" fmla="*/ 93 w 962"/>
                <a:gd name="T95" fmla="*/ 112 h 787"/>
                <a:gd name="T96" fmla="*/ 110 w 962"/>
                <a:gd name="T97" fmla="*/ 88 h 787"/>
                <a:gd name="T98" fmla="*/ 147 w 962"/>
                <a:gd name="T99" fmla="*/ 73 h 787"/>
                <a:gd name="T100" fmla="*/ 171 w 962"/>
                <a:gd name="T101" fmla="*/ 31 h 787"/>
                <a:gd name="T102" fmla="*/ 265 w 962"/>
                <a:gd name="T103" fmla="*/ 43 h 787"/>
                <a:gd name="T104" fmla="*/ 324 w 962"/>
                <a:gd name="T105" fmla="*/ 3 h 787"/>
                <a:gd name="T106" fmla="*/ 364 w 962"/>
                <a:gd name="T107" fmla="*/ 35 h 787"/>
                <a:gd name="T108" fmla="*/ 372 w 962"/>
                <a:gd name="T109" fmla="*/ 80 h 787"/>
                <a:gd name="T110" fmla="*/ 540 w 962"/>
                <a:gd name="T111" fmla="*/ 216 h 787"/>
                <a:gd name="T112" fmla="*/ 539 w 962"/>
                <a:gd name="T113" fmla="*/ 283 h 787"/>
                <a:gd name="T114" fmla="*/ 572 w 962"/>
                <a:gd name="T115" fmla="*/ 300 h 787"/>
                <a:gd name="T116" fmla="*/ 638 w 962"/>
                <a:gd name="T117" fmla="*/ 329 h 787"/>
                <a:gd name="T118" fmla="*/ 721 w 962"/>
                <a:gd name="T119" fmla="*/ 366 h 787"/>
                <a:gd name="T120" fmla="*/ 792 w 962"/>
                <a:gd name="T121" fmla="*/ 380 h 787"/>
                <a:gd name="T122" fmla="*/ 823 w 962"/>
                <a:gd name="T123" fmla="*/ 331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2" h="787">
                  <a:moveTo>
                    <a:pt x="828" y="308"/>
                  </a:moveTo>
                  <a:lnTo>
                    <a:pt x="852" y="305"/>
                  </a:lnTo>
                  <a:lnTo>
                    <a:pt x="906" y="322"/>
                  </a:lnTo>
                  <a:lnTo>
                    <a:pt x="909" y="338"/>
                  </a:lnTo>
                  <a:lnTo>
                    <a:pt x="909" y="340"/>
                  </a:lnTo>
                  <a:lnTo>
                    <a:pt x="919" y="357"/>
                  </a:lnTo>
                  <a:lnTo>
                    <a:pt x="922" y="364"/>
                  </a:lnTo>
                  <a:lnTo>
                    <a:pt x="927" y="370"/>
                  </a:lnTo>
                  <a:lnTo>
                    <a:pt x="932" y="372"/>
                  </a:lnTo>
                  <a:lnTo>
                    <a:pt x="936" y="375"/>
                  </a:lnTo>
                  <a:lnTo>
                    <a:pt x="946" y="380"/>
                  </a:lnTo>
                  <a:lnTo>
                    <a:pt x="955" y="393"/>
                  </a:lnTo>
                  <a:lnTo>
                    <a:pt x="962" y="408"/>
                  </a:lnTo>
                  <a:lnTo>
                    <a:pt x="962" y="411"/>
                  </a:lnTo>
                  <a:lnTo>
                    <a:pt x="962" y="412"/>
                  </a:lnTo>
                  <a:lnTo>
                    <a:pt x="958" y="414"/>
                  </a:lnTo>
                  <a:lnTo>
                    <a:pt x="957" y="415"/>
                  </a:lnTo>
                  <a:lnTo>
                    <a:pt x="955" y="417"/>
                  </a:lnTo>
                  <a:lnTo>
                    <a:pt x="952" y="423"/>
                  </a:lnTo>
                  <a:lnTo>
                    <a:pt x="949" y="425"/>
                  </a:lnTo>
                  <a:lnTo>
                    <a:pt x="948" y="425"/>
                  </a:lnTo>
                  <a:lnTo>
                    <a:pt x="948" y="424"/>
                  </a:lnTo>
                  <a:lnTo>
                    <a:pt x="946" y="421"/>
                  </a:lnTo>
                  <a:lnTo>
                    <a:pt x="945" y="421"/>
                  </a:lnTo>
                  <a:lnTo>
                    <a:pt x="944" y="421"/>
                  </a:lnTo>
                  <a:lnTo>
                    <a:pt x="941" y="421"/>
                  </a:lnTo>
                  <a:lnTo>
                    <a:pt x="939" y="423"/>
                  </a:lnTo>
                  <a:lnTo>
                    <a:pt x="927" y="421"/>
                  </a:lnTo>
                  <a:lnTo>
                    <a:pt x="920" y="421"/>
                  </a:lnTo>
                  <a:lnTo>
                    <a:pt x="919" y="421"/>
                  </a:lnTo>
                  <a:lnTo>
                    <a:pt x="913" y="418"/>
                  </a:lnTo>
                  <a:lnTo>
                    <a:pt x="913" y="424"/>
                  </a:lnTo>
                  <a:lnTo>
                    <a:pt x="911" y="424"/>
                  </a:lnTo>
                  <a:lnTo>
                    <a:pt x="911" y="425"/>
                  </a:lnTo>
                  <a:lnTo>
                    <a:pt x="898" y="433"/>
                  </a:lnTo>
                  <a:lnTo>
                    <a:pt x="891" y="441"/>
                  </a:lnTo>
                  <a:lnTo>
                    <a:pt x="885" y="450"/>
                  </a:lnTo>
                  <a:lnTo>
                    <a:pt x="884" y="450"/>
                  </a:lnTo>
                  <a:lnTo>
                    <a:pt x="882" y="450"/>
                  </a:lnTo>
                  <a:lnTo>
                    <a:pt x="882" y="449"/>
                  </a:lnTo>
                  <a:lnTo>
                    <a:pt x="881" y="449"/>
                  </a:lnTo>
                  <a:lnTo>
                    <a:pt x="878" y="447"/>
                  </a:lnTo>
                  <a:lnTo>
                    <a:pt x="868" y="449"/>
                  </a:lnTo>
                  <a:lnTo>
                    <a:pt x="866" y="449"/>
                  </a:lnTo>
                  <a:lnTo>
                    <a:pt x="863" y="450"/>
                  </a:lnTo>
                  <a:lnTo>
                    <a:pt x="855" y="458"/>
                  </a:lnTo>
                  <a:lnTo>
                    <a:pt x="852" y="460"/>
                  </a:lnTo>
                  <a:lnTo>
                    <a:pt x="827" y="468"/>
                  </a:lnTo>
                  <a:lnTo>
                    <a:pt x="827" y="474"/>
                  </a:lnTo>
                  <a:lnTo>
                    <a:pt x="830" y="478"/>
                  </a:lnTo>
                  <a:lnTo>
                    <a:pt x="836" y="481"/>
                  </a:lnTo>
                  <a:lnTo>
                    <a:pt x="837" y="482"/>
                  </a:lnTo>
                  <a:lnTo>
                    <a:pt x="837" y="484"/>
                  </a:lnTo>
                  <a:lnTo>
                    <a:pt x="837" y="485"/>
                  </a:lnTo>
                  <a:lnTo>
                    <a:pt x="834" y="488"/>
                  </a:lnTo>
                  <a:lnTo>
                    <a:pt x="831" y="491"/>
                  </a:lnTo>
                  <a:lnTo>
                    <a:pt x="831" y="491"/>
                  </a:lnTo>
                  <a:lnTo>
                    <a:pt x="830" y="491"/>
                  </a:lnTo>
                  <a:lnTo>
                    <a:pt x="830" y="492"/>
                  </a:lnTo>
                  <a:lnTo>
                    <a:pt x="827" y="492"/>
                  </a:lnTo>
                  <a:lnTo>
                    <a:pt x="826" y="492"/>
                  </a:lnTo>
                  <a:lnTo>
                    <a:pt x="824" y="495"/>
                  </a:lnTo>
                  <a:lnTo>
                    <a:pt x="821" y="501"/>
                  </a:lnTo>
                  <a:lnTo>
                    <a:pt x="821" y="504"/>
                  </a:lnTo>
                  <a:lnTo>
                    <a:pt x="821" y="506"/>
                  </a:lnTo>
                  <a:lnTo>
                    <a:pt x="823" y="507"/>
                  </a:lnTo>
                  <a:lnTo>
                    <a:pt x="824" y="506"/>
                  </a:lnTo>
                  <a:lnTo>
                    <a:pt x="826" y="506"/>
                  </a:lnTo>
                  <a:lnTo>
                    <a:pt x="827" y="506"/>
                  </a:lnTo>
                  <a:lnTo>
                    <a:pt x="828" y="506"/>
                  </a:lnTo>
                  <a:lnTo>
                    <a:pt x="830" y="508"/>
                  </a:lnTo>
                  <a:lnTo>
                    <a:pt x="831" y="510"/>
                  </a:lnTo>
                  <a:lnTo>
                    <a:pt x="831" y="511"/>
                  </a:lnTo>
                  <a:lnTo>
                    <a:pt x="830" y="514"/>
                  </a:lnTo>
                  <a:lnTo>
                    <a:pt x="830" y="517"/>
                  </a:lnTo>
                  <a:lnTo>
                    <a:pt x="830" y="520"/>
                  </a:lnTo>
                  <a:lnTo>
                    <a:pt x="831" y="526"/>
                  </a:lnTo>
                  <a:lnTo>
                    <a:pt x="833" y="527"/>
                  </a:lnTo>
                  <a:lnTo>
                    <a:pt x="834" y="529"/>
                  </a:lnTo>
                  <a:lnTo>
                    <a:pt x="836" y="530"/>
                  </a:lnTo>
                  <a:lnTo>
                    <a:pt x="836" y="530"/>
                  </a:lnTo>
                  <a:lnTo>
                    <a:pt x="837" y="532"/>
                  </a:lnTo>
                  <a:lnTo>
                    <a:pt x="842" y="532"/>
                  </a:lnTo>
                  <a:lnTo>
                    <a:pt x="846" y="530"/>
                  </a:lnTo>
                  <a:lnTo>
                    <a:pt x="849" y="532"/>
                  </a:lnTo>
                  <a:lnTo>
                    <a:pt x="842" y="545"/>
                  </a:lnTo>
                  <a:lnTo>
                    <a:pt x="840" y="546"/>
                  </a:lnTo>
                  <a:lnTo>
                    <a:pt x="837" y="549"/>
                  </a:lnTo>
                  <a:lnTo>
                    <a:pt x="827" y="558"/>
                  </a:lnTo>
                  <a:lnTo>
                    <a:pt x="826" y="558"/>
                  </a:lnTo>
                  <a:lnTo>
                    <a:pt x="817" y="559"/>
                  </a:lnTo>
                  <a:lnTo>
                    <a:pt x="809" y="558"/>
                  </a:lnTo>
                  <a:lnTo>
                    <a:pt x="804" y="558"/>
                  </a:lnTo>
                  <a:lnTo>
                    <a:pt x="802" y="558"/>
                  </a:lnTo>
                  <a:lnTo>
                    <a:pt x="801" y="559"/>
                  </a:lnTo>
                  <a:lnTo>
                    <a:pt x="799" y="562"/>
                  </a:lnTo>
                  <a:lnTo>
                    <a:pt x="792" y="571"/>
                  </a:lnTo>
                  <a:lnTo>
                    <a:pt x="793" y="581"/>
                  </a:lnTo>
                  <a:lnTo>
                    <a:pt x="792" y="586"/>
                  </a:lnTo>
                  <a:lnTo>
                    <a:pt x="791" y="590"/>
                  </a:lnTo>
                  <a:lnTo>
                    <a:pt x="789" y="591"/>
                  </a:lnTo>
                  <a:lnTo>
                    <a:pt x="788" y="593"/>
                  </a:lnTo>
                  <a:lnTo>
                    <a:pt x="785" y="594"/>
                  </a:lnTo>
                  <a:lnTo>
                    <a:pt x="780" y="596"/>
                  </a:lnTo>
                  <a:lnTo>
                    <a:pt x="779" y="596"/>
                  </a:lnTo>
                  <a:lnTo>
                    <a:pt x="777" y="596"/>
                  </a:lnTo>
                  <a:lnTo>
                    <a:pt x="776" y="596"/>
                  </a:lnTo>
                  <a:lnTo>
                    <a:pt x="775" y="594"/>
                  </a:lnTo>
                  <a:lnTo>
                    <a:pt x="773" y="594"/>
                  </a:lnTo>
                  <a:lnTo>
                    <a:pt x="770" y="593"/>
                  </a:lnTo>
                  <a:lnTo>
                    <a:pt x="766" y="594"/>
                  </a:lnTo>
                  <a:lnTo>
                    <a:pt x="757" y="607"/>
                  </a:lnTo>
                  <a:lnTo>
                    <a:pt x="754" y="610"/>
                  </a:lnTo>
                  <a:lnTo>
                    <a:pt x="753" y="610"/>
                  </a:lnTo>
                  <a:lnTo>
                    <a:pt x="751" y="610"/>
                  </a:lnTo>
                  <a:lnTo>
                    <a:pt x="750" y="610"/>
                  </a:lnTo>
                  <a:lnTo>
                    <a:pt x="748" y="609"/>
                  </a:lnTo>
                  <a:lnTo>
                    <a:pt x="747" y="609"/>
                  </a:lnTo>
                  <a:lnTo>
                    <a:pt x="745" y="607"/>
                  </a:lnTo>
                  <a:lnTo>
                    <a:pt x="745" y="607"/>
                  </a:lnTo>
                  <a:lnTo>
                    <a:pt x="744" y="603"/>
                  </a:lnTo>
                  <a:lnTo>
                    <a:pt x="742" y="603"/>
                  </a:lnTo>
                  <a:lnTo>
                    <a:pt x="741" y="602"/>
                  </a:lnTo>
                  <a:lnTo>
                    <a:pt x="738" y="602"/>
                  </a:lnTo>
                  <a:lnTo>
                    <a:pt x="735" y="602"/>
                  </a:lnTo>
                  <a:lnTo>
                    <a:pt x="734" y="602"/>
                  </a:lnTo>
                  <a:lnTo>
                    <a:pt x="732" y="603"/>
                  </a:lnTo>
                  <a:lnTo>
                    <a:pt x="732" y="605"/>
                  </a:lnTo>
                  <a:lnTo>
                    <a:pt x="731" y="606"/>
                  </a:lnTo>
                  <a:lnTo>
                    <a:pt x="731" y="607"/>
                  </a:lnTo>
                  <a:lnTo>
                    <a:pt x="726" y="612"/>
                  </a:lnTo>
                  <a:lnTo>
                    <a:pt x="718" y="619"/>
                  </a:lnTo>
                  <a:lnTo>
                    <a:pt x="715" y="623"/>
                  </a:lnTo>
                  <a:lnTo>
                    <a:pt x="712" y="629"/>
                  </a:lnTo>
                  <a:lnTo>
                    <a:pt x="712" y="632"/>
                  </a:lnTo>
                  <a:lnTo>
                    <a:pt x="712" y="634"/>
                  </a:lnTo>
                  <a:lnTo>
                    <a:pt x="712" y="635"/>
                  </a:lnTo>
                  <a:lnTo>
                    <a:pt x="713" y="637"/>
                  </a:lnTo>
                  <a:lnTo>
                    <a:pt x="718" y="640"/>
                  </a:lnTo>
                  <a:lnTo>
                    <a:pt x="718" y="641"/>
                  </a:lnTo>
                  <a:lnTo>
                    <a:pt x="719" y="642"/>
                  </a:lnTo>
                  <a:lnTo>
                    <a:pt x="719" y="648"/>
                  </a:lnTo>
                  <a:lnTo>
                    <a:pt x="718" y="650"/>
                  </a:lnTo>
                  <a:lnTo>
                    <a:pt x="715" y="653"/>
                  </a:lnTo>
                  <a:lnTo>
                    <a:pt x="715" y="654"/>
                  </a:lnTo>
                  <a:lnTo>
                    <a:pt x="715" y="657"/>
                  </a:lnTo>
                  <a:lnTo>
                    <a:pt x="715" y="658"/>
                  </a:lnTo>
                  <a:lnTo>
                    <a:pt x="713" y="660"/>
                  </a:lnTo>
                  <a:lnTo>
                    <a:pt x="708" y="661"/>
                  </a:lnTo>
                  <a:lnTo>
                    <a:pt x="706" y="663"/>
                  </a:lnTo>
                  <a:lnTo>
                    <a:pt x="705" y="664"/>
                  </a:lnTo>
                  <a:lnTo>
                    <a:pt x="702" y="666"/>
                  </a:lnTo>
                  <a:lnTo>
                    <a:pt x="702" y="667"/>
                  </a:lnTo>
                  <a:lnTo>
                    <a:pt x="702" y="669"/>
                  </a:lnTo>
                  <a:lnTo>
                    <a:pt x="705" y="673"/>
                  </a:lnTo>
                  <a:lnTo>
                    <a:pt x="696" y="677"/>
                  </a:lnTo>
                  <a:lnTo>
                    <a:pt x="693" y="680"/>
                  </a:lnTo>
                  <a:lnTo>
                    <a:pt x="691" y="682"/>
                  </a:lnTo>
                  <a:lnTo>
                    <a:pt x="684" y="683"/>
                  </a:lnTo>
                  <a:lnTo>
                    <a:pt x="681" y="685"/>
                  </a:lnTo>
                  <a:lnTo>
                    <a:pt x="680" y="685"/>
                  </a:lnTo>
                  <a:lnTo>
                    <a:pt x="678" y="686"/>
                  </a:lnTo>
                  <a:lnTo>
                    <a:pt x="677" y="686"/>
                  </a:lnTo>
                  <a:lnTo>
                    <a:pt x="675" y="686"/>
                  </a:lnTo>
                  <a:lnTo>
                    <a:pt x="675" y="685"/>
                  </a:lnTo>
                  <a:lnTo>
                    <a:pt x="675" y="683"/>
                  </a:lnTo>
                  <a:lnTo>
                    <a:pt x="675" y="682"/>
                  </a:lnTo>
                  <a:lnTo>
                    <a:pt x="675" y="682"/>
                  </a:lnTo>
                  <a:lnTo>
                    <a:pt x="674" y="680"/>
                  </a:lnTo>
                  <a:lnTo>
                    <a:pt x="671" y="679"/>
                  </a:lnTo>
                  <a:lnTo>
                    <a:pt x="670" y="677"/>
                  </a:lnTo>
                  <a:lnTo>
                    <a:pt x="668" y="677"/>
                  </a:lnTo>
                  <a:lnTo>
                    <a:pt x="668" y="676"/>
                  </a:lnTo>
                  <a:lnTo>
                    <a:pt x="667" y="676"/>
                  </a:lnTo>
                  <a:lnTo>
                    <a:pt x="667" y="674"/>
                  </a:lnTo>
                  <a:lnTo>
                    <a:pt x="667" y="674"/>
                  </a:lnTo>
                  <a:lnTo>
                    <a:pt x="665" y="674"/>
                  </a:lnTo>
                  <a:lnTo>
                    <a:pt x="662" y="674"/>
                  </a:lnTo>
                  <a:lnTo>
                    <a:pt x="657" y="674"/>
                  </a:lnTo>
                  <a:lnTo>
                    <a:pt x="654" y="676"/>
                  </a:lnTo>
                  <a:lnTo>
                    <a:pt x="654" y="677"/>
                  </a:lnTo>
                  <a:lnTo>
                    <a:pt x="654" y="677"/>
                  </a:lnTo>
                  <a:lnTo>
                    <a:pt x="652" y="679"/>
                  </a:lnTo>
                  <a:lnTo>
                    <a:pt x="646" y="680"/>
                  </a:lnTo>
                  <a:lnTo>
                    <a:pt x="606" y="689"/>
                  </a:lnTo>
                  <a:lnTo>
                    <a:pt x="595" y="685"/>
                  </a:lnTo>
                  <a:lnTo>
                    <a:pt x="591" y="685"/>
                  </a:lnTo>
                  <a:lnTo>
                    <a:pt x="588" y="685"/>
                  </a:lnTo>
                  <a:lnTo>
                    <a:pt x="587" y="685"/>
                  </a:lnTo>
                  <a:lnTo>
                    <a:pt x="585" y="686"/>
                  </a:lnTo>
                  <a:lnTo>
                    <a:pt x="585" y="689"/>
                  </a:lnTo>
                  <a:lnTo>
                    <a:pt x="584" y="690"/>
                  </a:lnTo>
                  <a:lnTo>
                    <a:pt x="582" y="692"/>
                  </a:lnTo>
                  <a:lnTo>
                    <a:pt x="582" y="692"/>
                  </a:lnTo>
                  <a:lnTo>
                    <a:pt x="576" y="692"/>
                  </a:lnTo>
                  <a:lnTo>
                    <a:pt x="575" y="693"/>
                  </a:lnTo>
                  <a:lnTo>
                    <a:pt x="572" y="693"/>
                  </a:lnTo>
                  <a:lnTo>
                    <a:pt x="569" y="692"/>
                  </a:lnTo>
                  <a:lnTo>
                    <a:pt x="565" y="688"/>
                  </a:lnTo>
                  <a:lnTo>
                    <a:pt x="560" y="685"/>
                  </a:lnTo>
                  <a:lnTo>
                    <a:pt x="559" y="683"/>
                  </a:lnTo>
                  <a:lnTo>
                    <a:pt x="557" y="682"/>
                  </a:lnTo>
                  <a:lnTo>
                    <a:pt x="557" y="674"/>
                  </a:lnTo>
                  <a:lnTo>
                    <a:pt x="557" y="670"/>
                  </a:lnTo>
                  <a:lnTo>
                    <a:pt x="556" y="669"/>
                  </a:lnTo>
                  <a:lnTo>
                    <a:pt x="556" y="667"/>
                  </a:lnTo>
                  <a:lnTo>
                    <a:pt x="553" y="666"/>
                  </a:lnTo>
                  <a:lnTo>
                    <a:pt x="552" y="666"/>
                  </a:lnTo>
                  <a:lnTo>
                    <a:pt x="550" y="666"/>
                  </a:lnTo>
                  <a:lnTo>
                    <a:pt x="549" y="667"/>
                  </a:lnTo>
                  <a:lnTo>
                    <a:pt x="547" y="667"/>
                  </a:lnTo>
                  <a:lnTo>
                    <a:pt x="546" y="666"/>
                  </a:lnTo>
                  <a:lnTo>
                    <a:pt x="543" y="663"/>
                  </a:lnTo>
                  <a:lnTo>
                    <a:pt x="540" y="660"/>
                  </a:lnTo>
                  <a:lnTo>
                    <a:pt x="536" y="658"/>
                  </a:lnTo>
                  <a:lnTo>
                    <a:pt x="536" y="656"/>
                  </a:lnTo>
                  <a:lnTo>
                    <a:pt x="536" y="654"/>
                  </a:lnTo>
                  <a:lnTo>
                    <a:pt x="536" y="635"/>
                  </a:lnTo>
                  <a:lnTo>
                    <a:pt x="539" y="634"/>
                  </a:lnTo>
                  <a:lnTo>
                    <a:pt x="541" y="631"/>
                  </a:lnTo>
                  <a:lnTo>
                    <a:pt x="541" y="631"/>
                  </a:lnTo>
                  <a:lnTo>
                    <a:pt x="541" y="629"/>
                  </a:lnTo>
                  <a:lnTo>
                    <a:pt x="541" y="628"/>
                  </a:lnTo>
                  <a:lnTo>
                    <a:pt x="541" y="628"/>
                  </a:lnTo>
                  <a:lnTo>
                    <a:pt x="541" y="626"/>
                  </a:lnTo>
                  <a:lnTo>
                    <a:pt x="539" y="621"/>
                  </a:lnTo>
                  <a:lnTo>
                    <a:pt x="533" y="618"/>
                  </a:lnTo>
                  <a:lnTo>
                    <a:pt x="509" y="618"/>
                  </a:lnTo>
                  <a:lnTo>
                    <a:pt x="506" y="621"/>
                  </a:lnTo>
                  <a:lnTo>
                    <a:pt x="505" y="622"/>
                  </a:lnTo>
                  <a:lnTo>
                    <a:pt x="502" y="623"/>
                  </a:lnTo>
                  <a:lnTo>
                    <a:pt x="501" y="625"/>
                  </a:lnTo>
                  <a:lnTo>
                    <a:pt x="501" y="626"/>
                  </a:lnTo>
                  <a:lnTo>
                    <a:pt x="501" y="628"/>
                  </a:lnTo>
                  <a:lnTo>
                    <a:pt x="501" y="628"/>
                  </a:lnTo>
                  <a:lnTo>
                    <a:pt x="501" y="629"/>
                  </a:lnTo>
                  <a:lnTo>
                    <a:pt x="501" y="629"/>
                  </a:lnTo>
                  <a:lnTo>
                    <a:pt x="499" y="631"/>
                  </a:lnTo>
                  <a:lnTo>
                    <a:pt x="492" y="637"/>
                  </a:lnTo>
                  <a:lnTo>
                    <a:pt x="486" y="638"/>
                  </a:lnTo>
                  <a:lnTo>
                    <a:pt x="476" y="642"/>
                  </a:lnTo>
                  <a:lnTo>
                    <a:pt x="477" y="648"/>
                  </a:lnTo>
                  <a:lnTo>
                    <a:pt x="479" y="651"/>
                  </a:lnTo>
                  <a:lnTo>
                    <a:pt x="479" y="653"/>
                  </a:lnTo>
                  <a:lnTo>
                    <a:pt x="479" y="653"/>
                  </a:lnTo>
                  <a:lnTo>
                    <a:pt x="477" y="656"/>
                  </a:lnTo>
                  <a:lnTo>
                    <a:pt x="479" y="657"/>
                  </a:lnTo>
                  <a:lnTo>
                    <a:pt x="479" y="660"/>
                  </a:lnTo>
                  <a:lnTo>
                    <a:pt x="480" y="661"/>
                  </a:lnTo>
                  <a:lnTo>
                    <a:pt x="480" y="663"/>
                  </a:lnTo>
                  <a:lnTo>
                    <a:pt x="480" y="666"/>
                  </a:lnTo>
                  <a:lnTo>
                    <a:pt x="480" y="667"/>
                  </a:lnTo>
                  <a:lnTo>
                    <a:pt x="480" y="669"/>
                  </a:lnTo>
                  <a:lnTo>
                    <a:pt x="480" y="677"/>
                  </a:lnTo>
                  <a:lnTo>
                    <a:pt x="480" y="680"/>
                  </a:lnTo>
                  <a:lnTo>
                    <a:pt x="480" y="682"/>
                  </a:lnTo>
                  <a:lnTo>
                    <a:pt x="482" y="683"/>
                  </a:lnTo>
                  <a:lnTo>
                    <a:pt x="482" y="685"/>
                  </a:lnTo>
                  <a:lnTo>
                    <a:pt x="482" y="688"/>
                  </a:lnTo>
                  <a:lnTo>
                    <a:pt x="482" y="689"/>
                  </a:lnTo>
                  <a:lnTo>
                    <a:pt x="482" y="690"/>
                  </a:lnTo>
                  <a:lnTo>
                    <a:pt x="485" y="693"/>
                  </a:lnTo>
                  <a:lnTo>
                    <a:pt x="486" y="695"/>
                  </a:lnTo>
                  <a:lnTo>
                    <a:pt x="486" y="696"/>
                  </a:lnTo>
                  <a:lnTo>
                    <a:pt x="486" y="698"/>
                  </a:lnTo>
                  <a:lnTo>
                    <a:pt x="486" y="699"/>
                  </a:lnTo>
                  <a:lnTo>
                    <a:pt x="486" y="701"/>
                  </a:lnTo>
                  <a:lnTo>
                    <a:pt x="486" y="702"/>
                  </a:lnTo>
                  <a:lnTo>
                    <a:pt x="488" y="704"/>
                  </a:lnTo>
                  <a:lnTo>
                    <a:pt x="488" y="705"/>
                  </a:lnTo>
                  <a:lnTo>
                    <a:pt x="486" y="706"/>
                  </a:lnTo>
                  <a:lnTo>
                    <a:pt x="483" y="706"/>
                  </a:lnTo>
                  <a:lnTo>
                    <a:pt x="483" y="708"/>
                  </a:lnTo>
                  <a:lnTo>
                    <a:pt x="483" y="708"/>
                  </a:lnTo>
                  <a:lnTo>
                    <a:pt x="483" y="711"/>
                  </a:lnTo>
                  <a:lnTo>
                    <a:pt x="483" y="712"/>
                  </a:lnTo>
                  <a:lnTo>
                    <a:pt x="483" y="714"/>
                  </a:lnTo>
                  <a:lnTo>
                    <a:pt x="483" y="715"/>
                  </a:lnTo>
                  <a:lnTo>
                    <a:pt x="480" y="723"/>
                  </a:lnTo>
                  <a:lnTo>
                    <a:pt x="480" y="725"/>
                  </a:lnTo>
                  <a:lnTo>
                    <a:pt x="480" y="727"/>
                  </a:lnTo>
                  <a:lnTo>
                    <a:pt x="482" y="730"/>
                  </a:lnTo>
                  <a:lnTo>
                    <a:pt x="482" y="731"/>
                  </a:lnTo>
                  <a:lnTo>
                    <a:pt x="482" y="733"/>
                  </a:lnTo>
                  <a:lnTo>
                    <a:pt x="482" y="736"/>
                  </a:lnTo>
                  <a:lnTo>
                    <a:pt x="479" y="739"/>
                  </a:lnTo>
                  <a:lnTo>
                    <a:pt x="479" y="741"/>
                  </a:lnTo>
                  <a:lnTo>
                    <a:pt x="479" y="743"/>
                  </a:lnTo>
                  <a:lnTo>
                    <a:pt x="479" y="746"/>
                  </a:lnTo>
                  <a:lnTo>
                    <a:pt x="479" y="747"/>
                  </a:lnTo>
                  <a:lnTo>
                    <a:pt x="479" y="749"/>
                  </a:lnTo>
                  <a:lnTo>
                    <a:pt x="479" y="750"/>
                  </a:lnTo>
                  <a:lnTo>
                    <a:pt x="477" y="750"/>
                  </a:lnTo>
                  <a:lnTo>
                    <a:pt x="474" y="750"/>
                  </a:lnTo>
                  <a:lnTo>
                    <a:pt x="467" y="749"/>
                  </a:lnTo>
                  <a:lnTo>
                    <a:pt x="464" y="747"/>
                  </a:lnTo>
                  <a:lnTo>
                    <a:pt x="461" y="744"/>
                  </a:lnTo>
                  <a:lnTo>
                    <a:pt x="460" y="744"/>
                  </a:lnTo>
                  <a:lnTo>
                    <a:pt x="457" y="752"/>
                  </a:lnTo>
                  <a:lnTo>
                    <a:pt x="439" y="736"/>
                  </a:lnTo>
                  <a:lnTo>
                    <a:pt x="437" y="731"/>
                  </a:lnTo>
                  <a:lnTo>
                    <a:pt x="444" y="724"/>
                  </a:lnTo>
                  <a:lnTo>
                    <a:pt x="444" y="723"/>
                  </a:lnTo>
                  <a:lnTo>
                    <a:pt x="444" y="721"/>
                  </a:lnTo>
                  <a:lnTo>
                    <a:pt x="444" y="720"/>
                  </a:lnTo>
                  <a:lnTo>
                    <a:pt x="444" y="720"/>
                  </a:lnTo>
                  <a:lnTo>
                    <a:pt x="442" y="718"/>
                  </a:lnTo>
                  <a:lnTo>
                    <a:pt x="442" y="715"/>
                  </a:lnTo>
                  <a:lnTo>
                    <a:pt x="439" y="714"/>
                  </a:lnTo>
                  <a:lnTo>
                    <a:pt x="438" y="708"/>
                  </a:lnTo>
                  <a:lnTo>
                    <a:pt x="437" y="708"/>
                  </a:lnTo>
                  <a:lnTo>
                    <a:pt x="435" y="708"/>
                  </a:lnTo>
                  <a:lnTo>
                    <a:pt x="434" y="708"/>
                  </a:lnTo>
                  <a:lnTo>
                    <a:pt x="432" y="706"/>
                  </a:lnTo>
                  <a:lnTo>
                    <a:pt x="431" y="705"/>
                  </a:lnTo>
                  <a:lnTo>
                    <a:pt x="429" y="702"/>
                  </a:lnTo>
                  <a:lnTo>
                    <a:pt x="429" y="701"/>
                  </a:lnTo>
                  <a:lnTo>
                    <a:pt x="428" y="701"/>
                  </a:lnTo>
                  <a:lnTo>
                    <a:pt x="423" y="702"/>
                  </a:lnTo>
                  <a:lnTo>
                    <a:pt x="422" y="704"/>
                  </a:lnTo>
                  <a:lnTo>
                    <a:pt x="421" y="705"/>
                  </a:lnTo>
                  <a:lnTo>
                    <a:pt x="421" y="705"/>
                  </a:lnTo>
                  <a:lnTo>
                    <a:pt x="419" y="706"/>
                  </a:lnTo>
                  <a:lnTo>
                    <a:pt x="418" y="706"/>
                  </a:lnTo>
                  <a:lnTo>
                    <a:pt x="413" y="708"/>
                  </a:lnTo>
                  <a:lnTo>
                    <a:pt x="412" y="708"/>
                  </a:lnTo>
                  <a:lnTo>
                    <a:pt x="407" y="711"/>
                  </a:lnTo>
                  <a:lnTo>
                    <a:pt x="406" y="709"/>
                  </a:lnTo>
                  <a:lnTo>
                    <a:pt x="404" y="709"/>
                  </a:lnTo>
                  <a:lnTo>
                    <a:pt x="403" y="706"/>
                  </a:lnTo>
                  <a:lnTo>
                    <a:pt x="400" y="704"/>
                  </a:lnTo>
                  <a:lnTo>
                    <a:pt x="399" y="704"/>
                  </a:lnTo>
                  <a:lnTo>
                    <a:pt x="388" y="702"/>
                  </a:lnTo>
                  <a:lnTo>
                    <a:pt x="388" y="702"/>
                  </a:lnTo>
                  <a:lnTo>
                    <a:pt x="387" y="702"/>
                  </a:lnTo>
                  <a:lnTo>
                    <a:pt x="387" y="706"/>
                  </a:lnTo>
                  <a:lnTo>
                    <a:pt x="387" y="706"/>
                  </a:lnTo>
                  <a:lnTo>
                    <a:pt x="386" y="708"/>
                  </a:lnTo>
                  <a:lnTo>
                    <a:pt x="386" y="709"/>
                  </a:lnTo>
                  <a:lnTo>
                    <a:pt x="383" y="708"/>
                  </a:lnTo>
                  <a:lnTo>
                    <a:pt x="381" y="706"/>
                  </a:lnTo>
                  <a:lnTo>
                    <a:pt x="370" y="689"/>
                  </a:lnTo>
                  <a:lnTo>
                    <a:pt x="367" y="688"/>
                  </a:lnTo>
                  <a:lnTo>
                    <a:pt x="365" y="689"/>
                  </a:lnTo>
                  <a:lnTo>
                    <a:pt x="355" y="692"/>
                  </a:lnTo>
                  <a:lnTo>
                    <a:pt x="355" y="692"/>
                  </a:lnTo>
                  <a:lnTo>
                    <a:pt x="354" y="692"/>
                  </a:lnTo>
                  <a:lnTo>
                    <a:pt x="352" y="690"/>
                  </a:lnTo>
                  <a:lnTo>
                    <a:pt x="352" y="690"/>
                  </a:lnTo>
                  <a:lnTo>
                    <a:pt x="351" y="689"/>
                  </a:lnTo>
                  <a:lnTo>
                    <a:pt x="351" y="688"/>
                  </a:lnTo>
                  <a:lnTo>
                    <a:pt x="349" y="688"/>
                  </a:lnTo>
                  <a:lnTo>
                    <a:pt x="349" y="686"/>
                  </a:lnTo>
                  <a:lnTo>
                    <a:pt x="348" y="685"/>
                  </a:lnTo>
                  <a:lnTo>
                    <a:pt x="348" y="685"/>
                  </a:lnTo>
                  <a:lnTo>
                    <a:pt x="346" y="685"/>
                  </a:lnTo>
                  <a:lnTo>
                    <a:pt x="345" y="685"/>
                  </a:lnTo>
                  <a:lnTo>
                    <a:pt x="343" y="686"/>
                  </a:lnTo>
                  <a:lnTo>
                    <a:pt x="340" y="688"/>
                  </a:lnTo>
                  <a:lnTo>
                    <a:pt x="335" y="686"/>
                  </a:lnTo>
                  <a:lnTo>
                    <a:pt x="333" y="686"/>
                  </a:lnTo>
                  <a:lnTo>
                    <a:pt x="332" y="688"/>
                  </a:lnTo>
                  <a:lnTo>
                    <a:pt x="327" y="690"/>
                  </a:lnTo>
                  <a:lnTo>
                    <a:pt x="326" y="690"/>
                  </a:lnTo>
                  <a:lnTo>
                    <a:pt x="323" y="692"/>
                  </a:lnTo>
                  <a:lnTo>
                    <a:pt x="323" y="692"/>
                  </a:lnTo>
                  <a:lnTo>
                    <a:pt x="321" y="690"/>
                  </a:lnTo>
                  <a:lnTo>
                    <a:pt x="319" y="689"/>
                  </a:lnTo>
                  <a:lnTo>
                    <a:pt x="317" y="689"/>
                  </a:lnTo>
                  <a:lnTo>
                    <a:pt x="316" y="689"/>
                  </a:lnTo>
                  <a:lnTo>
                    <a:pt x="314" y="690"/>
                  </a:lnTo>
                  <a:lnTo>
                    <a:pt x="313" y="692"/>
                  </a:lnTo>
                  <a:lnTo>
                    <a:pt x="308" y="701"/>
                  </a:lnTo>
                  <a:lnTo>
                    <a:pt x="307" y="702"/>
                  </a:lnTo>
                  <a:lnTo>
                    <a:pt x="307" y="704"/>
                  </a:lnTo>
                  <a:lnTo>
                    <a:pt x="305" y="705"/>
                  </a:lnTo>
                  <a:lnTo>
                    <a:pt x="304" y="705"/>
                  </a:lnTo>
                  <a:lnTo>
                    <a:pt x="303" y="705"/>
                  </a:lnTo>
                  <a:lnTo>
                    <a:pt x="303" y="705"/>
                  </a:lnTo>
                  <a:lnTo>
                    <a:pt x="298" y="704"/>
                  </a:lnTo>
                  <a:lnTo>
                    <a:pt x="295" y="704"/>
                  </a:lnTo>
                  <a:lnTo>
                    <a:pt x="294" y="704"/>
                  </a:lnTo>
                  <a:lnTo>
                    <a:pt x="292" y="705"/>
                  </a:lnTo>
                  <a:lnTo>
                    <a:pt x="291" y="708"/>
                  </a:lnTo>
                  <a:lnTo>
                    <a:pt x="291" y="721"/>
                  </a:lnTo>
                  <a:lnTo>
                    <a:pt x="291" y="724"/>
                  </a:lnTo>
                  <a:lnTo>
                    <a:pt x="292" y="727"/>
                  </a:lnTo>
                  <a:lnTo>
                    <a:pt x="294" y="727"/>
                  </a:lnTo>
                  <a:lnTo>
                    <a:pt x="295" y="728"/>
                  </a:lnTo>
                  <a:lnTo>
                    <a:pt x="298" y="730"/>
                  </a:lnTo>
                  <a:lnTo>
                    <a:pt x="303" y="733"/>
                  </a:lnTo>
                  <a:lnTo>
                    <a:pt x="303" y="734"/>
                  </a:lnTo>
                  <a:lnTo>
                    <a:pt x="307" y="739"/>
                  </a:lnTo>
                  <a:lnTo>
                    <a:pt x="308" y="739"/>
                  </a:lnTo>
                  <a:lnTo>
                    <a:pt x="310" y="740"/>
                  </a:lnTo>
                  <a:lnTo>
                    <a:pt x="311" y="740"/>
                  </a:lnTo>
                  <a:lnTo>
                    <a:pt x="313" y="741"/>
                  </a:lnTo>
                  <a:lnTo>
                    <a:pt x="319" y="740"/>
                  </a:lnTo>
                  <a:lnTo>
                    <a:pt x="320" y="740"/>
                  </a:lnTo>
                  <a:lnTo>
                    <a:pt x="321" y="741"/>
                  </a:lnTo>
                  <a:lnTo>
                    <a:pt x="321" y="743"/>
                  </a:lnTo>
                  <a:lnTo>
                    <a:pt x="323" y="746"/>
                  </a:lnTo>
                  <a:lnTo>
                    <a:pt x="323" y="746"/>
                  </a:lnTo>
                  <a:lnTo>
                    <a:pt x="323" y="747"/>
                  </a:lnTo>
                  <a:lnTo>
                    <a:pt x="324" y="749"/>
                  </a:lnTo>
                  <a:lnTo>
                    <a:pt x="326" y="749"/>
                  </a:lnTo>
                  <a:lnTo>
                    <a:pt x="327" y="750"/>
                  </a:lnTo>
                  <a:lnTo>
                    <a:pt x="333" y="752"/>
                  </a:lnTo>
                  <a:lnTo>
                    <a:pt x="335" y="752"/>
                  </a:lnTo>
                  <a:lnTo>
                    <a:pt x="335" y="753"/>
                  </a:lnTo>
                  <a:lnTo>
                    <a:pt x="336" y="755"/>
                  </a:lnTo>
                  <a:lnTo>
                    <a:pt x="336" y="757"/>
                  </a:lnTo>
                  <a:lnTo>
                    <a:pt x="336" y="759"/>
                  </a:lnTo>
                  <a:lnTo>
                    <a:pt x="336" y="760"/>
                  </a:lnTo>
                  <a:lnTo>
                    <a:pt x="336" y="763"/>
                  </a:lnTo>
                  <a:lnTo>
                    <a:pt x="336" y="765"/>
                  </a:lnTo>
                  <a:lnTo>
                    <a:pt x="335" y="766"/>
                  </a:lnTo>
                  <a:lnTo>
                    <a:pt x="335" y="768"/>
                  </a:lnTo>
                  <a:lnTo>
                    <a:pt x="333" y="768"/>
                  </a:lnTo>
                  <a:lnTo>
                    <a:pt x="330" y="768"/>
                  </a:lnTo>
                  <a:lnTo>
                    <a:pt x="326" y="768"/>
                  </a:lnTo>
                  <a:lnTo>
                    <a:pt x="321" y="765"/>
                  </a:lnTo>
                  <a:lnTo>
                    <a:pt x="320" y="765"/>
                  </a:lnTo>
                  <a:lnTo>
                    <a:pt x="308" y="766"/>
                  </a:lnTo>
                  <a:lnTo>
                    <a:pt x="305" y="766"/>
                  </a:lnTo>
                  <a:lnTo>
                    <a:pt x="304" y="766"/>
                  </a:lnTo>
                  <a:lnTo>
                    <a:pt x="303" y="765"/>
                  </a:lnTo>
                  <a:lnTo>
                    <a:pt x="301" y="765"/>
                  </a:lnTo>
                  <a:lnTo>
                    <a:pt x="300" y="765"/>
                  </a:lnTo>
                  <a:lnTo>
                    <a:pt x="298" y="765"/>
                  </a:lnTo>
                  <a:lnTo>
                    <a:pt x="297" y="768"/>
                  </a:lnTo>
                  <a:lnTo>
                    <a:pt x="295" y="779"/>
                  </a:lnTo>
                  <a:lnTo>
                    <a:pt x="295" y="784"/>
                  </a:lnTo>
                  <a:lnTo>
                    <a:pt x="295" y="785"/>
                  </a:lnTo>
                  <a:lnTo>
                    <a:pt x="294" y="787"/>
                  </a:lnTo>
                  <a:lnTo>
                    <a:pt x="292" y="787"/>
                  </a:lnTo>
                  <a:lnTo>
                    <a:pt x="289" y="785"/>
                  </a:lnTo>
                  <a:lnTo>
                    <a:pt x="285" y="782"/>
                  </a:lnTo>
                  <a:lnTo>
                    <a:pt x="281" y="779"/>
                  </a:lnTo>
                  <a:lnTo>
                    <a:pt x="272" y="776"/>
                  </a:lnTo>
                  <a:lnTo>
                    <a:pt x="256" y="776"/>
                  </a:lnTo>
                  <a:lnTo>
                    <a:pt x="254" y="773"/>
                  </a:lnTo>
                  <a:lnTo>
                    <a:pt x="252" y="771"/>
                  </a:lnTo>
                  <a:lnTo>
                    <a:pt x="252" y="769"/>
                  </a:lnTo>
                  <a:lnTo>
                    <a:pt x="252" y="768"/>
                  </a:lnTo>
                  <a:lnTo>
                    <a:pt x="253" y="766"/>
                  </a:lnTo>
                  <a:lnTo>
                    <a:pt x="253" y="765"/>
                  </a:lnTo>
                  <a:lnTo>
                    <a:pt x="253" y="763"/>
                  </a:lnTo>
                  <a:lnTo>
                    <a:pt x="250" y="757"/>
                  </a:lnTo>
                  <a:lnTo>
                    <a:pt x="249" y="753"/>
                  </a:lnTo>
                  <a:lnTo>
                    <a:pt x="249" y="752"/>
                  </a:lnTo>
                  <a:lnTo>
                    <a:pt x="249" y="749"/>
                  </a:lnTo>
                  <a:lnTo>
                    <a:pt x="250" y="747"/>
                  </a:lnTo>
                  <a:lnTo>
                    <a:pt x="250" y="744"/>
                  </a:lnTo>
                  <a:lnTo>
                    <a:pt x="250" y="743"/>
                  </a:lnTo>
                  <a:lnTo>
                    <a:pt x="250" y="740"/>
                  </a:lnTo>
                  <a:lnTo>
                    <a:pt x="250" y="737"/>
                  </a:lnTo>
                  <a:lnTo>
                    <a:pt x="249" y="730"/>
                  </a:lnTo>
                  <a:lnTo>
                    <a:pt x="249" y="727"/>
                  </a:lnTo>
                  <a:lnTo>
                    <a:pt x="249" y="724"/>
                  </a:lnTo>
                  <a:lnTo>
                    <a:pt x="247" y="723"/>
                  </a:lnTo>
                  <a:lnTo>
                    <a:pt x="247" y="721"/>
                  </a:lnTo>
                  <a:lnTo>
                    <a:pt x="241" y="718"/>
                  </a:lnTo>
                  <a:lnTo>
                    <a:pt x="238" y="714"/>
                  </a:lnTo>
                  <a:lnTo>
                    <a:pt x="234" y="704"/>
                  </a:lnTo>
                  <a:lnTo>
                    <a:pt x="228" y="705"/>
                  </a:lnTo>
                  <a:lnTo>
                    <a:pt x="225" y="706"/>
                  </a:lnTo>
                  <a:lnTo>
                    <a:pt x="225" y="708"/>
                  </a:lnTo>
                  <a:lnTo>
                    <a:pt x="224" y="708"/>
                  </a:lnTo>
                  <a:lnTo>
                    <a:pt x="221" y="708"/>
                  </a:lnTo>
                  <a:lnTo>
                    <a:pt x="215" y="706"/>
                  </a:lnTo>
                  <a:lnTo>
                    <a:pt x="215" y="706"/>
                  </a:lnTo>
                  <a:lnTo>
                    <a:pt x="214" y="705"/>
                  </a:lnTo>
                  <a:lnTo>
                    <a:pt x="215" y="704"/>
                  </a:lnTo>
                  <a:lnTo>
                    <a:pt x="214" y="702"/>
                  </a:lnTo>
                  <a:lnTo>
                    <a:pt x="214" y="701"/>
                  </a:lnTo>
                  <a:lnTo>
                    <a:pt x="203" y="692"/>
                  </a:lnTo>
                  <a:lnTo>
                    <a:pt x="202" y="690"/>
                  </a:lnTo>
                  <a:lnTo>
                    <a:pt x="201" y="689"/>
                  </a:lnTo>
                  <a:lnTo>
                    <a:pt x="201" y="686"/>
                  </a:lnTo>
                  <a:lnTo>
                    <a:pt x="199" y="685"/>
                  </a:lnTo>
                  <a:lnTo>
                    <a:pt x="199" y="683"/>
                  </a:lnTo>
                  <a:lnTo>
                    <a:pt x="198" y="682"/>
                  </a:lnTo>
                  <a:lnTo>
                    <a:pt x="196" y="683"/>
                  </a:lnTo>
                  <a:lnTo>
                    <a:pt x="193" y="685"/>
                  </a:lnTo>
                  <a:lnTo>
                    <a:pt x="190" y="685"/>
                  </a:lnTo>
                  <a:lnTo>
                    <a:pt x="183" y="685"/>
                  </a:lnTo>
                  <a:lnTo>
                    <a:pt x="182" y="683"/>
                  </a:lnTo>
                  <a:lnTo>
                    <a:pt x="180" y="682"/>
                  </a:lnTo>
                  <a:lnTo>
                    <a:pt x="179" y="679"/>
                  </a:lnTo>
                  <a:lnTo>
                    <a:pt x="179" y="677"/>
                  </a:lnTo>
                  <a:lnTo>
                    <a:pt x="179" y="676"/>
                  </a:lnTo>
                  <a:lnTo>
                    <a:pt x="180" y="673"/>
                  </a:lnTo>
                  <a:lnTo>
                    <a:pt x="182" y="673"/>
                  </a:lnTo>
                  <a:lnTo>
                    <a:pt x="182" y="672"/>
                  </a:lnTo>
                  <a:lnTo>
                    <a:pt x="182" y="669"/>
                  </a:lnTo>
                  <a:lnTo>
                    <a:pt x="171" y="661"/>
                  </a:lnTo>
                  <a:lnTo>
                    <a:pt x="170" y="660"/>
                  </a:lnTo>
                  <a:lnTo>
                    <a:pt x="168" y="658"/>
                  </a:lnTo>
                  <a:lnTo>
                    <a:pt x="167" y="656"/>
                  </a:lnTo>
                  <a:lnTo>
                    <a:pt x="166" y="654"/>
                  </a:lnTo>
                  <a:lnTo>
                    <a:pt x="161" y="650"/>
                  </a:lnTo>
                  <a:lnTo>
                    <a:pt x="160" y="648"/>
                  </a:lnTo>
                  <a:lnTo>
                    <a:pt x="160" y="647"/>
                  </a:lnTo>
                  <a:lnTo>
                    <a:pt x="160" y="645"/>
                  </a:lnTo>
                  <a:lnTo>
                    <a:pt x="160" y="642"/>
                  </a:lnTo>
                  <a:lnTo>
                    <a:pt x="160" y="641"/>
                  </a:lnTo>
                  <a:lnTo>
                    <a:pt x="160" y="640"/>
                  </a:lnTo>
                  <a:lnTo>
                    <a:pt x="158" y="637"/>
                  </a:lnTo>
                  <a:lnTo>
                    <a:pt x="158" y="635"/>
                  </a:lnTo>
                  <a:lnTo>
                    <a:pt x="155" y="634"/>
                  </a:lnTo>
                  <a:lnTo>
                    <a:pt x="152" y="632"/>
                  </a:lnTo>
                  <a:lnTo>
                    <a:pt x="125" y="622"/>
                  </a:lnTo>
                  <a:lnTo>
                    <a:pt x="122" y="621"/>
                  </a:lnTo>
                  <a:lnTo>
                    <a:pt x="122" y="619"/>
                  </a:lnTo>
                  <a:lnTo>
                    <a:pt x="120" y="616"/>
                  </a:lnTo>
                  <a:lnTo>
                    <a:pt x="119" y="612"/>
                  </a:lnTo>
                  <a:lnTo>
                    <a:pt x="119" y="609"/>
                  </a:lnTo>
                  <a:lnTo>
                    <a:pt x="118" y="607"/>
                  </a:lnTo>
                  <a:lnTo>
                    <a:pt x="116" y="606"/>
                  </a:lnTo>
                  <a:lnTo>
                    <a:pt x="115" y="605"/>
                  </a:lnTo>
                  <a:lnTo>
                    <a:pt x="113" y="603"/>
                  </a:lnTo>
                  <a:lnTo>
                    <a:pt x="113" y="602"/>
                  </a:lnTo>
                  <a:lnTo>
                    <a:pt x="110" y="602"/>
                  </a:lnTo>
                  <a:lnTo>
                    <a:pt x="107" y="600"/>
                  </a:lnTo>
                  <a:lnTo>
                    <a:pt x="90" y="602"/>
                  </a:lnTo>
                  <a:lnTo>
                    <a:pt x="88" y="602"/>
                  </a:lnTo>
                  <a:lnTo>
                    <a:pt x="87" y="602"/>
                  </a:lnTo>
                  <a:lnTo>
                    <a:pt x="87" y="600"/>
                  </a:lnTo>
                  <a:lnTo>
                    <a:pt x="87" y="599"/>
                  </a:lnTo>
                  <a:lnTo>
                    <a:pt x="87" y="597"/>
                  </a:lnTo>
                  <a:lnTo>
                    <a:pt x="87" y="596"/>
                  </a:lnTo>
                  <a:lnTo>
                    <a:pt x="87" y="594"/>
                  </a:lnTo>
                  <a:lnTo>
                    <a:pt x="85" y="593"/>
                  </a:lnTo>
                  <a:lnTo>
                    <a:pt x="80" y="597"/>
                  </a:lnTo>
                  <a:lnTo>
                    <a:pt x="61" y="618"/>
                  </a:lnTo>
                  <a:lnTo>
                    <a:pt x="59" y="618"/>
                  </a:lnTo>
                  <a:lnTo>
                    <a:pt x="58" y="616"/>
                  </a:lnTo>
                  <a:lnTo>
                    <a:pt x="58" y="615"/>
                  </a:lnTo>
                  <a:lnTo>
                    <a:pt x="58" y="613"/>
                  </a:lnTo>
                  <a:lnTo>
                    <a:pt x="59" y="610"/>
                  </a:lnTo>
                  <a:lnTo>
                    <a:pt x="62" y="600"/>
                  </a:lnTo>
                  <a:lnTo>
                    <a:pt x="62" y="597"/>
                  </a:lnTo>
                  <a:lnTo>
                    <a:pt x="59" y="591"/>
                  </a:lnTo>
                  <a:lnTo>
                    <a:pt x="59" y="590"/>
                  </a:lnTo>
                  <a:lnTo>
                    <a:pt x="59" y="589"/>
                  </a:lnTo>
                  <a:lnTo>
                    <a:pt x="59" y="587"/>
                  </a:lnTo>
                  <a:lnTo>
                    <a:pt x="59" y="586"/>
                  </a:lnTo>
                  <a:lnTo>
                    <a:pt x="59" y="575"/>
                  </a:lnTo>
                  <a:lnTo>
                    <a:pt x="59" y="574"/>
                  </a:lnTo>
                  <a:lnTo>
                    <a:pt x="59" y="573"/>
                  </a:lnTo>
                  <a:lnTo>
                    <a:pt x="58" y="571"/>
                  </a:lnTo>
                  <a:lnTo>
                    <a:pt x="58" y="570"/>
                  </a:lnTo>
                  <a:lnTo>
                    <a:pt x="59" y="568"/>
                  </a:lnTo>
                  <a:lnTo>
                    <a:pt x="62" y="564"/>
                  </a:lnTo>
                  <a:lnTo>
                    <a:pt x="65" y="562"/>
                  </a:lnTo>
                  <a:lnTo>
                    <a:pt x="67" y="562"/>
                  </a:lnTo>
                  <a:lnTo>
                    <a:pt x="68" y="564"/>
                  </a:lnTo>
                  <a:lnTo>
                    <a:pt x="68" y="562"/>
                  </a:lnTo>
                  <a:lnTo>
                    <a:pt x="68" y="561"/>
                  </a:lnTo>
                  <a:lnTo>
                    <a:pt x="68" y="548"/>
                  </a:lnTo>
                  <a:lnTo>
                    <a:pt x="64" y="539"/>
                  </a:lnTo>
                  <a:lnTo>
                    <a:pt x="64" y="538"/>
                  </a:lnTo>
                  <a:lnTo>
                    <a:pt x="62" y="536"/>
                  </a:lnTo>
                  <a:lnTo>
                    <a:pt x="61" y="535"/>
                  </a:lnTo>
                  <a:lnTo>
                    <a:pt x="56" y="533"/>
                  </a:lnTo>
                  <a:lnTo>
                    <a:pt x="50" y="533"/>
                  </a:lnTo>
                  <a:lnTo>
                    <a:pt x="45" y="532"/>
                  </a:lnTo>
                  <a:lnTo>
                    <a:pt x="43" y="530"/>
                  </a:lnTo>
                  <a:lnTo>
                    <a:pt x="42" y="532"/>
                  </a:lnTo>
                  <a:lnTo>
                    <a:pt x="39" y="532"/>
                  </a:lnTo>
                  <a:lnTo>
                    <a:pt x="34" y="535"/>
                  </a:lnTo>
                  <a:lnTo>
                    <a:pt x="32" y="536"/>
                  </a:lnTo>
                  <a:lnTo>
                    <a:pt x="26" y="538"/>
                  </a:lnTo>
                  <a:lnTo>
                    <a:pt x="26" y="539"/>
                  </a:lnTo>
                  <a:lnTo>
                    <a:pt x="24" y="539"/>
                  </a:lnTo>
                  <a:lnTo>
                    <a:pt x="24" y="541"/>
                  </a:lnTo>
                  <a:lnTo>
                    <a:pt x="24" y="542"/>
                  </a:lnTo>
                  <a:lnTo>
                    <a:pt x="24" y="543"/>
                  </a:lnTo>
                  <a:lnTo>
                    <a:pt x="24" y="545"/>
                  </a:lnTo>
                  <a:lnTo>
                    <a:pt x="27" y="549"/>
                  </a:lnTo>
                  <a:lnTo>
                    <a:pt x="29" y="551"/>
                  </a:lnTo>
                  <a:lnTo>
                    <a:pt x="29" y="551"/>
                  </a:lnTo>
                  <a:lnTo>
                    <a:pt x="27" y="554"/>
                  </a:lnTo>
                  <a:lnTo>
                    <a:pt x="26" y="557"/>
                  </a:lnTo>
                  <a:lnTo>
                    <a:pt x="26" y="558"/>
                  </a:lnTo>
                  <a:lnTo>
                    <a:pt x="24" y="558"/>
                  </a:lnTo>
                  <a:lnTo>
                    <a:pt x="23" y="558"/>
                  </a:lnTo>
                  <a:lnTo>
                    <a:pt x="18" y="558"/>
                  </a:lnTo>
                  <a:lnTo>
                    <a:pt x="17" y="557"/>
                  </a:lnTo>
                  <a:lnTo>
                    <a:pt x="11" y="552"/>
                  </a:lnTo>
                  <a:lnTo>
                    <a:pt x="10" y="552"/>
                  </a:lnTo>
                  <a:lnTo>
                    <a:pt x="8" y="552"/>
                  </a:lnTo>
                  <a:lnTo>
                    <a:pt x="7" y="554"/>
                  </a:lnTo>
                  <a:lnTo>
                    <a:pt x="5" y="554"/>
                  </a:lnTo>
                  <a:lnTo>
                    <a:pt x="2" y="555"/>
                  </a:lnTo>
                  <a:lnTo>
                    <a:pt x="1" y="554"/>
                  </a:lnTo>
                  <a:lnTo>
                    <a:pt x="0" y="552"/>
                  </a:lnTo>
                  <a:lnTo>
                    <a:pt x="0" y="549"/>
                  </a:lnTo>
                  <a:lnTo>
                    <a:pt x="0" y="545"/>
                  </a:lnTo>
                  <a:lnTo>
                    <a:pt x="0" y="542"/>
                  </a:lnTo>
                  <a:lnTo>
                    <a:pt x="0" y="539"/>
                  </a:lnTo>
                  <a:lnTo>
                    <a:pt x="1" y="536"/>
                  </a:lnTo>
                  <a:lnTo>
                    <a:pt x="4" y="532"/>
                  </a:lnTo>
                  <a:lnTo>
                    <a:pt x="5" y="529"/>
                  </a:lnTo>
                  <a:lnTo>
                    <a:pt x="7" y="527"/>
                  </a:lnTo>
                  <a:lnTo>
                    <a:pt x="8" y="527"/>
                  </a:lnTo>
                  <a:lnTo>
                    <a:pt x="8" y="526"/>
                  </a:lnTo>
                  <a:lnTo>
                    <a:pt x="10" y="526"/>
                  </a:lnTo>
                  <a:lnTo>
                    <a:pt x="13" y="522"/>
                  </a:lnTo>
                  <a:lnTo>
                    <a:pt x="13" y="520"/>
                  </a:lnTo>
                  <a:lnTo>
                    <a:pt x="11" y="519"/>
                  </a:lnTo>
                  <a:lnTo>
                    <a:pt x="11" y="516"/>
                  </a:lnTo>
                  <a:lnTo>
                    <a:pt x="13" y="511"/>
                  </a:lnTo>
                  <a:lnTo>
                    <a:pt x="18" y="503"/>
                  </a:lnTo>
                  <a:lnTo>
                    <a:pt x="18" y="500"/>
                  </a:lnTo>
                  <a:lnTo>
                    <a:pt x="20" y="498"/>
                  </a:lnTo>
                  <a:lnTo>
                    <a:pt x="20" y="495"/>
                  </a:lnTo>
                  <a:lnTo>
                    <a:pt x="20" y="491"/>
                  </a:lnTo>
                  <a:lnTo>
                    <a:pt x="20" y="491"/>
                  </a:lnTo>
                  <a:lnTo>
                    <a:pt x="18" y="488"/>
                  </a:lnTo>
                  <a:lnTo>
                    <a:pt x="14" y="484"/>
                  </a:lnTo>
                  <a:lnTo>
                    <a:pt x="17" y="478"/>
                  </a:lnTo>
                  <a:lnTo>
                    <a:pt x="18" y="478"/>
                  </a:lnTo>
                  <a:lnTo>
                    <a:pt x="20" y="476"/>
                  </a:lnTo>
                  <a:lnTo>
                    <a:pt x="21" y="476"/>
                  </a:lnTo>
                  <a:lnTo>
                    <a:pt x="21" y="476"/>
                  </a:lnTo>
                  <a:lnTo>
                    <a:pt x="23" y="478"/>
                  </a:lnTo>
                  <a:lnTo>
                    <a:pt x="23" y="478"/>
                  </a:lnTo>
                  <a:lnTo>
                    <a:pt x="23" y="476"/>
                  </a:lnTo>
                  <a:lnTo>
                    <a:pt x="23" y="474"/>
                  </a:lnTo>
                  <a:lnTo>
                    <a:pt x="23" y="472"/>
                  </a:lnTo>
                  <a:lnTo>
                    <a:pt x="23" y="469"/>
                  </a:lnTo>
                  <a:lnTo>
                    <a:pt x="21" y="468"/>
                  </a:lnTo>
                  <a:lnTo>
                    <a:pt x="21" y="465"/>
                  </a:lnTo>
                  <a:lnTo>
                    <a:pt x="23" y="463"/>
                  </a:lnTo>
                  <a:lnTo>
                    <a:pt x="23" y="462"/>
                  </a:lnTo>
                  <a:lnTo>
                    <a:pt x="24" y="458"/>
                  </a:lnTo>
                  <a:lnTo>
                    <a:pt x="24" y="456"/>
                  </a:lnTo>
                  <a:lnTo>
                    <a:pt x="24" y="455"/>
                  </a:lnTo>
                  <a:lnTo>
                    <a:pt x="26" y="453"/>
                  </a:lnTo>
                  <a:lnTo>
                    <a:pt x="27" y="452"/>
                  </a:lnTo>
                  <a:lnTo>
                    <a:pt x="33" y="450"/>
                  </a:lnTo>
                  <a:lnTo>
                    <a:pt x="39" y="449"/>
                  </a:lnTo>
                  <a:lnTo>
                    <a:pt x="42" y="449"/>
                  </a:lnTo>
                  <a:lnTo>
                    <a:pt x="45" y="447"/>
                  </a:lnTo>
                  <a:lnTo>
                    <a:pt x="46" y="446"/>
                  </a:lnTo>
                  <a:lnTo>
                    <a:pt x="49" y="446"/>
                  </a:lnTo>
                  <a:lnTo>
                    <a:pt x="50" y="446"/>
                  </a:lnTo>
                  <a:lnTo>
                    <a:pt x="50" y="443"/>
                  </a:lnTo>
                  <a:lnTo>
                    <a:pt x="52" y="437"/>
                  </a:lnTo>
                  <a:lnTo>
                    <a:pt x="50" y="434"/>
                  </a:lnTo>
                  <a:lnTo>
                    <a:pt x="50" y="431"/>
                  </a:lnTo>
                  <a:lnTo>
                    <a:pt x="52" y="430"/>
                  </a:lnTo>
                  <a:lnTo>
                    <a:pt x="62" y="418"/>
                  </a:lnTo>
                  <a:lnTo>
                    <a:pt x="59" y="415"/>
                  </a:lnTo>
                  <a:lnTo>
                    <a:pt x="58" y="412"/>
                  </a:lnTo>
                  <a:lnTo>
                    <a:pt x="56" y="408"/>
                  </a:lnTo>
                  <a:lnTo>
                    <a:pt x="55" y="405"/>
                  </a:lnTo>
                  <a:lnTo>
                    <a:pt x="53" y="404"/>
                  </a:lnTo>
                  <a:lnTo>
                    <a:pt x="49" y="401"/>
                  </a:lnTo>
                  <a:lnTo>
                    <a:pt x="46" y="398"/>
                  </a:lnTo>
                  <a:lnTo>
                    <a:pt x="45" y="398"/>
                  </a:lnTo>
                  <a:lnTo>
                    <a:pt x="45" y="396"/>
                  </a:lnTo>
                  <a:lnTo>
                    <a:pt x="43" y="396"/>
                  </a:lnTo>
                  <a:lnTo>
                    <a:pt x="42" y="398"/>
                  </a:lnTo>
                  <a:lnTo>
                    <a:pt x="42" y="398"/>
                  </a:lnTo>
                  <a:lnTo>
                    <a:pt x="40" y="398"/>
                  </a:lnTo>
                  <a:lnTo>
                    <a:pt x="39" y="399"/>
                  </a:lnTo>
                  <a:lnTo>
                    <a:pt x="39" y="399"/>
                  </a:lnTo>
                  <a:lnTo>
                    <a:pt x="37" y="401"/>
                  </a:lnTo>
                  <a:lnTo>
                    <a:pt x="37" y="402"/>
                  </a:lnTo>
                  <a:lnTo>
                    <a:pt x="36" y="404"/>
                  </a:lnTo>
                  <a:lnTo>
                    <a:pt x="36" y="405"/>
                  </a:lnTo>
                  <a:lnTo>
                    <a:pt x="34" y="405"/>
                  </a:lnTo>
                  <a:lnTo>
                    <a:pt x="33" y="405"/>
                  </a:lnTo>
                  <a:lnTo>
                    <a:pt x="32" y="404"/>
                  </a:lnTo>
                  <a:lnTo>
                    <a:pt x="32" y="401"/>
                  </a:lnTo>
                  <a:lnTo>
                    <a:pt x="32" y="395"/>
                  </a:lnTo>
                  <a:lnTo>
                    <a:pt x="32" y="392"/>
                  </a:lnTo>
                  <a:lnTo>
                    <a:pt x="30" y="392"/>
                  </a:lnTo>
                  <a:lnTo>
                    <a:pt x="29" y="393"/>
                  </a:lnTo>
                  <a:lnTo>
                    <a:pt x="29" y="395"/>
                  </a:lnTo>
                  <a:lnTo>
                    <a:pt x="27" y="395"/>
                  </a:lnTo>
                  <a:lnTo>
                    <a:pt x="26" y="393"/>
                  </a:lnTo>
                  <a:lnTo>
                    <a:pt x="26" y="392"/>
                  </a:lnTo>
                  <a:lnTo>
                    <a:pt x="26" y="389"/>
                  </a:lnTo>
                  <a:lnTo>
                    <a:pt x="26" y="388"/>
                  </a:lnTo>
                  <a:lnTo>
                    <a:pt x="27" y="386"/>
                  </a:lnTo>
                  <a:lnTo>
                    <a:pt x="29" y="385"/>
                  </a:lnTo>
                  <a:lnTo>
                    <a:pt x="32" y="385"/>
                  </a:lnTo>
                  <a:lnTo>
                    <a:pt x="32" y="385"/>
                  </a:lnTo>
                  <a:lnTo>
                    <a:pt x="33" y="386"/>
                  </a:lnTo>
                  <a:lnTo>
                    <a:pt x="33" y="386"/>
                  </a:lnTo>
                  <a:lnTo>
                    <a:pt x="34" y="388"/>
                  </a:lnTo>
                  <a:lnTo>
                    <a:pt x="46" y="388"/>
                  </a:lnTo>
                  <a:lnTo>
                    <a:pt x="50" y="388"/>
                  </a:lnTo>
                  <a:lnTo>
                    <a:pt x="56" y="386"/>
                  </a:lnTo>
                  <a:lnTo>
                    <a:pt x="58" y="385"/>
                  </a:lnTo>
                  <a:lnTo>
                    <a:pt x="58" y="382"/>
                  </a:lnTo>
                  <a:lnTo>
                    <a:pt x="58" y="375"/>
                  </a:lnTo>
                  <a:lnTo>
                    <a:pt x="55" y="372"/>
                  </a:lnTo>
                  <a:lnTo>
                    <a:pt x="53" y="369"/>
                  </a:lnTo>
                  <a:lnTo>
                    <a:pt x="52" y="367"/>
                  </a:lnTo>
                  <a:lnTo>
                    <a:pt x="52" y="367"/>
                  </a:lnTo>
                  <a:lnTo>
                    <a:pt x="50" y="363"/>
                  </a:lnTo>
                  <a:lnTo>
                    <a:pt x="50" y="356"/>
                  </a:lnTo>
                  <a:lnTo>
                    <a:pt x="59" y="350"/>
                  </a:lnTo>
                  <a:lnTo>
                    <a:pt x="64" y="348"/>
                  </a:lnTo>
                  <a:lnTo>
                    <a:pt x="74" y="348"/>
                  </a:lnTo>
                  <a:lnTo>
                    <a:pt x="78" y="350"/>
                  </a:lnTo>
                  <a:lnTo>
                    <a:pt x="80" y="350"/>
                  </a:lnTo>
                  <a:lnTo>
                    <a:pt x="83" y="348"/>
                  </a:lnTo>
                  <a:lnTo>
                    <a:pt x="84" y="348"/>
                  </a:lnTo>
                  <a:lnTo>
                    <a:pt x="85" y="350"/>
                  </a:lnTo>
                  <a:lnTo>
                    <a:pt x="85" y="350"/>
                  </a:lnTo>
                  <a:lnTo>
                    <a:pt x="84" y="353"/>
                  </a:lnTo>
                  <a:lnTo>
                    <a:pt x="84" y="354"/>
                  </a:lnTo>
                  <a:lnTo>
                    <a:pt x="84" y="354"/>
                  </a:lnTo>
                  <a:lnTo>
                    <a:pt x="85" y="354"/>
                  </a:lnTo>
                  <a:lnTo>
                    <a:pt x="87" y="356"/>
                  </a:lnTo>
                  <a:lnTo>
                    <a:pt x="88" y="357"/>
                  </a:lnTo>
                  <a:lnTo>
                    <a:pt x="90" y="357"/>
                  </a:lnTo>
                  <a:lnTo>
                    <a:pt x="91" y="357"/>
                  </a:lnTo>
                  <a:lnTo>
                    <a:pt x="100" y="356"/>
                  </a:lnTo>
                  <a:lnTo>
                    <a:pt x="107" y="356"/>
                  </a:lnTo>
                  <a:lnTo>
                    <a:pt x="109" y="356"/>
                  </a:lnTo>
                  <a:lnTo>
                    <a:pt x="110" y="354"/>
                  </a:lnTo>
                  <a:lnTo>
                    <a:pt x="115" y="342"/>
                  </a:lnTo>
                  <a:lnTo>
                    <a:pt x="115" y="340"/>
                  </a:lnTo>
                  <a:lnTo>
                    <a:pt x="115" y="338"/>
                  </a:lnTo>
                  <a:lnTo>
                    <a:pt x="113" y="337"/>
                  </a:lnTo>
                  <a:lnTo>
                    <a:pt x="112" y="332"/>
                  </a:lnTo>
                  <a:lnTo>
                    <a:pt x="110" y="329"/>
                  </a:lnTo>
                  <a:lnTo>
                    <a:pt x="109" y="329"/>
                  </a:lnTo>
                  <a:lnTo>
                    <a:pt x="107" y="328"/>
                  </a:lnTo>
                  <a:lnTo>
                    <a:pt x="103" y="328"/>
                  </a:lnTo>
                  <a:lnTo>
                    <a:pt x="101" y="328"/>
                  </a:lnTo>
                  <a:lnTo>
                    <a:pt x="100" y="326"/>
                  </a:lnTo>
                  <a:lnTo>
                    <a:pt x="99" y="325"/>
                  </a:lnTo>
                  <a:lnTo>
                    <a:pt x="97" y="325"/>
                  </a:lnTo>
                  <a:lnTo>
                    <a:pt x="96" y="324"/>
                  </a:lnTo>
                  <a:lnTo>
                    <a:pt x="93" y="324"/>
                  </a:lnTo>
                  <a:lnTo>
                    <a:pt x="91" y="324"/>
                  </a:lnTo>
                  <a:lnTo>
                    <a:pt x="91" y="321"/>
                  </a:lnTo>
                  <a:lnTo>
                    <a:pt x="91" y="318"/>
                  </a:lnTo>
                  <a:lnTo>
                    <a:pt x="93" y="313"/>
                  </a:lnTo>
                  <a:lnTo>
                    <a:pt x="93" y="309"/>
                  </a:lnTo>
                  <a:lnTo>
                    <a:pt x="94" y="305"/>
                  </a:lnTo>
                  <a:lnTo>
                    <a:pt x="100" y="297"/>
                  </a:lnTo>
                  <a:lnTo>
                    <a:pt x="100" y="293"/>
                  </a:lnTo>
                  <a:lnTo>
                    <a:pt x="101" y="290"/>
                  </a:lnTo>
                  <a:lnTo>
                    <a:pt x="100" y="289"/>
                  </a:lnTo>
                  <a:lnTo>
                    <a:pt x="93" y="287"/>
                  </a:lnTo>
                  <a:lnTo>
                    <a:pt x="91" y="287"/>
                  </a:lnTo>
                  <a:lnTo>
                    <a:pt x="91" y="287"/>
                  </a:lnTo>
                  <a:lnTo>
                    <a:pt x="90" y="286"/>
                  </a:lnTo>
                  <a:lnTo>
                    <a:pt x="90" y="284"/>
                  </a:lnTo>
                  <a:lnTo>
                    <a:pt x="90" y="283"/>
                  </a:lnTo>
                  <a:lnTo>
                    <a:pt x="88" y="281"/>
                  </a:lnTo>
                  <a:lnTo>
                    <a:pt x="88" y="280"/>
                  </a:lnTo>
                  <a:lnTo>
                    <a:pt x="87" y="280"/>
                  </a:lnTo>
                  <a:lnTo>
                    <a:pt x="85" y="278"/>
                  </a:lnTo>
                  <a:lnTo>
                    <a:pt x="87" y="277"/>
                  </a:lnTo>
                  <a:lnTo>
                    <a:pt x="88" y="276"/>
                  </a:lnTo>
                  <a:lnTo>
                    <a:pt x="97" y="274"/>
                  </a:lnTo>
                  <a:lnTo>
                    <a:pt x="100" y="274"/>
                  </a:lnTo>
                  <a:lnTo>
                    <a:pt x="103" y="274"/>
                  </a:lnTo>
                  <a:lnTo>
                    <a:pt x="104" y="276"/>
                  </a:lnTo>
                  <a:lnTo>
                    <a:pt x="106" y="278"/>
                  </a:lnTo>
                  <a:lnTo>
                    <a:pt x="107" y="280"/>
                  </a:lnTo>
                  <a:lnTo>
                    <a:pt x="107" y="281"/>
                  </a:lnTo>
                  <a:lnTo>
                    <a:pt x="106" y="283"/>
                  </a:lnTo>
                  <a:lnTo>
                    <a:pt x="106" y="283"/>
                  </a:lnTo>
                  <a:lnTo>
                    <a:pt x="106" y="284"/>
                  </a:lnTo>
                  <a:lnTo>
                    <a:pt x="109" y="286"/>
                  </a:lnTo>
                  <a:lnTo>
                    <a:pt x="109" y="286"/>
                  </a:lnTo>
                  <a:lnTo>
                    <a:pt x="110" y="289"/>
                  </a:lnTo>
                  <a:lnTo>
                    <a:pt x="110" y="290"/>
                  </a:lnTo>
                  <a:lnTo>
                    <a:pt x="112" y="290"/>
                  </a:lnTo>
                  <a:lnTo>
                    <a:pt x="113" y="287"/>
                  </a:lnTo>
                  <a:lnTo>
                    <a:pt x="115" y="276"/>
                  </a:lnTo>
                  <a:lnTo>
                    <a:pt x="115" y="273"/>
                  </a:lnTo>
                  <a:lnTo>
                    <a:pt x="115" y="270"/>
                  </a:lnTo>
                  <a:lnTo>
                    <a:pt x="116" y="265"/>
                  </a:lnTo>
                  <a:lnTo>
                    <a:pt x="122" y="258"/>
                  </a:lnTo>
                  <a:lnTo>
                    <a:pt x="123" y="255"/>
                  </a:lnTo>
                  <a:lnTo>
                    <a:pt x="123" y="255"/>
                  </a:lnTo>
                  <a:lnTo>
                    <a:pt x="123" y="254"/>
                  </a:lnTo>
                  <a:lnTo>
                    <a:pt x="122" y="252"/>
                  </a:lnTo>
                  <a:lnTo>
                    <a:pt x="118" y="251"/>
                  </a:lnTo>
                  <a:lnTo>
                    <a:pt x="110" y="246"/>
                  </a:lnTo>
                  <a:lnTo>
                    <a:pt x="107" y="243"/>
                  </a:lnTo>
                  <a:lnTo>
                    <a:pt x="101" y="241"/>
                  </a:lnTo>
                  <a:lnTo>
                    <a:pt x="99" y="239"/>
                  </a:lnTo>
                  <a:lnTo>
                    <a:pt x="96" y="239"/>
                  </a:lnTo>
                  <a:lnTo>
                    <a:pt x="94" y="239"/>
                  </a:lnTo>
                  <a:lnTo>
                    <a:pt x="91" y="239"/>
                  </a:lnTo>
                  <a:lnTo>
                    <a:pt x="88" y="236"/>
                  </a:lnTo>
                  <a:lnTo>
                    <a:pt x="87" y="236"/>
                  </a:lnTo>
                  <a:lnTo>
                    <a:pt x="83" y="235"/>
                  </a:lnTo>
                  <a:lnTo>
                    <a:pt x="81" y="235"/>
                  </a:lnTo>
                  <a:lnTo>
                    <a:pt x="78" y="233"/>
                  </a:lnTo>
                  <a:lnTo>
                    <a:pt x="77" y="233"/>
                  </a:lnTo>
                  <a:lnTo>
                    <a:pt x="75" y="233"/>
                  </a:lnTo>
                  <a:lnTo>
                    <a:pt x="74" y="232"/>
                  </a:lnTo>
                  <a:lnTo>
                    <a:pt x="72" y="230"/>
                  </a:lnTo>
                  <a:lnTo>
                    <a:pt x="71" y="230"/>
                  </a:lnTo>
                  <a:lnTo>
                    <a:pt x="69" y="229"/>
                  </a:lnTo>
                  <a:lnTo>
                    <a:pt x="68" y="227"/>
                  </a:lnTo>
                  <a:lnTo>
                    <a:pt x="67" y="222"/>
                  </a:lnTo>
                  <a:lnTo>
                    <a:pt x="67" y="219"/>
                  </a:lnTo>
                  <a:lnTo>
                    <a:pt x="61" y="214"/>
                  </a:lnTo>
                  <a:lnTo>
                    <a:pt x="59" y="213"/>
                  </a:lnTo>
                  <a:lnTo>
                    <a:pt x="59" y="211"/>
                  </a:lnTo>
                  <a:lnTo>
                    <a:pt x="59" y="209"/>
                  </a:lnTo>
                  <a:lnTo>
                    <a:pt x="61" y="204"/>
                  </a:lnTo>
                  <a:lnTo>
                    <a:pt x="61" y="203"/>
                  </a:lnTo>
                  <a:lnTo>
                    <a:pt x="59" y="201"/>
                  </a:lnTo>
                  <a:lnTo>
                    <a:pt x="56" y="200"/>
                  </a:lnTo>
                  <a:lnTo>
                    <a:pt x="50" y="198"/>
                  </a:lnTo>
                  <a:lnTo>
                    <a:pt x="43" y="195"/>
                  </a:lnTo>
                  <a:lnTo>
                    <a:pt x="42" y="195"/>
                  </a:lnTo>
                  <a:lnTo>
                    <a:pt x="39" y="195"/>
                  </a:lnTo>
                  <a:lnTo>
                    <a:pt x="36" y="195"/>
                  </a:lnTo>
                  <a:lnTo>
                    <a:pt x="34" y="194"/>
                  </a:lnTo>
                  <a:lnTo>
                    <a:pt x="33" y="193"/>
                  </a:lnTo>
                  <a:lnTo>
                    <a:pt x="30" y="188"/>
                  </a:lnTo>
                  <a:lnTo>
                    <a:pt x="27" y="187"/>
                  </a:lnTo>
                  <a:lnTo>
                    <a:pt x="26" y="185"/>
                  </a:lnTo>
                  <a:lnTo>
                    <a:pt x="24" y="187"/>
                  </a:lnTo>
                  <a:lnTo>
                    <a:pt x="24" y="185"/>
                  </a:lnTo>
                  <a:lnTo>
                    <a:pt x="23" y="184"/>
                  </a:lnTo>
                  <a:lnTo>
                    <a:pt x="23" y="178"/>
                  </a:lnTo>
                  <a:lnTo>
                    <a:pt x="23" y="174"/>
                  </a:lnTo>
                  <a:lnTo>
                    <a:pt x="21" y="171"/>
                  </a:lnTo>
                  <a:lnTo>
                    <a:pt x="20" y="169"/>
                  </a:lnTo>
                  <a:lnTo>
                    <a:pt x="18" y="168"/>
                  </a:lnTo>
                  <a:lnTo>
                    <a:pt x="17" y="166"/>
                  </a:lnTo>
                  <a:lnTo>
                    <a:pt x="17" y="165"/>
                  </a:lnTo>
                  <a:lnTo>
                    <a:pt x="17" y="160"/>
                  </a:lnTo>
                  <a:lnTo>
                    <a:pt x="17" y="159"/>
                  </a:lnTo>
                  <a:lnTo>
                    <a:pt x="16" y="159"/>
                  </a:lnTo>
                  <a:lnTo>
                    <a:pt x="16" y="156"/>
                  </a:lnTo>
                  <a:lnTo>
                    <a:pt x="16" y="155"/>
                  </a:lnTo>
                  <a:lnTo>
                    <a:pt x="17" y="150"/>
                  </a:lnTo>
                  <a:lnTo>
                    <a:pt x="18" y="149"/>
                  </a:lnTo>
                  <a:lnTo>
                    <a:pt x="24" y="143"/>
                  </a:lnTo>
                  <a:lnTo>
                    <a:pt x="42" y="128"/>
                  </a:lnTo>
                  <a:lnTo>
                    <a:pt x="46" y="123"/>
                  </a:lnTo>
                  <a:lnTo>
                    <a:pt x="48" y="121"/>
                  </a:lnTo>
                  <a:lnTo>
                    <a:pt x="53" y="120"/>
                  </a:lnTo>
                  <a:lnTo>
                    <a:pt x="55" y="117"/>
                  </a:lnTo>
                  <a:lnTo>
                    <a:pt x="56" y="115"/>
                  </a:lnTo>
                  <a:lnTo>
                    <a:pt x="56" y="114"/>
                  </a:lnTo>
                  <a:lnTo>
                    <a:pt x="58" y="115"/>
                  </a:lnTo>
                  <a:lnTo>
                    <a:pt x="65" y="121"/>
                  </a:lnTo>
                  <a:lnTo>
                    <a:pt x="67" y="121"/>
                  </a:lnTo>
                  <a:lnTo>
                    <a:pt x="68" y="121"/>
                  </a:lnTo>
                  <a:lnTo>
                    <a:pt x="69" y="118"/>
                  </a:lnTo>
                  <a:lnTo>
                    <a:pt x="71" y="115"/>
                  </a:lnTo>
                  <a:lnTo>
                    <a:pt x="77" y="114"/>
                  </a:lnTo>
                  <a:lnTo>
                    <a:pt x="94" y="115"/>
                  </a:lnTo>
                  <a:lnTo>
                    <a:pt x="93" y="112"/>
                  </a:lnTo>
                  <a:lnTo>
                    <a:pt x="93" y="111"/>
                  </a:lnTo>
                  <a:lnTo>
                    <a:pt x="93" y="110"/>
                  </a:lnTo>
                  <a:lnTo>
                    <a:pt x="94" y="108"/>
                  </a:lnTo>
                  <a:lnTo>
                    <a:pt x="99" y="108"/>
                  </a:lnTo>
                  <a:lnTo>
                    <a:pt x="100" y="107"/>
                  </a:lnTo>
                  <a:lnTo>
                    <a:pt x="101" y="105"/>
                  </a:lnTo>
                  <a:lnTo>
                    <a:pt x="104" y="101"/>
                  </a:lnTo>
                  <a:lnTo>
                    <a:pt x="106" y="98"/>
                  </a:lnTo>
                  <a:lnTo>
                    <a:pt x="106" y="98"/>
                  </a:lnTo>
                  <a:lnTo>
                    <a:pt x="104" y="96"/>
                  </a:lnTo>
                  <a:lnTo>
                    <a:pt x="104" y="96"/>
                  </a:lnTo>
                  <a:lnTo>
                    <a:pt x="104" y="95"/>
                  </a:lnTo>
                  <a:lnTo>
                    <a:pt x="104" y="94"/>
                  </a:lnTo>
                  <a:lnTo>
                    <a:pt x="104" y="92"/>
                  </a:lnTo>
                  <a:lnTo>
                    <a:pt x="106" y="92"/>
                  </a:lnTo>
                  <a:lnTo>
                    <a:pt x="107" y="91"/>
                  </a:lnTo>
                  <a:lnTo>
                    <a:pt x="107" y="89"/>
                  </a:lnTo>
                  <a:lnTo>
                    <a:pt x="110" y="88"/>
                  </a:lnTo>
                  <a:lnTo>
                    <a:pt x="113" y="88"/>
                  </a:lnTo>
                  <a:lnTo>
                    <a:pt x="115" y="88"/>
                  </a:lnTo>
                  <a:lnTo>
                    <a:pt x="116" y="89"/>
                  </a:lnTo>
                  <a:lnTo>
                    <a:pt x="116" y="89"/>
                  </a:lnTo>
                  <a:lnTo>
                    <a:pt x="116" y="91"/>
                  </a:lnTo>
                  <a:lnTo>
                    <a:pt x="116" y="92"/>
                  </a:lnTo>
                  <a:lnTo>
                    <a:pt x="118" y="92"/>
                  </a:lnTo>
                  <a:lnTo>
                    <a:pt x="118" y="94"/>
                  </a:lnTo>
                  <a:lnTo>
                    <a:pt x="119" y="94"/>
                  </a:lnTo>
                  <a:lnTo>
                    <a:pt x="123" y="94"/>
                  </a:lnTo>
                  <a:lnTo>
                    <a:pt x="125" y="92"/>
                  </a:lnTo>
                  <a:lnTo>
                    <a:pt x="141" y="83"/>
                  </a:lnTo>
                  <a:lnTo>
                    <a:pt x="142" y="82"/>
                  </a:lnTo>
                  <a:lnTo>
                    <a:pt x="144" y="82"/>
                  </a:lnTo>
                  <a:lnTo>
                    <a:pt x="144" y="80"/>
                  </a:lnTo>
                  <a:lnTo>
                    <a:pt x="145" y="78"/>
                  </a:lnTo>
                  <a:lnTo>
                    <a:pt x="145" y="75"/>
                  </a:lnTo>
                  <a:lnTo>
                    <a:pt x="147" y="73"/>
                  </a:lnTo>
                  <a:lnTo>
                    <a:pt x="148" y="72"/>
                  </a:lnTo>
                  <a:lnTo>
                    <a:pt x="154" y="67"/>
                  </a:lnTo>
                  <a:lnTo>
                    <a:pt x="158" y="66"/>
                  </a:lnTo>
                  <a:lnTo>
                    <a:pt x="158" y="64"/>
                  </a:lnTo>
                  <a:lnTo>
                    <a:pt x="160" y="64"/>
                  </a:lnTo>
                  <a:lnTo>
                    <a:pt x="160" y="63"/>
                  </a:lnTo>
                  <a:lnTo>
                    <a:pt x="161" y="61"/>
                  </a:lnTo>
                  <a:lnTo>
                    <a:pt x="167" y="57"/>
                  </a:lnTo>
                  <a:lnTo>
                    <a:pt x="168" y="53"/>
                  </a:lnTo>
                  <a:lnTo>
                    <a:pt x="173" y="43"/>
                  </a:lnTo>
                  <a:lnTo>
                    <a:pt x="173" y="40"/>
                  </a:lnTo>
                  <a:lnTo>
                    <a:pt x="174" y="37"/>
                  </a:lnTo>
                  <a:lnTo>
                    <a:pt x="174" y="35"/>
                  </a:lnTo>
                  <a:lnTo>
                    <a:pt x="174" y="34"/>
                  </a:lnTo>
                  <a:lnTo>
                    <a:pt x="173" y="34"/>
                  </a:lnTo>
                  <a:lnTo>
                    <a:pt x="173" y="32"/>
                  </a:lnTo>
                  <a:lnTo>
                    <a:pt x="171" y="31"/>
                  </a:lnTo>
                  <a:lnTo>
                    <a:pt x="171" y="31"/>
                  </a:lnTo>
                  <a:lnTo>
                    <a:pt x="171" y="29"/>
                  </a:lnTo>
                  <a:lnTo>
                    <a:pt x="173" y="29"/>
                  </a:lnTo>
                  <a:lnTo>
                    <a:pt x="173" y="28"/>
                  </a:lnTo>
                  <a:lnTo>
                    <a:pt x="176" y="28"/>
                  </a:lnTo>
                  <a:lnTo>
                    <a:pt x="182" y="28"/>
                  </a:lnTo>
                  <a:lnTo>
                    <a:pt x="186" y="27"/>
                  </a:lnTo>
                  <a:lnTo>
                    <a:pt x="189" y="25"/>
                  </a:lnTo>
                  <a:lnTo>
                    <a:pt x="192" y="27"/>
                  </a:lnTo>
                  <a:lnTo>
                    <a:pt x="208" y="35"/>
                  </a:lnTo>
                  <a:lnTo>
                    <a:pt x="221" y="45"/>
                  </a:lnTo>
                  <a:lnTo>
                    <a:pt x="225" y="45"/>
                  </a:lnTo>
                  <a:lnTo>
                    <a:pt x="236" y="45"/>
                  </a:lnTo>
                  <a:lnTo>
                    <a:pt x="237" y="45"/>
                  </a:lnTo>
                  <a:lnTo>
                    <a:pt x="254" y="37"/>
                  </a:lnTo>
                  <a:lnTo>
                    <a:pt x="257" y="35"/>
                  </a:lnTo>
                  <a:lnTo>
                    <a:pt x="259" y="37"/>
                  </a:lnTo>
                  <a:lnTo>
                    <a:pt x="263" y="41"/>
                  </a:lnTo>
                  <a:lnTo>
                    <a:pt x="265" y="43"/>
                  </a:lnTo>
                  <a:lnTo>
                    <a:pt x="266" y="43"/>
                  </a:lnTo>
                  <a:lnTo>
                    <a:pt x="268" y="43"/>
                  </a:lnTo>
                  <a:lnTo>
                    <a:pt x="269" y="40"/>
                  </a:lnTo>
                  <a:lnTo>
                    <a:pt x="270" y="35"/>
                  </a:lnTo>
                  <a:lnTo>
                    <a:pt x="269" y="34"/>
                  </a:lnTo>
                  <a:lnTo>
                    <a:pt x="269" y="32"/>
                  </a:lnTo>
                  <a:lnTo>
                    <a:pt x="268" y="31"/>
                  </a:lnTo>
                  <a:lnTo>
                    <a:pt x="265" y="28"/>
                  </a:lnTo>
                  <a:lnTo>
                    <a:pt x="263" y="24"/>
                  </a:lnTo>
                  <a:lnTo>
                    <a:pt x="262" y="22"/>
                  </a:lnTo>
                  <a:lnTo>
                    <a:pt x="260" y="21"/>
                  </a:lnTo>
                  <a:lnTo>
                    <a:pt x="260" y="19"/>
                  </a:lnTo>
                  <a:lnTo>
                    <a:pt x="262" y="18"/>
                  </a:lnTo>
                  <a:lnTo>
                    <a:pt x="268" y="11"/>
                  </a:lnTo>
                  <a:lnTo>
                    <a:pt x="285" y="0"/>
                  </a:lnTo>
                  <a:lnTo>
                    <a:pt x="289" y="3"/>
                  </a:lnTo>
                  <a:lnTo>
                    <a:pt x="321" y="3"/>
                  </a:lnTo>
                  <a:lnTo>
                    <a:pt x="324" y="3"/>
                  </a:lnTo>
                  <a:lnTo>
                    <a:pt x="327" y="5"/>
                  </a:lnTo>
                  <a:lnTo>
                    <a:pt x="335" y="11"/>
                  </a:lnTo>
                  <a:lnTo>
                    <a:pt x="337" y="11"/>
                  </a:lnTo>
                  <a:lnTo>
                    <a:pt x="339" y="12"/>
                  </a:lnTo>
                  <a:lnTo>
                    <a:pt x="348" y="12"/>
                  </a:lnTo>
                  <a:lnTo>
                    <a:pt x="352" y="16"/>
                  </a:lnTo>
                  <a:lnTo>
                    <a:pt x="364" y="21"/>
                  </a:lnTo>
                  <a:lnTo>
                    <a:pt x="368" y="21"/>
                  </a:lnTo>
                  <a:lnTo>
                    <a:pt x="370" y="22"/>
                  </a:lnTo>
                  <a:lnTo>
                    <a:pt x="371" y="24"/>
                  </a:lnTo>
                  <a:lnTo>
                    <a:pt x="372" y="29"/>
                  </a:lnTo>
                  <a:lnTo>
                    <a:pt x="372" y="32"/>
                  </a:lnTo>
                  <a:lnTo>
                    <a:pt x="372" y="34"/>
                  </a:lnTo>
                  <a:lnTo>
                    <a:pt x="371" y="35"/>
                  </a:lnTo>
                  <a:lnTo>
                    <a:pt x="370" y="37"/>
                  </a:lnTo>
                  <a:lnTo>
                    <a:pt x="368" y="37"/>
                  </a:lnTo>
                  <a:lnTo>
                    <a:pt x="367" y="37"/>
                  </a:lnTo>
                  <a:lnTo>
                    <a:pt x="364" y="35"/>
                  </a:lnTo>
                  <a:lnTo>
                    <a:pt x="364" y="34"/>
                  </a:lnTo>
                  <a:lnTo>
                    <a:pt x="362" y="34"/>
                  </a:lnTo>
                  <a:lnTo>
                    <a:pt x="361" y="35"/>
                  </a:lnTo>
                  <a:lnTo>
                    <a:pt x="359" y="35"/>
                  </a:lnTo>
                  <a:lnTo>
                    <a:pt x="359" y="37"/>
                  </a:lnTo>
                  <a:lnTo>
                    <a:pt x="359" y="41"/>
                  </a:lnTo>
                  <a:lnTo>
                    <a:pt x="361" y="45"/>
                  </a:lnTo>
                  <a:lnTo>
                    <a:pt x="364" y="54"/>
                  </a:lnTo>
                  <a:lnTo>
                    <a:pt x="367" y="59"/>
                  </a:lnTo>
                  <a:lnTo>
                    <a:pt x="368" y="61"/>
                  </a:lnTo>
                  <a:lnTo>
                    <a:pt x="370" y="61"/>
                  </a:lnTo>
                  <a:lnTo>
                    <a:pt x="371" y="63"/>
                  </a:lnTo>
                  <a:lnTo>
                    <a:pt x="371" y="64"/>
                  </a:lnTo>
                  <a:lnTo>
                    <a:pt x="371" y="67"/>
                  </a:lnTo>
                  <a:lnTo>
                    <a:pt x="371" y="76"/>
                  </a:lnTo>
                  <a:lnTo>
                    <a:pt x="371" y="78"/>
                  </a:lnTo>
                  <a:lnTo>
                    <a:pt x="371" y="79"/>
                  </a:lnTo>
                  <a:lnTo>
                    <a:pt x="372" y="80"/>
                  </a:lnTo>
                  <a:lnTo>
                    <a:pt x="375" y="89"/>
                  </a:lnTo>
                  <a:lnTo>
                    <a:pt x="380" y="94"/>
                  </a:lnTo>
                  <a:lnTo>
                    <a:pt x="380" y="95"/>
                  </a:lnTo>
                  <a:lnTo>
                    <a:pt x="380" y="98"/>
                  </a:lnTo>
                  <a:lnTo>
                    <a:pt x="378" y="108"/>
                  </a:lnTo>
                  <a:lnTo>
                    <a:pt x="377" y="112"/>
                  </a:lnTo>
                  <a:lnTo>
                    <a:pt x="377" y="117"/>
                  </a:lnTo>
                  <a:lnTo>
                    <a:pt x="380" y="123"/>
                  </a:lnTo>
                  <a:lnTo>
                    <a:pt x="390" y="127"/>
                  </a:lnTo>
                  <a:lnTo>
                    <a:pt x="442" y="134"/>
                  </a:lnTo>
                  <a:lnTo>
                    <a:pt x="458" y="134"/>
                  </a:lnTo>
                  <a:lnTo>
                    <a:pt x="490" y="139"/>
                  </a:lnTo>
                  <a:lnTo>
                    <a:pt x="499" y="142"/>
                  </a:lnTo>
                  <a:lnTo>
                    <a:pt x="517" y="156"/>
                  </a:lnTo>
                  <a:lnTo>
                    <a:pt x="527" y="174"/>
                  </a:lnTo>
                  <a:lnTo>
                    <a:pt x="547" y="204"/>
                  </a:lnTo>
                  <a:lnTo>
                    <a:pt x="544" y="210"/>
                  </a:lnTo>
                  <a:lnTo>
                    <a:pt x="540" y="216"/>
                  </a:lnTo>
                  <a:lnTo>
                    <a:pt x="537" y="219"/>
                  </a:lnTo>
                  <a:lnTo>
                    <a:pt x="528" y="225"/>
                  </a:lnTo>
                  <a:lnTo>
                    <a:pt x="512" y="226"/>
                  </a:lnTo>
                  <a:lnTo>
                    <a:pt x="509" y="227"/>
                  </a:lnTo>
                  <a:lnTo>
                    <a:pt x="508" y="230"/>
                  </a:lnTo>
                  <a:lnTo>
                    <a:pt x="506" y="232"/>
                  </a:lnTo>
                  <a:lnTo>
                    <a:pt x="505" y="235"/>
                  </a:lnTo>
                  <a:lnTo>
                    <a:pt x="506" y="238"/>
                  </a:lnTo>
                  <a:lnTo>
                    <a:pt x="509" y="241"/>
                  </a:lnTo>
                  <a:lnTo>
                    <a:pt x="517" y="246"/>
                  </a:lnTo>
                  <a:lnTo>
                    <a:pt x="524" y="249"/>
                  </a:lnTo>
                  <a:lnTo>
                    <a:pt x="528" y="252"/>
                  </a:lnTo>
                  <a:lnTo>
                    <a:pt x="536" y="265"/>
                  </a:lnTo>
                  <a:lnTo>
                    <a:pt x="537" y="273"/>
                  </a:lnTo>
                  <a:lnTo>
                    <a:pt x="539" y="274"/>
                  </a:lnTo>
                  <a:lnTo>
                    <a:pt x="539" y="277"/>
                  </a:lnTo>
                  <a:lnTo>
                    <a:pt x="539" y="280"/>
                  </a:lnTo>
                  <a:lnTo>
                    <a:pt x="539" y="283"/>
                  </a:lnTo>
                  <a:lnTo>
                    <a:pt x="537" y="284"/>
                  </a:lnTo>
                  <a:lnTo>
                    <a:pt x="537" y="284"/>
                  </a:lnTo>
                  <a:lnTo>
                    <a:pt x="536" y="284"/>
                  </a:lnTo>
                  <a:lnTo>
                    <a:pt x="534" y="286"/>
                  </a:lnTo>
                  <a:lnTo>
                    <a:pt x="534" y="286"/>
                  </a:lnTo>
                  <a:lnTo>
                    <a:pt x="536" y="293"/>
                  </a:lnTo>
                  <a:lnTo>
                    <a:pt x="537" y="296"/>
                  </a:lnTo>
                  <a:lnTo>
                    <a:pt x="537" y="297"/>
                  </a:lnTo>
                  <a:lnTo>
                    <a:pt x="539" y="299"/>
                  </a:lnTo>
                  <a:lnTo>
                    <a:pt x="539" y="300"/>
                  </a:lnTo>
                  <a:lnTo>
                    <a:pt x="540" y="300"/>
                  </a:lnTo>
                  <a:lnTo>
                    <a:pt x="544" y="303"/>
                  </a:lnTo>
                  <a:lnTo>
                    <a:pt x="546" y="303"/>
                  </a:lnTo>
                  <a:lnTo>
                    <a:pt x="565" y="305"/>
                  </a:lnTo>
                  <a:lnTo>
                    <a:pt x="566" y="305"/>
                  </a:lnTo>
                  <a:lnTo>
                    <a:pt x="568" y="303"/>
                  </a:lnTo>
                  <a:lnTo>
                    <a:pt x="569" y="303"/>
                  </a:lnTo>
                  <a:lnTo>
                    <a:pt x="572" y="300"/>
                  </a:lnTo>
                  <a:lnTo>
                    <a:pt x="573" y="299"/>
                  </a:lnTo>
                  <a:lnTo>
                    <a:pt x="575" y="299"/>
                  </a:lnTo>
                  <a:lnTo>
                    <a:pt x="591" y="300"/>
                  </a:lnTo>
                  <a:lnTo>
                    <a:pt x="601" y="300"/>
                  </a:lnTo>
                  <a:lnTo>
                    <a:pt x="607" y="300"/>
                  </a:lnTo>
                  <a:lnTo>
                    <a:pt x="610" y="300"/>
                  </a:lnTo>
                  <a:lnTo>
                    <a:pt x="613" y="299"/>
                  </a:lnTo>
                  <a:lnTo>
                    <a:pt x="620" y="297"/>
                  </a:lnTo>
                  <a:lnTo>
                    <a:pt x="622" y="299"/>
                  </a:lnTo>
                  <a:lnTo>
                    <a:pt x="623" y="299"/>
                  </a:lnTo>
                  <a:lnTo>
                    <a:pt x="629" y="303"/>
                  </a:lnTo>
                  <a:lnTo>
                    <a:pt x="630" y="305"/>
                  </a:lnTo>
                  <a:lnTo>
                    <a:pt x="632" y="308"/>
                  </a:lnTo>
                  <a:lnTo>
                    <a:pt x="632" y="313"/>
                  </a:lnTo>
                  <a:lnTo>
                    <a:pt x="632" y="318"/>
                  </a:lnTo>
                  <a:lnTo>
                    <a:pt x="635" y="324"/>
                  </a:lnTo>
                  <a:lnTo>
                    <a:pt x="636" y="328"/>
                  </a:lnTo>
                  <a:lnTo>
                    <a:pt x="638" y="329"/>
                  </a:lnTo>
                  <a:lnTo>
                    <a:pt x="641" y="334"/>
                  </a:lnTo>
                  <a:lnTo>
                    <a:pt x="641" y="335"/>
                  </a:lnTo>
                  <a:lnTo>
                    <a:pt x="642" y="340"/>
                  </a:lnTo>
                  <a:lnTo>
                    <a:pt x="642" y="341"/>
                  </a:lnTo>
                  <a:lnTo>
                    <a:pt x="643" y="342"/>
                  </a:lnTo>
                  <a:lnTo>
                    <a:pt x="645" y="344"/>
                  </a:lnTo>
                  <a:lnTo>
                    <a:pt x="646" y="345"/>
                  </a:lnTo>
                  <a:lnTo>
                    <a:pt x="649" y="347"/>
                  </a:lnTo>
                  <a:lnTo>
                    <a:pt x="654" y="342"/>
                  </a:lnTo>
                  <a:lnTo>
                    <a:pt x="681" y="341"/>
                  </a:lnTo>
                  <a:lnTo>
                    <a:pt x="684" y="341"/>
                  </a:lnTo>
                  <a:lnTo>
                    <a:pt x="689" y="341"/>
                  </a:lnTo>
                  <a:lnTo>
                    <a:pt x="696" y="347"/>
                  </a:lnTo>
                  <a:lnTo>
                    <a:pt x="713" y="354"/>
                  </a:lnTo>
                  <a:lnTo>
                    <a:pt x="716" y="357"/>
                  </a:lnTo>
                  <a:lnTo>
                    <a:pt x="718" y="360"/>
                  </a:lnTo>
                  <a:lnTo>
                    <a:pt x="721" y="363"/>
                  </a:lnTo>
                  <a:lnTo>
                    <a:pt x="721" y="366"/>
                  </a:lnTo>
                  <a:lnTo>
                    <a:pt x="722" y="369"/>
                  </a:lnTo>
                  <a:lnTo>
                    <a:pt x="724" y="370"/>
                  </a:lnTo>
                  <a:lnTo>
                    <a:pt x="735" y="376"/>
                  </a:lnTo>
                  <a:lnTo>
                    <a:pt x="735" y="379"/>
                  </a:lnTo>
                  <a:lnTo>
                    <a:pt x="735" y="380"/>
                  </a:lnTo>
                  <a:lnTo>
                    <a:pt x="737" y="382"/>
                  </a:lnTo>
                  <a:lnTo>
                    <a:pt x="738" y="382"/>
                  </a:lnTo>
                  <a:lnTo>
                    <a:pt x="751" y="380"/>
                  </a:lnTo>
                  <a:lnTo>
                    <a:pt x="757" y="379"/>
                  </a:lnTo>
                  <a:lnTo>
                    <a:pt x="759" y="377"/>
                  </a:lnTo>
                  <a:lnTo>
                    <a:pt x="761" y="377"/>
                  </a:lnTo>
                  <a:lnTo>
                    <a:pt x="779" y="385"/>
                  </a:lnTo>
                  <a:lnTo>
                    <a:pt x="780" y="385"/>
                  </a:lnTo>
                  <a:lnTo>
                    <a:pt x="783" y="383"/>
                  </a:lnTo>
                  <a:lnTo>
                    <a:pt x="786" y="382"/>
                  </a:lnTo>
                  <a:lnTo>
                    <a:pt x="789" y="379"/>
                  </a:lnTo>
                  <a:lnTo>
                    <a:pt x="791" y="379"/>
                  </a:lnTo>
                  <a:lnTo>
                    <a:pt x="792" y="380"/>
                  </a:lnTo>
                  <a:lnTo>
                    <a:pt x="799" y="386"/>
                  </a:lnTo>
                  <a:lnTo>
                    <a:pt x="802" y="388"/>
                  </a:lnTo>
                  <a:lnTo>
                    <a:pt x="804" y="393"/>
                  </a:lnTo>
                  <a:lnTo>
                    <a:pt x="807" y="393"/>
                  </a:lnTo>
                  <a:lnTo>
                    <a:pt x="814" y="388"/>
                  </a:lnTo>
                  <a:lnTo>
                    <a:pt x="812" y="383"/>
                  </a:lnTo>
                  <a:lnTo>
                    <a:pt x="812" y="379"/>
                  </a:lnTo>
                  <a:lnTo>
                    <a:pt x="823" y="367"/>
                  </a:lnTo>
                  <a:lnTo>
                    <a:pt x="824" y="363"/>
                  </a:lnTo>
                  <a:lnTo>
                    <a:pt x="833" y="348"/>
                  </a:lnTo>
                  <a:lnTo>
                    <a:pt x="833" y="347"/>
                  </a:lnTo>
                  <a:lnTo>
                    <a:pt x="833" y="344"/>
                  </a:lnTo>
                  <a:lnTo>
                    <a:pt x="831" y="341"/>
                  </a:lnTo>
                  <a:lnTo>
                    <a:pt x="830" y="340"/>
                  </a:lnTo>
                  <a:lnTo>
                    <a:pt x="828" y="338"/>
                  </a:lnTo>
                  <a:lnTo>
                    <a:pt x="823" y="335"/>
                  </a:lnTo>
                  <a:lnTo>
                    <a:pt x="823" y="334"/>
                  </a:lnTo>
                  <a:lnTo>
                    <a:pt x="823" y="331"/>
                  </a:lnTo>
                  <a:lnTo>
                    <a:pt x="824" y="322"/>
                  </a:lnTo>
                  <a:lnTo>
                    <a:pt x="830" y="313"/>
                  </a:lnTo>
                  <a:lnTo>
                    <a:pt x="830" y="312"/>
                  </a:lnTo>
                  <a:lnTo>
                    <a:pt x="828" y="308"/>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6">
              <a:extLst>
                <a:ext uri="{FF2B5EF4-FFF2-40B4-BE49-F238E27FC236}">
                  <a16:creationId xmlns:a16="http://schemas.microsoft.com/office/drawing/2014/main" id="{40196417-DDEC-41C3-A46B-5CE84F4E0E33}"/>
                </a:ext>
              </a:extLst>
            </p:cNvPr>
            <p:cNvSpPr>
              <a:spLocks noEditPoints="1"/>
            </p:cNvSpPr>
            <p:nvPr/>
          </p:nvSpPr>
          <p:spPr bwMode="gray">
            <a:xfrm>
              <a:off x="4684713" y="3175"/>
              <a:ext cx="1895475" cy="1601788"/>
            </a:xfrm>
            <a:custGeom>
              <a:avLst/>
              <a:gdLst>
                <a:gd name="T0" fmla="*/ 8 w 1194"/>
                <a:gd name="T1" fmla="*/ 530 h 1009"/>
                <a:gd name="T2" fmla="*/ 17 w 1194"/>
                <a:gd name="T3" fmla="*/ 521 h 1009"/>
                <a:gd name="T4" fmla="*/ 375 w 1194"/>
                <a:gd name="T5" fmla="*/ 326 h 1009"/>
                <a:gd name="T6" fmla="*/ 1168 w 1194"/>
                <a:gd name="T7" fmla="*/ 342 h 1009"/>
                <a:gd name="T8" fmla="*/ 1098 w 1194"/>
                <a:gd name="T9" fmla="*/ 371 h 1009"/>
                <a:gd name="T10" fmla="*/ 1150 w 1194"/>
                <a:gd name="T11" fmla="*/ 384 h 1009"/>
                <a:gd name="T12" fmla="*/ 249 w 1194"/>
                <a:gd name="T13" fmla="*/ 332 h 1009"/>
                <a:gd name="T14" fmla="*/ 144 w 1194"/>
                <a:gd name="T15" fmla="*/ 240 h 1009"/>
                <a:gd name="T16" fmla="*/ 186 w 1194"/>
                <a:gd name="T17" fmla="*/ 199 h 1009"/>
                <a:gd name="T18" fmla="*/ 249 w 1194"/>
                <a:gd name="T19" fmla="*/ 203 h 1009"/>
                <a:gd name="T20" fmla="*/ 1038 w 1194"/>
                <a:gd name="T21" fmla="*/ 425 h 1009"/>
                <a:gd name="T22" fmla="*/ 839 w 1194"/>
                <a:gd name="T23" fmla="*/ 381 h 1009"/>
                <a:gd name="T24" fmla="*/ 791 w 1194"/>
                <a:gd name="T25" fmla="*/ 428 h 1009"/>
                <a:gd name="T26" fmla="*/ 801 w 1194"/>
                <a:gd name="T27" fmla="*/ 369 h 1009"/>
                <a:gd name="T28" fmla="*/ 744 w 1194"/>
                <a:gd name="T29" fmla="*/ 313 h 1009"/>
                <a:gd name="T30" fmla="*/ 718 w 1194"/>
                <a:gd name="T31" fmla="*/ 235 h 1009"/>
                <a:gd name="T32" fmla="*/ 744 w 1194"/>
                <a:gd name="T33" fmla="*/ 219 h 1009"/>
                <a:gd name="T34" fmla="*/ 668 w 1194"/>
                <a:gd name="T35" fmla="*/ 170 h 1009"/>
                <a:gd name="T36" fmla="*/ 546 w 1194"/>
                <a:gd name="T37" fmla="*/ 154 h 1009"/>
                <a:gd name="T38" fmla="*/ 466 w 1194"/>
                <a:gd name="T39" fmla="*/ 150 h 1009"/>
                <a:gd name="T40" fmla="*/ 265 w 1194"/>
                <a:gd name="T41" fmla="*/ 134 h 1009"/>
                <a:gd name="T42" fmla="*/ 327 w 1194"/>
                <a:gd name="T43" fmla="*/ 276 h 1009"/>
                <a:gd name="T44" fmla="*/ 386 w 1194"/>
                <a:gd name="T45" fmla="*/ 365 h 1009"/>
                <a:gd name="T46" fmla="*/ 268 w 1194"/>
                <a:gd name="T47" fmla="*/ 413 h 1009"/>
                <a:gd name="T48" fmla="*/ 278 w 1194"/>
                <a:gd name="T49" fmla="*/ 477 h 1009"/>
                <a:gd name="T50" fmla="*/ 368 w 1194"/>
                <a:gd name="T51" fmla="*/ 449 h 1009"/>
                <a:gd name="T52" fmla="*/ 327 w 1194"/>
                <a:gd name="T53" fmla="*/ 518 h 1009"/>
                <a:gd name="T54" fmla="*/ 386 w 1194"/>
                <a:gd name="T55" fmla="*/ 567 h 1009"/>
                <a:gd name="T56" fmla="*/ 332 w 1194"/>
                <a:gd name="T57" fmla="*/ 615 h 1009"/>
                <a:gd name="T58" fmla="*/ 514 w 1194"/>
                <a:gd name="T59" fmla="*/ 730 h 1009"/>
                <a:gd name="T60" fmla="*/ 593 w 1194"/>
                <a:gd name="T61" fmla="*/ 864 h 1009"/>
                <a:gd name="T62" fmla="*/ 655 w 1194"/>
                <a:gd name="T63" fmla="*/ 860 h 1009"/>
                <a:gd name="T64" fmla="*/ 670 w 1194"/>
                <a:gd name="T65" fmla="*/ 870 h 1009"/>
                <a:gd name="T66" fmla="*/ 731 w 1194"/>
                <a:gd name="T67" fmla="*/ 844 h 1009"/>
                <a:gd name="T68" fmla="*/ 764 w 1194"/>
                <a:gd name="T69" fmla="*/ 805 h 1009"/>
                <a:gd name="T70" fmla="*/ 802 w 1194"/>
                <a:gd name="T71" fmla="*/ 796 h 1009"/>
                <a:gd name="T72" fmla="*/ 808 w 1194"/>
                <a:gd name="T73" fmla="*/ 834 h 1009"/>
                <a:gd name="T74" fmla="*/ 813 w 1194"/>
                <a:gd name="T75" fmla="*/ 863 h 1009"/>
                <a:gd name="T76" fmla="*/ 798 w 1194"/>
                <a:gd name="T77" fmla="*/ 891 h 1009"/>
                <a:gd name="T78" fmla="*/ 846 w 1194"/>
                <a:gd name="T79" fmla="*/ 956 h 1009"/>
                <a:gd name="T80" fmla="*/ 949 w 1194"/>
                <a:gd name="T81" fmla="*/ 998 h 1009"/>
                <a:gd name="T82" fmla="*/ 970 w 1194"/>
                <a:gd name="T83" fmla="*/ 953 h 1009"/>
                <a:gd name="T84" fmla="*/ 999 w 1194"/>
                <a:gd name="T85" fmla="*/ 937 h 1009"/>
                <a:gd name="T86" fmla="*/ 1027 w 1194"/>
                <a:gd name="T87" fmla="*/ 899 h 1009"/>
                <a:gd name="T88" fmla="*/ 1054 w 1194"/>
                <a:gd name="T89" fmla="*/ 888 h 1009"/>
                <a:gd name="T90" fmla="*/ 1065 w 1194"/>
                <a:gd name="T91" fmla="*/ 895 h 1009"/>
                <a:gd name="T92" fmla="*/ 1063 w 1194"/>
                <a:gd name="T93" fmla="*/ 854 h 1009"/>
                <a:gd name="T94" fmla="*/ 1066 w 1194"/>
                <a:gd name="T95" fmla="*/ 831 h 1009"/>
                <a:gd name="T96" fmla="*/ 1035 w 1194"/>
                <a:gd name="T97" fmla="*/ 811 h 1009"/>
                <a:gd name="T98" fmla="*/ 1003 w 1194"/>
                <a:gd name="T99" fmla="*/ 768 h 1009"/>
                <a:gd name="T100" fmla="*/ 999 w 1194"/>
                <a:gd name="T101" fmla="*/ 723 h 1009"/>
                <a:gd name="T102" fmla="*/ 1053 w 1194"/>
                <a:gd name="T103" fmla="*/ 687 h 1009"/>
                <a:gd name="T104" fmla="*/ 1066 w 1194"/>
                <a:gd name="T105" fmla="*/ 693 h 1009"/>
                <a:gd name="T106" fmla="*/ 1053 w 1194"/>
                <a:gd name="T107" fmla="*/ 678 h 1009"/>
                <a:gd name="T108" fmla="*/ 1008 w 1194"/>
                <a:gd name="T109" fmla="*/ 630 h 1009"/>
                <a:gd name="T110" fmla="*/ 1034 w 1194"/>
                <a:gd name="T111" fmla="*/ 580 h 1009"/>
                <a:gd name="T112" fmla="*/ 1114 w 1194"/>
                <a:gd name="T113" fmla="*/ 457 h 1009"/>
                <a:gd name="T114" fmla="*/ 147 w 1194"/>
                <a:gd name="T115" fmla="*/ 126 h 1009"/>
                <a:gd name="T116" fmla="*/ 217 w 1194"/>
                <a:gd name="T117" fmla="*/ 109 h 1009"/>
                <a:gd name="T118" fmla="*/ 189 w 1194"/>
                <a:gd name="T119" fmla="*/ 14 h 1009"/>
                <a:gd name="T120" fmla="*/ 145 w 1194"/>
                <a:gd name="T121" fmla="*/ 184 h 1009"/>
                <a:gd name="T122" fmla="*/ 272 w 1194"/>
                <a:gd name="T123" fmla="*/ 605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94" h="1009">
                  <a:moveTo>
                    <a:pt x="5" y="521"/>
                  </a:moveTo>
                  <a:lnTo>
                    <a:pt x="5" y="521"/>
                  </a:lnTo>
                  <a:lnTo>
                    <a:pt x="5" y="521"/>
                  </a:lnTo>
                  <a:lnTo>
                    <a:pt x="0" y="522"/>
                  </a:lnTo>
                  <a:lnTo>
                    <a:pt x="3" y="524"/>
                  </a:lnTo>
                  <a:lnTo>
                    <a:pt x="4" y="525"/>
                  </a:lnTo>
                  <a:lnTo>
                    <a:pt x="5" y="528"/>
                  </a:lnTo>
                  <a:lnTo>
                    <a:pt x="7" y="528"/>
                  </a:lnTo>
                  <a:lnTo>
                    <a:pt x="7" y="531"/>
                  </a:lnTo>
                  <a:lnTo>
                    <a:pt x="7" y="531"/>
                  </a:lnTo>
                  <a:lnTo>
                    <a:pt x="7" y="531"/>
                  </a:lnTo>
                  <a:lnTo>
                    <a:pt x="8" y="530"/>
                  </a:lnTo>
                  <a:lnTo>
                    <a:pt x="7" y="524"/>
                  </a:lnTo>
                  <a:lnTo>
                    <a:pt x="5" y="521"/>
                  </a:lnTo>
                  <a:close/>
                  <a:moveTo>
                    <a:pt x="17" y="521"/>
                  </a:moveTo>
                  <a:lnTo>
                    <a:pt x="11" y="522"/>
                  </a:lnTo>
                  <a:lnTo>
                    <a:pt x="13" y="525"/>
                  </a:lnTo>
                  <a:lnTo>
                    <a:pt x="11" y="522"/>
                  </a:lnTo>
                  <a:lnTo>
                    <a:pt x="17" y="521"/>
                  </a:lnTo>
                  <a:close/>
                  <a:moveTo>
                    <a:pt x="17" y="521"/>
                  </a:moveTo>
                  <a:lnTo>
                    <a:pt x="19" y="524"/>
                  </a:lnTo>
                  <a:lnTo>
                    <a:pt x="13" y="525"/>
                  </a:lnTo>
                  <a:lnTo>
                    <a:pt x="19" y="524"/>
                  </a:lnTo>
                  <a:lnTo>
                    <a:pt x="17" y="521"/>
                  </a:lnTo>
                  <a:lnTo>
                    <a:pt x="17" y="521"/>
                  </a:lnTo>
                  <a:close/>
                  <a:moveTo>
                    <a:pt x="324" y="350"/>
                  </a:moveTo>
                  <a:lnTo>
                    <a:pt x="329" y="358"/>
                  </a:lnTo>
                  <a:lnTo>
                    <a:pt x="336" y="359"/>
                  </a:lnTo>
                  <a:lnTo>
                    <a:pt x="351" y="359"/>
                  </a:lnTo>
                  <a:lnTo>
                    <a:pt x="359" y="355"/>
                  </a:lnTo>
                  <a:lnTo>
                    <a:pt x="364" y="348"/>
                  </a:lnTo>
                  <a:lnTo>
                    <a:pt x="368" y="340"/>
                  </a:lnTo>
                  <a:lnTo>
                    <a:pt x="374" y="334"/>
                  </a:lnTo>
                  <a:lnTo>
                    <a:pt x="374" y="332"/>
                  </a:lnTo>
                  <a:lnTo>
                    <a:pt x="374" y="329"/>
                  </a:lnTo>
                  <a:lnTo>
                    <a:pt x="375" y="326"/>
                  </a:lnTo>
                  <a:lnTo>
                    <a:pt x="377" y="326"/>
                  </a:lnTo>
                  <a:lnTo>
                    <a:pt x="361" y="321"/>
                  </a:lnTo>
                  <a:lnTo>
                    <a:pt x="348" y="323"/>
                  </a:lnTo>
                  <a:lnTo>
                    <a:pt x="336" y="329"/>
                  </a:lnTo>
                  <a:lnTo>
                    <a:pt x="324" y="339"/>
                  </a:lnTo>
                  <a:lnTo>
                    <a:pt x="327" y="342"/>
                  </a:lnTo>
                  <a:lnTo>
                    <a:pt x="329" y="345"/>
                  </a:lnTo>
                  <a:lnTo>
                    <a:pt x="329" y="349"/>
                  </a:lnTo>
                  <a:lnTo>
                    <a:pt x="324" y="350"/>
                  </a:lnTo>
                  <a:close/>
                  <a:moveTo>
                    <a:pt x="1194" y="391"/>
                  </a:moveTo>
                  <a:lnTo>
                    <a:pt x="1174" y="352"/>
                  </a:lnTo>
                  <a:lnTo>
                    <a:pt x="1168" y="342"/>
                  </a:lnTo>
                  <a:lnTo>
                    <a:pt x="1165" y="339"/>
                  </a:lnTo>
                  <a:lnTo>
                    <a:pt x="1156" y="332"/>
                  </a:lnTo>
                  <a:lnTo>
                    <a:pt x="1127" y="318"/>
                  </a:lnTo>
                  <a:lnTo>
                    <a:pt x="1110" y="321"/>
                  </a:lnTo>
                  <a:lnTo>
                    <a:pt x="1097" y="334"/>
                  </a:lnTo>
                  <a:lnTo>
                    <a:pt x="1086" y="359"/>
                  </a:lnTo>
                  <a:lnTo>
                    <a:pt x="1088" y="366"/>
                  </a:lnTo>
                  <a:lnTo>
                    <a:pt x="1092" y="364"/>
                  </a:lnTo>
                  <a:lnTo>
                    <a:pt x="1094" y="365"/>
                  </a:lnTo>
                  <a:lnTo>
                    <a:pt x="1095" y="366"/>
                  </a:lnTo>
                  <a:lnTo>
                    <a:pt x="1097" y="371"/>
                  </a:lnTo>
                  <a:lnTo>
                    <a:pt x="1098" y="371"/>
                  </a:lnTo>
                  <a:lnTo>
                    <a:pt x="1101" y="368"/>
                  </a:lnTo>
                  <a:lnTo>
                    <a:pt x="1105" y="366"/>
                  </a:lnTo>
                  <a:lnTo>
                    <a:pt x="1114" y="366"/>
                  </a:lnTo>
                  <a:lnTo>
                    <a:pt x="1118" y="368"/>
                  </a:lnTo>
                  <a:lnTo>
                    <a:pt x="1120" y="374"/>
                  </a:lnTo>
                  <a:lnTo>
                    <a:pt x="1120" y="385"/>
                  </a:lnTo>
                  <a:lnTo>
                    <a:pt x="1124" y="390"/>
                  </a:lnTo>
                  <a:lnTo>
                    <a:pt x="1133" y="391"/>
                  </a:lnTo>
                  <a:lnTo>
                    <a:pt x="1148" y="391"/>
                  </a:lnTo>
                  <a:lnTo>
                    <a:pt x="1145" y="390"/>
                  </a:lnTo>
                  <a:lnTo>
                    <a:pt x="1143" y="387"/>
                  </a:lnTo>
                  <a:lnTo>
                    <a:pt x="1150" y="384"/>
                  </a:lnTo>
                  <a:lnTo>
                    <a:pt x="1194" y="391"/>
                  </a:lnTo>
                  <a:close/>
                  <a:moveTo>
                    <a:pt x="257" y="345"/>
                  </a:moveTo>
                  <a:lnTo>
                    <a:pt x="265" y="345"/>
                  </a:lnTo>
                  <a:lnTo>
                    <a:pt x="275" y="339"/>
                  </a:lnTo>
                  <a:lnTo>
                    <a:pt x="282" y="326"/>
                  </a:lnTo>
                  <a:lnTo>
                    <a:pt x="285" y="311"/>
                  </a:lnTo>
                  <a:lnTo>
                    <a:pt x="285" y="305"/>
                  </a:lnTo>
                  <a:lnTo>
                    <a:pt x="263" y="314"/>
                  </a:lnTo>
                  <a:lnTo>
                    <a:pt x="260" y="316"/>
                  </a:lnTo>
                  <a:lnTo>
                    <a:pt x="257" y="317"/>
                  </a:lnTo>
                  <a:lnTo>
                    <a:pt x="252" y="321"/>
                  </a:lnTo>
                  <a:lnTo>
                    <a:pt x="249" y="332"/>
                  </a:lnTo>
                  <a:lnTo>
                    <a:pt x="253" y="340"/>
                  </a:lnTo>
                  <a:lnTo>
                    <a:pt x="257" y="345"/>
                  </a:lnTo>
                  <a:close/>
                  <a:moveTo>
                    <a:pt x="157" y="224"/>
                  </a:moveTo>
                  <a:lnTo>
                    <a:pt x="161" y="219"/>
                  </a:lnTo>
                  <a:lnTo>
                    <a:pt x="166" y="215"/>
                  </a:lnTo>
                  <a:lnTo>
                    <a:pt x="166" y="215"/>
                  </a:lnTo>
                  <a:lnTo>
                    <a:pt x="167" y="215"/>
                  </a:lnTo>
                  <a:lnTo>
                    <a:pt x="167" y="214"/>
                  </a:lnTo>
                  <a:lnTo>
                    <a:pt x="167" y="211"/>
                  </a:lnTo>
                  <a:lnTo>
                    <a:pt x="160" y="214"/>
                  </a:lnTo>
                  <a:lnTo>
                    <a:pt x="154" y="221"/>
                  </a:lnTo>
                  <a:lnTo>
                    <a:pt x="144" y="240"/>
                  </a:lnTo>
                  <a:lnTo>
                    <a:pt x="150" y="249"/>
                  </a:lnTo>
                  <a:lnTo>
                    <a:pt x="157" y="262"/>
                  </a:lnTo>
                  <a:lnTo>
                    <a:pt x="166" y="269"/>
                  </a:lnTo>
                  <a:lnTo>
                    <a:pt x="177" y="265"/>
                  </a:lnTo>
                  <a:lnTo>
                    <a:pt x="182" y="260"/>
                  </a:lnTo>
                  <a:lnTo>
                    <a:pt x="174" y="257"/>
                  </a:lnTo>
                  <a:lnTo>
                    <a:pt x="157" y="224"/>
                  </a:lnTo>
                  <a:close/>
                  <a:moveTo>
                    <a:pt x="234" y="187"/>
                  </a:moveTo>
                  <a:lnTo>
                    <a:pt x="215" y="186"/>
                  </a:lnTo>
                  <a:lnTo>
                    <a:pt x="204" y="187"/>
                  </a:lnTo>
                  <a:lnTo>
                    <a:pt x="193" y="190"/>
                  </a:lnTo>
                  <a:lnTo>
                    <a:pt x="186" y="199"/>
                  </a:lnTo>
                  <a:lnTo>
                    <a:pt x="179" y="211"/>
                  </a:lnTo>
                  <a:lnTo>
                    <a:pt x="199" y="224"/>
                  </a:lnTo>
                  <a:lnTo>
                    <a:pt x="211" y="227"/>
                  </a:lnTo>
                  <a:lnTo>
                    <a:pt x="220" y="224"/>
                  </a:lnTo>
                  <a:lnTo>
                    <a:pt x="223" y="227"/>
                  </a:lnTo>
                  <a:lnTo>
                    <a:pt x="228" y="228"/>
                  </a:lnTo>
                  <a:lnTo>
                    <a:pt x="234" y="230"/>
                  </a:lnTo>
                  <a:lnTo>
                    <a:pt x="239" y="228"/>
                  </a:lnTo>
                  <a:lnTo>
                    <a:pt x="241" y="224"/>
                  </a:lnTo>
                  <a:lnTo>
                    <a:pt x="246" y="212"/>
                  </a:lnTo>
                  <a:lnTo>
                    <a:pt x="249" y="208"/>
                  </a:lnTo>
                  <a:lnTo>
                    <a:pt x="249" y="203"/>
                  </a:lnTo>
                  <a:lnTo>
                    <a:pt x="243" y="192"/>
                  </a:lnTo>
                  <a:lnTo>
                    <a:pt x="234" y="187"/>
                  </a:lnTo>
                  <a:close/>
                  <a:moveTo>
                    <a:pt x="1097" y="419"/>
                  </a:moveTo>
                  <a:lnTo>
                    <a:pt x="1088" y="413"/>
                  </a:lnTo>
                  <a:lnTo>
                    <a:pt x="1082" y="415"/>
                  </a:lnTo>
                  <a:lnTo>
                    <a:pt x="1076" y="412"/>
                  </a:lnTo>
                  <a:lnTo>
                    <a:pt x="1085" y="412"/>
                  </a:lnTo>
                  <a:lnTo>
                    <a:pt x="1091" y="412"/>
                  </a:lnTo>
                  <a:lnTo>
                    <a:pt x="1091" y="407"/>
                  </a:lnTo>
                  <a:lnTo>
                    <a:pt x="1062" y="412"/>
                  </a:lnTo>
                  <a:lnTo>
                    <a:pt x="1050" y="416"/>
                  </a:lnTo>
                  <a:lnTo>
                    <a:pt x="1038" y="425"/>
                  </a:lnTo>
                  <a:lnTo>
                    <a:pt x="1019" y="442"/>
                  </a:lnTo>
                  <a:lnTo>
                    <a:pt x="1008" y="449"/>
                  </a:lnTo>
                  <a:lnTo>
                    <a:pt x="992" y="452"/>
                  </a:lnTo>
                  <a:lnTo>
                    <a:pt x="977" y="449"/>
                  </a:lnTo>
                  <a:lnTo>
                    <a:pt x="947" y="420"/>
                  </a:lnTo>
                  <a:lnTo>
                    <a:pt x="891" y="396"/>
                  </a:lnTo>
                  <a:lnTo>
                    <a:pt x="871" y="378"/>
                  </a:lnTo>
                  <a:lnTo>
                    <a:pt x="862" y="375"/>
                  </a:lnTo>
                  <a:lnTo>
                    <a:pt x="847" y="374"/>
                  </a:lnTo>
                  <a:lnTo>
                    <a:pt x="843" y="375"/>
                  </a:lnTo>
                  <a:lnTo>
                    <a:pt x="840" y="378"/>
                  </a:lnTo>
                  <a:lnTo>
                    <a:pt x="839" y="381"/>
                  </a:lnTo>
                  <a:lnTo>
                    <a:pt x="836" y="384"/>
                  </a:lnTo>
                  <a:lnTo>
                    <a:pt x="831" y="387"/>
                  </a:lnTo>
                  <a:lnTo>
                    <a:pt x="818" y="388"/>
                  </a:lnTo>
                  <a:lnTo>
                    <a:pt x="815" y="391"/>
                  </a:lnTo>
                  <a:lnTo>
                    <a:pt x="813" y="396"/>
                  </a:lnTo>
                  <a:lnTo>
                    <a:pt x="808" y="416"/>
                  </a:lnTo>
                  <a:lnTo>
                    <a:pt x="799" y="435"/>
                  </a:lnTo>
                  <a:lnTo>
                    <a:pt x="794" y="442"/>
                  </a:lnTo>
                  <a:lnTo>
                    <a:pt x="786" y="444"/>
                  </a:lnTo>
                  <a:lnTo>
                    <a:pt x="789" y="439"/>
                  </a:lnTo>
                  <a:lnTo>
                    <a:pt x="791" y="433"/>
                  </a:lnTo>
                  <a:lnTo>
                    <a:pt x="791" y="428"/>
                  </a:lnTo>
                  <a:lnTo>
                    <a:pt x="786" y="425"/>
                  </a:lnTo>
                  <a:lnTo>
                    <a:pt x="789" y="420"/>
                  </a:lnTo>
                  <a:lnTo>
                    <a:pt x="789" y="419"/>
                  </a:lnTo>
                  <a:lnTo>
                    <a:pt x="788" y="417"/>
                  </a:lnTo>
                  <a:lnTo>
                    <a:pt x="786" y="416"/>
                  </a:lnTo>
                  <a:lnTo>
                    <a:pt x="792" y="415"/>
                  </a:lnTo>
                  <a:lnTo>
                    <a:pt x="799" y="409"/>
                  </a:lnTo>
                  <a:lnTo>
                    <a:pt x="804" y="401"/>
                  </a:lnTo>
                  <a:lnTo>
                    <a:pt x="805" y="393"/>
                  </a:lnTo>
                  <a:lnTo>
                    <a:pt x="804" y="384"/>
                  </a:lnTo>
                  <a:lnTo>
                    <a:pt x="801" y="377"/>
                  </a:lnTo>
                  <a:lnTo>
                    <a:pt x="801" y="369"/>
                  </a:lnTo>
                  <a:lnTo>
                    <a:pt x="808" y="364"/>
                  </a:lnTo>
                  <a:lnTo>
                    <a:pt x="786" y="345"/>
                  </a:lnTo>
                  <a:lnTo>
                    <a:pt x="780" y="342"/>
                  </a:lnTo>
                  <a:lnTo>
                    <a:pt x="696" y="362"/>
                  </a:lnTo>
                  <a:lnTo>
                    <a:pt x="681" y="355"/>
                  </a:lnTo>
                  <a:lnTo>
                    <a:pt x="681" y="350"/>
                  </a:lnTo>
                  <a:lnTo>
                    <a:pt x="696" y="349"/>
                  </a:lnTo>
                  <a:lnTo>
                    <a:pt x="711" y="343"/>
                  </a:lnTo>
                  <a:lnTo>
                    <a:pt x="725" y="336"/>
                  </a:lnTo>
                  <a:lnTo>
                    <a:pt x="737" y="326"/>
                  </a:lnTo>
                  <a:lnTo>
                    <a:pt x="741" y="320"/>
                  </a:lnTo>
                  <a:lnTo>
                    <a:pt x="744" y="313"/>
                  </a:lnTo>
                  <a:lnTo>
                    <a:pt x="747" y="304"/>
                  </a:lnTo>
                  <a:lnTo>
                    <a:pt x="748" y="294"/>
                  </a:lnTo>
                  <a:lnTo>
                    <a:pt x="750" y="269"/>
                  </a:lnTo>
                  <a:lnTo>
                    <a:pt x="750" y="257"/>
                  </a:lnTo>
                  <a:lnTo>
                    <a:pt x="748" y="249"/>
                  </a:lnTo>
                  <a:lnTo>
                    <a:pt x="751" y="240"/>
                  </a:lnTo>
                  <a:lnTo>
                    <a:pt x="748" y="237"/>
                  </a:lnTo>
                  <a:lnTo>
                    <a:pt x="745" y="237"/>
                  </a:lnTo>
                  <a:lnTo>
                    <a:pt x="741" y="240"/>
                  </a:lnTo>
                  <a:lnTo>
                    <a:pt x="735" y="233"/>
                  </a:lnTo>
                  <a:lnTo>
                    <a:pt x="727" y="234"/>
                  </a:lnTo>
                  <a:lnTo>
                    <a:pt x="718" y="235"/>
                  </a:lnTo>
                  <a:lnTo>
                    <a:pt x="712" y="235"/>
                  </a:lnTo>
                  <a:lnTo>
                    <a:pt x="713" y="230"/>
                  </a:lnTo>
                  <a:lnTo>
                    <a:pt x="713" y="230"/>
                  </a:lnTo>
                  <a:lnTo>
                    <a:pt x="715" y="230"/>
                  </a:lnTo>
                  <a:lnTo>
                    <a:pt x="718" y="228"/>
                  </a:lnTo>
                  <a:lnTo>
                    <a:pt x="718" y="228"/>
                  </a:lnTo>
                  <a:lnTo>
                    <a:pt x="727" y="221"/>
                  </a:lnTo>
                  <a:lnTo>
                    <a:pt x="727" y="219"/>
                  </a:lnTo>
                  <a:lnTo>
                    <a:pt x="729" y="221"/>
                  </a:lnTo>
                  <a:lnTo>
                    <a:pt x="734" y="222"/>
                  </a:lnTo>
                  <a:lnTo>
                    <a:pt x="740" y="222"/>
                  </a:lnTo>
                  <a:lnTo>
                    <a:pt x="744" y="219"/>
                  </a:lnTo>
                  <a:lnTo>
                    <a:pt x="737" y="212"/>
                  </a:lnTo>
                  <a:lnTo>
                    <a:pt x="734" y="208"/>
                  </a:lnTo>
                  <a:lnTo>
                    <a:pt x="731" y="203"/>
                  </a:lnTo>
                  <a:lnTo>
                    <a:pt x="727" y="183"/>
                  </a:lnTo>
                  <a:lnTo>
                    <a:pt x="719" y="173"/>
                  </a:lnTo>
                  <a:lnTo>
                    <a:pt x="708" y="166"/>
                  </a:lnTo>
                  <a:lnTo>
                    <a:pt x="699" y="166"/>
                  </a:lnTo>
                  <a:lnTo>
                    <a:pt x="700" y="179"/>
                  </a:lnTo>
                  <a:lnTo>
                    <a:pt x="684" y="184"/>
                  </a:lnTo>
                  <a:lnTo>
                    <a:pt x="676" y="186"/>
                  </a:lnTo>
                  <a:lnTo>
                    <a:pt x="671" y="180"/>
                  </a:lnTo>
                  <a:lnTo>
                    <a:pt x="668" y="170"/>
                  </a:lnTo>
                  <a:lnTo>
                    <a:pt x="660" y="164"/>
                  </a:lnTo>
                  <a:lnTo>
                    <a:pt x="651" y="160"/>
                  </a:lnTo>
                  <a:lnTo>
                    <a:pt x="645" y="155"/>
                  </a:lnTo>
                  <a:lnTo>
                    <a:pt x="630" y="150"/>
                  </a:lnTo>
                  <a:lnTo>
                    <a:pt x="609" y="148"/>
                  </a:lnTo>
                  <a:lnTo>
                    <a:pt x="593" y="142"/>
                  </a:lnTo>
                  <a:lnTo>
                    <a:pt x="591" y="120"/>
                  </a:lnTo>
                  <a:lnTo>
                    <a:pt x="587" y="123"/>
                  </a:lnTo>
                  <a:lnTo>
                    <a:pt x="582" y="132"/>
                  </a:lnTo>
                  <a:lnTo>
                    <a:pt x="574" y="135"/>
                  </a:lnTo>
                  <a:lnTo>
                    <a:pt x="568" y="144"/>
                  </a:lnTo>
                  <a:lnTo>
                    <a:pt x="546" y="154"/>
                  </a:lnTo>
                  <a:lnTo>
                    <a:pt x="542" y="154"/>
                  </a:lnTo>
                  <a:lnTo>
                    <a:pt x="536" y="155"/>
                  </a:lnTo>
                  <a:lnTo>
                    <a:pt x="530" y="155"/>
                  </a:lnTo>
                  <a:lnTo>
                    <a:pt x="523" y="148"/>
                  </a:lnTo>
                  <a:lnTo>
                    <a:pt x="517" y="150"/>
                  </a:lnTo>
                  <a:lnTo>
                    <a:pt x="514" y="152"/>
                  </a:lnTo>
                  <a:lnTo>
                    <a:pt x="508" y="154"/>
                  </a:lnTo>
                  <a:lnTo>
                    <a:pt x="505" y="158"/>
                  </a:lnTo>
                  <a:lnTo>
                    <a:pt x="499" y="158"/>
                  </a:lnTo>
                  <a:lnTo>
                    <a:pt x="475" y="158"/>
                  </a:lnTo>
                  <a:lnTo>
                    <a:pt x="469" y="157"/>
                  </a:lnTo>
                  <a:lnTo>
                    <a:pt x="466" y="150"/>
                  </a:lnTo>
                  <a:lnTo>
                    <a:pt x="464" y="141"/>
                  </a:lnTo>
                  <a:lnTo>
                    <a:pt x="463" y="135"/>
                  </a:lnTo>
                  <a:lnTo>
                    <a:pt x="457" y="129"/>
                  </a:lnTo>
                  <a:lnTo>
                    <a:pt x="383" y="112"/>
                  </a:lnTo>
                  <a:lnTo>
                    <a:pt x="357" y="101"/>
                  </a:lnTo>
                  <a:lnTo>
                    <a:pt x="329" y="96"/>
                  </a:lnTo>
                  <a:lnTo>
                    <a:pt x="320" y="97"/>
                  </a:lnTo>
                  <a:lnTo>
                    <a:pt x="297" y="106"/>
                  </a:lnTo>
                  <a:lnTo>
                    <a:pt x="284" y="106"/>
                  </a:lnTo>
                  <a:lnTo>
                    <a:pt x="272" y="101"/>
                  </a:lnTo>
                  <a:lnTo>
                    <a:pt x="268" y="119"/>
                  </a:lnTo>
                  <a:lnTo>
                    <a:pt x="265" y="134"/>
                  </a:lnTo>
                  <a:lnTo>
                    <a:pt x="268" y="150"/>
                  </a:lnTo>
                  <a:lnTo>
                    <a:pt x="272" y="160"/>
                  </a:lnTo>
                  <a:lnTo>
                    <a:pt x="279" y="171"/>
                  </a:lnTo>
                  <a:lnTo>
                    <a:pt x="284" y="184"/>
                  </a:lnTo>
                  <a:lnTo>
                    <a:pt x="281" y="195"/>
                  </a:lnTo>
                  <a:lnTo>
                    <a:pt x="281" y="199"/>
                  </a:lnTo>
                  <a:lnTo>
                    <a:pt x="294" y="205"/>
                  </a:lnTo>
                  <a:lnTo>
                    <a:pt x="311" y="221"/>
                  </a:lnTo>
                  <a:lnTo>
                    <a:pt x="322" y="228"/>
                  </a:lnTo>
                  <a:lnTo>
                    <a:pt x="326" y="235"/>
                  </a:lnTo>
                  <a:lnTo>
                    <a:pt x="339" y="269"/>
                  </a:lnTo>
                  <a:lnTo>
                    <a:pt x="327" y="276"/>
                  </a:lnTo>
                  <a:lnTo>
                    <a:pt x="329" y="281"/>
                  </a:lnTo>
                  <a:lnTo>
                    <a:pt x="333" y="279"/>
                  </a:lnTo>
                  <a:lnTo>
                    <a:pt x="341" y="276"/>
                  </a:lnTo>
                  <a:lnTo>
                    <a:pt x="348" y="276"/>
                  </a:lnTo>
                  <a:lnTo>
                    <a:pt x="351" y="279"/>
                  </a:lnTo>
                  <a:lnTo>
                    <a:pt x="352" y="285"/>
                  </a:lnTo>
                  <a:lnTo>
                    <a:pt x="357" y="292"/>
                  </a:lnTo>
                  <a:lnTo>
                    <a:pt x="384" y="323"/>
                  </a:lnTo>
                  <a:lnTo>
                    <a:pt x="393" y="336"/>
                  </a:lnTo>
                  <a:lnTo>
                    <a:pt x="393" y="350"/>
                  </a:lnTo>
                  <a:lnTo>
                    <a:pt x="391" y="361"/>
                  </a:lnTo>
                  <a:lnTo>
                    <a:pt x="386" y="365"/>
                  </a:lnTo>
                  <a:lnTo>
                    <a:pt x="373" y="371"/>
                  </a:lnTo>
                  <a:lnTo>
                    <a:pt x="358" y="384"/>
                  </a:lnTo>
                  <a:lnTo>
                    <a:pt x="351" y="388"/>
                  </a:lnTo>
                  <a:lnTo>
                    <a:pt x="341" y="391"/>
                  </a:lnTo>
                  <a:lnTo>
                    <a:pt x="303" y="391"/>
                  </a:lnTo>
                  <a:lnTo>
                    <a:pt x="275" y="398"/>
                  </a:lnTo>
                  <a:lnTo>
                    <a:pt x="268" y="396"/>
                  </a:lnTo>
                  <a:lnTo>
                    <a:pt x="263" y="400"/>
                  </a:lnTo>
                  <a:lnTo>
                    <a:pt x="260" y="407"/>
                  </a:lnTo>
                  <a:lnTo>
                    <a:pt x="260" y="413"/>
                  </a:lnTo>
                  <a:lnTo>
                    <a:pt x="263" y="420"/>
                  </a:lnTo>
                  <a:lnTo>
                    <a:pt x="268" y="413"/>
                  </a:lnTo>
                  <a:lnTo>
                    <a:pt x="273" y="415"/>
                  </a:lnTo>
                  <a:lnTo>
                    <a:pt x="278" y="419"/>
                  </a:lnTo>
                  <a:lnTo>
                    <a:pt x="284" y="420"/>
                  </a:lnTo>
                  <a:lnTo>
                    <a:pt x="284" y="425"/>
                  </a:lnTo>
                  <a:lnTo>
                    <a:pt x="275" y="423"/>
                  </a:lnTo>
                  <a:lnTo>
                    <a:pt x="265" y="426"/>
                  </a:lnTo>
                  <a:lnTo>
                    <a:pt x="256" y="431"/>
                  </a:lnTo>
                  <a:lnTo>
                    <a:pt x="250" y="436"/>
                  </a:lnTo>
                  <a:lnTo>
                    <a:pt x="252" y="451"/>
                  </a:lnTo>
                  <a:lnTo>
                    <a:pt x="259" y="464"/>
                  </a:lnTo>
                  <a:lnTo>
                    <a:pt x="269" y="474"/>
                  </a:lnTo>
                  <a:lnTo>
                    <a:pt x="278" y="477"/>
                  </a:lnTo>
                  <a:lnTo>
                    <a:pt x="282" y="476"/>
                  </a:lnTo>
                  <a:lnTo>
                    <a:pt x="294" y="464"/>
                  </a:lnTo>
                  <a:lnTo>
                    <a:pt x="298" y="463"/>
                  </a:lnTo>
                  <a:lnTo>
                    <a:pt x="311" y="464"/>
                  </a:lnTo>
                  <a:lnTo>
                    <a:pt x="322" y="463"/>
                  </a:lnTo>
                  <a:lnTo>
                    <a:pt x="341" y="458"/>
                  </a:lnTo>
                  <a:lnTo>
                    <a:pt x="351" y="457"/>
                  </a:lnTo>
                  <a:lnTo>
                    <a:pt x="349" y="458"/>
                  </a:lnTo>
                  <a:lnTo>
                    <a:pt x="349" y="463"/>
                  </a:lnTo>
                  <a:lnTo>
                    <a:pt x="348" y="464"/>
                  </a:lnTo>
                  <a:lnTo>
                    <a:pt x="355" y="461"/>
                  </a:lnTo>
                  <a:lnTo>
                    <a:pt x="368" y="449"/>
                  </a:lnTo>
                  <a:lnTo>
                    <a:pt x="377" y="448"/>
                  </a:lnTo>
                  <a:lnTo>
                    <a:pt x="374" y="457"/>
                  </a:lnTo>
                  <a:lnTo>
                    <a:pt x="368" y="467"/>
                  </a:lnTo>
                  <a:lnTo>
                    <a:pt x="362" y="474"/>
                  </a:lnTo>
                  <a:lnTo>
                    <a:pt x="359" y="477"/>
                  </a:lnTo>
                  <a:lnTo>
                    <a:pt x="352" y="477"/>
                  </a:lnTo>
                  <a:lnTo>
                    <a:pt x="338" y="481"/>
                  </a:lnTo>
                  <a:lnTo>
                    <a:pt x="333" y="486"/>
                  </a:lnTo>
                  <a:lnTo>
                    <a:pt x="333" y="489"/>
                  </a:lnTo>
                  <a:lnTo>
                    <a:pt x="336" y="499"/>
                  </a:lnTo>
                  <a:lnTo>
                    <a:pt x="333" y="508"/>
                  </a:lnTo>
                  <a:lnTo>
                    <a:pt x="327" y="518"/>
                  </a:lnTo>
                  <a:lnTo>
                    <a:pt x="324" y="530"/>
                  </a:lnTo>
                  <a:lnTo>
                    <a:pt x="326" y="532"/>
                  </a:lnTo>
                  <a:lnTo>
                    <a:pt x="332" y="546"/>
                  </a:lnTo>
                  <a:lnTo>
                    <a:pt x="341" y="563"/>
                  </a:lnTo>
                  <a:lnTo>
                    <a:pt x="343" y="563"/>
                  </a:lnTo>
                  <a:lnTo>
                    <a:pt x="349" y="556"/>
                  </a:lnTo>
                  <a:lnTo>
                    <a:pt x="361" y="550"/>
                  </a:lnTo>
                  <a:lnTo>
                    <a:pt x="373" y="547"/>
                  </a:lnTo>
                  <a:lnTo>
                    <a:pt x="381" y="550"/>
                  </a:lnTo>
                  <a:lnTo>
                    <a:pt x="381" y="554"/>
                  </a:lnTo>
                  <a:lnTo>
                    <a:pt x="381" y="560"/>
                  </a:lnTo>
                  <a:lnTo>
                    <a:pt x="386" y="567"/>
                  </a:lnTo>
                  <a:lnTo>
                    <a:pt x="391" y="572"/>
                  </a:lnTo>
                  <a:lnTo>
                    <a:pt x="396" y="579"/>
                  </a:lnTo>
                  <a:lnTo>
                    <a:pt x="396" y="588"/>
                  </a:lnTo>
                  <a:lnTo>
                    <a:pt x="394" y="601"/>
                  </a:lnTo>
                  <a:lnTo>
                    <a:pt x="391" y="613"/>
                  </a:lnTo>
                  <a:lnTo>
                    <a:pt x="389" y="618"/>
                  </a:lnTo>
                  <a:lnTo>
                    <a:pt x="381" y="623"/>
                  </a:lnTo>
                  <a:lnTo>
                    <a:pt x="374" y="620"/>
                  </a:lnTo>
                  <a:lnTo>
                    <a:pt x="359" y="611"/>
                  </a:lnTo>
                  <a:lnTo>
                    <a:pt x="352" y="608"/>
                  </a:lnTo>
                  <a:lnTo>
                    <a:pt x="345" y="608"/>
                  </a:lnTo>
                  <a:lnTo>
                    <a:pt x="332" y="615"/>
                  </a:lnTo>
                  <a:lnTo>
                    <a:pt x="361" y="674"/>
                  </a:lnTo>
                  <a:lnTo>
                    <a:pt x="373" y="688"/>
                  </a:lnTo>
                  <a:lnTo>
                    <a:pt x="384" y="697"/>
                  </a:lnTo>
                  <a:lnTo>
                    <a:pt x="393" y="700"/>
                  </a:lnTo>
                  <a:lnTo>
                    <a:pt x="396" y="694"/>
                  </a:lnTo>
                  <a:lnTo>
                    <a:pt x="400" y="691"/>
                  </a:lnTo>
                  <a:lnTo>
                    <a:pt x="409" y="694"/>
                  </a:lnTo>
                  <a:lnTo>
                    <a:pt x="422" y="700"/>
                  </a:lnTo>
                  <a:lnTo>
                    <a:pt x="466" y="701"/>
                  </a:lnTo>
                  <a:lnTo>
                    <a:pt x="479" y="704"/>
                  </a:lnTo>
                  <a:lnTo>
                    <a:pt x="492" y="712"/>
                  </a:lnTo>
                  <a:lnTo>
                    <a:pt x="514" y="730"/>
                  </a:lnTo>
                  <a:lnTo>
                    <a:pt x="527" y="736"/>
                  </a:lnTo>
                  <a:lnTo>
                    <a:pt x="527" y="748"/>
                  </a:lnTo>
                  <a:lnTo>
                    <a:pt x="533" y="767"/>
                  </a:lnTo>
                  <a:lnTo>
                    <a:pt x="542" y="784"/>
                  </a:lnTo>
                  <a:lnTo>
                    <a:pt x="550" y="792"/>
                  </a:lnTo>
                  <a:lnTo>
                    <a:pt x="555" y="793"/>
                  </a:lnTo>
                  <a:lnTo>
                    <a:pt x="571" y="803"/>
                  </a:lnTo>
                  <a:lnTo>
                    <a:pt x="575" y="806"/>
                  </a:lnTo>
                  <a:lnTo>
                    <a:pt x="577" y="816"/>
                  </a:lnTo>
                  <a:lnTo>
                    <a:pt x="577" y="832"/>
                  </a:lnTo>
                  <a:lnTo>
                    <a:pt x="581" y="851"/>
                  </a:lnTo>
                  <a:lnTo>
                    <a:pt x="593" y="864"/>
                  </a:lnTo>
                  <a:lnTo>
                    <a:pt x="617" y="880"/>
                  </a:lnTo>
                  <a:lnTo>
                    <a:pt x="630" y="885"/>
                  </a:lnTo>
                  <a:lnTo>
                    <a:pt x="646" y="888"/>
                  </a:lnTo>
                  <a:lnTo>
                    <a:pt x="649" y="876"/>
                  </a:lnTo>
                  <a:lnTo>
                    <a:pt x="651" y="872"/>
                  </a:lnTo>
                  <a:lnTo>
                    <a:pt x="651" y="869"/>
                  </a:lnTo>
                  <a:lnTo>
                    <a:pt x="651" y="866"/>
                  </a:lnTo>
                  <a:lnTo>
                    <a:pt x="652" y="866"/>
                  </a:lnTo>
                  <a:lnTo>
                    <a:pt x="652" y="864"/>
                  </a:lnTo>
                  <a:lnTo>
                    <a:pt x="654" y="863"/>
                  </a:lnTo>
                  <a:lnTo>
                    <a:pt x="655" y="861"/>
                  </a:lnTo>
                  <a:lnTo>
                    <a:pt x="655" y="860"/>
                  </a:lnTo>
                  <a:lnTo>
                    <a:pt x="657" y="856"/>
                  </a:lnTo>
                  <a:lnTo>
                    <a:pt x="657" y="854"/>
                  </a:lnTo>
                  <a:lnTo>
                    <a:pt x="658" y="854"/>
                  </a:lnTo>
                  <a:lnTo>
                    <a:pt x="660" y="854"/>
                  </a:lnTo>
                  <a:lnTo>
                    <a:pt x="664" y="856"/>
                  </a:lnTo>
                  <a:lnTo>
                    <a:pt x="667" y="857"/>
                  </a:lnTo>
                  <a:lnTo>
                    <a:pt x="667" y="857"/>
                  </a:lnTo>
                  <a:lnTo>
                    <a:pt x="670" y="860"/>
                  </a:lnTo>
                  <a:lnTo>
                    <a:pt x="671" y="860"/>
                  </a:lnTo>
                  <a:lnTo>
                    <a:pt x="671" y="863"/>
                  </a:lnTo>
                  <a:lnTo>
                    <a:pt x="670" y="867"/>
                  </a:lnTo>
                  <a:lnTo>
                    <a:pt x="670" y="870"/>
                  </a:lnTo>
                  <a:lnTo>
                    <a:pt x="670" y="872"/>
                  </a:lnTo>
                  <a:lnTo>
                    <a:pt x="670" y="873"/>
                  </a:lnTo>
                  <a:lnTo>
                    <a:pt x="670" y="873"/>
                  </a:lnTo>
                  <a:lnTo>
                    <a:pt x="671" y="873"/>
                  </a:lnTo>
                  <a:lnTo>
                    <a:pt x="671" y="875"/>
                  </a:lnTo>
                  <a:lnTo>
                    <a:pt x="671" y="875"/>
                  </a:lnTo>
                  <a:lnTo>
                    <a:pt x="673" y="875"/>
                  </a:lnTo>
                  <a:lnTo>
                    <a:pt x="677" y="873"/>
                  </a:lnTo>
                  <a:lnTo>
                    <a:pt x="712" y="844"/>
                  </a:lnTo>
                  <a:lnTo>
                    <a:pt x="721" y="841"/>
                  </a:lnTo>
                  <a:lnTo>
                    <a:pt x="731" y="844"/>
                  </a:lnTo>
                  <a:lnTo>
                    <a:pt x="731" y="844"/>
                  </a:lnTo>
                  <a:lnTo>
                    <a:pt x="734" y="843"/>
                  </a:lnTo>
                  <a:lnTo>
                    <a:pt x="735" y="841"/>
                  </a:lnTo>
                  <a:lnTo>
                    <a:pt x="738" y="832"/>
                  </a:lnTo>
                  <a:lnTo>
                    <a:pt x="740" y="829"/>
                  </a:lnTo>
                  <a:lnTo>
                    <a:pt x="741" y="828"/>
                  </a:lnTo>
                  <a:lnTo>
                    <a:pt x="745" y="827"/>
                  </a:lnTo>
                  <a:lnTo>
                    <a:pt x="748" y="827"/>
                  </a:lnTo>
                  <a:lnTo>
                    <a:pt x="751" y="827"/>
                  </a:lnTo>
                  <a:lnTo>
                    <a:pt x="756" y="828"/>
                  </a:lnTo>
                  <a:lnTo>
                    <a:pt x="759" y="825"/>
                  </a:lnTo>
                  <a:lnTo>
                    <a:pt x="760" y="824"/>
                  </a:lnTo>
                  <a:lnTo>
                    <a:pt x="764" y="805"/>
                  </a:lnTo>
                  <a:lnTo>
                    <a:pt x="766" y="803"/>
                  </a:lnTo>
                  <a:lnTo>
                    <a:pt x="767" y="802"/>
                  </a:lnTo>
                  <a:lnTo>
                    <a:pt x="767" y="802"/>
                  </a:lnTo>
                  <a:lnTo>
                    <a:pt x="769" y="800"/>
                  </a:lnTo>
                  <a:lnTo>
                    <a:pt x="769" y="800"/>
                  </a:lnTo>
                  <a:lnTo>
                    <a:pt x="786" y="805"/>
                  </a:lnTo>
                  <a:lnTo>
                    <a:pt x="789" y="805"/>
                  </a:lnTo>
                  <a:lnTo>
                    <a:pt x="791" y="803"/>
                  </a:lnTo>
                  <a:lnTo>
                    <a:pt x="796" y="797"/>
                  </a:lnTo>
                  <a:lnTo>
                    <a:pt x="798" y="796"/>
                  </a:lnTo>
                  <a:lnTo>
                    <a:pt x="801" y="796"/>
                  </a:lnTo>
                  <a:lnTo>
                    <a:pt x="802" y="796"/>
                  </a:lnTo>
                  <a:lnTo>
                    <a:pt x="804" y="797"/>
                  </a:lnTo>
                  <a:lnTo>
                    <a:pt x="804" y="797"/>
                  </a:lnTo>
                  <a:lnTo>
                    <a:pt x="805" y="799"/>
                  </a:lnTo>
                  <a:lnTo>
                    <a:pt x="804" y="802"/>
                  </a:lnTo>
                  <a:lnTo>
                    <a:pt x="804" y="803"/>
                  </a:lnTo>
                  <a:lnTo>
                    <a:pt x="799" y="809"/>
                  </a:lnTo>
                  <a:lnTo>
                    <a:pt x="796" y="816"/>
                  </a:lnTo>
                  <a:lnTo>
                    <a:pt x="795" y="821"/>
                  </a:lnTo>
                  <a:lnTo>
                    <a:pt x="795" y="822"/>
                  </a:lnTo>
                  <a:lnTo>
                    <a:pt x="795" y="824"/>
                  </a:lnTo>
                  <a:lnTo>
                    <a:pt x="796" y="825"/>
                  </a:lnTo>
                  <a:lnTo>
                    <a:pt x="808" y="834"/>
                  </a:lnTo>
                  <a:lnTo>
                    <a:pt x="808" y="835"/>
                  </a:lnTo>
                  <a:lnTo>
                    <a:pt x="808" y="838"/>
                  </a:lnTo>
                  <a:lnTo>
                    <a:pt x="810" y="841"/>
                  </a:lnTo>
                  <a:lnTo>
                    <a:pt x="810" y="845"/>
                  </a:lnTo>
                  <a:lnTo>
                    <a:pt x="811" y="847"/>
                  </a:lnTo>
                  <a:lnTo>
                    <a:pt x="813" y="847"/>
                  </a:lnTo>
                  <a:lnTo>
                    <a:pt x="814" y="848"/>
                  </a:lnTo>
                  <a:lnTo>
                    <a:pt x="814" y="851"/>
                  </a:lnTo>
                  <a:lnTo>
                    <a:pt x="814" y="856"/>
                  </a:lnTo>
                  <a:lnTo>
                    <a:pt x="814" y="857"/>
                  </a:lnTo>
                  <a:lnTo>
                    <a:pt x="813" y="860"/>
                  </a:lnTo>
                  <a:lnTo>
                    <a:pt x="813" y="863"/>
                  </a:lnTo>
                  <a:lnTo>
                    <a:pt x="811" y="870"/>
                  </a:lnTo>
                  <a:lnTo>
                    <a:pt x="811" y="878"/>
                  </a:lnTo>
                  <a:lnTo>
                    <a:pt x="811" y="879"/>
                  </a:lnTo>
                  <a:lnTo>
                    <a:pt x="810" y="880"/>
                  </a:lnTo>
                  <a:lnTo>
                    <a:pt x="810" y="880"/>
                  </a:lnTo>
                  <a:lnTo>
                    <a:pt x="808" y="882"/>
                  </a:lnTo>
                  <a:lnTo>
                    <a:pt x="805" y="883"/>
                  </a:lnTo>
                  <a:lnTo>
                    <a:pt x="799" y="885"/>
                  </a:lnTo>
                  <a:lnTo>
                    <a:pt x="798" y="885"/>
                  </a:lnTo>
                  <a:lnTo>
                    <a:pt x="798" y="886"/>
                  </a:lnTo>
                  <a:lnTo>
                    <a:pt x="796" y="888"/>
                  </a:lnTo>
                  <a:lnTo>
                    <a:pt x="798" y="891"/>
                  </a:lnTo>
                  <a:lnTo>
                    <a:pt x="799" y="901"/>
                  </a:lnTo>
                  <a:lnTo>
                    <a:pt x="801" y="905"/>
                  </a:lnTo>
                  <a:lnTo>
                    <a:pt x="801" y="910"/>
                  </a:lnTo>
                  <a:lnTo>
                    <a:pt x="801" y="912"/>
                  </a:lnTo>
                  <a:lnTo>
                    <a:pt x="802" y="915"/>
                  </a:lnTo>
                  <a:lnTo>
                    <a:pt x="805" y="917"/>
                  </a:lnTo>
                  <a:lnTo>
                    <a:pt x="811" y="918"/>
                  </a:lnTo>
                  <a:lnTo>
                    <a:pt x="814" y="921"/>
                  </a:lnTo>
                  <a:lnTo>
                    <a:pt x="823" y="936"/>
                  </a:lnTo>
                  <a:lnTo>
                    <a:pt x="831" y="940"/>
                  </a:lnTo>
                  <a:lnTo>
                    <a:pt x="834" y="943"/>
                  </a:lnTo>
                  <a:lnTo>
                    <a:pt x="846" y="956"/>
                  </a:lnTo>
                  <a:lnTo>
                    <a:pt x="846" y="956"/>
                  </a:lnTo>
                  <a:lnTo>
                    <a:pt x="846" y="955"/>
                  </a:lnTo>
                  <a:lnTo>
                    <a:pt x="847" y="955"/>
                  </a:lnTo>
                  <a:lnTo>
                    <a:pt x="849" y="955"/>
                  </a:lnTo>
                  <a:lnTo>
                    <a:pt x="849" y="958"/>
                  </a:lnTo>
                  <a:lnTo>
                    <a:pt x="850" y="969"/>
                  </a:lnTo>
                  <a:lnTo>
                    <a:pt x="859" y="969"/>
                  </a:lnTo>
                  <a:lnTo>
                    <a:pt x="871" y="974"/>
                  </a:lnTo>
                  <a:lnTo>
                    <a:pt x="920" y="1004"/>
                  </a:lnTo>
                  <a:lnTo>
                    <a:pt x="935" y="1009"/>
                  </a:lnTo>
                  <a:lnTo>
                    <a:pt x="947" y="1004"/>
                  </a:lnTo>
                  <a:lnTo>
                    <a:pt x="949" y="998"/>
                  </a:lnTo>
                  <a:lnTo>
                    <a:pt x="954" y="993"/>
                  </a:lnTo>
                  <a:lnTo>
                    <a:pt x="955" y="990"/>
                  </a:lnTo>
                  <a:lnTo>
                    <a:pt x="955" y="987"/>
                  </a:lnTo>
                  <a:lnTo>
                    <a:pt x="955" y="985"/>
                  </a:lnTo>
                  <a:lnTo>
                    <a:pt x="955" y="984"/>
                  </a:lnTo>
                  <a:lnTo>
                    <a:pt x="955" y="979"/>
                  </a:lnTo>
                  <a:lnTo>
                    <a:pt x="958" y="962"/>
                  </a:lnTo>
                  <a:lnTo>
                    <a:pt x="958" y="959"/>
                  </a:lnTo>
                  <a:lnTo>
                    <a:pt x="960" y="958"/>
                  </a:lnTo>
                  <a:lnTo>
                    <a:pt x="963" y="956"/>
                  </a:lnTo>
                  <a:lnTo>
                    <a:pt x="967" y="953"/>
                  </a:lnTo>
                  <a:lnTo>
                    <a:pt x="970" y="953"/>
                  </a:lnTo>
                  <a:lnTo>
                    <a:pt x="971" y="953"/>
                  </a:lnTo>
                  <a:lnTo>
                    <a:pt x="976" y="955"/>
                  </a:lnTo>
                  <a:lnTo>
                    <a:pt x="977" y="955"/>
                  </a:lnTo>
                  <a:lnTo>
                    <a:pt x="979" y="953"/>
                  </a:lnTo>
                  <a:lnTo>
                    <a:pt x="980" y="949"/>
                  </a:lnTo>
                  <a:lnTo>
                    <a:pt x="980" y="947"/>
                  </a:lnTo>
                  <a:lnTo>
                    <a:pt x="981" y="943"/>
                  </a:lnTo>
                  <a:lnTo>
                    <a:pt x="981" y="943"/>
                  </a:lnTo>
                  <a:lnTo>
                    <a:pt x="983" y="942"/>
                  </a:lnTo>
                  <a:lnTo>
                    <a:pt x="989" y="940"/>
                  </a:lnTo>
                  <a:lnTo>
                    <a:pt x="996" y="937"/>
                  </a:lnTo>
                  <a:lnTo>
                    <a:pt x="999" y="937"/>
                  </a:lnTo>
                  <a:lnTo>
                    <a:pt x="1002" y="936"/>
                  </a:lnTo>
                  <a:lnTo>
                    <a:pt x="1016" y="924"/>
                  </a:lnTo>
                  <a:lnTo>
                    <a:pt x="1022" y="921"/>
                  </a:lnTo>
                  <a:lnTo>
                    <a:pt x="1022" y="920"/>
                  </a:lnTo>
                  <a:lnTo>
                    <a:pt x="1022" y="918"/>
                  </a:lnTo>
                  <a:lnTo>
                    <a:pt x="1022" y="917"/>
                  </a:lnTo>
                  <a:lnTo>
                    <a:pt x="1024" y="912"/>
                  </a:lnTo>
                  <a:lnTo>
                    <a:pt x="1024" y="911"/>
                  </a:lnTo>
                  <a:lnTo>
                    <a:pt x="1024" y="910"/>
                  </a:lnTo>
                  <a:lnTo>
                    <a:pt x="1027" y="904"/>
                  </a:lnTo>
                  <a:lnTo>
                    <a:pt x="1027" y="902"/>
                  </a:lnTo>
                  <a:lnTo>
                    <a:pt x="1027" y="899"/>
                  </a:lnTo>
                  <a:lnTo>
                    <a:pt x="1025" y="896"/>
                  </a:lnTo>
                  <a:lnTo>
                    <a:pt x="1025" y="892"/>
                  </a:lnTo>
                  <a:lnTo>
                    <a:pt x="1025" y="891"/>
                  </a:lnTo>
                  <a:lnTo>
                    <a:pt x="1025" y="889"/>
                  </a:lnTo>
                  <a:lnTo>
                    <a:pt x="1027" y="888"/>
                  </a:lnTo>
                  <a:lnTo>
                    <a:pt x="1030" y="888"/>
                  </a:lnTo>
                  <a:lnTo>
                    <a:pt x="1032" y="889"/>
                  </a:lnTo>
                  <a:lnTo>
                    <a:pt x="1034" y="889"/>
                  </a:lnTo>
                  <a:lnTo>
                    <a:pt x="1035" y="889"/>
                  </a:lnTo>
                  <a:lnTo>
                    <a:pt x="1051" y="888"/>
                  </a:lnTo>
                  <a:lnTo>
                    <a:pt x="1053" y="888"/>
                  </a:lnTo>
                  <a:lnTo>
                    <a:pt x="1054" y="888"/>
                  </a:lnTo>
                  <a:lnTo>
                    <a:pt x="1054" y="889"/>
                  </a:lnTo>
                  <a:lnTo>
                    <a:pt x="1056" y="891"/>
                  </a:lnTo>
                  <a:lnTo>
                    <a:pt x="1056" y="891"/>
                  </a:lnTo>
                  <a:lnTo>
                    <a:pt x="1057" y="892"/>
                  </a:lnTo>
                  <a:lnTo>
                    <a:pt x="1057" y="894"/>
                  </a:lnTo>
                  <a:lnTo>
                    <a:pt x="1057" y="898"/>
                  </a:lnTo>
                  <a:lnTo>
                    <a:pt x="1059" y="899"/>
                  </a:lnTo>
                  <a:lnTo>
                    <a:pt x="1059" y="901"/>
                  </a:lnTo>
                  <a:lnTo>
                    <a:pt x="1060" y="901"/>
                  </a:lnTo>
                  <a:lnTo>
                    <a:pt x="1062" y="901"/>
                  </a:lnTo>
                  <a:lnTo>
                    <a:pt x="1063" y="899"/>
                  </a:lnTo>
                  <a:lnTo>
                    <a:pt x="1065" y="895"/>
                  </a:lnTo>
                  <a:lnTo>
                    <a:pt x="1067" y="894"/>
                  </a:lnTo>
                  <a:lnTo>
                    <a:pt x="1069" y="892"/>
                  </a:lnTo>
                  <a:lnTo>
                    <a:pt x="1069" y="891"/>
                  </a:lnTo>
                  <a:lnTo>
                    <a:pt x="1067" y="889"/>
                  </a:lnTo>
                  <a:lnTo>
                    <a:pt x="1065" y="889"/>
                  </a:lnTo>
                  <a:lnTo>
                    <a:pt x="1065" y="889"/>
                  </a:lnTo>
                  <a:lnTo>
                    <a:pt x="1067" y="888"/>
                  </a:lnTo>
                  <a:lnTo>
                    <a:pt x="1069" y="886"/>
                  </a:lnTo>
                  <a:lnTo>
                    <a:pt x="1069" y="883"/>
                  </a:lnTo>
                  <a:lnTo>
                    <a:pt x="1067" y="880"/>
                  </a:lnTo>
                  <a:lnTo>
                    <a:pt x="1065" y="864"/>
                  </a:lnTo>
                  <a:lnTo>
                    <a:pt x="1063" y="854"/>
                  </a:lnTo>
                  <a:lnTo>
                    <a:pt x="1066" y="853"/>
                  </a:lnTo>
                  <a:lnTo>
                    <a:pt x="1069" y="851"/>
                  </a:lnTo>
                  <a:lnTo>
                    <a:pt x="1069" y="850"/>
                  </a:lnTo>
                  <a:lnTo>
                    <a:pt x="1069" y="848"/>
                  </a:lnTo>
                  <a:lnTo>
                    <a:pt x="1069" y="847"/>
                  </a:lnTo>
                  <a:lnTo>
                    <a:pt x="1069" y="845"/>
                  </a:lnTo>
                  <a:lnTo>
                    <a:pt x="1069" y="843"/>
                  </a:lnTo>
                  <a:lnTo>
                    <a:pt x="1069" y="841"/>
                  </a:lnTo>
                  <a:lnTo>
                    <a:pt x="1069" y="840"/>
                  </a:lnTo>
                  <a:lnTo>
                    <a:pt x="1069" y="838"/>
                  </a:lnTo>
                  <a:lnTo>
                    <a:pt x="1066" y="834"/>
                  </a:lnTo>
                  <a:lnTo>
                    <a:pt x="1066" y="831"/>
                  </a:lnTo>
                  <a:lnTo>
                    <a:pt x="1066" y="829"/>
                  </a:lnTo>
                  <a:lnTo>
                    <a:pt x="1066" y="828"/>
                  </a:lnTo>
                  <a:lnTo>
                    <a:pt x="1066" y="827"/>
                  </a:lnTo>
                  <a:lnTo>
                    <a:pt x="1065" y="824"/>
                  </a:lnTo>
                  <a:lnTo>
                    <a:pt x="1063" y="822"/>
                  </a:lnTo>
                  <a:lnTo>
                    <a:pt x="1059" y="816"/>
                  </a:lnTo>
                  <a:lnTo>
                    <a:pt x="1054" y="815"/>
                  </a:lnTo>
                  <a:lnTo>
                    <a:pt x="1049" y="812"/>
                  </a:lnTo>
                  <a:lnTo>
                    <a:pt x="1046" y="812"/>
                  </a:lnTo>
                  <a:lnTo>
                    <a:pt x="1043" y="812"/>
                  </a:lnTo>
                  <a:lnTo>
                    <a:pt x="1038" y="812"/>
                  </a:lnTo>
                  <a:lnTo>
                    <a:pt x="1035" y="811"/>
                  </a:lnTo>
                  <a:lnTo>
                    <a:pt x="1031" y="808"/>
                  </a:lnTo>
                  <a:lnTo>
                    <a:pt x="1024" y="797"/>
                  </a:lnTo>
                  <a:lnTo>
                    <a:pt x="1021" y="793"/>
                  </a:lnTo>
                  <a:lnTo>
                    <a:pt x="1018" y="790"/>
                  </a:lnTo>
                  <a:lnTo>
                    <a:pt x="1016" y="789"/>
                  </a:lnTo>
                  <a:lnTo>
                    <a:pt x="1008" y="786"/>
                  </a:lnTo>
                  <a:lnTo>
                    <a:pt x="1005" y="786"/>
                  </a:lnTo>
                  <a:lnTo>
                    <a:pt x="1002" y="786"/>
                  </a:lnTo>
                  <a:lnTo>
                    <a:pt x="1000" y="784"/>
                  </a:lnTo>
                  <a:lnTo>
                    <a:pt x="1000" y="784"/>
                  </a:lnTo>
                  <a:lnTo>
                    <a:pt x="1000" y="783"/>
                  </a:lnTo>
                  <a:lnTo>
                    <a:pt x="1003" y="768"/>
                  </a:lnTo>
                  <a:lnTo>
                    <a:pt x="1005" y="764"/>
                  </a:lnTo>
                  <a:lnTo>
                    <a:pt x="1005" y="758"/>
                  </a:lnTo>
                  <a:lnTo>
                    <a:pt x="1003" y="751"/>
                  </a:lnTo>
                  <a:lnTo>
                    <a:pt x="1003" y="748"/>
                  </a:lnTo>
                  <a:lnTo>
                    <a:pt x="1002" y="742"/>
                  </a:lnTo>
                  <a:lnTo>
                    <a:pt x="1002" y="741"/>
                  </a:lnTo>
                  <a:lnTo>
                    <a:pt x="999" y="733"/>
                  </a:lnTo>
                  <a:lnTo>
                    <a:pt x="999" y="732"/>
                  </a:lnTo>
                  <a:lnTo>
                    <a:pt x="998" y="730"/>
                  </a:lnTo>
                  <a:lnTo>
                    <a:pt x="998" y="730"/>
                  </a:lnTo>
                  <a:lnTo>
                    <a:pt x="998" y="729"/>
                  </a:lnTo>
                  <a:lnTo>
                    <a:pt x="999" y="723"/>
                  </a:lnTo>
                  <a:lnTo>
                    <a:pt x="999" y="722"/>
                  </a:lnTo>
                  <a:lnTo>
                    <a:pt x="1002" y="716"/>
                  </a:lnTo>
                  <a:lnTo>
                    <a:pt x="1003" y="714"/>
                  </a:lnTo>
                  <a:lnTo>
                    <a:pt x="1006" y="713"/>
                  </a:lnTo>
                  <a:lnTo>
                    <a:pt x="1012" y="710"/>
                  </a:lnTo>
                  <a:lnTo>
                    <a:pt x="1019" y="706"/>
                  </a:lnTo>
                  <a:lnTo>
                    <a:pt x="1037" y="690"/>
                  </a:lnTo>
                  <a:lnTo>
                    <a:pt x="1044" y="684"/>
                  </a:lnTo>
                  <a:lnTo>
                    <a:pt x="1046" y="684"/>
                  </a:lnTo>
                  <a:lnTo>
                    <a:pt x="1047" y="684"/>
                  </a:lnTo>
                  <a:lnTo>
                    <a:pt x="1049" y="685"/>
                  </a:lnTo>
                  <a:lnTo>
                    <a:pt x="1053" y="687"/>
                  </a:lnTo>
                  <a:lnTo>
                    <a:pt x="1053" y="687"/>
                  </a:lnTo>
                  <a:lnTo>
                    <a:pt x="1053" y="688"/>
                  </a:lnTo>
                  <a:lnTo>
                    <a:pt x="1053" y="688"/>
                  </a:lnTo>
                  <a:lnTo>
                    <a:pt x="1051" y="690"/>
                  </a:lnTo>
                  <a:lnTo>
                    <a:pt x="1051" y="691"/>
                  </a:lnTo>
                  <a:lnTo>
                    <a:pt x="1053" y="693"/>
                  </a:lnTo>
                  <a:lnTo>
                    <a:pt x="1053" y="693"/>
                  </a:lnTo>
                  <a:lnTo>
                    <a:pt x="1053" y="694"/>
                  </a:lnTo>
                  <a:lnTo>
                    <a:pt x="1054" y="694"/>
                  </a:lnTo>
                  <a:lnTo>
                    <a:pt x="1054" y="694"/>
                  </a:lnTo>
                  <a:lnTo>
                    <a:pt x="1056" y="694"/>
                  </a:lnTo>
                  <a:lnTo>
                    <a:pt x="1066" y="693"/>
                  </a:lnTo>
                  <a:lnTo>
                    <a:pt x="1067" y="691"/>
                  </a:lnTo>
                  <a:lnTo>
                    <a:pt x="1069" y="690"/>
                  </a:lnTo>
                  <a:lnTo>
                    <a:pt x="1069" y="690"/>
                  </a:lnTo>
                  <a:lnTo>
                    <a:pt x="1070" y="688"/>
                  </a:lnTo>
                  <a:lnTo>
                    <a:pt x="1070" y="688"/>
                  </a:lnTo>
                  <a:lnTo>
                    <a:pt x="1072" y="688"/>
                  </a:lnTo>
                  <a:lnTo>
                    <a:pt x="1070" y="688"/>
                  </a:lnTo>
                  <a:lnTo>
                    <a:pt x="1057" y="684"/>
                  </a:lnTo>
                  <a:lnTo>
                    <a:pt x="1056" y="682"/>
                  </a:lnTo>
                  <a:lnTo>
                    <a:pt x="1056" y="682"/>
                  </a:lnTo>
                  <a:lnTo>
                    <a:pt x="1053" y="681"/>
                  </a:lnTo>
                  <a:lnTo>
                    <a:pt x="1053" y="678"/>
                  </a:lnTo>
                  <a:lnTo>
                    <a:pt x="1051" y="677"/>
                  </a:lnTo>
                  <a:lnTo>
                    <a:pt x="1051" y="662"/>
                  </a:lnTo>
                  <a:lnTo>
                    <a:pt x="1051" y="659"/>
                  </a:lnTo>
                  <a:lnTo>
                    <a:pt x="1050" y="659"/>
                  </a:lnTo>
                  <a:lnTo>
                    <a:pt x="1046" y="658"/>
                  </a:lnTo>
                  <a:lnTo>
                    <a:pt x="1044" y="652"/>
                  </a:lnTo>
                  <a:lnTo>
                    <a:pt x="1044" y="645"/>
                  </a:lnTo>
                  <a:lnTo>
                    <a:pt x="1041" y="639"/>
                  </a:lnTo>
                  <a:lnTo>
                    <a:pt x="1038" y="637"/>
                  </a:lnTo>
                  <a:lnTo>
                    <a:pt x="1025" y="639"/>
                  </a:lnTo>
                  <a:lnTo>
                    <a:pt x="1015" y="636"/>
                  </a:lnTo>
                  <a:lnTo>
                    <a:pt x="1008" y="630"/>
                  </a:lnTo>
                  <a:lnTo>
                    <a:pt x="1003" y="621"/>
                  </a:lnTo>
                  <a:lnTo>
                    <a:pt x="999" y="611"/>
                  </a:lnTo>
                  <a:lnTo>
                    <a:pt x="999" y="607"/>
                  </a:lnTo>
                  <a:lnTo>
                    <a:pt x="1002" y="602"/>
                  </a:lnTo>
                  <a:lnTo>
                    <a:pt x="1015" y="582"/>
                  </a:lnTo>
                  <a:lnTo>
                    <a:pt x="1016" y="580"/>
                  </a:lnTo>
                  <a:lnTo>
                    <a:pt x="1019" y="579"/>
                  </a:lnTo>
                  <a:lnTo>
                    <a:pt x="1022" y="579"/>
                  </a:lnTo>
                  <a:lnTo>
                    <a:pt x="1025" y="582"/>
                  </a:lnTo>
                  <a:lnTo>
                    <a:pt x="1028" y="583"/>
                  </a:lnTo>
                  <a:lnTo>
                    <a:pt x="1031" y="580"/>
                  </a:lnTo>
                  <a:lnTo>
                    <a:pt x="1034" y="580"/>
                  </a:lnTo>
                  <a:lnTo>
                    <a:pt x="1047" y="576"/>
                  </a:lnTo>
                  <a:lnTo>
                    <a:pt x="1053" y="572"/>
                  </a:lnTo>
                  <a:lnTo>
                    <a:pt x="1067" y="554"/>
                  </a:lnTo>
                  <a:lnTo>
                    <a:pt x="1108" y="528"/>
                  </a:lnTo>
                  <a:lnTo>
                    <a:pt x="1110" y="522"/>
                  </a:lnTo>
                  <a:lnTo>
                    <a:pt x="1113" y="519"/>
                  </a:lnTo>
                  <a:lnTo>
                    <a:pt x="1116" y="514"/>
                  </a:lnTo>
                  <a:lnTo>
                    <a:pt x="1117" y="503"/>
                  </a:lnTo>
                  <a:lnTo>
                    <a:pt x="1116" y="486"/>
                  </a:lnTo>
                  <a:lnTo>
                    <a:pt x="1116" y="476"/>
                  </a:lnTo>
                  <a:lnTo>
                    <a:pt x="1117" y="468"/>
                  </a:lnTo>
                  <a:lnTo>
                    <a:pt x="1114" y="457"/>
                  </a:lnTo>
                  <a:lnTo>
                    <a:pt x="1111" y="433"/>
                  </a:lnTo>
                  <a:lnTo>
                    <a:pt x="1108" y="425"/>
                  </a:lnTo>
                  <a:lnTo>
                    <a:pt x="1113" y="426"/>
                  </a:lnTo>
                  <a:lnTo>
                    <a:pt x="1116" y="428"/>
                  </a:lnTo>
                  <a:lnTo>
                    <a:pt x="1118" y="422"/>
                  </a:lnTo>
                  <a:lnTo>
                    <a:pt x="1132" y="407"/>
                  </a:lnTo>
                  <a:lnTo>
                    <a:pt x="1121" y="404"/>
                  </a:lnTo>
                  <a:lnTo>
                    <a:pt x="1097" y="419"/>
                  </a:lnTo>
                  <a:close/>
                  <a:moveTo>
                    <a:pt x="145" y="174"/>
                  </a:moveTo>
                  <a:lnTo>
                    <a:pt x="145" y="141"/>
                  </a:lnTo>
                  <a:lnTo>
                    <a:pt x="145" y="139"/>
                  </a:lnTo>
                  <a:lnTo>
                    <a:pt x="147" y="126"/>
                  </a:lnTo>
                  <a:lnTo>
                    <a:pt x="147" y="122"/>
                  </a:lnTo>
                  <a:lnTo>
                    <a:pt x="148" y="120"/>
                  </a:lnTo>
                  <a:lnTo>
                    <a:pt x="160" y="113"/>
                  </a:lnTo>
                  <a:lnTo>
                    <a:pt x="161" y="113"/>
                  </a:lnTo>
                  <a:lnTo>
                    <a:pt x="166" y="112"/>
                  </a:lnTo>
                  <a:lnTo>
                    <a:pt x="167" y="113"/>
                  </a:lnTo>
                  <a:lnTo>
                    <a:pt x="172" y="119"/>
                  </a:lnTo>
                  <a:lnTo>
                    <a:pt x="173" y="120"/>
                  </a:lnTo>
                  <a:lnTo>
                    <a:pt x="198" y="120"/>
                  </a:lnTo>
                  <a:lnTo>
                    <a:pt x="202" y="119"/>
                  </a:lnTo>
                  <a:lnTo>
                    <a:pt x="212" y="112"/>
                  </a:lnTo>
                  <a:lnTo>
                    <a:pt x="217" y="109"/>
                  </a:lnTo>
                  <a:lnTo>
                    <a:pt x="260" y="110"/>
                  </a:lnTo>
                  <a:lnTo>
                    <a:pt x="269" y="104"/>
                  </a:lnTo>
                  <a:lnTo>
                    <a:pt x="193" y="107"/>
                  </a:lnTo>
                  <a:lnTo>
                    <a:pt x="177" y="103"/>
                  </a:lnTo>
                  <a:lnTo>
                    <a:pt x="166" y="93"/>
                  </a:lnTo>
                  <a:lnTo>
                    <a:pt x="167" y="71"/>
                  </a:lnTo>
                  <a:lnTo>
                    <a:pt x="164" y="59"/>
                  </a:lnTo>
                  <a:lnTo>
                    <a:pt x="167" y="48"/>
                  </a:lnTo>
                  <a:lnTo>
                    <a:pt x="174" y="37"/>
                  </a:lnTo>
                  <a:lnTo>
                    <a:pt x="189" y="30"/>
                  </a:lnTo>
                  <a:lnTo>
                    <a:pt x="192" y="21"/>
                  </a:lnTo>
                  <a:lnTo>
                    <a:pt x="189" y="14"/>
                  </a:lnTo>
                  <a:lnTo>
                    <a:pt x="179" y="13"/>
                  </a:lnTo>
                  <a:lnTo>
                    <a:pt x="182" y="10"/>
                  </a:lnTo>
                  <a:lnTo>
                    <a:pt x="204" y="8"/>
                  </a:lnTo>
                  <a:lnTo>
                    <a:pt x="186" y="0"/>
                  </a:lnTo>
                  <a:lnTo>
                    <a:pt x="172" y="18"/>
                  </a:lnTo>
                  <a:lnTo>
                    <a:pt x="145" y="93"/>
                  </a:lnTo>
                  <a:lnTo>
                    <a:pt x="142" y="106"/>
                  </a:lnTo>
                  <a:lnTo>
                    <a:pt x="138" y="170"/>
                  </a:lnTo>
                  <a:lnTo>
                    <a:pt x="138" y="186"/>
                  </a:lnTo>
                  <a:lnTo>
                    <a:pt x="141" y="195"/>
                  </a:lnTo>
                  <a:lnTo>
                    <a:pt x="144" y="193"/>
                  </a:lnTo>
                  <a:lnTo>
                    <a:pt x="145" y="184"/>
                  </a:lnTo>
                  <a:lnTo>
                    <a:pt x="145" y="174"/>
                  </a:lnTo>
                  <a:close/>
                  <a:moveTo>
                    <a:pt x="281" y="599"/>
                  </a:moveTo>
                  <a:lnTo>
                    <a:pt x="279" y="598"/>
                  </a:lnTo>
                  <a:lnTo>
                    <a:pt x="279" y="595"/>
                  </a:lnTo>
                  <a:lnTo>
                    <a:pt x="279" y="592"/>
                  </a:lnTo>
                  <a:lnTo>
                    <a:pt x="279" y="589"/>
                  </a:lnTo>
                  <a:lnTo>
                    <a:pt x="276" y="589"/>
                  </a:lnTo>
                  <a:lnTo>
                    <a:pt x="273" y="592"/>
                  </a:lnTo>
                  <a:lnTo>
                    <a:pt x="272" y="594"/>
                  </a:lnTo>
                  <a:lnTo>
                    <a:pt x="271" y="598"/>
                  </a:lnTo>
                  <a:lnTo>
                    <a:pt x="271" y="601"/>
                  </a:lnTo>
                  <a:lnTo>
                    <a:pt x="272" y="605"/>
                  </a:lnTo>
                  <a:lnTo>
                    <a:pt x="276" y="610"/>
                  </a:lnTo>
                  <a:lnTo>
                    <a:pt x="281" y="611"/>
                  </a:lnTo>
                  <a:lnTo>
                    <a:pt x="282" y="608"/>
                  </a:lnTo>
                  <a:lnTo>
                    <a:pt x="282" y="605"/>
                  </a:lnTo>
                  <a:lnTo>
                    <a:pt x="282" y="604"/>
                  </a:lnTo>
                  <a:lnTo>
                    <a:pt x="282" y="601"/>
                  </a:lnTo>
                  <a:lnTo>
                    <a:pt x="281" y="59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7">
              <a:extLst>
                <a:ext uri="{FF2B5EF4-FFF2-40B4-BE49-F238E27FC236}">
                  <a16:creationId xmlns:a16="http://schemas.microsoft.com/office/drawing/2014/main" id="{3C6B19B7-CBF9-4211-AAEE-285443C9281D}"/>
                </a:ext>
              </a:extLst>
            </p:cNvPr>
            <p:cNvSpPr>
              <a:spLocks/>
            </p:cNvSpPr>
            <p:nvPr/>
          </p:nvSpPr>
          <p:spPr bwMode="gray">
            <a:xfrm>
              <a:off x="6169026" y="1893888"/>
              <a:ext cx="1470025" cy="1893888"/>
            </a:xfrm>
            <a:custGeom>
              <a:avLst/>
              <a:gdLst>
                <a:gd name="T0" fmla="*/ 807 w 926"/>
                <a:gd name="T1" fmla="*/ 781 h 1193"/>
                <a:gd name="T2" fmla="*/ 721 w 926"/>
                <a:gd name="T3" fmla="*/ 818 h 1193"/>
                <a:gd name="T4" fmla="*/ 584 w 926"/>
                <a:gd name="T5" fmla="*/ 845 h 1193"/>
                <a:gd name="T6" fmla="*/ 561 w 926"/>
                <a:gd name="T7" fmla="*/ 896 h 1193"/>
                <a:gd name="T8" fmla="*/ 556 w 926"/>
                <a:gd name="T9" fmla="*/ 947 h 1193"/>
                <a:gd name="T10" fmla="*/ 545 w 926"/>
                <a:gd name="T11" fmla="*/ 987 h 1193"/>
                <a:gd name="T12" fmla="*/ 555 w 926"/>
                <a:gd name="T13" fmla="*/ 1049 h 1193"/>
                <a:gd name="T14" fmla="*/ 574 w 926"/>
                <a:gd name="T15" fmla="*/ 1105 h 1193"/>
                <a:gd name="T16" fmla="*/ 583 w 926"/>
                <a:gd name="T17" fmla="*/ 1167 h 1193"/>
                <a:gd name="T18" fmla="*/ 521 w 926"/>
                <a:gd name="T19" fmla="*/ 1177 h 1193"/>
                <a:gd name="T20" fmla="*/ 473 w 926"/>
                <a:gd name="T21" fmla="*/ 1154 h 1193"/>
                <a:gd name="T22" fmla="*/ 396 w 926"/>
                <a:gd name="T23" fmla="*/ 1128 h 1193"/>
                <a:gd name="T24" fmla="*/ 335 w 926"/>
                <a:gd name="T25" fmla="*/ 1099 h 1193"/>
                <a:gd name="T26" fmla="*/ 294 w 926"/>
                <a:gd name="T27" fmla="*/ 1086 h 1193"/>
                <a:gd name="T28" fmla="*/ 266 w 926"/>
                <a:gd name="T29" fmla="*/ 1038 h 1193"/>
                <a:gd name="T30" fmla="*/ 218 w 926"/>
                <a:gd name="T31" fmla="*/ 934 h 1193"/>
                <a:gd name="T32" fmla="*/ 131 w 926"/>
                <a:gd name="T33" fmla="*/ 867 h 1193"/>
                <a:gd name="T34" fmla="*/ 127 w 926"/>
                <a:gd name="T35" fmla="*/ 837 h 1193"/>
                <a:gd name="T36" fmla="*/ 95 w 926"/>
                <a:gd name="T37" fmla="*/ 811 h 1193"/>
                <a:gd name="T38" fmla="*/ 22 w 926"/>
                <a:gd name="T39" fmla="*/ 744 h 1193"/>
                <a:gd name="T40" fmla="*/ 3 w 926"/>
                <a:gd name="T41" fmla="*/ 710 h 1193"/>
                <a:gd name="T42" fmla="*/ 22 w 926"/>
                <a:gd name="T43" fmla="*/ 668 h 1193"/>
                <a:gd name="T44" fmla="*/ 19 w 926"/>
                <a:gd name="T45" fmla="*/ 627 h 1193"/>
                <a:gd name="T46" fmla="*/ 6 w 926"/>
                <a:gd name="T47" fmla="*/ 604 h 1193"/>
                <a:gd name="T48" fmla="*/ 29 w 926"/>
                <a:gd name="T49" fmla="*/ 579 h 1193"/>
                <a:gd name="T50" fmla="*/ 138 w 926"/>
                <a:gd name="T51" fmla="*/ 560 h 1193"/>
                <a:gd name="T52" fmla="*/ 163 w 926"/>
                <a:gd name="T53" fmla="*/ 522 h 1193"/>
                <a:gd name="T54" fmla="*/ 157 w 926"/>
                <a:gd name="T55" fmla="*/ 495 h 1193"/>
                <a:gd name="T56" fmla="*/ 179 w 926"/>
                <a:gd name="T57" fmla="*/ 460 h 1193"/>
                <a:gd name="T58" fmla="*/ 166 w 926"/>
                <a:gd name="T59" fmla="*/ 449 h 1193"/>
                <a:gd name="T60" fmla="*/ 159 w 926"/>
                <a:gd name="T61" fmla="*/ 420 h 1193"/>
                <a:gd name="T62" fmla="*/ 153 w 926"/>
                <a:gd name="T63" fmla="*/ 401 h 1193"/>
                <a:gd name="T64" fmla="*/ 153 w 926"/>
                <a:gd name="T65" fmla="*/ 369 h 1193"/>
                <a:gd name="T66" fmla="*/ 140 w 926"/>
                <a:gd name="T67" fmla="*/ 314 h 1193"/>
                <a:gd name="T68" fmla="*/ 131 w 926"/>
                <a:gd name="T69" fmla="*/ 276 h 1193"/>
                <a:gd name="T70" fmla="*/ 132 w 926"/>
                <a:gd name="T71" fmla="*/ 246 h 1193"/>
                <a:gd name="T72" fmla="*/ 79 w 926"/>
                <a:gd name="T73" fmla="*/ 173 h 1193"/>
                <a:gd name="T74" fmla="*/ 65 w 926"/>
                <a:gd name="T75" fmla="*/ 132 h 1193"/>
                <a:gd name="T76" fmla="*/ 147 w 926"/>
                <a:gd name="T77" fmla="*/ 94 h 1193"/>
                <a:gd name="T78" fmla="*/ 178 w 926"/>
                <a:gd name="T79" fmla="*/ 81 h 1193"/>
                <a:gd name="T80" fmla="*/ 237 w 926"/>
                <a:gd name="T81" fmla="*/ 99 h 1193"/>
                <a:gd name="T82" fmla="*/ 323 w 926"/>
                <a:gd name="T83" fmla="*/ 61 h 1193"/>
                <a:gd name="T84" fmla="*/ 341 w 926"/>
                <a:gd name="T85" fmla="*/ 24 h 1193"/>
                <a:gd name="T86" fmla="*/ 398 w 926"/>
                <a:gd name="T87" fmla="*/ 39 h 1193"/>
                <a:gd name="T88" fmla="*/ 485 w 926"/>
                <a:gd name="T89" fmla="*/ 94 h 1193"/>
                <a:gd name="T90" fmla="*/ 559 w 926"/>
                <a:gd name="T91" fmla="*/ 101 h 1193"/>
                <a:gd name="T92" fmla="*/ 569 w 926"/>
                <a:gd name="T93" fmla="*/ 168 h 1193"/>
                <a:gd name="T94" fmla="*/ 574 w 926"/>
                <a:gd name="T95" fmla="*/ 203 h 1193"/>
                <a:gd name="T96" fmla="*/ 551 w 926"/>
                <a:gd name="T97" fmla="*/ 265 h 1193"/>
                <a:gd name="T98" fmla="*/ 549 w 926"/>
                <a:gd name="T99" fmla="*/ 294 h 1193"/>
                <a:gd name="T100" fmla="*/ 568 w 926"/>
                <a:gd name="T101" fmla="*/ 294 h 1193"/>
                <a:gd name="T102" fmla="*/ 594 w 926"/>
                <a:gd name="T103" fmla="*/ 305 h 1193"/>
                <a:gd name="T104" fmla="*/ 583 w 926"/>
                <a:gd name="T105" fmla="*/ 346 h 1193"/>
                <a:gd name="T106" fmla="*/ 577 w 926"/>
                <a:gd name="T107" fmla="*/ 387 h 1193"/>
                <a:gd name="T108" fmla="*/ 569 w 926"/>
                <a:gd name="T109" fmla="*/ 439 h 1193"/>
                <a:gd name="T110" fmla="*/ 567 w 926"/>
                <a:gd name="T111" fmla="*/ 487 h 1193"/>
                <a:gd name="T112" fmla="*/ 626 w 926"/>
                <a:gd name="T113" fmla="*/ 576 h 1193"/>
                <a:gd name="T114" fmla="*/ 670 w 926"/>
                <a:gd name="T115" fmla="*/ 596 h 1193"/>
                <a:gd name="T116" fmla="*/ 778 w 926"/>
                <a:gd name="T117" fmla="*/ 629 h 1193"/>
                <a:gd name="T118" fmla="*/ 868 w 926"/>
                <a:gd name="T119" fmla="*/ 679 h 1193"/>
                <a:gd name="T120" fmla="*/ 900 w 926"/>
                <a:gd name="T121" fmla="*/ 719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6" h="1193">
                  <a:moveTo>
                    <a:pt x="867" y="813"/>
                  </a:moveTo>
                  <a:lnTo>
                    <a:pt x="859" y="811"/>
                  </a:lnTo>
                  <a:lnTo>
                    <a:pt x="852" y="803"/>
                  </a:lnTo>
                  <a:lnTo>
                    <a:pt x="851" y="802"/>
                  </a:lnTo>
                  <a:lnTo>
                    <a:pt x="848" y="800"/>
                  </a:lnTo>
                  <a:lnTo>
                    <a:pt x="845" y="802"/>
                  </a:lnTo>
                  <a:lnTo>
                    <a:pt x="843" y="803"/>
                  </a:lnTo>
                  <a:lnTo>
                    <a:pt x="842" y="805"/>
                  </a:lnTo>
                  <a:lnTo>
                    <a:pt x="838" y="806"/>
                  </a:lnTo>
                  <a:lnTo>
                    <a:pt x="832" y="800"/>
                  </a:lnTo>
                  <a:lnTo>
                    <a:pt x="824" y="796"/>
                  </a:lnTo>
                  <a:lnTo>
                    <a:pt x="820" y="796"/>
                  </a:lnTo>
                  <a:lnTo>
                    <a:pt x="816" y="793"/>
                  </a:lnTo>
                  <a:lnTo>
                    <a:pt x="810" y="790"/>
                  </a:lnTo>
                  <a:lnTo>
                    <a:pt x="807" y="781"/>
                  </a:lnTo>
                  <a:lnTo>
                    <a:pt x="797" y="783"/>
                  </a:lnTo>
                  <a:lnTo>
                    <a:pt x="794" y="787"/>
                  </a:lnTo>
                  <a:lnTo>
                    <a:pt x="775" y="803"/>
                  </a:lnTo>
                  <a:lnTo>
                    <a:pt x="769" y="806"/>
                  </a:lnTo>
                  <a:lnTo>
                    <a:pt x="759" y="802"/>
                  </a:lnTo>
                  <a:lnTo>
                    <a:pt x="746" y="800"/>
                  </a:lnTo>
                  <a:lnTo>
                    <a:pt x="740" y="803"/>
                  </a:lnTo>
                  <a:lnTo>
                    <a:pt x="737" y="809"/>
                  </a:lnTo>
                  <a:lnTo>
                    <a:pt x="734" y="813"/>
                  </a:lnTo>
                  <a:lnTo>
                    <a:pt x="731" y="816"/>
                  </a:lnTo>
                  <a:lnTo>
                    <a:pt x="727" y="821"/>
                  </a:lnTo>
                  <a:lnTo>
                    <a:pt x="725" y="821"/>
                  </a:lnTo>
                  <a:lnTo>
                    <a:pt x="722" y="821"/>
                  </a:lnTo>
                  <a:lnTo>
                    <a:pt x="722" y="819"/>
                  </a:lnTo>
                  <a:lnTo>
                    <a:pt x="721" y="818"/>
                  </a:lnTo>
                  <a:lnTo>
                    <a:pt x="720" y="818"/>
                  </a:lnTo>
                  <a:lnTo>
                    <a:pt x="686" y="824"/>
                  </a:lnTo>
                  <a:lnTo>
                    <a:pt x="682" y="821"/>
                  </a:lnTo>
                  <a:lnTo>
                    <a:pt x="657" y="819"/>
                  </a:lnTo>
                  <a:lnTo>
                    <a:pt x="654" y="819"/>
                  </a:lnTo>
                  <a:lnTo>
                    <a:pt x="651" y="821"/>
                  </a:lnTo>
                  <a:lnTo>
                    <a:pt x="650" y="831"/>
                  </a:lnTo>
                  <a:lnTo>
                    <a:pt x="650" y="834"/>
                  </a:lnTo>
                  <a:lnTo>
                    <a:pt x="648" y="835"/>
                  </a:lnTo>
                  <a:lnTo>
                    <a:pt x="647" y="837"/>
                  </a:lnTo>
                  <a:lnTo>
                    <a:pt x="620" y="840"/>
                  </a:lnTo>
                  <a:lnTo>
                    <a:pt x="603" y="848"/>
                  </a:lnTo>
                  <a:lnTo>
                    <a:pt x="600" y="848"/>
                  </a:lnTo>
                  <a:lnTo>
                    <a:pt x="590" y="847"/>
                  </a:lnTo>
                  <a:lnTo>
                    <a:pt x="584" y="845"/>
                  </a:lnTo>
                  <a:lnTo>
                    <a:pt x="581" y="843"/>
                  </a:lnTo>
                  <a:lnTo>
                    <a:pt x="578" y="843"/>
                  </a:lnTo>
                  <a:lnTo>
                    <a:pt x="578" y="843"/>
                  </a:lnTo>
                  <a:lnTo>
                    <a:pt x="577" y="844"/>
                  </a:lnTo>
                  <a:lnTo>
                    <a:pt x="577" y="847"/>
                  </a:lnTo>
                  <a:lnTo>
                    <a:pt x="577" y="850"/>
                  </a:lnTo>
                  <a:lnTo>
                    <a:pt x="575" y="851"/>
                  </a:lnTo>
                  <a:lnTo>
                    <a:pt x="575" y="853"/>
                  </a:lnTo>
                  <a:lnTo>
                    <a:pt x="574" y="853"/>
                  </a:lnTo>
                  <a:lnTo>
                    <a:pt x="565" y="861"/>
                  </a:lnTo>
                  <a:lnTo>
                    <a:pt x="565" y="886"/>
                  </a:lnTo>
                  <a:lnTo>
                    <a:pt x="564" y="894"/>
                  </a:lnTo>
                  <a:lnTo>
                    <a:pt x="562" y="894"/>
                  </a:lnTo>
                  <a:lnTo>
                    <a:pt x="561" y="895"/>
                  </a:lnTo>
                  <a:lnTo>
                    <a:pt x="561" y="896"/>
                  </a:lnTo>
                  <a:lnTo>
                    <a:pt x="558" y="899"/>
                  </a:lnTo>
                  <a:lnTo>
                    <a:pt x="558" y="901"/>
                  </a:lnTo>
                  <a:lnTo>
                    <a:pt x="553" y="904"/>
                  </a:lnTo>
                  <a:lnTo>
                    <a:pt x="552" y="905"/>
                  </a:lnTo>
                  <a:lnTo>
                    <a:pt x="552" y="907"/>
                  </a:lnTo>
                  <a:lnTo>
                    <a:pt x="552" y="908"/>
                  </a:lnTo>
                  <a:lnTo>
                    <a:pt x="552" y="910"/>
                  </a:lnTo>
                  <a:lnTo>
                    <a:pt x="552" y="917"/>
                  </a:lnTo>
                  <a:lnTo>
                    <a:pt x="552" y="918"/>
                  </a:lnTo>
                  <a:lnTo>
                    <a:pt x="553" y="920"/>
                  </a:lnTo>
                  <a:lnTo>
                    <a:pt x="553" y="921"/>
                  </a:lnTo>
                  <a:lnTo>
                    <a:pt x="555" y="924"/>
                  </a:lnTo>
                  <a:lnTo>
                    <a:pt x="556" y="937"/>
                  </a:lnTo>
                  <a:lnTo>
                    <a:pt x="556" y="946"/>
                  </a:lnTo>
                  <a:lnTo>
                    <a:pt x="556" y="947"/>
                  </a:lnTo>
                  <a:lnTo>
                    <a:pt x="558" y="950"/>
                  </a:lnTo>
                  <a:lnTo>
                    <a:pt x="559" y="953"/>
                  </a:lnTo>
                  <a:lnTo>
                    <a:pt x="561" y="959"/>
                  </a:lnTo>
                  <a:lnTo>
                    <a:pt x="562" y="963"/>
                  </a:lnTo>
                  <a:lnTo>
                    <a:pt x="562" y="968"/>
                  </a:lnTo>
                  <a:lnTo>
                    <a:pt x="561" y="971"/>
                  </a:lnTo>
                  <a:lnTo>
                    <a:pt x="561" y="972"/>
                  </a:lnTo>
                  <a:lnTo>
                    <a:pt x="561" y="974"/>
                  </a:lnTo>
                  <a:lnTo>
                    <a:pt x="559" y="975"/>
                  </a:lnTo>
                  <a:lnTo>
                    <a:pt x="558" y="977"/>
                  </a:lnTo>
                  <a:lnTo>
                    <a:pt x="558" y="977"/>
                  </a:lnTo>
                  <a:lnTo>
                    <a:pt x="552" y="977"/>
                  </a:lnTo>
                  <a:lnTo>
                    <a:pt x="551" y="978"/>
                  </a:lnTo>
                  <a:lnTo>
                    <a:pt x="548" y="981"/>
                  </a:lnTo>
                  <a:lnTo>
                    <a:pt x="545" y="987"/>
                  </a:lnTo>
                  <a:lnTo>
                    <a:pt x="543" y="990"/>
                  </a:lnTo>
                  <a:lnTo>
                    <a:pt x="543" y="993"/>
                  </a:lnTo>
                  <a:lnTo>
                    <a:pt x="543" y="994"/>
                  </a:lnTo>
                  <a:lnTo>
                    <a:pt x="543" y="995"/>
                  </a:lnTo>
                  <a:lnTo>
                    <a:pt x="543" y="995"/>
                  </a:lnTo>
                  <a:lnTo>
                    <a:pt x="545" y="997"/>
                  </a:lnTo>
                  <a:lnTo>
                    <a:pt x="545" y="998"/>
                  </a:lnTo>
                  <a:lnTo>
                    <a:pt x="546" y="1003"/>
                  </a:lnTo>
                  <a:lnTo>
                    <a:pt x="546" y="1014"/>
                  </a:lnTo>
                  <a:lnTo>
                    <a:pt x="553" y="1023"/>
                  </a:lnTo>
                  <a:lnTo>
                    <a:pt x="555" y="1029"/>
                  </a:lnTo>
                  <a:lnTo>
                    <a:pt x="555" y="1045"/>
                  </a:lnTo>
                  <a:lnTo>
                    <a:pt x="555" y="1046"/>
                  </a:lnTo>
                  <a:lnTo>
                    <a:pt x="555" y="1048"/>
                  </a:lnTo>
                  <a:lnTo>
                    <a:pt x="555" y="1049"/>
                  </a:lnTo>
                  <a:lnTo>
                    <a:pt x="553" y="1051"/>
                  </a:lnTo>
                  <a:lnTo>
                    <a:pt x="552" y="1054"/>
                  </a:lnTo>
                  <a:lnTo>
                    <a:pt x="551" y="1055"/>
                  </a:lnTo>
                  <a:lnTo>
                    <a:pt x="551" y="1059"/>
                  </a:lnTo>
                  <a:lnTo>
                    <a:pt x="553" y="1061"/>
                  </a:lnTo>
                  <a:lnTo>
                    <a:pt x="561" y="1064"/>
                  </a:lnTo>
                  <a:lnTo>
                    <a:pt x="559" y="1078"/>
                  </a:lnTo>
                  <a:lnTo>
                    <a:pt x="562" y="1084"/>
                  </a:lnTo>
                  <a:lnTo>
                    <a:pt x="569" y="1090"/>
                  </a:lnTo>
                  <a:lnTo>
                    <a:pt x="571" y="1092"/>
                  </a:lnTo>
                  <a:lnTo>
                    <a:pt x="571" y="1094"/>
                  </a:lnTo>
                  <a:lnTo>
                    <a:pt x="571" y="1097"/>
                  </a:lnTo>
                  <a:lnTo>
                    <a:pt x="572" y="1102"/>
                  </a:lnTo>
                  <a:lnTo>
                    <a:pt x="572" y="1103"/>
                  </a:lnTo>
                  <a:lnTo>
                    <a:pt x="574" y="1105"/>
                  </a:lnTo>
                  <a:lnTo>
                    <a:pt x="588" y="1108"/>
                  </a:lnTo>
                  <a:lnTo>
                    <a:pt x="590" y="1112"/>
                  </a:lnTo>
                  <a:lnTo>
                    <a:pt x="590" y="1113"/>
                  </a:lnTo>
                  <a:lnTo>
                    <a:pt x="584" y="1122"/>
                  </a:lnTo>
                  <a:lnTo>
                    <a:pt x="583" y="1131"/>
                  </a:lnTo>
                  <a:lnTo>
                    <a:pt x="583" y="1134"/>
                  </a:lnTo>
                  <a:lnTo>
                    <a:pt x="583" y="1135"/>
                  </a:lnTo>
                  <a:lnTo>
                    <a:pt x="588" y="1138"/>
                  </a:lnTo>
                  <a:lnTo>
                    <a:pt x="590" y="1140"/>
                  </a:lnTo>
                  <a:lnTo>
                    <a:pt x="591" y="1141"/>
                  </a:lnTo>
                  <a:lnTo>
                    <a:pt x="593" y="1144"/>
                  </a:lnTo>
                  <a:lnTo>
                    <a:pt x="593" y="1147"/>
                  </a:lnTo>
                  <a:lnTo>
                    <a:pt x="593" y="1148"/>
                  </a:lnTo>
                  <a:lnTo>
                    <a:pt x="584" y="1163"/>
                  </a:lnTo>
                  <a:lnTo>
                    <a:pt x="583" y="1167"/>
                  </a:lnTo>
                  <a:lnTo>
                    <a:pt x="572" y="1179"/>
                  </a:lnTo>
                  <a:lnTo>
                    <a:pt x="572" y="1183"/>
                  </a:lnTo>
                  <a:lnTo>
                    <a:pt x="574" y="1188"/>
                  </a:lnTo>
                  <a:lnTo>
                    <a:pt x="567" y="1193"/>
                  </a:lnTo>
                  <a:lnTo>
                    <a:pt x="564" y="1193"/>
                  </a:lnTo>
                  <a:lnTo>
                    <a:pt x="562" y="1188"/>
                  </a:lnTo>
                  <a:lnTo>
                    <a:pt x="559" y="1186"/>
                  </a:lnTo>
                  <a:lnTo>
                    <a:pt x="552" y="1180"/>
                  </a:lnTo>
                  <a:lnTo>
                    <a:pt x="551" y="1179"/>
                  </a:lnTo>
                  <a:lnTo>
                    <a:pt x="549" y="1179"/>
                  </a:lnTo>
                  <a:lnTo>
                    <a:pt x="546" y="1182"/>
                  </a:lnTo>
                  <a:lnTo>
                    <a:pt x="543" y="1183"/>
                  </a:lnTo>
                  <a:lnTo>
                    <a:pt x="540" y="1185"/>
                  </a:lnTo>
                  <a:lnTo>
                    <a:pt x="539" y="1185"/>
                  </a:lnTo>
                  <a:lnTo>
                    <a:pt x="521" y="1177"/>
                  </a:lnTo>
                  <a:lnTo>
                    <a:pt x="519" y="1177"/>
                  </a:lnTo>
                  <a:lnTo>
                    <a:pt x="517" y="1179"/>
                  </a:lnTo>
                  <a:lnTo>
                    <a:pt x="511" y="1180"/>
                  </a:lnTo>
                  <a:lnTo>
                    <a:pt x="498" y="1182"/>
                  </a:lnTo>
                  <a:lnTo>
                    <a:pt x="497" y="1182"/>
                  </a:lnTo>
                  <a:lnTo>
                    <a:pt x="495" y="1180"/>
                  </a:lnTo>
                  <a:lnTo>
                    <a:pt x="495" y="1179"/>
                  </a:lnTo>
                  <a:lnTo>
                    <a:pt x="495" y="1176"/>
                  </a:lnTo>
                  <a:lnTo>
                    <a:pt x="484" y="1170"/>
                  </a:lnTo>
                  <a:lnTo>
                    <a:pt x="482" y="1169"/>
                  </a:lnTo>
                  <a:lnTo>
                    <a:pt x="481" y="1166"/>
                  </a:lnTo>
                  <a:lnTo>
                    <a:pt x="481" y="1163"/>
                  </a:lnTo>
                  <a:lnTo>
                    <a:pt x="478" y="1160"/>
                  </a:lnTo>
                  <a:lnTo>
                    <a:pt x="476" y="1157"/>
                  </a:lnTo>
                  <a:lnTo>
                    <a:pt x="473" y="1154"/>
                  </a:lnTo>
                  <a:lnTo>
                    <a:pt x="456" y="1147"/>
                  </a:lnTo>
                  <a:lnTo>
                    <a:pt x="449" y="1141"/>
                  </a:lnTo>
                  <a:lnTo>
                    <a:pt x="444" y="1141"/>
                  </a:lnTo>
                  <a:lnTo>
                    <a:pt x="441" y="1141"/>
                  </a:lnTo>
                  <a:lnTo>
                    <a:pt x="414" y="1142"/>
                  </a:lnTo>
                  <a:lnTo>
                    <a:pt x="409" y="1147"/>
                  </a:lnTo>
                  <a:lnTo>
                    <a:pt x="406" y="1145"/>
                  </a:lnTo>
                  <a:lnTo>
                    <a:pt x="405" y="1144"/>
                  </a:lnTo>
                  <a:lnTo>
                    <a:pt x="403" y="1142"/>
                  </a:lnTo>
                  <a:lnTo>
                    <a:pt x="402" y="1141"/>
                  </a:lnTo>
                  <a:lnTo>
                    <a:pt x="402" y="1140"/>
                  </a:lnTo>
                  <a:lnTo>
                    <a:pt x="401" y="1135"/>
                  </a:lnTo>
                  <a:lnTo>
                    <a:pt x="401" y="1134"/>
                  </a:lnTo>
                  <a:lnTo>
                    <a:pt x="398" y="1129"/>
                  </a:lnTo>
                  <a:lnTo>
                    <a:pt x="396" y="1128"/>
                  </a:lnTo>
                  <a:lnTo>
                    <a:pt x="395" y="1124"/>
                  </a:lnTo>
                  <a:lnTo>
                    <a:pt x="392" y="1118"/>
                  </a:lnTo>
                  <a:lnTo>
                    <a:pt x="392" y="1113"/>
                  </a:lnTo>
                  <a:lnTo>
                    <a:pt x="392" y="1108"/>
                  </a:lnTo>
                  <a:lnTo>
                    <a:pt x="390" y="1105"/>
                  </a:lnTo>
                  <a:lnTo>
                    <a:pt x="389" y="1103"/>
                  </a:lnTo>
                  <a:lnTo>
                    <a:pt x="383" y="1099"/>
                  </a:lnTo>
                  <a:lnTo>
                    <a:pt x="382" y="1099"/>
                  </a:lnTo>
                  <a:lnTo>
                    <a:pt x="380" y="1097"/>
                  </a:lnTo>
                  <a:lnTo>
                    <a:pt x="373" y="1099"/>
                  </a:lnTo>
                  <a:lnTo>
                    <a:pt x="370" y="1100"/>
                  </a:lnTo>
                  <a:lnTo>
                    <a:pt x="367" y="1100"/>
                  </a:lnTo>
                  <a:lnTo>
                    <a:pt x="361" y="1100"/>
                  </a:lnTo>
                  <a:lnTo>
                    <a:pt x="351" y="1100"/>
                  </a:lnTo>
                  <a:lnTo>
                    <a:pt x="335" y="1099"/>
                  </a:lnTo>
                  <a:lnTo>
                    <a:pt x="333" y="1099"/>
                  </a:lnTo>
                  <a:lnTo>
                    <a:pt x="332" y="1100"/>
                  </a:lnTo>
                  <a:lnTo>
                    <a:pt x="329" y="1103"/>
                  </a:lnTo>
                  <a:lnTo>
                    <a:pt x="328" y="1103"/>
                  </a:lnTo>
                  <a:lnTo>
                    <a:pt x="326" y="1105"/>
                  </a:lnTo>
                  <a:lnTo>
                    <a:pt x="325" y="1105"/>
                  </a:lnTo>
                  <a:lnTo>
                    <a:pt x="306" y="1103"/>
                  </a:lnTo>
                  <a:lnTo>
                    <a:pt x="304" y="1103"/>
                  </a:lnTo>
                  <a:lnTo>
                    <a:pt x="300" y="1100"/>
                  </a:lnTo>
                  <a:lnTo>
                    <a:pt x="299" y="1100"/>
                  </a:lnTo>
                  <a:lnTo>
                    <a:pt x="299" y="1099"/>
                  </a:lnTo>
                  <a:lnTo>
                    <a:pt x="297" y="1097"/>
                  </a:lnTo>
                  <a:lnTo>
                    <a:pt x="297" y="1096"/>
                  </a:lnTo>
                  <a:lnTo>
                    <a:pt x="296" y="1093"/>
                  </a:lnTo>
                  <a:lnTo>
                    <a:pt x="294" y="1086"/>
                  </a:lnTo>
                  <a:lnTo>
                    <a:pt x="294" y="1086"/>
                  </a:lnTo>
                  <a:lnTo>
                    <a:pt x="296" y="1084"/>
                  </a:lnTo>
                  <a:lnTo>
                    <a:pt x="297" y="1084"/>
                  </a:lnTo>
                  <a:lnTo>
                    <a:pt x="297" y="1084"/>
                  </a:lnTo>
                  <a:lnTo>
                    <a:pt x="299" y="1083"/>
                  </a:lnTo>
                  <a:lnTo>
                    <a:pt x="299" y="1080"/>
                  </a:lnTo>
                  <a:lnTo>
                    <a:pt x="299" y="1077"/>
                  </a:lnTo>
                  <a:lnTo>
                    <a:pt x="299" y="1074"/>
                  </a:lnTo>
                  <a:lnTo>
                    <a:pt x="297" y="1073"/>
                  </a:lnTo>
                  <a:lnTo>
                    <a:pt x="296" y="1065"/>
                  </a:lnTo>
                  <a:lnTo>
                    <a:pt x="288" y="1052"/>
                  </a:lnTo>
                  <a:lnTo>
                    <a:pt x="284" y="1049"/>
                  </a:lnTo>
                  <a:lnTo>
                    <a:pt x="277" y="1046"/>
                  </a:lnTo>
                  <a:lnTo>
                    <a:pt x="269" y="1041"/>
                  </a:lnTo>
                  <a:lnTo>
                    <a:pt x="266" y="1038"/>
                  </a:lnTo>
                  <a:lnTo>
                    <a:pt x="265" y="1035"/>
                  </a:lnTo>
                  <a:lnTo>
                    <a:pt x="266" y="1032"/>
                  </a:lnTo>
                  <a:lnTo>
                    <a:pt x="268" y="1030"/>
                  </a:lnTo>
                  <a:lnTo>
                    <a:pt x="269" y="1027"/>
                  </a:lnTo>
                  <a:lnTo>
                    <a:pt x="272" y="1026"/>
                  </a:lnTo>
                  <a:lnTo>
                    <a:pt x="288" y="1025"/>
                  </a:lnTo>
                  <a:lnTo>
                    <a:pt x="297" y="1019"/>
                  </a:lnTo>
                  <a:lnTo>
                    <a:pt x="300" y="1016"/>
                  </a:lnTo>
                  <a:lnTo>
                    <a:pt x="304" y="1010"/>
                  </a:lnTo>
                  <a:lnTo>
                    <a:pt x="307" y="1004"/>
                  </a:lnTo>
                  <a:lnTo>
                    <a:pt x="287" y="974"/>
                  </a:lnTo>
                  <a:lnTo>
                    <a:pt x="277" y="956"/>
                  </a:lnTo>
                  <a:lnTo>
                    <a:pt x="259" y="942"/>
                  </a:lnTo>
                  <a:lnTo>
                    <a:pt x="250" y="939"/>
                  </a:lnTo>
                  <a:lnTo>
                    <a:pt x="218" y="934"/>
                  </a:lnTo>
                  <a:lnTo>
                    <a:pt x="202" y="934"/>
                  </a:lnTo>
                  <a:lnTo>
                    <a:pt x="150" y="927"/>
                  </a:lnTo>
                  <a:lnTo>
                    <a:pt x="140" y="923"/>
                  </a:lnTo>
                  <a:lnTo>
                    <a:pt x="137" y="917"/>
                  </a:lnTo>
                  <a:lnTo>
                    <a:pt x="137" y="912"/>
                  </a:lnTo>
                  <a:lnTo>
                    <a:pt x="138" y="908"/>
                  </a:lnTo>
                  <a:lnTo>
                    <a:pt x="140" y="898"/>
                  </a:lnTo>
                  <a:lnTo>
                    <a:pt x="140" y="895"/>
                  </a:lnTo>
                  <a:lnTo>
                    <a:pt x="140" y="894"/>
                  </a:lnTo>
                  <a:lnTo>
                    <a:pt x="135" y="889"/>
                  </a:lnTo>
                  <a:lnTo>
                    <a:pt x="132" y="880"/>
                  </a:lnTo>
                  <a:lnTo>
                    <a:pt x="131" y="879"/>
                  </a:lnTo>
                  <a:lnTo>
                    <a:pt x="131" y="878"/>
                  </a:lnTo>
                  <a:lnTo>
                    <a:pt x="131" y="876"/>
                  </a:lnTo>
                  <a:lnTo>
                    <a:pt x="131" y="867"/>
                  </a:lnTo>
                  <a:lnTo>
                    <a:pt x="131" y="864"/>
                  </a:lnTo>
                  <a:lnTo>
                    <a:pt x="131" y="863"/>
                  </a:lnTo>
                  <a:lnTo>
                    <a:pt x="130" y="861"/>
                  </a:lnTo>
                  <a:lnTo>
                    <a:pt x="128" y="861"/>
                  </a:lnTo>
                  <a:lnTo>
                    <a:pt x="127" y="859"/>
                  </a:lnTo>
                  <a:lnTo>
                    <a:pt x="124" y="854"/>
                  </a:lnTo>
                  <a:lnTo>
                    <a:pt x="121" y="845"/>
                  </a:lnTo>
                  <a:lnTo>
                    <a:pt x="119" y="841"/>
                  </a:lnTo>
                  <a:lnTo>
                    <a:pt x="119" y="837"/>
                  </a:lnTo>
                  <a:lnTo>
                    <a:pt x="119" y="835"/>
                  </a:lnTo>
                  <a:lnTo>
                    <a:pt x="121" y="835"/>
                  </a:lnTo>
                  <a:lnTo>
                    <a:pt x="122" y="834"/>
                  </a:lnTo>
                  <a:lnTo>
                    <a:pt x="124" y="834"/>
                  </a:lnTo>
                  <a:lnTo>
                    <a:pt x="124" y="835"/>
                  </a:lnTo>
                  <a:lnTo>
                    <a:pt x="127" y="837"/>
                  </a:lnTo>
                  <a:lnTo>
                    <a:pt x="128" y="837"/>
                  </a:lnTo>
                  <a:lnTo>
                    <a:pt x="130" y="837"/>
                  </a:lnTo>
                  <a:lnTo>
                    <a:pt x="131" y="835"/>
                  </a:lnTo>
                  <a:lnTo>
                    <a:pt x="132" y="834"/>
                  </a:lnTo>
                  <a:lnTo>
                    <a:pt x="132" y="832"/>
                  </a:lnTo>
                  <a:lnTo>
                    <a:pt x="132" y="829"/>
                  </a:lnTo>
                  <a:lnTo>
                    <a:pt x="131" y="824"/>
                  </a:lnTo>
                  <a:lnTo>
                    <a:pt x="130" y="822"/>
                  </a:lnTo>
                  <a:lnTo>
                    <a:pt x="128" y="821"/>
                  </a:lnTo>
                  <a:lnTo>
                    <a:pt x="124" y="821"/>
                  </a:lnTo>
                  <a:lnTo>
                    <a:pt x="112" y="816"/>
                  </a:lnTo>
                  <a:lnTo>
                    <a:pt x="108" y="812"/>
                  </a:lnTo>
                  <a:lnTo>
                    <a:pt x="99" y="812"/>
                  </a:lnTo>
                  <a:lnTo>
                    <a:pt x="97" y="811"/>
                  </a:lnTo>
                  <a:lnTo>
                    <a:pt x="95" y="811"/>
                  </a:lnTo>
                  <a:lnTo>
                    <a:pt x="87" y="805"/>
                  </a:lnTo>
                  <a:lnTo>
                    <a:pt x="84" y="803"/>
                  </a:lnTo>
                  <a:lnTo>
                    <a:pt x="81" y="803"/>
                  </a:lnTo>
                  <a:lnTo>
                    <a:pt x="49" y="803"/>
                  </a:lnTo>
                  <a:lnTo>
                    <a:pt x="45" y="800"/>
                  </a:lnTo>
                  <a:lnTo>
                    <a:pt x="35" y="783"/>
                  </a:lnTo>
                  <a:lnTo>
                    <a:pt x="35" y="770"/>
                  </a:lnTo>
                  <a:lnTo>
                    <a:pt x="35" y="767"/>
                  </a:lnTo>
                  <a:lnTo>
                    <a:pt x="33" y="761"/>
                  </a:lnTo>
                  <a:lnTo>
                    <a:pt x="32" y="760"/>
                  </a:lnTo>
                  <a:lnTo>
                    <a:pt x="30" y="758"/>
                  </a:lnTo>
                  <a:lnTo>
                    <a:pt x="26" y="754"/>
                  </a:lnTo>
                  <a:lnTo>
                    <a:pt x="26" y="754"/>
                  </a:lnTo>
                  <a:lnTo>
                    <a:pt x="23" y="748"/>
                  </a:lnTo>
                  <a:lnTo>
                    <a:pt x="22" y="744"/>
                  </a:lnTo>
                  <a:lnTo>
                    <a:pt x="20" y="742"/>
                  </a:lnTo>
                  <a:lnTo>
                    <a:pt x="19" y="736"/>
                  </a:lnTo>
                  <a:lnTo>
                    <a:pt x="19" y="735"/>
                  </a:lnTo>
                  <a:lnTo>
                    <a:pt x="17" y="732"/>
                  </a:lnTo>
                  <a:lnTo>
                    <a:pt x="16" y="732"/>
                  </a:lnTo>
                  <a:lnTo>
                    <a:pt x="14" y="730"/>
                  </a:lnTo>
                  <a:lnTo>
                    <a:pt x="12" y="729"/>
                  </a:lnTo>
                  <a:lnTo>
                    <a:pt x="10" y="726"/>
                  </a:lnTo>
                  <a:lnTo>
                    <a:pt x="9" y="726"/>
                  </a:lnTo>
                  <a:lnTo>
                    <a:pt x="7" y="723"/>
                  </a:lnTo>
                  <a:lnTo>
                    <a:pt x="6" y="722"/>
                  </a:lnTo>
                  <a:lnTo>
                    <a:pt x="6" y="720"/>
                  </a:lnTo>
                  <a:lnTo>
                    <a:pt x="4" y="719"/>
                  </a:lnTo>
                  <a:lnTo>
                    <a:pt x="4" y="712"/>
                  </a:lnTo>
                  <a:lnTo>
                    <a:pt x="3" y="710"/>
                  </a:lnTo>
                  <a:lnTo>
                    <a:pt x="3" y="709"/>
                  </a:lnTo>
                  <a:lnTo>
                    <a:pt x="3" y="707"/>
                  </a:lnTo>
                  <a:lnTo>
                    <a:pt x="4" y="693"/>
                  </a:lnTo>
                  <a:lnTo>
                    <a:pt x="4" y="684"/>
                  </a:lnTo>
                  <a:lnTo>
                    <a:pt x="4" y="682"/>
                  </a:lnTo>
                  <a:lnTo>
                    <a:pt x="6" y="681"/>
                  </a:lnTo>
                  <a:lnTo>
                    <a:pt x="12" y="679"/>
                  </a:lnTo>
                  <a:lnTo>
                    <a:pt x="12" y="678"/>
                  </a:lnTo>
                  <a:lnTo>
                    <a:pt x="13" y="677"/>
                  </a:lnTo>
                  <a:lnTo>
                    <a:pt x="14" y="674"/>
                  </a:lnTo>
                  <a:lnTo>
                    <a:pt x="16" y="672"/>
                  </a:lnTo>
                  <a:lnTo>
                    <a:pt x="17" y="671"/>
                  </a:lnTo>
                  <a:lnTo>
                    <a:pt x="20" y="671"/>
                  </a:lnTo>
                  <a:lnTo>
                    <a:pt x="20" y="669"/>
                  </a:lnTo>
                  <a:lnTo>
                    <a:pt x="22" y="668"/>
                  </a:lnTo>
                  <a:lnTo>
                    <a:pt x="23" y="665"/>
                  </a:lnTo>
                  <a:lnTo>
                    <a:pt x="23" y="663"/>
                  </a:lnTo>
                  <a:lnTo>
                    <a:pt x="25" y="663"/>
                  </a:lnTo>
                  <a:lnTo>
                    <a:pt x="25" y="662"/>
                  </a:lnTo>
                  <a:lnTo>
                    <a:pt x="25" y="661"/>
                  </a:lnTo>
                  <a:lnTo>
                    <a:pt x="25" y="658"/>
                  </a:lnTo>
                  <a:lnTo>
                    <a:pt x="23" y="649"/>
                  </a:lnTo>
                  <a:lnTo>
                    <a:pt x="23" y="647"/>
                  </a:lnTo>
                  <a:lnTo>
                    <a:pt x="22" y="646"/>
                  </a:lnTo>
                  <a:lnTo>
                    <a:pt x="16" y="642"/>
                  </a:lnTo>
                  <a:lnTo>
                    <a:pt x="16" y="640"/>
                  </a:lnTo>
                  <a:lnTo>
                    <a:pt x="14" y="640"/>
                  </a:lnTo>
                  <a:lnTo>
                    <a:pt x="16" y="634"/>
                  </a:lnTo>
                  <a:lnTo>
                    <a:pt x="17" y="629"/>
                  </a:lnTo>
                  <a:lnTo>
                    <a:pt x="19" y="627"/>
                  </a:lnTo>
                  <a:lnTo>
                    <a:pt x="20" y="626"/>
                  </a:lnTo>
                  <a:lnTo>
                    <a:pt x="25" y="624"/>
                  </a:lnTo>
                  <a:lnTo>
                    <a:pt x="26" y="623"/>
                  </a:lnTo>
                  <a:lnTo>
                    <a:pt x="26" y="621"/>
                  </a:lnTo>
                  <a:lnTo>
                    <a:pt x="26" y="620"/>
                  </a:lnTo>
                  <a:lnTo>
                    <a:pt x="25" y="620"/>
                  </a:lnTo>
                  <a:lnTo>
                    <a:pt x="23" y="621"/>
                  </a:lnTo>
                  <a:lnTo>
                    <a:pt x="20" y="621"/>
                  </a:lnTo>
                  <a:lnTo>
                    <a:pt x="19" y="620"/>
                  </a:lnTo>
                  <a:lnTo>
                    <a:pt x="17" y="617"/>
                  </a:lnTo>
                  <a:lnTo>
                    <a:pt x="16" y="615"/>
                  </a:lnTo>
                  <a:lnTo>
                    <a:pt x="7" y="611"/>
                  </a:lnTo>
                  <a:lnTo>
                    <a:pt x="7" y="607"/>
                  </a:lnTo>
                  <a:lnTo>
                    <a:pt x="6" y="605"/>
                  </a:lnTo>
                  <a:lnTo>
                    <a:pt x="6" y="604"/>
                  </a:lnTo>
                  <a:lnTo>
                    <a:pt x="1" y="598"/>
                  </a:lnTo>
                  <a:lnTo>
                    <a:pt x="0" y="596"/>
                  </a:lnTo>
                  <a:lnTo>
                    <a:pt x="0" y="596"/>
                  </a:lnTo>
                  <a:lnTo>
                    <a:pt x="0" y="596"/>
                  </a:lnTo>
                  <a:lnTo>
                    <a:pt x="0" y="595"/>
                  </a:lnTo>
                  <a:lnTo>
                    <a:pt x="0" y="594"/>
                  </a:lnTo>
                  <a:lnTo>
                    <a:pt x="1" y="592"/>
                  </a:lnTo>
                  <a:lnTo>
                    <a:pt x="4" y="591"/>
                  </a:lnTo>
                  <a:lnTo>
                    <a:pt x="14" y="592"/>
                  </a:lnTo>
                  <a:lnTo>
                    <a:pt x="16" y="592"/>
                  </a:lnTo>
                  <a:lnTo>
                    <a:pt x="19" y="591"/>
                  </a:lnTo>
                  <a:lnTo>
                    <a:pt x="23" y="588"/>
                  </a:lnTo>
                  <a:lnTo>
                    <a:pt x="26" y="583"/>
                  </a:lnTo>
                  <a:lnTo>
                    <a:pt x="29" y="580"/>
                  </a:lnTo>
                  <a:lnTo>
                    <a:pt x="29" y="579"/>
                  </a:lnTo>
                  <a:lnTo>
                    <a:pt x="29" y="578"/>
                  </a:lnTo>
                  <a:lnTo>
                    <a:pt x="29" y="576"/>
                  </a:lnTo>
                  <a:lnTo>
                    <a:pt x="29" y="575"/>
                  </a:lnTo>
                  <a:lnTo>
                    <a:pt x="29" y="573"/>
                  </a:lnTo>
                  <a:lnTo>
                    <a:pt x="32" y="572"/>
                  </a:lnTo>
                  <a:lnTo>
                    <a:pt x="51" y="569"/>
                  </a:lnTo>
                  <a:lnTo>
                    <a:pt x="97" y="569"/>
                  </a:lnTo>
                  <a:lnTo>
                    <a:pt x="106" y="564"/>
                  </a:lnTo>
                  <a:lnTo>
                    <a:pt x="114" y="564"/>
                  </a:lnTo>
                  <a:lnTo>
                    <a:pt x="131" y="564"/>
                  </a:lnTo>
                  <a:lnTo>
                    <a:pt x="134" y="564"/>
                  </a:lnTo>
                  <a:lnTo>
                    <a:pt x="135" y="564"/>
                  </a:lnTo>
                  <a:lnTo>
                    <a:pt x="137" y="563"/>
                  </a:lnTo>
                  <a:lnTo>
                    <a:pt x="138" y="563"/>
                  </a:lnTo>
                  <a:lnTo>
                    <a:pt x="138" y="560"/>
                  </a:lnTo>
                  <a:lnTo>
                    <a:pt x="140" y="559"/>
                  </a:lnTo>
                  <a:lnTo>
                    <a:pt x="140" y="554"/>
                  </a:lnTo>
                  <a:lnTo>
                    <a:pt x="140" y="551"/>
                  </a:lnTo>
                  <a:lnTo>
                    <a:pt x="138" y="550"/>
                  </a:lnTo>
                  <a:lnTo>
                    <a:pt x="138" y="550"/>
                  </a:lnTo>
                  <a:lnTo>
                    <a:pt x="132" y="546"/>
                  </a:lnTo>
                  <a:lnTo>
                    <a:pt x="132" y="544"/>
                  </a:lnTo>
                  <a:lnTo>
                    <a:pt x="131" y="544"/>
                  </a:lnTo>
                  <a:lnTo>
                    <a:pt x="131" y="543"/>
                  </a:lnTo>
                  <a:lnTo>
                    <a:pt x="132" y="541"/>
                  </a:lnTo>
                  <a:lnTo>
                    <a:pt x="132" y="540"/>
                  </a:lnTo>
                  <a:lnTo>
                    <a:pt x="135" y="538"/>
                  </a:lnTo>
                  <a:lnTo>
                    <a:pt x="147" y="534"/>
                  </a:lnTo>
                  <a:lnTo>
                    <a:pt x="154" y="530"/>
                  </a:lnTo>
                  <a:lnTo>
                    <a:pt x="163" y="522"/>
                  </a:lnTo>
                  <a:lnTo>
                    <a:pt x="164" y="521"/>
                  </a:lnTo>
                  <a:lnTo>
                    <a:pt x="166" y="518"/>
                  </a:lnTo>
                  <a:lnTo>
                    <a:pt x="169" y="514"/>
                  </a:lnTo>
                  <a:lnTo>
                    <a:pt x="170" y="511"/>
                  </a:lnTo>
                  <a:lnTo>
                    <a:pt x="170" y="508"/>
                  </a:lnTo>
                  <a:lnTo>
                    <a:pt x="169" y="502"/>
                  </a:lnTo>
                  <a:lnTo>
                    <a:pt x="167" y="500"/>
                  </a:lnTo>
                  <a:lnTo>
                    <a:pt x="166" y="499"/>
                  </a:lnTo>
                  <a:lnTo>
                    <a:pt x="164" y="499"/>
                  </a:lnTo>
                  <a:lnTo>
                    <a:pt x="163" y="499"/>
                  </a:lnTo>
                  <a:lnTo>
                    <a:pt x="162" y="499"/>
                  </a:lnTo>
                  <a:lnTo>
                    <a:pt x="160" y="497"/>
                  </a:lnTo>
                  <a:lnTo>
                    <a:pt x="159" y="497"/>
                  </a:lnTo>
                  <a:lnTo>
                    <a:pt x="159" y="496"/>
                  </a:lnTo>
                  <a:lnTo>
                    <a:pt x="157" y="495"/>
                  </a:lnTo>
                  <a:lnTo>
                    <a:pt x="156" y="492"/>
                  </a:lnTo>
                  <a:lnTo>
                    <a:pt x="156" y="490"/>
                  </a:lnTo>
                  <a:lnTo>
                    <a:pt x="157" y="487"/>
                  </a:lnTo>
                  <a:lnTo>
                    <a:pt x="160" y="481"/>
                  </a:lnTo>
                  <a:lnTo>
                    <a:pt x="162" y="479"/>
                  </a:lnTo>
                  <a:lnTo>
                    <a:pt x="163" y="477"/>
                  </a:lnTo>
                  <a:lnTo>
                    <a:pt x="170" y="474"/>
                  </a:lnTo>
                  <a:lnTo>
                    <a:pt x="175" y="474"/>
                  </a:lnTo>
                  <a:lnTo>
                    <a:pt x="176" y="473"/>
                  </a:lnTo>
                  <a:lnTo>
                    <a:pt x="178" y="471"/>
                  </a:lnTo>
                  <a:lnTo>
                    <a:pt x="179" y="470"/>
                  </a:lnTo>
                  <a:lnTo>
                    <a:pt x="179" y="468"/>
                  </a:lnTo>
                  <a:lnTo>
                    <a:pt x="179" y="467"/>
                  </a:lnTo>
                  <a:lnTo>
                    <a:pt x="179" y="461"/>
                  </a:lnTo>
                  <a:lnTo>
                    <a:pt x="179" y="460"/>
                  </a:lnTo>
                  <a:lnTo>
                    <a:pt x="179" y="458"/>
                  </a:lnTo>
                  <a:lnTo>
                    <a:pt x="176" y="455"/>
                  </a:lnTo>
                  <a:lnTo>
                    <a:pt x="176" y="455"/>
                  </a:lnTo>
                  <a:lnTo>
                    <a:pt x="175" y="455"/>
                  </a:lnTo>
                  <a:lnTo>
                    <a:pt x="175" y="457"/>
                  </a:lnTo>
                  <a:lnTo>
                    <a:pt x="175" y="458"/>
                  </a:lnTo>
                  <a:lnTo>
                    <a:pt x="173" y="458"/>
                  </a:lnTo>
                  <a:lnTo>
                    <a:pt x="173" y="460"/>
                  </a:lnTo>
                  <a:lnTo>
                    <a:pt x="172" y="460"/>
                  </a:lnTo>
                  <a:lnTo>
                    <a:pt x="172" y="458"/>
                  </a:lnTo>
                  <a:lnTo>
                    <a:pt x="172" y="455"/>
                  </a:lnTo>
                  <a:lnTo>
                    <a:pt x="172" y="451"/>
                  </a:lnTo>
                  <a:lnTo>
                    <a:pt x="170" y="449"/>
                  </a:lnTo>
                  <a:lnTo>
                    <a:pt x="169" y="449"/>
                  </a:lnTo>
                  <a:lnTo>
                    <a:pt x="166" y="449"/>
                  </a:lnTo>
                  <a:lnTo>
                    <a:pt x="164" y="449"/>
                  </a:lnTo>
                  <a:lnTo>
                    <a:pt x="164" y="448"/>
                  </a:lnTo>
                  <a:lnTo>
                    <a:pt x="163" y="445"/>
                  </a:lnTo>
                  <a:lnTo>
                    <a:pt x="162" y="444"/>
                  </a:lnTo>
                  <a:lnTo>
                    <a:pt x="159" y="442"/>
                  </a:lnTo>
                  <a:lnTo>
                    <a:pt x="154" y="435"/>
                  </a:lnTo>
                  <a:lnTo>
                    <a:pt x="154" y="433"/>
                  </a:lnTo>
                  <a:lnTo>
                    <a:pt x="156" y="432"/>
                  </a:lnTo>
                  <a:lnTo>
                    <a:pt x="157" y="431"/>
                  </a:lnTo>
                  <a:lnTo>
                    <a:pt x="160" y="428"/>
                  </a:lnTo>
                  <a:lnTo>
                    <a:pt x="162" y="426"/>
                  </a:lnTo>
                  <a:lnTo>
                    <a:pt x="162" y="425"/>
                  </a:lnTo>
                  <a:lnTo>
                    <a:pt x="160" y="422"/>
                  </a:lnTo>
                  <a:lnTo>
                    <a:pt x="159" y="420"/>
                  </a:lnTo>
                  <a:lnTo>
                    <a:pt x="159" y="420"/>
                  </a:lnTo>
                  <a:lnTo>
                    <a:pt x="159" y="419"/>
                  </a:lnTo>
                  <a:lnTo>
                    <a:pt x="159" y="417"/>
                  </a:lnTo>
                  <a:lnTo>
                    <a:pt x="157" y="416"/>
                  </a:lnTo>
                  <a:lnTo>
                    <a:pt x="157" y="416"/>
                  </a:lnTo>
                  <a:lnTo>
                    <a:pt x="157" y="414"/>
                  </a:lnTo>
                  <a:lnTo>
                    <a:pt x="154" y="413"/>
                  </a:lnTo>
                  <a:lnTo>
                    <a:pt x="151" y="412"/>
                  </a:lnTo>
                  <a:lnTo>
                    <a:pt x="150" y="412"/>
                  </a:lnTo>
                  <a:lnTo>
                    <a:pt x="150" y="410"/>
                  </a:lnTo>
                  <a:lnTo>
                    <a:pt x="150" y="409"/>
                  </a:lnTo>
                  <a:lnTo>
                    <a:pt x="150" y="406"/>
                  </a:lnTo>
                  <a:lnTo>
                    <a:pt x="150" y="404"/>
                  </a:lnTo>
                  <a:lnTo>
                    <a:pt x="150" y="404"/>
                  </a:lnTo>
                  <a:lnTo>
                    <a:pt x="150" y="403"/>
                  </a:lnTo>
                  <a:lnTo>
                    <a:pt x="153" y="401"/>
                  </a:lnTo>
                  <a:lnTo>
                    <a:pt x="156" y="400"/>
                  </a:lnTo>
                  <a:lnTo>
                    <a:pt x="166" y="398"/>
                  </a:lnTo>
                  <a:lnTo>
                    <a:pt x="172" y="397"/>
                  </a:lnTo>
                  <a:lnTo>
                    <a:pt x="173" y="396"/>
                  </a:lnTo>
                  <a:lnTo>
                    <a:pt x="173" y="394"/>
                  </a:lnTo>
                  <a:lnTo>
                    <a:pt x="175" y="391"/>
                  </a:lnTo>
                  <a:lnTo>
                    <a:pt x="175" y="388"/>
                  </a:lnTo>
                  <a:lnTo>
                    <a:pt x="175" y="387"/>
                  </a:lnTo>
                  <a:lnTo>
                    <a:pt x="173" y="384"/>
                  </a:lnTo>
                  <a:lnTo>
                    <a:pt x="173" y="382"/>
                  </a:lnTo>
                  <a:lnTo>
                    <a:pt x="163" y="374"/>
                  </a:lnTo>
                  <a:lnTo>
                    <a:pt x="159" y="372"/>
                  </a:lnTo>
                  <a:lnTo>
                    <a:pt x="157" y="372"/>
                  </a:lnTo>
                  <a:lnTo>
                    <a:pt x="154" y="371"/>
                  </a:lnTo>
                  <a:lnTo>
                    <a:pt x="153" y="369"/>
                  </a:lnTo>
                  <a:lnTo>
                    <a:pt x="128" y="336"/>
                  </a:lnTo>
                  <a:lnTo>
                    <a:pt x="130" y="330"/>
                  </a:lnTo>
                  <a:lnTo>
                    <a:pt x="130" y="327"/>
                  </a:lnTo>
                  <a:lnTo>
                    <a:pt x="130" y="326"/>
                  </a:lnTo>
                  <a:lnTo>
                    <a:pt x="131" y="324"/>
                  </a:lnTo>
                  <a:lnTo>
                    <a:pt x="131" y="324"/>
                  </a:lnTo>
                  <a:lnTo>
                    <a:pt x="131" y="323"/>
                  </a:lnTo>
                  <a:lnTo>
                    <a:pt x="131" y="321"/>
                  </a:lnTo>
                  <a:lnTo>
                    <a:pt x="131" y="320"/>
                  </a:lnTo>
                  <a:lnTo>
                    <a:pt x="132" y="318"/>
                  </a:lnTo>
                  <a:lnTo>
                    <a:pt x="132" y="317"/>
                  </a:lnTo>
                  <a:lnTo>
                    <a:pt x="134" y="317"/>
                  </a:lnTo>
                  <a:lnTo>
                    <a:pt x="137" y="315"/>
                  </a:lnTo>
                  <a:lnTo>
                    <a:pt x="138" y="314"/>
                  </a:lnTo>
                  <a:lnTo>
                    <a:pt x="140" y="314"/>
                  </a:lnTo>
                  <a:lnTo>
                    <a:pt x="141" y="314"/>
                  </a:lnTo>
                  <a:lnTo>
                    <a:pt x="147" y="315"/>
                  </a:lnTo>
                  <a:lnTo>
                    <a:pt x="150" y="315"/>
                  </a:lnTo>
                  <a:lnTo>
                    <a:pt x="150" y="315"/>
                  </a:lnTo>
                  <a:lnTo>
                    <a:pt x="150" y="313"/>
                  </a:lnTo>
                  <a:lnTo>
                    <a:pt x="147" y="310"/>
                  </a:lnTo>
                  <a:lnTo>
                    <a:pt x="138" y="294"/>
                  </a:lnTo>
                  <a:lnTo>
                    <a:pt x="137" y="292"/>
                  </a:lnTo>
                  <a:lnTo>
                    <a:pt x="135" y="292"/>
                  </a:lnTo>
                  <a:lnTo>
                    <a:pt x="134" y="289"/>
                  </a:lnTo>
                  <a:lnTo>
                    <a:pt x="134" y="288"/>
                  </a:lnTo>
                  <a:lnTo>
                    <a:pt x="132" y="286"/>
                  </a:lnTo>
                  <a:lnTo>
                    <a:pt x="132" y="283"/>
                  </a:lnTo>
                  <a:lnTo>
                    <a:pt x="131" y="278"/>
                  </a:lnTo>
                  <a:lnTo>
                    <a:pt x="131" y="276"/>
                  </a:lnTo>
                  <a:lnTo>
                    <a:pt x="131" y="266"/>
                  </a:lnTo>
                  <a:lnTo>
                    <a:pt x="131" y="265"/>
                  </a:lnTo>
                  <a:lnTo>
                    <a:pt x="131" y="263"/>
                  </a:lnTo>
                  <a:lnTo>
                    <a:pt x="132" y="262"/>
                  </a:lnTo>
                  <a:lnTo>
                    <a:pt x="132" y="262"/>
                  </a:lnTo>
                  <a:lnTo>
                    <a:pt x="138" y="254"/>
                  </a:lnTo>
                  <a:lnTo>
                    <a:pt x="141" y="253"/>
                  </a:lnTo>
                  <a:lnTo>
                    <a:pt x="141" y="251"/>
                  </a:lnTo>
                  <a:lnTo>
                    <a:pt x="141" y="250"/>
                  </a:lnTo>
                  <a:lnTo>
                    <a:pt x="141" y="249"/>
                  </a:lnTo>
                  <a:lnTo>
                    <a:pt x="140" y="246"/>
                  </a:lnTo>
                  <a:lnTo>
                    <a:pt x="137" y="244"/>
                  </a:lnTo>
                  <a:lnTo>
                    <a:pt x="135" y="244"/>
                  </a:lnTo>
                  <a:lnTo>
                    <a:pt x="132" y="244"/>
                  </a:lnTo>
                  <a:lnTo>
                    <a:pt x="132" y="246"/>
                  </a:lnTo>
                  <a:lnTo>
                    <a:pt x="128" y="250"/>
                  </a:lnTo>
                  <a:lnTo>
                    <a:pt x="127" y="250"/>
                  </a:lnTo>
                  <a:lnTo>
                    <a:pt x="125" y="249"/>
                  </a:lnTo>
                  <a:lnTo>
                    <a:pt x="122" y="246"/>
                  </a:lnTo>
                  <a:lnTo>
                    <a:pt x="109" y="228"/>
                  </a:lnTo>
                  <a:lnTo>
                    <a:pt x="96" y="202"/>
                  </a:lnTo>
                  <a:lnTo>
                    <a:pt x="93" y="195"/>
                  </a:lnTo>
                  <a:lnTo>
                    <a:pt x="90" y="192"/>
                  </a:lnTo>
                  <a:lnTo>
                    <a:pt x="87" y="190"/>
                  </a:lnTo>
                  <a:lnTo>
                    <a:pt x="84" y="190"/>
                  </a:lnTo>
                  <a:lnTo>
                    <a:pt x="81" y="190"/>
                  </a:lnTo>
                  <a:lnTo>
                    <a:pt x="80" y="187"/>
                  </a:lnTo>
                  <a:lnTo>
                    <a:pt x="79" y="180"/>
                  </a:lnTo>
                  <a:lnTo>
                    <a:pt x="79" y="177"/>
                  </a:lnTo>
                  <a:lnTo>
                    <a:pt x="79" y="173"/>
                  </a:lnTo>
                  <a:lnTo>
                    <a:pt x="77" y="171"/>
                  </a:lnTo>
                  <a:lnTo>
                    <a:pt x="73" y="167"/>
                  </a:lnTo>
                  <a:lnTo>
                    <a:pt x="71" y="164"/>
                  </a:lnTo>
                  <a:lnTo>
                    <a:pt x="67" y="155"/>
                  </a:lnTo>
                  <a:lnTo>
                    <a:pt x="65" y="154"/>
                  </a:lnTo>
                  <a:lnTo>
                    <a:pt x="65" y="152"/>
                  </a:lnTo>
                  <a:lnTo>
                    <a:pt x="65" y="151"/>
                  </a:lnTo>
                  <a:lnTo>
                    <a:pt x="65" y="150"/>
                  </a:lnTo>
                  <a:lnTo>
                    <a:pt x="65" y="147"/>
                  </a:lnTo>
                  <a:lnTo>
                    <a:pt x="67" y="142"/>
                  </a:lnTo>
                  <a:lnTo>
                    <a:pt x="67" y="141"/>
                  </a:lnTo>
                  <a:lnTo>
                    <a:pt x="67" y="139"/>
                  </a:lnTo>
                  <a:lnTo>
                    <a:pt x="65" y="136"/>
                  </a:lnTo>
                  <a:lnTo>
                    <a:pt x="65" y="133"/>
                  </a:lnTo>
                  <a:lnTo>
                    <a:pt x="65" y="132"/>
                  </a:lnTo>
                  <a:lnTo>
                    <a:pt x="65" y="131"/>
                  </a:lnTo>
                  <a:lnTo>
                    <a:pt x="67" y="128"/>
                  </a:lnTo>
                  <a:lnTo>
                    <a:pt x="67" y="126"/>
                  </a:lnTo>
                  <a:lnTo>
                    <a:pt x="65" y="123"/>
                  </a:lnTo>
                  <a:lnTo>
                    <a:pt x="67" y="120"/>
                  </a:lnTo>
                  <a:lnTo>
                    <a:pt x="79" y="116"/>
                  </a:lnTo>
                  <a:lnTo>
                    <a:pt x="95" y="115"/>
                  </a:lnTo>
                  <a:lnTo>
                    <a:pt x="109" y="116"/>
                  </a:lnTo>
                  <a:lnTo>
                    <a:pt x="115" y="115"/>
                  </a:lnTo>
                  <a:lnTo>
                    <a:pt x="119" y="112"/>
                  </a:lnTo>
                  <a:lnTo>
                    <a:pt x="130" y="109"/>
                  </a:lnTo>
                  <a:lnTo>
                    <a:pt x="135" y="106"/>
                  </a:lnTo>
                  <a:lnTo>
                    <a:pt x="140" y="101"/>
                  </a:lnTo>
                  <a:lnTo>
                    <a:pt x="146" y="96"/>
                  </a:lnTo>
                  <a:lnTo>
                    <a:pt x="147" y="94"/>
                  </a:lnTo>
                  <a:lnTo>
                    <a:pt x="147" y="94"/>
                  </a:lnTo>
                  <a:lnTo>
                    <a:pt x="147" y="93"/>
                  </a:lnTo>
                  <a:lnTo>
                    <a:pt x="147" y="90"/>
                  </a:lnTo>
                  <a:lnTo>
                    <a:pt x="147" y="88"/>
                  </a:lnTo>
                  <a:lnTo>
                    <a:pt x="148" y="87"/>
                  </a:lnTo>
                  <a:lnTo>
                    <a:pt x="148" y="84"/>
                  </a:lnTo>
                  <a:lnTo>
                    <a:pt x="148" y="83"/>
                  </a:lnTo>
                  <a:lnTo>
                    <a:pt x="148" y="83"/>
                  </a:lnTo>
                  <a:lnTo>
                    <a:pt x="150" y="81"/>
                  </a:lnTo>
                  <a:lnTo>
                    <a:pt x="150" y="81"/>
                  </a:lnTo>
                  <a:lnTo>
                    <a:pt x="150" y="81"/>
                  </a:lnTo>
                  <a:lnTo>
                    <a:pt x="154" y="78"/>
                  </a:lnTo>
                  <a:lnTo>
                    <a:pt x="162" y="78"/>
                  </a:lnTo>
                  <a:lnTo>
                    <a:pt x="167" y="78"/>
                  </a:lnTo>
                  <a:lnTo>
                    <a:pt x="178" y="81"/>
                  </a:lnTo>
                  <a:lnTo>
                    <a:pt x="183" y="84"/>
                  </a:lnTo>
                  <a:lnTo>
                    <a:pt x="186" y="85"/>
                  </a:lnTo>
                  <a:lnTo>
                    <a:pt x="207" y="84"/>
                  </a:lnTo>
                  <a:lnTo>
                    <a:pt x="224" y="87"/>
                  </a:lnTo>
                  <a:lnTo>
                    <a:pt x="226" y="87"/>
                  </a:lnTo>
                  <a:lnTo>
                    <a:pt x="226" y="88"/>
                  </a:lnTo>
                  <a:lnTo>
                    <a:pt x="227" y="90"/>
                  </a:lnTo>
                  <a:lnTo>
                    <a:pt x="229" y="91"/>
                  </a:lnTo>
                  <a:lnTo>
                    <a:pt x="233" y="93"/>
                  </a:lnTo>
                  <a:lnTo>
                    <a:pt x="233" y="93"/>
                  </a:lnTo>
                  <a:lnTo>
                    <a:pt x="234" y="94"/>
                  </a:lnTo>
                  <a:lnTo>
                    <a:pt x="234" y="96"/>
                  </a:lnTo>
                  <a:lnTo>
                    <a:pt x="236" y="97"/>
                  </a:lnTo>
                  <a:lnTo>
                    <a:pt x="236" y="99"/>
                  </a:lnTo>
                  <a:lnTo>
                    <a:pt x="237" y="99"/>
                  </a:lnTo>
                  <a:lnTo>
                    <a:pt x="237" y="99"/>
                  </a:lnTo>
                  <a:lnTo>
                    <a:pt x="239" y="99"/>
                  </a:lnTo>
                  <a:lnTo>
                    <a:pt x="242" y="99"/>
                  </a:lnTo>
                  <a:lnTo>
                    <a:pt x="245" y="96"/>
                  </a:lnTo>
                  <a:lnTo>
                    <a:pt x="246" y="94"/>
                  </a:lnTo>
                  <a:lnTo>
                    <a:pt x="249" y="94"/>
                  </a:lnTo>
                  <a:lnTo>
                    <a:pt x="250" y="96"/>
                  </a:lnTo>
                  <a:lnTo>
                    <a:pt x="258" y="94"/>
                  </a:lnTo>
                  <a:lnTo>
                    <a:pt x="280" y="85"/>
                  </a:lnTo>
                  <a:lnTo>
                    <a:pt x="291" y="83"/>
                  </a:lnTo>
                  <a:lnTo>
                    <a:pt x="293" y="81"/>
                  </a:lnTo>
                  <a:lnTo>
                    <a:pt x="313" y="62"/>
                  </a:lnTo>
                  <a:lnTo>
                    <a:pt x="316" y="62"/>
                  </a:lnTo>
                  <a:lnTo>
                    <a:pt x="323" y="61"/>
                  </a:lnTo>
                  <a:lnTo>
                    <a:pt x="323" y="61"/>
                  </a:lnTo>
                  <a:lnTo>
                    <a:pt x="325" y="61"/>
                  </a:lnTo>
                  <a:lnTo>
                    <a:pt x="323" y="56"/>
                  </a:lnTo>
                  <a:lnTo>
                    <a:pt x="323" y="53"/>
                  </a:lnTo>
                  <a:lnTo>
                    <a:pt x="322" y="51"/>
                  </a:lnTo>
                  <a:lnTo>
                    <a:pt x="322" y="49"/>
                  </a:lnTo>
                  <a:lnTo>
                    <a:pt x="322" y="46"/>
                  </a:lnTo>
                  <a:lnTo>
                    <a:pt x="323" y="34"/>
                  </a:lnTo>
                  <a:lnTo>
                    <a:pt x="323" y="33"/>
                  </a:lnTo>
                  <a:lnTo>
                    <a:pt x="326" y="27"/>
                  </a:lnTo>
                  <a:lnTo>
                    <a:pt x="326" y="26"/>
                  </a:lnTo>
                  <a:lnTo>
                    <a:pt x="329" y="24"/>
                  </a:lnTo>
                  <a:lnTo>
                    <a:pt x="332" y="23"/>
                  </a:lnTo>
                  <a:lnTo>
                    <a:pt x="333" y="23"/>
                  </a:lnTo>
                  <a:lnTo>
                    <a:pt x="336" y="24"/>
                  </a:lnTo>
                  <a:lnTo>
                    <a:pt x="341" y="24"/>
                  </a:lnTo>
                  <a:lnTo>
                    <a:pt x="345" y="23"/>
                  </a:lnTo>
                  <a:lnTo>
                    <a:pt x="351" y="4"/>
                  </a:lnTo>
                  <a:lnTo>
                    <a:pt x="367" y="0"/>
                  </a:lnTo>
                  <a:lnTo>
                    <a:pt x="370" y="1"/>
                  </a:lnTo>
                  <a:lnTo>
                    <a:pt x="371" y="5"/>
                  </a:lnTo>
                  <a:lnTo>
                    <a:pt x="371" y="7"/>
                  </a:lnTo>
                  <a:lnTo>
                    <a:pt x="368" y="13"/>
                  </a:lnTo>
                  <a:lnTo>
                    <a:pt x="366" y="16"/>
                  </a:lnTo>
                  <a:lnTo>
                    <a:pt x="370" y="17"/>
                  </a:lnTo>
                  <a:lnTo>
                    <a:pt x="382" y="18"/>
                  </a:lnTo>
                  <a:lnTo>
                    <a:pt x="386" y="21"/>
                  </a:lnTo>
                  <a:lnTo>
                    <a:pt x="389" y="29"/>
                  </a:lnTo>
                  <a:lnTo>
                    <a:pt x="389" y="33"/>
                  </a:lnTo>
                  <a:lnTo>
                    <a:pt x="390" y="37"/>
                  </a:lnTo>
                  <a:lnTo>
                    <a:pt x="398" y="39"/>
                  </a:lnTo>
                  <a:lnTo>
                    <a:pt x="401" y="37"/>
                  </a:lnTo>
                  <a:lnTo>
                    <a:pt x="409" y="32"/>
                  </a:lnTo>
                  <a:lnTo>
                    <a:pt x="415" y="30"/>
                  </a:lnTo>
                  <a:lnTo>
                    <a:pt x="425" y="46"/>
                  </a:lnTo>
                  <a:lnTo>
                    <a:pt x="430" y="51"/>
                  </a:lnTo>
                  <a:lnTo>
                    <a:pt x="441" y="52"/>
                  </a:lnTo>
                  <a:lnTo>
                    <a:pt x="446" y="53"/>
                  </a:lnTo>
                  <a:lnTo>
                    <a:pt x="443" y="61"/>
                  </a:lnTo>
                  <a:lnTo>
                    <a:pt x="440" y="67"/>
                  </a:lnTo>
                  <a:lnTo>
                    <a:pt x="438" y="69"/>
                  </a:lnTo>
                  <a:lnTo>
                    <a:pt x="462" y="84"/>
                  </a:lnTo>
                  <a:lnTo>
                    <a:pt x="465" y="85"/>
                  </a:lnTo>
                  <a:lnTo>
                    <a:pt x="470" y="87"/>
                  </a:lnTo>
                  <a:lnTo>
                    <a:pt x="476" y="88"/>
                  </a:lnTo>
                  <a:lnTo>
                    <a:pt x="485" y="94"/>
                  </a:lnTo>
                  <a:lnTo>
                    <a:pt x="491" y="96"/>
                  </a:lnTo>
                  <a:lnTo>
                    <a:pt x="497" y="93"/>
                  </a:lnTo>
                  <a:lnTo>
                    <a:pt x="505" y="93"/>
                  </a:lnTo>
                  <a:lnTo>
                    <a:pt x="529" y="90"/>
                  </a:lnTo>
                  <a:lnTo>
                    <a:pt x="530" y="91"/>
                  </a:lnTo>
                  <a:lnTo>
                    <a:pt x="532" y="91"/>
                  </a:lnTo>
                  <a:lnTo>
                    <a:pt x="535" y="94"/>
                  </a:lnTo>
                  <a:lnTo>
                    <a:pt x="536" y="96"/>
                  </a:lnTo>
                  <a:lnTo>
                    <a:pt x="536" y="99"/>
                  </a:lnTo>
                  <a:lnTo>
                    <a:pt x="536" y="104"/>
                  </a:lnTo>
                  <a:lnTo>
                    <a:pt x="540" y="106"/>
                  </a:lnTo>
                  <a:lnTo>
                    <a:pt x="545" y="104"/>
                  </a:lnTo>
                  <a:lnTo>
                    <a:pt x="556" y="101"/>
                  </a:lnTo>
                  <a:lnTo>
                    <a:pt x="558" y="101"/>
                  </a:lnTo>
                  <a:lnTo>
                    <a:pt x="559" y="101"/>
                  </a:lnTo>
                  <a:lnTo>
                    <a:pt x="564" y="104"/>
                  </a:lnTo>
                  <a:lnTo>
                    <a:pt x="568" y="104"/>
                  </a:lnTo>
                  <a:lnTo>
                    <a:pt x="569" y="107"/>
                  </a:lnTo>
                  <a:lnTo>
                    <a:pt x="571" y="112"/>
                  </a:lnTo>
                  <a:lnTo>
                    <a:pt x="578" y="133"/>
                  </a:lnTo>
                  <a:lnTo>
                    <a:pt x="578" y="138"/>
                  </a:lnTo>
                  <a:lnTo>
                    <a:pt x="577" y="144"/>
                  </a:lnTo>
                  <a:lnTo>
                    <a:pt x="565" y="152"/>
                  </a:lnTo>
                  <a:lnTo>
                    <a:pt x="565" y="155"/>
                  </a:lnTo>
                  <a:lnTo>
                    <a:pt x="565" y="157"/>
                  </a:lnTo>
                  <a:lnTo>
                    <a:pt x="565" y="161"/>
                  </a:lnTo>
                  <a:lnTo>
                    <a:pt x="567" y="164"/>
                  </a:lnTo>
                  <a:lnTo>
                    <a:pt x="568" y="166"/>
                  </a:lnTo>
                  <a:lnTo>
                    <a:pt x="569" y="167"/>
                  </a:lnTo>
                  <a:lnTo>
                    <a:pt x="569" y="168"/>
                  </a:lnTo>
                  <a:lnTo>
                    <a:pt x="569" y="170"/>
                  </a:lnTo>
                  <a:lnTo>
                    <a:pt x="568" y="173"/>
                  </a:lnTo>
                  <a:lnTo>
                    <a:pt x="565" y="176"/>
                  </a:lnTo>
                  <a:lnTo>
                    <a:pt x="564" y="177"/>
                  </a:lnTo>
                  <a:lnTo>
                    <a:pt x="564" y="180"/>
                  </a:lnTo>
                  <a:lnTo>
                    <a:pt x="564" y="182"/>
                  </a:lnTo>
                  <a:lnTo>
                    <a:pt x="564" y="184"/>
                  </a:lnTo>
                  <a:lnTo>
                    <a:pt x="565" y="186"/>
                  </a:lnTo>
                  <a:lnTo>
                    <a:pt x="567" y="189"/>
                  </a:lnTo>
                  <a:lnTo>
                    <a:pt x="568" y="190"/>
                  </a:lnTo>
                  <a:lnTo>
                    <a:pt x="568" y="193"/>
                  </a:lnTo>
                  <a:lnTo>
                    <a:pt x="569" y="196"/>
                  </a:lnTo>
                  <a:lnTo>
                    <a:pt x="569" y="199"/>
                  </a:lnTo>
                  <a:lnTo>
                    <a:pt x="571" y="200"/>
                  </a:lnTo>
                  <a:lnTo>
                    <a:pt x="574" y="203"/>
                  </a:lnTo>
                  <a:lnTo>
                    <a:pt x="575" y="203"/>
                  </a:lnTo>
                  <a:lnTo>
                    <a:pt x="577" y="206"/>
                  </a:lnTo>
                  <a:lnTo>
                    <a:pt x="577" y="211"/>
                  </a:lnTo>
                  <a:lnTo>
                    <a:pt x="575" y="215"/>
                  </a:lnTo>
                  <a:lnTo>
                    <a:pt x="572" y="227"/>
                  </a:lnTo>
                  <a:lnTo>
                    <a:pt x="569" y="231"/>
                  </a:lnTo>
                  <a:lnTo>
                    <a:pt x="568" y="234"/>
                  </a:lnTo>
                  <a:lnTo>
                    <a:pt x="565" y="235"/>
                  </a:lnTo>
                  <a:lnTo>
                    <a:pt x="562" y="237"/>
                  </a:lnTo>
                  <a:lnTo>
                    <a:pt x="555" y="237"/>
                  </a:lnTo>
                  <a:lnTo>
                    <a:pt x="553" y="237"/>
                  </a:lnTo>
                  <a:lnTo>
                    <a:pt x="552" y="240"/>
                  </a:lnTo>
                  <a:lnTo>
                    <a:pt x="552" y="246"/>
                  </a:lnTo>
                  <a:lnTo>
                    <a:pt x="551" y="259"/>
                  </a:lnTo>
                  <a:lnTo>
                    <a:pt x="551" y="265"/>
                  </a:lnTo>
                  <a:lnTo>
                    <a:pt x="549" y="269"/>
                  </a:lnTo>
                  <a:lnTo>
                    <a:pt x="540" y="283"/>
                  </a:lnTo>
                  <a:lnTo>
                    <a:pt x="540" y="283"/>
                  </a:lnTo>
                  <a:lnTo>
                    <a:pt x="540" y="285"/>
                  </a:lnTo>
                  <a:lnTo>
                    <a:pt x="542" y="286"/>
                  </a:lnTo>
                  <a:lnTo>
                    <a:pt x="545" y="286"/>
                  </a:lnTo>
                  <a:lnTo>
                    <a:pt x="548" y="285"/>
                  </a:lnTo>
                  <a:lnTo>
                    <a:pt x="551" y="285"/>
                  </a:lnTo>
                  <a:lnTo>
                    <a:pt x="552" y="285"/>
                  </a:lnTo>
                  <a:lnTo>
                    <a:pt x="553" y="286"/>
                  </a:lnTo>
                  <a:lnTo>
                    <a:pt x="553" y="288"/>
                  </a:lnTo>
                  <a:lnTo>
                    <a:pt x="552" y="289"/>
                  </a:lnTo>
                  <a:lnTo>
                    <a:pt x="551" y="291"/>
                  </a:lnTo>
                  <a:lnTo>
                    <a:pt x="551" y="292"/>
                  </a:lnTo>
                  <a:lnTo>
                    <a:pt x="549" y="294"/>
                  </a:lnTo>
                  <a:lnTo>
                    <a:pt x="548" y="297"/>
                  </a:lnTo>
                  <a:lnTo>
                    <a:pt x="548" y="298"/>
                  </a:lnTo>
                  <a:lnTo>
                    <a:pt x="549" y="301"/>
                  </a:lnTo>
                  <a:lnTo>
                    <a:pt x="549" y="302"/>
                  </a:lnTo>
                  <a:lnTo>
                    <a:pt x="551" y="304"/>
                  </a:lnTo>
                  <a:lnTo>
                    <a:pt x="552" y="305"/>
                  </a:lnTo>
                  <a:lnTo>
                    <a:pt x="556" y="307"/>
                  </a:lnTo>
                  <a:lnTo>
                    <a:pt x="561" y="305"/>
                  </a:lnTo>
                  <a:lnTo>
                    <a:pt x="564" y="304"/>
                  </a:lnTo>
                  <a:lnTo>
                    <a:pt x="564" y="304"/>
                  </a:lnTo>
                  <a:lnTo>
                    <a:pt x="565" y="302"/>
                  </a:lnTo>
                  <a:lnTo>
                    <a:pt x="567" y="301"/>
                  </a:lnTo>
                  <a:lnTo>
                    <a:pt x="567" y="299"/>
                  </a:lnTo>
                  <a:lnTo>
                    <a:pt x="568" y="298"/>
                  </a:lnTo>
                  <a:lnTo>
                    <a:pt x="568" y="294"/>
                  </a:lnTo>
                  <a:lnTo>
                    <a:pt x="568" y="292"/>
                  </a:lnTo>
                  <a:lnTo>
                    <a:pt x="569" y="291"/>
                  </a:lnTo>
                  <a:lnTo>
                    <a:pt x="571" y="291"/>
                  </a:lnTo>
                  <a:lnTo>
                    <a:pt x="572" y="291"/>
                  </a:lnTo>
                  <a:lnTo>
                    <a:pt x="574" y="291"/>
                  </a:lnTo>
                  <a:lnTo>
                    <a:pt x="577" y="294"/>
                  </a:lnTo>
                  <a:lnTo>
                    <a:pt x="578" y="295"/>
                  </a:lnTo>
                  <a:lnTo>
                    <a:pt x="584" y="304"/>
                  </a:lnTo>
                  <a:lnTo>
                    <a:pt x="586" y="307"/>
                  </a:lnTo>
                  <a:lnTo>
                    <a:pt x="588" y="307"/>
                  </a:lnTo>
                  <a:lnTo>
                    <a:pt x="588" y="305"/>
                  </a:lnTo>
                  <a:lnTo>
                    <a:pt x="590" y="305"/>
                  </a:lnTo>
                  <a:lnTo>
                    <a:pt x="591" y="305"/>
                  </a:lnTo>
                  <a:lnTo>
                    <a:pt x="593" y="305"/>
                  </a:lnTo>
                  <a:lnTo>
                    <a:pt x="594" y="305"/>
                  </a:lnTo>
                  <a:lnTo>
                    <a:pt x="596" y="305"/>
                  </a:lnTo>
                  <a:lnTo>
                    <a:pt x="599" y="304"/>
                  </a:lnTo>
                  <a:lnTo>
                    <a:pt x="599" y="304"/>
                  </a:lnTo>
                  <a:lnTo>
                    <a:pt x="600" y="305"/>
                  </a:lnTo>
                  <a:lnTo>
                    <a:pt x="599" y="308"/>
                  </a:lnTo>
                  <a:lnTo>
                    <a:pt x="597" y="311"/>
                  </a:lnTo>
                  <a:lnTo>
                    <a:pt x="597" y="314"/>
                  </a:lnTo>
                  <a:lnTo>
                    <a:pt x="597" y="318"/>
                  </a:lnTo>
                  <a:lnTo>
                    <a:pt x="597" y="321"/>
                  </a:lnTo>
                  <a:lnTo>
                    <a:pt x="597" y="323"/>
                  </a:lnTo>
                  <a:lnTo>
                    <a:pt x="593" y="330"/>
                  </a:lnTo>
                  <a:lnTo>
                    <a:pt x="590" y="339"/>
                  </a:lnTo>
                  <a:lnTo>
                    <a:pt x="587" y="342"/>
                  </a:lnTo>
                  <a:lnTo>
                    <a:pt x="584" y="345"/>
                  </a:lnTo>
                  <a:lnTo>
                    <a:pt x="583" y="346"/>
                  </a:lnTo>
                  <a:lnTo>
                    <a:pt x="583" y="348"/>
                  </a:lnTo>
                  <a:lnTo>
                    <a:pt x="584" y="349"/>
                  </a:lnTo>
                  <a:lnTo>
                    <a:pt x="584" y="350"/>
                  </a:lnTo>
                  <a:lnTo>
                    <a:pt x="586" y="352"/>
                  </a:lnTo>
                  <a:lnTo>
                    <a:pt x="587" y="353"/>
                  </a:lnTo>
                  <a:lnTo>
                    <a:pt x="587" y="356"/>
                  </a:lnTo>
                  <a:lnTo>
                    <a:pt x="586" y="359"/>
                  </a:lnTo>
                  <a:lnTo>
                    <a:pt x="584" y="366"/>
                  </a:lnTo>
                  <a:lnTo>
                    <a:pt x="583" y="369"/>
                  </a:lnTo>
                  <a:lnTo>
                    <a:pt x="578" y="377"/>
                  </a:lnTo>
                  <a:lnTo>
                    <a:pt x="578" y="378"/>
                  </a:lnTo>
                  <a:lnTo>
                    <a:pt x="578" y="381"/>
                  </a:lnTo>
                  <a:lnTo>
                    <a:pt x="578" y="382"/>
                  </a:lnTo>
                  <a:lnTo>
                    <a:pt x="578" y="385"/>
                  </a:lnTo>
                  <a:lnTo>
                    <a:pt x="577" y="387"/>
                  </a:lnTo>
                  <a:lnTo>
                    <a:pt x="577" y="388"/>
                  </a:lnTo>
                  <a:lnTo>
                    <a:pt x="578" y="393"/>
                  </a:lnTo>
                  <a:lnTo>
                    <a:pt x="578" y="396"/>
                  </a:lnTo>
                  <a:lnTo>
                    <a:pt x="578" y="397"/>
                  </a:lnTo>
                  <a:lnTo>
                    <a:pt x="578" y="400"/>
                  </a:lnTo>
                  <a:lnTo>
                    <a:pt x="578" y="401"/>
                  </a:lnTo>
                  <a:lnTo>
                    <a:pt x="574" y="409"/>
                  </a:lnTo>
                  <a:lnTo>
                    <a:pt x="572" y="412"/>
                  </a:lnTo>
                  <a:lnTo>
                    <a:pt x="572" y="413"/>
                  </a:lnTo>
                  <a:lnTo>
                    <a:pt x="572" y="417"/>
                  </a:lnTo>
                  <a:lnTo>
                    <a:pt x="569" y="422"/>
                  </a:lnTo>
                  <a:lnTo>
                    <a:pt x="569" y="423"/>
                  </a:lnTo>
                  <a:lnTo>
                    <a:pt x="568" y="426"/>
                  </a:lnTo>
                  <a:lnTo>
                    <a:pt x="569" y="431"/>
                  </a:lnTo>
                  <a:lnTo>
                    <a:pt x="569" y="439"/>
                  </a:lnTo>
                  <a:lnTo>
                    <a:pt x="571" y="442"/>
                  </a:lnTo>
                  <a:lnTo>
                    <a:pt x="574" y="445"/>
                  </a:lnTo>
                  <a:lnTo>
                    <a:pt x="577" y="445"/>
                  </a:lnTo>
                  <a:lnTo>
                    <a:pt x="578" y="447"/>
                  </a:lnTo>
                  <a:lnTo>
                    <a:pt x="580" y="448"/>
                  </a:lnTo>
                  <a:lnTo>
                    <a:pt x="581" y="451"/>
                  </a:lnTo>
                  <a:lnTo>
                    <a:pt x="583" y="454"/>
                  </a:lnTo>
                  <a:lnTo>
                    <a:pt x="583" y="455"/>
                  </a:lnTo>
                  <a:lnTo>
                    <a:pt x="583" y="457"/>
                  </a:lnTo>
                  <a:lnTo>
                    <a:pt x="583" y="458"/>
                  </a:lnTo>
                  <a:lnTo>
                    <a:pt x="574" y="465"/>
                  </a:lnTo>
                  <a:lnTo>
                    <a:pt x="569" y="480"/>
                  </a:lnTo>
                  <a:lnTo>
                    <a:pt x="567" y="484"/>
                  </a:lnTo>
                  <a:lnTo>
                    <a:pt x="567" y="486"/>
                  </a:lnTo>
                  <a:lnTo>
                    <a:pt x="567" y="487"/>
                  </a:lnTo>
                  <a:lnTo>
                    <a:pt x="569" y="496"/>
                  </a:lnTo>
                  <a:lnTo>
                    <a:pt x="572" y="503"/>
                  </a:lnTo>
                  <a:lnTo>
                    <a:pt x="574" y="505"/>
                  </a:lnTo>
                  <a:lnTo>
                    <a:pt x="583" y="514"/>
                  </a:lnTo>
                  <a:lnTo>
                    <a:pt x="586" y="521"/>
                  </a:lnTo>
                  <a:lnTo>
                    <a:pt x="586" y="524"/>
                  </a:lnTo>
                  <a:lnTo>
                    <a:pt x="587" y="525"/>
                  </a:lnTo>
                  <a:lnTo>
                    <a:pt x="594" y="528"/>
                  </a:lnTo>
                  <a:lnTo>
                    <a:pt x="602" y="535"/>
                  </a:lnTo>
                  <a:lnTo>
                    <a:pt x="623" y="564"/>
                  </a:lnTo>
                  <a:lnTo>
                    <a:pt x="623" y="569"/>
                  </a:lnTo>
                  <a:lnTo>
                    <a:pt x="623" y="570"/>
                  </a:lnTo>
                  <a:lnTo>
                    <a:pt x="623" y="572"/>
                  </a:lnTo>
                  <a:lnTo>
                    <a:pt x="623" y="575"/>
                  </a:lnTo>
                  <a:lnTo>
                    <a:pt x="626" y="576"/>
                  </a:lnTo>
                  <a:lnTo>
                    <a:pt x="629" y="579"/>
                  </a:lnTo>
                  <a:lnTo>
                    <a:pt x="639" y="586"/>
                  </a:lnTo>
                  <a:lnTo>
                    <a:pt x="644" y="591"/>
                  </a:lnTo>
                  <a:lnTo>
                    <a:pt x="645" y="591"/>
                  </a:lnTo>
                  <a:lnTo>
                    <a:pt x="647" y="592"/>
                  </a:lnTo>
                  <a:lnTo>
                    <a:pt x="651" y="592"/>
                  </a:lnTo>
                  <a:lnTo>
                    <a:pt x="654" y="591"/>
                  </a:lnTo>
                  <a:lnTo>
                    <a:pt x="655" y="589"/>
                  </a:lnTo>
                  <a:lnTo>
                    <a:pt x="655" y="588"/>
                  </a:lnTo>
                  <a:lnTo>
                    <a:pt x="657" y="586"/>
                  </a:lnTo>
                  <a:lnTo>
                    <a:pt x="658" y="585"/>
                  </a:lnTo>
                  <a:lnTo>
                    <a:pt x="660" y="585"/>
                  </a:lnTo>
                  <a:lnTo>
                    <a:pt x="661" y="586"/>
                  </a:lnTo>
                  <a:lnTo>
                    <a:pt x="663" y="588"/>
                  </a:lnTo>
                  <a:lnTo>
                    <a:pt x="670" y="596"/>
                  </a:lnTo>
                  <a:lnTo>
                    <a:pt x="686" y="610"/>
                  </a:lnTo>
                  <a:lnTo>
                    <a:pt x="692" y="613"/>
                  </a:lnTo>
                  <a:lnTo>
                    <a:pt x="708" y="617"/>
                  </a:lnTo>
                  <a:lnTo>
                    <a:pt x="714" y="611"/>
                  </a:lnTo>
                  <a:lnTo>
                    <a:pt x="718" y="610"/>
                  </a:lnTo>
                  <a:lnTo>
                    <a:pt x="722" y="607"/>
                  </a:lnTo>
                  <a:lnTo>
                    <a:pt x="724" y="605"/>
                  </a:lnTo>
                  <a:lnTo>
                    <a:pt x="724" y="604"/>
                  </a:lnTo>
                  <a:lnTo>
                    <a:pt x="724" y="601"/>
                  </a:lnTo>
                  <a:lnTo>
                    <a:pt x="725" y="601"/>
                  </a:lnTo>
                  <a:lnTo>
                    <a:pt x="727" y="599"/>
                  </a:lnTo>
                  <a:lnTo>
                    <a:pt x="728" y="601"/>
                  </a:lnTo>
                  <a:lnTo>
                    <a:pt x="743" y="608"/>
                  </a:lnTo>
                  <a:lnTo>
                    <a:pt x="773" y="627"/>
                  </a:lnTo>
                  <a:lnTo>
                    <a:pt x="778" y="629"/>
                  </a:lnTo>
                  <a:lnTo>
                    <a:pt x="791" y="630"/>
                  </a:lnTo>
                  <a:lnTo>
                    <a:pt x="795" y="633"/>
                  </a:lnTo>
                  <a:lnTo>
                    <a:pt x="797" y="637"/>
                  </a:lnTo>
                  <a:lnTo>
                    <a:pt x="800" y="646"/>
                  </a:lnTo>
                  <a:lnTo>
                    <a:pt x="801" y="647"/>
                  </a:lnTo>
                  <a:lnTo>
                    <a:pt x="804" y="647"/>
                  </a:lnTo>
                  <a:lnTo>
                    <a:pt x="820" y="647"/>
                  </a:lnTo>
                  <a:lnTo>
                    <a:pt x="827" y="649"/>
                  </a:lnTo>
                  <a:lnTo>
                    <a:pt x="832" y="652"/>
                  </a:lnTo>
                  <a:lnTo>
                    <a:pt x="836" y="655"/>
                  </a:lnTo>
                  <a:lnTo>
                    <a:pt x="838" y="658"/>
                  </a:lnTo>
                  <a:lnTo>
                    <a:pt x="839" y="661"/>
                  </a:lnTo>
                  <a:lnTo>
                    <a:pt x="842" y="663"/>
                  </a:lnTo>
                  <a:lnTo>
                    <a:pt x="861" y="678"/>
                  </a:lnTo>
                  <a:lnTo>
                    <a:pt x="868" y="679"/>
                  </a:lnTo>
                  <a:lnTo>
                    <a:pt x="890" y="677"/>
                  </a:lnTo>
                  <a:lnTo>
                    <a:pt x="893" y="678"/>
                  </a:lnTo>
                  <a:lnTo>
                    <a:pt x="896" y="681"/>
                  </a:lnTo>
                  <a:lnTo>
                    <a:pt x="897" y="684"/>
                  </a:lnTo>
                  <a:lnTo>
                    <a:pt x="900" y="684"/>
                  </a:lnTo>
                  <a:lnTo>
                    <a:pt x="902" y="682"/>
                  </a:lnTo>
                  <a:lnTo>
                    <a:pt x="905" y="677"/>
                  </a:lnTo>
                  <a:lnTo>
                    <a:pt x="907" y="675"/>
                  </a:lnTo>
                  <a:lnTo>
                    <a:pt x="909" y="675"/>
                  </a:lnTo>
                  <a:lnTo>
                    <a:pt x="921" y="675"/>
                  </a:lnTo>
                  <a:lnTo>
                    <a:pt x="926" y="678"/>
                  </a:lnTo>
                  <a:lnTo>
                    <a:pt x="923" y="685"/>
                  </a:lnTo>
                  <a:lnTo>
                    <a:pt x="912" y="698"/>
                  </a:lnTo>
                  <a:lnTo>
                    <a:pt x="902" y="716"/>
                  </a:lnTo>
                  <a:lnTo>
                    <a:pt x="900" y="719"/>
                  </a:lnTo>
                  <a:lnTo>
                    <a:pt x="899" y="723"/>
                  </a:lnTo>
                  <a:lnTo>
                    <a:pt x="899" y="738"/>
                  </a:lnTo>
                  <a:lnTo>
                    <a:pt x="900" y="742"/>
                  </a:lnTo>
                  <a:lnTo>
                    <a:pt x="902" y="748"/>
                  </a:lnTo>
                  <a:lnTo>
                    <a:pt x="905" y="754"/>
                  </a:lnTo>
                  <a:lnTo>
                    <a:pt x="907" y="761"/>
                  </a:lnTo>
                  <a:lnTo>
                    <a:pt x="906" y="767"/>
                  </a:lnTo>
                  <a:lnTo>
                    <a:pt x="897" y="780"/>
                  </a:lnTo>
                  <a:lnTo>
                    <a:pt x="875" y="797"/>
                  </a:lnTo>
                  <a:lnTo>
                    <a:pt x="873" y="800"/>
                  </a:lnTo>
                  <a:lnTo>
                    <a:pt x="867" y="813"/>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8">
              <a:extLst>
                <a:ext uri="{FF2B5EF4-FFF2-40B4-BE49-F238E27FC236}">
                  <a16:creationId xmlns:a16="http://schemas.microsoft.com/office/drawing/2014/main" id="{A85C516A-27C6-4AAC-B813-DC198007737B}"/>
                </a:ext>
              </a:extLst>
            </p:cNvPr>
            <p:cNvSpPr>
              <a:spLocks/>
            </p:cNvSpPr>
            <p:nvPr/>
          </p:nvSpPr>
          <p:spPr bwMode="gray">
            <a:xfrm>
              <a:off x="6902451" y="3133725"/>
              <a:ext cx="1722438" cy="1317625"/>
            </a:xfrm>
            <a:custGeom>
              <a:avLst/>
              <a:gdLst>
                <a:gd name="T0" fmla="*/ 408 w 1085"/>
                <a:gd name="T1" fmla="*/ 34 h 830"/>
                <a:gd name="T2" fmla="*/ 441 w 1085"/>
                <a:gd name="T3" fmla="*/ 57 h 830"/>
                <a:gd name="T4" fmla="*/ 456 w 1085"/>
                <a:gd name="T5" fmla="*/ 98 h 830"/>
                <a:gd name="T6" fmla="*/ 451 w 1085"/>
                <a:gd name="T7" fmla="*/ 126 h 830"/>
                <a:gd name="T8" fmla="*/ 444 w 1085"/>
                <a:gd name="T9" fmla="*/ 155 h 830"/>
                <a:gd name="T10" fmla="*/ 470 w 1085"/>
                <a:gd name="T11" fmla="*/ 159 h 830"/>
                <a:gd name="T12" fmla="*/ 558 w 1085"/>
                <a:gd name="T13" fmla="*/ 161 h 830"/>
                <a:gd name="T14" fmla="*/ 711 w 1085"/>
                <a:gd name="T15" fmla="*/ 174 h 830"/>
                <a:gd name="T16" fmla="*/ 767 w 1085"/>
                <a:gd name="T17" fmla="*/ 92 h 830"/>
                <a:gd name="T18" fmla="*/ 936 w 1085"/>
                <a:gd name="T19" fmla="*/ 62 h 830"/>
                <a:gd name="T20" fmla="*/ 1038 w 1085"/>
                <a:gd name="T21" fmla="*/ 110 h 830"/>
                <a:gd name="T22" fmla="*/ 1072 w 1085"/>
                <a:gd name="T23" fmla="*/ 203 h 830"/>
                <a:gd name="T24" fmla="*/ 1072 w 1085"/>
                <a:gd name="T25" fmla="*/ 297 h 830"/>
                <a:gd name="T26" fmla="*/ 1062 w 1085"/>
                <a:gd name="T27" fmla="*/ 337 h 830"/>
                <a:gd name="T28" fmla="*/ 999 w 1085"/>
                <a:gd name="T29" fmla="*/ 475 h 830"/>
                <a:gd name="T30" fmla="*/ 951 w 1085"/>
                <a:gd name="T31" fmla="*/ 423 h 830"/>
                <a:gd name="T32" fmla="*/ 931 w 1085"/>
                <a:gd name="T33" fmla="*/ 391 h 830"/>
                <a:gd name="T34" fmla="*/ 894 w 1085"/>
                <a:gd name="T35" fmla="*/ 360 h 830"/>
                <a:gd name="T36" fmla="*/ 821 w 1085"/>
                <a:gd name="T37" fmla="*/ 360 h 830"/>
                <a:gd name="T38" fmla="*/ 832 w 1085"/>
                <a:gd name="T39" fmla="*/ 398 h 830"/>
                <a:gd name="T40" fmla="*/ 797 w 1085"/>
                <a:gd name="T41" fmla="*/ 456 h 830"/>
                <a:gd name="T42" fmla="*/ 690 w 1085"/>
                <a:gd name="T43" fmla="*/ 497 h 830"/>
                <a:gd name="T44" fmla="*/ 667 w 1085"/>
                <a:gd name="T45" fmla="*/ 526 h 830"/>
                <a:gd name="T46" fmla="*/ 565 w 1085"/>
                <a:gd name="T47" fmla="*/ 558 h 830"/>
                <a:gd name="T48" fmla="*/ 531 w 1085"/>
                <a:gd name="T49" fmla="*/ 594 h 830"/>
                <a:gd name="T50" fmla="*/ 489 w 1085"/>
                <a:gd name="T51" fmla="*/ 605 h 830"/>
                <a:gd name="T52" fmla="*/ 411 w 1085"/>
                <a:gd name="T53" fmla="*/ 650 h 830"/>
                <a:gd name="T54" fmla="*/ 381 w 1085"/>
                <a:gd name="T55" fmla="*/ 682 h 830"/>
                <a:gd name="T56" fmla="*/ 291 w 1085"/>
                <a:gd name="T57" fmla="*/ 683 h 830"/>
                <a:gd name="T58" fmla="*/ 198 w 1085"/>
                <a:gd name="T59" fmla="*/ 723 h 830"/>
                <a:gd name="T60" fmla="*/ 188 w 1085"/>
                <a:gd name="T61" fmla="*/ 737 h 830"/>
                <a:gd name="T62" fmla="*/ 141 w 1085"/>
                <a:gd name="T63" fmla="*/ 810 h 830"/>
                <a:gd name="T64" fmla="*/ 122 w 1085"/>
                <a:gd name="T65" fmla="*/ 797 h 830"/>
                <a:gd name="T66" fmla="*/ 119 w 1085"/>
                <a:gd name="T67" fmla="*/ 782 h 830"/>
                <a:gd name="T68" fmla="*/ 96 w 1085"/>
                <a:gd name="T69" fmla="*/ 758 h 830"/>
                <a:gd name="T70" fmla="*/ 32 w 1085"/>
                <a:gd name="T71" fmla="*/ 728 h 830"/>
                <a:gd name="T72" fmla="*/ 16 w 1085"/>
                <a:gd name="T73" fmla="*/ 695 h 830"/>
                <a:gd name="T74" fmla="*/ 13 w 1085"/>
                <a:gd name="T75" fmla="*/ 677 h 830"/>
                <a:gd name="T76" fmla="*/ 10 w 1085"/>
                <a:gd name="T77" fmla="*/ 653 h 830"/>
                <a:gd name="T78" fmla="*/ 33 w 1085"/>
                <a:gd name="T79" fmla="*/ 621 h 830"/>
                <a:gd name="T80" fmla="*/ 51 w 1085"/>
                <a:gd name="T81" fmla="*/ 629 h 830"/>
                <a:gd name="T82" fmla="*/ 83 w 1085"/>
                <a:gd name="T83" fmla="*/ 613 h 830"/>
                <a:gd name="T84" fmla="*/ 107 w 1085"/>
                <a:gd name="T85" fmla="*/ 577 h 830"/>
                <a:gd name="T86" fmla="*/ 134 w 1085"/>
                <a:gd name="T87" fmla="*/ 549 h 830"/>
                <a:gd name="T88" fmla="*/ 126 w 1085"/>
                <a:gd name="T89" fmla="*/ 525 h 830"/>
                <a:gd name="T90" fmla="*/ 128 w 1085"/>
                <a:gd name="T91" fmla="*/ 511 h 830"/>
                <a:gd name="T92" fmla="*/ 125 w 1085"/>
                <a:gd name="T93" fmla="*/ 487 h 830"/>
                <a:gd name="T94" fmla="*/ 183 w 1085"/>
                <a:gd name="T95" fmla="*/ 469 h 830"/>
                <a:gd name="T96" fmla="*/ 239 w 1085"/>
                <a:gd name="T97" fmla="*/ 440 h 830"/>
                <a:gd name="T98" fmla="*/ 260 w 1085"/>
                <a:gd name="T99" fmla="*/ 431 h 830"/>
                <a:gd name="T100" fmla="*/ 207 w 1085"/>
                <a:gd name="T101" fmla="*/ 357 h 830"/>
                <a:gd name="T102" fmla="*/ 100 w 1085"/>
                <a:gd name="T103" fmla="*/ 303 h 830"/>
                <a:gd name="T104" fmla="*/ 93 w 1085"/>
                <a:gd name="T105" fmla="*/ 264 h 830"/>
                <a:gd name="T106" fmla="*/ 81 w 1085"/>
                <a:gd name="T107" fmla="*/ 209 h 830"/>
                <a:gd name="T108" fmla="*/ 100 w 1085"/>
                <a:gd name="T109" fmla="*/ 187 h 830"/>
                <a:gd name="T110" fmla="*/ 90 w 1085"/>
                <a:gd name="T111" fmla="*/ 137 h 830"/>
                <a:gd name="T112" fmla="*/ 100 w 1085"/>
                <a:gd name="T113" fmla="*/ 113 h 830"/>
                <a:gd name="T114" fmla="*/ 116 w 1085"/>
                <a:gd name="T115" fmla="*/ 62 h 830"/>
                <a:gd name="T116" fmla="*/ 189 w 1085"/>
                <a:gd name="T117" fmla="*/ 40 h 830"/>
                <a:gd name="T118" fmla="*/ 269 w 1085"/>
                <a:gd name="T119" fmla="*/ 35 h 830"/>
                <a:gd name="T120" fmla="*/ 348 w 1085"/>
                <a:gd name="T121" fmla="*/ 9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5" h="830">
                  <a:moveTo>
                    <a:pt x="370" y="19"/>
                  </a:moveTo>
                  <a:lnTo>
                    <a:pt x="376" y="25"/>
                  </a:lnTo>
                  <a:lnTo>
                    <a:pt x="380" y="24"/>
                  </a:lnTo>
                  <a:lnTo>
                    <a:pt x="381" y="22"/>
                  </a:lnTo>
                  <a:lnTo>
                    <a:pt x="383" y="21"/>
                  </a:lnTo>
                  <a:lnTo>
                    <a:pt x="386" y="19"/>
                  </a:lnTo>
                  <a:lnTo>
                    <a:pt x="389" y="21"/>
                  </a:lnTo>
                  <a:lnTo>
                    <a:pt x="390" y="22"/>
                  </a:lnTo>
                  <a:lnTo>
                    <a:pt x="397" y="30"/>
                  </a:lnTo>
                  <a:lnTo>
                    <a:pt x="405" y="32"/>
                  </a:lnTo>
                  <a:lnTo>
                    <a:pt x="408" y="34"/>
                  </a:lnTo>
                  <a:lnTo>
                    <a:pt x="418" y="46"/>
                  </a:lnTo>
                  <a:lnTo>
                    <a:pt x="422" y="48"/>
                  </a:lnTo>
                  <a:lnTo>
                    <a:pt x="425" y="50"/>
                  </a:lnTo>
                  <a:lnTo>
                    <a:pt x="427" y="48"/>
                  </a:lnTo>
                  <a:lnTo>
                    <a:pt x="428" y="48"/>
                  </a:lnTo>
                  <a:lnTo>
                    <a:pt x="429" y="47"/>
                  </a:lnTo>
                  <a:lnTo>
                    <a:pt x="431" y="47"/>
                  </a:lnTo>
                  <a:lnTo>
                    <a:pt x="431" y="48"/>
                  </a:lnTo>
                  <a:lnTo>
                    <a:pt x="437" y="53"/>
                  </a:lnTo>
                  <a:lnTo>
                    <a:pt x="440" y="56"/>
                  </a:lnTo>
                  <a:lnTo>
                    <a:pt x="441" y="57"/>
                  </a:lnTo>
                  <a:lnTo>
                    <a:pt x="443" y="59"/>
                  </a:lnTo>
                  <a:lnTo>
                    <a:pt x="441" y="63"/>
                  </a:lnTo>
                  <a:lnTo>
                    <a:pt x="441" y="66"/>
                  </a:lnTo>
                  <a:lnTo>
                    <a:pt x="440" y="67"/>
                  </a:lnTo>
                  <a:lnTo>
                    <a:pt x="440" y="70"/>
                  </a:lnTo>
                  <a:lnTo>
                    <a:pt x="444" y="76"/>
                  </a:lnTo>
                  <a:lnTo>
                    <a:pt x="451" y="80"/>
                  </a:lnTo>
                  <a:lnTo>
                    <a:pt x="451" y="82"/>
                  </a:lnTo>
                  <a:lnTo>
                    <a:pt x="453" y="86"/>
                  </a:lnTo>
                  <a:lnTo>
                    <a:pt x="456" y="94"/>
                  </a:lnTo>
                  <a:lnTo>
                    <a:pt x="456" y="98"/>
                  </a:lnTo>
                  <a:lnTo>
                    <a:pt x="456" y="101"/>
                  </a:lnTo>
                  <a:lnTo>
                    <a:pt x="454" y="104"/>
                  </a:lnTo>
                  <a:lnTo>
                    <a:pt x="453" y="105"/>
                  </a:lnTo>
                  <a:lnTo>
                    <a:pt x="451" y="107"/>
                  </a:lnTo>
                  <a:lnTo>
                    <a:pt x="450" y="107"/>
                  </a:lnTo>
                  <a:lnTo>
                    <a:pt x="448" y="108"/>
                  </a:lnTo>
                  <a:lnTo>
                    <a:pt x="448" y="110"/>
                  </a:lnTo>
                  <a:lnTo>
                    <a:pt x="450" y="113"/>
                  </a:lnTo>
                  <a:lnTo>
                    <a:pt x="451" y="114"/>
                  </a:lnTo>
                  <a:lnTo>
                    <a:pt x="453" y="120"/>
                  </a:lnTo>
                  <a:lnTo>
                    <a:pt x="451" y="126"/>
                  </a:lnTo>
                  <a:lnTo>
                    <a:pt x="451" y="133"/>
                  </a:lnTo>
                  <a:lnTo>
                    <a:pt x="450" y="139"/>
                  </a:lnTo>
                  <a:lnTo>
                    <a:pt x="448" y="140"/>
                  </a:lnTo>
                  <a:lnTo>
                    <a:pt x="448" y="142"/>
                  </a:lnTo>
                  <a:lnTo>
                    <a:pt x="444" y="145"/>
                  </a:lnTo>
                  <a:lnTo>
                    <a:pt x="444" y="146"/>
                  </a:lnTo>
                  <a:lnTo>
                    <a:pt x="443" y="147"/>
                  </a:lnTo>
                  <a:lnTo>
                    <a:pt x="443" y="149"/>
                  </a:lnTo>
                  <a:lnTo>
                    <a:pt x="444" y="152"/>
                  </a:lnTo>
                  <a:lnTo>
                    <a:pt x="444" y="153"/>
                  </a:lnTo>
                  <a:lnTo>
                    <a:pt x="444" y="155"/>
                  </a:lnTo>
                  <a:lnTo>
                    <a:pt x="445" y="158"/>
                  </a:lnTo>
                  <a:lnTo>
                    <a:pt x="447" y="159"/>
                  </a:lnTo>
                  <a:lnTo>
                    <a:pt x="448" y="159"/>
                  </a:lnTo>
                  <a:lnTo>
                    <a:pt x="450" y="156"/>
                  </a:lnTo>
                  <a:lnTo>
                    <a:pt x="451" y="155"/>
                  </a:lnTo>
                  <a:lnTo>
                    <a:pt x="453" y="153"/>
                  </a:lnTo>
                  <a:lnTo>
                    <a:pt x="457" y="153"/>
                  </a:lnTo>
                  <a:lnTo>
                    <a:pt x="459" y="150"/>
                  </a:lnTo>
                  <a:lnTo>
                    <a:pt x="463" y="150"/>
                  </a:lnTo>
                  <a:lnTo>
                    <a:pt x="466" y="152"/>
                  </a:lnTo>
                  <a:lnTo>
                    <a:pt x="470" y="159"/>
                  </a:lnTo>
                  <a:lnTo>
                    <a:pt x="476" y="158"/>
                  </a:lnTo>
                  <a:lnTo>
                    <a:pt x="508" y="147"/>
                  </a:lnTo>
                  <a:lnTo>
                    <a:pt x="514" y="145"/>
                  </a:lnTo>
                  <a:lnTo>
                    <a:pt x="517" y="140"/>
                  </a:lnTo>
                  <a:lnTo>
                    <a:pt x="521" y="139"/>
                  </a:lnTo>
                  <a:lnTo>
                    <a:pt x="526" y="140"/>
                  </a:lnTo>
                  <a:lnTo>
                    <a:pt x="542" y="147"/>
                  </a:lnTo>
                  <a:lnTo>
                    <a:pt x="546" y="152"/>
                  </a:lnTo>
                  <a:lnTo>
                    <a:pt x="549" y="155"/>
                  </a:lnTo>
                  <a:lnTo>
                    <a:pt x="553" y="158"/>
                  </a:lnTo>
                  <a:lnTo>
                    <a:pt x="558" y="161"/>
                  </a:lnTo>
                  <a:lnTo>
                    <a:pt x="563" y="169"/>
                  </a:lnTo>
                  <a:lnTo>
                    <a:pt x="568" y="172"/>
                  </a:lnTo>
                  <a:lnTo>
                    <a:pt x="572" y="171"/>
                  </a:lnTo>
                  <a:lnTo>
                    <a:pt x="575" y="171"/>
                  </a:lnTo>
                  <a:lnTo>
                    <a:pt x="579" y="171"/>
                  </a:lnTo>
                  <a:lnTo>
                    <a:pt x="596" y="177"/>
                  </a:lnTo>
                  <a:lnTo>
                    <a:pt x="636" y="179"/>
                  </a:lnTo>
                  <a:lnTo>
                    <a:pt x="649" y="181"/>
                  </a:lnTo>
                  <a:lnTo>
                    <a:pt x="686" y="175"/>
                  </a:lnTo>
                  <a:lnTo>
                    <a:pt x="709" y="172"/>
                  </a:lnTo>
                  <a:lnTo>
                    <a:pt x="711" y="174"/>
                  </a:lnTo>
                  <a:lnTo>
                    <a:pt x="715" y="174"/>
                  </a:lnTo>
                  <a:lnTo>
                    <a:pt x="716" y="175"/>
                  </a:lnTo>
                  <a:lnTo>
                    <a:pt x="718" y="175"/>
                  </a:lnTo>
                  <a:lnTo>
                    <a:pt x="719" y="174"/>
                  </a:lnTo>
                  <a:lnTo>
                    <a:pt x="727" y="163"/>
                  </a:lnTo>
                  <a:lnTo>
                    <a:pt x="746" y="136"/>
                  </a:lnTo>
                  <a:lnTo>
                    <a:pt x="751" y="123"/>
                  </a:lnTo>
                  <a:lnTo>
                    <a:pt x="751" y="118"/>
                  </a:lnTo>
                  <a:lnTo>
                    <a:pt x="751" y="114"/>
                  </a:lnTo>
                  <a:lnTo>
                    <a:pt x="753" y="111"/>
                  </a:lnTo>
                  <a:lnTo>
                    <a:pt x="767" y="92"/>
                  </a:lnTo>
                  <a:lnTo>
                    <a:pt x="772" y="89"/>
                  </a:lnTo>
                  <a:lnTo>
                    <a:pt x="785" y="80"/>
                  </a:lnTo>
                  <a:lnTo>
                    <a:pt x="807" y="76"/>
                  </a:lnTo>
                  <a:lnTo>
                    <a:pt x="824" y="78"/>
                  </a:lnTo>
                  <a:lnTo>
                    <a:pt x="836" y="82"/>
                  </a:lnTo>
                  <a:lnTo>
                    <a:pt x="848" y="91"/>
                  </a:lnTo>
                  <a:lnTo>
                    <a:pt x="861" y="88"/>
                  </a:lnTo>
                  <a:lnTo>
                    <a:pt x="907" y="64"/>
                  </a:lnTo>
                  <a:lnTo>
                    <a:pt x="922" y="60"/>
                  </a:lnTo>
                  <a:lnTo>
                    <a:pt x="929" y="60"/>
                  </a:lnTo>
                  <a:lnTo>
                    <a:pt x="936" y="62"/>
                  </a:lnTo>
                  <a:lnTo>
                    <a:pt x="945" y="66"/>
                  </a:lnTo>
                  <a:lnTo>
                    <a:pt x="961" y="72"/>
                  </a:lnTo>
                  <a:lnTo>
                    <a:pt x="976" y="73"/>
                  </a:lnTo>
                  <a:lnTo>
                    <a:pt x="976" y="73"/>
                  </a:lnTo>
                  <a:lnTo>
                    <a:pt x="977" y="79"/>
                  </a:lnTo>
                  <a:lnTo>
                    <a:pt x="984" y="86"/>
                  </a:lnTo>
                  <a:lnTo>
                    <a:pt x="1008" y="95"/>
                  </a:lnTo>
                  <a:lnTo>
                    <a:pt x="1015" y="99"/>
                  </a:lnTo>
                  <a:lnTo>
                    <a:pt x="1015" y="99"/>
                  </a:lnTo>
                  <a:lnTo>
                    <a:pt x="1022" y="104"/>
                  </a:lnTo>
                  <a:lnTo>
                    <a:pt x="1038" y="110"/>
                  </a:lnTo>
                  <a:lnTo>
                    <a:pt x="1047" y="113"/>
                  </a:lnTo>
                  <a:lnTo>
                    <a:pt x="1052" y="117"/>
                  </a:lnTo>
                  <a:lnTo>
                    <a:pt x="1059" y="124"/>
                  </a:lnTo>
                  <a:lnTo>
                    <a:pt x="1062" y="131"/>
                  </a:lnTo>
                  <a:lnTo>
                    <a:pt x="1059" y="139"/>
                  </a:lnTo>
                  <a:lnTo>
                    <a:pt x="1060" y="153"/>
                  </a:lnTo>
                  <a:lnTo>
                    <a:pt x="1063" y="177"/>
                  </a:lnTo>
                  <a:lnTo>
                    <a:pt x="1063" y="177"/>
                  </a:lnTo>
                  <a:lnTo>
                    <a:pt x="1065" y="187"/>
                  </a:lnTo>
                  <a:lnTo>
                    <a:pt x="1065" y="191"/>
                  </a:lnTo>
                  <a:lnTo>
                    <a:pt x="1072" y="203"/>
                  </a:lnTo>
                  <a:lnTo>
                    <a:pt x="1079" y="212"/>
                  </a:lnTo>
                  <a:lnTo>
                    <a:pt x="1085" y="222"/>
                  </a:lnTo>
                  <a:lnTo>
                    <a:pt x="1082" y="239"/>
                  </a:lnTo>
                  <a:lnTo>
                    <a:pt x="1084" y="241"/>
                  </a:lnTo>
                  <a:lnTo>
                    <a:pt x="1085" y="242"/>
                  </a:lnTo>
                  <a:lnTo>
                    <a:pt x="1085" y="242"/>
                  </a:lnTo>
                  <a:lnTo>
                    <a:pt x="1084" y="245"/>
                  </a:lnTo>
                  <a:lnTo>
                    <a:pt x="1079" y="254"/>
                  </a:lnTo>
                  <a:lnTo>
                    <a:pt x="1075" y="268"/>
                  </a:lnTo>
                  <a:lnTo>
                    <a:pt x="1072" y="284"/>
                  </a:lnTo>
                  <a:lnTo>
                    <a:pt x="1072" y="297"/>
                  </a:lnTo>
                  <a:lnTo>
                    <a:pt x="1070" y="305"/>
                  </a:lnTo>
                  <a:lnTo>
                    <a:pt x="1069" y="309"/>
                  </a:lnTo>
                  <a:lnTo>
                    <a:pt x="1069" y="309"/>
                  </a:lnTo>
                  <a:lnTo>
                    <a:pt x="1066" y="311"/>
                  </a:lnTo>
                  <a:lnTo>
                    <a:pt x="1066" y="311"/>
                  </a:lnTo>
                  <a:lnTo>
                    <a:pt x="1065" y="315"/>
                  </a:lnTo>
                  <a:lnTo>
                    <a:pt x="1063" y="315"/>
                  </a:lnTo>
                  <a:lnTo>
                    <a:pt x="1063" y="315"/>
                  </a:lnTo>
                  <a:lnTo>
                    <a:pt x="1063" y="321"/>
                  </a:lnTo>
                  <a:lnTo>
                    <a:pt x="1063" y="331"/>
                  </a:lnTo>
                  <a:lnTo>
                    <a:pt x="1062" y="337"/>
                  </a:lnTo>
                  <a:lnTo>
                    <a:pt x="1047" y="376"/>
                  </a:lnTo>
                  <a:lnTo>
                    <a:pt x="1030" y="418"/>
                  </a:lnTo>
                  <a:lnTo>
                    <a:pt x="1030" y="418"/>
                  </a:lnTo>
                  <a:lnTo>
                    <a:pt x="1017" y="431"/>
                  </a:lnTo>
                  <a:lnTo>
                    <a:pt x="1017" y="431"/>
                  </a:lnTo>
                  <a:lnTo>
                    <a:pt x="1012" y="440"/>
                  </a:lnTo>
                  <a:lnTo>
                    <a:pt x="1012" y="450"/>
                  </a:lnTo>
                  <a:lnTo>
                    <a:pt x="1012" y="450"/>
                  </a:lnTo>
                  <a:lnTo>
                    <a:pt x="1006" y="465"/>
                  </a:lnTo>
                  <a:lnTo>
                    <a:pt x="1003" y="471"/>
                  </a:lnTo>
                  <a:lnTo>
                    <a:pt x="999" y="475"/>
                  </a:lnTo>
                  <a:lnTo>
                    <a:pt x="993" y="477"/>
                  </a:lnTo>
                  <a:lnTo>
                    <a:pt x="986" y="477"/>
                  </a:lnTo>
                  <a:lnTo>
                    <a:pt x="973" y="474"/>
                  </a:lnTo>
                  <a:lnTo>
                    <a:pt x="960" y="463"/>
                  </a:lnTo>
                  <a:lnTo>
                    <a:pt x="955" y="460"/>
                  </a:lnTo>
                  <a:lnTo>
                    <a:pt x="944" y="458"/>
                  </a:lnTo>
                  <a:lnTo>
                    <a:pt x="941" y="453"/>
                  </a:lnTo>
                  <a:lnTo>
                    <a:pt x="941" y="453"/>
                  </a:lnTo>
                  <a:lnTo>
                    <a:pt x="942" y="443"/>
                  </a:lnTo>
                  <a:lnTo>
                    <a:pt x="948" y="430"/>
                  </a:lnTo>
                  <a:lnTo>
                    <a:pt x="951" y="423"/>
                  </a:lnTo>
                  <a:lnTo>
                    <a:pt x="951" y="423"/>
                  </a:lnTo>
                  <a:lnTo>
                    <a:pt x="948" y="415"/>
                  </a:lnTo>
                  <a:lnTo>
                    <a:pt x="945" y="415"/>
                  </a:lnTo>
                  <a:lnTo>
                    <a:pt x="925" y="424"/>
                  </a:lnTo>
                  <a:lnTo>
                    <a:pt x="922" y="421"/>
                  </a:lnTo>
                  <a:lnTo>
                    <a:pt x="922" y="421"/>
                  </a:lnTo>
                  <a:lnTo>
                    <a:pt x="923" y="414"/>
                  </a:lnTo>
                  <a:lnTo>
                    <a:pt x="928" y="407"/>
                  </a:lnTo>
                  <a:lnTo>
                    <a:pt x="931" y="399"/>
                  </a:lnTo>
                  <a:lnTo>
                    <a:pt x="931" y="391"/>
                  </a:lnTo>
                  <a:lnTo>
                    <a:pt x="931" y="391"/>
                  </a:lnTo>
                  <a:lnTo>
                    <a:pt x="929" y="386"/>
                  </a:lnTo>
                  <a:lnTo>
                    <a:pt x="928" y="382"/>
                  </a:lnTo>
                  <a:lnTo>
                    <a:pt x="923" y="376"/>
                  </a:lnTo>
                  <a:lnTo>
                    <a:pt x="919" y="373"/>
                  </a:lnTo>
                  <a:lnTo>
                    <a:pt x="909" y="370"/>
                  </a:lnTo>
                  <a:lnTo>
                    <a:pt x="904" y="367"/>
                  </a:lnTo>
                  <a:lnTo>
                    <a:pt x="901" y="363"/>
                  </a:lnTo>
                  <a:lnTo>
                    <a:pt x="900" y="360"/>
                  </a:lnTo>
                  <a:lnTo>
                    <a:pt x="900" y="357"/>
                  </a:lnTo>
                  <a:lnTo>
                    <a:pt x="897" y="351"/>
                  </a:lnTo>
                  <a:lnTo>
                    <a:pt x="894" y="360"/>
                  </a:lnTo>
                  <a:lnTo>
                    <a:pt x="891" y="361"/>
                  </a:lnTo>
                  <a:lnTo>
                    <a:pt x="878" y="361"/>
                  </a:lnTo>
                  <a:lnTo>
                    <a:pt x="868" y="366"/>
                  </a:lnTo>
                  <a:lnTo>
                    <a:pt x="865" y="364"/>
                  </a:lnTo>
                  <a:lnTo>
                    <a:pt x="861" y="363"/>
                  </a:lnTo>
                  <a:lnTo>
                    <a:pt x="858" y="360"/>
                  </a:lnTo>
                  <a:lnTo>
                    <a:pt x="856" y="357"/>
                  </a:lnTo>
                  <a:lnTo>
                    <a:pt x="853" y="354"/>
                  </a:lnTo>
                  <a:lnTo>
                    <a:pt x="842" y="350"/>
                  </a:lnTo>
                  <a:lnTo>
                    <a:pt x="830" y="353"/>
                  </a:lnTo>
                  <a:lnTo>
                    <a:pt x="821" y="360"/>
                  </a:lnTo>
                  <a:lnTo>
                    <a:pt x="817" y="376"/>
                  </a:lnTo>
                  <a:lnTo>
                    <a:pt x="813" y="382"/>
                  </a:lnTo>
                  <a:lnTo>
                    <a:pt x="813" y="382"/>
                  </a:lnTo>
                  <a:lnTo>
                    <a:pt x="817" y="385"/>
                  </a:lnTo>
                  <a:lnTo>
                    <a:pt x="829" y="386"/>
                  </a:lnTo>
                  <a:lnTo>
                    <a:pt x="836" y="389"/>
                  </a:lnTo>
                  <a:lnTo>
                    <a:pt x="836" y="389"/>
                  </a:lnTo>
                  <a:lnTo>
                    <a:pt x="834" y="391"/>
                  </a:lnTo>
                  <a:lnTo>
                    <a:pt x="832" y="392"/>
                  </a:lnTo>
                  <a:lnTo>
                    <a:pt x="832" y="398"/>
                  </a:lnTo>
                  <a:lnTo>
                    <a:pt x="832" y="398"/>
                  </a:lnTo>
                  <a:lnTo>
                    <a:pt x="840" y="407"/>
                  </a:lnTo>
                  <a:lnTo>
                    <a:pt x="853" y="411"/>
                  </a:lnTo>
                  <a:lnTo>
                    <a:pt x="862" y="415"/>
                  </a:lnTo>
                  <a:lnTo>
                    <a:pt x="862" y="415"/>
                  </a:lnTo>
                  <a:lnTo>
                    <a:pt x="861" y="430"/>
                  </a:lnTo>
                  <a:lnTo>
                    <a:pt x="850" y="439"/>
                  </a:lnTo>
                  <a:lnTo>
                    <a:pt x="823" y="436"/>
                  </a:lnTo>
                  <a:lnTo>
                    <a:pt x="811" y="439"/>
                  </a:lnTo>
                  <a:lnTo>
                    <a:pt x="807" y="443"/>
                  </a:lnTo>
                  <a:lnTo>
                    <a:pt x="801" y="452"/>
                  </a:lnTo>
                  <a:lnTo>
                    <a:pt x="797" y="456"/>
                  </a:lnTo>
                  <a:lnTo>
                    <a:pt x="743" y="481"/>
                  </a:lnTo>
                  <a:lnTo>
                    <a:pt x="735" y="481"/>
                  </a:lnTo>
                  <a:lnTo>
                    <a:pt x="722" y="479"/>
                  </a:lnTo>
                  <a:lnTo>
                    <a:pt x="716" y="481"/>
                  </a:lnTo>
                  <a:lnTo>
                    <a:pt x="712" y="484"/>
                  </a:lnTo>
                  <a:lnTo>
                    <a:pt x="706" y="491"/>
                  </a:lnTo>
                  <a:lnTo>
                    <a:pt x="703" y="493"/>
                  </a:lnTo>
                  <a:lnTo>
                    <a:pt x="699" y="494"/>
                  </a:lnTo>
                  <a:lnTo>
                    <a:pt x="696" y="493"/>
                  </a:lnTo>
                  <a:lnTo>
                    <a:pt x="693" y="493"/>
                  </a:lnTo>
                  <a:lnTo>
                    <a:pt x="690" y="497"/>
                  </a:lnTo>
                  <a:lnTo>
                    <a:pt x="689" y="503"/>
                  </a:lnTo>
                  <a:lnTo>
                    <a:pt x="689" y="503"/>
                  </a:lnTo>
                  <a:lnTo>
                    <a:pt x="689" y="507"/>
                  </a:lnTo>
                  <a:lnTo>
                    <a:pt x="689" y="511"/>
                  </a:lnTo>
                  <a:lnTo>
                    <a:pt x="689" y="511"/>
                  </a:lnTo>
                  <a:lnTo>
                    <a:pt x="689" y="513"/>
                  </a:lnTo>
                  <a:lnTo>
                    <a:pt x="687" y="517"/>
                  </a:lnTo>
                  <a:lnTo>
                    <a:pt x="684" y="517"/>
                  </a:lnTo>
                  <a:lnTo>
                    <a:pt x="683" y="517"/>
                  </a:lnTo>
                  <a:lnTo>
                    <a:pt x="673" y="525"/>
                  </a:lnTo>
                  <a:lnTo>
                    <a:pt x="667" y="526"/>
                  </a:lnTo>
                  <a:lnTo>
                    <a:pt x="651" y="523"/>
                  </a:lnTo>
                  <a:lnTo>
                    <a:pt x="642" y="525"/>
                  </a:lnTo>
                  <a:lnTo>
                    <a:pt x="629" y="529"/>
                  </a:lnTo>
                  <a:lnTo>
                    <a:pt x="623" y="530"/>
                  </a:lnTo>
                  <a:lnTo>
                    <a:pt x="591" y="530"/>
                  </a:lnTo>
                  <a:lnTo>
                    <a:pt x="577" y="533"/>
                  </a:lnTo>
                  <a:lnTo>
                    <a:pt x="562" y="542"/>
                  </a:lnTo>
                  <a:lnTo>
                    <a:pt x="562" y="542"/>
                  </a:lnTo>
                  <a:lnTo>
                    <a:pt x="566" y="551"/>
                  </a:lnTo>
                  <a:lnTo>
                    <a:pt x="566" y="551"/>
                  </a:lnTo>
                  <a:lnTo>
                    <a:pt x="565" y="558"/>
                  </a:lnTo>
                  <a:lnTo>
                    <a:pt x="559" y="564"/>
                  </a:lnTo>
                  <a:lnTo>
                    <a:pt x="553" y="568"/>
                  </a:lnTo>
                  <a:lnTo>
                    <a:pt x="553" y="568"/>
                  </a:lnTo>
                  <a:lnTo>
                    <a:pt x="556" y="573"/>
                  </a:lnTo>
                  <a:lnTo>
                    <a:pt x="556" y="573"/>
                  </a:lnTo>
                  <a:lnTo>
                    <a:pt x="556" y="576"/>
                  </a:lnTo>
                  <a:lnTo>
                    <a:pt x="553" y="578"/>
                  </a:lnTo>
                  <a:lnTo>
                    <a:pt x="550" y="580"/>
                  </a:lnTo>
                  <a:lnTo>
                    <a:pt x="545" y="587"/>
                  </a:lnTo>
                  <a:lnTo>
                    <a:pt x="539" y="593"/>
                  </a:lnTo>
                  <a:lnTo>
                    <a:pt x="531" y="594"/>
                  </a:lnTo>
                  <a:lnTo>
                    <a:pt x="524" y="592"/>
                  </a:lnTo>
                  <a:lnTo>
                    <a:pt x="521" y="589"/>
                  </a:lnTo>
                  <a:lnTo>
                    <a:pt x="517" y="580"/>
                  </a:lnTo>
                  <a:lnTo>
                    <a:pt x="515" y="578"/>
                  </a:lnTo>
                  <a:lnTo>
                    <a:pt x="511" y="576"/>
                  </a:lnTo>
                  <a:lnTo>
                    <a:pt x="510" y="577"/>
                  </a:lnTo>
                  <a:lnTo>
                    <a:pt x="510" y="578"/>
                  </a:lnTo>
                  <a:lnTo>
                    <a:pt x="508" y="581"/>
                  </a:lnTo>
                  <a:lnTo>
                    <a:pt x="495" y="590"/>
                  </a:lnTo>
                  <a:lnTo>
                    <a:pt x="492" y="594"/>
                  </a:lnTo>
                  <a:lnTo>
                    <a:pt x="489" y="605"/>
                  </a:lnTo>
                  <a:lnTo>
                    <a:pt x="482" y="609"/>
                  </a:lnTo>
                  <a:lnTo>
                    <a:pt x="476" y="606"/>
                  </a:lnTo>
                  <a:lnTo>
                    <a:pt x="470" y="602"/>
                  </a:lnTo>
                  <a:lnTo>
                    <a:pt x="463" y="602"/>
                  </a:lnTo>
                  <a:lnTo>
                    <a:pt x="451" y="632"/>
                  </a:lnTo>
                  <a:lnTo>
                    <a:pt x="447" y="641"/>
                  </a:lnTo>
                  <a:lnTo>
                    <a:pt x="438" y="648"/>
                  </a:lnTo>
                  <a:lnTo>
                    <a:pt x="419" y="647"/>
                  </a:lnTo>
                  <a:lnTo>
                    <a:pt x="411" y="650"/>
                  </a:lnTo>
                  <a:lnTo>
                    <a:pt x="411" y="650"/>
                  </a:lnTo>
                  <a:lnTo>
                    <a:pt x="411" y="650"/>
                  </a:lnTo>
                  <a:lnTo>
                    <a:pt x="411" y="650"/>
                  </a:lnTo>
                  <a:lnTo>
                    <a:pt x="406" y="651"/>
                  </a:lnTo>
                  <a:lnTo>
                    <a:pt x="403" y="651"/>
                  </a:lnTo>
                  <a:lnTo>
                    <a:pt x="400" y="651"/>
                  </a:lnTo>
                  <a:lnTo>
                    <a:pt x="397" y="650"/>
                  </a:lnTo>
                  <a:lnTo>
                    <a:pt x="394" y="648"/>
                  </a:lnTo>
                  <a:lnTo>
                    <a:pt x="392" y="647"/>
                  </a:lnTo>
                  <a:lnTo>
                    <a:pt x="389" y="648"/>
                  </a:lnTo>
                  <a:lnTo>
                    <a:pt x="386" y="650"/>
                  </a:lnTo>
                  <a:lnTo>
                    <a:pt x="384" y="672"/>
                  </a:lnTo>
                  <a:lnTo>
                    <a:pt x="381" y="682"/>
                  </a:lnTo>
                  <a:lnTo>
                    <a:pt x="377" y="688"/>
                  </a:lnTo>
                  <a:lnTo>
                    <a:pt x="365" y="698"/>
                  </a:lnTo>
                  <a:lnTo>
                    <a:pt x="354" y="698"/>
                  </a:lnTo>
                  <a:lnTo>
                    <a:pt x="322" y="677"/>
                  </a:lnTo>
                  <a:lnTo>
                    <a:pt x="319" y="677"/>
                  </a:lnTo>
                  <a:lnTo>
                    <a:pt x="316" y="677"/>
                  </a:lnTo>
                  <a:lnTo>
                    <a:pt x="311" y="680"/>
                  </a:lnTo>
                  <a:lnTo>
                    <a:pt x="309" y="682"/>
                  </a:lnTo>
                  <a:lnTo>
                    <a:pt x="303" y="680"/>
                  </a:lnTo>
                  <a:lnTo>
                    <a:pt x="297" y="682"/>
                  </a:lnTo>
                  <a:lnTo>
                    <a:pt x="291" y="683"/>
                  </a:lnTo>
                  <a:lnTo>
                    <a:pt x="287" y="688"/>
                  </a:lnTo>
                  <a:lnTo>
                    <a:pt x="279" y="699"/>
                  </a:lnTo>
                  <a:lnTo>
                    <a:pt x="275" y="704"/>
                  </a:lnTo>
                  <a:lnTo>
                    <a:pt x="271" y="704"/>
                  </a:lnTo>
                  <a:lnTo>
                    <a:pt x="252" y="701"/>
                  </a:lnTo>
                  <a:lnTo>
                    <a:pt x="227" y="702"/>
                  </a:lnTo>
                  <a:lnTo>
                    <a:pt x="212" y="707"/>
                  </a:lnTo>
                  <a:lnTo>
                    <a:pt x="202" y="715"/>
                  </a:lnTo>
                  <a:lnTo>
                    <a:pt x="201" y="717"/>
                  </a:lnTo>
                  <a:lnTo>
                    <a:pt x="199" y="720"/>
                  </a:lnTo>
                  <a:lnTo>
                    <a:pt x="198" y="723"/>
                  </a:lnTo>
                  <a:lnTo>
                    <a:pt x="198" y="725"/>
                  </a:lnTo>
                  <a:lnTo>
                    <a:pt x="198" y="725"/>
                  </a:lnTo>
                  <a:lnTo>
                    <a:pt x="198" y="725"/>
                  </a:lnTo>
                  <a:lnTo>
                    <a:pt x="198" y="728"/>
                  </a:lnTo>
                  <a:lnTo>
                    <a:pt x="198" y="730"/>
                  </a:lnTo>
                  <a:lnTo>
                    <a:pt x="198" y="730"/>
                  </a:lnTo>
                  <a:lnTo>
                    <a:pt x="198" y="733"/>
                  </a:lnTo>
                  <a:lnTo>
                    <a:pt x="196" y="733"/>
                  </a:lnTo>
                  <a:lnTo>
                    <a:pt x="192" y="733"/>
                  </a:lnTo>
                  <a:lnTo>
                    <a:pt x="192" y="734"/>
                  </a:lnTo>
                  <a:lnTo>
                    <a:pt x="188" y="737"/>
                  </a:lnTo>
                  <a:lnTo>
                    <a:pt x="177" y="743"/>
                  </a:lnTo>
                  <a:lnTo>
                    <a:pt x="173" y="746"/>
                  </a:lnTo>
                  <a:lnTo>
                    <a:pt x="163" y="766"/>
                  </a:lnTo>
                  <a:lnTo>
                    <a:pt x="158" y="771"/>
                  </a:lnTo>
                  <a:lnTo>
                    <a:pt x="154" y="774"/>
                  </a:lnTo>
                  <a:lnTo>
                    <a:pt x="151" y="778"/>
                  </a:lnTo>
                  <a:lnTo>
                    <a:pt x="151" y="785"/>
                  </a:lnTo>
                  <a:lnTo>
                    <a:pt x="144" y="795"/>
                  </a:lnTo>
                  <a:lnTo>
                    <a:pt x="142" y="800"/>
                  </a:lnTo>
                  <a:lnTo>
                    <a:pt x="141" y="810"/>
                  </a:lnTo>
                  <a:lnTo>
                    <a:pt x="141" y="810"/>
                  </a:lnTo>
                  <a:lnTo>
                    <a:pt x="142" y="816"/>
                  </a:lnTo>
                  <a:lnTo>
                    <a:pt x="144" y="822"/>
                  </a:lnTo>
                  <a:lnTo>
                    <a:pt x="144" y="826"/>
                  </a:lnTo>
                  <a:lnTo>
                    <a:pt x="140" y="830"/>
                  </a:lnTo>
                  <a:lnTo>
                    <a:pt x="134" y="829"/>
                  </a:lnTo>
                  <a:lnTo>
                    <a:pt x="129" y="824"/>
                  </a:lnTo>
                  <a:lnTo>
                    <a:pt x="126" y="808"/>
                  </a:lnTo>
                  <a:lnTo>
                    <a:pt x="125" y="806"/>
                  </a:lnTo>
                  <a:lnTo>
                    <a:pt x="125" y="803"/>
                  </a:lnTo>
                  <a:lnTo>
                    <a:pt x="124" y="800"/>
                  </a:lnTo>
                  <a:lnTo>
                    <a:pt x="122" y="797"/>
                  </a:lnTo>
                  <a:lnTo>
                    <a:pt x="116" y="791"/>
                  </a:lnTo>
                  <a:lnTo>
                    <a:pt x="115" y="790"/>
                  </a:lnTo>
                  <a:lnTo>
                    <a:pt x="115" y="790"/>
                  </a:lnTo>
                  <a:lnTo>
                    <a:pt x="115" y="790"/>
                  </a:lnTo>
                  <a:lnTo>
                    <a:pt x="115" y="788"/>
                  </a:lnTo>
                  <a:lnTo>
                    <a:pt x="116" y="787"/>
                  </a:lnTo>
                  <a:lnTo>
                    <a:pt x="116" y="787"/>
                  </a:lnTo>
                  <a:lnTo>
                    <a:pt x="116" y="787"/>
                  </a:lnTo>
                  <a:lnTo>
                    <a:pt x="118" y="787"/>
                  </a:lnTo>
                  <a:lnTo>
                    <a:pt x="118" y="785"/>
                  </a:lnTo>
                  <a:lnTo>
                    <a:pt x="119" y="782"/>
                  </a:lnTo>
                  <a:lnTo>
                    <a:pt x="119" y="781"/>
                  </a:lnTo>
                  <a:lnTo>
                    <a:pt x="119" y="781"/>
                  </a:lnTo>
                  <a:lnTo>
                    <a:pt x="118" y="778"/>
                  </a:lnTo>
                  <a:lnTo>
                    <a:pt x="116" y="776"/>
                  </a:lnTo>
                  <a:lnTo>
                    <a:pt x="106" y="776"/>
                  </a:lnTo>
                  <a:lnTo>
                    <a:pt x="100" y="775"/>
                  </a:lnTo>
                  <a:lnTo>
                    <a:pt x="97" y="772"/>
                  </a:lnTo>
                  <a:lnTo>
                    <a:pt x="96" y="768"/>
                  </a:lnTo>
                  <a:lnTo>
                    <a:pt x="96" y="768"/>
                  </a:lnTo>
                  <a:lnTo>
                    <a:pt x="96" y="758"/>
                  </a:lnTo>
                  <a:lnTo>
                    <a:pt x="96" y="758"/>
                  </a:lnTo>
                  <a:lnTo>
                    <a:pt x="93" y="753"/>
                  </a:lnTo>
                  <a:lnTo>
                    <a:pt x="87" y="749"/>
                  </a:lnTo>
                  <a:lnTo>
                    <a:pt x="70" y="747"/>
                  </a:lnTo>
                  <a:lnTo>
                    <a:pt x="68" y="743"/>
                  </a:lnTo>
                  <a:lnTo>
                    <a:pt x="58" y="740"/>
                  </a:lnTo>
                  <a:lnTo>
                    <a:pt x="54" y="740"/>
                  </a:lnTo>
                  <a:lnTo>
                    <a:pt x="52" y="740"/>
                  </a:lnTo>
                  <a:lnTo>
                    <a:pt x="51" y="740"/>
                  </a:lnTo>
                  <a:lnTo>
                    <a:pt x="49" y="740"/>
                  </a:lnTo>
                  <a:lnTo>
                    <a:pt x="35" y="730"/>
                  </a:lnTo>
                  <a:lnTo>
                    <a:pt x="32" y="728"/>
                  </a:lnTo>
                  <a:lnTo>
                    <a:pt x="30" y="727"/>
                  </a:lnTo>
                  <a:lnTo>
                    <a:pt x="29" y="717"/>
                  </a:lnTo>
                  <a:lnTo>
                    <a:pt x="29" y="714"/>
                  </a:lnTo>
                  <a:lnTo>
                    <a:pt x="29" y="712"/>
                  </a:lnTo>
                  <a:lnTo>
                    <a:pt x="30" y="711"/>
                  </a:lnTo>
                  <a:lnTo>
                    <a:pt x="29" y="708"/>
                  </a:lnTo>
                  <a:lnTo>
                    <a:pt x="22" y="704"/>
                  </a:lnTo>
                  <a:lnTo>
                    <a:pt x="17" y="698"/>
                  </a:lnTo>
                  <a:lnTo>
                    <a:pt x="17" y="696"/>
                  </a:lnTo>
                  <a:lnTo>
                    <a:pt x="16" y="696"/>
                  </a:lnTo>
                  <a:lnTo>
                    <a:pt x="16" y="695"/>
                  </a:lnTo>
                  <a:lnTo>
                    <a:pt x="14" y="693"/>
                  </a:lnTo>
                  <a:lnTo>
                    <a:pt x="11" y="692"/>
                  </a:lnTo>
                  <a:lnTo>
                    <a:pt x="3" y="692"/>
                  </a:lnTo>
                  <a:lnTo>
                    <a:pt x="0" y="688"/>
                  </a:lnTo>
                  <a:lnTo>
                    <a:pt x="0" y="686"/>
                  </a:lnTo>
                  <a:lnTo>
                    <a:pt x="0" y="685"/>
                  </a:lnTo>
                  <a:lnTo>
                    <a:pt x="3" y="683"/>
                  </a:lnTo>
                  <a:lnTo>
                    <a:pt x="4" y="682"/>
                  </a:lnTo>
                  <a:lnTo>
                    <a:pt x="6" y="680"/>
                  </a:lnTo>
                  <a:lnTo>
                    <a:pt x="11" y="679"/>
                  </a:lnTo>
                  <a:lnTo>
                    <a:pt x="13" y="677"/>
                  </a:lnTo>
                  <a:lnTo>
                    <a:pt x="13" y="676"/>
                  </a:lnTo>
                  <a:lnTo>
                    <a:pt x="13" y="673"/>
                  </a:lnTo>
                  <a:lnTo>
                    <a:pt x="13" y="672"/>
                  </a:lnTo>
                  <a:lnTo>
                    <a:pt x="16" y="669"/>
                  </a:lnTo>
                  <a:lnTo>
                    <a:pt x="17" y="667"/>
                  </a:lnTo>
                  <a:lnTo>
                    <a:pt x="17" y="661"/>
                  </a:lnTo>
                  <a:lnTo>
                    <a:pt x="16" y="660"/>
                  </a:lnTo>
                  <a:lnTo>
                    <a:pt x="16" y="659"/>
                  </a:lnTo>
                  <a:lnTo>
                    <a:pt x="11" y="656"/>
                  </a:lnTo>
                  <a:lnTo>
                    <a:pt x="10" y="654"/>
                  </a:lnTo>
                  <a:lnTo>
                    <a:pt x="10" y="653"/>
                  </a:lnTo>
                  <a:lnTo>
                    <a:pt x="10" y="651"/>
                  </a:lnTo>
                  <a:lnTo>
                    <a:pt x="10" y="648"/>
                  </a:lnTo>
                  <a:lnTo>
                    <a:pt x="13" y="642"/>
                  </a:lnTo>
                  <a:lnTo>
                    <a:pt x="16" y="638"/>
                  </a:lnTo>
                  <a:lnTo>
                    <a:pt x="24" y="631"/>
                  </a:lnTo>
                  <a:lnTo>
                    <a:pt x="29" y="626"/>
                  </a:lnTo>
                  <a:lnTo>
                    <a:pt x="29" y="625"/>
                  </a:lnTo>
                  <a:lnTo>
                    <a:pt x="30" y="624"/>
                  </a:lnTo>
                  <a:lnTo>
                    <a:pt x="30" y="622"/>
                  </a:lnTo>
                  <a:lnTo>
                    <a:pt x="32" y="621"/>
                  </a:lnTo>
                  <a:lnTo>
                    <a:pt x="33" y="621"/>
                  </a:lnTo>
                  <a:lnTo>
                    <a:pt x="36" y="621"/>
                  </a:lnTo>
                  <a:lnTo>
                    <a:pt x="39" y="621"/>
                  </a:lnTo>
                  <a:lnTo>
                    <a:pt x="40" y="622"/>
                  </a:lnTo>
                  <a:lnTo>
                    <a:pt x="42" y="622"/>
                  </a:lnTo>
                  <a:lnTo>
                    <a:pt x="43" y="626"/>
                  </a:lnTo>
                  <a:lnTo>
                    <a:pt x="43" y="626"/>
                  </a:lnTo>
                  <a:lnTo>
                    <a:pt x="45" y="628"/>
                  </a:lnTo>
                  <a:lnTo>
                    <a:pt x="46" y="628"/>
                  </a:lnTo>
                  <a:lnTo>
                    <a:pt x="48" y="629"/>
                  </a:lnTo>
                  <a:lnTo>
                    <a:pt x="49" y="629"/>
                  </a:lnTo>
                  <a:lnTo>
                    <a:pt x="51" y="629"/>
                  </a:lnTo>
                  <a:lnTo>
                    <a:pt x="52" y="629"/>
                  </a:lnTo>
                  <a:lnTo>
                    <a:pt x="55" y="626"/>
                  </a:lnTo>
                  <a:lnTo>
                    <a:pt x="64" y="613"/>
                  </a:lnTo>
                  <a:lnTo>
                    <a:pt x="68" y="612"/>
                  </a:lnTo>
                  <a:lnTo>
                    <a:pt x="71" y="613"/>
                  </a:lnTo>
                  <a:lnTo>
                    <a:pt x="73" y="613"/>
                  </a:lnTo>
                  <a:lnTo>
                    <a:pt x="74" y="615"/>
                  </a:lnTo>
                  <a:lnTo>
                    <a:pt x="75" y="615"/>
                  </a:lnTo>
                  <a:lnTo>
                    <a:pt x="77" y="615"/>
                  </a:lnTo>
                  <a:lnTo>
                    <a:pt x="78" y="615"/>
                  </a:lnTo>
                  <a:lnTo>
                    <a:pt x="83" y="613"/>
                  </a:lnTo>
                  <a:lnTo>
                    <a:pt x="86" y="612"/>
                  </a:lnTo>
                  <a:lnTo>
                    <a:pt x="87" y="610"/>
                  </a:lnTo>
                  <a:lnTo>
                    <a:pt x="89" y="609"/>
                  </a:lnTo>
                  <a:lnTo>
                    <a:pt x="90" y="605"/>
                  </a:lnTo>
                  <a:lnTo>
                    <a:pt x="91" y="600"/>
                  </a:lnTo>
                  <a:lnTo>
                    <a:pt x="90" y="590"/>
                  </a:lnTo>
                  <a:lnTo>
                    <a:pt x="97" y="581"/>
                  </a:lnTo>
                  <a:lnTo>
                    <a:pt x="99" y="578"/>
                  </a:lnTo>
                  <a:lnTo>
                    <a:pt x="100" y="577"/>
                  </a:lnTo>
                  <a:lnTo>
                    <a:pt x="102" y="577"/>
                  </a:lnTo>
                  <a:lnTo>
                    <a:pt x="107" y="577"/>
                  </a:lnTo>
                  <a:lnTo>
                    <a:pt x="115" y="578"/>
                  </a:lnTo>
                  <a:lnTo>
                    <a:pt x="124" y="577"/>
                  </a:lnTo>
                  <a:lnTo>
                    <a:pt x="125" y="577"/>
                  </a:lnTo>
                  <a:lnTo>
                    <a:pt x="135" y="568"/>
                  </a:lnTo>
                  <a:lnTo>
                    <a:pt x="138" y="565"/>
                  </a:lnTo>
                  <a:lnTo>
                    <a:pt x="140" y="564"/>
                  </a:lnTo>
                  <a:lnTo>
                    <a:pt x="147" y="551"/>
                  </a:lnTo>
                  <a:lnTo>
                    <a:pt x="144" y="549"/>
                  </a:lnTo>
                  <a:lnTo>
                    <a:pt x="140" y="551"/>
                  </a:lnTo>
                  <a:lnTo>
                    <a:pt x="135" y="551"/>
                  </a:lnTo>
                  <a:lnTo>
                    <a:pt x="134" y="549"/>
                  </a:lnTo>
                  <a:lnTo>
                    <a:pt x="134" y="549"/>
                  </a:lnTo>
                  <a:lnTo>
                    <a:pt x="132" y="548"/>
                  </a:lnTo>
                  <a:lnTo>
                    <a:pt x="131" y="546"/>
                  </a:lnTo>
                  <a:lnTo>
                    <a:pt x="129" y="545"/>
                  </a:lnTo>
                  <a:lnTo>
                    <a:pt x="128" y="539"/>
                  </a:lnTo>
                  <a:lnTo>
                    <a:pt x="128" y="536"/>
                  </a:lnTo>
                  <a:lnTo>
                    <a:pt x="128" y="533"/>
                  </a:lnTo>
                  <a:lnTo>
                    <a:pt x="129" y="530"/>
                  </a:lnTo>
                  <a:lnTo>
                    <a:pt x="129" y="529"/>
                  </a:lnTo>
                  <a:lnTo>
                    <a:pt x="128" y="527"/>
                  </a:lnTo>
                  <a:lnTo>
                    <a:pt x="126" y="525"/>
                  </a:lnTo>
                  <a:lnTo>
                    <a:pt x="125" y="525"/>
                  </a:lnTo>
                  <a:lnTo>
                    <a:pt x="124" y="525"/>
                  </a:lnTo>
                  <a:lnTo>
                    <a:pt x="122" y="525"/>
                  </a:lnTo>
                  <a:lnTo>
                    <a:pt x="121" y="526"/>
                  </a:lnTo>
                  <a:lnTo>
                    <a:pt x="119" y="525"/>
                  </a:lnTo>
                  <a:lnTo>
                    <a:pt x="119" y="523"/>
                  </a:lnTo>
                  <a:lnTo>
                    <a:pt x="119" y="520"/>
                  </a:lnTo>
                  <a:lnTo>
                    <a:pt x="122" y="514"/>
                  </a:lnTo>
                  <a:lnTo>
                    <a:pt x="124" y="511"/>
                  </a:lnTo>
                  <a:lnTo>
                    <a:pt x="125" y="511"/>
                  </a:lnTo>
                  <a:lnTo>
                    <a:pt x="128" y="511"/>
                  </a:lnTo>
                  <a:lnTo>
                    <a:pt x="128" y="510"/>
                  </a:lnTo>
                  <a:lnTo>
                    <a:pt x="129" y="510"/>
                  </a:lnTo>
                  <a:lnTo>
                    <a:pt x="129" y="510"/>
                  </a:lnTo>
                  <a:lnTo>
                    <a:pt x="132" y="507"/>
                  </a:lnTo>
                  <a:lnTo>
                    <a:pt x="135" y="504"/>
                  </a:lnTo>
                  <a:lnTo>
                    <a:pt x="135" y="503"/>
                  </a:lnTo>
                  <a:lnTo>
                    <a:pt x="135" y="501"/>
                  </a:lnTo>
                  <a:lnTo>
                    <a:pt x="134" y="500"/>
                  </a:lnTo>
                  <a:lnTo>
                    <a:pt x="128" y="497"/>
                  </a:lnTo>
                  <a:lnTo>
                    <a:pt x="125" y="493"/>
                  </a:lnTo>
                  <a:lnTo>
                    <a:pt x="125" y="487"/>
                  </a:lnTo>
                  <a:lnTo>
                    <a:pt x="150" y="479"/>
                  </a:lnTo>
                  <a:lnTo>
                    <a:pt x="153" y="477"/>
                  </a:lnTo>
                  <a:lnTo>
                    <a:pt x="161" y="469"/>
                  </a:lnTo>
                  <a:lnTo>
                    <a:pt x="164" y="468"/>
                  </a:lnTo>
                  <a:lnTo>
                    <a:pt x="166" y="468"/>
                  </a:lnTo>
                  <a:lnTo>
                    <a:pt x="176" y="466"/>
                  </a:lnTo>
                  <a:lnTo>
                    <a:pt x="179" y="468"/>
                  </a:lnTo>
                  <a:lnTo>
                    <a:pt x="180" y="468"/>
                  </a:lnTo>
                  <a:lnTo>
                    <a:pt x="180" y="469"/>
                  </a:lnTo>
                  <a:lnTo>
                    <a:pt x="182" y="469"/>
                  </a:lnTo>
                  <a:lnTo>
                    <a:pt x="183" y="469"/>
                  </a:lnTo>
                  <a:lnTo>
                    <a:pt x="189" y="460"/>
                  </a:lnTo>
                  <a:lnTo>
                    <a:pt x="196" y="452"/>
                  </a:lnTo>
                  <a:lnTo>
                    <a:pt x="209" y="444"/>
                  </a:lnTo>
                  <a:lnTo>
                    <a:pt x="209" y="443"/>
                  </a:lnTo>
                  <a:lnTo>
                    <a:pt x="211" y="443"/>
                  </a:lnTo>
                  <a:lnTo>
                    <a:pt x="211" y="437"/>
                  </a:lnTo>
                  <a:lnTo>
                    <a:pt x="217" y="440"/>
                  </a:lnTo>
                  <a:lnTo>
                    <a:pt x="218" y="440"/>
                  </a:lnTo>
                  <a:lnTo>
                    <a:pt x="225" y="440"/>
                  </a:lnTo>
                  <a:lnTo>
                    <a:pt x="237" y="442"/>
                  </a:lnTo>
                  <a:lnTo>
                    <a:pt x="239" y="440"/>
                  </a:lnTo>
                  <a:lnTo>
                    <a:pt x="242" y="440"/>
                  </a:lnTo>
                  <a:lnTo>
                    <a:pt x="243" y="440"/>
                  </a:lnTo>
                  <a:lnTo>
                    <a:pt x="244" y="440"/>
                  </a:lnTo>
                  <a:lnTo>
                    <a:pt x="246" y="443"/>
                  </a:lnTo>
                  <a:lnTo>
                    <a:pt x="246" y="444"/>
                  </a:lnTo>
                  <a:lnTo>
                    <a:pt x="247" y="444"/>
                  </a:lnTo>
                  <a:lnTo>
                    <a:pt x="250" y="442"/>
                  </a:lnTo>
                  <a:lnTo>
                    <a:pt x="253" y="436"/>
                  </a:lnTo>
                  <a:lnTo>
                    <a:pt x="255" y="434"/>
                  </a:lnTo>
                  <a:lnTo>
                    <a:pt x="256" y="433"/>
                  </a:lnTo>
                  <a:lnTo>
                    <a:pt x="260" y="431"/>
                  </a:lnTo>
                  <a:lnTo>
                    <a:pt x="260" y="430"/>
                  </a:lnTo>
                  <a:lnTo>
                    <a:pt x="260" y="427"/>
                  </a:lnTo>
                  <a:lnTo>
                    <a:pt x="253" y="412"/>
                  </a:lnTo>
                  <a:lnTo>
                    <a:pt x="244" y="399"/>
                  </a:lnTo>
                  <a:lnTo>
                    <a:pt x="234" y="394"/>
                  </a:lnTo>
                  <a:lnTo>
                    <a:pt x="230" y="391"/>
                  </a:lnTo>
                  <a:lnTo>
                    <a:pt x="225" y="389"/>
                  </a:lnTo>
                  <a:lnTo>
                    <a:pt x="220" y="383"/>
                  </a:lnTo>
                  <a:lnTo>
                    <a:pt x="217" y="376"/>
                  </a:lnTo>
                  <a:lnTo>
                    <a:pt x="207" y="359"/>
                  </a:lnTo>
                  <a:lnTo>
                    <a:pt x="207" y="357"/>
                  </a:lnTo>
                  <a:lnTo>
                    <a:pt x="204" y="341"/>
                  </a:lnTo>
                  <a:lnTo>
                    <a:pt x="150" y="324"/>
                  </a:lnTo>
                  <a:lnTo>
                    <a:pt x="126" y="327"/>
                  </a:lnTo>
                  <a:lnTo>
                    <a:pt x="112" y="324"/>
                  </a:lnTo>
                  <a:lnTo>
                    <a:pt x="110" y="322"/>
                  </a:lnTo>
                  <a:lnTo>
                    <a:pt x="110" y="321"/>
                  </a:lnTo>
                  <a:lnTo>
                    <a:pt x="109" y="316"/>
                  </a:lnTo>
                  <a:lnTo>
                    <a:pt x="109" y="313"/>
                  </a:lnTo>
                  <a:lnTo>
                    <a:pt x="109" y="311"/>
                  </a:lnTo>
                  <a:lnTo>
                    <a:pt x="107" y="309"/>
                  </a:lnTo>
                  <a:lnTo>
                    <a:pt x="100" y="303"/>
                  </a:lnTo>
                  <a:lnTo>
                    <a:pt x="97" y="297"/>
                  </a:lnTo>
                  <a:lnTo>
                    <a:pt x="99" y="283"/>
                  </a:lnTo>
                  <a:lnTo>
                    <a:pt x="91" y="280"/>
                  </a:lnTo>
                  <a:lnTo>
                    <a:pt x="89" y="278"/>
                  </a:lnTo>
                  <a:lnTo>
                    <a:pt x="89" y="274"/>
                  </a:lnTo>
                  <a:lnTo>
                    <a:pt x="90" y="273"/>
                  </a:lnTo>
                  <a:lnTo>
                    <a:pt x="91" y="270"/>
                  </a:lnTo>
                  <a:lnTo>
                    <a:pt x="93" y="268"/>
                  </a:lnTo>
                  <a:lnTo>
                    <a:pt x="93" y="267"/>
                  </a:lnTo>
                  <a:lnTo>
                    <a:pt x="93" y="265"/>
                  </a:lnTo>
                  <a:lnTo>
                    <a:pt x="93" y="264"/>
                  </a:lnTo>
                  <a:lnTo>
                    <a:pt x="93" y="248"/>
                  </a:lnTo>
                  <a:lnTo>
                    <a:pt x="91" y="242"/>
                  </a:lnTo>
                  <a:lnTo>
                    <a:pt x="84" y="233"/>
                  </a:lnTo>
                  <a:lnTo>
                    <a:pt x="84" y="222"/>
                  </a:lnTo>
                  <a:lnTo>
                    <a:pt x="83" y="217"/>
                  </a:lnTo>
                  <a:lnTo>
                    <a:pt x="83" y="216"/>
                  </a:lnTo>
                  <a:lnTo>
                    <a:pt x="81" y="214"/>
                  </a:lnTo>
                  <a:lnTo>
                    <a:pt x="81" y="214"/>
                  </a:lnTo>
                  <a:lnTo>
                    <a:pt x="81" y="213"/>
                  </a:lnTo>
                  <a:lnTo>
                    <a:pt x="81" y="212"/>
                  </a:lnTo>
                  <a:lnTo>
                    <a:pt x="81" y="209"/>
                  </a:lnTo>
                  <a:lnTo>
                    <a:pt x="83" y="206"/>
                  </a:lnTo>
                  <a:lnTo>
                    <a:pt x="86" y="200"/>
                  </a:lnTo>
                  <a:lnTo>
                    <a:pt x="89" y="197"/>
                  </a:lnTo>
                  <a:lnTo>
                    <a:pt x="90" y="196"/>
                  </a:lnTo>
                  <a:lnTo>
                    <a:pt x="96" y="196"/>
                  </a:lnTo>
                  <a:lnTo>
                    <a:pt x="96" y="196"/>
                  </a:lnTo>
                  <a:lnTo>
                    <a:pt x="97" y="194"/>
                  </a:lnTo>
                  <a:lnTo>
                    <a:pt x="99" y="193"/>
                  </a:lnTo>
                  <a:lnTo>
                    <a:pt x="99" y="191"/>
                  </a:lnTo>
                  <a:lnTo>
                    <a:pt x="99" y="190"/>
                  </a:lnTo>
                  <a:lnTo>
                    <a:pt x="100" y="187"/>
                  </a:lnTo>
                  <a:lnTo>
                    <a:pt x="100" y="182"/>
                  </a:lnTo>
                  <a:lnTo>
                    <a:pt x="99" y="178"/>
                  </a:lnTo>
                  <a:lnTo>
                    <a:pt x="97" y="172"/>
                  </a:lnTo>
                  <a:lnTo>
                    <a:pt x="96" y="169"/>
                  </a:lnTo>
                  <a:lnTo>
                    <a:pt x="94" y="166"/>
                  </a:lnTo>
                  <a:lnTo>
                    <a:pt x="94" y="165"/>
                  </a:lnTo>
                  <a:lnTo>
                    <a:pt x="94" y="156"/>
                  </a:lnTo>
                  <a:lnTo>
                    <a:pt x="93" y="143"/>
                  </a:lnTo>
                  <a:lnTo>
                    <a:pt x="91" y="140"/>
                  </a:lnTo>
                  <a:lnTo>
                    <a:pt x="91" y="139"/>
                  </a:lnTo>
                  <a:lnTo>
                    <a:pt x="90" y="137"/>
                  </a:lnTo>
                  <a:lnTo>
                    <a:pt x="90" y="136"/>
                  </a:lnTo>
                  <a:lnTo>
                    <a:pt x="90" y="129"/>
                  </a:lnTo>
                  <a:lnTo>
                    <a:pt x="90" y="127"/>
                  </a:lnTo>
                  <a:lnTo>
                    <a:pt x="90" y="126"/>
                  </a:lnTo>
                  <a:lnTo>
                    <a:pt x="90" y="124"/>
                  </a:lnTo>
                  <a:lnTo>
                    <a:pt x="91" y="123"/>
                  </a:lnTo>
                  <a:lnTo>
                    <a:pt x="96" y="120"/>
                  </a:lnTo>
                  <a:lnTo>
                    <a:pt x="96" y="118"/>
                  </a:lnTo>
                  <a:lnTo>
                    <a:pt x="99" y="115"/>
                  </a:lnTo>
                  <a:lnTo>
                    <a:pt x="99" y="114"/>
                  </a:lnTo>
                  <a:lnTo>
                    <a:pt x="100" y="113"/>
                  </a:lnTo>
                  <a:lnTo>
                    <a:pt x="102" y="113"/>
                  </a:lnTo>
                  <a:lnTo>
                    <a:pt x="103" y="105"/>
                  </a:lnTo>
                  <a:lnTo>
                    <a:pt x="103" y="80"/>
                  </a:lnTo>
                  <a:lnTo>
                    <a:pt x="112" y="72"/>
                  </a:lnTo>
                  <a:lnTo>
                    <a:pt x="113" y="72"/>
                  </a:lnTo>
                  <a:lnTo>
                    <a:pt x="113" y="70"/>
                  </a:lnTo>
                  <a:lnTo>
                    <a:pt x="115" y="69"/>
                  </a:lnTo>
                  <a:lnTo>
                    <a:pt x="115" y="66"/>
                  </a:lnTo>
                  <a:lnTo>
                    <a:pt x="115" y="63"/>
                  </a:lnTo>
                  <a:lnTo>
                    <a:pt x="116" y="62"/>
                  </a:lnTo>
                  <a:lnTo>
                    <a:pt x="116" y="62"/>
                  </a:lnTo>
                  <a:lnTo>
                    <a:pt x="119" y="62"/>
                  </a:lnTo>
                  <a:lnTo>
                    <a:pt x="122" y="64"/>
                  </a:lnTo>
                  <a:lnTo>
                    <a:pt x="128" y="66"/>
                  </a:lnTo>
                  <a:lnTo>
                    <a:pt x="138" y="67"/>
                  </a:lnTo>
                  <a:lnTo>
                    <a:pt x="141" y="67"/>
                  </a:lnTo>
                  <a:lnTo>
                    <a:pt x="158" y="59"/>
                  </a:lnTo>
                  <a:lnTo>
                    <a:pt x="185" y="56"/>
                  </a:lnTo>
                  <a:lnTo>
                    <a:pt x="186" y="54"/>
                  </a:lnTo>
                  <a:lnTo>
                    <a:pt x="188" y="53"/>
                  </a:lnTo>
                  <a:lnTo>
                    <a:pt x="188" y="50"/>
                  </a:lnTo>
                  <a:lnTo>
                    <a:pt x="189" y="40"/>
                  </a:lnTo>
                  <a:lnTo>
                    <a:pt x="192" y="38"/>
                  </a:lnTo>
                  <a:lnTo>
                    <a:pt x="195" y="38"/>
                  </a:lnTo>
                  <a:lnTo>
                    <a:pt x="220" y="40"/>
                  </a:lnTo>
                  <a:lnTo>
                    <a:pt x="224" y="43"/>
                  </a:lnTo>
                  <a:lnTo>
                    <a:pt x="258" y="37"/>
                  </a:lnTo>
                  <a:lnTo>
                    <a:pt x="259" y="37"/>
                  </a:lnTo>
                  <a:lnTo>
                    <a:pt x="260" y="38"/>
                  </a:lnTo>
                  <a:lnTo>
                    <a:pt x="260" y="40"/>
                  </a:lnTo>
                  <a:lnTo>
                    <a:pt x="263" y="40"/>
                  </a:lnTo>
                  <a:lnTo>
                    <a:pt x="265" y="40"/>
                  </a:lnTo>
                  <a:lnTo>
                    <a:pt x="269" y="35"/>
                  </a:lnTo>
                  <a:lnTo>
                    <a:pt x="272" y="32"/>
                  </a:lnTo>
                  <a:lnTo>
                    <a:pt x="275" y="28"/>
                  </a:lnTo>
                  <a:lnTo>
                    <a:pt x="278" y="22"/>
                  </a:lnTo>
                  <a:lnTo>
                    <a:pt x="284" y="19"/>
                  </a:lnTo>
                  <a:lnTo>
                    <a:pt x="297" y="21"/>
                  </a:lnTo>
                  <a:lnTo>
                    <a:pt x="307" y="25"/>
                  </a:lnTo>
                  <a:lnTo>
                    <a:pt x="313" y="22"/>
                  </a:lnTo>
                  <a:lnTo>
                    <a:pt x="332" y="6"/>
                  </a:lnTo>
                  <a:lnTo>
                    <a:pt x="335" y="2"/>
                  </a:lnTo>
                  <a:lnTo>
                    <a:pt x="345" y="0"/>
                  </a:lnTo>
                  <a:lnTo>
                    <a:pt x="348" y="9"/>
                  </a:lnTo>
                  <a:lnTo>
                    <a:pt x="354" y="12"/>
                  </a:lnTo>
                  <a:lnTo>
                    <a:pt x="358" y="15"/>
                  </a:lnTo>
                  <a:lnTo>
                    <a:pt x="362" y="15"/>
                  </a:lnTo>
                  <a:lnTo>
                    <a:pt x="370" y="1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9">
              <a:extLst>
                <a:ext uri="{FF2B5EF4-FFF2-40B4-BE49-F238E27FC236}">
                  <a16:creationId xmlns:a16="http://schemas.microsoft.com/office/drawing/2014/main" id="{31DA7384-A5EC-41EC-9774-4E1B73120716}"/>
                </a:ext>
              </a:extLst>
            </p:cNvPr>
            <p:cNvSpPr>
              <a:spLocks/>
            </p:cNvSpPr>
            <p:nvPr/>
          </p:nvSpPr>
          <p:spPr bwMode="gray">
            <a:xfrm>
              <a:off x="3836988" y="4905375"/>
              <a:ext cx="579438" cy="442913"/>
            </a:xfrm>
            <a:custGeom>
              <a:avLst/>
              <a:gdLst>
                <a:gd name="T0" fmla="*/ 254 w 365"/>
                <a:gd name="T1" fmla="*/ 14 h 279"/>
                <a:gd name="T2" fmla="*/ 296 w 365"/>
                <a:gd name="T3" fmla="*/ 32 h 279"/>
                <a:gd name="T4" fmla="*/ 305 w 365"/>
                <a:gd name="T5" fmla="*/ 35 h 279"/>
                <a:gd name="T6" fmla="*/ 319 w 365"/>
                <a:gd name="T7" fmla="*/ 29 h 279"/>
                <a:gd name="T8" fmla="*/ 324 w 365"/>
                <a:gd name="T9" fmla="*/ 36 h 279"/>
                <a:gd name="T10" fmla="*/ 330 w 365"/>
                <a:gd name="T11" fmla="*/ 62 h 279"/>
                <a:gd name="T12" fmla="*/ 334 w 365"/>
                <a:gd name="T13" fmla="*/ 68 h 279"/>
                <a:gd name="T14" fmla="*/ 335 w 365"/>
                <a:gd name="T15" fmla="*/ 74 h 279"/>
                <a:gd name="T16" fmla="*/ 328 w 365"/>
                <a:gd name="T17" fmla="*/ 83 h 279"/>
                <a:gd name="T18" fmla="*/ 315 w 365"/>
                <a:gd name="T19" fmla="*/ 96 h 279"/>
                <a:gd name="T20" fmla="*/ 331 w 365"/>
                <a:gd name="T21" fmla="*/ 123 h 279"/>
                <a:gd name="T22" fmla="*/ 331 w 365"/>
                <a:gd name="T23" fmla="*/ 126 h 279"/>
                <a:gd name="T24" fmla="*/ 359 w 365"/>
                <a:gd name="T25" fmla="*/ 137 h 279"/>
                <a:gd name="T26" fmla="*/ 362 w 365"/>
                <a:gd name="T27" fmla="*/ 148 h 279"/>
                <a:gd name="T28" fmla="*/ 363 w 365"/>
                <a:gd name="T29" fmla="*/ 155 h 279"/>
                <a:gd name="T30" fmla="*/ 354 w 365"/>
                <a:gd name="T31" fmla="*/ 166 h 279"/>
                <a:gd name="T32" fmla="*/ 352 w 365"/>
                <a:gd name="T33" fmla="*/ 177 h 279"/>
                <a:gd name="T34" fmla="*/ 346 w 365"/>
                <a:gd name="T35" fmla="*/ 183 h 279"/>
                <a:gd name="T36" fmla="*/ 343 w 365"/>
                <a:gd name="T37" fmla="*/ 195 h 279"/>
                <a:gd name="T38" fmla="*/ 338 w 365"/>
                <a:gd name="T39" fmla="*/ 201 h 279"/>
                <a:gd name="T40" fmla="*/ 335 w 365"/>
                <a:gd name="T41" fmla="*/ 202 h 279"/>
                <a:gd name="T42" fmla="*/ 333 w 365"/>
                <a:gd name="T43" fmla="*/ 202 h 279"/>
                <a:gd name="T44" fmla="*/ 328 w 365"/>
                <a:gd name="T45" fmla="*/ 208 h 279"/>
                <a:gd name="T46" fmla="*/ 330 w 365"/>
                <a:gd name="T47" fmla="*/ 220 h 279"/>
                <a:gd name="T48" fmla="*/ 350 w 365"/>
                <a:gd name="T49" fmla="*/ 246 h 279"/>
                <a:gd name="T50" fmla="*/ 350 w 365"/>
                <a:gd name="T51" fmla="*/ 250 h 279"/>
                <a:gd name="T52" fmla="*/ 341 w 365"/>
                <a:gd name="T53" fmla="*/ 265 h 279"/>
                <a:gd name="T54" fmla="*/ 325 w 365"/>
                <a:gd name="T55" fmla="*/ 276 h 279"/>
                <a:gd name="T56" fmla="*/ 282 w 365"/>
                <a:gd name="T57" fmla="*/ 273 h 279"/>
                <a:gd name="T58" fmla="*/ 257 w 365"/>
                <a:gd name="T59" fmla="*/ 259 h 279"/>
                <a:gd name="T60" fmla="*/ 254 w 365"/>
                <a:gd name="T61" fmla="*/ 268 h 279"/>
                <a:gd name="T62" fmla="*/ 235 w 365"/>
                <a:gd name="T63" fmla="*/ 272 h 279"/>
                <a:gd name="T64" fmla="*/ 232 w 365"/>
                <a:gd name="T65" fmla="*/ 238 h 279"/>
                <a:gd name="T66" fmla="*/ 188 w 365"/>
                <a:gd name="T67" fmla="*/ 225 h 279"/>
                <a:gd name="T68" fmla="*/ 168 w 365"/>
                <a:gd name="T69" fmla="*/ 231 h 279"/>
                <a:gd name="T70" fmla="*/ 166 w 365"/>
                <a:gd name="T71" fmla="*/ 256 h 279"/>
                <a:gd name="T72" fmla="*/ 129 w 365"/>
                <a:gd name="T73" fmla="*/ 250 h 279"/>
                <a:gd name="T74" fmla="*/ 127 w 365"/>
                <a:gd name="T75" fmla="*/ 230 h 279"/>
                <a:gd name="T76" fmla="*/ 118 w 365"/>
                <a:gd name="T77" fmla="*/ 224 h 279"/>
                <a:gd name="T78" fmla="*/ 116 w 365"/>
                <a:gd name="T79" fmla="*/ 217 h 279"/>
                <a:gd name="T80" fmla="*/ 105 w 365"/>
                <a:gd name="T81" fmla="*/ 202 h 279"/>
                <a:gd name="T82" fmla="*/ 104 w 365"/>
                <a:gd name="T83" fmla="*/ 193 h 279"/>
                <a:gd name="T84" fmla="*/ 75 w 365"/>
                <a:gd name="T85" fmla="*/ 161 h 279"/>
                <a:gd name="T86" fmla="*/ 81 w 365"/>
                <a:gd name="T87" fmla="*/ 150 h 279"/>
                <a:gd name="T88" fmla="*/ 63 w 365"/>
                <a:gd name="T89" fmla="*/ 125 h 279"/>
                <a:gd name="T90" fmla="*/ 62 w 365"/>
                <a:gd name="T91" fmla="*/ 121 h 279"/>
                <a:gd name="T92" fmla="*/ 53 w 365"/>
                <a:gd name="T93" fmla="*/ 103 h 279"/>
                <a:gd name="T94" fmla="*/ 8 w 365"/>
                <a:gd name="T95" fmla="*/ 93 h 279"/>
                <a:gd name="T96" fmla="*/ 0 w 365"/>
                <a:gd name="T97" fmla="*/ 72 h 279"/>
                <a:gd name="T98" fmla="*/ 91 w 365"/>
                <a:gd name="T99" fmla="*/ 54 h 279"/>
                <a:gd name="T100" fmla="*/ 129 w 365"/>
                <a:gd name="T101" fmla="*/ 42 h 279"/>
                <a:gd name="T102" fmla="*/ 210 w 365"/>
                <a:gd name="T103" fmla="*/ 1 h 279"/>
                <a:gd name="T104" fmla="*/ 228 w 365"/>
                <a:gd name="T105"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5" h="279">
                  <a:moveTo>
                    <a:pt x="228" y="0"/>
                  </a:moveTo>
                  <a:lnTo>
                    <a:pt x="250" y="11"/>
                  </a:lnTo>
                  <a:lnTo>
                    <a:pt x="251" y="13"/>
                  </a:lnTo>
                  <a:lnTo>
                    <a:pt x="254" y="14"/>
                  </a:lnTo>
                  <a:lnTo>
                    <a:pt x="274" y="14"/>
                  </a:lnTo>
                  <a:lnTo>
                    <a:pt x="276" y="16"/>
                  </a:lnTo>
                  <a:lnTo>
                    <a:pt x="284" y="23"/>
                  </a:lnTo>
                  <a:lnTo>
                    <a:pt x="296" y="32"/>
                  </a:lnTo>
                  <a:lnTo>
                    <a:pt x="298" y="33"/>
                  </a:lnTo>
                  <a:lnTo>
                    <a:pt x="299" y="35"/>
                  </a:lnTo>
                  <a:lnTo>
                    <a:pt x="301" y="35"/>
                  </a:lnTo>
                  <a:lnTo>
                    <a:pt x="305" y="35"/>
                  </a:lnTo>
                  <a:lnTo>
                    <a:pt x="311" y="33"/>
                  </a:lnTo>
                  <a:lnTo>
                    <a:pt x="315" y="33"/>
                  </a:lnTo>
                  <a:lnTo>
                    <a:pt x="318" y="30"/>
                  </a:lnTo>
                  <a:lnTo>
                    <a:pt x="319" y="29"/>
                  </a:lnTo>
                  <a:lnTo>
                    <a:pt x="321" y="27"/>
                  </a:lnTo>
                  <a:lnTo>
                    <a:pt x="322" y="27"/>
                  </a:lnTo>
                  <a:lnTo>
                    <a:pt x="324" y="29"/>
                  </a:lnTo>
                  <a:lnTo>
                    <a:pt x="324" y="36"/>
                  </a:lnTo>
                  <a:lnTo>
                    <a:pt x="325" y="43"/>
                  </a:lnTo>
                  <a:lnTo>
                    <a:pt x="330" y="51"/>
                  </a:lnTo>
                  <a:lnTo>
                    <a:pt x="330" y="56"/>
                  </a:lnTo>
                  <a:lnTo>
                    <a:pt x="330" y="62"/>
                  </a:lnTo>
                  <a:lnTo>
                    <a:pt x="331" y="65"/>
                  </a:lnTo>
                  <a:lnTo>
                    <a:pt x="331" y="67"/>
                  </a:lnTo>
                  <a:lnTo>
                    <a:pt x="333" y="67"/>
                  </a:lnTo>
                  <a:lnTo>
                    <a:pt x="334" y="68"/>
                  </a:lnTo>
                  <a:lnTo>
                    <a:pt x="335" y="68"/>
                  </a:lnTo>
                  <a:lnTo>
                    <a:pt x="335" y="70"/>
                  </a:lnTo>
                  <a:lnTo>
                    <a:pt x="335" y="71"/>
                  </a:lnTo>
                  <a:lnTo>
                    <a:pt x="335" y="74"/>
                  </a:lnTo>
                  <a:lnTo>
                    <a:pt x="335" y="77"/>
                  </a:lnTo>
                  <a:lnTo>
                    <a:pt x="334" y="78"/>
                  </a:lnTo>
                  <a:lnTo>
                    <a:pt x="331" y="81"/>
                  </a:lnTo>
                  <a:lnTo>
                    <a:pt x="328" y="83"/>
                  </a:lnTo>
                  <a:lnTo>
                    <a:pt x="325" y="84"/>
                  </a:lnTo>
                  <a:lnTo>
                    <a:pt x="319" y="93"/>
                  </a:lnTo>
                  <a:lnTo>
                    <a:pt x="317" y="94"/>
                  </a:lnTo>
                  <a:lnTo>
                    <a:pt x="315" y="96"/>
                  </a:lnTo>
                  <a:lnTo>
                    <a:pt x="314" y="97"/>
                  </a:lnTo>
                  <a:lnTo>
                    <a:pt x="317" y="106"/>
                  </a:lnTo>
                  <a:lnTo>
                    <a:pt x="325" y="116"/>
                  </a:lnTo>
                  <a:lnTo>
                    <a:pt x="331" y="123"/>
                  </a:lnTo>
                  <a:lnTo>
                    <a:pt x="331" y="125"/>
                  </a:lnTo>
                  <a:lnTo>
                    <a:pt x="331" y="126"/>
                  </a:lnTo>
                  <a:lnTo>
                    <a:pt x="331" y="126"/>
                  </a:lnTo>
                  <a:lnTo>
                    <a:pt x="331" y="126"/>
                  </a:lnTo>
                  <a:lnTo>
                    <a:pt x="330" y="128"/>
                  </a:lnTo>
                  <a:lnTo>
                    <a:pt x="333" y="131"/>
                  </a:lnTo>
                  <a:lnTo>
                    <a:pt x="350" y="134"/>
                  </a:lnTo>
                  <a:lnTo>
                    <a:pt x="359" y="137"/>
                  </a:lnTo>
                  <a:lnTo>
                    <a:pt x="362" y="138"/>
                  </a:lnTo>
                  <a:lnTo>
                    <a:pt x="365" y="144"/>
                  </a:lnTo>
                  <a:lnTo>
                    <a:pt x="362" y="147"/>
                  </a:lnTo>
                  <a:lnTo>
                    <a:pt x="362" y="148"/>
                  </a:lnTo>
                  <a:lnTo>
                    <a:pt x="362" y="150"/>
                  </a:lnTo>
                  <a:lnTo>
                    <a:pt x="363" y="153"/>
                  </a:lnTo>
                  <a:lnTo>
                    <a:pt x="363" y="154"/>
                  </a:lnTo>
                  <a:lnTo>
                    <a:pt x="363" y="155"/>
                  </a:lnTo>
                  <a:lnTo>
                    <a:pt x="362" y="160"/>
                  </a:lnTo>
                  <a:lnTo>
                    <a:pt x="360" y="161"/>
                  </a:lnTo>
                  <a:lnTo>
                    <a:pt x="359" y="163"/>
                  </a:lnTo>
                  <a:lnTo>
                    <a:pt x="354" y="166"/>
                  </a:lnTo>
                  <a:lnTo>
                    <a:pt x="353" y="167"/>
                  </a:lnTo>
                  <a:lnTo>
                    <a:pt x="353" y="169"/>
                  </a:lnTo>
                  <a:lnTo>
                    <a:pt x="352" y="174"/>
                  </a:lnTo>
                  <a:lnTo>
                    <a:pt x="352" y="177"/>
                  </a:lnTo>
                  <a:lnTo>
                    <a:pt x="350" y="179"/>
                  </a:lnTo>
                  <a:lnTo>
                    <a:pt x="347" y="180"/>
                  </a:lnTo>
                  <a:lnTo>
                    <a:pt x="347" y="182"/>
                  </a:lnTo>
                  <a:lnTo>
                    <a:pt x="346" y="183"/>
                  </a:lnTo>
                  <a:lnTo>
                    <a:pt x="346" y="185"/>
                  </a:lnTo>
                  <a:lnTo>
                    <a:pt x="344" y="186"/>
                  </a:lnTo>
                  <a:lnTo>
                    <a:pt x="344" y="190"/>
                  </a:lnTo>
                  <a:lnTo>
                    <a:pt x="343" y="195"/>
                  </a:lnTo>
                  <a:lnTo>
                    <a:pt x="341" y="199"/>
                  </a:lnTo>
                  <a:lnTo>
                    <a:pt x="340" y="199"/>
                  </a:lnTo>
                  <a:lnTo>
                    <a:pt x="340" y="201"/>
                  </a:lnTo>
                  <a:lnTo>
                    <a:pt x="338" y="201"/>
                  </a:lnTo>
                  <a:lnTo>
                    <a:pt x="338" y="202"/>
                  </a:lnTo>
                  <a:lnTo>
                    <a:pt x="337" y="202"/>
                  </a:lnTo>
                  <a:lnTo>
                    <a:pt x="335" y="202"/>
                  </a:lnTo>
                  <a:lnTo>
                    <a:pt x="335" y="202"/>
                  </a:lnTo>
                  <a:lnTo>
                    <a:pt x="334" y="202"/>
                  </a:lnTo>
                  <a:lnTo>
                    <a:pt x="334" y="202"/>
                  </a:lnTo>
                  <a:lnTo>
                    <a:pt x="334" y="202"/>
                  </a:lnTo>
                  <a:lnTo>
                    <a:pt x="333" y="202"/>
                  </a:lnTo>
                  <a:lnTo>
                    <a:pt x="331" y="202"/>
                  </a:lnTo>
                  <a:lnTo>
                    <a:pt x="331" y="202"/>
                  </a:lnTo>
                  <a:lnTo>
                    <a:pt x="331" y="204"/>
                  </a:lnTo>
                  <a:lnTo>
                    <a:pt x="328" y="208"/>
                  </a:lnTo>
                  <a:lnTo>
                    <a:pt x="328" y="209"/>
                  </a:lnTo>
                  <a:lnTo>
                    <a:pt x="328" y="212"/>
                  </a:lnTo>
                  <a:lnTo>
                    <a:pt x="330" y="217"/>
                  </a:lnTo>
                  <a:lnTo>
                    <a:pt x="330" y="220"/>
                  </a:lnTo>
                  <a:lnTo>
                    <a:pt x="331" y="225"/>
                  </a:lnTo>
                  <a:lnTo>
                    <a:pt x="331" y="225"/>
                  </a:lnTo>
                  <a:lnTo>
                    <a:pt x="343" y="240"/>
                  </a:lnTo>
                  <a:lnTo>
                    <a:pt x="350" y="246"/>
                  </a:lnTo>
                  <a:lnTo>
                    <a:pt x="357" y="246"/>
                  </a:lnTo>
                  <a:lnTo>
                    <a:pt x="357" y="246"/>
                  </a:lnTo>
                  <a:lnTo>
                    <a:pt x="356" y="247"/>
                  </a:lnTo>
                  <a:lnTo>
                    <a:pt x="350" y="250"/>
                  </a:lnTo>
                  <a:lnTo>
                    <a:pt x="349" y="253"/>
                  </a:lnTo>
                  <a:lnTo>
                    <a:pt x="346" y="260"/>
                  </a:lnTo>
                  <a:lnTo>
                    <a:pt x="344" y="263"/>
                  </a:lnTo>
                  <a:lnTo>
                    <a:pt x="341" y="265"/>
                  </a:lnTo>
                  <a:lnTo>
                    <a:pt x="334" y="266"/>
                  </a:lnTo>
                  <a:lnTo>
                    <a:pt x="331" y="266"/>
                  </a:lnTo>
                  <a:lnTo>
                    <a:pt x="330" y="269"/>
                  </a:lnTo>
                  <a:lnTo>
                    <a:pt x="325" y="276"/>
                  </a:lnTo>
                  <a:lnTo>
                    <a:pt x="324" y="279"/>
                  </a:lnTo>
                  <a:lnTo>
                    <a:pt x="321" y="278"/>
                  </a:lnTo>
                  <a:lnTo>
                    <a:pt x="312" y="273"/>
                  </a:lnTo>
                  <a:lnTo>
                    <a:pt x="282" y="273"/>
                  </a:lnTo>
                  <a:lnTo>
                    <a:pt x="277" y="272"/>
                  </a:lnTo>
                  <a:lnTo>
                    <a:pt x="271" y="269"/>
                  </a:lnTo>
                  <a:lnTo>
                    <a:pt x="258" y="259"/>
                  </a:lnTo>
                  <a:lnTo>
                    <a:pt x="257" y="259"/>
                  </a:lnTo>
                  <a:lnTo>
                    <a:pt x="252" y="262"/>
                  </a:lnTo>
                  <a:lnTo>
                    <a:pt x="252" y="262"/>
                  </a:lnTo>
                  <a:lnTo>
                    <a:pt x="254" y="265"/>
                  </a:lnTo>
                  <a:lnTo>
                    <a:pt x="254" y="268"/>
                  </a:lnTo>
                  <a:lnTo>
                    <a:pt x="254" y="268"/>
                  </a:lnTo>
                  <a:lnTo>
                    <a:pt x="254" y="271"/>
                  </a:lnTo>
                  <a:lnTo>
                    <a:pt x="244" y="278"/>
                  </a:lnTo>
                  <a:lnTo>
                    <a:pt x="235" y="272"/>
                  </a:lnTo>
                  <a:lnTo>
                    <a:pt x="232" y="257"/>
                  </a:lnTo>
                  <a:lnTo>
                    <a:pt x="232" y="257"/>
                  </a:lnTo>
                  <a:lnTo>
                    <a:pt x="232" y="238"/>
                  </a:lnTo>
                  <a:lnTo>
                    <a:pt x="232" y="238"/>
                  </a:lnTo>
                  <a:lnTo>
                    <a:pt x="225" y="238"/>
                  </a:lnTo>
                  <a:lnTo>
                    <a:pt x="203" y="225"/>
                  </a:lnTo>
                  <a:lnTo>
                    <a:pt x="199" y="225"/>
                  </a:lnTo>
                  <a:lnTo>
                    <a:pt x="188" y="225"/>
                  </a:lnTo>
                  <a:lnTo>
                    <a:pt x="174" y="222"/>
                  </a:lnTo>
                  <a:lnTo>
                    <a:pt x="171" y="224"/>
                  </a:lnTo>
                  <a:lnTo>
                    <a:pt x="168" y="231"/>
                  </a:lnTo>
                  <a:lnTo>
                    <a:pt x="168" y="231"/>
                  </a:lnTo>
                  <a:lnTo>
                    <a:pt x="171" y="240"/>
                  </a:lnTo>
                  <a:lnTo>
                    <a:pt x="172" y="249"/>
                  </a:lnTo>
                  <a:lnTo>
                    <a:pt x="172" y="249"/>
                  </a:lnTo>
                  <a:lnTo>
                    <a:pt x="166" y="256"/>
                  </a:lnTo>
                  <a:lnTo>
                    <a:pt x="162" y="257"/>
                  </a:lnTo>
                  <a:lnTo>
                    <a:pt x="149" y="252"/>
                  </a:lnTo>
                  <a:lnTo>
                    <a:pt x="133" y="252"/>
                  </a:lnTo>
                  <a:lnTo>
                    <a:pt x="129" y="250"/>
                  </a:lnTo>
                  <a:lnTo>
                    <a:pt x="124" y="243"/>
                  </a:lnTo>
                  <a:lnTo>
                    <a:pt x="124" y="243"/>
                  </a:lnTo>
                  <a:lnTo>
                    <a:pt x="126" y="237"/>
                  </a:lnTo>
                  <a:lnTo>
                    <a:pt x="127" y="230"/>
                  </a:lnTo>
                  <a:lnTo>
                    <a:pt x="127" y="230"/>
                  </a:lnTo>
                  <a:lnTo>
                    <a:pt x="126" y="221"/>
                  </a:lnTo>
                  <a:lnTo>
                    <a:pt x="124" y="221"/>
                  </a:lnTo>
                  <a:lnTo>
                    <a:pt x="118" y="224"/>
                  </a:lnTo>
                  <a:lnTo>
                    <a:pt x="117" y="224"/>
                  </a:lnTo>
                  <a:lnTo>
                    <a:pt x="117" y="222"/>
                  </a:lnTo>
                  <a:lnTo>
                    <a:pt x="116" y="218"/>
                  </a:lnTo>
                  <a:lnTo>
                    <a:pt x="116" y="217"/>
                  </a:lnTo>
                  <a:lnTo>
                    <a:pt x="114" y="215"/>
                  </a:lnTo>
                  <a:lnTo>
                    <a:pt x="111" y="205"/>
                  </a:lnTo>
                  <a:lnTo>
                    <a:pt x="110" y="204"/>
                  </a:lnTo>
                  <a:lnTo>
                    <a:pt x="105" y="202"/>
                  </a:lnTo>
                  <a:lnTo>
                    <a:pt x="104" y="201"/>
                  </a:lnTo>
                  <a:lnTo>
                    <a:pt x="102" y="198"/>
                  </a:lnTo>
                  <a:lnTo>
                    <a:pt x="102" y="198"/>
                  </a:lnTo>
                  <a:lnTo>
                    <a:pt x="104" y="193"/>
                  </a:lnTo>
                  <a:lnTo>
                    <a:pt x="104" y="193"/>
                  </a:lnTo>
                  <a:lnTo>
                    <a:pt x="104" y="190"/>
                  </a:lnTo>
                  <a:lnTo>
                    <a:pt x="81" y="169"/>
                  </a:lnTo>
                  <a:lnTo>
                    <a:pt x="75" y="161"/>
                  </a:lnTo>
                  <a:lnTo>
                    <a:pt x="72" y="155"/>
                  </a:lnTo>
                  <a:lnTo>
                    <a:pt x="72" y="155"/>
                  </a:lnTo>
                  <a:lnTo>
                    <a:pt x="73" y="150"/>
                  </a:lnTo>
                  <a:lnTo>
                    <a:pt x="81" y="150"/>
                  </a:lnTo>
                  <a:lnTo>
                    <a:pt x="82" y="145"/>
                  </a:lnTo>
                  <a:lnTo>
                    <a:pt x="82" y="145"/>
                  </a:lnTo>
                  <a:lnTo>
                    <a:pt x="81" y="142"/>
                  </a:lnTo>
                  <a:lnTo>
                    <a:pt x="63" y="125"/>
                  </a:lnTo>
                  <a:lnTo>
                    <a:pt x="62" y="121"/>
                  </a:lnTo>
                  <a:lnTo>
                    <a:pt x="62" y="121"/>
                  </a:lnTo>
                  <a:lnTo>
                    <a:pt x="62" y="121"/>
                  </a:lnTo>
                  <a:lnTo>
                    <a:pt x="62" y="121"/>
                  </a:lnTo>
                  <a:lnTo>
                    <a:pt x="62" y="118"/>
                  </a:lnTo>
                  <a:lnTo>
                    <a:pt x="60" y="113"/>
                  </a:lnTo>
                  <a:lnTo>
                    <a:pt x="59" y="109"/>
                  </a:lnTo>
                  <a:lnTo>
                    <a:pt x="53" y="103"/>
                  </a:lnTo>
                  <a:lnTo>
                    <a:pt x="21" y="87"/>
                  </a:lnTo>
                  <a:lnTo>
                    <a:pt x="16" y="87"/>
                  </a:lnTo>
                  <a:lnTo>
                    <a:pt x="14" y="89"/>
                  </a:lnTo>
                  <a:lnTo>
                    <a:pt x="8" y="93"/>
                  </a:lnTo>
                  <a:lnTo>
                    <a:pt x="3" y="93"/>
                  </a:lnTo>
                  <a:lnTo>
                    <a:pt x="0" y="93"/>
                  </a:lnTo>
                  <a:lnTo>
                    <a:pt x="0" y="89"/>
                  </a:lnTo>
                  <a:lnTo>
                    <a:pt x="0" y="72"/>
                  </a:lnTo>
                  <a:lnTo>
                    <a:pt x="2" y="56"/>
                  </a:lnTo>
                  <a:lnTo>
                    <a:pt x="5" y="55"/>
                  </a:lnTo>
                  <a:lnTo>
                    <a:pt x="51" y="51"/>
                  </a:lnTo>
                  <a:lnTo>
                    <a:pt x="91" y="54"/>
                  </a:lnTo>
                  <a:lnTo>
                    <a:pt x="114" y="43"/>
                  </a:lnTo>
                  <a:lnTo>
                    <a:pt x="121" y="43"/>
                  </a:lnTo>
                  <a:lnTo>
                    <a:pt x="123" y="43"/>
                  </a:lnTo>
                  <a:lnTo>
                    <a:pt x="129" y="42"/>
                  </a:lnTo>
                  <a:lnTo>
                    <a:pt x="180" y="19"/>
                  </a:lnTo>
                  <a:lnTo>
                    <a:pt x="206" y="1"/>
                  </a:lnTo>
                  <a:lnTo>
                    <a:pt x="209" y="1"/>
                  </a:lnTo>
                  <a:lnTo>
                    <a:pt x="210" y="1"/>
                  </a:lnTo>
                  <a:lnTo>
                    <a:pt x="216" y="3"/>
                  </a:lnTo>
                  <a:lnTo>
                    <a:pt x="219" y="6"/>
                  </a:lnTo>
                  <a:lnTo>
                    <a:pt x="220" y="6"/>
                  </a:lnTo>
                  <a:lnTo>
                    <a:pt x="228" y="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10">
              <a:extLst>
                <a:ext uri="{FF2B5EF4-FFF2-40B4-BE49-F238E27FC236}">
                  <a16:creationId xmlns:a16="http://schemas.microsoft.com/office/drawing/2014/main" id="{2B570DCB-0482-4C82-AAB4-7AD2FD5ADA59}"/>
                </a:ext>
              </a:extLst>
            </p:cNvPr>
            <p:cNvSpPr>
              <a:spLocks/>
            </p:cNvSpPr>
            <p:nvPr/>
          </p:nvSpPr>
          <p:spPr bwMode="gray">
            <a:xfrm>
              <a:off x="3700463" y="3784600"/>
              <a:ext cx="1328738" cy="1685925"/>
            </a:xfrm>
            <a:custGeom>
              <a:avLst/>
              <a:gdLst>
                <a:gd name="T0" fmla="*/ 656 w 837"/>
                <a:gd name="T1" fmla="*/ 67 h 1062"/>
                <a:gd name="T2" fmla="*/ 682 w 837"/>
                <a:gd name="T3" fmla="*/ 133 h 1062"/>
                <a:gd name="T4" fmla="*/ 708 w 837"/>
                <a:gd name="T5" fmla="*/ 167 h 1062"/>
                <a:gd name="T6" fmla="*/ 707 w 837"/>
                <a:gd name="T7" fmla="*/ 216 h 1062"/>
                <a:gd name="T8" fmla="*/ 676 w 837"/>
                <a:gd name="T9" fmla="*/ 212 h 1062"/>
                <a:gd name="T10" fmla="*/ 662 w 837"/>
                <a:gd name="T11" fmla="*/ 254 h 1062"/>
                <a:gd name="T12" fmla="*/ 657 w 837"/>
                <a:gd name="T13" fmla="*/ 285 h 1062"/>
                <a:gd name="T14" fmla="*/ 681 w 837"/>
                <a:gd name="T15" fmla="*/ 310 h 1062"/>
                <a:gd name="T16" fmla="*/ 704 w 837"/>
                <a:gd name="T17" fmla="*/ 362 h 1062"/>
                <a:gd name="T18" fmla="*/ 676 w 837"/>
                <a:gd name="T19" fmla="*/ 381 h 1062"/>
                <a:gd name="T20" fmla="*/ 657 w 837"/>
                <a:gd name="T21" fmla="*/ 385 h 1062"/>
                <a:gd name="T22" fmla="*/ 630 w 837"/>
                <a:gd name="T23" fmla="*/ 428 h 1062"/>
                <a:gd name="T24" fmla="*/ 631 w 837"/>
                <a:gd name="T25" fmla="*/ 448 h 1062"/>
                <a:gd name="T26" fmla="*/ 611 w 837"/>
                <a:gd name="T27" fmla="*/ 445 h 1062"/>
                <a:gd name="T28" fmla="*/ 612 w 837"/>
                <a:gd name="T29" fmla="*/ 506 h 1062"/>
                <a:gd name="T30" fmla="*/ 786 w 837"/>
                <a:gd name="T31" fmla="*/ 547 h 1062"/>
                <a:gd name="T32" fmla="*/ 816 w 837"/>
                <a:gd name="T33" fmla="*/ 631 h 1062"/>
                <a:gd name="T34" fmla="*/ 808 w 837"/>
                <a:gd name="T35" fmla="*/ 733 h 1062"/>
                <a:gd name="T36" fmla="*/ 837 w 837"/>
                <a:gd name="T37" fmla="*/ 813 h 1062"/>
                <a:gd name="T38" fmla="*/ 797 w 837"/>
                <a:gd name="T39" fmla="*/ 918 h 1062"/>
                <a:gd name="T40" fmla="*/ 694 w 837"/>
                <a:gd name="T41" fmla="*/ 1051 h 1062"/>
                <a:gd name="T42" fmla="*/ 544 w 837"/>
                <a:gd name="T43" fmla="*/ 1020 h 1062"/>
                <a:gd name="T44" fmla="*/ 478 w 837"/>
                <a:gd name="T45" fmla="*/ 972 h 1062"/>
                <a:gd name="T46" fmla="*/ 436 w 837"/>
                <a:gd name="T47" fmla="*/ 952 h 1062"/>
                <a:gd name="T48" fmla="*/ 419 w 837"/>
                <a:gd name="T49" fmla="*/ 908 h 1062"/>
                <a:gd name="T50" fmla="*/ 429 w 837"/>
                <a:gd name="T51" fmla="*/ 901 h 1062"/>
                <a:gd name="T52" fmla="*/ 440 w 837"/>
                <a:gd name="T53" fmla="*/ 872 h 1062"/>
                <a:gd name="T54" fmla="*/ 445 w 837"/>
                <a:gd name="T55" fmla="*/ 843 h 1062"/>
                <a:gd name="T56" fmla="*/ 401 w 837"/>
                <a:gd name="T57" fmla="*/ 802 h 1062"/>
                <a:gd name="T58" fmla="*/ 420 w 837"/>
                <a:gd name="T59" fmla="*/ 774 h 1062"/>
                <a:gd name="T60" fmla="*/ 405 w 837"/>
                <a:gd name="T61" fmla="*/ 735 h 1062"/>
                <a:gd name="T62" fmla="*/ 340 w 837"/>
                <a:gd name="T63" fmla="*/ 720 h 1062"/>
                <a:gd name="T64" fmla="*/ 209 w 837"/>
                <a:gd name="T65" fmla="*/ 749 h 1062"/>
                <a:gd name="T66" fmla="*/ 105 w 837"/>
                <a:gd name="T67" fmla="*/ 714 h 1062"/>
                <a:gd name="T68" fmla="*/ 108 w 837"/>
                <a:gd name="T69" fmla="*/ 690 h 1062"/>
                <a:gd name="T70" fmla="*/ 137 w 837"/>
                <a:gd name="T71" fmla="*/ 658 h 1062"/>
                <a:gd name="T72" fmla="*/ 140 w 837"/>
                <a:gd name="T73" fmla="*/ 623 h 1062"/>
                <a:gd name="T74" fmla="*/ 100 w 837"/>
                <a:gd name="T75" fmla="*/ 607 h 1062"/>
                <a:gd name="T76" fmla="*/ 33 w 837"/>
                <a:gd name="T77" fmla="*/ 540 h 1062"/>
                <a:gd name="T78" fmla="*/ 0 w 837"/>
                <a:gd name="T79" fmla="*/ 481 h 1062"/>
                <a:gd name="T80" fmla="*/ 11 w 837"/>
                <a:gd name="T81" fmla="*/ 438 h 1062"/>
                <a:gd name="T82" fmla="*/ 22 w 837"/>
                <a:gd name="T83" fmla="*/ 414 h 1062"/>
                <a:gd name="T84" fmla="*/ 62 w 837"/>
                <a:gd name="T85" fmla="*/ 362 h 1062"/>
                <a:gd name="T86" fmla="*/ 97 w 837"/>
                <a:gd name="T87" fmla="*/ 336 h 1062"/>
                <a:gd name="T88" fmla="*/ 104 w 837"/>
                <a:gd name="T89" fmla="*/ 301 h 1062"/>
                <a:gd name="T90" fmla="*/ 123 w 837"/>
                <a:gd name="T91" fmla="*/ 314 h 1062"/>
                <a:gd name="T92" fmla="*/ 172 w 837"/>
                <a:gd name="T93" fmla="*/ 304 h 1062"/>
                <a:gd name="T94" fmla="*/ 196 w 837"/>
                <a:gd name="T95" fmla="*/ 313 h 1062"/>
                <a:gd name="T96" fmla="*/ 245 w 837"/>
                <a:gd name="T97" fmla="*/ 307 h 1062"/>
                <a:gd name="T98" fmla="*/ 235 w 837"/>
                <a:gd name="T99" fmla="*/ 275 h 1062"/>
                <a:gd name="T100" fmla="*/ 236 w 837"/>
                <a:gd name="T101" fmla="*/ 249 h 1062"/>
                <a:gd name="T102" fmla="*/ 270 w 837"/>
                <a:gd name="T103" fmla="*/ 257 h 1062"/>
                <a:gd name="T104" fmla="*/ 292 w 837"/>
                <a:gd name="T105" fmla="*/ 209 h 1062"/>
                <a:gd name="T106" fmla="*/ 347 w 837"/>
                <a:gd name="T107" fmla="*/ 189 h 1062"/>
                <a:gd name="T108" fmla="*/ 382 w 837"/>
                <a:gd name="T109" fmla="*/ 166 h 1062"/>
                <a:gd name="T110" fmla="*/ 392 w 837"/>
                <a:gd name="T111" fmla="*/ 170 h 1062"/>
                <a:gd name="T112" fmla="*/ 448 w 837"/>
                <a:gd name="T113" fmla="*/ 145 h 1062"/>
                <a:gd name="T114" fmla="*/ 471 w 837"/>
                <a:gd name="T115" fmla="*/ 123 h 1062"/>
                <a:gd name="T116" fmla="*/ 532 w 837"/>
                <a:gd name="T117" fmla="*/ 97 h 1062"/>
                <a:gd name="T118" fmla="*/ 556 w 837"/>
                <a:gd name="T119" fmla="*/ 85 h 1062"/>
                <a:gd name="T120" fmla="*/ 570 w 837"/>
                <a:gd name="T121" fmla="*/ 50 h 1062"/>
                <a:gd name="T122" fmla="*/ 579 w 837"/>
                <a:gd name="T123" fmla="*/ 36 h 1062"/>
                <a:gd name="T124" fmla="*/ 609 w 837"/>
                <a:gd name="T125" fmla="*/ 23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37" h="1062">
                  <a:moveTo>
                    <a:pt x="636" y="50"/>
                  </a:moveTo>
                  <a:lnTo>
                    <a:pt x="639" y="53"/>
                  </a:lnTo>
                  <a:lnTo>
                    <a:pt x="641" y="55"/>
                  </a:lnTo>
                  <a:lnTo>
                    <a:pt x="643" y="55"/>
                  </a:lnTo>
                  <a:lnTo>
                    <a:pt x="644" y="55"/>
                  </a:lnTo>
                  <a:lnTo>
                    <a:pt x="649" y="52"/>
                  </a:lnTo>
                  <a:lnTo>
                    <a:pt x="650" y="52"/>
                  </a:lnTo>
                  <a:lnTo>
                    <a:pt x="650" y="52"/>
                  </a:lnTo>
                  <a:lnTo>
                    <a:pt x="652" y="52"/>
                  </a:lnTo>
                  <a:lnTo>
                    <a:pt x="653" y="55"/>
                  </a:lnTo>
                  <a:lnTo>
                    <a:pt x="655" y="58"/>
                  </a:lnTo>
                  <a:lnTo>
                    <a:pt x="656" y="67"/>
                  </a:lnTo>
                  <a:lnTo>
                    <a:pt x="656" y="71"/>
                  </a:lnTo>
                  <a:lnTo>
                    <a:pt x="656" y="75"/>
                  </a:lnTo>
                  <a:lnTo>
                    <a:pt x="656" y="81"/>
                  </a:lnTo>
                  <a:lnTo>
                    <a:pt x="655" y="84"/>
                  </a:lnTo>
                  <a:lnTo>
                    <a:pt x="656" y="87"/>
                  </a:lnTo>
                  <a:lnTo>
                    <a:pt x="659" y="94"/>
                  </a:lnTo>
                  <a:lnTo>
                    <a:pt x="674" y="113"/>
                  </a:lnTo>
                  <a:lnTo>
                    <a:pt x="679" y="123"/>
                  </a:lnTo>
                  <a:lnTo>
                    <a:pt x="681" y="125"/>
                  </a:lnTo>
                  <a:lnTo>
                    <a:pt x="681" y="128"/>
                  </a:lnTo>
                  <a:lnTo>
                    <a:pt x="682" y="132"/>
                  </a:lnTo>
                  <a:lnTo>
                    <a:pt x="682" y="133"/>
                  </a:lnTo>
                  <a:lnTo>
                    <a:pt x="685" y="133"/>
                  </a:lnTo>
                  <a:lnTo>
                    <a:pt x="692" y="129"/>
                  </a:lnTo>
                  <a:lnTo>
                    <a:pt x="695" y="129"/>
                  </a:lnTo>
                  <a:lnTo>
                    <a:pt x="700" y="131"/>
                  </a:lnTo>
                  <a:lnTo>
                    <a:pt x="708" y="136"/>
                  </a:lnTo>
                  <a:lnTo>
                    <a:pt x="707" y="145"/>
                  </a:lnTo>
                  <a:lnTo>
                    <a:pt x="706" y="148"/>
                  </a:lnTo>
                  <a:lnTo>
                    <a:pt x="704" y="151"/>
                  </a:lnTo>
                  <a:lnTo>
                    <a:pt x="704" y="152"/>
                  </a:lnTo>
                  <a:lnTo>
                    <a:pt x="704" y="155"/>
                  </a:lnTo>
                  <a:lnTo>
                    <a:pt x="704" y="157"/>
                  </a:lnTo>
                  <a:lnTo>
                    <a:pt x="708" y="167"/>
                  </a:lnTo>
                  <a:lnTo>
                    <a:pt x="711" y="173"/>
                  </a:lnTo>
                  <a:lnTo>
                    <a:pt x="711" y="180"/>
                  </a:lnTo>
                  <a:lnTo>
                    <a:pt x="713" y="183"/>
                  </a:lnTo>
                  <a:lnTo>
                    <a:pt x="714" y="186"/>
                  </a:lnTo>
                  <a:lnTo>
                    <a:pt x="717" y="187"/>
                  </a:lnTo>
                  <a:lnTo>
                    <a:pt x="717" y="189"/>
                  </a:lnTo>
                  <a:lnTo>
                    <a:pt x="719" y="190"/>
                  </a:lnTo>
                  <a:lnTo>
                    <a:pt x="716" y="199"/>
                  </a:lnTo>
                  <a:lnTo>
                    <a:pt x="710" y="212"/>
                  </a:lnTo>
                  <a:lnTo>
                    <a:pt x="710" y="214"/>
                  </a:lnTo>
                  <a:lnTo>
                    <a:pt x="708" y="215"/>
                  </a:lnTo>
                  <a:lnTo>
                    <a:pt x="707" y="216"/>
                  </a:lnTo>
                  <a:lnTo>
                    <a:pt x="701" y="221"/>
                  </a:lnTo>
                  <a:lnTo>
                    <a:pt x="700" y="221"/>
                  </a:lnTo>
                  <a:lnTo>
                    <a:pt x="700" y="222"/>
                  </a:lnTo>
                  <a:lnTo>
                    <a:pt x="698" y="222"/>
                  </a:lnTo>
                  <a:lnTo>
                    <a:pt x="694" y="221"/>
                  </a:lnTo>
                  <a:lnTo>
                    <a:pt x="694" y="221"/>
                  </a:lnTo>
                  <a:lnTo>
                    <a:pt x="692" y="219"/>
                  </a:lnTo>
                  <a:lnTo>
                    <a:pt x="687" y="212"/>
                  </a:lnTo>
                  <a:lnTo>
                    <a:pt x="685" y="211"/>
                  </a:lnTo>
                  <a:lnTo>
                    <a:pt x="684" y="211"/>
                  </a:lnTo>
                  <a:lnTo>
                    <a:pt x="681" y="211"/>
                  </a:lnTo>
                  <a:lnTo>
                    <a:pt x="676" y="212"/>
                  </a:lnTo>
                  <a:lnTo>
                    <a:pt x="675" y="214"/>
                  </a:lnTo>
                  <a:lnTo>
                    <a:pt x="674" y="216"/>
                  </a:lnTo>
                  <a:lnTo>
                    <a:pt x="669" y="221"/>
                  </a:lnTo>
                  <a:lnTo>
                    <a:pt x="668" y="222"/>
                  </a:lnTo>
                  <a:lnTo>
                    <a:pt x="665" y="224"/>
                  </a:lnTo>
                  <a:lnTo>
                    <a:pt x="663" y="225"/>
                  </a:lnTo>
                  <a:lnTo>
                    <a:pt x="663" y="227"/>
                  </a:lnTo>
                  <a:lnTo>
                    <a:pt x="662" y="231"/>
                  </a:lnTo>
                  <a:lnTo>
                    <a:pt x="662" y="250"/>
                  </a:lnTo>
                  <a:lnTo>
                    <a:pt x="662" y="250"/>
                  </a:lnTo>
                  <a:lnTo>
                    <a:pt x="662" y="251"/>
                  </a:lnTo>
                  <a:lnTo>
                    <a:pt x="662" y="254"/>
                  </a:lnTo>
                  <a:lnTo>
                    <a:pt x="662" y="256"/>
                  </a:lnTo>
                  <a:lnTo>
                    <a:pt x="663" y="257"/>
                  </a:lnTo>
                  <a:lnTo>
                    <a:pt x="663" y="257"/>
                  </a:lnTo>
                  <a:lnTo>
                    <a:pt x="665" y="259"/>
                  </a:lnTo>
                  <a:lnTo>
                    <a:pt x="668" y="260"/>
                  </a:lnTo>
                  <a:lnTo>
                    <a:pt x="669" y="262"/>
                  </a:lnTo>
                  <a:lnTo>
                    <a:pt x="668" y="262"/>
                  </a:lnTo>
                  <a:lnTo>
                    <a:pt x="668" y="263"/>
                  </a:lnTo>
                  <a:lnTo>
                    <a:pt x="662" y="269"/>
                  </a:lnTo>
                  <a:lnTo>
                    <a:pt x="660" y="273"/>
                  </a:lnTo>
                  <a:lnTo>
                    <a:pt x="659" y="279"/>
                  </a:lnTo>
                  <a:lnTo>
                    <a:pt x="657" y="285"/>
                  </a:lnTo>
                  <a:lnTo>
                    <a:pt x="653" y="288"/>
                  </a:lnTo>
                  <a:lnTo>
                    <a:pt x="653" y="291"/>
                  </a:lnTo>
                  <a:lnTo>
                    <a:pt x="653" y="292"/>
                  </a:lnTo>
                  <a:lnTo>
                    <a:pt x="655" y="294"/>
                  </a:lnTo>
                  <a:lnTo>
                    <a:pt x="669" y="297"/>
                  </a:lnTo>
                  <a:lnTo>
                    <a:pt x="671" y="297"/>
                  </a:lnTo>
                  <a:lnTo>
                    <a:pt x="672" y="298"/>
                  </a:lnTo>
                  <a:lnTo>
                    <a:pt x="672" y="301"/>
                  </a:lnTo>
                  <a:lnTo>
                    <a:pt x="672" y="302"/>
                  </a:lnTo>
                  <a:lnTo>
                    <a:pt x="674" y="304"/>
                  </a:lnTo>
                  <a:lnTo>
                    <a:pt x="679" y="307"/>
                  </a:lnTo>
                  <a:lnTo>
                    <a:pt x="681" y="310"/>
                  </a:lnTo>
                  <a:lnTo>
                    <a:pt x="688" y="324"/>
                  </a:lnTo>
                  <a:lnTo>
                    <a:pt x="690" y="329"/>
                  </a:lnTo>
                  <a:lnTo>
                    <a:pt x="692" y="332"/>
                  </a:lnTo>
                  <a:lnTo>
                    <a:pt x="697" y="334"/>
                  </a:lnTo>
                  <a:lnTo>
                    <a:pt x="697" y="334"/>
                  </a:lnTo>
                  <a:lnTo>
                    <a:pt x="700" y="339"/>
                  </a:lnTo>
                  <a:lnTo>
                    <a:pt x="703" y="353"/>
                  </a:lnTo>
                  <a:lnTo>
                    <a:pt x="704" y="356"/>
                  </a:lnTo>
                  <a:lnTo>
                    <a:pt x="704" y="358"/>
                  </a:lnTo>
                  <a:lnTo>
                    <a:pt x="704" y="359"/>
                  </a:lnTo>
                  <a:lnTo>
                    <a:pt x="704" y="361"/>
                  </a:lnTo>
                  <a:lnTo>
                    <a:pt x="704" y="362"/>
                  </a:lnTo>
                  <a:lnTo>
                    <a:pt x="703" y="364"/>
                  </a:lnTo>
                  <a:lnTo>
                    <a:pt x="701" y="364"/>
                  </a:lnTo>
                  <a:lnTo>
                    <a:pt x="695" y="365"/>
                  </a:lnTo>
                  <a:lnTo>
                    <a:pt x="678" y="365"/>
                  </a:lnTo>
                  <a:lnTo>
                    <a:pt x="676" y="365"/>
                  </a:lnTo>
                  <a:lnTo>
                    <a:pt x="675" y="368"/>
                  </a:lnTo>
                  <a:lnTo>
                    <a:pt x="674" y="371"/>
                  </a:lnTo>
                  <a:lnTo>
                    <a:pt x="674" y="374"/>
                  </a:lnTo>
                  <a:lnTo>
                    <a:pt x="674" y="374"/>
                  </a:lnTo>
                  <a:lnTo>
                    <a:pt x="676" y="378"/>
                  </a:lnTo>
                  <a:lnTo>
                    <a:pt x="678" y="380"/>
                  </a:lnTo>
                  <a:lnTo>
                    <a:pt x="676" y="381"/>
                  </a:lnTo>
                  <a:lnTo>
                    <a:pt x="672" y="387"/>
                  </a:lnTo>
                  <a:lnTo>
                    <a:pt x="672" y="390"/>
                  </a:lnTo>
                  <a:lnTo>
                    <a:pt x="671" y="391"/>
                  </a:lnTo>
                  <a:lnTo>
                    <a:pt x="668" y="390"/>
                  </a:lnTo>
                  <a:lnTo>
                    <a:pt x="666" y="390"/>
                  </a:lnTo>
                  <a:lnTo>
                    <a:pt x="665" y="388"/>
                  </a:lnTo>
                  <a:lnTo>
                    <a:pt x="663" y="387"/>
                  </a:lnTo>
                  <a:lnTo>
                    <a:pt x="662" y="385"/>
                  </a:lnTo>
                  <a:lnTo>
                    <a:pt x="660" y="384"/>
                  </a:lnTo>
                  <a:lnTo>
                    <a:pt x="660" y="384"/>
                  </a:lnTo>
                  <a:lnTo>
                    <a:pt x="659" y="384"/>
                  </a:lnTo>
                  <a:lnTo>
                    <a:pt x="657" y="385"/>
                  </a:lnTo>
                  <a:lnTo>
                    <a:pt x="655" y="388"/>
                  </a:lnTo>
                  <a:lnTo>
                    <a:pt x="646" y="393"/>
                  </a:lnTo>
                  <a:lnTo>
                    <a:pt x="641" y="397"/>
                  </a:lnTo>
                  <a:lnTo>
                    <a:pt x="636" y="398"/>
                  </a:lnTo>
                  <a:lnTo>
                    <a:pt x="633" y="401"/>
                  </a:lnTo>
                  <a:lnTo>
                    <a:pt x="631" y="406"/>
                  </a:lnTo>
                  <a:lnTo>
                    <a:pt x="627" y="414"/>
                  </a:lnTo>
                  <a:lnTo>
                    <a:pt x="625" y="420"/>
                  </a:lnTo>
                  <a:lnTo>
                    <a:pt x="625" y="423"/>
                  </a:lnTo>
                  <a:lnTo>
                    <a:pt x="627" y="425"/>
                  </a:lnTo>
                  <a:lnTo>
                    <a:pt x="628" y="428"/>
                  </a:lnTo>
                  <a:lnTo>
                    <a:pt x="630" y="428"/>
                  </a:lnTo>
                  <a:lnTo>
                    <a:pt x="636" y="432"/>
                  </a:lnTo>
                  <a:lnTo>
                    <a:pt x="637" y="432"/>
                  </a:lnTo>
                  <a:lnTo>
                    <a:pt x="639" y="433"/>
                  </a:lnTo>
                  <a:lnTo>
                    <a:pt x="639" y="435"/>
                  </a:lnTo>
                  <a:lnTo>
                    <a:pt x="637" y="436"/>
                  </a:lnTo>
                  <a:lnTo>
                    <a:pt x="636" y="441"/>
                  </a:lnTo>
                  <a:lnTo>
                    <a:pt x="636" y="444"/>
                  </a:lnTo>
                  <a:lnTo>
                    <a:pt x="636" y="445"/>
                  </a:lnTo>
                  <a:lnTo>
                    <a:pt x="636" y="447"/>
                  </a:lnTo>
                  <a:lnTo>
                    <a:pt x="634" y="448"/>
                  </a:lnTo>
                  <a:lnTo>
                    <a:pt x="634" y="449"/>
                  </a:lnTo>
                  <a:lnTo>
                    <a:pt x="631" y="448"/>
                  </a:lnTo>
                  <a:lnTo>
                    <a:pt x="630" y="447"/>
                  </a:lnTo>
                  <a:lnTo>
                    <a:pt x="630" y="445"/>
                  </a:lnTo>
                  <a:lnTo>
                    <a:pt x="627" y="444"/>
                  </a:lnTo>
                  <a:lnTo>
                    <a:pt x="625" y="442"/>
                  </a:lnTo>
                  <a:lnTo>
                    <a:pt x="625" y="442"/>
                  </a:lnTo>
                  <a:lnTo>
                    <a:pt x="623" y="442"/>
                  </a:lnTo>
                  <a:lnTo>
                    <a:pt x="620" y="444"/>
                  </a:lnTo>
                  <a:lnTo>
                    <a:pt x="618" y="444"/>
                  </a:lnTo>
                  <a:lnTo>
                    <a:pt x="617" y="444"/>
                  </a:lnTo>
                  <a:lnTo>
                    <a:pt x="615" y="442"/>
                  </a:lnTo>
                  <a:lnTo>
                    <a:pt x="614" y="444"/>
                  </a:lnTo>
                  <a:lnTo>
                    <a:pt x="611" y="445"/>
                  </a:lnTo>
                  <a:lnTo>
                    <a:pt x="609" y="449"/>
                  </a:lnTo>
                  <a:lnTo>
                    <a:pt x="608" y="452"/>
                  </a:lnTo>
                  <a:lnTo>
                    <a:pt x="608" y="455"/>
                  </a:lnTo>
                  <a:lnTo>
                    <a:pt x="608" y="460"/>
                  </a:lnTo>
                  <a:lnTo>
                    <a:pt x="606" y="461"/>
                  </a:lnTo>
                  <a:lnTo>
                    <a:pt x="602" y="464"/>
                  </a:lnTo>
                  <a:lnTo>
                    <a:pt x="596" y="468"/>
                  </a:lnTo>
                  <a:lnTo>
                    <a:pt x="583" y="479"/>
                  </a:lnTo>
                  <a:lnTo>
                    <a:pt x="583" y="480"/>
                  </a:lnTo>
                  <a:lnTo>
                    <a:pt x="588" y="481"/>
                  </a:lnTo>
                  <a:lnTo>
                    <a:pt x="609" y="502"/>
                  </a:lnTo>
                  <a:lnTo>
                    <a:pt x="612" y="506"/>
                  </a:lnTo>
                  <a:lnTo>
                    <a:pt x="614" y="512"/>
                  </a:lnTo>
                  <a:lnTo>
                    <a:pt x="620" y="522"/>
                  </a:lnTo>
                  <a:lnTo>
                    <a:pt x="634" y="521"/>
                  </a:lnTo>
                  <a:lnTo>
                    <a:pt x="649" y="516"/>
                  </a:lnTo>
                  <a:lnTo>
                    <a:pt x="665" y="508"/>
                  </a:lnTo>
                  <a:lnTo>
                    <a:pt x="679" y="497"/>
                  </a:lnTo>
                  <a:lnTo>
                    <a:pt x="723" y="483"/>
                  </a:lnTo>
                  <a:lnTo>
                    <a:pt x="732" y="483"/>
                  </a:lnTo>
                  <a:lnTo>
                    <a:pt x="736" y="483"/>
                  </a:lnTo>
                  <a:lnTo>
                    <a:pt x="742" y="487"/>
                  </a:lnTo>
                  <a:lnTo>
                    <a:pt x="778" y="530"/>
                  </a:lnTo>
                  <a:lnTo>
                    <a:pt x="786" y="547"/>
                  </a:lnTo>
                  <a:lnTo>
                    <a:pt x="780" y="566"/>
                  </a:lnTo>
                  <a:lnTo>
                    <a:pt x="783" y="573"/>
                  </a:lnTo>
                  <a:lnTo>
                    <a:pt x="792" y="585"/>
                  </a:lnTo>
                  <a:lnTo>
                    <a:pt x="794" y="592"/>
                  </a:lnTo>
                  <a:lnTo>
                    <a:pt x="796" y="598"/>
                  </a:lnTo>
                  <a:lnTo>
                    <a:pt x="796" y="602"/>
                  </a:lnTo>
                  <a:lnTo>
                    <a:pt x="797" y="607"/>
                  </a:lnTo>
                  <a:lnTo>
                    <a:pt x="805" y="618"/>
                  </a:lnTo>
                  <a:lnTo>
                    <a:pt x="806" y="623"/>
                  </a:lnTo>
                  <a:lnTo>
                    <a:pt x="806" y="627"/>
                  </a:lnTo>
                  <a:lnTo>
                    <a:pt x="809" y="633"/>
                  </a:lnTo>
                  <a:lnTo>
                    <a:pt x="816" y="631"/>
                  </a:lnTo>
                  <a:lnTo>
                    <a:pt x="822" y="630"/>
                  </a:lnTo>
                  <a:lnTo>
                    <a:pt x="828" y="633"/>
                  </a:lnTo>
                  <a:lnTo>
                    <a:pt x="826" y="637"/>
                  </a:lnTo>
                  <a:lnTo>
                    <a:pt x="822" y="645"/>
                  </a:lnTo>
                  <a:lnTo>
                    <a:pt x="815" y="655"/>
                  </a:lnTo>
                  <a:lnTo>
                    <a:pt x="803" y="656"/>
                  </a:lnTo>
                  <a:lnTo>
                    <a:pt x="794" y="663"/>
                  </a:lnTo>
                  <a:lnTo>
                    <a:pt x="789" y="674"/>
                  </a:lnTo>
                  <a:lnTo>
                    <a:pt x="787" y="687"/>
                  </a:lnTo>
                  <a:lnTo>
                    <a:pt x="793" y="700"/>
                  </a:lnTo>
                  <a:lnTo>
                    <a:pt x="802" y="716"/>
                  </a:lnTo>
                  <a:lnTo>
                    <a:pt x="808" y="733"/>
                  </a:lnTo>
                  <a:lnTo>
                    <a:pt x="805" y="746"/>
                  </a:lnTo>
                  <a:lnTo>
                    <a:pt x="810" y="757"/>
                  </a:lnTo>
                  <a:lnTo>
                    <a:pt x="819" y="780"/>
                  </a:lnTo>
                  <a:lnTo>
                    <a:pt x="824" y="790"/>
                  </a:lnTo>
                  <a:lnTo>
                    <a:pt x="824" y="793"/>
                  </a:lnTo>
                  <a:lnTo>
                    <a:pt x="816" y="797"/>
                  </a:lnTo>
                  <a:lnTo>
                    <a:pt x="816" y="800"/>
                  </a:lnTo>
                  <a:lnTo>
                    <a:pt x="822" y="803"/>
                  </a:lnTo>
                  <a:lnTo>
                    <a:pt x="828" y="803"/>
                  </a:lnTo>
                  <a:lnTo>
                    <a:pt x="834" y="806"/>
                  </a:lnTo>
                  <a:lnTo>
                    <a:pt x="837" y="812"/>
                  </a:lnTo>
                  <a:lnTo>
                    <a:pt x="837" y="813"/>
                  </a:lnTo>
                  <a:lnTo>
                    <a:pt x="834" y="822"/>
                  </a:lnTo>
                  <a:lnTo>
                    <a:pt x="832" y="822"/>
                  </a:lnTo>
                  <a:lnTo>
                    <a:pt x="832" y="827"/>
                  </a:lnTo>
                  <a:lnTo>
                    <a:pt x="835" y="835"/>
                  </a:lnTo>
                  <a:lnTo>
                    <a:pt x="835" y="841"/>
                  </a:lnTo>
                  <a:lnTo>
                    <a:pt x="822" y="869"/>
                  </a:lnTo>
                  <a:lnTo>
                    <a:pt x="822" y="873"/>
                  </a:lnTo>
                  <a:lnTo>
                    <a:pt x="829" y="876"/>
                  </a:lnTo>
                  <a:lnTo>
                    <a:pt x="829" y="883"/>
                  </a:lnTo>
                  <a:lnTo>
                    <a:pt x="805" y="911"/>
                  </a:lnTo>
                  <a:lnTo>
                    <a:pt x="800" y="914"/>
                  </a:lnTo>
                  <a:lnTo>
                    <a:pt x="797" y="918"/>
                  </a:lnTo>
                  <a:lnTo>
                    <a:pt x="794" y="927"/>
                  </a:lnTo>
                  <a:lnTo>
                    <a:pt x="787" y="978"/>
                  </a:lnTo>
                  <a:lnTo>
                    <a:pt x="786" y="982"/>
                  </a:lnTo>
                  <a:lnTo>
                    <a:pt x="761" y="1035"/>
                  </a:lnTo>
                  <a:lnTo>
                    <a:pt x="754" y="1046"/>
                  </a:lnTo>
                  <a:lnTo>
                    <a:pt x="742" y="1058"/>
                  </a:lnTo>
                  <a:lnTo>
                    <a:pt x="730" y="1062"/>
                  </a:lnTo>
                  <a:lnTo>
                    <a:pt x="730" y="1062"/>
                  </a:lnTo>
                  <a:lnTo>
                    <a:pt x="732" y="1062"/>
                  </a:lnTo>
                  <a:lnTo>
                    <a:pt x="732" y="1062"/>
                  </a:lnTo>
                  <a:lnTo>
                    <a:pt x="727" y="1058"/>
                  </a:lnTo>
                  <a:lnTo>
                    <a:pt x="694" y="1051"/>
                  </a:lnTo>
                  <a:lnTo>
                    <a:pt x="639" y="1022"/>
                  </a:lnTo>
                  <a:lnTo>
                    <a:pt x="631" y="1022"/>
                  </a:lnTo>
                  <a:lnTo>
                    <a:pt x="612" y="1023"/>
                  </a:lnTo>
                  <a:lnTo>
                    <a:pt x="583" y="1014"/>
                  </a:lnTo>
                  <a:lnTo>
                    <a:pt x="579" y="1016"/>
                  </a:lnTo>
                  <a:lnTo>
                    <a:pt x="572" y="1020"/>
                  </a:lnTo>
                  <a:lnTo>
                    <a:pt x="567" y="1022"/>
                  </a:lnTo>
                  <a:lnTo>
                    <a:pt x="564" y="1022"/>
                  </a:lnTo>
                  <a:lnTo>
                    <a:pt x="557" y="1019"/>
                  </a:lnTo>
                  <a:lnTo>
                    <a:pt x="553" y="1017"/>
                  </a:lnTo>
                  <a:lnTo>
                    <a:pt x="548" y="1019"/>
                  </a:lnTo>
                  <a:lnTo>
                    <a:pt x="544" y="1020"/>
                  </a:lnTo>
                  <a:lnTo>
                    <a:pt x="539" y="1022"/>
                  </a:lnTo>
                  <a:lnTo>
                    <a:pt x="535" y="1020"/>
                  </a:lnTo>
                  <a:lnTo>
                    <a:pt x="532" y="1017"/>
                  </a:lnTo>
                  <a:lnTo>
                    <a:pt x="528" y="1011"/>
                  </a:lnTo>
                  <a:lnTo>
                    <a:pt x="526" y="1007"/>
                  </a:lnTo>
                  <a:lnTo>
                    <a:pt x="518" y="1004"/>
                  </a:lnTo>
                  <a:lnTo>
                    <a:pt x="503" y="1001"/>
                  </a:lnTo>
                  <a:lnTo>
                    <a:pt x="496" y="995"/>
                  </a:lnTo>
                  <a:lnTo>
                    <a:pt x="491" y="990"/>
                  </a:lnTo>
                  <a:lnTo>
                    <a:pt x="483" y="978"/>
                  </a:lnTo>
                  <a:lnTo>
                    <a:pt x="478" y="972"/>
                  </a:lnTo>
                  <a:lnTo>
                    <a:pt x="478" y="972"/>
                  </a:lnTo>
                  <a:lnTo>
                    <a:pt x="478" y="971"/>
                  </a:lnTo>
                  <a:lnTo>
                    <a:pt x="480" y="969"/>
                  </a:lnTo>
                  <a:lnTo>
                    <a:pt x="483" y="968"/>
                  </a:lnTo>
                  <a:lnTo>
                    <a:pt x="483" y="968"/>
                  </a:lnTo>
                  <a:lnTo>
                    <a:pt x="480" y="960"/>
                  </a:lnTo>
                  <a:lnTo>
                    <a:pt x="474" y="958"/>
                  </a:lnTo>
                  <a:lnTo>
                    <a:pt x="458" y="958"/>
                  </a:lnTo>
                  <a:lnTo>
                    <a:pt x="456" y="950"/>
                  </a:lnTo>
                  <a:lnTo>
                    <a:pt x="451" y="950"/>
                  </a:lnTo>
                  <a:lnTo>
                    <a:pt x="443" y="952"/>
                  </a:lnTo>
                  <a:lnTo>
                    <a:pt x="443" y="952"/>
                  </a:lnTo>
                  <a:lnTo>
                    <a:pt x="436" y="952"/>
                  </a:lnTo>
                  <a:lnTo>
                    <a:pt x="429" y="946"/>
                  </a:lnTo>
                  <a:lnTo>
                    <a:pt x="417" y="931"/>
                  </a:lnTo>
                  <a:lnTo>
                    <a:pt x="417" y="931"/>
                  </a:lnTo>
                  <a:lnTo>
                    <a:pt x="416" y="926"/>
                  </a:lnTo>
                  <a:lnTo>
                    <a:pt x="416" y="923"/>
                  </a:lnTo>
                  <a:lnTo>
                    <a:pt x="414" y="918"/>
                  </a:lnTo>
                  <a:lnTo>
                    <a:pt x="414" y="915"/>
                  </a:lnTo>
                  <a:lnTo>
                    <a:pt x="414" y="914"/>
                  </a:lnTo>
                  <a:lnTo>
                    <a:pt x="417" y="910"/>
                  </a:lnTo>
                  <a:lnTo>
                    <a:pt x="417" y="908"/>
                  </a:lnTo>
                  <a:lnTo>
                    <a:pt x="417" y="908"/>
                  </a:lnTo>
                  <a:lnTo>
                    <a:pt x="419" y="908"/>
                  </a:lnTo>
                  <a:lnTo>
                    <a:pt x="420" y="908"/>
                  </a:lnTo>
                  <a:lnTo>
                    <a:pt x="420" y="908"/>
                  </a:lnTo>
                  <a:lnTo>
                    <a:pt x="420" y="908"/>
                  </a:lnTo>
                  <a:lnTo>
                    <a:pt x="421" y="908"/>
                  </a:lnTo>
                  <a:lnTo>
                    <a:pt x="421" y="908"/>
                  </a:lnTo>
                  <a:lnTo>
                    <a:pt x="423" y="908"/>
                  </a:lnTo>
                  <a:lnTo>
                    <a:pt x="424" y="908"/>
                  </a:lnTo>
                  <a:lnTo>
                    <a:pt x="424" y="907"/>
                  </a:lnTo>
                  <a:lnTo>
                    <a:pt x="426" y="907"/>
                  </a:lnTo>
                  <a:lnTo>
                    <a:pt x="426" y="905"/>
                  </a:lnTo>
                  <a:lnTo>
                    <a:pt x="427" y="905"/>
                  </a:lnTo>
                  <a:lnTo>
                    <a:pt x="429" y="901"/>
                  </a:lnTo>
                  <a:lnTo>
                    <a:pt x="430" y="896"/>
                  </a:lnTo>
                  <a:lnTo>
                    <a:pt x="430" y="892"/>
                  </a:lnTo>
                  <a:lnTo>
                    <a:pt x="432" y="891"/>
                  </a:lnTo>
                  <a:lnTo>
                    <a:pt x="432" y="889"/>
                  </a:lnTo>
                  <a:lnTo>
                    <a:pt x="433" y="888"/>
                  </a:lnTo>
                  <a:lnTo>
                    <a:pt x="433" y="886"/>
                  </a:lnTo>
                  <a:lnTo>
                    <a:pt x="436" y="885"/>
                  </a:lnTo>
                  <a:lnTo>
                    <a:pt x="438" y="883"/>
                  </a:lnTo>
                  <a:lnTo>
                    <a:pt x="438" y="880"/>
                  </a:lnTo>
                  <a:lnTo>
                    <a:pt x="439" y="875"/>
                  </a:lnTo>
                  <a:lnTo>
                    <a:pt x="439" y="873"/>
                  </a:lnTo>
                  <a:lnTo>
                    <a:pt x="440" y="872"/>
                  </a:lnTo>
                  <a:lnTo>
                    <a:pt x="445" y="869"/>
                  </a:lnTo>
                  <a:lnTo>
                    <a:pt x="446" y="867"/>
                  </a:lnTo>
                  <a:lnTo>
                    <a:pt x="448" y="866"/>
                  </a:lnTo>
                  <a:lnTo>
                    <a:pt x="449" y="861"/>
                  </a:lnTo>
                  <a:lnTo>
                    <a:pt x="449" y="860"/>
                  </a:lnTo>
                  <a:lnTo>
                    <a:pt x="449" y="859"/>
                  </a:lnTo>
                  <a:lnTo>
                    <a:pt x="448" y="856"/>
                  </a:lnTo>
                  <a:lnTo>
                    <a:pt x="448" y="854"/>
                  </a:lnTo>
                  <a:lnTo>
                    <a:pt x="448" y="853"/>
                  </a:lnTo>
                  <a:lnTo>
                    <a:pt x="451" y="850"/>
                  </a:lnTo>
                  <a:lnTo>
                    <a:pt x="448" y="844"/>
                  </a:lnTo>
                  <a:lnTo>
                    <a:pt x="445" y="843"/>
                  </a:lnTo>
                  <a:lnTo>
                    <a:pt x="436" y="840"/>
                  </a:lnTo>
                  <a:lnTo>
                    <a:pt x="419" y="837"/>
                  </a:lnTo>
                  <a:lnTo>
                    <a:pt x="416" y="834"/>
                  </a:lnTo>
                  <a:lnTo>
                    <a:pt x="417" y="832"/>
                  </a:lnTo>
                  <a:lnTo>
                    <a:pt x="417" y="832"/>
                  </a:lnTo>
                  <a:lnTo>
                    <a:pt x="417" y="832"/>
                  </a:lnTo>
                  <a:lnTo>
                    <a:pt x="417" y="831"/>
                  </a:lnTo>
                  <a:lnTo>
                    <a:pt x="417" y="829"/>
                  </a:lnTo>
                  <a:lnTo>
                    <a:pt x="411" y="822"/>
                  </a:lnTo>
                  <a:lnTo>
                    <a:pt x="403" y="812"/>
                  </a:lnTo>
                  <a:lnTo>
                    <a:pt x="400" y="803"/>
                  </a:lnTo>
                  <a:lnTo>
                    <a:pt x="401" y="802"/>
                  </a:lnTo>
                  <a:lnTo>
                    <a:pt x="403" y="800"/>
                  </a:lnTo>
                  <a:lnTo>
                    <a:pt x="405" y="799"/>
                  </a:lnTo>
                  <a:lnTo>
                    <a:pt x="411" y="790"/>
                  </a:lnTo>
                  <a:lnTo>
                    <a:pt x="414" y="789"/>
                  </a:lnTo>
                  <a:lnTo>
                    <a:pt x="417" y="787"/>
                  </a:lnTo>
                  <a:lnTo>
                    <a:pt x="420" y="784"/>
                  </a:lnTo>
                  <a:lnTo>
                    <a:pt x="421" y="783"/>
                  </a:lnTo>
                  <a:lnTo>
                    <a:pt x="421" y="780"/>
                  </a:lnTo>
                  <a:lnTo>
                    <a:pt x="421" y="777"/>
                  </a:lnTo>
                  <a:lnTo>
                    <a:pt x="421" y="776"/>
                  </a:lnTo>
                  <a:lnTo>
                    <a:pt x="421" y="774"/>
                  </a:lnTo>
                  <a:lnTo>
                    <a:pt x="420" y="774"/>
                  </a:lnTo>
                  <a:lnTo>
                    <a:pt x="419" y="773"/>
                  </a:lnTo>
                  <a:lnTo>
                    <a:pt x="417" y="773"/>
                  </a:lnTo>
                  <a:lnTo>
                    <a:pt x="417" y="771"/>
                  </a:lnTo>
                  <a:lnTo>
                    <a:pt x="416" y="768"/>
                  </a:lnTo>
                  <a:lnTo>
                    <a:pt x="416" y="762"/>
                  </a:lnTo>
                  <a:lnTo>
                    <a:pt x="416" y="757"/>
                  </a:lnTo>
                  <a:lnTo>
                    <a:pt x="411" y="749"/>
                  </a:lnTo>
                  <a:lnTo>
                    <a:pt x="410" y="742"/>
                  </a:lnTo>
                  <a:lnTo>
                    <a:pt x="410" y="735"/>
                  </a:lnTo>
                  <a:lnTo>
                    <a:pt x="408" y="733"/>
                  </a:lnTo>
                  <a:lnTo>
                    <a:pt x="407" y="733"/>
                  </a:lnTo>
                  <a:lnTo>
                    <a:pt x="405" y="735"/>
                  </a:lnTo>
                  <a:lnTo>
                    <a:pt x="404" y="736"/>
                  </a:lnTo>
                  <a:lnTo>
                    <a:pt x="401" y="739"/>
                  </a:lnTo>
                  <a:lnTo>
                    <a:pt x="397" y="739"/>
                  </a:lnTo>
                  <a:lnTo>
                    <a:pt x="391" y="741"/>
                  </a:lnTo>
                  <a:lnTo>
                    <a:pt x="387" y="741"/>
                  </a:lnTo>
                  <a:lnTo>
                    <a:pt x="385" y="741"/>
                  </a:lnTo>
                  <a:lnTo>
                    <a:pt x="384" y="739"/>
                  </a:lnTo>
                  <a:lnTo>
                    <a:pt x="382" y="738"/>
                  </a:lnTo>
                  <a:lnTo>
                    <a:pt x="370" y="729"/>
                  </a:lnTo>
                  <a:lnTo>
                    <a:pt x="362" y="722"/>
                  </a:lnTo>
                  <a:lnTo>
                    <a:pt x="360" y="720"/>
                  </a:lnTo>
                  <a:lnTo>
                    <a:pt x="340" y="720"/>
                  </a:lnTo>
                  <a:lnTo>
                    <a:pt x="337" y="719"/>
                  </a:lnTo>
                  <a:lnTo>
                    <a:pt x="336" y="717"/>
                  </a:lnTo>
                  <a:lnTo>
                    <a:pt x="314" y="706"/>
                  </a:lnTo>
                  <a:lnTo>
                    <a:pt x="306" y="712"/>
                  </a:lnTo>
                  <a:lnTo>
                    <a:pt x="305" y="712"/>
                  </a:lnTo>
                  <a:lnTo>
                    <a:pt x="302" y="709"/>
                  </a:lnTo>
                  <a:lnTo>
                    <a:pt x="296" y="707"/>
                  </a:lnTo>
                  <a:lnTo>
                    <a:pt x="295" y="707"/>
                  </a:lnTo>
                  <a:lnTo>
                    <a:pt x="292" y="707"/>
                  </a:lnTo>
                  <a:lnTo>
                    <a:pt x="266" y="725"/>
                  </a:lnTo>
                  <a:lnTo>
                    <a:pt x="215" y="748"/>
                  </a:lnTo>
                  <a:lnTo>
                    <a:pt x="209" y="749"/>
                  </a:lnTo>
                  <a:lnTo>
                    <a:pt x="207" y="749"/>
                  </a:lnTo>
                  <a:lnTo>
                    <a:pt x="200" y="749"/>
                  </a:lnTo>
                  <a:lnTo>
                    <a:pt x="177" y="760"/>
                  </a:lnTo>
                  <a:lnTo>
                    <a:pt x="137" y="757"/>
                  </a:lnTo>
                  <a:lnTo>
                    <a:pt x="91" y="761"/>
                  </a:lnTo>
                  <a:lnTo>
                    <a:pt x="88" y="762"/>
                  </a:lnTo>
                  <a:lnTo>
                    <a:pt x="89" y="757"/>
                  </a:lnTo>
                  <a:lnTo>
                    <a:pt x="89" y="739"/>
                  </a:lnTo>
                  <a:lnTo>
                    <a:pt x="91" y="733"/>
                  </a:lnTo>
                  <a:lnTo>
                    <a:pt x="97" y="726"/>
                  </a:lnTo>
                  <a:lnTo>
                    <a:pt x="97" y="726"/>
                  </a:lnTo>
                  <a:lnTo>
                    <a:pt x="105" y="714"/>
                  </a:lnTo>
                  <a:lnTo>
                    <a:pt x="105" y="714"/>
                  </a:lnTo>
                  <a:lnTo>
                    <a:pt x="108" y="707"/>
                  </a:lnTo>
                  <a:lnTo>
                    <a:pt x="108" y="707"/>
                  </a:lnTo>
                  <a:lnTo>
                    <a:pt x="108" y="707"/>
                  </a:lnTo>
                  <a:lnTo>
                    <a:pt x="111" y="703"/>
                  </a:lnTo>
                  <a:lnTo>
                    <a:pt x="113" y="701"/>
                  </a:lnTo>
                  <a:lnTo>
                    <a:pt x="111" y="697"/>
                  </a:lnTo>
                  <a:lnTo>
                    <a:pt x="110" y="695"/>
                  </a:lnTo>
                  <a:lnTo>
                    <a:pt x="107" y="694"/>
                  </a:lnTo>
                  <a:lnTo>
                    <a:pt x="107" y="691"/>
                  </a:lnTo>
                  <a:lnTo>
                    <a:pt x="107" y="691"/>
                  </a:lnTo>
                  <a:lnTo>
                    <a:pt x="108" y="690"/>
                  </a:lnTo>
                  <a:lnTo>
                    <a:pt x="113" y="684"/>
                  </a:lnTo>
                  <a:lnTo>
                    <a:pt x="113" y="684"/>
                  </a:lnTo>
                  <a:lnTo>
                    <a:pt x="137" y="668"/>
                  </a:lnTo>
                  <a:lnTo>
                    <a:pt x="137" y="668"/>
                  </a:lnTo>
                  <a:lnTo>
                    <a:pt x="137" y="666"/>
                  </a:lnTo>
                  <a:lnTo>
                    <a:pt x="134" y="663"/>
                  </a:lnTo>
                  <a:lnTo>
                    <a:pt x="136" y="661"/>
                  </a:lnTo>
                  <a:lnTo>
                    <a:pt x="136" y="661"/>
                  </a:lnTo>
                  <a:lnTo>
                    <a:pt x="137" y="661"/>
                  </a:lnTo>
                  <a:lnTo>
                    <a:pt x="140" y="662"/>
                  </a:lnTo>
                  <a:lnTo>
                    <a:pt x="140" y="662"/>
                  </a:lnTo>
                  <a:lnTo>
                    <a:pt x="137" y="658"/>
                  </a:lnTo>
                  <a:lnTo>
                    <a:pt x="136" y="655"/>
                  </a:lnTo>
                  <a:lnTo>
                    <a:pt x="136" y="650"/>
                  </a:lnTo>
                  <a:lnTo>
                    <a:pt x="136" y="646"/>
                  </a:lnTo>
                  <a:lnTo>
                    <a:pt x="136" y="645"/>
                  </a:lnTo>
                  <a:lnTo>
                    <a:pt x="139" y="642"/>
                  </a:lnTo>
                  <a:lnTo>
                    <a:pt x="139" y="642"/>
                  </a:lnTo>
                  <a:lnTo>
                    <a:pt x="139" y="640"/>
                  </a:lnTo>
                  <a:lnTo>
                    <a:pt x="139" y="637"/>
                  </a:lnTo>
                  <a:lnTo>
                    <a:pt x="139" y="634"/>
                  </a:lnTo>
                  <a:lnTo>
                    <a:pt x="140" y="623"/>
                  </a:lnTo>
                  <a:lnTo>
                    <a:pt x="140" y="623"/>
                  </a:lnTo>
                  <a:lnTo>
                    <a:pt x="140" y="623"/>
                  </a:lnTo>
                  <a:lnTo>
                    <a:pt x="140" y="623"/>
                  </a:lnTo>
                  <a:lnTo>
                    <a:pt x="140" y="617"/>
                  </a:lnTo>
                  <a:lnTo>
                    <a:pt x="140" y="617"/>
                  </a:lnTo>
                  <a:lnTo>
                    <a:pt x="142" y="617"/>
                  </a:lnTo>
                  <a:lnTo>
                    <a:pt x="142" y="617"/>
                  </a:lnTo>
                  <a:lnTo>
                    <a:pt x="142" y="617"/>
                  </a:lnTo>
                  <a:lnTo>
                    <a:pt x="140" y="615"/>
                  </a:lnTo>
                  <a:lnTo>
                    <a:pt x="139" y="615"/>
                  </a:lnTo>
                  <a:lnTo>
                    <a:pt x="127" y="611"/>
                  </a:lnTo>
                  <a:lnTo>
                    <a:pt x="111" y="611"/>
                  </a:lnTo>
                  <a:lnTo>
                    <a:pt x="105" y="610"/>
                  </a:lnTo>
                  <a:lnTo>
                    <a:pt x="100" y="607"/>
                  </a:lnTo>
                  <a:lnTo>
                    <a:pt x="89" y="596"/>
                  </a:lnTo>
                  <a:lnTo>
                    <a:pt x="84" y="594"/>
                  </a:lnTo>
                  <a:lnTo>
                    <a:pt x="81" y="594"/>
                  </a:lnTo>
                  <a:lnTo>
                    <a:pt x="75" y="596"/>
                  </a:lnTo>
                  <a:lnTo>
                    <a:pt x="72" y="596"/>
                  </a:lnTo>
                  <a:lnTo>
                    <a:pt x="72" y="594"/>
                  </a:lnTo>
                  <a:lnTo>
                    <a:pt x="67" y="585"/>
                  </a:lnTo>
                  <a:lnTo>
                    <a:pt x="66" y="582"/>
                  </a:lnTo>
                  <a:lnTo>
                    <a:pt x="62" y="579"/>
                  </a:lnTo>
                  <a:lnTo>
                    <a:pt x="50" y="573"/>
                  </a:lnTo>
                  <a:lnTo>
                    <a:pt x="44" y="567"/>
                  </a:lnTo>
                  <a:lnTo>
                    <a:pt x="33" y="540"/>
                  </a:lnTo>
                  <a:lnTo>
                    <a:pt x="27" y="531"/>
                  </a:lnTo>
                  <a:lnTo>
                    <a:pt x="27" y="531"/>
                  </a:lnTo>
                  <a:lnTo>
                    <a:pt x="24" y="538"/>
                  </a:lnTo>
                  <a:lnTo>
                    <a:pt x="24" y="538"/>
                  </a:lnTo>
                  <a:lnTo>
                    <a:pt x="21" y="534"/>
                  </a:lnTo>
                  <a:lnTo>
                    <a:pt x="15" y="518"/>
                  </a:lnTo>
                  <a:lnTo>
                    <a:pt x="9" y="509"/>
                  </a:lnTo>
                  <a:lnTo>
                    <a:pt x="8" y="505"/>
                  </a:lnTo>
                  <a:lnTo>
                    <a:pt x="9" y="499"/>
                  </a:lnTo>
                  <a:lnTo>
                    <a:pt x="6" y="487"/>
                  </a:lnTo>
                  <a:lnTo>
                    <a:pt x="5" y="483"/>
                  </a:lnTo>
                  <a:lnTo>
                    <a:pt x="0" y="481"/>
                  </a:lnTo>
                  <a:lnTo>
                    <a:pt x="3" y="474"/>
                  </a:lnTo>
                  <a:lnTo>
                    <a:pt x="3" y="474"/>
                  </a:lnTo>
                  <a:lnTo>
                    <a:pt x="5" y="473"/>
                  </a:lnTo>
                  <a:lnTo>
                    <a:pt x="5" y="473"/>
                  </a:lnTo>
                  <a:lnTo>
                    <a:pt x="3" y="473"/>
                  </a:lnTo>
                  <a:lnTo>
                    <a:pt x="2" y="473"/>
                  </a:lnTo>
                  <a:lnTo>
                    <a:pt x="2" y="473"/>
                  </a:lnTo>
                  <a:lnTo>
                    <a:pt x="3" y="457"/>
                  </a:lnTo>
                  <a:lnTo>
                    <a:pt x="5" y="449"/>
                  </a:lnTo>
                  <a:lnTo>
                    <a:pt x="8" y="442"/>
                  </a:lnTo>
                  <a:lnTo>
                    <a:pt x="8" y="442"/>
                  </a:lnTo>
                  <a:lnTo>
                    <a:pt x="11" y="438"/>
                  </a:lnTo>
                  <a:lnTo>
                    <a:pt x="11" y="438"/>
                  </a:lnTo>
                  <a:lnTo>
                    <a:pt x="12" y="435"/>
                  </a:lnTo>
                  <a:lnTo>
                    <a:pt x="11" y="432"/>
                  </a:lnTo>
                  <a:lnTo>
                    <a:pt x="8" y="429"/>
                  </a:lnTo>
                  <a:lnTo>
                    <a:pt x="8" y="426"/>
                  </a:lnTo>
                  <a:lnTo>
                    <a:pt x="9" y="420"/>
                  </a:lnTo>
                  <a:lnTo>
                    <a:pt x="9" y="417"/>
                  </a:lnTo>
                  <a:lnTo>
                    <a:pt x="9" y="417"/>
                  </a:lnTo>
                  <a:lnTo>
                    <a:pt x="12" y="416"/>
                  </a:lnTo>
                  <a:lnTo>
                    <a:pt x="19" y="416"/>
                  </a:lnTo>
                  <a:lnTo>
                    <a:pt x="22" y="414"/>
                  </a:lnTo>
                  <a:lnTo>
                    <a:pt x="22" y="414"/>
                  </a:lnTo>
                  <a:lnTo>
                    <a:pt x="24" y="409"/>
                  </a:lnTo>
                  <a:lnTo>
                    <a:pt x="24" y="403"/>
                  </a:lnTo>
                  <a:lnTo>
                    <a:pt x="22" y="397"/>
                  </a:lnTo>
                  <a:lnTo>
                    <a:pt x="18" y="391"/>
                  </a:lnTo>
                  <a:lnTo>
                    <a:pt x="18" y="391"/>
                  </a:lnTo>
                  <a:lnTo>
                    <a:pt x="21" y="387"/>
                  </a:lnTo>
                  <a:lnTo>
                    <a:pt x="30" y="381"/>
                  </a:lnTo>
                  <a:lnTo>
                    <a:pt x="33" y="375"/>
                  </a:lnTo>
                  <a:lnTo>
                    <a:pt x="40" y="372"/>
                  </a:lnTo>
                  <a:lnTo>
                    <a:pt x="54" y="368"/>
                  </a:lnTo>
                  <a:lnTo>
                    <a:pt x="62" y="362"/>
                  </a:lnTo>
                  <a:lnTo>
                    <a:pt x="62" y="362"/>
                  </a:lnTo>
                  <a:lnTo>
                    <a:pt x="60" y="358"/>
                  </a:lnTo>
                  <a:lnTo>
                    <a:pt x="60" y="352"/>
                  </a:lnTo>
                  <a:lnTo>
                    <a:pt x="63" y="348"/>
                  </a:lnTo>
                  <a:lnTo>
                    <a:pt x="65" y="346"/>
                  </a:lnTo>
                  <a:lnTo>
                    <a:pt x="66" y="343"/>
                  </a:lnTo>
                  <a:lnTo>
                    <a:pt x="70" y="340"/>
                  </a:lnTo>
                  <a:lnTo>
                    <a:pt x="75" y="340"/>
                  </a:lnTo>
                  <a:lnTo>
                    <a:pt x="79" y="342"/>
                  </a:lnTo>
                  <a:lnTo>
                    <a:pt x="84" y="343"/>
                  </a:lnTo>
                  <a:lnTo>
                    <a:pt x="92" y="342"/>
                  </a:lnTo>
                  <a:lnTo>
                    <a:pt x="97" y="336"/>
                  </a:lnTo>
                  <a:lnTo>
                    <a:pt x="97" y="336"/>
                  </a:lnTo>
                  <a:lnTo>
                    <a:pt x="97" y="333"/>
                  </a:lnTo>
                  <a:lnTo>
                    <a:pt x="105" y="333"/>
                  </a:lnTo>
                  <a:lnTo>
                    <a:pt x="113" y="329"/>
                  </a:lnTo>
                  <a:lnTo>
                    <a:pt x="116" y="327"/>
                  </a:lnTo>
                  <a:lnTo>
                    <a:pt x="116" y="327"/>
                  </a:lnTo>
                  <a:lnTo>
                    <a:pt x="116" y="326"/>
                  </a:lnTo>
                  <a:lnTo>
                    <a:pt x="116" y="326"/>
                  </a:lnTo>
                  <a:lnTo>
                    <a:pt x="114" y="324"/>
                  </a:lnTo>
                  <a:lnTo>
                    <a:pt x="102" y="305"/>
                  </a:lnTo>
                  <a:lnTo>
                    <a:pt x="102" y="304"/>
                  </a:lnTo>
                  <a:lnTo>
                    <a:pt x="102" y="302"/>
                  </a:lnTo>
                  <a:lnTo>
                    <a:pt x="104" y="301"/>
                  </a:lnTo>
                  <a:lnTo>
                    <a:pt x="104" y="301"/>
                  </a:lnTo>
                  <a:lnTo>
                    <a:pt x="105" y="299"/>
                  </a:lnTo>
                  <a:lnTo>
                    <a:pt x="107" y="299"/>
                  </a:lnTo>
                  <a:lnTo>
                    <a:pt x="108" y="301"/>
                  </a:lnTo>
                  <a:lnTo>
                    <a:pt x="111" y="302"/>
                  </a:lnTo>
                  <a:lnTo>
                    <a:pt x="111" y="304"/>
                  </a:lnTo>
                  <a:lnTo>
                    <a:pt x="113" y="305"/>
                  </a:lnTo>
                  <a:lnTo>
                    <a:pt x="113" y="307"/>
                  </a:lnTo>
                  <a:lnTo>
                    <a:pt x="114" y="308"/>
                  </a:lnTo>
                  <a:lnTo>
                    <a:pt x="116" y="310"/>
                  </a:lnTo>
                  <a:lnTo>
                    <a:pt x="121" y="313"/>
                  </a:lnTo>
                  <a:lnTo>
                    <a:pt x="123" y="314"/>
                  </a:lnTo>
                  <a:lnTo>
                    <a:pt x="123" y="315"/>
                  </a:lnTo>
                  <a:lnTo>
                    <a:pt x="124" y="321"/>
                  </a:lnTo>
                  <a:lnTo>
                    <a:pt x="126" y="323"/>
                  </a:lnTo>
                  <a:lnTo>
                    <a:pt x="129" y="323"/>
                  </a:lnTo>
                  <a:lnTo>
                    <a:pt x="134" y="320"/>
                  </a:lnTo>
                  <a:lnTo>
                    <a:pt x="149" y="308"/>
                  </a:lnTo>
                  <a:lnTo>
                    <a:pt x="151" y="308"/>
                  </a:lnTo>
                  <a:lnTo>
                    <a:pt x="152" y="307"/>
                  </a:lnTo>
                  <a:lnTo>
                    <a:pt x="167" y="305"/>
                  </a:lnTo>
                  <a:lnTo>
                    <a:pt x="168" y="304"/>
                  </a:lnTo>
                  <a:lnTo>
                    <a:pt x="171" y="302"/>
                  </a:lnTo>
                  <a:lnTo>
                    <a:pt x="172" y="304"/>
                  </a:lnTo>
                  <a:lnTo>
                    <a:pt x="175" y="304"/>
                  </a:lnTo>
                  <a:lnTo>
                    <a:pt x="181" y="307"/>
                  </a:lnTo>
                  <a:lnTo>
                    <a:pt x="184" y="310"/>
                  </a:lnTo>
                  <a:lnTo>
                    <a:pt x="184" y="311"/>
                  </a:lnTo>
                  <a:lnTo>
                    <a:pt x="184" y="313"/>
                  </a:lnTo>
                  <a:lnTo>
                    <a:pt x="183" y="315"/>
                  </a:lnTo>
                  <a:lnTo>
                    <a:pt x="183" y="317"/>
                  </a:lnTo>
                  <a:lnTo>
                    <a:pt x="183" y="317"/>
                  </a:lnTo>
                  <a:lnTo>
                    <a:pt x="184" y="318"/>
                  </a:lnTo>
                  <a:lnTo>
                    <a:pt x="188" y="318"/>
                  </a:lnTo>
                  <a:lnTo>
                    <a:pt x="193" y="315"/>
                  </a:lnTo>
                  <a:lnTo>
                    <a:pt x="196" y="313"/>
                  </a:lnTo>
                  <a:lnTo>
                    <a:pt x="197" y="311"/>
                  </a:lnTo>
                  <a:lnTo>
                    <a:pt x="200" y="311"/>
                  </a:lnTo>
                  <a:lnTo>
                    <a:pt x="204" y="314"/>
                  </a:lnTo>
                  <a:lnTo>
                    <a:pt x="206" y="315"/>
                  </a:lnTo>
                  <a:lnTo>
                    <a:pt x="210" y="321"/>
                  </a:lnTo>
                  <a:lnTo>
                    <a:pt x="216" y="323"/>
                  </a:lnTo>
                  <a:lnTo>
                    <a:pt x="235" y="317"/>
                  </a:lnTo>
                  <a:lnTo>
                    <a:pt x="244" y="315"/>
                  </a:lnTo>
                  <a:lnTo>
                    <a:pt x="244" y="314"/>
                  </a:lnTo>
                  <a:lnTo>
                    <a:pt x="245" y="313"/>
                  </a:lnTo>
                  <a:lnTo>
                    <a:pt x="245" y="311"/>
                  </a:lnTo>
                  <a:lnTo>
                    <a:pt x="245" y="307"/>
                  </a:lnTo>
                  <a:lnTo>
                    <a:pt x="244" y="305"/>
                  </a:lnTo>
                  <a:lnTo>
                    <a:pt x="244" y="304"/>
                  </a:lnTo>
                  <a:lnTo>
                    <a:pt x="241" y="298"/>
                  </a:lnTo>
                  <a:lnTo>
                    <a:pt x="239" y="297"/>
                  </a:lnTo>
                  <a:lnTo>
                    <a:pt x="238" y="295"/>
                  </a:lnTo>
                  <a:lnTo>
                    <a:pt x="238" y="291"/>
                  </a:lnTo>
                  <a:lnTo>
                    <a:pt x="238" y="285"/>
                  </a:lnTo>
                  <a:lnTo>
                    <a:pt x="238" y="279"/>
                  </a:lnTo>
                  <a:lnTo>
                    <a:pt x="238" y="278"/>
                  </a:lnTo>
                  <a:lnTo>
                    <a:pt x="236" y="276"/>
                  </a:lnTo>
                  <a:lnTo>
                    <a:pt x="236" y="276"/>
                  </a:lnTo>
                  <a:lnTo>
                    <a:pt x="235" y="275"/>
                  </a:lnTo>
                  <a:lnTo>
                    <a:pt x="231" y="272"/>
                  </a:lnTo>
                  <a:lnTo>
                    <a:pt x="229" y="272"/>
                  </a:lnTo>
                  <a:lnTo>
                    <a:pt x="229" y="270"/>
                  </a:lnTo>
                  <a:lnTo>
                    <a:pt x="229" y="269"/>
                  </a:lnTo>
                  <a:lnTo>
                    <a:pt x="229" y="266"/>
                  </a:lnTo>
                  <a:lnTo>
                    <a:pt x="232" y="262"/>
                  </a:lnTo>
                  <a:lnTo>
                    <a:pt x="232" y="259"/>
                  </a:lnTo>
                  <a:lnTo>
                    <a:pt x="232" y="256"/>
                  </a:lnTo>
                  <a:lnTo>
                    <a:pt x="231" y="254"/>
                  </a:lnTo>
                  <a:lnTo>
                    <a:pt x="231" y="253"/>
                  </a:lnTo>
                  <a:lnTo>
                    <a:pt x="231" y="253"/>
                  </a:lnTo>
                  <a:lnTo>
                    <a:pt x="236" y="249"/>
                  </a:lnTo>
                  <a:lnTo>
                    <a:pt x="250" y="244"/>
                  </a:lnTo>
                  <a:lnTo>
                    <a:pt x="252" y="244"/>
                  </a:lnTo>
                  <a:lnTo>
                    <a:pt x="252" y="246"/>
                  </a:lnTo>
                  <a:lnTo>
                    <a:pt x="255" y="250"/>
                  </a:lnTo>
                  <a:lnTo>
                    <a:pt x="257" y="253"/>
                  </a:lnTo>
                  <a:lnTo>
                    <a:pt x="258" y="254"/>
                  </a:lnTo>
                  <a:lnTo>
                    <a:pt x="258" y="256"/>
                  </a:lnTo>
                  <a:lnTo>
                    <a:pt x="261" y="257"/>
                  </a:lnTo>
                  <a:lnTo>
                    <a:pt x="263" y="257"/>
                  </a:lnTo>
                  <a:lnTo>
                    <a:pt x="266" y="257"/>
                  </a:lnTo>
                  <a:lnTo>
                    <a:pt x="267" y="257"/>
                  </a:lnTo>
                  <a:lnTo>
                    <a:pt x="270" y="257"/>
                  </a:lnTo>
                  <a:lnTo>
                    <a:pt x="273" y="254"/>
                  </a:lnTo>
                  <a:lnTo>
                    <a:pt x="276" y="249"/>
                  </a:lnTo>
                  <a:lnTo>
                    <a:pt x="276" y="238"/>
                  </a:lnTo>
                  <a:lnTo>
                    <a:pt x="276" y="232"/>
                  </a:lnTo>
                  <a:lnTo>
                    <a:pt x="276" y="230"/>
                  </a:lnTo>
                  <a:lnTo>
                    <a:pt x="274" y="227"/>
                  </a:lnTo>
                  <a:lnTo>
                    <a:pt x="274" y="225"/>
                  </a:lnTo>
                  <a:lnTo>
                    <a:pt x="276" y="224"/>
                  </a:lnTo>
                  <a:lnTo>
                    <a:pt x="276" y="222"/>
                  </a:lnTo>
                  <a:lnTo>
                    <a:pt x="285" y="221"/>
                  </a:lnTo>
                  <a:lnTo>
                    <a:pt x="290" y="214"/>
                  </a:lnTo>
                  <a:lnTo>
                    <a:pt x="292" y="209"/>
                  </a:lnTo>
                  <a:lnTo>
                    <a:pt x="292" y="208"/>
                  </a:lnTo>
                  <a:lnTo>
                    <a:pt x="293" y="208"/>
                  </a:lnTo>
                  <a:lnTo>
                    <a:pt x="293" y="206"/>
                  </a:lnTo>
                  <a:lnTo>
                    <a:pt x="295" y="206"/>
                  </a:lnTo>
                  <a:lnTo>
                    <a:pt x="299" y="205"/>
                  </a:lnTo>
                  <a:lnTo>
                    <a:pt x="305" y="203"/>
                  </a:lnTo>
                  <a:lnTo>
                    <a:pt x="314" y="200"/>
                  </a:lnTo>
                  <a:lnTo>
                    <a:pt x="333" y="187"/>
                  </a:lnTo>
                  <a:lnTo>
                    <a:pt x="336" y="186"/>
                  </a:lnTo>
                  <a:lnTo>
                    <a:pt x="340" y="186"/>
                  </a:lnTo>
                  <a:lnTo>
                    <a:pt x="346" y="189"/>
                  </a:lnTo>
                  <a:lnTo>
                    <a:pt x="347" y="189"/>
                  </a:lnTo>
                  <a:lnTo>
                    <a:pt x="349" y="189"/>
                  </a:lnTo>
                  <a:lnTo>
                    <a:pt x="352" y="187"/>
                  </a:lnTo>
                  <a:lnTo>
                    <a:pt x="353" y="184"/>
                  </a:lnTo>
                  <a:lnTo>
                    <a:pt x="354" y="183"/>
                  </a:lnTo>
                  <a:lnTo>
                    <a:pt x="354" y="180"/>
                  </a:lnTo>
                  <a:lnTo>
                    <a:pt x="356" y="180"/>
                  </a:lnTo>
                  <a:lnTo>
                    <a:pt x="357" y="180"/>
                  </a:lnTo>
                  <a:lnTo>
                    <a:pt x="365" y="183"/>
                  </a:lnTo>
                  <a:lnTo>
                    <a:pt x="368" y="182"/>
                  </a:lnTo>
                  <a:lnTo>
                    <a:pt x="376" y="173"/>
                  </a:lnTo>
                  <a:lnTo>
                    <a:pt x="379" y="171"/>
                  </a:lnTo>
                  <a:lnTo>
                    <a:pt x="382" y="166"/>
                  </a:lnTo>
                  <a:lnTo>
                    <a:pt x="382" y="164"/>
                  </a:lnTo>
                  <a:lnTo>
                    <a:pt x="384" y="163"/>
                  </a:lnTo>
                  <a:lnTo>
                    <a:pt x="384" y="161"/>
                  </a:lnTo>
                  <a:lnTo>
                    <a:pt x="385" y="161"/>
                  </a:lnTo>
                  <a:lnTo>
                    <a:pt x="387" y="163"/>
                  </a:lnTo>
                  <a:lnTo>
                    <a:pt x="389" y="164"/>
                  </a:lnTo>
                  <a:lnTo>
                    <a:pt x="391" y="164"/>
                  </a:lnTo>
                  <a:lnTo>
                    <a:pt x="391" y="164"/>
                  </a:lnTo>
                  <a:lnTo>
                    <a:pt x="391" y="166"/>
                  </a:lnTo>
                  <a:lnTo>
                    <a:pt x="391" y="167"/>
                  </a:lnTo>
                  <a:lnTo>
                    <a:pt x="392" y="168"/>
                  </a:lnTo>
                  <a:lnTo>
                    <a:pt x="392" y="170"/>
                  </a:lnTo>
                  <a:lnTo>
                    <a:pt x="394" y="170"/>
                  </a:lnTo>
                  <a:lnTo>
                    <a:pt x="413" y="171"/>
                  </a:lnTo>
                  <a:lnTo>
                    <a:pt x="417" y="171"/>
                  </a:lnTo>
                  <a:lnTo>
                    <a:pt x="433" y="166"/>
                  </a:lnTo>
                  <a:lnTo>
                    <a:pt x="435" y="166"/>
                  </a:lnTo>
                  <a:lnTo>
                    <a:pt x="443" y="158"/>
                  </a:lnTo>
                  <a:lnTo>
                    <a:pt x="445" y="158"/>
                  </a:lnTo>
                  <a:lnTo>
                    <a:pt x="445" y="155"/>
                  </a:lnTo>
                  <a:lnTo>
                    <a:pt x="445" y="152"/>
                  </a:lnTo>
                  <a:lnTo>
                    <a:pt x="445" y="151"/>
                  </a:lnTo>
                  <a:lnTo>
                    <a:pt x="446" y="148"/>
                  </a:lnTo>
                  <a:lnTo>
                    <a:pt x="448" y="145"/>
                  </a:lnTo>
                  <a:lnTo>
                    <a:pt x="448" y="142"/>
                  </a:lnTo>
                  <a:lnTo>
                    <a:pt x="448" y="139"/>
                  </a:lnTo>
                  <a:lnTo>
                    <a:pt x="448" y="138"/>
                  </a:lnTo>
                  <a:lnTo>
                    <a:pt x="448" y="136"/>
                  </a:lnTo>
                  <a:lnTo>
                    <a:pt x="448" y="132"/>
                  </a:lnTo>
                  <a:lnTo>
                    <a:pt x="448" y="131"/>
                  </a:lnTo>
                  <a:lnTo>
                    <a:pt x="448" y="129"/>
                  </a:lnTo>
                  <a:lnTo>
                    <a:pt x="446" y="129"/>
                  </a:lnTo>
                  <a:lnTo>
                    <a:pt x="446" y="128"/>
                  </a:lnTo>
                  <a:lnTo>
                    <a:pt x="449" y="125"/>
                  </a:lnTo>
                  <a:lnTo>
                    <a:pt x="458" y="123"/>
                  </a:lnTo>
                  <a:lnTo>
                    <a:pt x="471" y="123"/>
                  </a:lnTo>
                  <a:lnTo>
                    <a:pt x="500" y="116"/>
                  </a:lnTo>
                  <a:lnTo>
                    <a:pt x="510" y="109"/>
                  </a:lnTo>
                  <a:lnTo>
                    <a:pt x="513" y="109"/>
                  </a:lnTo>
                  <a:lnTo>
                    <a:pt x="515" y="107"/>
                  </a:lnTo>
                  <a:lnTo>
                    <a:pt x="516" y="107"/>
                  </a:lnTo>
                  <a:lnTo>
                    <a:pt x="523" y="109"/>
                  </a:lnTo>
                  <a:lnTo>
                    <a:pt x="523" y="109"/>
                  </a:lnTo>
                  <a:lnTo>
                    <a:pt x="525" y="106"/>
                  </a:lnTo>
                  <a:lnTo>
                    <a:pt x="526" y="101"/>
                  </a:lnTo>
                  <a:lnTo>
                    <a:pt x="528" y="100"/>
                  </a:lnTo>
                  <a:lnTo>
                    <a:pt x="529" y="99"/>
                  </a:lnTo>
                  <a:lnTo>
                    <a:pt x="532" y="97"/>
                  </a:lnTo>
                  <a:lnTo>
                    <a:pt x="544" y="93"/>
                  </a:lnTo>
                  <a:lnTo>
                    <a:pt x="545" y="91"/>
                  </a:lnTo>
                  <a:lnTo>
                    <a:pt x="545" y="91"/>
                  </a:lnTo>
                  <a:lnTo>
                    <a:pt x="548" y="85"/>
                  </a:lnTo>
                  <a:lnTo>
                    <a:pt x="550" y="84"/>
                  </a:lnTo>
                  <a:lnTo>
                    <a:pt x="551" y="84"/>
                  </a:lnTo>
                  <a:lnTo>
                    <a:pt x="551" y="84"/>
                  </a:lnTo>
                  <a:lnTo>
                    <a:pt x="551" y="85"/>
                  </a:lnTo>
                  <a:lnTo>
                    <a:pt x="553" y="85"/>
                  </a:lnTo>
                  <a:lnTo>
                    <a:pt x="553" y="87"/>
                  </a:lnTo>
                  <a:lnTo>
                    <a:pt x="554" y="87"/>
                  </a:lnTo>
                  <a:lnTo>
                    <a:pt x="556" y="85"/>
                  </a:lnTo>
                  <a:lnTo>
                    <a:pt x="556" y="85"/>
                  </a:lnTo>
                  <a:lnTo>
                    <a:pt x="557" y="85"/>
                  </a:lnTo>
                  <a:lnTo>
                    <a:pt x="557" y="84"/>
                  </a:lnTo>
                  <a:lnTo>
                    <a:pt x="557" y="83"/>
                  </a:lnTo>
                  <a:lnTo>
                    <a:pt x="557" y="81"/>
                  </a:lnTo>
                  <a:lnTo>
                    <a:pt x="557" y="80"/>
                  </a:lnTo>
                  <a:lnTo>
                    <a:pt x="557" y="77"/>
                  </a:lnTo>
                  <a:lnTo>
                    <a:pt x="556" y="74"/>
                  </a:lnTo>
                  <a:lnTo>
                    <a:pt x="550" y="67"/>
                  </a:lnTo>
                  <a:lnTo>
                    <a:pt x="563" y="59"/>
                  </a:lnTo>
                  <a:lnTo>
                    <a:pt x="564" y="58"/>
                  </a:lnTo>
                  <a:lnTo>
                    <a:pt x="570" y="50"/>
                  </a:lnTo>
                  <a:lnTo>
                    <a:pt x="572" y="49"/>
                  </a:lnTo>
                  <a:lnTo>
                    <a:pt x="572" y="49"/>
                  </a:lnTo>
                  <a:lnTo>
                    <a:pt x="580" y="52"/>
                  </a:lnTo>
                  <a:lnTo>
                    <a:pt x="580" y="52"/>
                  </a:lnTo>
                  <a:lnTo>
                    <a:pt x="582" y="52"/>
                  </a:lnTo>
                  <a:lnTo>
                    <a:pt x="582" y="50"/>
                  </a:lnTo>
                  <a:lnTo>
                    <a:pt x="583" y="49"/>
                  </a:lnTo>
                  <a:lnTo>
                    <a:pt x="582" y="42"/>
                  </a:lnTo>
                  <a:lnTo>
                    <a:pt x="582" y="40"/>
                  </a:lnTo>
                  <a:lnTo>
                    <a:pt x="580" y="37"/>
                  </a:lnTo>
                  <a:lnTo>
                    <a:pt x="580" y="37"/>
                  </a:lnTo>
                  <a:lnTo>
                    <a:pt x="579" y="36"/>
                  </a:lnTo>
                  <a:lnTo>
                    <a:pt x="579" y="34"/>
                  </a:lnTo>
                  <a:lnTo>
                    <a:pt x="577" y="32"/>
                  </a:lnTo>
                  <a:lnTo>
                    <a:pt x="576" y="17"/>
                  </a:lnTo>
                  <a:lnTo>
                    <a:pt x="577" y="14"/>
                  </a:lnTo>
                  <a:lnTo>
                    <a:pt x="577" y="11"/>
                  </a:lnTo>
                  <a:lnTo>
                    <a:pt x="589" y="1"/>
                  </a:lnTo>
                  <a:lnTo>
                    <a:pt x="593" y="0"/>
                  </a:lnTo>
                  <a:lnTo>
                    <a:pt x="614" y="5"/>
                  </a:lnTo>
                  <a:lnTo>
                    <a:pt x="612" y="13"/>
                  </a:lnTo>
                  <a:lnTo>
                    <a:pt x="611" y="18"/>
                  </a:lnTo>
                  <a:lnTo>
                    <a:pt x="609" y="20"/>
                  </a:lnTo>
                  <a:lnTo>
                    <a:pt x="609" y="23"/>
                  </a:lnTo>
                  <a:lnTo>
                    <a:pt x="608" y="26"/>
                  </a:lnTo>
                  <a:lnTo>
                    <a:pt x="608" y="27"/>
                  </a:lnTo>
                  <a:lnTo>
                    <a:pt x="608" y="29"/>
                  </a:lnTo>
                  <a:lnTo>
                    <a:pt x="609" y="30"/>
                  </a:lnTo>
                  <a:lnTo>
                    <a:pt x="614" y="33"/>
                  </a:lnTo>
                  <a:lnTo>
                    <a:pt x="623" y="36"/>
                  </a:lnTo>
                  <a:lnTo>
                    <a:pt x="625" y="39"/>
                  </a:lnTo>
                  <a:lnTo>
                    <a:pt x="636" y="5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11">
              <a:extLst>
                <a:ext uri="{FF2B5EF4-FFF2-40B4-BE49-F238E27FC236}">
                  <a16:creationId xmlns:a16="http://schemas.microsoft.com/office/drawing/2014/main" id="{CB090486-B55D-403A-AD15-574F7770E14C}"/>
                </a:ext>
              </a:extLst>
            </p:cNvPr>
            <p:cNvSpPr>
              <a:spLocks/>
            </p:cNvSpPr>
            <p:nvPr/>
          </p:nvSpPr>
          <p:spPr bwMode="gray">
            <a:xfrm>
              <a:off x="3567113" y="2371725"/>
              <a:ext cx="1990725" cy="1941513"/>
            </a:xfrm>
            <a:custGeom>
              <a:avLst/>
              <a:gdLst>
                <a:gd name="T0" fmla="*/ 1033 w 1254"/>
                <a:gd name="T1" fmla="*/ 76 h 1223"/>
                <a:gd name="T2" fmla="*/ 1139 w 1254"/>
                <a:gd name="T3" fmla="*/ 26 h 1223"/>
                <a:gd name="T4" fmla="*/ 1097 w 1254"/>
                <a:gd name="T5" fmla="*/ 105 h 1223"/>
                <a:gd name="T6" fmla="*/ 1109 w 1254"/>
                <a:gd name="T7" fmla="*/ 170 h 1223"/>
                <a:gd name="T8" fmla="*/ 1093 w 1254"/>
                <a:gd name="T9" fmla="*/ 221 h 1223"/>
                <a:gd name="T10" fmla="*/ 1155 w 1254"/>
                <a:gd name="T11" fmla="*/ 262 h 1223"/>
                <a:gd name="T12" fmla="*/ 1154 w 1254"/>
                <a:gd name="T13" fmla="*/ 303 h 1223"/>
                <a:gd name="T14" fmla="*/ 1189 w 1254"/>
                <a:gd name="T15" fmla="*/ 332 h 1223"/>
                <a:gd name="T16" fmla="*/ 1237 w 1254"/>
                <a:gd name="T17" fmla="*/ 374 h 1223"/>
                <a:gd name="T18" fmla="*/ 1251 w 1254"/>
                <a:gd name="T19" fmla="*/ 399 h 1223"/>
                <a:gd name="T20" fmla="*/ 1230 w 1254"/>
                <a:gd name="T21" fmla="*/ 454 h 1223"/>
                <a:gd name="T22" fmla="*/ 1231 w 1254"/>
                <a:gd name="T23" fmla="*/ 498 h 1223"/>
                <a:gd name="T24" fmla="*/ 1213 w 1254"/>
                <a:gd name="T25" fmla="*/ 539 h 1223"/>
                <a:gd name="T26" fmla="*/ 1170 w 1254"/>
                <a:gd name="T27" fmla="*/ 590 h 1223"/>
                <a:gd name="T28" fmla="*/ 1123 w 1254"/>
                <a:gd name="T29" fmla="*/ 591 h 1223"/>
                <a:gd name="T30" fmla="*/ 1062 w 1254"/>
                <a:gd name="T31" fmla="*/ 601 h 1223"/>
                <a:gd name="T32" fmla="*/ 1053 w 1254"/>
                <a:gd name="T33" fmla="*/ 639 h 1223"/>
                <a:gd name="T34" fmla="*/ 976 w 1254"/>
                <a:gd name="T35" fmla="*/ 659 h 1223"/>
                <a:gd name="T36" fmla="*/ 953 w 1254"/>
                <a:gd name="T37" fmla="*/ 712 h 1223"/>
                <a:gd name="T38" fmla="*/ 994 w 1254"/>
                <a:gd name="T39" fmla="*/ 703 h 1223"/>
                <a:gd name="T40" fmla="*/ 1007 w 1254"/>
                <a:gd name="T41" fmla="*/ 744 h 1223"/>
                <a:gd name="T42" fmla="*/ 977 w 1254"/>
                <a:gd name="T43" fmla="*/ 804 h 1223"/>
                <a:gd name="T44" fmla="*/ 928 w 1254"/>
                <a:gd name="T45" fmla="*/ 853 h 1223"/>
                <a:gd name="T46" fmla="*/ 886 w 1254"/>
                <a:gd name="T47" fmla="*/ 911 h 1223"/>
                <a:gd name="T48" fmla="*/ 823 w 1254"/>
                <a:gd name="T49" fmla="*/ 939 h 1223"/>
                <a:gd name="T50" fmla="*/ 795 w 1254"/>
                <a:gd name="T51" fmla="*/ 983 h 1223"/>
                <a:gd name="T52" fmla="*/ 766 w 1254"/>
                <a:gd name="T53" fmla="*/ 1022 h 1223"/>
                <a:gd name="T54" fmla="*/ 723 w 1254"/>
                <a:gd name="T55" fmla="*/ 943 h 1223"/>
                <a:gd name="T56" fmla="*/ 663 w 1254"/>
                <a:gd name="T57" fmla="*/ 926 h 1223"/>
                <a:gd name="T58" fmla="*/ 641 w 1254"/>
                <a:gd name="T59" fmla="*/ 974 h 1223"/>
                <a:gd name="T60" fmla="*/ 607 w 1254"/>
                <a:gd name="T61" fmla="*/ 999 h 1223"/>
                <a:gd name="T62" fmla="*/ 529 w 1254"/>
                <a:gd name="T63" fmla="*/ 1042 h 1223"/>
                <a:gd name="T64" fmla="*/ 466 w 1254"/>
                <a:gd name="T65" fmla="*/ 1056 h 1223"/>
                <a:gd name="T66" fmla="*/ 377 w 1254"/>
                <a:gd name="T67" fmla="*/ 1096 h 1223"/>
                <a:gd name="T68" fmla="*/ 342 w 1254"/>
                <a:gd name="T69" fmla="*/ 1144 h 1223"/>
                <a:gd name="T70" fmla="*/ 322 w 1254"/>
                <a:gd name="T71" fmla="*/ 1168 h 1223"/>
                <a:gd name="T72" fmla="*/ 280 w 1254"/>
                <a:gd name="T73" fmla="*/ 1203 h 1223"/>
                <a:gd name="T74" fmla="*/ 210 w 1254"/>
                <a:gd name="T75" fmla="*/ 1213 h 1223"/>
                <a:gd name="T76" fmla="*/ 200 w 1254"/>
                <a:gd name="T77" fmla="*/ 1216 h 1223"/>
                <a:gd name="T78" fmla="*/ 162 w 1254"/>
                <a:gd name="T79" fmla="*/ 1136 h 1223"/>
                <a:gd name="T80" fmla="*/ 106 w 1254"/>
                <a:gd name="T81" fmla="*/ 1102 h 1223"/>
                <a:gd name="T82" fmla="*/ 60 w 1254"/>
                <a:gd name="T83" fmla="*/ 1013 h 1223"/>
                <a:gd name="T84" fmla="*/ 51 w 1254"/>
                <a:gd name="T85" fmla="*/ 962 h 1223"/>
                <a:gd name="T86" fmla="*/ 51 w 1254"/>
                <a:gd name="T87" fmla="*/ 891 h 1223"/>
                <a:gd name="T88" fmla="*/ 23 w 1254"/>
                <a:gd name="T89" fmla="*/ 836 h 1223"/>
                <a:gd name="T90" fmla="*/ 77 w 1254"/>
                <a:gd name="T91" fmla="*/ 719 h 1223"/>
                <a:gd name="T92" fmla="*/ 80 w 1254"/>
                <a:gd name="T93" fmla="*/ 515 h 1223"/>
                <a:gd name="T94" fmla="*/ 26 w 1254"/>
                <a:gd name="T95" fmla="*/ 405 h 1223"/>
                <a:gd name="T96" fmla="*/ 143 w 1254"/>
                <a:gd name="T97" fmla="*/ 371 h 1223"/>
                <a:gd name="T98" fmla="*/ 328 w 1254"/>
                <a:gd name="T99" fmla="*/ 320 h 1223"/>
                <a:gd name="T100" fmla="*/ 318 w 1254"/>
                <a:gd name="T101" fmla="*/ 234 h 1223"/>
                <a:gd name="T102" fmla="*/ 524 w 1254"/>
                <a:gd name="T103" fmla="*/ 127 h 1223"/>
                <a:gd name="T104" fmla="*/ 603 w 1254"/>
                <a:gd name="T105" fmla="*/ 64 h 1223"/>
                <a:gd name="T106" fmla="*/ 645 w 1254"/>
                <a:gd name="T107" fmla="*/ 65 h 1223"/>
                <a:gd name="T108" fmla="*/ 723 w 1254"/>
                <a:gd name="T109" fmla="*/ 124 h 1223"/>
                <a:gd name="T110" fmla="*/ 712 w 1254"/>
                <a:gd name="T111" fmla="*/ 176 h 1223"/>
                <a:gd name="T112" fmla="*/ 747 w 1254"/>
                <a:gd name="T113" fmla="*/ 211 h 1223"/>
                <a:gd name="T114" fmla="*/ 739 w 1254"/>
                <a:gd name="T115" fmla="*/ 274 h 1223"/>
                <a:gd name="T116" fmla="*/ 913 w 1254"/>
                <a:gd name="T117" fmla="*/ 202 h 1223"/>
                <a:gd name="T118" fmla="*/ 858 w 1254"/>
                <a:gd name="T119" fmla="*/ 64 h 1223"/>
                <a:gd name="T120" fmla="*/ 943 w 1254"/>
                <a:gd name="T121" fmla="*/ 9 h 1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4" h="1223">
                  <a:moveTo>
                    <a:pt x="980" y="7"/>
                  </a:moveTo>
                  <a:lnTo>
                    <a:pt x="991" y="25"/>
                  </a:lnTo>
                  <a:lnTo>
                    <a:pt x="992" y="29"/>
                  </a:lnTo>
                  <a:lnTo>
                    <a:pt x="992" y="33"/>
                  </a:lnTo>
                  <a:lnTo>
                    <a:pt x="992" y="35"/>
                  </a:lnTo>
                  <a:lnTo>
                    <a:pt x="991" y="41"/>
                  </a:lnTo>
                  <a:lnTo>
                    <a:pt x="991" y="44"/>
                  </a:lnTo>
                  <a:lnTo>
                    <a:pt x="991" y="47"/>
                  </a:lnTo>
                  <a:lnTo>
                    <a:pt x="992" y="48"/>
                  </a:lnTo>
                  <a:lnTo>
                    <a:pt x="992" y="51"/>
                  </a:lnTo>
                  <a:lnTo>
                    <a:pt x="994" y="52"/>
                  </a:lnTo>
                  <a:lnTo>
                    <a:pt x="994" y="54"/>
                  </a:lnTo>
                  <a:lnTo>
                    <a:pt x="992" y="60"/>
                  </a:lnTo>
                  <a:lnTo>
                    <a:pt x="992" y="63"/>
                  </a:lnTo>
                  <a:lnTo>
                    <a:pt x="992" y="65"/>
                  </a:lnTo>
                  <a:lnTo>
                    <a:pt x="992" y="68"/>
                  </a:lnTo>
                  <a:lnTo>
                    <a:pt x="992" y="70"/>
                  </a:lnTo>
                  <a:lnTo>
                    <a:pt x="994" y="71"/>
                  </a:lnTo>
                  <a:lnTo>
                    <a:pt x="994" y="71"/>
                  </a:lnTo>
                  <a:lnTo>
                    <a:pt x="998" y="73"/>
                  </a:lnTo>
                  <a:lnTo>
                    <a:pt x="1033" y="76"/>
                  </a:lnTo>
                  <a:lnTo>
                    <a:pt x="1045" y="76"/>
                  </a:lnTo>
                  <a:lnTo>
                    <a:pt x="1055" y="71"/>
                  </a:lnTo>
                  <a:lnTo>
                    <a:pt x="1056" y="70"/>
                  </a:lnTo>
                  <a:lnTo>
                    <a:pt x="1079" y="65"/>
                  </a:lnTo>
                  <a:lnTo>
                    <a:pt x="1081" y="64"/>
                  </a:lnTo>
                  <a:lnTo>
                    <a:pt x="1082" y="63"/>
                  </a:lnTo>
                  <a:lnTo>
                    <a:pt x="1082" y="61"/>
                  </a:lnTo>
                  <a:lnTo>
                    <a:pt x="1088" y="45"/>
                  </a:lnTo>
                  <a:lnTo>
                    <a:pt x="1091" y="36"/>
                  </a:lnTo>
                  <a:lnTo>
                    <a:pt x="1093" y="35"/>
                  </a:lnTo>
                  <a:lnTo>
                    <a:pt x="1103" y="25"/>
                  </a:lnTo>
                  <a:lnTo>
                    <a:pt x="1122" y="14"/>
                  </a:lnTo>
                  <a:lnTo>
                    <a:pt x="1123" y="14"/>
                  </a:lnTo>
                  <a:lnTo>
                    <a:pt x="1125" y="14"/>
                  </a:lnTo>
                  <a:lnTo>
                    <a:pt x="1128" y="16"/>
                  </a:lnTo>
                  <a:lnTo>
                    <a:pt x="1132" y="23"/>
                  </a:lnTo>
                  <a:lnTo>
                    <a:pt x="1133" y="23"/>
                  </a:lnTo>
                  <a:lnTo>
                    <a:pt x="1133" y="25"/>
                  </a:lnTo>
                  <a:lnTo>
                    <a:pt x="1135" y="25"/>
                  </a:lnTo>
                  <a:lnTo>
                    <a:pt x="1136" y="26"/>
                  </a:lnTo>
                  <a:lnTo>
                    <a:pt x="1139" y="26"/>
                  </a:lnTo>
                  <a:lnTo>
                    <a:pt x="1141" y="28"/>
                  </a:lnTo>
                  <a:lnTo>
                    <a:pt x="1141" y="29"/>
                  </a:lnTo>
                  <a:lnTo>
                    <a:pt x="1139" y="33"/>
                  </a:lnTo>
                  <a:lnTo>
                    <a:pt x="1138" y="35"/>
                  </a:lnTo>
                  <a:lnTo>
                    <a:pt x="1136" y="38"/>
                  </a:lnTo>
                  <a:lnTo>
                    <a:pt x="1135" y="38"/>
                  </a:lnTo>
                  <a:lnTo>
                    <a:pt x="1132" y="39"/>
                  </a:lnTo>
                  <a:lnTo>
                    <a:pt x="1132" y="41"/>
                  </a:lnTo>
                  <a:lnTo>
                    <a:pt x="1132" y="44"/>
                  </a:lnTo>
                  <a:lnTo>
                    <a:pt x="1132" y="47"/>
                  </a:lnTo>
                  <a:lnTo>
                    <a:pt x="1138" y="65"/>
                  </a:lnTo>
                  <a:lnTo>
                    <a:pt x="1126" y="84"/>
                  </a:lnTo>
                  <a:lnTo>
                    <a:pt x="1120" y="97"/>
                  </a:lnTo>
                  <a:lnTo>
                    <a:pt x="1119" y="99"/>
                  </a:lnTo>
                  <a:lnTo>
                    <a:pt x="1116" y="100"/>
                  </a:lnTo>
                  <a:lnTo>
                    <a:pt x="1113" y="102"/>
                  </a:lnTo>
                  <a:lnTo>
                    <a:pt x="1110" y="105"/>
                  </a:lnTo>
                  <a:lnTo>
                    <a:pt x="1107" y="105"/>
                  </a:lnTo>
                  <a:lnTo>
                    <a:pt x="1100" y="103"/>
                  </a:lnTo>
                  <a:lnTo>
                    <a:pt x="1098" y="103"/>
                  </a:lnTo>
                  <a:lnTo>
                    <a:pt x="1097" y="105"/>
                  </a:lnTo>
                  <a:lnTo>
                    <a:pt x="1095" y="106"/>
                  </a:lnTo>
                  <a:lnTo>
                    <a:pt x="1094" y="108"/>
                  </a:lnTo>
                  <a:lnTo>
                    <a:pt x="1093" y="113"/>
                  </a:lnTo>
                  <a:lnTo>
                    <a:pt x="1091" y="118"/>
                  </a:lnTo>
                  <a:lnTo>
                    <a:pt x="1090" y="134"/>
                  </a:lnTo>
                  <a:lnTo>
                    <a:pt x="1090" y="138"/>
                  </a:lnTo>
                  <a:lnTo>
                    <a:pt x="1088" y="141"/>
                  </a:lnTo>
                  <a:lnTo>
                    <a:pt x="1088" y="144"/>
                  </a:lnTo>
                  <a:lnTo>
                    <a:pt x="1087" y="146"/>
                  </a:lnTo>
                  <a:lnTo>
                    <a:pt x="1088" y="147"/>
                  </a:lnTo>
                  <a:lnTo>
                    <a:pt x="1088" y="148"/>
                  </a:lnTo>
                  <a:lnTo>
                    <a:pt x="1090" y="150"/>
                  </a:lnTo>
                  <a:lnTo>
                    <a:pt x="1091" y="151"/>
                  </a:lnTo>
                  <a:lnTo>
                    <a:pt x="1097" y="153"/>
                  </a:lnTo>
                  <a:lnTo>
                    <a:pt x="1109" y="159"/>
                  </a:lnTo>
                  <a:lnTo>
                    <a:pt x="1116" y="160"/>
                  </a:lnTo>
                  <a:lnTo>
                    <a:pt x="1119" y="160"/>
                  </a:lnTo>
                  <a:lnTo>
                    <a:pt x="1119" y="162"/>
                  </a:lnTo>
                  <a:lnTo>
                    <a:pt x="1117" y="163"/>
                  </a:lnTo>
                  <a:lnTo>
                    <a:pt x="1110" y="167"/>
                  </a:lnTo>
                  <a:lnTo>
                    <a:pt x="1109" y="170"/>
                  </a:lnTo>
                  <a:lnTo>
                    <a:pt x="1107" y="173"/>
                  </a:lnTo>
                  <a:lnTo>
                    <a:pt x="1107" y="175"/>
                  </a:lnTo>
                  <a:lnTo>
                    <a:pt x="1107" y="176"/>
                  </a:lnTo>
                  <a:lnTo>
                    <a:pt x="1109" y="178"/>
                  </a:lnTo>
                  <a:lnTo>
                    <a:pt x="1110" y="180"/>
                  </a:lnTo>
                  <a:lnTo>
                    <a:pt x="1110" y="185"/>
                  </a:lnTo>
                  <a:lnTo>
                    <a:pt x="1110" y="186"/>
                  </a:lnTo>
                  <a:lnTo>
                    <a:pt x="1109" y="188"/>
                  </a:lnTo>
                  <a:lnTo>
                    <a:pt x="1100" y="186"/>
                  </a:lnTo>
                  <a:lnTo>
                    <a:pt x="1090" y="189"/>
                  </a:lnTo>
                  <a:lnTo>
                    <a:pt x="1091" y="196"/>
                  </a:lnTo>
                  <a:lnTo>
                    <a:pt x="1095" y="204"/>
                  </a:lnTo>
                  <a:lnTo>
                    <a:pt x="1095" y="205"/>
                  </a:lnTo>
                  <a:lnTo>
                    <a:pt x="1095" y="208"/>
                  </a:lnTo>
                  <a:lnTo>
                    <a:pt x="1097" y="210"/>
                  </a:lnTo>
                  <a:lnTo>
                    <a:pt x="1095" y="213"/>
                  </a:lnTo>
                  <a:lnTo>
                    <a:pt x="1095" y="214"/>
                  </a:lnTo>
                  <a:lnTo>
                    <a:pt x="1095" y="215"/>
                  </a:lnTo>
                  <a:lnTo>
                    <a:pt x="1094" y="215"/>
                  </a:lnTo>
                  <a:lnTo>
                    <a:pt x="1093" y="218"/>
                  </a:lnTo>
                  <a:lnTo>
                    <a:pt x="1093" y="221"/>
                  </a:lnTo>
                  <a:lnTo>
                    <a:pt x="1093" y="221"/>
                  </a:lnTo>
                  <a:lnTo>
                    <a:pt x="1095" y="221"/>
                  </a:lnTo>
                  <a:lnTo>
                    <a:pt x="1098" y="220"/>
                  </a:lnTo>
                  <a:lnTo>
                    <a:pt x="1104" y="218"/>
                  </a:lnTo>
                  <a:lnTo>
                    <a:pt x="1109" y="220"/>
                  </a:lnTo>
                  <a:lnTo>
                    <a:pt x="1116" y="218"/>
                  </a:lnTo>
                  <a:lnTo>
                    <a:pt x="1141" y="221"/>
                  </a:lnTo>
                  <a:lnTo>
                    <a:pt x="1144" y="223"/>
                  </a:lnTo>
                  <a:lnTo>
                    <a:pt x="1145" y="226"/>
                  </a:lnTo>
                  <a:lnTo>
                    <a:pt x="1144" y="229"/>
                  </a:lnTo>
                  <a:lnTo>
                    <a:pt x="1142" y="231"/>
                  </a:lnTo>
                  <a:lnTo>
                    <a:pt x="1142" y="233"/>
                  </a:lnTo>
                  <a:lnTo>
                    <a:pt x="1142" y="234"/>
                  </a:lnTo>
                  <a:lnTo>
                    <a:pt x="1142" y="236"/>
                  </a:lnTo>
                  <a:lnTo>
                    <a:pt x="1145" y="239"/>
                  </a:lnTo>
                  <a:lnTo>
                    <a:pt x="1155" y="243"/>
                  </a:lnTo>
                  <a:lnTo>
                    <a:pt x="1160" y="249"/>
                  </a:lnTo>
                  <a:lnTo>
                    <a:pt x="1160" y="252"/>
                  </a:lnTo>
                  <a:lnTo>
                    <a:pt x="1160" y="253"/>
                  </a:lnTo>
                  <a:lnTo>
                    <a:pt x="1160" y="255"/>
                  </a:lnTo>
                  <a:lnTo>
                    <a:pt x="1155" y="262"/>
                  </a:lnTo>
                  <a:lnTo>
                    <a:pt x="1155" y="263"/>
                  </a:lnTo>
                  <a:lnTo>
                    <a:pt x="1155" y="263"/>
                  </a:lnTo>
                  <a:lnTo>
                    <a:pt x="1155" y="266"/>
                  </a:lnTo>
                  <a:lnTo>
                    <a:pt x="1158" y="275"/>
                  </a:lnTo>
                  <a:lnTo>
                    <a:pt x="1163" y="285"/>
                  </a:lnTo>
                  <a:lnTo>
                    <a:pt x="1163" y="287"/>
                  </a:lnTo>
                  <a:lnTo>
                    <a:pt x="1163" y="288"/>
                  </a:lnTo>
                  <a:lnTo>
                    <a:pt x="1163" y="290"/>
                  </a:lnTo>
                  <a:lnTo>
                    <a:pt x="1161" y="291"/>
                  </a:lnTo>
                  <a:lnTo>
                    <a:pt x="1161" y="293"/>
                  </a:lnTo>
                  <a:lnTo>
                    <a:pt x="1160" y="294"/>
                  </a:lnTo>
                  <a:lnTo>
                    <a:pt x="1158" y="295"/>
                  </a:lnTo>
                  <a:lnTo>
                    <a:pt x="1155" y="297"/>
                  </a:lnTo>
                  <a:lnTo>
                    <a:pt x="1155" y="297"/>
                  </a:lnTo>
                  <a:lnTo>
                    <a:pt x="1155" y="298"/>
                  </a:lnTo>
                  <a:lnTo>
                    <a:pt x="1155" y="298"/>
                  </a:lnTo>
                  <a:lnTo>
                    <a:pt x="1155" y="300"/>
                  </a:lnTo>
                  <a:lnTo>
                    <a:pt x="1155" y="301"/>
                  </a:lnTo>
                  <a:lnTo>
                    <a:pt x="1155" y="301"/>
                  </a:lnTo>
                  <a:lnTo>
                    <a:pt x="1154" y="303"/>
                  </a:lnTo>
                  <a:lnTo>
                    <a:pt x="1154" y="303"/>
                  </a:lnTo>
                  <a:lnTo>
                    <a:pt x="1152" y="304"/>
                  </a:lnTo>
                  <a:lnTo>
                    <a:pt x="1155" y="306"/>
                  </a:lnTo>
                  <a:lnTo>
                    <a:pt x="1158" y="307"/>
                  </a:lnTo>
                  <a:lnTo>
                    <a:pt x="1167" y="312"/>
                  </a:lnTo>
                  <a:lnTo>
                    <a:pt x="1170" y="313"/>
                  </a:lnTo>
                  <a:lnTo>
                    <a:pt x="1171" y="312"/>
                  </a:lnTo>
                  <a:lnTo>
                    <a:pt x="1171" y="312"/>
                  </a:lnTo>
                  <a:lnTo>
                    <a:pt x="1171" y="310"/>
                  </a:lnTo>
                  <a:lnTo>
                    <a:pt x="1171" y="310"/>
                  </a:lnTo>
                  <a:lnTo>
                    <a:pt x="1173" y="309"/>
                  </a:lnTo>
                  <a:lnTo>
                    <a:pt x="1173" y="307"/>
                  </a:lnTo>
                  <a:lnTo>
                    <a:pt x="1174" y="307"/>
                  </a:lnTo>
                  <a:lnTo>
                    <a:pt x="1176" y="306"/>
                  </a:lnTo>
                  <a:lnTo>
                    <a:pt x="1177" y="306"/>
                  </a:lnTo>
                  <a:lnTo>
                    <a:pt x="1179" y="306"/>
                  </a:lnTo>
                  <a:lnTo>
                    <a:pt x="1180" y="306"/>
                  </a:lnTo>
                  <a:lnTo>
                    <a:pt x="1193" y="312"/>
                  </a:lnTo>
                  <a:lnTo>
                    <a:pt x="1193" y="313"/>
                  </a:lnTo>
                  <a:lnTo>
                    <a:pt x="1193" y="316"/>
                  </a:lnTo>
                  <a:lnTo>
                    <a:pt x="1189" y="332"/>
                  </a:lnTo>
                  <a:lnTo>
                    <a:pt x="1189" y="332"/>
                  </a:lnTo>
                  <a:lnTo>
                    <a:pt x="1187" y="335"/>
                  </a:lnTo>
                  <a:lnTo>
                    <a:pt x="1186" y="336"/>
                  </a:lnTo>
                  <a:lnTo>
                    <a:pt x="1183" y="339"/>
                  </a:lnTo>
                  <a:lnTo>
                    <a:pt x="1183" y="339"/>
                  </a:lnTo>
                  <a:lnTo>
                    <a:pt x="1183" y="341"/>
                  </a:lnTo>
                  <a:lnTo>
                    <a:pt x="1184" y="341"/>
                  </a:lnTo>
                  <a:lnTo>
                    <a:pt x="1195" y="339"/>
                  </a:lnTo>
                  <a:lnTo>
                    <a:pt x="1199" y="339"/>
                  </a:lnTo>
                  <a:lnTo>
                    <a:pt x="1206" y="344"/>
                  </a:lnTo>
                  <a:lnTo>
                    <a:pt x="1209" y="346"/>
                  </a:lnTo>
                  <a:lnTo>
                    <a:pt x="1209" y="348"/>
                  </a:lnTo>
                  <a:lnTo>
                    <a:pt x="1209" y="349"/>
                  </a:lnTo>
                  <a:lnTo>
                    <a:pt x="1211" y="352"/>
                  </a:lnTo>
                  <a:lnTo>
                    <a:pt x="1211" y="357"/>
                  </a:lnTo>
                  <a:lnTo>
                    <a:pt x="1211" y="362"/>
                  </a:lnTo>
                  <a:lnTo>
                    <a:pt x="1205" y="377"/>
                  </a:lnTo>
                  <a:lnTo>
                    <a:pt x="1209" y="377"/>
                  </a:lnTo>
                  <a:lnTo>
                    <a:pt x="1212" y="377"/>
                  </a:lnTo>
                  <a:lnTo>
                    <a:pt x="1219" y="374"/>
                  </a:lnTo>
                  <a:lnTo>
                    <a:pt x="1221" y="374"/>
                  </a:lnTo>
                  <a:lnTo>
                    <a:pt x="1237" y="374"/>
                  </a:lnTo>
                  <a:lnTo>
                    <a:pt x="1244" y="373"/>
                  </a:lnTo>
                  <a:lnTo>
                    <a:pt x="1247" y="373"/>
                  </a:lnTo>
                  <a:lnTo>
                    <a:pt x="1250" y="371"/>
                  </a:lnTo>
                  <a:lnTo>
                    <a:pt x="1251" y="370"/>
                  </a:lnTo>
                  <a:lnTo>
                    <a:pt x="1253" y="371"/>
                  </a:lnTo>
                  <a:lnTo>
                    <a:pt x="1254" y="371"/>
                  </a:lnTo>
                  <a:lnTo>
                    <a:pt x="1253" y="376"/>
                  </a:lnTo>
                  <a:lnTo>
                    <a:pt x="1251" y="377"/>
                  </a:lnTo>
                  <a:lnTo>
                    <a:pt x="1250" y="380"/>
                  </a:lnTo>
                  <a:lnTo>
                    <a:pt x="1247" y="384"/>
                  </a:lnTo>
                  <a:lnTo>
                    <a:pt x="1247" y="386"/>
                  </a:lnTo>
                  <a:lnTo>
                    <a:pt x="1247" y="387"/>
                  </a:lnTo>
                  <a:lnTo>
                    <a:pt x="1248" y="389"/>
                  </a:lnTo>
                  <a:lnTo>
                    <a:pt x="1250" y="389"/>
                  </a:lnTo>
                  <a:lnTo>
                    <a:pt x="1253" y="390"/>
                  </a:lnTo>
                  <a:lnTo>
                    <a:pt x="1254" y="390"/>
                  </a:lnTo>
                  <a:lnTo>
                    <a:pt x="1254" y="392"/>
                  </a:lnTo>
                  <a:lnTo>
                    <a:pt x="1254" y="393"/>
                  </a:lnTo>
                  <a:lnTo>
                    <a:pt x="1251" y="395"/>
                  </a:lnTo>
                  <a:lnTo>
                    <a:pt x="1251" y="396"/>
                  </a:lnTo>
                  <a:lnTo>
                    <a:pt x="1251" y="399"/>
                  </a:lnTo>
                  <a:lnTo>
                    <a:pt x="1251" y="405"/>
                  </a:lnTo>
                  <a:lnTo>
                    <a:pt x="1250" y="409"/>
                  </a:lnTo>
                  <a:lnTo>
                    <a:pt x="1248" y="416"/>
                  </a:lnTo>
                  <a:lnTo>
                    <a:pt x="1246" y="425"/>
                  </a:lnTo>
                  <a:lnTo>
                    <a:pt x="1244" y="427"/>
                  </a:lnTo>
                  <a:lnTo>
                    <a:pt x="1243" y="429"/>
                  </a:lnTo>
                  <a:lnTo>
                    <a:pt x="1240" y="431"/>
                  </a:lnTo>
                  <a:lnTo>
                    <a:pt x="1235" y="434"/>
                  </a:lnTo>
                  <a:lnTo>
                    <a:pt x="1235" y="435"/>
                  </a:lnTo>
                  <a:lnTo>
                    <a:pt x="1234" y="435"/>
                  </a:lnTo>
                  <a:lnTo>
                    <a:pt x="1234" y="437"/>
                  </a:lnTo>
                  <a:lnTo>
                    <a:pt x="1234" y="440"/>
                  </a:lnTo>
                  <a:lnTo>
                    <a:pt x="1232" y="441"/>
                  </a:lnTo>
                  <a:lnTo>
                    <a:pt x="1232" y="443"/>
                  </a:lnTo>
                  <a:lnTo>
                    <a:pt x="1231" y="443"/>
                  </a:lnTo>
                  <a:lnTo>
                    <a:pt x="1231" y="444"/>
                  </a:lnTo>
                  <a:lnTo>
                    <a:pt x="1230" y="444"/>
                  </a:lnTo>
                  <a:lnTo>
                    <a:pt x="1230" y="445"/>
                  </a:lnTo>
                  <a:lnTo>
                    <a:pt x="1230" y="448"/>
                  </a:lnTo>
                  <a:lnTo>
                    <a:pt x="1230" y="451"/>
                  </a:lnTo>
                  <a:lnTo>
                    <a:pt x="1230" y="454"/>
                  </a:lnTo>
                  <a:lnTo>
                    <a:pt x="1230" y="461"/>
                  </a:lnTo>
                  <a:lnTo>
                    <a:pt x="1231" y="464"/>
                  </a:lnTo>
                  <a:lnTo>
                    <a:pt x="1230" y="466"/>
                  </a:lnTo>
                  <a:lnTo>
                    <a:pt x="1230" y="467"/>
                  </a:lnTo>
                  <a:lnTo>
                    <a:pt x="1228" y="469"/>
                  </a:lnTo>
                  <a:lnTo>
                    <a:pt x="1228" y="470"/>
                  </a:lnTo>
                  <a:lnTo>
                    <a:pt x="1228" y="473"/>
                  </a:lnTo>
                  <a:lnTo>
                    <a:pt x="1230" y="477"/>
                  </a:lnTo>
                  <a:lnTo>
                    <a:pt x="1228" y="479"/>
                  </a:lnTo>
                  <a:lnTo>
                    <a:pt x="1228" y="480"/>
                  </a:lnTo>
                  <a:lnTo>
                    <a:pt x="1225" y="482"/>
                  </a:lnTo>
                  <a:lnTo>
                    <a:pt x="1225" y="482"/>
                  </a:lnTo>
                  <a:lnTo>
                    <a:pt x="1224" y="483"/>
                  </a:lnTo>
                  <a:lnTo>
                    <a:pt x="1224" y="486"/>
                  </a:lnTo>
                  <a:lnTo>
                    <a:pt x="1224" y="489"/>
                  </a:lnTo>
                  <a:lnTo>
                    <a:pt x="1224" y="492"/>
                  </a:lnTo>
                  <a:lnTo>
                    <a:pt x="1224" y="494"/>
                  </a:lnTo>
                  <a:lnTo>
                    <a:pt x="1224" y="495"/>
                  </a:lnTo>
                  <a:lnTo>
                    <a:pt x="1224" y="496"/>
                  </a:lnTo>
                  <a:lnTo>
                    <a:pt x="1225" y="498"/>
                  </a:lnTo>
                  <a:lnTo>
                    <a:pt x="1231" y="498"/>
                  </a:lnTo>
                  <a:lnTo>
                    <a:pt x="1247" y="494"/>
                  </a:lnTo>
                  <a:lnTo>
                    <a:pt x="1241" y="502"/>
                  </a:lnTo>
                  <a:lnTo>
                    <a:pt x="1238" y="505"/>
                  </a:lnTo>
                  <a:lnTo>
                    <a:pt x="1213" y="514"/>
                  </a:lnTo>
                  <a:lnTo>
                    <a:pt x="1211" y="515"/>
                  </a:lnTo>
                  <a:lnTo>
                    <a:pt x="1209" y="517"/>
                  </a:lnTo>
                  <a:lnTo>
                    <a:pt x="1209" y="517"/>
                  </a:lnTo>
                  <a:lnTo>
                    <a:pt x="1211" y="518"/>
                  </a:lnTo>
                  <a:lnTo>
                    <a:pt x="1212" y="520"/>
                  </a:lnTo>
                  <a:lnTo>
                    <a:pt x="1216" y="523"/>
                  </a:lnTo>
                  <a:lnTo>
                    <a:pt x="1216" y="523"/>
                  </a:lnTo>
                  <a:lnTo>
                    <a:pt x="1216" y="524"/>
                  </a:lnTo>
                  <a:lnTo>
                    <a:pt x="1216" y="524"/>
                  </a:lnTo>
                  <a:lnTo>
                    <a:pt x="1216" y="526"/>
                  </a:lnTo>
                  <a:lnTo>
                    <a:pt x="1216" y="526"/>
                  </a:lnTo>
                  <a:lnTo>
                    <a:pt x="1215" y="530"/>
                  </a:lnTo>
                  <a:lnTo>
                    <a:pt x="1215" y="531"/>
                  </a:lnTo>
                  <a:lnTo>
                    <a:pt x="1213" y="534"/>
                  </a:lnTo>
                  <a:lnTo>
                    <a:pt x="1213" y="537"/>
                  </a:lnTo>
                  <a:lnTo>
                    <a:pt x="1213" y="537"/>
                  </a:lnTo>
                  <a:lnTo>
                    <a:pt x="1213" y="539"/>
                  </a:lnTo>
                  <a:lnTo>
                    <a:pt x="1212" y="542"/>
                  </a:lnTo>
                  <a:lnTo>
                    <a:pt x="1211" y="546"/>
                  </a:lnTo>
                  <a:lnTo>
                    <a:pt x="1209" y="549"/>
                  </a:lnTo>
                  <a:lnTo>
                    <a:pt x="1206" y="550"/>
                  </a:lnTo>
                  <a:lnTo>
                    <a:pt x="1203" y="553"/>
                  </a:lnTo>
                  <a:lnTo>
                    <a:pt x="1202" y="556"/>
                  </a:lnTo>
                  <a:lnTo>
                    <a:pt x="1200" y="559"/>
                  </a:lnTo>
                  <a:lnTo>
                    <a:pt x="1199" y="563"/>
                  </a:lnTo>
                  <a:lnTo>
                    <a:pt x="1197" y="565"/>
                  </a:lnTo>
                  <a:lnTo>
                    <a:pt x="1196" y="566"/>
                  </a:lnTo>
                  <a:lnTo>
                    <a:pt x="1192" y="569"/>
                  </a:lnTo>
                  <a:lnTo>
                    <a:pt x="1187" y="572"/>
                  </a:lnTo>
                  <a:lnTo>
                    <a:pt x="1184" y="575"/>
                  </a:lnTo>
                  <a:lnTo>
                    <a:pt x="1181" y="577"/>
                  </a:lnTo>
                  <a:lnTo>
                    <a:pt x="1174" y="579"/>
                  </a:lnTo>
                  <a:lnTo>
                    <a:pt x="1173" y="582"/>
                  </a:lnTo>
                  <a:lnTo>
                    <a:pt x="1171" y="584"/>
                  </a:lnTo>
                  <a:lnTo>
                    <a:pt x="1171" y="585"/>
                  </a:lnTo>
                  <a:lnTo>
                    <a:pt x="1170" y="587"/>
                  </a:lnTo>
                  <a:lnTo>
                    <a:pt x="1170" y="588"/>
                  </a:lnTo>
                  <a:lnTo>
                    <a:pt x="1170" y="590"/>
                  </a:lnTo>
                  <a:lnTo>
                    <a:pt x="1170" y="591"/>
                  </a:lnTo>
                  <a:lnTo>
                    <a:pt x="1170" y="593"/>
                  </a:lnTo>
                  <a:lnTo>
                    <a:pt x="1170" y="594"/>
                  </a:lnTo>
                  <a:lnTo>
                    <a:pt x="1170" y="595"/>
                  </a:lnTo>
                  <a:lnTo>
                    <a:pt x="1168" y="597"/>
                  </a:lnTo>
                  <a:lnTo>
                    <a:pt x="1168" y="598"/>
                  </a:lnTo>
                  <a:lnTo>
                    <a:pt x="1167" y="600"/>
                  </a:lnTo>
                  <a:lnTo>
                    <a:pt x="1167" y="600"/>
                  </a:lnTo>
                  <a:lnTo>
                    <a:pt x="1163" y="600"/>
                  </a:lnTo>
                  <a:lnTo>
                    <a:pt x="1161" y="600"/>
                  </a:lnTo>
                  <a:lnTo>
                    <a:pt x="1148" y="610"/>
                  </a:lnTo>
                  <a:lnTo>
                    <a:pt x="1146" y="610"/>
                  </a:lnTo>
                  <a:lnTo>
                    <a:pt x="1144" y="610"/>
                  </a:lnTo>
                  <a:lnTo>
                    <a:pt x="1132" y="607"/>
                  </a:lnTo>
                  <a:lnTo>
                    <a:pt x="1125" y="603"/>
                  </a:lnTo>
                  <a:lnTo>
                    <a:pt x="1123" y="600"/>
                  </a:lnTo>
                  <a:lnTo>
                    <a:pt x="1123" y="598"/>
                  </a:lnTo>
                  <a:lnTo>
                    <a:pt x="1123" y="598"/>
                  </a:lnTo>
                  <a:lnTo>
                    <a:pt x="1123" y="593"/>
                  </a:lnTo>
                  <a:lnTo>
                    <a:pt x="1123" y="593"/>
                  </a:lnTo>
                  <a:lnTo>
                    <a:pt x="1123" y="591"/>
                  </a:lnTo>
                  <a:lnTo>
                    <a:pt x="1123" y="585"/>
                  </a:lnTo>
                  <a:lnTo>
                    <a:pt x="1120" y="582"/>
                  </a:lnTo>
                  <a:lnTo>
                    <a:pt x="1120" y="581"/>
                  </a:lnTo>
                  <a:lnTo>
                    <a:pt x="1119" y="581"/>
                  </a:lnTo>
                  <a:lnTo>
                    <a:pt x="1117" y="581"/>
                  </a:lnTo>
                  <a:lnTo>
                    <a:pt x="1116" y="581"/>
                  </a:lnTo>
                  <a:lnTo>
                    <a:pt x="1112" y="578"/>
                  </a:lnTo>
                  <a:lnTo>
                    <a:pt x="1104" y="574"/>
                  </a:lnTo>
                  <a:lnTo>
                    <a:pt x="1101" y="572"/>
                  </a:lnTo>
                  <a:lnTo>
                    <a:pt x="1098" y="571"/>
                  </a:lnTo>
                  <a:lnTo>
                    <a:pt x="1094" y="574"/>
                  </a:lnTo>
                  <a:lnTo>
                    <a:pt x="1079" y="578"/>
                  </a:lnTo>
                  <a:lnTo>
                    <a:pt x="1061" y="587"/>
                  </a:lnTo>
                  <a:lnTo>
                    <a:pt x="1059" y="588"/>
                  </a:lnTo>
                  <a:lnTo>
                    <a:pt x="1059" y="590"/>
                  </a:lnTo>
                  <a:lnTo>
                    <a:pt x="1059" y="591"/>
                  </a:lnTo>
                  <a:lnTo>
                    <a:pt x="1058" y="593"/>
                  </a:lnTo>
                  <a:lnTo>
                    <a:pt x="1058" y="594"/>
                  </a:lnTo>
                  <a:lnTo>
                    <a:pt x="1059" y="595"/>
                  </a:lnTo>
                  <a:lnTo>
                    <a:pt x="1059" y="597"/>
                  </a:lnTo>
                  <a:lnTo>
                    <a:pt x="1062" y="601"/>
                  </a:lnTo>
                  <a:lnTo>
                    <a:pt x="1062" y="601"/>
                  </a:lnTo>
                  <a:lnTo>
                    <a:pt x="1063" y="604"/>
                  </a:lnTo>
                  <a:lnTo>
                    <a:pt x="1063" y="606"/>
                  </a:lnTo>
                  <a:lnTo>
                    <a:pt x="1065" y="611"/>
                  </a:lnTo>
                  <a:lnTo>
                    <a:pt x="1065" y="613"/>
                  </a:lnTo>
                  <a:lnTo>
                    <a:pt x="1065" y="617"/>
                  </a:lnTo>
                  <a:lnTo>
                    <a:pt x="1065" y="619"/>
                  </a:lnTo>
                  <a:lnTo>
                    <a:pt x="1065" y="620"/>
                  </a:lnTo>
                  <a:lnTo>
                    <a:pt x="1065" y="620"/>
                  </a:lnTo>
                  <a:lnTo>
                    <a:pt x="1066" y="620"/>
                  </a:lnTo>
                  <a:lnTo>
                    <a:pt x="1074" y="622"/>
                  </a:lnTo>
                  <a:lnTo>
                    <a:pt x="1074" y="622"/>
                  </a:lnTo>
                  <a:lnTo>
                    <a:pt x="1075" y="623"/>
                  </a:lnTo>
                  <a:lnTo>
                    <a:pt x="1077" y="625"/>
                  </a:lnTo>
                  <a:lnTo>
                    <a:pt x="1077" y="626"/>
                  </a:lnTo>
                  <a:lnTo>
                    <a:pt x="1075" y="629"/>
                  </a:lnTo>
                  <a:lnTo>
                    <a:pt x="1074" y="633"/>
                  </a:lnTo>
                  <a:lnTo>
                    <a:pt x="1072" y="635"/>
                  </a:lnTo>
                  <a:lnTo>
                    <a:pt x="1071" y="636"/>
                  </a:lnTo>
                  <a:lnTo>
                    <a:pt x="1056" y="638"/>
                  </a:lnTo>
                  <a:lnTo>
                    <a:pt x="1053" y="639"/>
                  </a:lnTo>
                  <a:lnTo>
                    <a:pt x="1045" y="645"/>
                  </a:lnTo>
                  <a:lnTo>
                    <a:pt x="1043" y="645"/>
                  </a:lnTo>
                  <a:lnTo>
                    <a:pt x="1043" y="645"/>
                  </a:lnTo>
                  <a:lnTo>
                    <a:pt x="1042" y="645"/>
                  </a:lnTo>
                  <a:lnTo>
                    <a:pt x="1034" y="643"/>
                  </a:lnTo>
                  <a:lnTo>
                    <a:pt x="1033" y="642"/>
                  </a:lnTo>
                  <a:lnTo>
                    <a:pt x="1031" y="642"/>
                  </a:lnTo>
                  <a:lnTo>
                    <a:pt x="1028" y="642"/>
                  </a:lnTo>
                  <a:lnTo>
                    <a:pt x="1027" y="642"/>
                  </a:lnTo>
                  <a:lnTo>
                    <a:pt x="1023" y="642"/>
                  </a:lnTo>
                  <a:lnTo>
                    <a:pt x="1014" y="645"/>
                  </a:lnTo>
                  <a:lnTo>
                    <a:pt x="1007" y="646"/>
                  </a:lnTo>
                  <a:lnTo>
                    <a:pt x="1001" y="646"/>
                  </a:lnTo>
                  <a:lnTo>
                    <a:pt x="999" y="646"/>
                  </a:lnTo>
                  <a:lnTo>
                    <a:pt x="991" y="651"/>
                  </a:lnTo>
                  <a:lnTo>
                    <a:pt x="985" y="652"/>
                  </a:lnTo>
                  <a:lnTo>
                    <a:pt x="983" y="652"/>
                  </a:lnTo>
                  <a:lnTo>
                    <a:pt x="982" y="654"/>
                  </a:lnTo>
                  <a:lnTo>
                    <a:pt x="982" y="654"/>
                  </a:lnTo>
                  <a:lnTo>
                    <a:pt x="980" y="658"/>
                  </a:lnTo>
                  <a:lnTo>
                    <a:pt x="976" y="659"/>
                  </a:lnTo>
                  <a:lnTo>
                    <a:pt x="973" y="662"/>
                  </a:lnTo>
                  <a:lnTo>
                    <a:pt x="973" y="664"/>
                  </a:lnTo>
                  <a:lnTo>
                    <a:pt x="973" y="664"/>
                  </a:lnTo>
                  <a:lnTo>
                    <a:pt x="973" y="665"/>
                  </a:lnTo>
                  <a:lnTo>
                    <a:pt x="972" y="667"/>
                  </a:lnTo>
                  <a:lnTo>
                    <a:pt x="972" y="668"/>
                  </a:lnTo>
                  <a:lnTo>
                    <a:pt x="960" y="680"/>
                  </a:lnTo>
                  <a:lnTo>
                    <a:pt x="953" y="689"/>
                  </a:lnTo>
                  <a:lnTo>
                    <a:pt x="951" y="693"/>
                  </a:lnTo>
                  <a:lnTo>
                    <a:pt x="947" y="700"/>
                  </a:lnTo>
                  <a:lnTo>
                    <a:pt x="947" y="702"/>
                  </a:lnTo>
                  <a:lnTo>
                    <a:pt x="945" y="703"/>
                  </a:lnTo>
                  <a:lnTo>
                    <a:pt x="947" y="705"/>
                  </a:lnTo>
                  <a:lnTo>
                    <a:pt x="947" y="705"/>
                  </a:lnTo>
                  <a:lnTo>
                    <a:pt x="947" y="706"/>
                  </a:lnTo>
                  <a:lnTo>
                    <a:pt x="947" y="706"/>
                  </a:lnTo>
                  <a:lnTo>
                    <a:pt x="950" y="708"/>
                  </a:lnTo>
                  <a:lnTo>
                    <a:pt x="951" y="709"/>
                  </a:lnTo>
                  <a:lnTo>
                    <a:pt x="953" y="710"/>
                  </a:lnTo>
                  <a:lnTo>
                    <a:pt x="953" y="712"/>
                  </a:lnTo>
                  <a:lnTo>
                    <a:pt x="953" y="712"/>
                  </a:lnTo>
                  <a:lnTo>
                    <a:pt x="954" y="715"/>
                  </a:lnTo>
                  <a:lnTo>
                    <a:pt x="954" y="716"/>
                  </a:lnTo>
                  <a:lnTo>
                    <a:pt x="954" y="716"/>
                  </a:lnTo>
                  <a:lnTo>
                    <a:pt x="954" y="718"/>
                  </a:lnTo>
                  <a:lnTo>
                    <a:pt x="956" y="718"/>
                  </a:lnTo>
                  <a:lnTo>
                    <a:pt x="956" y="719"/>
                  </a:lnTo>
                  <a:lnTo>
                    <a:pt x="957" y="719"/>
                  </a:lnTo>
                  <a:lnTo>
                    <a:pt x="960" y="721"/>
                  </a:lnTo>
                  <a:lnTo>
                    <a:pt x="963" y="721"/>
                  </a:lnTo>
                  <a:lnTo>
                    <a:pt x="963" y="719"/>
                  </a:lnTo>
                  <a:lnTo>
                    <a:pt x="964" y="719"/>
                  </a:lnTo>
                  <a:lnTo>
                    <a:pt x="964" y="718"/>
                  </a:lnTo>
                  <a:lnTo>
                    <a:pt x="967" y="715"/>
                  </a:lnTo>
                  <a:lnTo>
                    <a:pt x="967" y="713"/>
                  </a:lnTo>
                  <a:lnTo>
                    <a:pt x="967" y="713"/>
                  </a:lnTo>
                  <a:lnTo>
                    <a:pt x="969" y="713"/>
                  </a:lnTo>
                  <a:lnTo>
                    <a:pt x="970" y="712"/>
                  </a:lnTo>
                  <a:lnTo>
                    <a:pt x="977" y="712"/>
                  </a:lnTo>
                  <a:lnTo>
                    <a:pt x="985" y="709"/>
                  </a:lnTo>
                  <a:lnTo>
                    <a:pt x="992" y="705"/>
                  </a:lnTo>
                  <a:lnTo>
                    <a:pt x="994" y="703"/>
                  </a:lnTo>
                  <a:lnTo>
                    <a:pt x="995" y="703"/>
                  </a:lnTo>
                  <a:lnTo>
                    <a:pt x="996" y="703"/>
                  </a:lnTo>
                  <a:lnTo>
                    <a:pt x="996" y="703"/>
                  </a:lnTo>
                  <a:lnTo>
                    <a:pt x="998" y="705"/>
                  </a:lnTo>
                  <a:lnTo>
                    <a:pt x="998" y="705"/>
                  </a:lnTo>
                  <a:lnTo>
                    <a:pt x="998" y="706"/>
                  </a:lnTo>
                  <a:lnTo>
                    <a:pt x="998" y="706"/>
                  </a:lnTo>
                  <a:lnTo>
                    <a:pt x="996" y="710"/>
                  </a:lnTo>
                  <a:lnTo>
                    <a:pt x="996" y="712"/>
                  </a:lnTo>
                  <a:lnTo>
                    <a:pt x="996" y="712"/>
                  </a:lnTo>
                  <a:lnTo>
                    <a:pt x="996" y="712"/>
                  </a:lnTo>
                  <a:lnTo>
                    <a:pt x="999" y="713"/>
                  </a:lnTo>
                  <a:lnTo>
                    <a:pt x="1001" y="715"/>
                  </a:lnTo>
                  <a:lnTo>
                    <a:pt x="1001" y="715"/>
                  </a:lnTo>
                  <a:lnTo>
                    <a:pt x="1002" y="722"/>
                  </a:lnTo>
                  <a:lnTo>
                    <a:pt x="1002" y="724"/>
                  </a:lnTo>
                  <a:lnTo>
                    <a:pt x="1002" y="725"/>
                  </a:lnTo>
                  <a:lnTo>
                    <a:pt x="1005" y="734"/>
                  </a:lnTo>
                  <a:lnTo>
                    <a:pt x="1005" y="737"/>
                  </a:lnTo>
                  <a:lnTo>
                    <a:pt x="1007" y="742"/>
                  </a:lnTo>
                  <a:lnTo>
                    <a:pt x="1007" y="744"/>
                  </a:lnTo>
                  <a:lnTo>
                    <a:pt x="1007" y="744"/>
                  </a:lnTo>
                  <a:lnTo>
                    <a:pt x="1007" y="747"/>
                  </a:lnTo>
                  <a:lnTo>
                    <a:pt x="1008" y="750"/>
                  </a:lnTo>
                  <a:lnTo>
                    <a:pt x="1008" y="751"/>
                  </a:lnTo>
                  <a:lnTo>
                    <a:pt x="1008" y="754"/>
                  </a:lnTo>
                  <a:lnTo>
                    <a:pt x="1007" y="756"/>
                  </a:lnTo>
                  <a:lnTo>
                    <a:pt x="1007" y="757"/>
                  </a:lnTo>
                  <a:lnTo>
                    <a:pt x="995" y="770"/>
                  </a:lnTo>
                  <a:lnTo>
                    <a:pt x="989" y="779"/>
                  </a:lnTo>
                  <a:lnTo>
                    <a:pt x="988" y="780"/>
                  </a:lnTo>
                  <a:lnTo>
                    <a:pt x="988" y="782"/>
                  </a:lnTo>
                  <a:lnTo>
                    <a:pt x="988" y="782"/>
                  </a:lnTo>
                  <a:lnTo>
                    <a:pt x="988" y="783"/>
                  </a:lnTo>
                  <a:lnTo>
                    <a:pt x="988" y="783"/>
                  </a:lnTo>
                  <a:lnTo>
                    <a:pt x="991" y="789"/>
                  </a:lnTo>
                  <a:lnTo>
                    <a:pt x="992" y="791"/>
                  </a:lnTo>
                  <a:lnTo>
                    <a:pt x="992" y="792"/>
                  </a:lnTo>
                  <a:lnTo>
                    <a:pt x="992" y="793"/>
                  </a:lnTo>
                  <a:lnTo>
                    <a:pt x="991" y="795"/>
                  </a:lnTo>
                  <a:lnTo>
                    <a:pt x="982" y="799"/>
                  </a:lnTo>
                  <a:lnTo>
                    <a:pt x="977" y="804"/>
                  </a:lnTo>
                  <a:lnTo>
                    <a:pt x="976" y="804"/>
                  </a:lnTo>
                  <a:lnTo>
                    <a:pt x="976" y="804"/>
                  </a:lnTo>
                  <a:lnTo>
                    <a:pt x="975" y="804"/>
                  </a:lnTo>
                  <a:lnTo>
                    <a:pt x="964" y="801"/>
                  </a:lnTo>
                  <a:lnTo>
                    <a:pt x="928" y="801"/>
                  </a:lnTo>
                  <a:lnTo>
                    <a:pt x="927" y="807"/>
                  </a:lnTo>
                  <a:lnTo>
                    <a:pt x="928" y="808"/>
                  </a:lnTo>
                  <a:lnTo>
                    <a:pt x="929" y="811"/>
                  </a:lnTo>
                  <a:lnTo>
                    <a:pt x="932" y="815"/>
                  </a:lnTo>
                  <a:lnTo>
                    <a:pt x="932" y="818"/>
                  </a:lnTo>
                  <a:lnTo>
                    <a:pt x="934" y="820"/>
                  </a:lnTo>
                  <a:lnTo>
                    <a:pt x="932" y="821"/>
                  </a:lnTo>
                  <a:lnTo>
                    <a:pt x="932" y="825"/>
                  </a:lnTo>
                  <a:lnTo>
                    <a:pt x="932" y="828"/>
                  </a:lnTo>
                  <a:lnTo>
                    <a:pt x="935" y="836"/>
                  </a:lnTo>
                  <a:lnTo>
                    <a:pt x="935" y="839"/>
                  </a:lnTo>
                  <a:lnTo>
                    <a:pt x="935" y="841"/>
                  </a:lnTo>
                  <a:lnTo>
                    <a:pt x="934" y="846"/>
                  </a:lnTo>
                  <a:lnTo>
                    <a:pt x="929" y="850"/>
                  </a:lnTo>
                  <a:lnTo>
                    <a:pt x="929" y="850"/>
                  </a:lnTo>
                  <a:lnTo>
                    <a:pt x="928" y="853"/>
                  </a:lnTo>
                  <a:lnTo>
                    <a:pt x="927" y="856"/>
                  </a:lnTo>
                  <a:lnTo>
                    <a:pt x="925" y="859"/>
                  </a:lnTo>
                  <a:lnTo>
                    <a:pt x="924" y="862"/>
                  </a:lnTo>
                  <a:lnTo>
                    <a:pt x="924" y="863"/>
                  </a:lnTo>
                  <a:lnTo>
                    <a:pt x="924" y="863"/>
                  </a:lnTo>
                  <a:lnTo>
                    <a:pt x="922" y="863"/>
                  </a:lnTo>
                  <a:lnTo>
                    <a:pt x="922" y="865"/>
                  </a:lnTo>
                  <a:lnTo>
                    <a:pt x="919" y="865"/>
                  </a:lnTo>
                  <a:lnTo>
                    <a:pt x="916" y="868"/>
                  </a:lnTo>
                  <a:lnTo>
                    <a:pt x="912" y="878"/>
                  </a:lnTo>
                  <a:lnTo>
                    <a:pt x="909" y="884"/>
                  </a:lnTo>
                  <a:lnTo>
                    <a:pt x="909" y="885"/>
                  </a:lnTo>
                  <a:lnTo>
                    <a:pt x="909" y="888"/>
                  </a:lnTo>
                  <a:lnTo>
                    <a:pt x="909" y="897"/>
                  </a:lnTo>
                  <a:lnTo>
                    <a:pt x="908" y="898"/>
                  </a:lnTo>
                  <a:lnTo>
                    <a:pt x="908" y="900"/>
                  </a:lnTo>
                  <a:lnTo>
                    <a:pt x="906" y="900"/>
                  </a:lnTo>
                  <a:lnTo>
                    <a:pt x="902" y="898"/>
                  </a:lnTo>
                  <a:lnTo>
                    <a:pt x="900" y="898"/>
                  </a:lnTo>
                  <a:lnTo>
                    <a:pt x="894" y="903"/>
                  </a:lnTo>
                  <a:lnTo>
                    <a:pt x="886" y="911"/>
                  </a:lnTo>
                  <a:lnTo>
                    <a:pt x="884" y="914"/>
                  </a:lnTo>
                  <a:lnTo>
                    <a:pt x="884" y="916"/>
                  </a:lnTo>
                  <a:lnTo>
                    <a:pt x="884" y="919"/>
                  </a:lnTo>
                  <a:lnTo>
                    <a:pt x="884" y="920"/>
                  </a:lnTo>
                  <a:lnTo>
                    <a:pt x="883" y="922"/>
                  </a:lnTo>
                  <a:lnTo>
                    <a:pt x="876" y="927"/>
                  </a:lnTo>
                  <a:lnTo>
                    <a:pt x="874" y="927"/>
                  </a:lnTo>
                  <a:lnTo>
                    <a:pt x="873" y="929"/>
                  </a:lnTo>
                  <a:lnTo>
                    <a:pt x="868" y="929"/>
                  </a:lnTo>
                  <a:lnTo>
                    <a:pt x="862" y="930"/>
                  </a:lnTo>
                  <a:lnTo>
                    <a:pt x="858" y="929"/>
                  </a:lnTo>
                  <a:lnTo>
                    <a:pt x="855" y="927"/>
                  </a:lnTo>
                  <a:lnTo>
                    <a:pt x="852" y="920"/>
                  </a:lnTo>
                  <a:lnTo>
                    <a:pt x="851" y="919"/>
                  </a:lnTo>
                  <a:lnTo>
                    <a:pt x="851" y="919"/>
                  </a:lnTo>
                  <a:lnTo>
                    <a:pt x="846" y="919"/>
                  </a:lnTo>
                  <a:lnTo>
                    <a:pt x="845" y="919"/>
                  </a:lnTo>
                  <a:lnTo>
                    <a:pt x="843" y="920"/>
                  </a:lnTo>
                  <a:lnTo>
                    <a:pt x="839" y="924"/>
                  </a:lnTo>
                  <a:lnTo>
                    <a:pt x="825" y="939"/>
                  </a:lnTo>
                  <a:lnTo>
                    <a:pt x="823" y="939"/>
                  </a:lnTo>
                  <a:lnTo>
                    <a:pt x="822" y="942"/>
                  </a:lnTo>
                  <a:lnTo>
                    <a:pt x="822" y="943"/>
                  </a:lnTo>
                  <a:lnTo>
                    <a:pt x="814" y="948"/>
                  </a:lnTo>
                  <a:lnTo>
                    <a:pt x="814" y="948"/>
                  </a:lnTo>
                  <a:lnTo>
                    <a:pt x="813" y="949"/>
                  </a:lnTo>
                  <a:lnTo>
                    <a:pt x="811" y="957"/>
                  </a:lnTo>
                  <a:lnTo>
                    <a:pt x="794" y="971"/>
                  </a:lnTo>
                  <a:lnTo>
                    <a:pt x="792" y="973"/>
                  </a:lnTo>
                  <a:lnTo>
                    <a:pt x="792" y="974"/>
                  </a:lnTo>
                  <a:lnTo>
                    <a:pt x="792" y="974"/>
                  </a:lnTo>
                  <a:lnTo>
                    <a:pt x="792" y="975"/>
                  </a:lnTo>
                  <a:lnTo>
                    <a:pt x="792" y="975"/>
                  </a:lnTo>
                  <a:lnTo>
                    <a:pt x="792" y="977"/>
                  </a:lnTo>
                  <a:lnTo>
                    <a:pt x="794" y="977"/>
                  </a:lnTo>
                  <a:lnTo>
                    <a:pt x="794" y="977"/>
                  </a:lnTo>
                  <a:lnTo>
                    <a:pt x="795" y="978"/>
                  </a:lnTo>
                  <a:lnTo>
                    <a:pt x="795" y="978"/>
                  </a:lnTo>
                  <a:lnTo>
                    <a:pt x="795" y="980"/>
                  </a:lnTo>
                  <a:lnTo>
                    <a:pt x="795" y="981"/>
                  </a:lnTo>
                  <a:lnTo>
                    <a:pt x="795" y="981"/>
                  </a:lnTo>
                  <a:lnTo>
                    <a:pt x="795" y="983"/>
                  </a:lnTo>
                  <a:lnTo>
                    <a:pt x="797" y="983"/>
                  </a:lnTo>
                  <a:lnTo>
                    <a:pt x="804" y="989"/>
                  </a:lnTo>
                  <a:lnTo>
                    <a:pt x="806" y="990"/>
                  </a:lnTo>
                  <a:lnTo>
                    <a:pt x="806" y="991"/>
                  </a:lnTo>
                  <a:lnTo>
                    <a:pt x="807" y="993"/>
                  </a:lnTo>
                  <a:lnTo>
                    <a:pt x="807" y="993"/>
                  </a:lnTo>
                  <a:lnTo>
                    <a:pt x="807" y="994"/>
                  </a:lnTo>
                  <a:lnTo>
                    <a:pt x="806" y="1009"/>
                  </a:lnTo>
                  <a:lnTo>
                    <a:pt x="804" y="1013"/>
                  </a:lnTo>
                  <a:lnTo>
                    <a:pt x="803" y="1015"/>
                  </a:lnTo>
                  <a:lnTo>
                    <a:pt x="803" y="1015"/>
                  </a:lnTo>
                  <a:lnTo>
                    <a:pt x="798" y="1016"/>
                  </a:lnTo>
                  <a:lnTo>
                    <a:pt x="797" y="1018"/>
                  </a:lnTo>
                  <a:lnTo>
                    <a:pt x="795" y="1019"/>
                  </a:lnTo>
                  <a:lnTo>
                    <a:pt x="792" y="1026"/>
                  </a:lnTo>
                  <a:lnTo>
                    <a:pt x="784" y="1021"/>
                  </a:lnTo>
                  <a:lnTo>
                    <a:pt x="779" y="1019"/>
                  </a:lnTo>
                  <a:lnTo>
                    <a:pt x="776" y="1019"/>
                  </a:lnTo>
                  <a:lnTo>
                    <a:pt x="769" y="1023"/>
                  </a:lnTo>
                  <a:lnTo>
                    <a:pt x="766" y="1023"/>
                  </a:lnTo>
                  <a:lnTo>
                    <a:pt x="766" y="1022"/>
                  </a:lnTo>
                  <a:lnTo>
                    <a:pt x="765" y="1018"/>
                  </a:lnTo>
                  <a:lnTo>
                    <a:pt x="765" y="1015"/>
                  </a:lnTo>
                  <a:lnTo>
                    <a:pt x="763" y="1013"/>
                  </a:lnTo>
                  <a:lnTo>
                    <a:pt x="758" y="1003"/>
                  </a:lnTo>
                  <a:lnTo>
                    <a:pt x="743" y="984"/>
                  </a:lnTo>
                  <a:lnTo>
                    <a:pt x="740" y="977"/>
                  </a:lnTo>
                  <a:lnTo>
                    <a:pt x="739" y="974"/>
                  </a:lnTo>
                  <a:lnTo>
                    <a:pt x="740" y="971"/>
                  </a:lnTo>
                  <a:lnTo>
                    <a:pt x="740" y="965"/>
                  </a:lnTo>
                  <a:lnTo>
                    <a:pt x="740" y="961"/>
                  </a:lnTo>
                  <a:lnTo>
                    <a:pt x="740" y="957"/>
                  </a:lnTo>
                  <a:lnTo>
                    <a:pt x="739" y="948"/>
                  </a:lnTo>
                  <a:lnTo>
                    <a:pt x="737" y="945"/>
                  </a:lnTo>
                  <a:lnTo>
                    <a:pt x="736" y="942"/>
                  </a:lnTo>
                  <a:lnTo>
                    <a:pt x="734" y="942"/>
                  </a:lnTo>
                  <a:lnTo>
                    <a:pt x="734" y="942"/>
                  </a:lnTo>
                  <a:lnTo>
                    <a:pt x="733" y="942"/>
                  </a:lnTo>
                  <a:lnTo>
                    <a:pt x="728" y="945"/>
                  </a:lnTo>
                  <a:lnTo>
                    <a:pt x="727" y="945"/>
                  </a:lnTo>
                  <a:lnTo>
                    <a:pt x="725" y="945"/>
                  </a:lnTo>
                  <a:lnTo>
                    <a:pt x="723" y="943"/>
                  </a:lnTo>
                  <a:lnTo>
                    <a:pt x="720" y="940"/>
                  </a:lnTo>
                  <a:lnTo>
                    <a:pt x="709" y="929"/>
                  </a:lnTo>
                  <a:lnTo>
                    <a:pt x="707" y="926"/>
                  </a:lnTo>
                  <a:lnTo>
                    <a:pt x="698" y="923"/>
                  </a:lnTo>
                  <a:lnTo>
                    <a:pt x="693" y="920"/>
                  </a:lnTo>
                  <a:lnTo>
                    <a:pt x="692" y="919"/>
                  </a:lnTo>
                  <a:lnTo>
                    <a:pt x="692" y="917"/>
                  </a:lnTo>
                  <a:lnTo>
                    <a:pt x="692" y="916"/>
                  </a:lnTo>
                  <a:lnTo>
                    <a:pt x="693" y="913"/>
                  </a:lnTo>
                  <a:lnTo>
                    <a:pt x="693" y="910"/>
                  </a:lnTo>
                  <a:lnTo>
                    <a:pt x="695" y="908"/>
                  </a:lnTo>
                  <a:lnTo>
                    <a:pt x="696" y="903"/>
                  </a:lnTo>
                  <a:lnTo>
                    <a:pt x="698" y="895"/>
                  </a:lnTo>
                  <a:lnTo>
                    <a:pt x="677" y="890"/>
                  </a:lnTo>
                  <a:lnTo>
                    <a:pt x="673" y="891"/>
                  </a:lnTo>
                  <a:lnTo>
                    <a:pt x="661" y="901"/>
                  </a:lnTo>
                  <a:lnTo>
                    <a:pt x="661" y="904"/>
                  </a:lnTo>
                  <a:lnTo>
                    <a:pt x="660" y="907"/>
                  </a:lnTo>
                  <a:lnTo>
                    <a:pt x="661" y="922"/>
                  </a:lnTo>
                  <a:lnTo>
                    <a:pt x="663" y="924"/>
                  </a:lnTo>
                  <a:lnTo>
                    <a:pt x="663" y="926"/>
                  </a:lnTo>
                  <a:lnTo>
                    <a:pt x="664" y="927"/>
                  </a:lnTo>
                  <a:lnTo>
                    <a:pt x="664" y="927"/>
                  </a:lnTo>
                  <a:lnTo>
                    <a:pt x="666" y="930"/>
                  </a:lnTo>
                  <a:lnTo>
                    <a:pt x="666" y="932"/>
                  </a:lnTo>
                  <a:lnTo>
                    <a:pt x="667" y="939"/>
                  </a:lnTo>
                  <a:lnTo>
                    <a:pt x="666" y="940"/>
                  </a:lnTo>
                  <a:lnTo>
                    <a:pt x="666" y="942"/>
                  </a:lnTo>
                  <a:lnTo>
                    <a:pt x="664" y="942"/>
                  </a:lnTo>
                  <a:lnTo>
                    <a:pt x="664" y="942"/>
                  </a:lnTo>
                  <a:lnTo>
                    <a:pt x="656" y="939"/>
                  </a:lnTo>
                  <a:lnTo>
                    <a:pt x="656" y="939"/>
                  </a:lnTo>
                  <a:lnTo>
                    <a:pt x="654" y="940"/>
                  </a:lnTo>
                  <a:lnTo>
                    <a:pt x="648" y="948"/>
                  </a:lnTo>
                  <a:lnTo>
                    <a:pt x="647" y="949"/>
                  </a:lnTo>
                  <a:lnTo>
                    <a:pt x="634" y="957"/>
                  </a:lnTo>
                  <a:lnTo>
                    <a:pt x="640" y="964"/>
                  </a:lnTo>
                  <a:lnTo>
                    <a:pt x="641" y="967"/>
                  </a:lnTo>
                  <a:lnTo>
                    <a:pt x="641" y="970"/>
                  </a:lnTo>
                  <a:lnTo>
                    <a:pt x="641" y="971"/>
                  </a:lnTo>
                  <a:lnTo>
                    <a:pt x="641" y="973"/>
                  </a:lnTo>
                  <a:lnTo>
                    <a:pt x="641" y="974"/>
                  </a:lnTo>
                  <a:lnTo>
                    <a:pt x="641" y="975"/>
                  </a:lnTo>
                  <a:lnTo>
                    <a:pt x="640" y="975"/>
                  </a:lnTo>
                  <a:lnTo>
                    <a:pt x="640" y="975"/>
                  </a:lnTo>
                  <a:lnTo>
                    <a:pt x="638" y="977"/>
                  </a:lnTo>
                  <a:lnTo>
                    <a:pt x="637" y="977"/>
                  </a:lnTo>
                  <a:lnTo>
                    <a:pt x="637" y="975"/>
                  </a:lnTo>
                  <a:lnTo>
                    <a:pt x="635" y="975"/>
                  </a:lnTo>
                  <a:lnTo>
                    <a:pt x="635" y="974"/>
                  </a:lnTo>
                  <a:lnTo>
                    <a:pt x="635" y="974"/>
                  </a:lnTo>
                  <a:lnTo>
                    <a:pt x="634" y="974"/>
                  </a:lnTo>
                  <a:lnTo>
                    <a:pt x="632" y="975"/>
                  </a:lnTo>
                  <a:lnTo>
                    <a:pt x="629" y="981"/>
                  </a:lnTo>
                  <a:lnTo>
                    <a:pt x="629" y="981"/>
                  </a:lnTo>
                  <a:lnTo>
                    <a:pt x="628" y="983"/>
                  </a:lnTo>
                  <a:lnTo>
                    <a:pt x="616" y="987"/>
                  </a:lnTo>
                  <a:lnTo>
                    <a:pt x="613" y="989"/>
                  </a:lnTo>
                  <a:lnTo>
                    <a:pt x="612" y="990"/>
                  </a:lnTo>
                  <a:lnTo>
                    <a:pt x="610" y="991"/>
                  </a:lnTo>
                  <a:lnTo>
                    <a:pt x="609" y="996"/>
                  </a:lnTo>
                  <a:lnTo>
                    <a:pt x="607" y="999"/>
                  </a:lnTo>
                  <a:lnTo>
                    <a:pt x="607" y="999"/>
                  </a:lnTo>
                  <a:lnTo>
                    <a:pt x="600" y="997"/>
                  </a:lnTo>
                  <a:lnTo>
                    <a:pt x="599" y="997"/>
                  </a:lnTo>
                  <a:lnTo>
                    <a:pt x="597" y="999"/>
                  </a:lnTo>
                  <a:lnTo>
                    <a:pt x="594" y="999"/>
                  </a:lnTo>
                  <a:lnTo>
                    <a:pt x="584" y="1006"/>
                  </a:lnTo>
                  <a:lnTo>
                    <a:pt x="555" y="1013"/>
                  </a:lnTo>
                  <a:lnTo>
                    <a:pt x="542" y="1013"/>
                  </a:lnTo>
                  <a:lnTo>
                    <a:pt x="533" y="1015"/>
                  </a:lnTo>
                  <a:lnTo>
                    <a:pt x="530" y="1018"/>
                  </a:lnTo>
                  <a:lnTo>
                    <a:pt x="530" y="1019"/>
                  </a:lnTo>
                  <a:lnTo>
                    <a:pt x="532" y="1019"/>
                  </a:lnTo>
                  <a:lnTo>
                    <a:pt x="532" y="1021"/>
                  </a:lnTo>
                  <a:lnTo>
                    <a:pt x="532" y="1022"/>
                  </a:lnTo>
                  <a:lnTo>
                    <a:pt x="532" y="1026"/>
                  </a:lnTo>
                  <a:lnTo>
                    <a:pt x="532" y="1028"/>
                  </a:lnTo>
                  <a:lnTo>
                    <a:pt x="532" y="1029"/>
                  </a:lnTo>
                  <a:lnTo>
                    <a:pt x="532" y="1032"/>
                  </a:lnTo>
                  <a:lnTo>
                    <a:pt x="532" y="1035"/>
                  </a:lnTo>
                  <a:lnTo>
                    <a:pt x="530" y="1038"/>
                  </a:lnTo>
                  <a:lnTo>
                    <a:pt x="529" y="1041"/>
                  </a:lnTo>
                  <a:lnTo>
                    <a:pt x="529" y="1042"/>
                  </a:lnTo>
                  <a:lnTo>
                    <a:pt x="529" y="1045"/>
                  </a:lnTo>
                  <a:lnTo>
                    <a:pt x="529" y="1048"/>
                  </a:lnTo>
                  <a:lnTo>
                    <a:pt x="527" y="1048"/>
                  </a:lnTo>
                  <a:lnTo>
                    <a:pt x="519" y="1056"/>
                  </a:lnTo>
                  <a:lnTo>
                    <a:pt x="517" y="1056"/>
                  </a:lnTo>
                  <a:lnTo>
                    <a:pt x="501" y="1061"/>
                  </a:lnTo>
                  <a:lnTo>
                    <a:pt x="497" y="1061"/>
                  </a:lnTo>
                  <a:lnTo>
                    <a:pt x="478" y="1060"/>
                  </a:lnTo>
                  <a:lnTo>
                    <a:pt x="476" y="1060"/>
                  </a:lnTo>
                  <a:lnTo>
                    <a:pt x="476" y="1058"/>
                  </a:lnTo>
                  <a:lnTo>
                    <a:pt x="475" y="1057"/>
                  </a:lnTo>
                  <a:lnTo>
                    <a:pt x="475" y="1056"/>
                  </a:lnTo>
                  <a:lnTo>
                    <a:pt x="475" y="1054"/>
                  </a:lnTo>
                  <a:lnTo>
                    <a:pt x="475" y="1054"/>
                  </a:lnTo>
                  <a:lnTo>
                    <a:pt x="473" y="1054"/>
                  </a:lnTo>
                  <a:lnTo>
                    <a:pt x="471" y="1053"/>
                  </a:lnTo>
                  <a:lnTo>
                    <a:pt x="469" y="1051"/>
                  </a:lnTo>
                  <a:lnTo>
                    <a:pt x="468" y="1051"/>
                  </a:lnTo>
                  <a:lnTo>
                    <a:pt x="468" y="1053"/>
                  </a:lnTo>
                  <a:lnTo>
                    <a:pt x="466" y="1054"/>
                  </a:lnTo>
                  <a:lnTo>
                    <a:pt x="466" y="1056"/>
                  </a:lnTo>
                  <a:lnTo>
                    <a:pt x="463" y="1061"/>
                  </a:lnTo>
                  <a:lnTo>
                    <a:pt x="460" y="1063"/>
                  </a:lnTo>
                  <a:lnTo>
                    <a:pt x="452" y="1072"/>
                  </a:lnTo>
                  <a:lnTo>
                    <a:pt x="449" y="1073"/>
                  </a:lnTo>
                  <a:lnTo>
                    <a:pt x="441" y="1070"/>
                  </a:lnTo>
                  <a:lnTo>
                    <a:pt x="440" y="1070"/>
                  </a:lnTo>
                  <a:lnTo>
                    <a:pt x="438" y="1070"/>
                  </a:lnTo>
                  <a:lnTo>
                    <a:pt x="438" y="1073"/>
                  </a:lnTo>
                  <a:lnTo>
                    <a:pt x="437" y="1074"/>
                  </a:lnTo>
                  <a:lnTo>
                    <a:pt x="436" y="1077"/>
                  </a:lnTo>
                  <a:lnTo>
                    <a:pt x="433" y="1079"/>
                  </a:lnTo>
                  <a:lnTo>
                    <a:pt x="431" y="1079"/>
                  </a:lnTo>
                  <a:lnTo>
                    <a:pt x="430" y="1079"/>
                  </a:lnTo>
                  <a:lnTo>
                    <a:pt x="424" y="1076"/>
                  </a:lnTo>
                  <a:lnTo>
                    <a:pt x="420" y="1076"/>
                  </a:lnTo>
                  <a:lnTo>
                    <a:pt x="417" y="1077"/>
                  </a:lnTo>
                  <a:lnTo>
                    <a:pt x="398" y="1090"/>
                  </a:lnTo>
                  <a:lnTo>
                    <a:pt x="389" y="1093"/>
                  </a:lnTo>
                  <a:lnTo>
                    <a:pt x="383" y="1095"/>
                  </a:lnTo>
                  <a:lnTo>
                    <a:pt x="379" y="1096"/>
                  </a:lnTo>
                  <a:lnTo>
                    <a:pt x="377" y="1096"/>
                  </a:lnTo>
                  <a:lnTo>
                    <a:pt x="377" y="1098"/>
                  </a:lnTo>
                  <a:lnTo>
                    <a:pt x="376" y="1098"/>
                  </a:lnTo>
                  <a:lnTo>
                    <a:pt x="376" y="1099"/>
                  </a:lnTo>
                  <a:lnTo>
                    <a:pt x="374" y="1104"/>
                  </a:lnTo>
                  <a:lnTo>
                    <a:pt x="369" y="1111"/>
                  </a:lnTo>
                  <a:lnTo>
                    <a:pt x="360" y="1112"/>
                  </a:lnTo>
                  <a:lnTo>
                    <a:pt x="360" y="1114"/>
                  </a:lnTo>
                  <a:lnTo>
                    <a:pt x="358" y="1115"/>
                  </a:lnTo>
                  <a:lnTo>
                    <a:pt x="358" y="1117"/>
                  </a:lnTo>
                  <a:lnTo>
                    <a:pt x="360" y="1120"/>
                  </a:lnTo>
                  <a:lnTo>
                    <a:pt x="360" y="1122"/>
                  </a:lnTo>
                  <a:lnTo>
                    <a:pt x="360" y="1128"/>
                  </a:lnTo>
                  <a:lnTo>
                    <a:pt x="360" y="1139"/>
                  </a:lnTo>
                  <a:lnTo>
                    <a:pt x="357" y="1144"/>
                  </a:lnTo>
                  <a:lnTo>
                    <a:pt x="354" y="1147"/>
                  </a:lnTo>
                  <a:lnTo>
                    <a:pt x="351" y="1147"/>
                  </a:lnTo>
                  <a:lnTo>
                    <a:pt x="350" y="1147"/>
                  </a:lnTo>
                  <a:lnTo>
                    <a:pt x="347" y="1147"/>
                  </a:lnTo>
                  <a:lnTo>
                    <a:pt x="345" y="1147"/>
                  </a:lnTo>
                  <a:lnTo>
                    <a:pt x="342" y="1146"/>
                  </a:lnTo>
                  <a:lnTo>
                    <a:pt x="342" y="1144"/>
                  </a:lnTo>
                  <a:lnTo>
                    <a:pt x="341" y="1143"/>
                  </a:lnTo>
                  <a:lnTo>
                    <a:pt x="339" y="1140"/>
                  </a:lnTo>
                  <a:lnTo>
                    <a:pt x="336" y="1136"/>
                  </a:lnTo>
                  <a:lnTo>
                    <a:pt x="336" y="1134"/>
                  </a:lnTo>
                  <a:lnTo>
                    <a:pt x="334" y="1134"/>
                  </a:lnTo>
                  <a:lnTo>
                    <a:pt x="320" y="1139"/>
                  </a:lnTo>
                  <a:lnTo>
                    <a:pt x="315" y="1143"/>
                  </a:lnTo>
                  <a:lnTo>
                    <a:pt x="315" y="1143"/>
                  </a:lnTo>
                  <a:lnTo>
                    <a:pt x="315" y="1144"/>
                  </a:lnTo>
                  <a:lnTo>
                    <a:pt x="316" y="1146"/>
                  </a:lnTo>
                  <a:lnTo>
                    <a:pt x="316" y="1149"/>
                  </a:lnTo>
                  <a:lnTo>
                    <a:pt x="316" y="1152"/>
                  </a:lnTo>
                  <a:lnTo>
                    <a:pt x="313" y="1156"/>
                  </a:lnTo>
                  <a:lnTo>
                    <a:pt x="313" y="1159"/>
                  </a:lnTo>
                  <a:lnTo>
                    <a:pt x="313" y="1160"/>
                  </a:lnTo>
                  <a:lnTo>
                    <a:pt x="313" y="1162"/>
                  </a:lnTo>
                  <a:lnTo>
                    <a:pt x="315" y="1162"/>
                  </a:lnTo>
                  <a:lnTo>
                    <a:pt x="319" y="1165"/>
                  </a:lnTo>
                  <a:lnTo>
                    <a:pt x="320" y="1166"/>
                  </a:lnTo>
                  <a:lnTo>
                    <a:pt x="320" y="1166"/>
                  </a:lnTo>
                  <a:lnTo>
                    <a:pt x="322" y="1168"/>
                  </a:lnTo>
                  <a:lnTo>
                    <a:pt x="322" y="1169"/>
                  </a:lnTo>
                  <a:lnTo>
                    <a:pt x="322" y="1175"/>
                  </a:lnTo>
                  <a:lnTo>
                    <a:pt x="322" y="1181"/>
                  </a:lnTo>
                  <a:lnTo>
                    <a:pt x="322" y="1185"/>
                  </a:lnTo>
                  <a:lnTo>
                    <a:pt x="323" y="1187"/>
                  </a:lnTo>
                  <a:lnTo>
                    <a:pt x="325" y="1188"/>
                  </a:lnTo>
                  <a:lnTo>
                    <a:pt x="328" y="1194"/>
                  </a:lnTo>
                  <a:lnTo>
                    <a:pt x="328" y="1195"/>
                  </a:lnTo>
                  <a:lnTo>
                    <a:pt x="329" y="1197"/>
                  </a:lnTo>
                  <a:lnTo>
                    <a:pt x="329" y="1201"/>
                  </a:lnTo>
                  <a:lnTo>
                    <a:pt x="329" y="1203"/>
                  </a:lnTo>
                  <a:lnTo>
                    <a:pt x="328" y="1204"/>
                  </a:lnTo>
                  <a:lnTo>
                    <a:pt x="328" y="1205"/>
                  </a:lnTo>
                  <a:lnTo>
                    <a:pt x="319" y="1207"/>
                  </a:lnTo>
                  <a:lnTo>
                    <a:pt x="300" y="1213"/>
                  </a:lnTo>
                  <a:lnTo>
                    <a:pt x="294" y="1211"/>
                  </a:lnTo>
                  <a:lnTo>
                    <a:pt x="290" y="1205"/>
                  </a:lnTo>
                  <a:lnTo>
                    <a:pt x="288" y="1204"/>
                  </a:lnTo>
                  <a:lnTo>
                    <a:pt x="284" y="1201"/>
                  </a:lnTo>
                  <a:lnTo>
                    <a:pt x="281" y="1201"/>
                  </a:lnTo>
                  <a:lnTo>
                    <a:pt x="280" y="1203"/>
                  </a:lnTo>
                  <a:lnTo>
                    <a:pt x="277" y="1205"/>
                  </a:lnTo>
                  <a:lnTo>
                    <a:pt x="272" y="1208"/>
                  </a:lnTo>
                  <a:lnTo>
                    <a:pt x="268" y="1208"/>
                  </a:lnTo>
                  <a:lnTo>
                    <a:pt x="267" y="1207"/>
                  </a:lnTo>
                  <a:lnTo>
                    <a:pt x="267" y="1207"/>
                  </a:lnTo>
                  <a:lnTo>
                    <a:pt x="267" y="1205"/>
                  </a:lnTo>
                  <a:lnTo>
                    <a:pt x="268" y="1203"/>
                  </a:lnTo>
                  <a:lnTo>
                    <a:pt x="268" y="1201"/>
                  </a:lnTo>
                  <a:lnTo>
                    <a:pt x="268" y="1200"/>
                  </a:lnTo>
                  <a:lnTo>
                    <a:pt x="265" y="1197"/>
                  </a:lnTo>
                  <a:lnTo>
                    <a:pt x="259" y="1194"/>
                  </a:lnTo>
                  <a:lnTo>
                    <a:pt x="256" y="1194"/>
                  </a:lnTo>
                  <a:lnTo>
                    <a:pt x="255" y="1192"/>
                  </a:lnTo>
                  <a:lnTo>
                    <a:pt x="252" y="1194"/>
                  </a:lnTo>
                  <a:lnTo>
                    <a:pt x="251" y="1195"/>
                  </a:lnTo>
                  <a:lnTo>
                    <a:pt x="236" y="1197"/>
                  </a:lnTo>
                  <a:lnTo>
                    <a:pt x="235" y="1198"/>
                  </a:lnTo>
                  <a:lnTo>
                    <a:pt x="233" y="1198"/>
                  </a:lnTo>
                  <a:lnTo>
                    <a:pt x="218" y="1210"/>
                  </a:lnTo>
                  <a:lnTo>
                    <a:pt x="213" y="1213"/>
                  </a:lnTo>
                  <a:lnTo>
                    <a:pt x="210" y="1213"/>
                  </a:lnTo>
                  <a:lnTo>
                    <a:pt x="208" y="1211"/>
                  </a:lnTo>
                  <a:lnTo>
                    <a:pt x="207" y="1205"/>
                  </a:lnTo>
                  <a:lnTo>
                    <a:pt x="207" y="1204"/>
                  </a:lnTo>
                  <a:lnTo>
                    <a:pt x="205" y="1203"/>
                  </a:lnTo>
                  <a:lnTo>
                    <a:pt x="200" y="1200"/>
                  </a:lnTo>
                  <a:lnTo>
                    <a:pt x="198" y="1198"/>
                  </a:lnTo>
                  <a:lnTo>
                    <a:pt x="197" y="1197"/>
                  </a:lnTo>
                  <a:lnTo>
                    <a:pt x="197" y="1195"/>
                  </a:lnTo>
                  <a:lnTo>
                    <a:pt x="195" y="1194"/>
                  </a:lnTo>
                  <a:lnTo>
                    <a:pt x="195" y="1192"/>
                  </a:lnTo>
                  <a:lnTo>
                    <a:pt x="192" y="1191"/>
                  </a:lnTo>
                  <a:lnTo>
                    <a:pt x="191" y="1189"/>
                  </a:lnTo>
                  <a:lnTo>
                    <a:pt x="189" y="1189"/>
                  </a:lnTo>
                  <a:lnTo>
                    <a:pt x="188" y="1191"/>
                  </a:lnTo>
                  <a:lnTo>
                    <a:pt x="188" y="1191"/>
                  </a:lnTo>
                  <a:lnTo>
                    <a:pt x="186" y="1192"/>
                  </a:lnTo>
                  <a:lnTo>
                    <a:pt x="186" y="1194"/>
                  </a:lnTo>
                  <a:lnTo>
                    <a:pt x="186" y="1195"/>
                  </a:lnTo>
                  <a:lnTo>
                    <a:pt x="198" y="1214"/>
                  </a:lnTo>
                  <a:lnTo>
                    <a:pt x="200" y="1216"/>
                  </a:lnTo>
                  <a:lnTo>
                    <a:pt x="200" y="1216"/>
                  </a:lnTo>
                  <a:lnTo>
                    <a:pt x="200" y="1217"/>
                  </a:lnTo>
                  <a:lnTo>
                    <a:pt x="200" y="1217"/>
                  </a:lnTo>
                  <a:lnTo>
                    <a:pt x="197" y="1219"/>
                  </a:lnTo>
                  <a:lnTo>
                    <a:pt x="189" y="1223"/>
                  </a:lnTo>
                  <a:lnTo>
                    <a:pt x="181" y="1223"/>
                  </a:lnTo>
                  <a:lnTo>
                    <a:pt x="181" y="1219"/>
                  </a:lnTo>
                  <a:lnTo>
                    <a:pt x="169" y="1198"/>
                  </a:lnTo>
                  <a:lnTo>
                    <a:pt x="168" y="1191"/>
                  </a:lnTo>
                  <a:lnTo>
                    <a:pt x="170" y="1184"/>
                  </a:lnTo>
                  <a:lnTo>
                    <a:pt x="173" y="1172"/>
                  </a:lnTo>
                  <a:lnTo>
                    <a:pt x="173" y="1162"/>
                  </a:lnTo>
                  <a:lnTo>
                    <a:pt x="172" y="1160"/>
                  </a:lnTo>
                  <a:lnTo>
                    <a:pt x="169" y="1160"/>
                  </a:lnTo>
                  <a:lnTo>
                    <a:pt x="166" y="1155"/>
                  </a:lnTo>
                  <a:lnTo>
                    <a:pt x="165" y="1150"/>
                  </a:lnTo>
                  <a:lnTo>
                    <a:pt x="163" y="1144"/>
                  </a:lnTo>
                  <a:lnTo>
                    <a:pt x="165" y="1140"/>
                  </a:lnTo>
                  <a:lnTo>
                    <a:pt x="165" y="1140"/>
                  </a:lnTo>
                  <a:lnTo>
                    <a:pt x="168" y="1137"/>
                  </a:lnTo>
                  <a:lnTo>
                    <a:pt x="168" y="1137"/>
                  </a:lnTo>
                  <a:lnTo>
                    <a:pt x="162" y="1136"/>
                  </a:lnTo>
                  <a:lnTo>
                    <a:pt x="147" y="1133"/>
                  </a:lnTo>
                  <a:lnTo>
                    <a:pt x="141" y="1130"/>
                  </a:lnTo>
                  <a:lnTo>
                    <a:pt x="140" y="1130"/>
                  </a:lnTo>
                  <a:lnTo>
                    <a:pt x="140" y="1130"/>
                  </a:lnTo>
                  <a:lnTo>
                    <a:pt x="138" y="1130"/>
                  </a:lnTo>
                  <a:lnTo>
                    <a:pt x="138" y="1130"/>
                  </a:lnTo>
                  <a:lnTo>
                    <a:pt x="127" y="1134"/>
                  </a:lnTo>
                  <a:lnTo>
                    <a:pt x="122" y="1134"/>
                  </a:lnTo>
                  <a:lnTo>
                    <a:pt x="119" y="1131"/>
                  </a:lnTo>
                  <a:lnTo>
                    <a:pt x="117" y="1125"/>
                  </a:lnTo>
                  <a:lnTo>
                    <a:pt x="115" y="1122"/>
                  </a:lnTo>
                  <a:lnTo>
                    <a:pt x="117" y="1118"/>
                  </a:lnTo>
                  <a:lnTo>
                    <a:pt x="114" y="1118"/>
                  </a:lnTo>
                  <a:lnTo>
                    <a:pt x="111" y="1117"/>
                  </a:lnTo>
                  <a:lnTo>
                    <a:pt x="109" y="1114"/>
                  </a:lnTo>
                  <a:lnTo>
                    <a:pt x="109" y="1114"/>
                  </a:lnTo>
                  <a:lnTo>
                    <a:pt x="112" y="1109"/>
                  </a:lnTo>
                  <a:lnTo>
                    <a:pt x="112" y="1109"/>
                  </a:lnTo>
                  <a:lnTo>
                    <a:pt x="106" y="1102"/>
                  </a:lnTo>
                  <a:lnTo>
                    <a:pt x="106" y="1102"/>
                  </a:lnTo>
                  <a:lnTo>
                    <a:pt x="106" y="1102"/>
                  </a:lnTo>
                  <a:lnTo>
                    <a:pt x="114" y="1092"/>
                  </a:lnTo>
                  <a:lnTo>
                    <a:pt x="114" y="1092"/>
                  </a:lnTo>
                  <a:lnTo>
                    <a:pt x="124" y="1083"/>
                  </a:lnTo>
                  <a:lnTo>
                    <a:pt x="131" y="1079"/>
                  </a:lnTo>
                  <a:lnTo>
                    <a:pt x="131" y="1079"/>
                  </a:lnTo>
                  <a:lnTo>
                    <a:pt x="131" y="1077"/>
                  </a:lnTo>
                  <a:lnTo>
                    <a:pt x="131" y="1077"/>
                  </a:lnTo>
                  <a:lnTo>
                    <a:pt x="135" y="1072"/>
                  </a:lnTo>
                  <a:lnTo>
                    <a:pt x="135" y="1072"/>
                  </a:lnTo>
                  <a:lnTo>
                    <a:pt x="138" y="1067"/>
                  </a:lnTo>
                  <a:lnTo>
                    <a:pt x="137" y="1064"/>
                  </a:lnTo>
                  <a:lnTo>
                    <a:pt x="114" y="1063"/>
                  </a:lnTo>
                  <a:lnTo>
                    <a:pt x="106" y="1060"/>
                  </a:lnTo>
                  <a:lnTo>
                    <a:pt x="102" y="1051"/>
                  </a:lnTo>
                  <a:lnTo>
                    <a:pt x="102" y="1051"/>
                  </a:lnTo>
                  <a:lnTo>
                    <a:pt x="106" y="1048"/>
                  </a:lnTo>
                  <a:lnTo>
                    <a:pt x="106" y="1048"/>
                  </a:lnTo>
                  <a:lnTo>
                    <a:pt x="86" y="1016"/>
                  </a:lnTo>
                  <a:lnTo>
                    <a:pt x="79" y="1009"/>
                  </a:lnTo>
                  <a:lnTo>
                    <a:pt x="73" y="1009"/>
                  </a:lnTo>
                  <a:lnTo>
                    <a:pt x="60" y="1013"/>
                  </a:lnTo>
                  <a:lnTo>
                    <a:pt x="55" y="1012"/>
                  </a:lnTo>
                  <a:lnTo>
                    <a:pt x="54" y="1007"/>
                  </a:lnTo>
                  <a:lnTo>
                    <a:pt x="55" y="1002"/>
                  </a:lnTo>
                  <a:lnTo>
                    <a:pt x="54" y="997"/>
                  </a:lnTo>
                  <a:lnTo>
                    <a:pt x="50" y="994"/>
                  </a:lnTo>
                  <a:lnTo>
                    <a:pt x="48" y="993"/>
                  </a:lnTo>
                  <a:lnTo>
                    <a:pt x="48" y="991"/>
                  </a:lnTo>
                  <a:lnTo>
                    <a:pt x="48" y="990"/>
                  </a:lnTo>
                  <a:lnTo>
                    <a:pt x="48" y="990"/>
                  </a:lnTo>
                  <a:lnTo>
                    <a:pt x="48" y="990"/>
                  </a:lnTo>
                  <a:lnTo>
                    <a:pt x="50" y="990"/>
                  </a:lnTo>
                  <a:lnTo>
                    <a:pt x="50" y="990"/>
                  </a:lnTo>
                  <a:lnTo>
                    <a:pt x="50" y="983"/>
                  </a:lnTo>
                  <a:lnTo>
                    <a:pt x="50" y="983"/>
                  </a:lnTo>
                  <a:lnTo>
                    <a:pt x="48" y="980"/>
                  </a:lnTo>
                  <a:lnTo>
                    <a:pt x="44" y="977"/>
                  </a:lnTo>
                  <a:lnTo>
                    <a:pt x="42" y="973"/>
                  </a:lnTo>
                  <a:lnTo>
                    <a:pt x="41" y="965"/>
                  </a:lnTo>
                  <a:lnTo>
                    <a:pt x="41" y="965"/>
                  </a:lnTo>
                  <a:lnTo>
                    <a:pt x="45" y="967"/>
                  </a:lnTo>
                  <a:lnTo>
                    <a:pt x="51" y="962"/>
                  </a:lnTo>
                  <a:lnTo>
                    <a:pt x="52" y="955"/>
                  </a:lnTo>
                  <a:lnTo>
                    <a:pt x="52" y="955"/>
                  </a:lnTo>
                  <a:lnTo>
                    <a:pt x="51" y="951"/>
                  </a:lnTo>
                  <a:lnTo>
                    <a:pt x="51" y="945"/>
                  </a:lnTo>
                  <a:lnTo>
                    <a:pt x="51" y="945"/>
                  </a:lnTo>
                  <a:lnTo>
                    <a:pt x="54" y="940"/>
                  </a:lnTo>
                  <a:lnTo>
                    <a:pt x="58" y="938"/>
                  </a:lnTo>
                  <a:lnTo>
                    <a:pt x="67" y="938"/>
                  </a:lnTo>
                  <a:lnTo>
                    <a:pt x="70" y="933"/>
                  </a:lnTo>
                  <a:lnTo>
                    <a:pt x="73" y="927"/>
                  </a:lnTo>
                  <a:lnTo>
                    <a:pt x="73" y="923"/>
                  </a:lnTo>
                  <a:lnTo>
                    <a:pt x="73" y="923"/>
                  </a:lnTo>
                  <a:lnTo>
                    <a:pt x="70" y="911"/>
                  </a:lnTo>
                  <a:lnTo>
                    <a:pt x="70" y="911"/>
                  </a:lnTo>
                  <a:lnTo>
                    <a:pt x="70" y="908"/>
                  </a:lnTo>
                  <a:lnTo>
                    <a:pt x="73" y="906"/>
                  </a:lnTo>
                  <a:lnTo>
                    <a:pt x="73" y="903"/>
                  </a:lnTo>
                  <a:lnTo>
                    <a:pt x="73" y="903"/>
                  </a:lnTo>
                  <a:lnTo>
                    <a:pt x="61" y="900"/>
                  </a:lnTo>
                  <a:lnTo>
                    <a:pt x="54" y="894"/>
                  </a:lnTo>
                  <a:lnTo>
                    <a:pt x="51" y="891"/>
                  </a:lnTo>
                  <a:lnTo>
                    <a:pt x="50" y="887"/>
                  </a:lnTo>
                  <a:lnTo>
                    <a:pt x="50" y="879"/>
                  </a:lnTo>
                  <a:lnTo>
                    <a:pt x="50" y="879"/>
                  </a:lnTo>
                  <a:lnTo>
                    <a:pt x="51" y="875"/>
                  </a:lnTo>
                  <a:lnTo>
                    <a:pt x="52" y="869"/>
                  </a:lnTo>
                  <a:lnTo>
                    <a:pt x="52" y="869"/>
                  </a:lnTo>
                  <a:lnTo>
                    <a:pt x="52" y="866"/>
                  </a:lnTo>
                  <a:lnTo>
                    <a:pt x="39" y="868"/>
                  </a:lnTo>
                  <a:lnTo>
                    <a:pt x="31" y="865"/>
                  </a:lnTo>
                  <a:lnTo>
                    <a:pt x="26" y="865"/>
                  </a:lnTo>
                  <a:lnTo>
                    <a:pt x="20" y="866"/>
                  </a:lnTo>
                  <a:lnTo>
                    <a:pt x="12" y="871"/>
                  </a:lnTo>
                  <a:lnTo>
                    <a:pt x="7" y="872"/>
                  </a:lnTo>
                  <a:lnTo>
                    <a:pt x="7" y="858"/>
                  </a:lnTo>
                  <a:lnTo>
                    <a:pt x="1" y="841"/>
                  </a:lnTo>
                  <a:lnTo>
                    <a:pt x="0" y="828"/>
                  </a:lnTo>
                  <a:lnTo>
                    <a:pt x="0" y="828"/>
                  </a:lnTo>
                  <a:lnTo>
                    <a:pt x="9" y="824"/>
                  </a:lnTo>
                  <a:lnTo>
                    <a:pt x="15" y="827"/>
                  </a:lnTo>
                  <a:lnTo>
                    <a:pt x="19" y="831"/>
                  </a:lnTo>
                  <a:lnTo>
                    <a:pt x="23" y="836"/>
                  </a:lnTo>
                  <a:lnTo>
                    <a:pt x="29" y="836"/>
                  </a:lnTo>
                  <a:lnTo>
                    <a:pt x="33" y="831"/>
                  </a:lnTo>
                  <a:lnTo>
                    <a:pt x="41" y="817"/>
                  </a:lnTo>
                  <a:lnTo>
                    <a:pt x="45" y="811"/>
                  </a:lnTo>
                  <a:lnTo>
                    <a:pt x="77" y="786"/>
                  </a:lnTo>
                  <a:lnTo>
                    <a:pt x="98" y="776"/>
                  </a:lnTo>
                  <a:lnTo>
                    <a:pt x="102" y="769"/>
                  </a:lnTo>
                  <a:lnTo>
                    <a:pt x="102" y="769"/>
                  </a:lnTo>
                  <a:lnTo>
                    <a:pt x="95" y="761"/>
                  </a:lnTo>
                  <a:lnTo>
                    <a:pt x="95" y="761"/>
                  </a:lnTo>
                  <a:lnTo>
                    <a:pt x="103" y="756"/>
                  </a:lnTo>
                  <a:lnTo>
                    <a:pt x="105" y="754"/>
                  </a:lnTo>
                  <a:lnTo>
                    <a:pt x="105" y="754"/>
                  </a:lnTo>
                  <a:lnTo>
                    <a:pt x="98" y="751"/>
                  </a:lnTo>
                  <a:lnTo>
                    <a:pt x="80" y="763"/>
                  </a:lnTo>
                  <a:lnTo>
                    <a:pt x="71" y="758"/>
                  </a:lnTo>
                  <a:lnTo>
                    <a:pt x="70" y="748"/>
                  </a:lnTo>
                  <a:lnTo>
                    <a:pt x="70" y="748"/>
                  </a:lnTo>
                  <a:lnTo>
                    <a:pt x="70" y="735"/>
                  </a:lnTo>
                  <a:lnTo>
                    <a:pt x="74" y="725"/>
                  </a:lnTo>
                  <a:lnTo>
                    <a:pt x="77" y="719"/>
                  </a:lnTo>
                  <a:lnTo>
                    <a:pt x="84" y="709"/>
                  </a:lnTo>
                  <a:lnTo>
                    <a:pt x="102" y="677"/>
                  </a:lnTo>
                  <a:lnTo>
                    <a:pt x="106" y="673"/>
                  </a:lnTo>
                  <a:lnTo>
                    <a:pt x="115" y="667"/>
                  </a:lnTo>
                  <a:lnTo>
                    <a:pt x="118" y="662"/>
                  </a:lnTo>
                  <a:lnTo>
                    <a:pt x="119" y="655"/>
                  </a:lnTo>
                  <a:lnTo>
                    <a:pt x="121" y="643"/>
                  </a:lnTo>
                  <a:lnTo>
                    <a:pt x="124" y="638"/>
                  </a:lnTo>
                  <a:lnTo>
                    <a:pt x="124" y="638"/>
                  </a:lnTo>
                  <a:lnTo>
                    <a:pt x="118" y="632"/>
                  </a:lnTo>
                  <a:lnTo>
                    <a:pt x="118" y="632"/>
                  </a:lnTo>
                  <a:lnTo>
                    <a:pt x="118" y="622"/>
                  </a:lnTo>
                  <a:lnTo>
                    <a:pt x="121" y="610"/>
                  </a:lnTo>
                  <a:lnTo>
                    <a:pt x="122" y="598"/>
                  </a:lnTo>
                  <a:lnTo>
                    <a:pt x="122" y="598"/>
                  </a:lnTo>
                  <a:lnTo>
                    <a:pt x="121" y="588"/>
                  </a:lnTo>
                  <a:lnTo>
                    <a:pt x="118" y="571"/>
                  </a:lnTo>
                  <a:lnTo>
                    <a:pt x="103" y="555"/>
                  </a:lnTo>
                  <a:lnTo>
                    <a:pt x="82" y="523"/>
                  </a:lnTo>
                  <a:lnTo>
                    <a:pt x="80" y="515"/>
                  </a:lnTo>
                  <a:lnTo>
                    <a:pt x="80" y="515"/>
                  </a:lnTo>
                  <a:lnTo>
                    <a:pt x="82" y="508"/>
                  </a:lnTo>
                  <a:lnTo>
                    <a:pt x="86" y="495"/>
                  </a:lnTo>
                  <a:lnTo>
                    <a:pt x="86" y="495"/>
                  </a:lnTo>
                  <a:lnTo>
                    <a:pt x="61" y="485"/>
                  </a:lnTo>
                  <a:lnTo>
                    <a:pt x="54" y="475"/>
                  </a:lnTo>
                  <a:lnTo>
                    <a:pt x="58" y="459"/>
                  </a:lnTo>
                  <a:lnTo>
                    <a:pt x="58" y="459"/>
                  </a:lnTo>
                  <a:lnTo>
                    <a:pt x="55" y="456"/>
                  </a:lnTo>
                  <a:lnTo>
                    <a:pt x="47" y="450"/>
                  </a:lnTo>
                  <a:lnTo>
                    <a:pt x="44" y="447"/>
                  </a:lnTo>
                  <a:lnTo>
                    <a:pt x="33" y="448"/>
                  </a:lnTo>
                  <a:lnTo>
                    <a:pt x="29" y="447"/>
                  </a:lnTo>
                  <a:lnTo>
                    <a:pt x="29" y="447"/>
                  </a:lnTo>
                  <a:lnTo>
                    <a:pt x="31" y="440"/>
                  </a:lnTo>
                  <a:lnTo>
                    <a:pt x="32" y="438"/>
                  </a:lnTo>
                  <a:lnTo>
                    <a:pt x="38" y="432"/>
                  </a:lnTo>
                  <a:lnTo>
                    <a:pt x="38" y="421"/>
                  </a:lnTo>
                  <a:lnTo>
                    <a:pt x="38" y="421"/>
                  </a:lnTo>
                  <a:lnTo>
                    <a:pt x="33" y="411"/>
                  </a:lnTo>
                  <a:lnTo>
                    <a:pt x="26" y="405"/>
                  </a:lnTo>
                  <a:lnTo>
                    <a:pt x="26" y="405"/>
                  </a:lnTo>
                  <a:lnTo>
                    <a:pt x="28" y="399"/>
                  </a:lnTo>
                  <a:lnTo>
                    <a:pt x="33" y="396"/>
                  </a:lnTo>
                  <a:lnTo>
                    <a:pt x="47" y="393"/>
                  </a:lnTo>
                  <a:lnTo>
                    <a:pt x="54" y="390"/>
                  </a:lnTo>
                  <a:lnTo>
                    <a:pt x="61" y="384"/>
                  </a:lnTo>
                  <a:lnTo>
                    <a:pt x="66" y="381"/>
                  </a:lnTo>
                  <a:lnTo>
                    <a:pt x="80" y="378"/>
                  </a:lnTo>
                  <a:lnTo>
                    <a:pt x="92" y="381"/>
                  </a:lnTo>
                  <a:lnTo>
                    <a:pt x="99" y="383"/>
                  </a:lnTo>
                  <a:lnTo>
                    <a:pt x="105" y="384"/>
                  </a:lnTo>
                  <a:lnTo>
                    <a:pt x="105" y="384"/>
                  </a:lnTo>
                  <a:lnTo>
                    <a:pt x="100" y="377"/>
                  </a:lnTo>
                  <a:lnTo>
                    <a:pt x="87" y="364"/>
                  </a:lnTo>
                  <a:lnTo>
                    <a:pt x="83" y="361"/>
                  </a:lnTo>
                  <a:lnTo>
                    <a:pt x="83" y="361"/>
                  </a:lnTo>
                  <a:lnTo>
                    <a:pt x="95" y="354"/>
                  </a:lnTo>
                  <a:lnTo>
                    <a:pt x="106" y="360"/>
                  </a:lnTo>
                  <a:lnTo>
                    <a:pt x="118" y="368"/>
                  </a:lnTo>
                  <a:lnTo>
                    <a:pt x="130" y="373"/>
                  </a:lnTo>
                  <a:lnTo>
                    <a:pt x="140" y="371"/>
                  </a:lnTo>
                  <a:lnTo>
                    <a:pt x="143" y="371"/>
                  </a:lnTo>
                  <a:lnTo>
                    <a:pt x="146" y="374"/>
                  </a:lnTo>
                  <a:lnTo>
                    <a:pt x="149" y="380"/>
                  </a:lnTo>
                  <a:lnTo>
                    <a:pt x="150" y="383"/>
                  </a:lnTo>
                  <a:lnTo>
                    <a:pt x="165" y="384"/>
                  </a:lnTo>
                  <a:lnTo>
                    <a:pt x="170" y="387"/>
                  </a:lnTo>
                  <a:lnTo>
                    <a:pt x="170" y="396"/>
                  </a:lnTo>
                  <a:lnTo>
                    <a:pt x="184" y="393"/>
                  </a:lnTo>
                  <a:lnTo>
                    <a:pt x="185" y="387"/>
                  </a:lnTo>
                  <a:lnTo>
                    <a:pt x="185" y="387"/>
                  </a:lnTo>
                  <a:lnTo>
                    <a:pt x="182" y="374"/>
                  </a:lnTo>
                  <a:lnTo>
                    <a:pt x="182" y="374"/>
                  </a:lnTo>
                  <a:lnTo>
                    <a:pt x="205" y="381"/>
                  </a:lnTo>
                  <a:lnTo>
                    <a:pt x="211" y="381"/>
                  </a:lnTo>
                  <a:lnTo>
                    <a:pt x="217" y="378"/>
                  </a:lnTo>
                  <a:lnTo>
                    <a:pt x="235" y="365"/>
                  </a:lnTo>
                  <a:lnTo>
                    <a:pt x="269" y="354"/>
                  </a:lnTo>
                  <a:lnTo>
                    <a:pt x="300" y="352"/>
                  </a:lnTo>
                  <a:lnTo>
                    <a:pt x="309" y="348"/>
                  </a:lnTo>
                  <a:lnTo>
                    <a:pt x="318" y="338"/>
                  </a:lnTo>
                  <a:lnTo>
                    <a:pt x="325" y="323"/>
                  </a:lnTo>
                  <a:lnTo>
                    <a:pt x="328" y="320"/>
                  </a:lnTo>
                  <a:lnTo>
                    <a:pt x="331" y="320"/>
                  </a:lnTo>
                  <a:lnTo>
                    <a:pt x="332" y="317"/>
                  </a:lnTo>
                  <a:lnTo>
                    <a:pt x="334" y="312"/>
                  </a:lnTo>
                  <a:lnTo>
                    <a:pt x="334" y="312"/>
                  </a:lnTo>
                  <a:lnTo>
                    <a:pt x="332" y="307"/>
                  </a:lnTo>
                  <a:lnTo>
                    <a:pt x="331" y="304"/>
                  </a:lnTo>
                  <a:lnTo>
                    <a:pt x="322" y="295"/>
                  </a:lnTo>
                  <a:lnTo>
                    <a:pt x="299" y="282"/>
                  </a:lnTo>
                  <a:lnTo>
                    <a:pt x="291" y="279"/>
                  </a:lnTo>
                  <a:lnTo>
                    <a:pt x="286" y="277"/>
                  </a:lnTo>
                  <a:lnTo>
                    <a:pt x="284" y="268"/>
                  </a:lnTo>
                  <a:lnTo>
                    <a:pt x="284" y="268"/>
                  </a:lnTo>
                  <a:lnTo>
                    <a:pt x="287" y="262"/>
                  </a:lnTo>
                  <a:lnTo>
                    <a:pt x="290" y="261"/>
                  </a:lnTo>
                  <a:lnTo>
                    <a:pt x="294" y="261"/>
                  </a:lnTo>
                  <a:lnTo>
                    <a:pt x="299" y="258"/>
                  </a:lnTo>
                  <a:lnTo>
                    <a:pt x="302" y="255"/>
                  </a:lnTo>
                  <a:lnTo>
                    <a:pt x="304" y="247"/>
                  </a:lnTo>
                  <a:lnTo>
                    <a:pt x="306" y="245"/>
                  </a:lnTo>
                  <a:lnTo>
                    <a:pt x="312" y="237"/>
                  </a:lnTo>
                  <a:lnTo>
                    <a:pt x="318" y="234"/>
                  </a:lnTo>
                  <a:lnTo>
                    <a:pt x="319" y="234"/>
                  </a:lnTo>
                  <a:lnTo>
                    <a:pt x="339" y="233"/>
                  </a:lnTo>
                  <a:lnTo>
                    <a:pt x="344" y="229"/>
                  </a:lnTo>
                  <a:lnTo>
                    <a:pt x="351" y="213"/>
                  </a:lnTo>
                  <a:lnTo>
                    <a:pt x="358" y="205"/>
                  </a:lnTo>
                  <a:lnTo>
                    <a:pt x="373" y="199"/>
                  </a:lnTo>
                  <a:lnTo>
                    <a:pt x="380" y="192"/>
                  </a:lnTo>
                  <a:lnTo>
                    <a:pt x="389" y="179"/>
                  </a:lnTo>
                  <a:lnTo>
                    <a:pt x="392" y="175"/>
                  </a:lnTo>
                  <a:lnTo>
                    <a:pt x="408" y="166"/>
                  </a:lnTo>
                  <a:lnTo>
                    <a:pt x="408" y="163"/>
                  </a:lnTo>
                  <a:lnTo>
                    <a:pt x="408" y="162"/>
                  </a:lnTo>
                  <a:lnTo>
                    <a:pt x="417" y="162"/>
                  </a:lnTo>
                  <a:lnTo>
                    <a:pt x="431" y="156"/>
                  </a:lnTo>
                  <a:lnTo>
                    <a:pt x="436" y="153"/>
                  </a:lnTo>
                  <a:lnTo>
                    <a:pt x="438" y="150"/>
                  </a:lnTo>
                  <a:lnTo>
                    <a:pt x="441" y="148"/>
                  </a:lnTo>
                  <a:lnTo>
                    <a:pt x="488" y="146"/>
                  </a:lnTo>
                  <a:lnTo>
                    <a:pt x="503" y="143"/>
                  </a:lnTo>
                  <a:lnTo>
                    <a:pt x="520" y="131"/>
                  </a:lnTo>
                  <a:lnTo>
                    <a:pt x="524" y="127"/>
                  </a:lnTo>
                  <a:lnTo>
                    <a:pt x="526" y="125"/>
                  </a:lnTo>
                  <a:lnTo>
                    <a:pt x="527" y="125"/>
                  </a:lnTo>
                  <a:lnTo>
                    <a:pt x="538" y="122"/>
                  </a:lnTo>
                  <a:lnTo>
                    <a:pt x="540" y="121"/>
                  </a:lnTo>
                  <a:lnTo>
                    <a:pt x="543" y="119"/>
                  </a:lnTo>
                  <a:lnTo>
                    <a:pt x="561" y="100"/>
                  </a:lnTo>
                  <a:lnTo>
                    <a:pt x="577" y="87"/>
                  </a:lnTo>
                  <a:lnTo>
                    <a:pt x="578" y="86"/>
                  </a:lnTo>
                  <a:lnTo>
                    <a:pt x="584" y="84"/>
                  </a:lnTo>
                  <a:lnTo>
                    <a:pt x="586" y="84"/>
                  </a:lnTo>
                  <a:lnTo>
                    <a:pt x="593" y="86"/>
                  </a:lnTo>
                  <a:lnTo>
                    <a:pt x="593" y="86"/>
                  </a:lnTo>
                  <a:lnTo>
                    <a:pt x="594" y="86"/>
                  </a:lnTo>
                  <a:lnTo>
                    <a:pt x="596" y="84"/>
                  </a:lnTo>
                  <a:lnTo>
                    <a:pt x="597" y="81"/>
                  </a:lnTo>
                  <a:lnTo>
                    <a:pt x="597" y="80"/>
                  </a:lnTo>
                  <a:lnTo>
                    <a:pt x="599" y="80"/>
                  </a:lnTo>
                  <a:lnTo>
                    <a:pt x="599" y="80"/>
                  </a:lnTo>
                  <a:lnTo>
                    <a:pt x="600" y="76"/>
                  </a:lnTo>
                  <a:lnTo>
                    <a:pt x="603" y="67"/>
                  </a:lnTo>
                  <a:lnTo>
                    <a:pt x="603" y="64"/>
                  </a:lnTo>
                  <a:lnTo>
                    <a:pt x="606" y="63"/>
                  </a:lnTo>
                  <a:lnTo>
                    <a:pt x="607" y="61"/>
                  </a:lnTo>
                  <a:lnTo>
                    <a:pt x="607" y="60"/>
                  </a:lnTo>
                  <a:lnTo>
                    <a:pt x="607" y="58"/>
                  </a:lnTo>
                  <a:lnTo>
                    <a:pt x="605" y="55"/>
                  </a:lnTo>
                  <a:lnTo>
                    <a:pt x="602" y="54"/>
                  </a:lnTo>
                  <a:lnTo>
                    <a:pt x="602" y="51"/>
                  </a:lnTo>
                  <a:lnTo>
                    <a:pt x="600" y="49"/>
                  </a:lnTo>
                  <a:lnTo>
                    <a:pt x="605" y="31"/>
                  </a:lnTo>
                  <a:lnTo>
                    <a:pt x="606" y="29"/>
                  </a:lnTo>
                  <a:lnTo>
                    <a:pt x="607" y="28"/>
                  </a:lnTo>
                  <a:lnTo>
                    <a:pt x="609" y="28"/>
                  </a:lnTo>
                  <a:lnTo>
                    <a:pt x="610" y="28"/>
                  </a:lnTo>
                  <a:lnTo>
                    <a:pt x="635" y="35"/>
                  </a:lnTo>
                  <a:lnTo>
                    <a:pt x="637" y="36"/>
                  </a:lnTo>
                  <a:lnTo>
                    <a:pt x="638" y="38"/>
                  </a:lnTo>
                  <a:lnTo>
                    <a:pt x="640" y="39"/>
                  </a:lnTo>
                  <a:lnTo>
                    <a:pt x="640" y="42"/>
                  </a:lnTo>
                  <a:lnTo>
                    <a:pt x="642" y="63"/>
                  </a:lnTo>
                  <a:lnTo>
                    <a:pt x="644" y="64"/>
                  </a:lnTo>
                  <a:lnTo>
                    <a:pt x="645" y="65"/>
                  </a:lnTo>
                  <a:lnTo>
                    <a:pt x="654" y="68"/>
                  </a:lnTo>
                  <a:lnTo>
                    <a:pt x="677" y="84"/>
                  </a:lnTo>
                  <a:lnTo>
                    <a:pt x="679" y="84"/>
                  </a:lnTo>
                  <a:lnTo>
                    <a:pt x="682" y="90"/>
                  </a:lnTo>
                  <a:lnTo>
                    <a:pt x="685" y="90"/>
                  </a:lnTo>
                  <a:lnTo>
                    <a:pt x="686" y="92"/>
                  </a:lnTo>
                  <a:lnTo>
                    <a:pt x="709" y="81"/>
                  </a:lnTo>
                  <a:lnTo>
                    <a:pt x="711" y="83"/>
                  </a:lnTo>
                  <a:lnTo>
                    <a:pt x="714" y="83"/>
                  </a:lnTo>
                  <a:lnTo>
                    <a:pt x="715" y="86"/>
                  </a:lnTo>
                  <a:lnTo>
                    <a:pt x="718" y="90"/>
                  </a:lnTo>
                  <a:lnTo>
                    <a:pt x="721" y="93"/>
                  </a:lnTo>
                  <a:lnTo>
                    <a:pt x="725" y="100"/>
                  </a:lnTo>
                  <a:lnTo>
                    <a:pt x="733" y="112"/>
                  </a:lnTo>
                  <a:lnTo>
                    <a:pt x="736" y="116"/>
                  </a:lnTo>
                  <a:lnTo>
                    <a:pt x="737" y="118"/>
                  </a:lnTo>
                  <a:lnTo>
                    <a:pt x="737" y="119"/>
                  </a:lnTo>
                  <a:lnTo>
                    <a:pt x="736" y="121"/>
                  </a:lnTo>
                  <a:lnTo>
                    <a:pt x="734" y="122"/>
                  </a:lnTo>
                  <a:lnTo>
                    <a:pt x="724" y="124"/>
                  </a:lnTo>
                  <a:lnTo>
                    <a:pt x="723" y="124"/>
                  </a:lnTo>
                  <a:lnTo>
                    <a:pt x="721" y="125"/>
                  </a:lnTo>
                  <a:lnTo>
                    <a:pt x="721" y="127"/>
                  </a:lnTo>
                  <a:lnTo>
                    <a:pt x="723" y="130"/>
                  </a:lnTo>
                  <a:lnTo>
                    <a:pt x="723" y="132"/>
                  </a:lnTo>
                  <a:lnTo>
                    <a:pt x="724" y="134"/>
                  </a:lnTo>
                  <a:lnTo>
                    <a:pt x="725" y="137"/>
                  </a:lnTo>
                  <a:lnTo>
                    <a:pt x="727" y="140"/>
                  </a:lnTo>
                  <a:lnTo>
                    <a:pt x="727" y="141"/>
                  </a:lnTo>
                  <a:lnTo>
                    <a:pt x="727" y="143"/>
                  </a:lnTo>
                  <a:lnTo>
                    <a:pt x="724" y="146"/>
                  </a:lnTo>
                  <a:lnTo>
                    <a:pt x="718" y="153"/>
                  </a:lnTo>
                  <a:lnTo>
                    <a:pt x="717" y="154"/>
                  </a:lnTo>
                  <a:lnTo>
                    <a:pt x="717" y="156"/>
                  </a:lnTo>
                  <a:lnTo>
                    <a:pt x="717" y="157"/>
                  </a:lnTo>
                  <a:lnTo>
                    <a:pt x="718" y="159"/>
                  </a:lnTo>
                  <a:lnTo>
                    <a:pt x="720" y="163"/>
                  </a:lnTo>
                  <a:lnTo>
                    <a:pt x="720" y="164"/>
                  </a:lnTo>
                  <a:lnTo>
                    <a:pt x="720" y="166"/>
                  </a:lnTo>
                  <a:lnTo>
                    <a:pt x="720" y="169"/>
                  </a:lnTo>
                  <a:lnTo>
                    <a:pt x="717" y="172"/>
                  </a:lnTo>
                  <a:lnTo>
                    <a:pt x="712" y="176"/>
                  </a:lnTo>
                  <a:lnTo>
                    <a:pt x="711" y="179"/>
                  </a:lnTo>
                  <a:lnTo>
                    <a:pt x="711" y="180"/>
                  </a:lnTo>
                  <a:lnTo>
                    <a:pt x="712" y="183"/>
                  </a:lnTo>
                  <a:lnTo>
                    <a:pt x="714" y="185"/>
                  </a:lnTo>
                  <a:lnTo>
                    <a:pt x="717" y="185"/>
                  </a:lnTo>
                  <a:lnTo>
                    <a:pt x="720" y="185"/>
                  </a:lnTo>
                  <a:lnTo>
                    <a:pt x="723" y="186"/>
                  </a:lnTo>
                  <a:lnTo>
                    <a:pt x="723" y="186"/>
                  </a:lnTo>
                  <a:lnTo>
                    <a:pt x="724" y="189"/>
                  </a:lnTo>
                  <a:lnTo>
                    <a:pt x="724" y="192"/>
                  </a:lnTo>
                  <a:lnTo>
                    <a:pt x="725" y="194"/>
                  </a:lnTo>
                  <a:lnTo>
                    <a:pt x="728" y="195"/>
                  </a:lnTo>
                  <a:lnTo>
                    <a:pt x="733" y="195"/>
                  </a:lnTo>
                  <a:lnTo>
                    <a:pt x="739" y="194"/>
                  </a:lnTo>
                  <a:lnTo>
                    <a:pt x="743" y="194"/>
                  </a:lnTo>
                  <a:lnTo>
                    <a:pt x="749" y="196"/>
                  </a:lnTo>
                  <a:lnTo>
                    <a:pt x="750" y="196"/>
                  </a:lnTo>
                  <a:lnTo>
                    <a:pt x="752" y="198"/>
                  </a:lnTo>
                  <a:lnTo>
                    <a:pt x="752" y="201"/>
                  </a:lnTo>
                  <a:lnTo>
                    <a:pt x="750" y="204"/>
                  </a:lnTo>
                  <a:lnTo>
                    <a:pt x="747" y="211"/>
                  </a:lnTo>
                  <a:lnTo>
                    <a:pt x="744" y="218"/>
                  </a:lnTo>
                  <a:lnTo>
                    <a:pt x="744" y="221"/>
                  </a:lnTo>
                  <a:lnTo>
                    <a:pt x="744" y="224"/>
                  </a:lnTo>
                  <a:lnTo>
                    <a:pt x="743" y="227"/>
                  </a:lnTo>
                  <a:lnTo>
                    <a:pt x="739" y="227"/>
                  </a:lnTo>
                  <a:lnTo>
                    <a:pt x="734" y="227"/>
                  </a:lnTo>
                  <a:lnTo>
                    <a:pt x="728" y="229"/>
                  </a:lnTo>
                  <a:lnTo>
                    <a:pt x="720" y="233"/>
                  </a:lnTo>
                  <a:lnTo>
                    <a:pt x="712" y="239"/>
                  </a:lnTo>
                  <a:lnTo>
                    <a:pt x="709" y="243"/>
                  </a:lnTo>
                  <a:lnTo>
                    <a:pt x="708" y="246"/>
                  </a:lnTo>
                  <a:lnTo>
                    <a:pt x="711" y="252"/>
                  </a:lnTo>
                  <a:lnTo>
                    <a:pt x="712" y="256"/>
                  </a:lnTo>
                  <a:lnTo>
                    <a:pt x="715" y="265"/>
                  </a:lnTo>
                  <a:lnTo>
                    <a:pt x="717" y="265"/>
                  </a:lnTo>
                  <a:lnTo>
                    <a:pt x="718" y="266"/>
                  </a:lnTo>
                  <a:lnTo>
                    <a:pt x="728" y="269"/>
                  </a:lnTo>
                  <a:lnTo>
                    <a:pt x="734" y="272"/>
                  </a:lnTo>
                  <a:lnTo>
                    <a:pt x="736" y="275"/>
                  </a:lnTo>
                  <a:lnTo>
                    <a:pt x="737" y="275"/>
                  </a:lnTo>
                  <a:lnTo>
                    <a:pt x="739" y="274"/>
                  </a:lnTo>
                  <a:lnTo>
                    <a:pt x="755" y="259"/>
                  </a:lnTo>
                  <a:lnTo>
                    <a:pt x="759" y="256"/>
                  </a:lnTo>
                  <a:lnTo>
                    <a:pt x="772" y="255"/>
                  </a:lnTo>
                  <a:lnTo>
                    <a:pt x="784" y="259"/>
                  </a:lnTo>
                  <a:lnTo>
                    <a:pt x="809" y="249"/>
                  </a:lnTo>
                  <a:lnTo>
                    <a:pt x="816" y="246"/>
                  </a:lnTo>
                  <a:lnTo>
                    <a:pt x="820" y="242"/>
                  </a:lnTo>
                  <a:lnTo>
                    <a:pt x="822" y="237"/>
                  </a:lnTo>
                  <a:lnTo>
                    <a:pt x="827" y="230"/>
                  </a:lnTo>
                  <a:lnTo>
                    <a:pt x="839" y="221"/>
                  </a:lnTo>
                  <a:lnTo>
                    <a:pt x="883" y="233"/>
                  </a:lnTo>
                  <a:lnTo>
                    <a:pt x="886" y="233"/>
                  </a:lnTo>
                  <a:lnTo>
                    <a:pt x="887" y="231"/>
                  </a:lnTo>
                  <a:lnTo>
                    <a:pt x="887" y="231"/>
                  </a:lnTo>
                  <a:lnTo>
                    <a:pt x="889" y="229"/>
                  </a:lnTo>
                  <a:lnTo>
                    <a:pt x="892" y="221"/>
                  </a:lnTo>
                  <a:lnTo>
                    <a:pt x="893" y="218"/>
                  </a:lnTo>
                  <a:lnTo>
                    <a:pt x="894" y="217"/>
                  </a:lnTo>
                  <a:lnTo>
                    <a:pt x="908" y="208"/>
                  </a:lnTo>
                  <a:lnTo>
                    <a:pt x="912" y="205"/>
                  </a:lnTo>
                  <a:lnTo>
                    <a:pt x="913" y="202"/>
                  </a:lnTo>
                  <a:lnTo>
                    <a:pt x="915" y="201"/>
                  </a:lnTo>
                  <a:lnTo>
                    <a:pt x="916" y="196"/>
                  </a:lnTo>
                  <a:lnTo>
                    <a:pt x="919" y="192"/>
                  </a:lnTo>
                  <a:lnTo>
                    <a:pt x="919" y="191"/>
                  </a:lnTo>
                  <a:lnTo>
                    <a:pt x="919" y="189"/>
                  </a:lnTo>
                  <a:lnTo>
                    <a:pt x="915" y="186"/>
                  </a:lnTo>
                  <a:lnTo>
                    <a:pt x="908" y="180"/>
                  </a:lnTo>
                  <a:lnTo>
                    <a:pt x="908" y="180"/>
                  </a:lnTo>
                  <a:lnTo>
                    <a:pt x="906" y="175"/>
                  </a:lnTo>
                  <a:lnTo>
                    <a:pt x="906" y="154"/>
                  </a:lnTo>
                  <a:lnTo>
                    <a:pt x="906" y="134"/>
                  </a:lnTo>
                  <a:lnTo>
                    <a:pt x="906" y="124"/>
                  </a:lnTo>
                  <a:lnTo>
                    <a:pt x="905" y="115"/>
                  </a:lnTo>
                  <a:lnTo>
                    <a:pt x="902" y="105"/>
                  </a:lnTo>
                  <a:lnTo>
                    <a:pt x="899" y="96"/>
                  </a:lnTo>
                  <a:lnTo>
                    <a:pt x="897" y="92"/>
                  </a:lnTo>
                  <a:lnTo>
                    <a:pt x="894" y="89"/>
                  </a:lnTo>
                  <a:lnTo>
                    <a:pt x="884" y="81"/>
                  </a:lnTo>
                  <a:lnTo>
                    <a:pt x="862" y="71"/>
                  </a:lnTo>
                  <a:lnTo>
                    <a:pt x="859" y="67"/>
                  </a:lnTo>
                  <a:lnTo>
                    <a:pt x="858" y="64"/>
                  </a:lnTo>
                  <a:lnTo>
                    <a:pt x="851" y="41"/>
                  </a:lnTo>
                  <a:lnTo>
                    <a:pt x="858" y="44"/>
                  </a:lnTo>
                  <a:lnTo>
                    <a:pt x="867" y="44"/>
                  </a:lnTo>
                  <a:lnTo>
                    <a:pt x="868" y="44"/>
                  </a:lnTo>
                  <a:lnTo>
                    <a:pt x="871" y="45"/>
                  </a:lnTo>
                  <a:lnTo>
                    <a:pt x="874" y="47"/>
                  </a:lnTo>
                  <a:lnTo>
                    <a:pt x="893" y="44"/>
                  </a:lnTo>
                  <a:lnTo>
                    <a:pt x="899" y="41"/>
                  </a:lnTo>
                  <a:lnTo>
                    <a:pt x="902" y="39"/>
                  </a:lnTo>
                  <a:lnTo>
                    <a:pt x="903" y="38"/>
                  </a:lnTo>
                  <a:lnTo>
                    <a:pt x="903" y="35"/>
                  </a:lnTo>
                  <a:lnTo>
                    <a:pt x="906" y="20"/>
                  </a:lnTo>
                  <a:lnTo>
                    <a:pt x="906" y="20"/>
                  </a:lnTo>
                  <a:lnTo>
                    <a:pt x="908" y="19"/>
                  </a:lnTo>
                  <a:lnTo>
                    <a:pt x="908" y="17"/>
                  </a:lnTo>
                  <a:lnTo>
                    <a:pt x="910" y="16"/>
                  </a:lnTo>
                  <a:lnTo>
                    <a:pt x="913" y="14"/>
                  </a:lnTo>
                  <a:lnTo>
                    <a:pt x="916" y="12"/>
                  </a:lnTo>
                  <a:lnTo>
                    <a:pt x="919" y="10"/>
                  </a:lnTo>
                  <a:lnTo>
                    <a:pt x="925" y="9"/>
                  </a:lnTo>
                  <a:lnTo>
                    <a:pt x="943" y="9"/>
                  </a:lnTo>
                  <a:lnTo>
                    <a:pt x="948" y="9"/>
                  </a:lnTo>
                  <a:lnTo>
                    <a:pt x="966" y="0"/>
                  </a:lnTo>
                  <a:lnTo>
                    <a:pt x="967" y="0"/>
                  </a:lnTo>
                  <a:lnTo>
                    <a:pt x="969" y="0"/>
                  </a:lnTo>
                  <a:lnTo>
                    <a:pt x="975" y="1"/>
                  </a:lnTo>
                  <a:lnTo>
                    <a:pt x="977" y="4"/>
                  </a:lnTo>
                  <a:lnTo>
                    <a:pt x="980" y="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2">
              <a:extLst>
                <a:ext uri="{FF2B5EF4-FFF2-40B4-BE49-F238E27FC236}">
                  <a16:creationId xmlns:a16="http://schemas.microsoft.com/office/drawing/2014/main" id="{7783B927-9DD7-48D8-8C9E-33C2D82CFB11}"/>
                </a:ext>
              </a:extLst>
            </p:cNvPr>
            <p:cNvSpPr>
              <a:spLocks noEditPoints="1"/>
            </p:cNvSpPr>
            <p:nvPr/>
          </p:nvSpPr>
          <p:spPr bwMode="gray">
            <a:xfrm>
              <a:off x="6188076" y="363538"/>
              <a:ext cx="2089150" cy="1476375"/>
            </a:xfrm>
            <a:custGeom>
              <a:avLst/>
              <a:gdLst>
                <a:gd name="T0" fmla="*/ 326 w 1316"/>
                <a:gd name="T1" fmla="*/ 375 h 930"/>
                <a:gd name="T2" fmla="*/ 1118 w 1316"/>
                <a:gd name="T3" fmla="*/ 387 h 930"/>
                <a:gd name="T4" fmla="*/ 1168 w 1316"/>
                <a:gd name="T5" fmla="*/ 372 h 930"/>
                <a:gd name="T6" fmla="*/ 1169 w 1316"/>
                <a:gd name="T7" fmla="*/ 423 h 930"/>
                <a:gd name="T8" fmla="*/ 1203 w 1316"/>
                <a:gd name="T9" fmla="*/ 485 h 930"/>
                <a:gd name="T10" fmla="*/ 1118 w 1316"/>
                <a:gd name="T11" fmla="*/ 313 h 930"/>
                <a:gd name="T12" fmla="*/ 1271 w 1316"/>
                <a:gd name="T13" fmla="*/ 585 h 930"/>
                <a:gd name="T14" fmla="*/ 1193 w 1316"/>
                <a:gd name="T15" fmla="*/ 553 h 930"/>
                <a:gd name="T16" fmla="*/ 1142 w 1316"/>
                <a:gd name="T17" fmla="*/ 441 h 930"/>
                <a:gd name="T18" fmla="*/ 1101 w 1316"/>
                <a:gd name="T19" fmla="*/ 383 h 930"/>
                <a:gd name="T20" fmla="*/ 1009 w 1316"/>
                <a:gd name="T21" fmla="*/ 352 h 930"/>
                <a:gd name="T22" fmla="*/ 954 w 1316"/>
                <a:gd name="T23" fmla="*/ 303 h 930"/>
                <a:gd name="T24" fmla="*/ 862 w 1316"/>
                <a:gd name="T25" fmla="*/ 185 h 930"/>
                <a:gd name="T26" fmla="*/ 763 w 1316"/>
                <a:gd name="T27" fmla="*/ 190 h 930"/>
                <a:gd name="T28" fmla="*/ 735 w 1316"/>
                <a:gd name="T29" fmla="*/ 164 h 930"/>
                <a:gd name="T30" fmla="*/ 652 w 1316"/>
                <a:gd name="T31" fmla="*/ 212 h 930"/>
                <a:gd name="T32" fmla="*/ 611 w 1316"/>
                <a:gd name="T33" fmla="*/ 225 h 930"/>
                <a:gd name="T34" fmla="*/ 692 w 1316"/>
                <a:gd name="T35" fmla="*/ 180 h 930"/>
                <a:gd name="T36" fmla="*/ 726 w 1316"/>
                <a:gd name="T37" fmla="*/ 153 h 930"/>
                <a:gd name="T38" fmla="*/ 638 w 1316"/>
                <a:gd name="T39" fmla="*/ 174 h 930"/>
                <a:gd name="T40" fmla="*/ 520 w 1316"/>
                <a:gd name="T41" fmla="*/ 329 h 930"/>
                <a:gd name="T42" fmla="*/ 355 w 1316"/>
                <a:gd name="T43" fmla="*/ 359 h 930"/>
                <a:gd name="T44" fmla="*/ 304 w 1316"/>
                <a:gd name="T45" fmla="*/ 436 h 930"/>
                <a:gd name="T46" fmla="*/ 209 w 1316"/>
                <a:gd name="T47" fmla="*/ 416 h 930"/>
                <a:gd name="T48" fmla="*/ 110 w 1316"/>
                <a:gd name="T49" fmla="*/ 457 h 930"/>
                <a:gd name="T50" fmla="*/ 106 w 1316"/>
                <a:gd name="T51" fmla="*/ 460 h 930"/>
                <a:gd name="T52" fmla="*/ 55 w 1316"/>
                <a:gd name="T53" fmla="*/ 514 h 930"/>
                <a:gd name="T54" fmla="*/ 91 w 1316"/>
                <a:gd name="T55" fmla="*/ 585 h 930"/>
                <a:gd name="T56" fmla="*/ 122 w 1316"/>
                <a:gd name="T57" fmla="*/ 621 h 930"/>
                <a:gd name="T58" fmla="*/ 113 w 1316"/>
                <a:gd name="T59" fmla="*/ 674 h 930"/>
                <a:gd name="T60" fmla="*/ 78 w 1316"/>
                <a:gd name="T61" fmla="*/ 665 h 930"/>
                <a:gd name="T62" fmla="*/ 34 w 1316"/>
                <a:gd name="T63" fmla="*/ 716 h 930"/>
                <a:gd name="T64" fmla="*/ 2 w 1316"/>
                <a:gd name="T65" fmla="*/ 771 h 930"/>
                <a:gd name="T66" fmla="*/ 176 w 1316"/>
                <a:gd name="T67" fmla="*/ 902 h 930"/>
                <a:gd name="T68" fmla="*/ 249 w 1316"/>
                <a:gd name="T69" fmla="*/ 926 h 930"/>
                <a:gd name="T70" fmla="*/ 324 w 1316"/>
                <a:gd name="T71" fmla="*/ 873 h 930"/>
                <a:gd name="T72" fmla="*/ 464 w 1316"/>
                <a:gd name="T73" fmla="*/ 828 h 930"/>
                <a:gd name="T74" fmla="*/ 540 w 1316"/>
                <a:gd name="T75" fmla="*/ 786 h 930"/>
                <a:gd name="T76" fmla="*/ 630 w 1316"/>
                <a:gd name="T77" fmla="*/ 831 h 930"/>
                <a:gd name="T78" fmla="*/ 744 w 1316"/>
                <a:gd name="T79" fmla="*/ 878 h 930"/>
                <a:gd name="T80" fmla="*/ 815 w 1316"/>
                <a:gd name="T81" fmla="*/ 879 h 930"/>
                <a:gd name="T82" fmla="*/ 866 w 1316"/>
                <a:gd name="T83" fmla="*/ 865 h 930"/>
                <a:gd name="T84" fmla="*/ 895 w 1316"/>
                <a:gd name="T85" fmla="*/ 850 h 930"/>
                <a:gd name="T86" fmla="*/ 992 w 1316"/>
                <a:gd name="T87" fmla="*/ 818 h 930"/>
                <a:gd name="T88" fmla="*/ 1104 w 1316"/>
                <a:gd name="T89" fmla="*/ 677 h 930"/>
                <a:gd name="T90" fmla="*/ 1258 w 1316"/>
                <a:gd name="T91" fmla="*/ 783 h 930"/>
                <a:gd name="T92" fmla="*/ 858 w 1316"/>
                <a:gd name="T93" fmla="*/ 119 h 930"/>
                <a:gd name="T94" fmla="*/ 877 w 1316"/>
                <a:gd name="T95" fmla="*/ 49 h 930"/>
                <a:gd name="T96" fmla="*/ 888 w 1316"/>
                <a:gd name="T97" fmla="*/ 89 h 930"/>
                <a:gd name="T98" fmla="*/ 923 w 1316"/>
                <a:gd name="T99" fmla="*/ 128 h 930"/>
                <a:gd name="T100" fmla="*/ 906 w 1316"/>
                <a:gd name="T101" fmla="*/ 185 h 930"/>
                <a:gd name="T102" fmla="*/ 919 w 1316"/>
                <a:gd name="T103" fmla="*/ 252 h 930"/>
                <a:gd name="T104" fmla="*/ 980 w 1316"/>
                <a:gd name="T105" fmla="*/ 266 h 930"/>
                <a:gd name="T106" fmla="*/ 1050 w 1316"/>
                <a:gd name="T107" fmla="*/ 208 h 930"/>
                <a:gd name="T108" fmla="*/ 1080 w 1316"/>
                <a:gd name="T109" fmla="*/ 230 h 930"/>
                <a:gd name="T110" fmla="*/ 1041 w 1316"/>
                <a:gd name="T111" fmla="*/ 158 h 930"/>
                <a:gd name="T112" fmla="*/ 981 w 1316"/>
                <a:gd name="T113" fmla="*/ 13 h 930"/>
                <a:gd name="T114" fmla="*/ 920 w 1316"/>
                <a:gd name="T115" fmla="*/ 67 h 930"/>
                <a:gd name="T116" fmla="*/ 997 w 1316"/>
                <a:gd name="T117" fmla="*/ 80 h 930"/>
                <a:gd name="T118" fmla="*/ 1009 w 1316"/>
                <a:gd name="T119" fmla="*/ 119 h 930"/>
                <a:gd name="T120" fmla="*/ 957 w 1316"/>
                <a:gd name="T121" fmla="*/ 84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6" h="930">
                  <a:moveTo>
                    <a:pt x="279" y="428"/>
                  </a:moveTo>
                  <a:lnTo>
                    <a:pt x="285" y="428"/>
                  </a:lnTo>
                  <a:lnTo>
                    <a:pt x="289" y="423"/>
                  </a:lnTo>
                  <a:lnTo>
                    <a:pt x="288" y="416"/>
                  </a:lnTo>
                  <a:lnTo>
                    <a:pt x="289" y="410"/>
                  </a:lnTo>
                  <a:lnTo>
                    <a:pt x="292" y="410"/>
                  </a:lnTo>
                  <a:lnTo>
                    <a:pt x="294" y="418"/>
                  </a:lnTo>
                  <a:lnTo>
                    <a:pt x="292" y="428"/>
                  </a:lnTo>
                  <a:lnTo>
                    <a:pt x="292" y="432"/>
                  </a:lnTo>
                  <a:lnTo>
                    <a:pt x="297" y="432"/>
                  </a:lnTo>
                  <a:lnTo>
                    <a:pt x="301" y="426"/>
                  </a:lnTo>
                  <a:lnTo>
                    <a:pt x="311" y="396"/>
                  </a:lnTo>
                  <a:lnTo>
                    <a:pt x="300" y="391"/>
                  </a:lnTo>
                  <a:lnTo>
                    <a:pt x="287" y="396"/>
                  </a:lnTo>
                  <a:lnTo>
                    <a:pt x="273" y="406"/>
                  </a:lnTo>
                  <a:lnTo>
                    <a:pt x="268" y="420"/>
                  </a:lnTo>
                  <a:lnTo>
                    <a:pt x="273" y="425"/>
                  </a:lnTo>
                  <a:lnTo>
                    <a:pt x="279" y="428"/>
                  </a:lnTo>
                  <a:close/>
                  <a:moveTo>
                    <a:pt x="326" y="375"/>
                  </a:moveTo>
                  <a:lnTo>
                    <a:pt x="330" y="367"/>
                  </a:lnTo>
                  <a:lnTo>
                    <a:pt x="346" y="352"/>
                  </a:lnTo>
                  <a:lnTo>
                    <a:pt x="352" y="343"/>
                  </a:lnTo>
                  <a:lnTo>
                    <a:pt x="346" y="348"/>
                  </a:lnTo>
                  <a:lnTo>
                    <a:pt x="323" y="359"/>
                  </a:lnTo>
                  <a:lnTo>
                    <a:pt x="321" y="364"/>
                  </a:lnTo>
                  <a:lnTo>
                    <a:pt x="321" y="365"/>
                  </a:lnTo>
                  <a:lnTo>
                    <a:pt x="323" y="375"/>
                  </a:lnTo>
                  <a:lnTo>
                    <a:pt x="326" y="375"/>
                  </a:lnTo>
                  <a:close/>
                  <a:moveTo>
                    <a:pt x="1095" y="319"/>
                  </a:moveTo>
                  <a:lnTo>
                    <a:pt x="1098" y="326"/>
                  </a:lnTo>
                  <a:lnTo>
                    <a:pt x="1113" y="340"/>
                  </a:lnTo>
                  <a:lnTo>
                    <a:pt x="1115" y="349"/>
                  </a:lnTo>
                  <a:lnTo>
                    <a:pt x="1114" y="365"/>
                  </a:lnTo>
                  <a:lnTo>
                    <a:pt x="1104" y="384"/>
                  </a:lnTo>
                  <a:lnTo>
                    <a:pt x="1102" y="396"/>
                  </a:lnTo>
                  <a:lnTo>
                    <a:pt x="1108" y="399"/>
                  </a:lnTo>
                  <a:lnTo>
                    <a:pt x="1114" y="394"/>
                  </a:lnTo>
                  <a:lnTo>
                    <a:pt x="1118" y="387"/>
                  </a:lnTo>
                  <a:lnTo>
                    <a:pt x="1130" y="383"/>
                  </a:lnTo>
                  <a:lnTo>
                    <a:pt x="1133" y="380"/>
                  </a:lnTo>
                  <a:lnTo>
                    <a:pt x="1136" y="381"/>
                  </a:lnTo>
                  <a:lnTo>
                    <a:pt x="1137" y="388"/>
                  </a:lnTo>
                  <a:lnTo>
                    <a:pt x="1136" y="391"/>
                  </a:lnTo>
                  <a:lnTo>
                    <a:pt x="1133" y="396"/>
                  </a:lnTo>
                  <a:lnTo>
                    <a:pt x="1131" y="400"/>
                  </a:lnTo>
                  <a:lnTo>
                    <a:pt x="1130" y="407"/>
                  </a:lnTo>
                  <a:lnTo>
                    <a:pt x="1142" y="403"/>
                  </a:lnTo>
                  <a:lnTo>
                    <a:pt x="1145" y="402"/>
                  </a:lnTo>
                  <a:lnTo>
                    <a:pt x="1146" y="397"/>
                  </a:lnTo>
                  <a:lnTo>
                    <a:pt x="1147" y="393"/>
                  </a:lnTo>
                  <a:lnTo>
                    <a:pt x="1152" y="390"/>
                  </a:lnTo>
                  <a:lnTo>
                    <a:pt x="1155" y="388"/>
                  </a:lnTo>
                  <a:lnTo>
                    <a:pt x="1155" y="384"/>
                  </a:lnTo>
                  <a:lnTo>
                    <a:pt x="1150" y="375"/>
                  </a:lnTo>
                  <a:lnTo>
                    <a:pt x="1155" y="371"/>
                  </a:lnTo>
                  <a:lnTo>
                    <a:pt x="1162" y="370"/>
                  </a:lnTo>
                  <a:lnTo>
                    <a:pt x="1168" y="372"/>
                  </a:lnTo>
                  <a:lnTo>
                    <a:pt x="1174" y="377"/>
                  </a:lnTo>
                  <a:lnTo>
                    <a:pt x="1178" y="383"/>
                  </a:lnTo>
                  <a:lnTo>
                    <a:pt x="1182" y="390"/>
                  </a:lnTo>
                  <a:lnTo>
                    <a:pt x="1185" y="400"/>
                  </a:lnTo>
                  <a:lnTo>
                    <a:pt x="1193" y="397"/>
                  </a:lnTo>
                  <a:lnTo>
                    <a:pt x="1198" y="406"/>
                  </a:lnTo>
                  <a:lnTo>
                    <a:pt x="1198" y="422"/>
                  </a:lnTo>
                  <a:lnTo>
                    <a:pt x="1194" y="436"/>
                  </a:lnTo>
                  <a:lnTo>
                    <a:pt x="1197" y="444"/>
                  </a:lnTo>
                  <a:lnTo>
                    <a:pt x="1185" y="441"/>
                  </a:lnTo>
                  <a:lnTo>
                    <a:pt x="1185" y="436"/>
                  </a:lnTo>
                  <a:lnTo>
                    <a:pt x="1187" y="435"/>
                  </a:lnTo>
                  <a:lnTo>
                    <a:pt x="1188" y="434"/>
                  </a:lnTo>
                  <a:lnTo>
                    <a:pt x="1190" y="432"/>
                  </a:lnTo>
                  <a:lnTo>
                    <a:pt x="1175" y="432"/>
                  </a:lnTo>
                  <a:lnTo>
                    <a:pt x="1171" y="435"/>
                  </a:lnTo>
                  <a:lnTo>
                    <a:pt x="1166" y="444"/>
                  </a:lnTo>
                  <a:lnTo>
                    <a:pt x="1166" y="435"/>
                  </a:lnTo>
                  <a:lnTo>
                    <a:pt x="1169" y="423"/>
                  </a:lnTo>
                  <a:lnTo>
                    <a:pt x="1168" y="420"/>
                  </a:lnTo>
                  <a:lnTo>
                    <a:pt x="1171" y="416"/>
                  </a:lnTo>
                  <a:lnTo>
                    <a:pt x="1165" y="413"/>
                  </a:lnTo>
                  <a:lnTo>
                    <a:pt x="1147" y="412"/>
                  </a:lnTo>
                  <a:lnTo>
                    <a:pt x="1146" y="428"/>
                  </a:lnTo>
                  <a:lnTo>
                    <a:pt x="1159" y="451"/>
                  </a:lnTo>
                  <a:lnTo>
                    <a:pt x="1156" y="469"/>
                  </a:lnTo>
                  <a:lnTo>
                    <a:pt x="1153" y="471"/>
                  </a:lnTo>
                  <a:lnTo>
                    <a:pt x="1142" y="479"/>
                  </a:lnTo>
                  <a:lnTo>
                    <a:pt x="1130" y="482"/>
                  </a:lnTo>
                  <a:lnTo>
                    <a:pt x="1123" y="487"/>
                  </a:lnTo>
                  <a:lnTo>
                    <a:pt x="1118" y="489"/>
                  </a:lnTo>
                  <a:lnTo>
                    <a:pt x="1124" y="498"/>
                  </a:lnTo>
                  <a:lnTo>
                    <a:pt x="1137" y="501"/>
                  </a:lnTo>
                  <a:lnTo>
                    <a:pt x="1159" y="501"/>
                  </a:lnTo>
                  <a:lnTo>
                    <a:pt x="1178" y="495"/>
                  </a:lnTo>
                  <a:lnTo>
                    <a:pt x="1188" y="489"/>
                  </a:lnTo>
                  <a:lnTo>
                    <a:pt x="1197" y="480"/>
                  </a:lnTo>
                  <a:lnTo>
                    <a:pt x="1203" y="485"/>
                  </a:lnTo>
                  <a:lnTo>
                    <a:pt x="1210" y="486"/>
                  </a:lnTo>
                  <a:lnTo>
                    <a:pt x="1249" y="482"/>
                  </a:lnTo>
                  <a:lnTo>
                    <a:pt x="1249" y="482"/>
                  </a:lnTo>
                  <a:lnTo>
                    <a:pt x="1247" y="471"/>
                  </a:lnTo>
                  <a:lnTo>
                    <a:pt x="1241" y="464"/>
                  </a:lnTo>
                  <a:lnTo>
                    <a:pt x="1241" y="464"/>
                  </a:lnTo>
                  <a:lnTo>
                    <a:pt x="1244" y="463"/>
                  </a:lnTo>
                  <a:lnTo>
                    <a:pt x="1247" y="461"/>
                  </a:lnTo>
                  <a:lnTo>
                    <a:pt x="1247" y="461"/>
                  </a:lnTo>
                  <a:lnTo>
                    <a:pt x="1252" y="445"/>
                  </a:lnTo>
                  <a:lnTo>
                    <a:pt x="1252" y="445"/>
                  </a:lnTo>
                  <a:lnTo>
                    <a:pt x="1247" y="441"/>
                  </a:lnTo>
                  <a:lnTo>
                    <a:pt x="1185" y="374"/>
                  </a:lnTo>
                  <a:lnTo>
                    <a:pt x="1175" y="367"/>
                  </a:lnTo>
                  <a:lnTo>
                    <a:pt x="1162" y="362"/>
                  </a:lnTo>
                  <a:lnTo>
                    <a:pt x="1139" y="349"/>
                  </a:lnTo>
                  <a:lnTo>
                    <a:pt x="1130" y="339"/>
                  </a:lnTo>
                  <a:lnTo>
                    <a:pt x="1126" y="332"/>
                  </a:lnTo>
                  <a:lnTo>
                    <a:pt x="1118" y="313"/>
                  </a:lnTo>
                  <a:lnTo>
                    <a:pt x="1115" y="307"/>
                  </a:lnTo>
                  <a:lnTo>
                    <a:pt x="1110" y="304"/>
                  </a:lnTo>
                  <a:lnTo>
                    <a:pt x="1102" y="307"/>
                  </a:lnTo>
                  <a:lnTo>
                    <a:pt x="1098" y="313"/>
                  </a:lnTo>
                  <a:lnTo>
                    <a:pt x="1095" y="319"/>
                  </a:lnTo>
                  <a:close/>
                  <a:moveTo>
                    <a:pt x="1309" y="766"/>
                  </a:moveTo>
                  <a:lnTo>
                    <a:pt x="1305" y="735"/>
                  </a:lnTo>
                  <a:lnTo>
                    <a:pt x="1298" y="722"/>
                  </a:lnTo>
                  <a:lnTo>
                    <a:pt x="1295" y="710"/>
                  </a:lnTo>
                  <a:lnTo>
                    <a:pt x="1286" y="697"/>
                  </a:lnTo>
                  <a:lnTo>
                    <a:pt x="1283" y="685"/>
                  </a:lnTo>
                  <a:lnTo>
                    <a:pt x="1283" y="672"/>
                  </a:lnTo>
                  <a:lnTo>
                    <a:pt x="1284" y="651"/>
                  </a:lnTo>
                  <a:lnTo>
                    <a:pt x="1283" y="645"/>
                  </a:lnTo>
                  <a:lnTo>
                    <a:pt x="1276" y="623"/>
                  </a:lnTo>
                  <a:lnTo>
                    <a:pt x="1271" y="611"/>
                  </a:lnTo>
                  <a:lnTo>
                    <a:pt x="1273" y="602"/>
                  </a:lnTo>
                  <a:lnTo>
                    <a:pt x="1271" y="585"/>
                  </a:lnTo>
                  <a:lnTo>
                    <a:pt x="1271" y="585"/>
                  </a:lnTo>
                  <a:lnTo>
                    <a:pt x="1270" y="586"/>
                  </a:lnTo>
                  <a:lnTo>
                    <a:pt x="1264" y="585"/>
                  </a:lnTo>
                  <a:lnTo>
                    <a:pt x="1258" y="584"/>
                  </a:lnTo>
                  <a:lnTo>
                    <a:pt x="1254" y="581"/>
                  </a:lnTo>
                  <a:lnTo>
                    <a:pt x="1270" y="569"/>
                  </a:lnTo>
                  <a:lnTo>
                    <a:pt x="1270" y="569"/>
                  </a:lnTo>
                  <a:lnTo>
                    <a:pt x="1273" y="565"/>
                  </a:lnTo>
                  <a:lnTo>
                    <a:pt x="1273" y="556"/>
                  </a:lnTo>
                  <a:lnTo>
                    <a:pt x="1270" y="554"/>
                  </a:lnTo>
                  <a:lnTo>
                    <a:pt x="1267" y="550"/>
                  </a:lnTo>
                  <a:lnTo>
                    <a:pt x="1261" y="550"/>
                  </a:lnTo>
                  <a:lnTo>
                    <a:pt x="1258" y="552"/>
                  </a:lnTo>
                  <a:lnTo>
                    <a:pt x="1255" y="559"/>
                  </a:lnTo>
                  <a:lnTo>
                    <a:pt x="1245" y="562"/>
                  </a:lnTo>
                  <a:lnTo>
                    <a:pt x="1217" y="560"/>
                  </a:lnTo>
                  <a:lnTo>
                    <a:pt x="1213" y="559"/>
                  </a:lnTo>
                  <a:lnTo>
                    <a:pt x="1204" y="553"/>
                  </a:lnTo>
                  <a:lnTo>
                    <a:pt x="1201" y="553"/>
                  </a:lnTo>
                  <a:lnTo>
                    <a:pt x="1193" y="553"/>
                  </a:lnTo>
                  <a:lnTo>
                    <a:pt x="1191" y="552"/>
                  </a:lnTo>
                  <a:lnTo>
                    <a:pt x="1187" y="544"/>
                  </a:lnTo>
                  <a:lnTo>
                    <a:pt x="1175" y="543"/>
                  </a:lnTo>
                  <a:lnTo>
                    <a:pt x="1149" y="521"/>
                  </a:lnTo>
                  <a:lnTo>
                    <a:pt x="1146" y="521"/>
                  </a:lnTo>
                  <a:lnTo>
                    <a:pt x="1140" y="517"/>
                  </a:lnTo>
                  <a:lnTo>
                    <a:pt x="1134" y="509"/>
                  </a:lnTo>
                  <a:lnTo>
                    <a:pt x="1133" y="503"/>
                  </a:lnTo>
                  <a:lnTo>
                    <a:pt x="1130" y="501"/>
                  </a:lnTo>
                  <a:lnTo>
                    <a:pt x="1123" y="499"/>
                  </a:lnTo>
                  <a:lnTo>
                    <a:pt x="1117" y="496"/>
                  </a:lnTo>
                  <a:lnTo>
                    <a:pt x="1114" y="489"/>
                  </a:lnTo>
                  <a:lnTo>
                    <a:pt x="1117" y="482"/>
                  </a:lnTo>
                  <a:lnTo>
                    <a:pt x="1142" y="461"/>
                  </a:lnTo>
                  <a:lnTo>
                    <a:pt x="1146" y="455"/>
                  </a:lnTo>
                  <a:lnTo>
                    <a:pt x="1147" y="448"/>
                  </a:lnTo>
                  <a:lnTo>
                    <a:pt x="1147" y="442"/>
                  </a:lnTo>
                  <a:lnTo>
                    <a:pt x="1143" y="441"/>
                  </a:lnTo>
                  <a:lnTo>
                    <a:pt x="1142" y="441"/>
                  </a:lnTo>
                  <a:lnTo>
                    <a:pt x="1139" y="439"/>
                  </a:lnTo>
                  <a:lnTo>
                    <a:pt x="1137" y="438"/>
                  </a:lnTo>
                  <a:lnTo>
                    <a:pt x="1136" y="436"/>
                  </a:lnTo>
                  <a:lnTo>
                    <a:pt x="1134" y="436"/>
                  </a:lnTo>
                  <a:lnTo>
                    <a:pt x="1129" y="436"/>
                  </a:lnTo>
                  <a:lnTo>
                    <a:pt x="1127" y="435"/>
                  </a:lnTo>
                  <a:lnTo>
                    <a:pt x="1127" y="434"/>
                  </a:lnTo>
                  <a:lnTo>
                    <a:pt x="1129" y="431"/>
                  </a:lnTo>
                  <a:lnTo>
                    <a:pt x="1127" y="428"/>
                  </a:lnTo>
                  <a:lnTo>
                    <a:pt x="1127" y="426"/>
                  </a:lnTo>
                  <a:lnTo>
                    <a:pt x="1126" y="422"/>
                  </a:lnTo>
                  <a:lnTo>
                    <a:pt x="1124" y="418"/>
                  </a:lnTo>
                  <a:lnTo>
                    <a:pt x="1121" y="416"/>
                  </a:lnTo>
                  <a:lnTo>
                    <a:pt x="1113" y="412"/>
                  </a:lnTo>
                  <a:lnTo>
                    <a:pt x="1110" y="410"/>
                  </a:lnTo>
                  <a:lnTo>
                    <a:pt x="1107" y="404"/>
                  </a:lnTo>
                  <a:lnTo>
                    <a:pt x="1097" y="391"/>
                  </a:lnTo>
                  <a:lnTo>
                    <a:pt x="1092" y="388"/>
                  </a:lnTo>
                  <a:lnTo>
                    <a:pt x="1101" y="383"/>
                  </a:lnTo>
                  <a:lnTo>
                    <a:pt x="1105" y="371"/>
                  </a:lnTo>
                  <a:lnTo>
                    <a:pt x="1108" y="361"/>
                  </a:lnTo>
                  <a:lnTo>
                    <a:pt x="1114" y="352"/>
                  </a:lnTo>
                  <a:lnTo>
                    <a:pt x="1114" y="348"/>
                  </a:lnTo>
                  <a:lnTo>
                    <a:pt x="1086" y="324"/>
                  </a:lnTo>
                  <a:lnTo>
                    <a:pt x="1075" y="319"/>
                  </a:lnTo>
                  <a:lnTo>
                    <a:pt x="1075" y="316"/>
                  </a:lnTo>
                  <a:lnTo>
                    <a:pt x="1079" y="314"/>
                  </a:lnTo>
                  <a:lnTo>
                    <a:pt x="1080" y="313"/>
                  </a:lnTo>
                  <a:lnTo>
                    <a:pt x="1082" y="310"/>
                  </a:lnTo>
                  <a:lnTo>
                    <a:pt x="1080" y="307"/>
                  </a:lnTo>
                  <a:lnTo>
                    <a:pt x="1070" y="310"/>
                  </a:lnTo>
                  <a:lnTo>
                    <a:pt x="1053" y="321"/>
                  </a:lnTo>
                  <a:lnTo>
                    <a:pt x="1043" y="327"/>
                  </a:lnTo>
                  <a:lnTo>
                    <a:pt x="999" y="336"/>
                  </a:lnTo>
                  <a:lnTo>
                    <a:pt x="999" y="339"/>
                  </a:lnTo>
                  <a:lnTo>
                    <a:pt x="1002" y="342"/>
                  </a:lnTo>
                  <a:lnTo>
                    <a:pt x="1006" y="349"/>
                  </a:lnTo>
                  <a:lnTo>
                    <a:pt x="1009" y="352"/>
                  </a:lnTo>
                  <a:lnTo>
                    <a:pt x="1009" y="355"/>
                  </a:lnTo>
                  <a:lnTo>
                    <a:pt x="1000" y="355"/>
                  </a:lnTo>
                  <a:lnTo>
                    <a:pt x="995" y="351"/>
                  </a:lnTo>
                  <a:lnTo>
                    <a:pt x="989" y="345"/>
                  </a:lnTo>
                  <a:lnTo>
                    <a:pt x="984" y="336"/>
                  </a:lnTo>
                  <a:lnTo>
                    <a:pt x="980" y="321"/>
                  </a:lnTo>
                  <a:lnTo>
                    <a:pt x="979" y="319"/>
                  </a:lnTo>
                  <a:lnTo>
                    <a:pt x="974" y="319"/>
                  </a:lnTo>
                  <a:lnTo>
                    <a:pt x="973" y="320"/>
                  </a:lnTo>
                  <a:lnTo>
                    <a:pt x="970" y="321"/>
                  </a:lnTo>
                  <a:lnTo>
                    <a:pt x="965" y="319"/>
                  </a:lnTo>
                  <a:lnTo>
                    <a:pt x="968" y="317"/>
                  </a:lnTo>
                  <a:lnTo>
                    <a:pt x="970" y="314"/>
                  </a:lnTo>
                  <a:lnTo>
                    <a:pt x="973" y="307"/>
                  </a:lnTo>
                  <a:lnTo>
                    <a:pt x="965" y="304"/>
                  </a:lnTo>
                  <a:lnTo>
                    <a:pt x="954" y="311"/>
                  </a:lnTo>
                  <a:lnTo>
                    <a:pt x="945" y="311"/>
                  </a:lnTo>
                  <a:lnTo>
                    <a:pt x="948" y="307"/>
                  </a:lnTo>
                  <a:lnTo>
                    <a:pt x="954" y="303"/>
                  </a:lnTo>
                  <a:lnTo>
                    <a:pt x="945" y="294"/>
                  </a:lnTo>
                  <a:lnTo>
                    <a:pt x="933" y="270"/>
                  </a:lnTo>
                  <a:lnTo>
                    <a:pt x="925" y="266"/>
                  </a:lnTo>
                  <a:lnTo>
                    <a:pt x="911" y="263"/>
                  </a:lnTo>
                  <a:lnTo>
                    <a:pt x="894" y="253"/>
                  </a:lnTo>
                  <a:lnTo>
                    <a:pt x="882" y="254"/>
                  </a:lnTo>
                  <a:lnTo>
                    <a:pt x="887" y="252"/>
                  </a:lnTo>
                  <a:lnTo>
                    <a:pt x="888" y="250"/>
                  </a:lnTo>
                  <a:lnTo>
                    <a:pt x="893" y="250"/>
                  </a:lnTo>
                  <a:lnTo>
                    <a:pt x="893" y="246"/>
                  </a:lnTo>
                  <a:lnTo>
                    <a:pt x="877" y="246"/>
                  </a:lnTo>
                  <a:lnTo>
                    <a:pt x="872" y="244"/>
                  </a:lnTo>
                  <a:lnTo>
                    <a:pt x="872" y="238"/>
                  </a:lnTo>
                  <a:lnTo>
                    <a:pt x="872" y="233"/>
                  </a:lnTo>
                  <a:lnTo>
                    <a:pt x="871" y="225"/>
                  </a:lnTo>
                  <a:lnTo>
                    <a:pt x="861" y="209"/>
                  </a:lnTo>
                  <a:lnTo>
                    <a:pt x="859" y="201"/>
                  </a:lnTo>
                  <a:lnTo>
                    <a:pt x="866" y="189"/>
                  </a:lnTo>
                  <a:lnTo>
                    <a:pt x="862" y="185"/>
                  </a:lnTo>
                  <a:lnTo>
                    <a:pt x="847" y="177"/>
                  </a:lnTo>
                  <a:lnTo>
                    <a:pt x="843" y="171"/>
                  </a:lnTo>
                  <a:lnTo>
                    <a:pt x="840" y="164"/>
                  </a:lnTo>
                  <a:lnTo>
                    <a:pt x="840" y="157"/>
                  </a:lnTo>
                  <a:lnTo>
                    <a:pt x="844" y="153"/>
                  </a:lnTo>
                  <a:lnTo>
                    <a:pt x="836" y="150"/>
                  </a:lnTo>
                  <a:lnTo>
                    <a:pt x="823" y="155"/>
                  </a:lnTo>
                  <a:lnTo>
                    <a:pt x="808" y="164"/>
                  </a:lnTo>
                  <a:lnTo>
                    <a:pt x="799" y="173"/>
                  </a:lnTo>
                  <a:lnTo>
                    <a:pt x="796" y="179"/>
                  </a:lnTo>
                  <a:lnTo>
                    <a:pt x="792" y="188"/>
                  </a:lnTo>
                  <a:lnTo>
                    <a:pt x="789" y="193"/>
                  </a:lnTo>
                  <a:lnTo>
                    <a:pt x="786" y="196"/>
                  </a:lnTo>
                  <a:lnTo>
                    <a:pt x="782" y="198"/>
                  </a:lnTo>
                  <a:lnTo>
                    <a:pt x="776" y="198"/>
                  </a:lnTo>
                  <a:lnTo>
                    <a:pt x="772" y="198"/>
                  </a:lnTo>
                  <a:lnTo>
                    <a:pt x="770" y="198"/>
                  </a:lnTo>
                  <a:lnTo>
                    <a:pt x="769" y="198"/>
                  </a:lnTo>
                  <a:lnTo>
                    <a:pt x="763" y="190"/>
                  </a:lnTo>
                  <a:lnTo>
                    <a:pt x="761" y="186"/>
                  </a:lnTo>
                  <a:lnTo>
                    <a:pt x="760" y="182"/>
                  </a:lnTo>
                  <a:lnTo>
                    <a:pt x="759" y="177"/>
                  </a:lnTo>
                  <a:lnTo>
                    <a:pt x="756" y="182"/>
                  </a:lnTo>
                  <a:lnTo>
                    <a:pt x="753" y="185"/>
                  </a:lnTo>
                  <a:lnTo>
                    <a:pt x="748" y="185"/>
                  </a:lnTo>
                  <a:lnTo>
                    <a:pt x="744" y="180"/>
                  </a:lnTo>
                  <a:lnTo>
                    <a:pt x="741" y="186"/>
                  </a:lnTo>
                  <a:lnTo>
                    <a:pt x="737" y="183"/>
                  </a:lnTo>
                  <a:lnTo>
                    <a:pt x="734" y="179"/>
                  </a:lnTo>
                  <a:lnTo>
                    <a:pt x="729" y="173"/>
                  </a:lnTo>
                  <a:lnTo>
                    <a:pt x="729" y="177"/>
                  </a:lnTo>
                  <a:lnTo>
                    <a:pt x="728" y="182"/>
                  </a:lnTo>
                  <a:lnTo>
                    <a:pt x="724" y="189"/>
                  </a:lnTo>
                  <a:lnTo>
                    <a:pt x="724" y="182"/>
                  </a:lnTo>
                  <a:lnTo>
                    <a:pt x="726" y="174"/>
                  </a:lnTo>
                  <a:lnTo>
                    <a:pt x="729" y="170"/>
                  </a:lnTo>
                  <a:lnTo>
                    <a:pt x="735" y="169"/>
                  </a:lnTo>
                  <a:lnTo>
                    <a:pt x="735" y="164"/>
                  </a:lnTo>
                  <a:lnTo>
                    <a:pt x="731" y="164"/>
                  </a:lnTo>
                  <a:lnTo>
                    <a:pt x="726" y="164"/>
                  </a:lnTo>
                  <a:lnTo>
                    <a:pt x="722" y="166"/>
                  </a:lnTo>
                  <a:lnTo>
                    <a:pt x="718" y="169"/>
                  </a:lnTo>
                  <a:lnTo>
                    <a:pt x="719" y="170"/>
                  </a:lnTo>
                  <a:lnTo>
                    <a:pt x="719" y="174"/>
                  </a:lnTo>
                  <a:lnTo>
                    <a:pt x="721" y="177"/>
                  </a:lnTo>
                  <a:lnTo>
                    <a:pt x="702" y="188"/>
                  </a:lnTo>
                  <a:lnTo>
                    <a:pt x="692" y="190"/>
                  </a:lnTo>
                  <a:lnTo>
                    <a:pt x="684" y="185"/>
                  </a:lnTo>
                  <a:lnTo>
                    <a:pt x="684" y="189"/>
                  </a:lnTo>
                  <a:lnTo>
                    <a:pt x="681" y="186"/>
                  </a:lnTo>
                  <a:lnTo>
                    <a:pt x="680" y="186"/>
                  </a:lnTo>
                  <a:lnTo>
                    <a:pt x="673" y="189"/>
                  </a:lnTo>
                  <a:lnTo>
                    <a:pt x="673" y="193"/>
                  </a:lnTo>
                  <a:lnTo>
                    <a:pt x="675" y="193"/>
                  </a:lnTo>
                  <a:lnTo>
                    <a:pt x="680" y="198"/>
                  </a:lnTo>
                  <a:lnTo>
                    <a:pt x="658" y="208"/>
                  </a:lnTo>
                  <a:lnTo>
                    <a:pt x="652" y="212"/>
                  </a:lnTo>
                  <a:lnTo>
                    <a:pt x="651" y="215"/>
                  </a:lnTo>
                  <a:lnTo>
                    <a:pt x="651" y="222"/>
                  </a:lnTo>
                  <a:lnTo>
                    <a:pt x="649" y="225"/>
                  </a:lnTo>
                  <a:lnTo>
                    <a:pt x="648" y="227"/>
                  </a:lnTo>
                  <a:lnTo>
                    <a:pt x="643" y="228"/>
                  </a:lnTo>
                  <a:lnTo>
                    <a:pt x="642" y="230"/>
                  </a:lnTo>
                  <a:lnTo>
                    <a:pt x="633" y="238"/>
                  </a:lnTo>
                  <a:lnTo>
                    <a:pt x="630" y="243"/>
                  </a:lnTo>
                  <a:lnTo>
                    <a:pt x="627" y="250"/>
                  </a:lnTo>
                  <a:lnTo>
                    <a:pt x="635" y="256"/>
                  </a:lnTo>
                  <a:lnTo>
                    <a:pt x="639" y="259"/>
                  </a:lnTo>
                  <a:lnTo>
                    <a:pt x="645" y="259"/>
                  </a:lnTo>
                  <a:lnTo>
                    <a:pt x="638" y="263"/>
                  </a:lnTo>
                  <a:lnTo>
                    <a:pt x="629" y="260"/>
                  </a:lnTo>
                  <a:lnTo>
                    <a:pt x="613" y="250"/>
                  </a:lnTo>
                  <a:lnTo>
                    <a:pt x="617" y="246"/>
                  </a:lnTo>
                  <a:lnTo>
                    <a:pt x="617" y="240"/>
                  </a:lnTo>
                  <a:lnTo>
                    <a:pt x="614" y="234"/>
                  </a:lnTo>
                  <a:lnTo>
                    <a:pt x="611" y="225"/>
                  </a:lnTo>
                  <a:lnTo>
                    <a:pt x="617" y="224"/>
                  </a:lnTo>
                  <a:lnTo>
                    <a:pt x="622" y="220"/>
                  </a:lnTo>
                  <a:lnTo>
                    <a:pt x="623" y="212"/>
                  </a:lnTo>
                  <a:lnTo>
                    <a:pt x="620" y="205"/>
                  </a:lnTo>
                  <a:lnTo>
                    <a:pt x="623" y="201"/>
                  </a:lnTo>
                  <a:lnTo>
                    <a:pt x="626" y="204"/>
                  </a:lnTo>
                  <a:lnTo>
                    <a:pt x="627" y="204"/>
                  </a:lnTo>
                  <a:lnTo>
                    <a:pt x="633" y="205"/>
                  </a:lnTo>
                  <a:lnTo>
                    <a:pt x="630" y="196"/>
                  </a:lnTo>
                  <a:lnTo>
                    <a:pt x="633" y="186"/>
                  </a:lnTo>
                  <a:lnTo>
                    <a:pt x="638" y="180"/>
                  </a:lnTo>
                  <a:lnTo>
                    <a:pt x="643" y="177"/>
                  </a:lnTo>
                  <a:lnTo>
                    <a:pt x="655" y="179"/>
                  </a:lnTo>
                  <a:lnTo>
                    <a:pt x="662" y="182"/>
                  </a:lnTo>
                  <a:lnTo>
                    <a:pt x="668" y="189"/>
                  </a:lnTo>
                  <a:lnTo>
                    <a:pt x="671" y="182"/>
                  </a:lnTo>
                  <a:lnTo>
                    <a:pt x="678" y="177"/>
                  </a:lnTo>
                  <a:lnTo>
                    <a:pt x="686" y="177"/>
                  </a:lnTo>
                  <a:lnTo>
                    <a:pt x="692" y="180"/>
                  </a:lnTo>
                  <a:lnTo>
                    <a:pt x="692" y="179"/>
                  </a:lnTo>
                  <a:lnTo>
                    <a:pt x="693" y="177"/>
                  </a:lnTo>
                  <a:lnTo>
                    <a:pt x="693" y="177"/>
                  </a:lnTo>
                  <a:lnTo>
                    <a:pt x="694" y="177"/>
                  </a:lnTo>
                  <a:lnTo>
                    <a:pt x="692" y="177"/>
                  </a:lnTo>
                  <a:lnTo>
                    <a:pt x="690" y="176"/>
                  </a:lnTo>
                  <a:lnTo>
                    <a:pt x="689" y="173"/>
                  </a:lnTo>
                  <a:lnTo>
                    <a:pt x="687" y="169"/>
                  </a:lnTo>
                  <a:lnTo>
                    <a:pt x="690" y="169"/>
                  </a:lnTo>
                  <a:lnTo>
                    <a:pt x="693" y="166"/>
                  </a:lnTo>
                  <a:lnTo>
                    <a:pt x="694" y="164"/>
                  </a:lnTo>
                  <a:lnTo>
                    <a:pt x="696" y="169"/>
                  </a:lnTo>
                  <a:lnTo>
                    <a:pt x="699" y="161"/>
                  </a:lnTo>
                  <a:lnTo>
                    <a:pt x="702" y="158"/>
                  </a:lnTo>
                  <a:lnTo>
                    <a:pt x="710" y="160"/>
                  </a:lnTo>
                  <a:lnTo>
                    <a:pt x="718" y="160"/>
                  </a:lnTo>
                  <a:lnTo>
                    <a:pt x="721" y="158"/>
                  </a:lnTo>
                  <a:lnTo>
                    <a:pt x="724" y="154"/>
                  </a:lnTo>
                  <a:lnTo>
                    <a:pt x="726" y="153"/>
                  </a:lnTo>
                  <a:lnTo>
                    <a:pt x="735" y="154"/>
                  </a:lnTo>
                  <a:lnTo>
                    <a:pt x="751" y="160"/>
                  </a:lnTo>
                  <a:lnTo>
                    <a:pt x="788" y="163"/>
                  </a:lnTo>
                  <a:lnTo>
                    <a:pt x="796" y="160"/>
                  </a:lnTo>
                  <a:lnTo>
                    <a:pt x="805" y="153"/>
                  </a:lnTo>
                  <a:lnTo>
                    <a:pt x="801" y="145"/>
                  </a:lnTo>
                  <a:lnTo>
                    <a:pt x="791" y="144"/>
                  </a:lnTo>
                  <a:lnTo>
                    <a:pt x="783" y="148"/>
                  </a:lnTo>
                  <a:lnTo>
                    <a:pt x="770" y="141"/>
                  </a:lnTo>
                  <a:lnTo>
                    <a:pt x="690" y="141"/>
                  </a:lnTo>
                  <a:lnTo>
                    <a:pt x="675" y="135"/>
                  </a:lnTo>
                  <a:lnTo>
                    <a:pt x="668" y="123"/>
                  </a:lnTo>
                  <a:lnTo>
                    <a:pt x="671" y="123"/>
                  </a:lnTo>
                  <a:lnTo>
                    <a:pt x="671" y="119"/>
                  </a:lnTo>
                  <a:lnTo>
                    <a:pt x="664" y="123"/>
                  </a:lnTo>
                  <a:lnTo>
                    <a:pt x="659" y="128"/>
                  </a:lnTo>
                  <a:lnTo>
                    <a:pt x="654" y="144"/>
                  </a:lnTo>
                  <a:lnTo>
                    <a:pt x="639" y="169"/>
                  </a:lnTo>
                  <a:lnTo>
                    <a:pt x="638" y="174"/>
                  </a:lnTo>
                  <a:lnTo>
                    <a:pt x="617" y="205"/>
                  </a:lnTo>
                  <a:lnTo>
                    <a:pt x="604" y="230"/>
                  </a:lnTo>
                  <a:lnTo>
                    <a:pt x="598" y="236"/>
                  </a:lnTo>
                  <a:lnTo>
                    <a:pt x="585" y="247"/>
                  </a:lnTo>
                  <a:lnTo>
                    <a:pt x="559" y="260"/>
                  </a:lnTo>
                  <a:lnTo>
                    <a:pt x="555" y="262"/>
                  </a:lnTo>
                  <a:lnTo>
                    <a:pt x="550" y="266"/>
                  </a:lnTo>
                  <a:lnTo>
                    <a:pt x="541" y="279"/>
                  </a:lnTo>
                  <a:lnTo>
                    <a:pt x="534" y="285"/>
                  </a:lnTo>
                  <a:lnTo>
                    <a:pt x="523" y="301"/>
                  </a:lnTo>
                  <a:lnTo>
                    <a:pt x="521" y="307"/>
                  </a:lnTo>
                  <a:lnTo>
                    <a:pt x="524" y="304"/>
                  </a:lnTo>
                  <a:lnTo>
                    <a:pt x="527" y="303"/>
                  </a:lnTo>
                  <a:lnTo>
                    <a:pt x="531" y="303"/>
                  </a:lnTo>
                  <a:lnTo>
                    <a:pt x="534" y="303"/>
                  </a:lnTo>
                  <a:lnTo>
                    <a:pt x="531" y="311"/>
                  </a:lnTo>
                  <a:lnTo>
                    <a:pt x="523" y="316"/>
                  </a:lnTo>
                  <a:lnTo>
                    <a:pt x="518" y="323"/>
                  </a:lnTo>
                  <a:lnTo>
                    <a:pt x="520" y="329"/>
                  </a:lnTo>
                  <a:lnTo>
                    <a:pt x="521" y="345"/>
                  </a:lnTo>
                  <a:lnTo>
                    <a:pt x="525" y="352"/>
                  </a:lnTo>
                  <a:lnTo>
                    <a:pt x="517" y="342"/>
                  </a:lnTo>
                  <a:lnTo>
                    <a:pt x="517" y="329"/>
                  </a:lnTo>
                  <a:lnTo>
                    <a:pt x="518" y="311"/>
                  </a:lnTo>
                  <a:lnTo>
                    <a:pt x="515" y="295"/>
                  </a:lnTo>
                  <a:lnTo>
                    <a:pt x="502" y="303"/>
                  </a:lnTo>
                  <a:lnTo>
                    <a:pt x="421" y="321"/>
                  </a:lnTo>
                  <a:lnTo>
                    <a:pt x="391" y="316"/>
                  </a:lnTo>
                  <a:lnTo>
                    <a:pt x="377" y="317"/>
                  </a:lnTo>
                  <a:lnTo>
                    <a:pt x="367" y="326"/>
                  </a:lnTo>
                  <a:lnTo>
                    <a:pt x="358" y="340"/>
                  </a:lnTo>
                  <a:lnTo>
                    <a:pt x="356" y="342"/>
                  </a:lnTo>
                  <a:lnTo>
                    <a:pt x="355" y="345"/>
                  </a:lnTo>
                  <a:lnTo>
                    <a:pt x="354" y="348"/>
                  </a:lnTo>
                  <a:lnTo>
                    <a:pt x="354" y="351"/>
                  </a:lnTo>
                  <a:lnTo>
                    <a:pt x="356" y="352"/>
                  </a:lnTo>
                  <a:lnTo>
                    <a:pt x="356" y="355"/>
                  </a:lnTo>
                  <a:lnTo>
                    <a:pt x="355" y="359"/>
                  </a:lnTo>
                  <a:lnTo>
                    <a:pt x="354" y="364"/>
                  </a:lnTo>
                  <a:lnTo>
                    <a:pt x="351" y="367"/>
                  </a:lnTo>
                  <a:lnTo>
                    <a:pt x="348" y="367"/>
                  </a:lnTo>
                  <a:lnTo>
                    <a:pt x="343" y="371"/>
                  </a:lnTo>
                  <a:lnTo>
                    <a:pt x="338" y="387"/>
                  </a:lnTo>
                  <a:lnTo>
                    <a:pt x="330" y="391"/>
                  </a:lnTo>
                  <a:lnTo>
                    <a:pt x="327" y="391"/>
                  </a:lnTo>
                  <a:lnTo>
                    <a:pt x="319" y="388"/>
                  </a:lnTo>
                  <a:lnTo>
                    <a:pt x="319" y="391"/>
                  </a:lnTo>
                  <a:lnTo>
                    <a:pt x="320" y="391"/>
                  </a:lnTo>
                  <a:lnTo>
                    <a:pt x="320" y="396"/>
                  </a:lnTo>
                  <a:lnTo>
                    <a:pt x="308" y="407"/>
                  </a:lnTo>
                  <a:lnTo>
                    <a:pt x="310" y="410"/>
                  </a:lnTo>
                  <a:lnTo>
                    <a:pt x="310" y="418"/>
                  </a:lnTo>
                  <a:lnTo>
                    <a:pt x="311" y="420"/>
                  </a:lnTo>
                  <a:lnTo>
                    <a:pt x="308" y="420"/>
                  </a:lnTo>
                  <a:lnTo>
                    <a:pt x="304" y="423"/>
                  </a:lnTo>
                  <a:lnTo>
                    <a:pt x="303" y="428"/>
                  </a:lnTo>
                  <a:lnTo>
                    <a:pt x="304" y="436"/>
                  </a:lnTo>
                  <a:lnTo>
                    <a:pt x="301" y="450"/>
                  </a:lnTo>
                  <a:lnTo>
                    <a:pt x="297" y="458"/>
                  </a:lnTo>
                  <a:lnTo>
                    <a:pt x="297" y="464"/>
                  </a:lnTo>
                  <a:lnTo>
                    <a:pt x="292" y="464"/>
                  </a:lnTo>
                  <a:lnTo>
                    <a:pt x="289" y="463"/>
                  </a:lnTo>
                  <a:lnTo>
                    <a:pt x="276" y="447"/>
                  </a:lnTo>
                  <a:lnTo>
                    <a:pt x="276" y="444"/>
                  </a:lnTo>
                  <a:lnTo>
                    <a:pt x="262" y="444"/>
                  </a:lnTo>
                  <a:lnTo>
                    <a:pt x="260" y="442"/>
                  </a:lnTo>
                  <a:lnTo>
                    <a:pt x="256" y="434"/>
                  </a:lnTo>
                  <a:lnTo>
                    <a:pt x="254" y="432"/>
                  </a:lnTo>
                  <a:lnTo>
                    <a:pt x="240" y="444"/>
                  </a:lnTo>
                  <a:lnTo>
                    <a:pt x="237" y="445"/>
                  </a:lnTo>
                  <a:lnTo>
                    <a:pt x="227" y="444"/>
                  </a:lnTo>
                  <a:lnTo>
                    <a:pt x="222" y="441"/>
                  </a:lnTo>
                  <a:lnTo>
                    <a:pt x="221" y="435"/>
                  </a:lnTo>
                  <a:lnTo>
                    <a:pt x="222" y="422"/>
                  </a:lnTo>
                  <a:lnTo>
                    <a:pt x="221" y="419"/>
                  </a:lnTo>
                  <a:lnTo>
                    <a:pt x="209" y="416"/>
                  </a:lnTo>
                  <a:lnTo>
                    <a:pt x="206" y="412"/>
                  </a:lnTo>
                  <a:lnTo>
                    <a:pt x="203" y="403"/>
                  </a:lnTo>
                  <a:lnTo>
                    <a:pt x="202" y="400"/>
                  </a:lnTo>
                  <a:lnTo>
                    <a:pt x="199" y="399"/>
                  </a:lnTo>
                  <a:lnTo>
                    <a:pt x="157" y="404"/>
                  </a:lnTo>
                  <a:lnTo>
                    <a:pt x="138" y="415"/>
                  </a:lnTo>
                  <a:lnTo>
                    <a:pt x="131" y="416"/>
                  </a:lnTo>
                  <a:lnTo>
                    <a:pt x="125" y="418"/>
                  </a:lnTo>
                  <a:lnTo>
                    <a:pt x="115" y="429"/>
                  </a:lnTo>
                  <a:lnTo>
                    <a:pt x="110" y="432"/>
                  </a:lnTo>
                  <a:lnTo>
                    <a:pt x="109" y="432"/>
                  </a:lnTo>
                  <a:lnTo>
                    <a:pt x="104" y="432"/>
                  </a:lnTo>
                  <a:lnTo>
                    <a:pt x="104" y="435"/>
                  </a:lnTo>
                  <a:lnTo>
                    <a:pt x="104" y="450"/>
                  </a:lnTo>
                  <a:lnTo>
                    <a:pt x="106" y="451"/>
                  </a:lnTo>
                  <a:lnTo>
                    <a:pt x="106" y="454"/>
                  </a:lnTo>
                  <a:lnTo>
                    <a:pt x="109" y="455"/>
                  </a:lnTo>
                  <a:lnTo>
                    <a:pt x="109" y="455"/>
                  </a:lnTo>
                  <a:lnTo>
                    <a:pt x="110" y="457"/>
                  </a:lnTo>
                  <a:lnTo>
                    <a:pt x="123" y="461"/>
                  </a:lnTo>
                  <a:lnTo>
                    <a:pt x="125" y="461"/>
                  </a:lnTo>
                  <a:lnTo>
                    <a:pt x="123" y="461"/>
                  </a:lnTo>
                  <a:lnTo>
                    <a:pt x="123" y="461"/>
                  </a:lnTo>
                  <a:lnTo>
                    <a:pt x="122" y="463"/>
                  </a:lnTo>
                  <a:lnTo>
                    <a:pt x="122" y="463"/>
                  </a:lnTo>
                  <a:lnTo>
                    <a:pt x="120" y="464"/>
                  </a:lnTo>
                  <a:lnTo>
                    <a:pt x="119" y="466"/>
                  </a:lnTo>
                  <a:lnTo>
                    <a:pt x="109" y="467"/>
                  </a:lnTo>
                  <a:lnTo>
                    <a:pt x="107" y="467"/>
                  </a:lnTo>
                  <a:lnTo>
                    <a:pt x="107" y="467"/>
                  </a:lnTo>
                  <a:lnTo>
                    <a:pt x="106" y="467"/>
                  </a:lnTo>
                  <a:lnTo>
                    <a:pt x="106" y="466"/>
                  </a:lnTo>
                  <a:lnTo>
                    <a:pt x="106" y="466"/>
                  </a:lnTo>
                  <a:lnTo>
                    <a:pt x="104" y="464"/>
                  </a:lnTo>
                  <a:lnTo>
                    <a:pt x="104" y="463"/>
                  </a:lnTo>
                  <a:lnTo>
                    <a:pt x="106" y="461"/>
                  </a:lnTo>
                  <a:lnTo>
                    <a:pt x="106" y="461"/>
                  </a:lnTo>
                  <a:lnTo>
                    <a:pt x="106" y="460"/>
                  </a:lnTo>
                  <a:lnTo>
                    <a:pt x="106" y="460"/>
                  </a:lnTo>
                  <a:lnTo>
                    <a:pt x="102" y="458"/>
                  </a:lnTo>
                  <a:lnTo>
                    <a:pt x="100" y="457"/>
                  </a:lnTo>
                  <a:lnTo>
                    <a:pt x="99" y="457"/>
                  </a:lnTo>
                  <a:lnTo>
                    <a:pt x="97" y="457"/>
                  </a:lnTo>
                  <a:lnTo>
                    <a:pt x="90" y="463"/>
                  </a:lnTo>
                  <a:lnTo>
                    <a:pt x="72" y="479"/>
                  </a:lnTo>
                  <a:lnTo>
                    <a:pt x="65" y="483"/>
                  </a:lnTo>
                  <a:lnTo>
                    <a:pt x="59" y="486"/>
                  </a:lnTo>
                  <a:lnTo>
                    <a:pt x="56" y="487"/>
                  </a:lnTo>
                  <a:lnTo>
                    <a:pt x="55" y="489"/>
                  </a:lnTo>
                  <a:lnTo>
                    <a:pt x="52" y="495"/>
                  </a:lnTo>
                  <a:lnTo>
                    <a:pt x="52" y="496"/>
                  </a:lnTo>
                  <a:lnTo>
                    <a:pt x="51" y="502"/>
                  </a:lnTo>
                  <a:lnTo>
                    <a:pt x="51" y="503"/>
                  </a:lnTo>
                  <a:lnTo>
                    <a:pt x="51" y="503"/>
                  </a:lnTo>
                  <a:lnTo>
                    <a:pt x="52" y="505"/>
                  </a:lnTo>
                  <a:lnTo>
                    <a:pt x="52" y="506"/>
                  </a:lnTo>
                  <a:lnTo>
                    <a:pt x="55" y="514"/>
                  </a:lnTo>
                  <a:lnTo>
                    <a:pt x="55" y="515"/>
                  </a:lnTo>
                  <a:lnTo>
                    <a:pt x="56" y="521"/>
                  </a:lnTo>
                  <a:lnTo>
                    <a:pt x="56" y="524"/>
                  </a:lnTo>
                  <a:lnTo>
                    <a:pt x="58" y="531"/>
                  </a:lnTo>
                  <a:lnTo>
                    <a:pt x="58" y="537"/>
                  </a:lnTo>
                  <a:lnTo>
                    <a:pt x="56" y="541"/>
                  </a:lnTo>
                  <a:lnTo>
                    <a:pt x="53" y="556"/>
                  </a:lnTo>
                  <a:lnTo>
                    <a:pt x="53" y="557"/>
                  </a:lnTo>
                  <a:lnTo>
                    <a:pt x="53" y="557"/>
                  </a:lnTo>
                  <a:lnTo>
                    <a:pt x="55" y="559"/>
                  </a:lnTo>
                  <a:lnTo>
                    <a:pt x="58" y="559"/>
                  </a:lnTo>
                  <a:lnTo>
                    <a:pt x="61" y="559"/>
                  </a:lnTo>
                  <a:lnTo>
                    <a:pt x="69" y="562"/>
                  </a:lnTo>
                  <a:lnTo>
                    <a:pt x="71" y="563"/>
                  </a:lnTo>
                  <a:lnTo>
                    <a:pt x="74" y="566"/>
                  </a:lnTo>
                  <a:lnTo>
                    <a:pt x="77" y="570"/>
                  </a:lnTo>
                  <a:lnTo>
                    <a:pt x="84" y="581"/>
                  </a:lnTo>
                  <a:lnTo>
                    <a:pt x="88" y="584"/>
                  </a:lnTo>
                  <a:lnTo>
                    <a:pt x="91" y="585"/>
                  </a:lnTo>
                  <a:lnTo>
                    <a:pt x="96" y="585"/>
                  </a:lnTo>
                  <a:lnTo>
                    <a:pt x="99" y="585"/>
                  </a:lnTo>
                  <a:lnTo>
                    <a:pt x="102" y="585"/>
                  </a:lnTo>
                  <a:lnTo>
                    <a:pt x="107" y="588"/>
                  </a:lnTo>
                  <a:lnTo>
                    <a:pt x="112" y="589"/>
                  </a:lnTo>
                  <a:lnTo>
                    <a:pt x="116" y="595"/>
                  </a:lnTo>
                  <a:lnTo>
                    <a:pt x="118" y="597"/>
                  </a:lnTo>
                  <a:lnTo>
                    <a:pt x="119" y="600"/>
                  </a:lnTo>
                  <a:lnTo>
                    <a:pt x="119" y="601"/>
                  </a:lnTo>
                  <a:lnTo>
                    <a:pt x="119" y="602"/>
                  </a:lnTo>
                  <a:lnTo>
                    <a:pt x="119" y="604"/>
                  </a:lnTo>
                  <a:lnTo>
                    <a:pt x="119" y="607"/>
                  </a:lnTo>
                  <a:lnTo>
                    <a:pt x="122" y="611"/>
                  </a:lnTo>
                  <a:lnTo>
                    <a:pt x="122" y="613"/>
                  </a:lnTo>
                  <a:lnTo>
                    <a:pt x="122" y="614"/>
                  </a:lnTo>
                  <a:lnTo>
                    <a:pt x="122" y="616"/>
                  </a:lnTo>
                  <a:lnTo>
                    <a:pt x="122" y="618"/>
                  </a:lnTo>
                  <a:lnTo>
                    <a:pt x="122" y="620"/>
                  </a:lnTo>
                  <a:lnTo>
                    <a:pt x="122" y="621"/>
                  </a:lnTo>
                  <a:lnTo>
                    <a:pt x="122" y="623"/>
                  </a:lnTo>
                  <a:lnTo>
                    <a:pt x="122" y="624"/>
                  </a:lnTo>
                  <a:lnTo>
                    <a:pt x="119" y="626"/>
                  </a:lnTo>
                  <a:lnTo>
                    <a:pt x="116" y="627"/>
                  </a:lnTo>
                  <a:lnTo>
                    <a:pt x="118" y="637"/>
                  </a:lnTo>
                  <a:lnTo>
                    <a:pt x="120" y="653"/>
                  </a:lnTo>
                  <a:lnTo>
                    <a:pt x="122" y="656"/>
                  </a:lnTo>
                  <a:lnTo>
                    <a:pt x="122" y="659"/>
                  </a:lnTo>
                  <a:lnTo>
                    <a:pt x="120" y="661"/>
                  </a:lnTo>
                  <a:lnTo>
                    <a:pt x="118" y="662"/>
                  </a:lnTo>
                  <a:lnTo>
                    <a:pt x="118" y="662"/>
                  </a:lnTo>
                  <a:lnTo>
                    <a:pt x="120" y="662"/>
                  </a:lnTo>
                  <a:lnTo>
                    <a:pt x="122" y="664"/>
                  </a:lnTo>
                  <a:lnTo>
                    <a:pt x="122" y="665"/>
                  </a:lnTo>
                  <a:lnTo>
                    <a:pt x="120" y="667"/>
                  </a:lnTo>
                  <a:lnTo>
                    <a:pt x="118" y="668"/>
                  </a:lnTo>
                  <a:lnTo>
                    <a:pt x="116" y="672"/>
                  </a:lnTo>
                  <a:lnTo>
                    <a:pt x="115" y="674"/>
                  </a:lnTo>
                  <a:lnTo>
                    <a:pt x="113" y="674"/>
                  </a:lnTo>
                  <a:lnTo>
                    <a:pt x="112" y="674"/>
                  </a:lnTo>
                  <a:lnTo>
                    <a:pt x="112" y="672"/>
                  </a:lnTo>
                  <a:lnTo>
                    <a:pt x="110" y="671"/>
                  </a:lnTo>
                  <a:lnTo>
                    <a:pt x="110" y="667"/>
                  </a:lnTo>
                  <a:lnTo>
                    <a:pt x="110" y="665"/>
                  </a:lnTo>
                  <a:lnTo>
                    <a:pt x="109" y="664"/>
                  </a:lnTo>
                  <a:lnTo>
                    <a:pt x="109" y="664"/>
                  </a:lnTo>
                  <a:lnTo>
                    <a:pt x="107" y="662"/>
                  </a:lnTo>
                  <a:lnTo>
                    <a:pt x="107" y="661"/>
                  </a:lnTo>
                  <a:lnTo>
                    <a:pt x="106" y="661"/>
                  </a:lnTo>
                  <a:lnTo>
                    <a:pt x="104" y="661"/>
                  </a:lnTo>
                  <a:lnTo>
                    <a:pt x="88" y="662"/>
                  </a:lnTo>
                  <a:lnTo>
                    <a:pt x="87" y="662"/>
                  </a:lnTo>
                  <a:lnTo>
                    <a:pt x="85" y="662"/>
                  </a:lnTo>
                  <a:lnTo>
                    <a:pt x="83" y="661"/>
                  </a:lnTo>
                  <a:lnTo>
                    <a:pt x="80" y="661"/>
                  </a:lnTo>
                  <a:lnTo>
                    <a:pt x="78" y="662"/>
                  </a:lnTo>
                  <a:lnTo>
                    <a:pt x="78" y="664"/>
                  </a:lnTo>
                  <a:lnTo>
                    <a:pt x="78" y="665"/>
                  </a:lnTo>
                  <a:lnTo>
                    <a:pt x="78" y="669"/>
                  </a:lnTo>
                  <a:lnTo>
                    <a:pt x="80" y="672"/>
                  </a:lnTo>
                  <a:lnTo>
                    <a:pt x="80" y="675"/>
                  </a:lnTo>
                  <a:lnTo>
                    <a:pt x="80" y="677"/>
                  </a:lnTo>
                  <a:lnTo>
                    <a:pt x="77" y="683"/>
                  </a:lnTo>
                  <a:lnTo>
                    <a:pt x="77" y="684"/>
                  </a:lnTo>
                  <a:lnTo>
                    <a:pt x="77" y="685"/>
                  </a:lnTo>
                  <a:lnTo>
                    <a:pt x="75" y="690"/>
                  </a:lnTo>
                  <a:lnTo>
                    <a:pt x="75" y="691"/>
                  </a:lnTo>
                  <a:lnTo>
                    <a:pt x="75" y="693"/>
                  </a:lnTo>
                  <a:lnTo>
                    <a:pt x="75" y="694"/>
                  </a:lnTo>
                  <a:lnTo>
                    <a:pt x="69" y="697"/>
                  </a:lnTo>
                  <a:lnTo>
                    <a:pt x="55" y="709"/>
                  </a:lnTo>
                  <a:lnTo>
                    <a:pt x="52" y="710"/>
                  </a:lnTo>
                  <a:lnTo>
                    <a:pt x="49" y="710"/>
                  </a:lnTo>
                  <a:lnTo>
                    <a:pt x="42" y="713"/>
                  </a:lnTo>
                  <a:lnTo>
                    <a:pt x="36" y="715"/>
                  </a:lnTo>
                  <a:lnTo>
                    <a:pt x="34" y="716"/>
                  </a:lnTo>
                  <a:lnTo>
                    <a:pt x="34" y="716"/>
                  </a:lnTo>
                  <a:lnTo>
                    <a:pt x="33" y="720"/>
                  </a:lnTo>
                  <a:lnTo>
                    <a:pt x="33" y="722"/>
                  </a:lnTo>
                  <a:lnTo>
                    <a:pt x="32" y="726"/>
                  </a:lnTo>
                  <a:lnTo>
                    <a:pt x="30" y="728"/>
                  </a:lnTo>
                  <a:lnTo>
                    <a:pt x="29" y="728"/>
                  </a:lnTo>
                  <a:lnTo>
                    <a:pt x="24" y="726"/>
                  </a:lnTo>
                  <a:lnTo>
                    <a:pt x="23" y="726"/>
                  </a:lnTo>
                  <a:lnTo>
                    <a:pt x="20" y="726"/>
                  </a:lnTo>
                  <a:lnTo>
                    <a:pt x="16" y="729"/>
                  </a:lnTo>
                  <a:lnTo>
                    <a:pt x="13" y="731"/>
                  </a:lnTo>
                  <a:lnTo>
                    <a:pt x="11" y="732"/>
                  </a:lnTo>
                  <a:lnTo>
                    <a:pt x="11" y="735"/>
                  </a:lnTo>
                  <a:lnTo>
                    <a:pt x="8" y="752"/>
                  </a:lnTo>
                  <a:lnTo>
                    <a:pt x="8" y="757"/>
                  </a:lnTo>
                  <a:lnTo>
                    <a:pt x="8" y="758"/>
                  </a:lnTo>
                  <a:lnTo>
                    <a:pt x="8" y="760"/>
                  </a:lnTo>
                  <a:lnTo>
                    <a:pt x="8" y="763"/>
                  </a:lnTo>
                  <a:lnTo>
                    <a:pt x="7" y="766"/>
                  </a:lnTo>
                  <a:lnTo>
                    <a:pt x="2" y="771"/>
                  </a:lnTo>
                  <a:lnTo>
                    <a:pt x="0" y="777"/>
                  </a:lnTo>
                  <a:lnTo>
                    <a:pt x="24" y="776"/>
                  </a:lnTo>
                  <a:lnTo>
                    <a:pt x="37" y="779"/>
                  </a:lnTo>
                  <a:lnTo>
                    <a:pt x="45" y="789"/>
                  </a:lnTo>
                  <a:lnTo>
                    <a:pt x="45" y="796"/>
                  </a:lnTo>
                  <a:lnTo>
                    <a:pt x="45" y="806"/>
                  </a:lnTo>
                  <a:lnTo>
                    <a:pt x="48" y="814"/>
                  </a:lnTo>
                  <a:lnTo>
                    <a:pt x="53" y="816"/>
                  </a:lnTo>
                  <a:lnTo>
                    <a:pt x="59" y="818"/>
                  </a:lnTo>
                  <a:lnTo>
                    <a:pt x="64" y="822"/>
                  </a:lnTo>
                  <a:lnTo>
                    <a:pt x="71" y="833"/>
                  </a:lnTo>
                  <a:lnTo>
                    <a:pt x="81" y="841"/>
                  </a:lnTo>
                  <a:lnTo>
                    <a:pt x="113" y="860"/>
                  </a:lnTo>
                  <a:lnTo>
                    <a:pt x="151" y="897"/>
                  </a:lnTo>
                  <a:lnTo>
                    <a:pt x="161" y="902"/>
                  </a:lnTo>
                  <a:lnTo>
                    <a:pt x="164" y="905"/>
                  </a:lnTo>
                  <a:lnTo>
                    <a:pt x="169" y="908"/>
                  </a:lnTo>
                  <a:lnTo>
                    <a:pt x="173" y="907"/>
                  </a:lnTo>
                  <a:lnTo>
                    <a:pt x="176" y="902"/>
                  </a:lnTo>
                  <a:lnTo>
                    <a:pt x="182" y="898"/>
                  </a:lnTo>
                  <a:lnTo>
                    <a:pt x="185" y="895"/>
                  </a:lnTo>
                  <a:lnTo>
                    <a:pt x="187" y="892"/>
                  </a:lnTo>
                  <a:lnTo>
                    <a:pt x="192" y="892"/>
                  </a:lnTo>
                  <a:lnTo>
                    <a:pt x="195" y="894"/>
                  </a:lnTo>
                  <a:lnTo>
                    <a:pt x="196" y="897"/>
                  </a:lnTo>
                  <a:lnTo>
                    <a:pt x="199" y="901"/>
                  </a:lnTo>
                  <a:lnTo>
                    <a:pt x="202" y="904"/>
                  </a:lnTo>
                  <a:lnTo>
                    <a:pt x="205" y="911"/>
                  </a:lnTo>
                  <a:lnTo>
                    <a:pt x="208" y="911"/>
                  </a:lnTo>
                  <a:lnTo>
                    <a:pt x="212" y="905"/>
                  </a:lnTo>
                  <a:lnTo>
                    <a:pt x="215" y="904"/>
                  </a:lnTo>
                  <a:lnTo>
                    <a:pt x="218" y="907"/>
                  </a:lnTo>
                  <a:lnTo>
                    <a:pt x="221" y="910"/>
                  </a:lnTo>
                  <a:lnTo>
                    <a:pt x="227" y="914"/>
                  </a:lnTo>
                  <a:lnTo>
                    <a:pt x="228" y="917"/>
                  </a:lnTo>
                  <a:lnTo>
                    <a:pt x="233" y="924"/>
                  </a:lnTo>
                  <a:lnTo>
                    <a:pt x="240" y="923"/>
                  </a:lnTo>
                  <a:lnTo>
                    <a:pt x="249" y="926"/>
                  </a:lnTo>
                  <a:lnTo>
                    <a:pt x="260" y="926"/>
                  </a:lnTo>
                  <a:lnTo>
                    <a:pt x="268" y="929"/>
                  </a:lnTo>
                  <a:lnTo>
                    <a:pt x="275" y="930"/>
                  </a:lnTo>
                  <a:lnTo>
                    <a:pt x="275" y="921"/>
                  </a:lnTo>
                  <a:lnTo>
                    <a:pt x="276" y="915"/>
                  </a:lnTo>
                  <a:lnTo>
                    <a:pt x="282" y="913"/>
                  </a:lnTo>
                  <a:lnTo>
                    <a:pt x="292" y="913"/>
                  </a:lnTo>
                  <a:lnTo>
                    <a:pt x="303" y="918"/>
                  </a:lnTo>
                  <a:lnTo>
                    <a:pt x="311" y="923"/>
                  </a:lnTo>
                  <a:lnTo>
                    <a:pt x="321" y="923"/>
                  </a:lnTo>
                  <a:lnTo>
                    <a:pt x="329" y="917"/>
                  </a:lnTo>
                  <a:lnTo>
                    <a:pt x="330" y="908"/>
                  </a:lnTo>
                  <a:lnTo>
                    <a:pt x="329" y="904"/>
                  </a:lnTo>
                  <a:lnTo>
                    <a:pt x="329" y="894"/>
                  </a:lnTo>
                  <a:lnTo>
                    <a:pt x="327" y="889"/>
                  </a:lnTo>
                  <a:lnTo>
                    <a:pt x="326" y="886"/>
                  </a:lnTo>
                  <a:lnTo>
                    <a:pt x="323" y="883"/>
                  </a:lnTo>
                  <a:lnTo>
                    <a:pt x="321" y="879"/>
                  </a:lnTo>
                  <a:lnTo>
                    <a:pt x="324" y="873"/>
                  </a:lnTo>
                  <a:lnTo>
                    <a:pt x="339" y="859"/>
                  </a:lnTo>
                  <a:lnTo>
                    <a:pt x="346" y="854"/>
                  </a:lnTo>
                  <a:lnTo>
                    <a:pt x="365" y="847"/>
                  </a:lnTo>
                  <a:lnTo>
                    <a:pt x="377" y="847"/>
                  </a:lnTo>
                  <a:lnTo>
                    <a:pt x="381" y="849"/>
                  </a:lnTo>
                  <a:lnTo>
                    <a:pt x="391" y="857"/>
                  </a:lnTo>
                  <a:lnTo>
                    <a:pt x="396" y="867"/>
                  </a:lnTo>
                  <a:lnTo>
                    <a:pt x="403" y="863"/>
                  </a:lnTo>
                  <a:lnTo>
                    <a:pt x="410" y="860"/>
                  </a:lnTo>
                  <a:lnTo>
                    <a:pt x="419" y="860"/>
                  </a:lnTo>
                  <a:lnTo>
                    <a:pt x="429" y="862"/>
                  </a:lnTo>
                  <a:lnTo>
                    <a:pt x="428" y="853"/>
                  </a:lnTo>
                  <a:lnTo>
                    <a:pt x="421" y="847"/>
                  </a:lnTo>
                  <a:lnTo>
                    <a:pt x="425" y="846"/>
                  </a:lnTo>
                  <a:lnTo>
                    <a:pt x="428" y="844"/>
                  </a:lnTo>
                  <a:lnTo>
                    <a:pt x="437" y="847"/>
                  </a:lnTo>
                  <a:lnTo>
                    <a:pt x="445" y="837"/>
                  </a:lnTo>
                  <a:lnTo>
                    <a:pt x="458" y="830"/>
                  </a:lnTo>
                  <a:lnTo>
                    <a:pt x="464" y="828"/>
                  </a:lnTo>
                  <a:lnTo>
                    <a:pt x="472" y="831"/>
                  </a:lnTo>
                  <a:lnTo>
                    <a:pt x="477" y="824"/>
                  </a:lnTo>
                  <a:lnTo>
                    <a:pt x="483" y="819"/>
                  </a:lnTo>
                  <a:lnTo>
                    <a:pt x="489" y="819"/>
                  </a:lnTo>
                  <a:lnTo>
                    <a:pt x="492" y="809"/>
                  </a:lnTo>
                  <a:lnTo>
                    <a:pt x="493" y="802"/>
                  </a:lnTo>
                  <a:lnTo>
                    <a:pt x="502" y="796"/>
                  </a:lnTo>
                  <a:lnTo>
                    <a:pt x="508" y="786"/>
                  </a:lnTo>
                  <a:lnTo>
                    <a:pt x="509" y="786"/>
                  </a:lnTo>
                  <a:lnTo>
                    <a:pt x="512" y="784"/>
                  </a:lnTo>
                  <a:lnTo>
                    <a:pt x="518" y="782"/>
                  </a:lnTo>
                  <a:lnTo>
                    <a:pt x="524" y="782"/>
                  </a:lnTo>
                  <a:lnTo>
                    <a:pt x="527" y="780"/>
                  </a:lnTo>
                  <a:lnTo>
                    <a:pt x="528" y="780"/>
                  </a:lnTo>
                  <a:lnTo>
                    <a:pt x="530" y="780"/>
                  </a:lnTo>
                  <a:lnTo>
                    <a:pt x="536" y="786"/>
                  </a:lnTo>
                  <a:lnTo>
                    <a:pt x="537" y="787"/>
                  </a:lnTo>
                  <a:lnTo>
                    <a:pt x="539" y="786"/>
                  </a:lnTo>
                  <a:lnTo>
                    <a:pt x="540" y="786"/>
                  </a:lnTo>
                  <a:lnTo>
                    <a:pt x="547" y="780"/>
                  </a:lnTo>
                  <a:lnTo>
                    <a:pt x="550" y="779"/>
                  </a:lnTo>
                  <a:lnTo>
                    <a:pt x="552" y="779"/>
                  </a:lnTo>
                  <a:lnTo>
                    <a:pt x="553" y="779"/>
                  </a:lnTo>
                  <a:lnTo>
                    <a:pt x="556" y="780"/>
                  </a:lnTo>
                  <a:lnTo>
                    <a:pt x="557" y="783"/>
                  </a:lnTo>
                  <a:lnTo>
                    <a:pt x="562" y="790"/>
                  </a:lnTo>
                  <a:lnTo>
                    <a:pt x="563" y="793"/>
                  </a:lnTo>
                  <a:lnTo>
                    <a:pt x="566" y="795"/>
                  </a:lnTo>
                  <a:lnTo>
                    <a:pt x="588" y="800"/>
                  </a:lnTo>
                  <a:lnTo>
                    <a:pt x="601" y="808"/>
                  </a:lnTo>
                  <a:lnTo>
                    <a:pt x="603" y="809"/>
                  </a:lnTo>
                  <a:lnTo>
                    <a:pt x="613" y="818"/>
                  </a:lnTo>
                  <a:lnTo>
                    <a:pt x="614" y="819"/>
                  </a:lnTo>
                  <a:lnTo>
                    <a:pt x="617" y="821"/>
                  </a:lnTo>
                  <a:lnTo>
                    <a:pt x="617" y="822"/>
                  </a:lnTo>
                  <a:lnTo>
                    <a:pt x="620" y="824"/>
                  </a:lnTo>
                  <a:lnTo>
                    <a:pt x="629" y="830"/>
                  </a:lnTo>
                  <a:lnTo>
                    <a:pt x="630" y="831"/>
                  </a:lnTo>
                  <a:lnTo>
                    <a:pt x="633" y="835"/>
                  </a:lnTo>
                  <a:lnTo>
                    <a:pt x="635" y="837"/>
                  </a:lnTo>
                  <a:lnTo>
                    <a:pt x="636" y="838"/>
                  </a:lnTo>
                  <a:lnTo>
                    <a:pt x="641" y="838"/>
                  </a:lnTo>
                  <a:lnTo>
                    <a:pt x="652" y="837"/>
                  </a:lnTo>
                  <a:lnTo>
                    <a:pt x="658" y="835"/>
                  </a:lnTo>
                  <a:lnTo>
                    <a:pt x="664" y="834"/>
                  </a:lnTo>
                  <a:lnTo>
                    <a:pt x="700" y="844"/>
                  </a:lnTo>
                  <a:lnTo>
                    <a:pt x="702" y="844"/>
                  </a:lnTo>
                  <a:lnTo>
                    <a:pt x="706" y="846"/>
                  </a:lnTo>
                  <a:lnTo>
                    <a:pt x="716" y="856"/>
                  </a:lnTo>
                  <a:lnTo>
                    <a:pt x="731" y="860"/>
                  </a:lnTo>
                  <a:lnTo>
                    <a:pt x="740" y="860"/>
                  </a:lnTo>
                  <a:lnTo>
                    <a:pt x="743" y="862"/>
                  </a:lnTo>
                  <a:lnTo>
                    <a:pt x="743" y="870"/>
                  </a:lnTo>
                  <a:lnTo>
                    <a:pt x="743" y="875"/>
                  </a:lnTo>
                  <a:lnTo>
                    <a:pt x="743" y="876"/>
                  </a:lnTo>
                  <a:lnTo>
                    <a:pt x="744" y="878"/>
                  </a:lnTo>
                  <a:lnTo>
                    <a:pt x="744" y="878"/>
                  </a:lnTo>
                  <a:lnTo>
                    <a:pt x="745" y="879"/>
                  </a:lnTo>
                  <a:lnTo>
                    <a:pt x="747" y="881"/>
                  </a:lnTo>
                  <a:lnTo>
                    <a:pt x="748" y="881"/>
                  </a:lnTo>
                  <a:lnTo>
                    <a:pt x="751" y="881"/>
                  </a:lnTo>
                  <a:lnTo>
                    <a:pt x="766" y="878"/>
                  </a:lnTo>
                  <a:lnTo>
                    <a:pt x="772" y="878"/>
                  </a:lnTo>
                  <a:lnTo>
                    <a:pt x="773" y="878"/>
                  </a:lnTo>
                  <a:lnTo>
                    <a:pt x="776" y="879"/>
                  </a:lnTo>
                  <a:lnTo>
                    <a:pt x="780" y="883"/>
                  </a:lnTo>
                  <a:lnTo>
                    <a:pt x="783" y="885"/>
                  </a:lnTo>
                  <a:lnTo>
                    <a:pt x="786" y="885"/>
                  </a:lnTo>
                  <a:lnTo>
                    <a:pt x="792" y="885"/>
                  </a:lnTo>
                  <a:lnTo>
                    <a:pt x="795" y="883"/>
                  </a:lnTo>
                  <a:lnTo>
                    <a:pt x="798" y="882"/>
                  </a:lnTo>
                  <a:lnTo>
                    <a:pt x="799" y="882"/>
                  </a:lnTo>
                  <a:lnTo>
                    <a:pt x="810" y="882"/>
                  </a:lnTo>
                  <a:lnTo>
                    <a:pt x="812" y="881"/>
                  </a:lnTo>
                  <a:lnTo>
                    <a:pt x="814" y="881"/>
                  </a:lnTo>
                  <a:lnTo>
                    <a:pt x="815" y="879"/>
                  </a:lnTo>
                  <a:lnTo>
                    <a:pt x="817" y="879"/>
                  </a:lnTo>
                  <a:lnTo>
                    <a:pt x="818" y="881"/>
                  </a:lnTo>
                  <a:lnTo>
                    <a:pt x="818" y="883"/>
                  </a:lnTo>
                  <a:lnTo>
                    <a:pt x="818" y="885"/>
                  </a:lnTo>
                  <a:lnTo>
                    <a:pt x="817" y="886"/>
                  </a:lnTo>
                  <a:lnTo>
                    <a:pt x="815" y="888"/>
                  </a:lnTo>
                  <a:lnTo>
                    <a:pt x="814" y="888"/>
                  </a:lnTo>
                  <a:lnTo>
                    <a:pt x="814" y="889"/>
                  </a:lnTo>
                  <a:lnTo>
                    <a:pt x="814" y="892"/>
                  </a:lnTo>
                  <a:lnTo>
                    <a:pt x="815" y="894"/>
                  </a:lnTo>
                  <a:lnTo>
                    <a:pt x="824" y="897"/>
                  </a:lnTo>
                  <a:lnTo>
                    <a:pt x="833" y="895"/>
                  </a:lnTo>
                  <a:lnTo>
                    <a:pt x="842" y="886"/>
                  </a:lnTo>
                  <a:lnTo>
                    <a:pt x="843" y="883"/>
                  </a:lnTo>
                  <a:lnTo>
                    <a:pt x="847" y="879"/>
                  </a:lnTo>
                  <a:lnTo>
                    <a:pt x="849" y="878"/>
                  </a:lnTo>
                  <a:lnTo>
                    <a:pt x="859" y="872"/>
                  </a:lnTo>
                  <a:lnTo>
                    <a:pt x="863" y="867"/>
                  </a:lnTo>
                  <a:lnTo>
                    <a:pt x="866" y="865"/>
                  </a:lnTo>
                  <a:lnTo>
                    <a:pt x="868" y="863"/>
                  </a:lnTo>
                  <a:lnTo>
                    <a:pt x="869" y="862"/>
                  </a:lnTo>
                  <a:lnTo>
                    <a:pt x="869" y="860"/>
                  </a:lnTo>
                  <a:lnTo>
                    <a:pt x="869" y="860"/>
                  </a:lnTo>
                  <a:lnTo>
                    <a:pt x="871" y="859"/>
                  </a:lnTo>
                  <a:lnTo>
                    <a:pt x="871" y="857"/>
                  </a:lnTo>
                  <a:lnTo>
                    <a:pt x="871" y="854"/>
                  </a:lnTo>
                  <a:lnTo>
                    <a:pt x="872" y="853"/>
                  </a:lnTo>
                  <a:lnTo>
                    <a:pt x="874" y="851"/>
                  </a:lnTo>
                  <a:lnTo>
                    <a:pt x="875" y="850"/>
                  </a:lnTo>
                  <a:lnTo>
                    <a:pt x="878" y="849"/>
                  </a:lnTo>
                  <a:lnTo>
                    <a:pt x="879" y="847"/>
                  </a:lnTo>
                  <a:lnTo>
                    <a:pt x="881" y="846"/>
                  </a:lnTo>
                  <a:lnTo>
                    <a:pt x="882" y="844"/>
                  </a:lnTo>
                  <a:lnTo>
                    <a:pt x="884" y="843"/>
                  </a:lnTo>
                  <a:lnTo>
                    <a:pt x="887" y="843"/>
                  </a:lnTo>
                  <a:lnTo>
                    <a:pt x="888" y="843"/>
                  </a:lnTo>
                  <a:lnTo>
                    <a:pt x="891" y="844"/>
                  </a:lnTo>
                  <a:lnTo>
                    <a:pt x="895" y="850"/>
                  </a:lnTo>
                  <a:lnTo>
                    <a:pt x="898" y="854"/>
                  </a:lnTo>
                  <a:lnTo>
                    <a:pt x="898" y="856"/>
                  </a:lnTo>
                  <a:lnTo>
                    <a:pt x="903" y="857"/>
                  </a:lnTo>
                  <a:lnTo>
                    <a:pt x="913" y="857"/>
                  </a:lnTo>
                  <a:lnTo>
                    <a:pt x="914" y="851"/>
                  </a:lnTo>
                  <a:lnTo>
                    <a:pt x="914" y="847"/>
                  </a:lnTo>
                  <a:lnTo>
                    <a:pt x="914" y="846"/>
                  </a:lnTo>
                  <a:lnTo>
                    <a:pt x="916" y="843"/>
                  </a:lnTo>
                  <a:lnTo>
                    <a:pt x="919" y="835"/>
                  </a:lnTo>
                  <a:lnTo>
                    <a:pt x="922" y="833"/>
                  </a:lnTo>
                  <a:lnTo>
                    <a:pt x="925" y="828"/>
                  </a:lnTo>
                  <a:lnTo>
                    <a:pt x="930" y="825"/>
                  </a:lnTo>
                  <a:lnTo>
                    <a:pt x="939" y="825"/>
                  </a:lnTo>
                  <a:lnTo>
                    <a:pt x="946" y="827"/>
                  </a:lnTo>
                  <a:lnTo>
                    <a:pt x="955" y="830"/>
                  </a:lnTo>
                  <a:lnTo>
                    <a:pt x="961" y="834"/>
                  </a:lnTo>
                  <a:lnTo>
                    <a:pt x="967" y="835"/>
                  </a:lnTo>
                  <a:lnTo>
                    <a:pt x="974" y="834"/>
                  </a:lnTo>
                  <a:lnTo>
                    <a:pt x="992" y="818"/>
                  </a:lnTo>
                  <a:lnTo>
                    <a:pt x="996" y="818"/>
                  </a:lnTo>
                  <a:lnTo>
                    <a:pt x="999" y="814"/>
                  </a:lnTo>
                  <a:lnTo>
                    <a:pt x="1005" y="808"/>
                  </a:lnTo>
                  <a:lnTo>
                    <a:pt x="1009" y="795"/>
                  </a:lnTo>
                  <a:lnTo>
                    <a:pt x="1015" y="780"/>
                  </a:lnTo>
                  <a:lnTo>
                    <a:pt x="1018" y="768"/>
                  </a:lnTo>
                  <a:lnTo>
                    <a:pt x="1019" y="763"/>
                  </a:lnTo>
                  <a:lnTo>
                    <a:pt x="1025" y="758"/>
                  </a:lnTo>
                  <a:lnTo>
                    <a:pt x="1031" y="754"/>
                  </a:lnTo>
                  <a:lnTo>
                    <a:pt x="1044" y="754"/>
                  </a:lnTo>
                  <a:lnTo>
                    <a:pt x="1051" y="747"/>
                  </a:lnTo>
                  <a:lnTo>
                    <a:pt x="1059" y="735"/>
                  </a:lnTo>
                  <a:lnTo>
                    <a:pt x="1079" y="716"/>
                  </a:lnTo>
                  <a:lnTo>
                    <a:pt x="1092" y="715"/>
                  </a:lnTo>
                  <a:lnTo>
                    <a:pt x="1104" y="716"/>
                  </a:lnTo>
                  <a:lnTo>
                    <a:pt x="1114" y="712"/>
                  </a:lnTo>
                  <a:lnTo>
                    <a:pt x="1113" y="704"/>
                  </a:lnTo>
                  <a:lnTo>
                    <a:pt x="1104" y="688"/>
                  </a:lnTo>
                  <a:lnTo>
                    <a:pt x="1104" y="677"/>
                  </a:lnTo>
                  <a:lnTo>
                    <a:pt x="1110" y="678"/>
                  </a:lnTo>
                  <a:lnTo>
                    <a:pt x="1118" y="691"/>
                  </a:lnTo>
                  <a:lnTo>
                    <a:pt x="1134" y="697"/>
                  </a:lnTo>
                  <a:lnTo>
                    <a:pt x="1136" y="710"/>
                  </a:lnTo>
                  <a:lnTo>
                    <a:pt x="1146" y="729"/>
                  </a:lnTo>
                  <a:lnTo>
                    <a:pt x="1147" y="736"/>
                  </a:lnTo>
                  <a:lnTo>
                    <a:pt x="1152" y="745"/>
                  </a:lnTo>
                  <a:lnTo>
                    <a:pt x="1177" y="744"/>
                  </a:lnTo>
                  <a:lnTo>
                    <a:pt x="1197" y="745"/>
                  </a:lnTo>
                  <a:lnTo>
                    <a:pt x="1204" y="748"/>
                  </a:lnTo>
                  <a:lnTo>
                    <a:pt x="1213" y="750"/>
                  </a:lnTo>
                  <a:lnTo>
                    <a:pt x="1220" y="739"/>
                  </a:lnTo>
                  <a:lnTo>
                    <a:pt x="1229" y="738"/>
                  </a:lnTo>
                  <a:lnTo>
                    <a:pt x="1242" y="744"/>
                  </a:lnTo>
                  <a:lnTo>
                    <a:pt x="1257" y="744"/>
                  </a:lnTo>
                  <a:lnTo>
                    <a:pt x="1264" y="745"/>
                  </a:lnTo>
                  <a:lnTo>
                    <a:pt x="1265" y="760"/>
                  </a:lnTo>
                  <a:lnTo>
                    <a:pt x="1264" y="771"/>
                  </a:lnTo>
                  <a:lnTo>
                    <a:pt x="1258" y="783"/>
                  </a:lnTo>
                  <a:lnTo>
                    <a:pt x="1245" y="803"/>
                  </a:lnTo>
                  <a:lnTo>
                    <a:pt x="1216" y="824"/>
                  </a:lnTo>
                  <a:lnTo>
                    <a:pt x="1216" y="828"/>
                  </a:lnTo>
                  <a:lnTo>
                    <a:pt x="1216" y="834"/>
                  </a:lnTo>
                  <a:lnTo>
                    <a:pt x="1231" y="837"/>
                  </a:lnTo>
                  <a:lnTo>
                    <a:pt x="1244" y="840"/>
                  </a:lnTo>
                  <a:lnTo>
                    <a:pt x="1267" y="843"/>
                  </a:lnTo>
                  <a:lnTo>
                    <a:pt x="1271" y="838"/>
                  </a:lnTo>
                  <a:lnTo>
                    <a:pt x="1274" y="831"/>
                  </a:lnTo>
                  <a:lnTo>
                    <a:pt x="1283" y="827"/>
                  </a:lnTo>
                  <a:lnTo>
                    <a:pt x="1293" y="814"/>
                  </a:lnTo>
                  <a:lnTo>
                    <a:pt x="1316" y="799"/>
                  </a:lnTo>
                  <a:lnTo>
                    <a:pt x="1316" y="799"/>
                  </a:lnTo>
                  <a:lnTo>
                    <a:pt x="1309" y="766"/>
                  </a:lnTo>
                  <a:close/>
                  <a:moveTo>
                    <a:pt x="888" y="61"/>
                  </a:moveTo>
                  <a:lnTo>
                    <a:pt x="887" y="61"/>
                  </a:lnTo>
                  <a:lnTo>
                    <a:pt x="887" y="62"/>
                  </a:lnTo>
                  <a:lnTo>
                    <a:pt x="888" y="61"/>
                  </a:lnTo>
                  <a:close/>
                  <a:moveTo>
                    <a:pt x="858" y="119"/>
                  </a:moveTo>
                  <a:lnTo>
                    <a:pt x="858" y="113"/>
                  </a:lnTo>
                  <a:lnTo>
                    <a:pt x="859" y="107"/>
                  </a:lnTo>
                  <a:lnTo>
                    <a:pt x="861" y="103"/>
                  </a:lnTo>
                  <a:lnTo>
                    <a:pt x="866" y="99"/>
                  </a:lnTo>
                  <a:lnTo>
                    <a:pt x="868" y="94"/>
                  </a:lnTo>
                  <a:lnTo>
                    <a:pt x="872" y="83"/>
                  </a:lnTo>
                  <a:lnTo>
                    <a:pt x="872" y="71"/>
                  </a:lnTo>
                  <a:lnTo>
                    <a:pt x="874" y="61"/>
                  </a:lnTo>
                  <a:lnTo>
                    <a:pt x="882" y="54"/>
                  </a:lnTo>
                  <a:lnTo>
                    <a:pt x="882" y="67"/>
                  </a:lnTo>
                  <a:lnTo>
                    <a:pt x="885" y="67"/>
                  </a:lnTo>
                  <a:lnTo>
                    <a:pt x="885" y="58"/>
                  </a:lnTo>
                  <a:lnTo>
                    <a:pt x="887" y="58"/>
                  </a:lnTo>
                  <a:lnTo>
                    <a:pt x="887" y="59"/>
                  </a:lnTo>
                  <a:lnTo>
                    <a:pt x="887" y="61"/>
                  </a:lnTo>
                  <a:lnTo>
                    <a:pt x="887" y="54"/>
                  </a:lnTo>
                  <a:lnTo>
                    <a:pt x="885" y="51"/>
                  </a:lnTo>
                  <a:lnTo>
                    <a:pt x="881" y="49"/>
                  </a:lnTo>
                  <a:lnTo>
                    <a:pt x="877" y="49"/>
                  </a:lnTo>
                  <a:lnTo>
                    <a:pt x="871" y="51"/>
                  </a:lnTo>
                  <a:lnTo>
                    <a:pt x="868" y="55"/>
                  </a:lnTo>
                  <a:lnTo>
                    <a:pt x="866" y="71"/>
                  </a:lnTo>
                  <a:lnTo>
                    <a:pt x="855" y="110"/>
                  </a:lnTo>
                  <a:lnTo>
                    <a:pt x="855" y="123"/>
                  </a:lnTo>
                  <a:lnTo>
                    <a:pt x="855" y="132"/>
                  </a:lnTo>
                  <a:lnTo>
                    <a:pt x="856" y="132"/>
                  </a:lnTo>
                  <a:lnTo>
                    <a:pt x="858" y="119"/>
                  </a:lnTo>
                  <a:close/>
                  <a:moveTo>
                    <a:pt x="936" y="102"/>
                  </a:moveTo>
                  <a:lnTo>
                    <a:pt x="935" y="97"/>
                  </a:lnTo>
                  <a:lnTo>
                    <a:pt x="933" y="89"/>
                  </a:lnTo>
                  <a:lnTo>
                    <a:pt x="929" y="86"/>
                  </a:lnTo>
                  <a:lnTo>
                    <a:pt x="925" y="84"/>
                  </a:lnTo>
                  <a:lnTo>
                    <a:pt x="923" y="81"/>
                  </a:lnTo>
                  <a:lnTo>
                    <a:pt x="917" y="80"/>
                  </a:lnTo>
                  <a:lnTo>
                    <a:pt x="891" y="83"/>
                  </a:lnTo>
                  <a:lnTo>
                    <a:pt x="882" y="87"/>
                  </a:lnTo>
                  <a:lnTo>
                    <a:pt x="885" y="87"/>
                  </a:lnTo>
                  <a:lnTo>
                    <a:pt x="888" y="89"/>
                  </a:lnTo>
                  <a:lnTo>
                    <a:pt x="890" y="91"/>
                  </a:lnTo>
                  <a:lnTo>
                    <a:pt x="890" y="97"/>
                  </a:lnTo>
                  <a:lnTo>
                    <a:pt x="891" y="102"/>
                  </a:lnTo>
                  <a:lnTo>
                    <a:pt x="893" y="103"/>
                  </a:lnTo>
                  <a:lnTo>
                    <a:pt x="894" y="103"/>
                  </a:lnTo>
                  <a:lnTo>
                    <a:pt x="894" y="105"/>
                  </a:lnTo>
                  <a:lnTo>
                    <a:pt x="897" y="107"/>
                  </a:lnTo>
                  <a:lnTo>
                    <a:pt x="903" y="107"/>
                  </a:lnTo>
                  <a:lnTo>
                    <a:pt x="913" y="103"/>
                  </a:lnTo>
                  <a:lnTo>
                    <a:pt x="914" y="107"/>
                  </a:lnTo>
                  <a:lnTo>
                    <a:pt x="913" y="109"/>
                  </a:lnTo>
                  <a:lnTo>
                    <a:pt x="911" y="110"/>
                  </a:lnTo>
                  <a:lnTo>
                    <a:pt x="911" y="112"/>
                  </a:lnTo>
                  <a:lnTo>
                    <a:pt x="914" y="116"/>
                  </a:lnTo>
                  <a:lnTo>
                    <a:pt x="917" y="119"/>
                  </a:lnTo>
                  <a:lnTo>
                    <a:pt x="928" y="123"/>
                  </a:lnTo>
                  <a:lnTo>
                    <a:pt x="926" y="126"/>
                  </a:lnTo>
                  <a:lnTo>
                    <a:pt x="923" y="128"/>
                  </a:lnTo>
                  <a:lnTo>
                    <a:pt x="923" y="128"/>
                  </a:lnTo>
                  <a:lnTo>
                    <a:pt x="923" y="132"/>
                  </a:lnTo>
                  <a:lnTo>
                    <a:pt x="916" y="132"/>
                  </a:lnTo>
                  <a:lnTo>
                    <a:pt x="906" y="138"/>
                  </a:lnTo>
                  <a:lnTo>
                    <a:pt x="895" y="141"/>
                  </a:lnTo>
                  <a:lnTo>
                    <a:pt x="893" y="144"/>
                  </a:lnTo>
                  <a:lnTo>
                    <a:pt x="887" y="157"/>
                  </a:lnTo>
                  <a:lnTo>
                    <a:pt x="903" y="153"/>
                  </a:lnTo>
                  <a:lnTo>
                    <a:pt x="906" y="154"/>
                  </a:lnTo>
                  <a:lnTo>
                    <a:pt x="909" y="157"/>
                  </a:lnTo>
                  <a:lnTo>
                    <a:pt x="911" y="160"/>
                  </a:lnTo>
                  <a:lnTo>
                    <a:pt x="916" y="160"/>
                  </a:lnTo>
                  <a:lnTo>
                    <a:pt x="916" y="164"/>
                  </a:lnTo>
                  <a:lnTo>
                    <a:pt x="914" y="170"/>
                  </a:lnTo>
                  <a:lnTo>
                    <a:pt x="916" y="176"/>
                  </a:lnTo>
                  <a:lnTo>
                    <a:pt x="920" y="180"/>
                  </a:lnTo>
                  <a:lnTo>
                    <a:pt x="926" y="180"/>
                  </a:lnTo>
                  <a:lnTo>
                    <a:pt x="914" y="188"/>
                  </a:lnTo>
                  <a:lnTo>
                    <a:pt x="910" y="189"/>
                  </a:lnTo>
                  <a:lnTo>
                    <a:pt x="906" y="185"/>
                  </a:lnTo>
                  <a:lnTo>
                    <a:pt x="904" y="189"/>
                  </a:lnTo>
                  <a:lnTo>
                    <a:pt x="893" y="182"/>
                  </a:lnTo>
                  <a:lnTo>
                    <a:pt x="884" y="186"/>
                  </a:lnTo>
                  <a:lnTo>
                    <a:pt x="878" y="196"/>
                  </a:lnTo>
                  <a:lnTo>
                    <a:pt x="872" y="209"/>
                  </a:lnTo>
                  <a:lnTo>
                    <a:pt x="894" y="225"/>
                  </a:lnTo>
                  <a:lnTo>
                    <a:pt x="894" y="230"/>
                  </a:lnTo>
                  <a:lnTo>
                    <a:pt x="890" y="227"/>
                  </a:lnTo>
                  <a:lnTo>
                    <a:pt x="884" y="228"/>
                  </a:lnTo>
                  <a:lnTo>
                    <a:pt x="882" y="233"/>
                  </a:lnTo>
                  <a:lnTo>
                    <a:pt x="885" y="237"/>
                  </a:lnTo>
                  <a:lnTo>
                    <a:pt x="888" y="237"/>
                  </a:lnTo>
                  <a:lnTo>
                    <a:pt x="898" y="233"/>
                  </a:lnTo>
                  <a:lnTo>
                    <a:pt x="904" y="234"/>
                  </a:lnTo>
                  <a:lnTo>
                    <a:pt x="901" y="241"/>
                  </a:lnTo>
                  <a:lnTo>
                    <a:pt x="906" y="246"/>
                  </a:lnTo>
                  <a:lnTo>
                    <a:pt x="911" y="249"/>
                  </a:lnTo>
                  <a:lnTo>
                    <a:pt x="917" y="250"/>
                  </a:lnTo>
                  <a:lnTo>
                    <a:pt x="919" y="252"/>
                  </a:lnTo>
                  <a:lnTo>
                    <a:pt x="922" y="256"/>
                  </a:lnTo>
                  <a:lnTo>
                    <a:pt x="926" y="257"/>
                  </a:lnTo>
                  <a:lnTo>
                    <a:pt x="929" y="256"/>
                  </a:lnTo>
                  <a:lnTo>
                    <a:pt x="932" y="254"/>
                  </a:lnTo>
                  <a:lnTo>
                    <a:pt x="935" y="253"/>
                  </a:lnTo>
                  <a:lnTo>
                    <a:pt x="942" y="254"/>
                  </a:lnTo>
                  <a:lnTo>
                    <a:pt x="941" y="252"/>
                  </a:lnTo>
                  <a:lnTo>
                    <a:pt x="939" y="250"/>
                  </a:lnTo>
                  <a:lnTo>
                    <a:pt x="942" y="247"/>
                  </a:lnTo>
                  <a:lnTo>
                    <a:pt x="944" y="244"/>
                  </a:lnTo>
                  <a:lnTo>
                    <a:pt x="949" y="241"/>
                  </a:lnTo>
                  <a:lnTo>
                    <a:pt x="945" y="250"/>
                  </a:lnTo>
                  <a:lnTo>
                    <a:pt x="944" y="257"/>
                  </a:lnTo>
                  <a:lnTo>
                    <a:pt x="941" y="260"/>
                  </a:lnTo>
                  <a:lnTo>
                    <a:pt x="954" y="269"/>
                  </a:lnTo>
                  <a:lnTo>
                    <a:pt x="964" y="273"/>
                  </a:lnTo>
                  <a:lnTo>
                    <a:pt x="974" y="275"/>
                  </a:lnTo>
                  <a:lnTo>
                    <a:pt x="980" y="272"/>
                  </a:lnTo>
                  <a:lnTo>
                    <a:pt x="980" y="266"/>
                  </a:lnTo>
                  <a:lnTo>
                    <a:pt x="979" y="252"/>
                  </a:lnTo>
                  <a:lnTo>
                    <a:pt x="976" y="252"/>
                  </a:lnTo>
                  <a:lnTo>
                    <a:pt x="960" y="254"/>
                  </a:lnTo>
                  <a:lnTo>
                    <a:pt x="960" y="254"/>
                  </a:lnTo>
                  <a:lnTo>
                    <a:pt x="961" y="254"/>
                  </a:lnTo>
                  <a:lnTo>
                    <a:pt x="961" y="254"/>
                  </a:lnTo>
                  <a:lnTo>
                    <a:pt x="961" y="259"/>
                  </a:lnTo>
                  <a:lnTo>
                    <a:pt x="957" y="262"/>
                  </a:lnTo>
                  <a:lnTo>
                    <a:pt x="958" y="246"/>
                  </a:lnTo>
                  <a:lnTo>
                    <a:pt x="965" y="243"/>
                  </a:lnTo>
                  <a:lnTo>
                    <a:pt x="974" y="240"/>
                  </a:lnTo>
                  <a:lnTo>
                    <a:pt x="979" y="231"/>
                  </a:lnTo>
                  <a:lnTo>
                    <a:pt x="981" y="225"/>
                  </a:lnTo>
                  <a:lnTo>
                    <a:pt x="1000" y="209"/>
                  </a:lnTo>
                  <a:lnTo>
                    <a:pt x="1006" y="205"/>
                  </a:lnTo>
                  <a:lnTo>
                    <a:pt x="1041" y="201"/>
                  </a:lnTo>
                  <a:lnTo>
                    <a:pt x="1046" y="204"/>
                  </a:lnTo>
                  <a:lnTo>
                    <a:pt x="1047" y="208"/>
                  </a:lnTo>
                  <a:lnTo>
                    <a:pt x="1050" y="208"/>
                  </a:lnTo>
                  <a:lnTo>
                    <a:pt x="1056" y="204"/>
                  </a:lnTo>
                  <a:lnTo>
                    <a:pt x="1059" y="201"/>
                  </a:lnTo>
                  <a:lnTo>
                    <a:pt x="1063" y="201"/>
                  </a:lnTo>
                  <a:lnTo>
                    <a:pt x="1073" y="201"/>
                  </a:lnTo>
                  <a:lnTo>
                    <a:pt x="1073" y="205"/>
                  </a:lnTo>
                  <a:lnTo>
                    <a:pt x="1066" y="208"/>
                  </a:lnTo>
                  <a:lnTo>
                    <a:pt x="1047" y="221"/>
                  </a:lnTo>
                  <a:lnTo>
                    <a:pt x="1054" y="217"/>
                  </a:lnTo>
                  <a:lnTo>
                    <a:pt x="1062" y="214"/>
                  </a:lnTo>
                  <a:lnTo>
                    <a:pt x="1080" y="212"/>
                  </a:lnTo>
                  <a:lnTo>
                    <a:pt x="1078" y="220"/>
                  </a:lnTo>
                  <a:lnTo>
                    <a:pt x="1072" y="224"/>
                  </a:lnTo>
                  <a:lnTo>
                    <a:pt x="1059" y="230"/>
                  </a:lnTo>
                  <a:lnTo>
                    <a:pt x="1059" y="234"/>
                  </a:lnTo>
                  <a:lnTo>
                    <a:pt x="1063" y="236"/>
                  </a:lnTo>
                  <a:lnTo>
                    <a:pt x="1069" y="236"/>
                  </a:lnTo>
                  <a:lnTo>
                    <a:pt x="1075" y="233"/>
                  </a:lnTo>
                  <a:lnTo>
                    <a:pt x="1078" y="230"/>
                  </a:lnTo>
                  <a:lnTo>
                    <a:pt x="1080" y="230"/>
                  </a:lnTo>
                  <a:lnTo>
                    <a:pt x="1082" y="236"/>
                  </a:lnTo>
                  <a:lnTo>
                    <a:pt x="1080" y="240"/>
                  </a:lnTo>
                  <a:lnTo>
                    <a:pt x="1078" y="241"/>
                  </a:lnTo>
                  <a:lnTo>
                    <a:pt x="1073" y="241"/>
                  </a:lnTo>
                  <a:lnTo>
                    <a:pt x="1080" y="244"/>
                  </a:lnTo>
                  <a:lnTo>
                    <a:pt x="1083" y="244"/>
                  </a:lnTo>
                  <a:lnTo>
                    <a:pt x="1085" y="241"/>
                  </a:lnTo>
                  <a:lnTo>
                    <a:pt x="1085" y="231"/>
                  </a:lnTo>
                  <a:lnTo>
                    <a:pt x="1086" y="222"/>
                  </a:lnTo>
                  <a:lnTo>
                    <a:pt x="1089" y="214"/>
                  </a:lnTo>
                  <a:lnTo>
                    <a:pt x="1095" y="208"/>
                  </a:lnTo>
                  <a:lnTo>
                    <a:pt x="1099" y="205"/>
                  </a:lnTo>
                  <a:lnTo>
                    <a:pt x="1091" y="202"/>
                  </a:lnTo>
                  <a:lnTo>
                    <a:pt x="1085" y="193"/>
                  </a:lnTo>
                  <a:lnTo>
                    <a:pt x="1075" y="177"/>
                  </a:lnTo>
                  <a:lnTo>
                    <a:pt x="1067" y="171"/>
                  </a:lnTo>
                  <a:lnTo>
                    <a:pt x="1051" y="169"/>
                  </a:lnTo>
                  <a:lnTo>
                    <a:pt x="1044" y="164"/>
                  </a:lnTo>
                  <a:lnTo>
                    <a:pt x="1041" y="158"/>
                  </a:lnTo>
                  <a:lnTo>
                    <a:pt x="1037" y="150"/>
                  </a:lnTo>
                  <a:lnTo>
                    <a:pt x="1034" y="139"/>
                  </a:lnTo>
                  <a:lnTo>
                    <a:pt x="1032" y="129"/>
                  </a:lnTo>
                  <a:lnTo>
                    <a:pt x="1035" y="121"/>
                  </a:lnTo>
                  <a:lnTo>
                    <a:pt x="1044" y="113"/>
                  </a:lnTo>
                  <a:lnTo>
                    <a:pt x="1059" y="103"/>
                  </a:lnTo>
                  <a:lnTo>
                    <a:pt x="1067" y="89"/>
                  </a:lnTo>
                  <a:lnTo>
                    <a:pt x="1066" y="72"/>
                  </a:lnTo>
                  <a:lnTo>
                    <a:pt x="1056" y="61"/>
                  </a:lnTo>
                  <a:lnTo>
                    <a:pt x="1040" y="58"/>
                  </a:lnTo>
                  <a:lnTo>
                    <a:pt x="995" y="67"/>
                  </a:lnTo>
                  <a:lnTo>
                    <a:pt x="980" y="62"/>
                  </a:lnTo>
                  <a:lnTo>
                    <a:pt x="974" y="56"/>
                  </a:lnTo>
                  <a:lnTo>
                    <a:pt x="970" y="51"/>
                  </a:lnTo>
                  <a:lnTo>
                    <a:pt x="967" y="42"/>
                  </a:lnTo>
                  <a:lnTo>
                    <a:pt x="965" y="32"/>
                  </a:lnTo>
                  <a:lnTo>
                    <a:pt x="968" y="23"/>
                  </a:lnTo>
                  <a:lnTo>
                    <a:pt x="974" y="17"/>
                  </a:lnTo>
                  <a:lnTo>
                    <a:pt x="981" y="13"/>
                  </a:lnTo>
                  <a:lnTo>
                    <a:pt x="987" y="8"/>
                  </a:lnTo>
                  <a:lnTo>
                    <a:pt x="987" y="6"/>
                  </a:lnTo>
                  <a:lnTo>
                    <a:pt x="979" y="0"/>
                  </a:lnTo>
                  <a:lnTo>
                    <a:pt x="968" y="0"/>
                  </a:lnTo>
                  <a:lnTo>
                    <a:pt x="920" y="14"/>
                  </a:lnTo>
                  <a:lnTo>
                    <a:pt x="917" y="17"/>
                  </a:lnTo>
                  <a:lnTo>
                    <a:pt x="913" y="22"/>
                  </a:lnTo>
                  <a:lnTo>
                    <a:pt x="911" y="24"/>
                  </a:lnTo>
                  <a:lnTo>
                    <a:pt x="911" y="32"/>
                  </a:lnTo>
                  <a:lnTo>
                    <a:pt x="913" y="33"/>
                  </a:lnTo>
                  <a:lnTo>
                    <a:pt x="919" y="29"/>
                  </a:lnTo>
                  <a:lnTo>
                    <a:pt x="933" y="24"/>
                  </a:lnTo>
                  <a:lnTo>
                    <a:pt x="935" y="27"/>
                  </a:lnTo>
                  <a:lnTo>
                    <a:pt x="933" y="33"/>
                  </a:lnTo>
                  <a:lnTo>
                    <a:pt x="932" y="39"/>
                  </a:lnTo>
                  <a:lnTo>
                    <a:pt x="932" y="42"/>
                  </a:lnTo>
                  <a:lnTo>
                    <a:pt x="926" y="46"/>
                  </a:lnTo>
                  <a:lnTo>
                    <a:pt x="922" y="56"/>
                  </a:lnTo>
                  <a:lnTo>
                    <a:pt x="920" y="67"/>
                  </a:lnTo>
                  <a:lnTo>
                    <a:pt x="920" y="74"/>
                  </a:lnTo>
                  <a:lnTo>
                    <a:pt x="928" y="77"/>
                  </a:lnTo>
                  <a:lnTo>
                    <a:pt x="933" y="71"/>
                  </a:lnTo>
                  <a:lnTo>
                    <a:pt x="939" y="65"/>
                  </a:lnTo>
                  <a:lnTo>
                    <a:pt x="948" y="61"/>
                  </a:lnTo>
                  <a:lnTo>
                    <a:pt x="954" y="52"/>
                  </a:lnTo>
                  <a:lnTo>
                    <a:pt x="957" y="49"/>
                  </a:lnTo>
                  <a:lnTo>
                    <a:pt x="961" y="46"/>
                  </a:lnTo>
                  <a:lnTo>
                    <a:pt x="962" y="48"/>
                  </a:lnTo>
                  <a:lnTo>
                    <a:pt x="965" y="54"/>
                  </a:lnTo>
                  <a:lnTo>
                    <a:pt x="968" y="58"/>
                  </a:lnTo>
                  <a:lnTo>
                    <a:pt x="970" y="62"/>
                  </a:lnTo>
                  <a:lnTo>
                    <a:pt x="971" y="65"/>
                  </a:lnTo>
                  <a:lnTo>
                    <a:pt x="977" y="67"/>
                  </a:lnTo>
                  <a:lnTo>
                    <a:pt x="980" y="68"/>
                  </a:lnTo>
                  <a:lnTo>
                    <a:pt x="983" y="72"/>
                  </a:lnTo>
                  <a:lnTo>
                    <a:pt x="984" y="77"/>
                  </a:lnTo>
                  <a:lnTo>
                    <a:pt x="986" y="78"/>
                  </a:lnTo>
                  <a:lnTo>
                    <a:pt x="997" y="80"/>
                  </a:lnTo>
                  <a:lnTo>
                    <a:pt x="1002" y="78"/>
                  </a:lnTo>
                  <a:lnTo>
                    <a:pt x="1005" y="77"/>
                  </a:lnTo>
                  <a:lnTo>
                    <a:pt x="1006" y="74"/>
                  </a:lnTo>
                  <a:lnTo>
                    <a:pt x="1009" y="71"/>
                  </a:lnTo>
                  <a:lnTo>
                    <a:pt x="1013" y="71"/>
                  </a:lnTo>
                  <a:lnTo>
                    <a:pt x="1013" y="74"/>
                  </a:lnTo>
                  <a:lnTo>
                    <a:pt x="1011" y="75"/>
                  </a:lnTo>
                  <a:lnTo>
                    <a:pt x="1009" y="75"/>
                  </a:lnTo>
                  <a:lnTo>
                    <a:pt x="1008" y="77"/>
                  </a:lnTo>
                  <a:lnTo>
                    <a:pt x="1006" y="78"/>
                  </a:lnTo>
                  <a:lnTo>
                    <a:pt x="1006" y="83"/>
                  </a:lnTo>
                  <a:lnTo>
                    <a:pt x="1009" y="86"/>
                  </a:lnTo>
                  <a:lnTo>
                    <a:pt x="1011" y="90"/>
                  </a:lnTo>
                  <a:lnTo>
                    <a:pt x="1013" y="99"/>
                  </a:lnTo>
                  <a:lnTo>
                    <a:pt x="1013" y="103"/>
                  </a:lnTo>
                  <a:lnTo>
                    <a:pt x="1012" y="105"/>
                  </a:lnTo>
                  <a:lnTo>
                    <a:pt x="1009" y="107"/>
                  </a:lnTo>
                  <a:lnTo>
                    <a:pt x="1006" y="115"/>
                  </a:lnTo>
                  <a:lnTo>
                    <a:pt x="1009" y="119"/>
                  </a:lnTo>
                  <a:lnTo>
                    <a:pt x="992" y="121"/>
                  </a:lnTo>
                  <a:lnTo>
                    <a:pt x="983" y="118"/>
                  </a:lnTo>
                  <a:lnTo>
                    <a:pt x="976" y="107"/>
                  </a:lnTo>
                  <a:lnTo>
                    <a:pt x="977" y="99"/>
                  </a:lnTo>
                  <a:lnTo>
                    <a:pt x="974" y="90"/>
                  </a:lnTo>
                  <a:lnTo>
                    <a:pt x="967" y="83"/>
                  </a:lnTo>
                  <a:lnTo>
                    <a:pt x="964" y="74"/>
                  </a:lnTo>
                  <a:lnTo>
                    <a:pt x="960" y="78"/>
                  </a:lnTo>
                  <a:lnTo>
                    <a:pt x="960" y="83"/>
                  </a:lnTo>
                  <a:lnTo>
                    <a:pt x="962" y="84"/>
                  </a:lnTo>
                  <a:lnTo>
                    <a:pt x="965" y="86"/>
                  </a:lnTo>
                  <a:lnTo>
                    <a:pt x="968" y="87"/>
                  </a:lnTo>
                  <a:lnTo>
                    <a:pt x="965" y="94"/>
                  </a:lnTo>
                  <a:lnTo>
                    <a:pt x="962" y="97"/>
                  </a:lnTo>
                  <a:lnTo>
                    <a:pt x="960" y="99"/>
                  </a:lnTo>
                  <a:lnTo>
                    <a:pt x="954" y="99"/>
                  </a:lnTo>
                  <a:lnTo>
                    <a:pt x="957" y="90"/>
                  </a:lnTo>
                  <a:lnTo>
                    <a:pt x="960" y="87"/>
                  </a:lnTo>
                  <a:lnTo>
                    <a:pt x="957" y="84"/>
                  </a:lnTo>
                  <a:lnTo>
                    <a:pt x="955" y="83"/>
                  </a:lnTo>
                  <a:lnTo>
                    <a:pt x="954" y="83"/>
                  </a:lnTo>
                  <a:lnTo>
                    <a:pt x="952" y="83"/>
                  </a:lnTo>
                  <a:lnTo>
                    <a:pt x="955" y="80"/>
                  </a:lnTo>
                  <a:lnTo>
                    <a:pt x="957" y="74"/>
                  </a:lnTo>
                  <a:lnTo>
                    <a:pt x="961" y="62"/>
                  </a:lnTo>
                  <a:lnTo>
                    <a:pt x="955" y="64"/>
                  </a:lnTo>
                  <a:lnTo>
                    <a:pt x="948" y="70"/>
                  </a:lnTo>
                  <a:lnTo>
                    <a:pt x="942" y="75"/>
                  </a:lnTo>
                  <a:lnTo>
                    <a:pt x="938" y="83"/>
                  </a:lnTo>
                  <a:lnTo>
                    <a:pt x="941" y="91"/>
                  </a:lnTo>
                  <a:lnTo>
                    <a:pt x="939" y="99"/>
                  </a:lnTo>
                  <a:lnTo>
                    <a:pt x="936" y="102"/>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13">
              <a:extLst>
                <a:ext uri="{FF2B5EF4-FFF2-40B4-BE49-F238E27FC236}">
                  <a16:creationId xmlns:a16="http://schemas.microsoft.com/office/drawing/2014/main" id="{55762EA1-6276-426A-8A90-969B22129EFA}"/>
                </a:ext>
              </a:extLst>
            </p:cNvPr>
            <p:cNvSpPr>
              <a:spLocks noEditPoints="1"/>
            </p:cNvSpPr>
            <p:nvPr/>
          </p:nvSpPr>
          <p:spPr bwMode="gray">
            <a:xfrm>
              <a:off x="4011613" y="1114425"/>
              <a:ext cx="2714625" cy="2355850"/>
            </a:xfrm>
            <a:custGeom>
              <a:avLst/>
              <a:gdLst>
                <a:gd name="T0" fmla="*/ 422 w 1710"/>
                <a:gd name="T1" fmla="*/ 61 h 1484"/>
                <a:gd name="T2" fmla="*/ 514 w 1710"/>
                <a:gd name="T3" fmla="*/ 102 h 1484"/>
                <a:gd name="T4" fmla="*/ 40 w 1710"/>
                <a:gd name="T5" fmla="*/ 170 h 1484"/>
                <a:gd name="T6" fmla="*/ 1628 w 1710"/>
                <a:gd name="T7" fmla="*/ 480 h 1484"/>
                <a:gd name="T8" fmla="*/ 1452 w 1710"/>
                <a:gd name="T9" fmla="*/ 368 h 1484"/>
                <a:gd name="T10" fmla="*/ 1200 w 1710"/>
                <a:gd name="T11" fmla="*/ 268 h 1484"/>
                <a:gd name="T12" fmla="*/ 1124 w 1710"/>
                <a:gd name="T13" fmla="*/ 259 h 1484"/>
                <a:gd name="T14" fmla="*/ 1017 w 1710"/>
                <a:gd name="T15" fmla="*/ 176 h 1484"/>
                <a:gd name="T16" fmla="*/ 677 w 1710"/>
                <a:gd name="T17" fmla="*/ 6 h 1484"/>
                <a:gd name="T18" fmla="*/ 635 w 1710"/>
                <a:gd name="T19" fmla="*/ 255 h 1484"/>
                <a:gd name="T20" fmla="*/ 552 w 1710"/>
                <a:gd name="T21" fmla="*/ 282 h 1484"/>
                <a:gd name="T22" fmla="*/ 499 w 1710"/>
                <a:gd name="T23" fmla="*/ 169 h 1484"/>
                <a:gd name="T24" fmla="*/ 140 w 1710"/>
                <a:gd name="T25" fmla="*/ 217 h 1484"/>
                <a:gd name="T26" fmla="*/ 183 w 1710"/>
                <a:gd name="T27" fmla="*/ 422 h 1484"/>
                <a:gd name="T28" fmla="*/ 14 w 1710"/>
                <a:gd name="T29" fmla="*/ 737 h 1484"/>
                <a:gd name="T30" fmla="*/ 109 w 1710"/>
                <a:gd name="T31" fmla="*/ 833 h 1484"/>
                <a:gd name="T32" fmla="*/ 304 w 1710"/>
                <a:gd name="T33" fmla="*/ 876 h 1484"/>
                <a:gd name="T34" fmla="*/ 357 w 1710"/>
                <a:gd name="T35" fmla="*/ 828 h 1484"/>
                <a:gd name="T36" fmla="*/ 443 w 1710"/>
                <a:gd name="T37" fmla="*/ 916 h 1484"/>
                <a:gd name="T38" fmla="*/ 440 w 1710"/>
                <a:gd name="T39" fmla="*/ 977 h 1484"/>
                <a:gd name="T40" fmla="*/ 431 w 1710"/>
                <a:gd name="T41" fmla="*/ 1044 h 1484"/>
                <a:gd name="T42" fmla="*/ 614 w 1710"/>
                <a:gd name="T43" fmla="*/ 1009 h 1484"/>
                <a:gd name="T44" fmla="*/ 587 w 1710"/>
                <a:gd name="T45" fmla="*/ 836 h 1484"/>
                <a:gd name="T46" fmla="*/ 712 w 1710"/>
                <a:gd name="T47" fmla="*/ 821 h 1484"/>
                <a:gd name="T48" fmla="*/ 811 w 1710"/>
                <a:gd name="T49" fmla="*/ 828 h 1484"/>
                <a:gd name="T50" fmla="*/ 836 w 1710"/>
                <a:gd name="T51" fmla="*/ 892 h 1484"/>
                <a:gd name="T52" fmla="*/ 829 w 1710"/>
                <a:gd name="T53" fmla="*/ 962 h 1484"/>
                <a:gd name="T54" fmla="*/ 836 w 1710"/>
                <a:gd name="T55" fmla="*/ 1010 h 1484"/>
                <a:gd name="T56" fmla="*/ 878 w 1710"/>
                <a:gd name="T57" fmla="*/ 1087 h 1484"/>
                <a:gd name="T58" fmla="*/ 913 w 1710"/>
                <a:gd name="T59" fmla="*/ 1105 h 1484"/>
                <a:gd name="T60" fmla="*/ 970 w 1710"/>
                <a:gd name="T61" fmla="*/ 1163 h 1484"/>
                <a:gd name="T62" fmla="*/ 955 w 1710"/>
                <a:gd name="T63" fmla="*/ 1227 h 1484"/>
                <a:gd name="T64" fmla="*/ 944 w 1710"/>
                <a:gd name="T65" fmla="*/ 1281 h 1484"/>
                <a:gd name="T66" fmla="*/ 1003 w 1710"/>
                <a:gd name="T67" fmla="*/ 1290 h 1484"/>
                <a:gd name="T68" fmla="*/ 1035 w 1710"/>
                <a:gd name="T69" fmla="*/ 1328 h 1484"/>
                <a:gd name="T70" fmla="*/ 1034 w 1710"/>
                <a:gd name="T71" fmla="*/ 1383 h 1484"/>
                <a:gd name="T72" fmla="*/ 1012 w 1710"/>
                <a:gd name="T73" fmla="*/ 1441 h 1484"/>
                <a:gd name="T74" fmla="*/ 1082 w 1710"/>
                <a:gd name="T75" fmla="*/ 1463 h 1484"/>
                <a:gd name="T76" fmla="*/ 1089 w 1710"/>
                <a:gd name="T77" fmla="*/ 1428 h 1484"/>
                <a:gd name="T78" fmla="*/ 1113 w 1710"/>
                <a:gd name="T79" fmla="*/ 1421 h 1484"/>
                <a:gd name="T80" fmla="*/ 1187 w 1710"/>
                <a:gd name="T81" fmla="*/ 1412 h 1484"/>
                <a:gd name="T82" fmla="*/ 1235 w 1710"/>
                <a:gd name="T83" fmla="*/ 1380 h 1484"/>
                <a:gd name="T84" fmla="*/ 1293 w 1710"/>
                <a:gd name="T85" fmla="*/ 1326 h 1484"/>
                <a:gd name="T86" fmla="*/ 1389 w 1710"/>
                <a:gd name="T87" fmla="*/ 1326 h 1484"/>
                <a:gd name="T88" fmla="*/ 1373 w 1710"/>
                <a:gd name="T89" fmla="*/ 1221 h 1484"/>
                <a:gd name="T90" fmla="*/ 1384 w 1710"/>
                <a:gd name="T91" fmla="*/ 1154 h 1484"/>
                <a:gd name="T92" fmla="*/ 1365 w 1710"/>
                <a:gd name="T93" fmla="*/ 1095 h 1484"/>
                <a:gd name="T94" fmla="*/ 1494 w 1710"/>
                <a:gd name="T95" fmla="*/ 1055 h 1484"/>
                <a:gd name="T96" fmla="*/ 1523 w 1710"/>
                <a:gd name="T97" fmla="*/ 990 h 1484"/>
                <a:gd name="T98" fmla="*/ 1534 w 1710"/>
                <a:gd name="T99" fmla="*/ 949 h 1484"/>
                <a:gd name="T100" fmla="*/ 1516 w 1710"/>
                <a:gd name="T101" fmla="*/ 907 h 1484"/>
                <a:gd name="T102" fmla="*/ 1512 w 1710"/>
                <a:gd name="T103" fmla="*/ 860 h 1484"/>
                <a:gd name="T104" fmla="*/ 1491 w 1710"/>
                <a:gd name="T105" fmla="*/ 777 h 1484"/>
                <a:gd name="T106" fmla="*/ 1446 w 1710"/>
                <a:gd name="T107" fmla="*/ 681 h 1484"/>
                <a:gd name="T108" fmla="*/ 1438 w 1710"/>
                <a:gd name="T109" fmla="*/ 607 h 1484"/>
                <a:gd name="T110" fmla="*/ 1566 w 1710"/>
                <a:gd name="T111" fmla="*/ 575 h 1484"/>
                <a:gd name="T112" fmla="*/ 1682 w 1710"/>
                <a:gd name="T113" fmla="*/ 552 h 1484"/>
                <a:gd name="T114" fmla="*/ 786 w 1710"/>
                <a:gd name="T115" fmla="*/ 504 h 1484"/>
                <a:gd name="T116" fmla="*/ 693 w 1710"/>
                <a:gd name="T117" fmla="*/ 453 h 1484"/>
                <a:gd name="T118" fmla="*/ 711 w 1710"/>
                <a:gd name="T119" fmla="*/ 409 h 1484"/>
                <a:gd name="T120" fmla="*/ 785 w 1710"/>
                <a:gd name="T121" fmla="*/ 434 h 1484"/>
                <a:gd name="T122" fmla="*/ 81 w 1710"/>
                <a:gd name="T123" fmla="*/ 157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10" h="1484">
                  <a:moveTo>
                    <a:pt x="265" y="100"/>
                  </a:moveTo>
                  <a:lnTo>
                    <a:pt x="268" y="99"/>
                  </a:lnTo>
                  <a:lnTo>
                    <a:pt x="269" y="99"/>
                  </a:lnTo>
                  <a:lnTo>
                    <a:pt x="271" y="96"/>
                  </a:lnTo>
                  <a:lnTo>
                    <a:pt x="265" y="93"/>
                  </a:lnTo>
                  <a:lnTo>
                    <a:pt x="259" y="92"/>
                  </a:lnTo>
                  <a:lnTo>
                    <a:pt x="252" y="92"/>
                  </a:lnTo>
                  <a:lnTo>
                    <a:pt x="246" y="96"/>
                  </a:lnTo>
                  <a:lnTo>
                    <a:pt x="252" y="96"/>
                  </a:lnTo>
                  <a:lnTo>
                    <a:pt x="265" y="100"/>
                  </a:lnTo>
                  <a:close/>
                  <a:moveTo>
                    <a:pt x="287" y="96"/>
                  </a:moveTo>
                  <a:lnTo>
                    <a:pt x="297" y="96"/>
                  </a:lnTo>
                  <a:lnTo>
                    <a:pt x="297" y="86"/>
                  </a:lnTo>
                  <a:lnTo>
                    <a:pt x="309" y="83"/>
                  </a:lnTo>
                  <a:lnTo>
                    <a:pt x="335" y="84"/>
                  </a:lnTo>
                  <a:lnTo>
                    <a:pt x="335" y="83"/>
                  </a:lnTo>
                  <a:lnTo>
                    <a:pt x="336" y="83"/>
                  </a:lnTo>
                  <a:lnTo>
                    <a:pt x="336" y="83"/>
                  </a:lnTo>
                  <a:lnTo>
                    <a:pt x="336" y="80"/>
                  </a:lnTo>
                  <a:lnTo>
                    <a:pt x="329" y="76"/>
                  </a:lnTo>
                  <a:lnTo>
                    <a:pt x="298" y="76"/>
                  </a:lnTo>
                  <a:lnTo>
                    <a:pt x="288" y="77"/>
                  </a:lnTo>
                  <a:lnTo>
                    <a:pt x="284" y="80"/>
                  </a:lnTo>
                  <a:lnTo>
                    <a:pt x="282" y="86"/>
                  </a:lnTo>
                  <a:lnTo>
                    <a:pt x="282" y="95"/>
                  </a:lnTo>
                  <a:lnTo>
                    <a:pt x="287" y="96"/>
                  </a:lnTo>
                  <a:close/>
                  <a:moveTo>
                    <a:pt x="422" y="61"/>
                  </a:moveTo>
                  <a:lnTo>
                    <a:pt x="429" y="61"/>
                  </a:lnTo>
                  <a:lnTo>
                    <a:pt x="444" y="64"/>
                  </a:lnTo>
                  <a:lnTo>
                    <a:pt x="447" y="64"/>
                  </a:lnTo>
                  <a:lnTo>
                    <a:pt x="451" y="64"/>
                  </a:lnTo>
                  <a:lnTo>
                    <a:pt x="441" y="58"/>
                  </a:lnTo>
                  <a:lnTo>
                    <a:pt x="437" y="57"/>
                  </a:lnTo>
                  <a:lnTo>
                    <a:pt x="431" y="57"/>
                  </a:lnTo>
                  <a:lnTo>
                    <a:pt x="424" y="57"/>
                  </a:lnTo>
                  <a:lnTo>
                    <a:pt x="418" y="60"/>
                  </a:lnTo>
                  <a:lnTo>
                    <a:pt x="415" y="62"/>
                  </a:lnTo>
                  <a:lnTo>
                    <a:pt x="422" y="68"/>
                  </a:lnTo>
                  <a:lnTo>
                    <a:pt x="422" y="61"/>
                  </a:lnTo>
                  <a:close/>
                  <a:moveTo>
                    <a:pt x="354" y="79"/>
                  </a:moveTo>
                  <a:lnTo>
                    <a:pt x="357" y="77"/>
                  </a:lnTo>
                  <a:lnTo>
                    <a:pt x="360" y="71"/>
                  </a:lnTo>
                  <a:lnTo>
                    <a:pt x="368" y="77"/>
                  </a:lnTo>
                  <a:lnTo>
                    <a:pt x="378" y="77"/>
                  </a:lnTo>
                  <a:lnTo>
                    <a:pt x="389" y="73"/>
                  </a:lnTo>
                  <a:lnTo>
                    <a:pt x="396" y="68"/>
                  </a:lnTo>
                  <a:lnTo>
                    <a:pt x="402" y="68"/>
                  </a:lnTo>
                  <a:lnTo>
                    <a:pt x="402" y="64"/>
                  </a:lnTo>
                  <a:lnTo>
                    <a:pt x="371" y="62"/>
                  </a:lnTo>
                  <a:lnTo>
                    <a:pt x="357" y="65"/>
                  </a:lnTo>
                  <a:lnTo>
                    <a:pt x="348" y="76"/>
                  </a:lnTo>
                  <a:lnTo>
                    <a:pt x="351" y="79"/>
                  </a:lnTo>
                  <a:lnTo>
                    <a:pt x="354" y="79"/>
                  </a:lnTo>
                  <a:close/>
                  <a:moveTo>
                    <a:pt x="514" y="102"/>
                  </a:moveTo>
                  <a:lnTo>
                    <a:pt x="515" y="103"/>
                  </a:lnTo>
                  <a:lnTo>
                    <a:pt x="518" y="105"/>
                  </a:lnTo>
                  <a:lnTo>
                    <a:pt x="520" y="103"/>
                  </a:lnTo>
                  <a:lnTo>
                    <a:pt x="526" y="97"/>
                  </a:lnTo>
                  <a:lnTo>
                    <a:pt x="529" y="96"/>
                  </a:lnTo>
                  <a:lnTo>
                    <a:pt x="534" y="96"/>
                  </a:lnTo>
                  <a:lnTo>
                    <a:pt x="527" y="90"/>
                  </a:lnTo>
                  <a:lnTo>
                    <a:pt x="520" y="90"/>
                  </a:lnTo>
                  <a:lnTo>
                    <a:pt x="512" y="93"/>
                  </a:lnTo>
                  <a:lnTo>
                    <a:pt x="508" y="100"/>
                  </a:lnTo>
                  <a:lnTo>
                    <a:pt x="508" y="105"/>
                  </a:lnTo>
                  <a:lnTo>
                    <a:pt x="511" y="102"/>
                  </a:lnTo>
                  <a:lnTo>
                    <a:pt x="514" y="102"/>
                  </a:lnTo>
                  <a:close/>
                  <a:moveTo>
                    <a:pt x="13" y="188"/>
                  </a:moveTo>
                  <a:lnTo>
                    <a:pt x="14" y="188"/>
                  </a:lnTo>
                  <a:lnTo>
                    <a:pt x="20" y="185"/>
                  </a:lnTo>
                  <a:lnTo>
                    <a:pt x="23" y="185"/>
                  </a:lnTo>
                  <a:lnTo>
                    <a:pt x="26" y="185"/>
                  </a:lnTo>
                  <a:lnTo>
                    <a:pt x="30" y="191"/>
                  </a:lnTo>
                  <a:lnTo>
                    <a:pt x="35" y="192"/>
                  </a:lnTo>
                  <a:lnTo>
                    <a:pt x="32" y="188"/>
                  </a:lnTo>
                  <a:lnTo>
                    <a:pt x="29" y="183"/>
                  </a:lnTo>
                  <a:lnTo>
                    <a:pt x="26" y="182"/>
                  </a:lnTo>
                  <a:lnTo>
                    <a:pt x="22" y="180"/>
                  </a:lnTo>
                  <a:lnTo>
                    <a:pt x="22" y="176"/>
                  </a:lnTo>
                  <a:lnTo>
                    <a:pt x="29" y="175"/>
                  </a:lnTo>
                  <a:lnTo>
                    <a:pt x="40" y="170"/>
                  </a:lnTo>
                  <a:lnTo>
                    <a:pt x="48" y="169"/>
                  </a:lnTo>
                  <a:lnTo>
                    <a:pt x="43" y="159"/>
                  </a:lnTo>
                  <a:lnTo>
                    <a:pt x="30" y="160"/>
                  </a:lnTo>
                  <a:lnTo>
                    <a:pt x="4" y="169"/>
                  </a:lnTo>
                  <a:lnTo>
                    <a:pt x="0" y="172"/>
                  </a:lnTo>
                  <a:lnTo>
                    <a:pt x="1" y="179"/>
                  </a:lnTo>
                  <a:lnTo>
                    <a:pt x="7" y="185"/>
                  </a:lnTo>
                  <a:lnTo>
                    <a:pt x="13" y="188"/>
                  </a:lnTo>
                  <a:close/>
                  <a:moveTo>
                    <a:pt x="221" y="106"/>
                  </a:moveTo>
                  <a:lnTo>
                    <a:pt x="237" y="99"/>
                  </a:lnTo>
                  <a:lnTo>
                    <a:pt x="239" y="99"/>
                  </a:lnTo>
                  <a:lnTo>
                    <a:pt x="239" y="99"/>
                  </a:lnTo>
                  <a:lnTo>
                    <a:pt x="239" y="96"/>
                  </a:lnTo>
                  <a:lnTo>
                    <a:pt x="199" y="96"/>
                  </a:lnTo>
                  <a:lnTo>
                    <a:pt x="180" y="99"/>
                  </a:lnTo>
                  <a:lnTo>
                    <a:pt x="164" y="108"/>
                  </a:lnTo>
                  <a:lnTo>
                    <a:pt x="179" y="112"/>
                  </a:lnTo>
                  <a:lnTo>
                    <a:pt x="221" y="106"/>
                  </a:lnTo>
                  <a:close/>
                  <a:moveTo>
                    <a:pt x="1694" y="488"/>
                  </a:moveTo>
                  <a:lnTo>
                    <a:pt x="1685" y="486"/>
                  </a:lnTo>
                  <a:lnTo>
                    <a:pt x="1679" y="483"/>
                  </a:lnTo>
                  <a:lnTo>
                    <a:pt x="1669" y="473"/>
                  </a:lnTo>
                  <a:lnTo>
                    <a:pt x="1660" y="470"/>
                  </a:lnTo>
                  <a:lnTo>
                    <a:pt x="1653" y="472"/>
                  </a:lnTo>
                  <a:lnTo>
                    <a:pt x="1642" y="480"/>
                  </a:lnTo>
                  <a:lnTo>
                    <a:pt x="1636" y="482"/>
                  </a:lnTo>
                  <a:lnTo>
                    <a:pt x="1628" y="480"/>
                  </a:lnTo>
                  <a:lnTo>
                    <a:pt x="1627" y="480"/>
                  </a:lnTo>
                  <a:lnTo>
                    <a:pt x="1623" y="477"/>
                  </a:lnTo>
                  <a:lnTo>
                    <a:pt x="1609" y="463"/>
                  </a:lnTo>
                  <a:lnTo>
                    <a:pt x="1599" y="444"/>
                  </a:lnTo>
                  <a:lnTo>
                    <a:pt x="1598" y="441"/>
                  </a:lnTo>
                  <a:lnTo>
                    <a:pt x="1592" y="437"/>
                  </a:lnTo>
                  <a:lnTo>
                    <a:pt x="1589" y="434"/>
                  </a:lnTo>
                  <a:lnTo>
                    <a:pt x="1586" y="431"/>
                  </a:lnTo>
                  <a:lnTo>
                    <a:pt x="1583" y="432"/>
                  </a:lnTo>
                  <a:lnTo>
                    <a:pt x="1579" y="438"/>
                  </a:lnTo>
                  <a:lnTo>
                    <a:pt x="1576" y="438"/>
                  </a:lnTo>
                  <a:lnTo>
                    <a:pt x="1573" y="431"/>
                  </a:lnTo>
                  <a:lnTo>
                    <a:pt x="1570" y="428"/>
                  </a:lnTo>
                  <a:lnTo>
                    <a:pt x="1567" y="424"/>
                  </a:lnTo>
                  <a:lnTo>
                    <a:pt x="1566" y="421"/>
                  </a:lnTo>
                  <a:lnTo>
                    <a:pt x="1563" y="419"/>
                  </a:lnTo>
                  <a:lnTo>
                    <a:pt x="1558" y="419"/>
                  </a:lnTo>
                  <a:lnTo>
                    <a:pt x="1556" y="422"/>
                  </a:lnTo>
                  <a:lnTo>
                    <a:pt x="1553" y="425"/>
                  </a:lnTo>
                  <a:lnTo>
                    <a:pt x="1547" y="429"/>
                  </a:lnTo>
                  <a:lnTo>
                    <a:pt x="1544" y="434"/>
                  </a:lnTo>
                  <a:lnTo>
                    <a:pt x="1540" y="435"/>
                  </a:lnTo>
                  <a:lnTo>
                    <a:pt x="1535" y="432"/>
                  </a:lnTo>
                  <a:lnTo>
                    <a:pt x="1532" y="429"/>
                  </a:lnTo>
                  <a:lnTo>
                    <a:pt x="1522" y="424"/>
                  </a:lnTo>
                  <a:lnTo>
                    <a:pt x="1484" y="387"/>
                  </a:lnTo>
                  <a:lnTo>
                    <a:pt x="1452" y="368"/>
                  </a:lnTo>
                  <a:lnTo>
                    <a:pt x="1442" y="360"/>
                  </a:lnTo>
                  <a:lnTo>
                    <a:pt x="1435" y="349"/>
                  </a:lnTo>
                  <a:lnTo>
                    <a:pt x="1430" y="345"/>
                  </a:lnTo>
                  <a:lnTo>
                    <a:pt x="1424" y="343"/>
                  </a:lnTo>
                  <a:lnTo>
                    <a:pt x="1419" y="341"/>
                  </a:lnTo>
                  <a:lnTo>
                    <a:pt x="1416" y="333"/>
                  </a:lnTo>
                  <a:lnTo>
                    <a:pt x="1416" y="323"/>
                  </a:lnTo>
                  <a:lnTo>
                    <a:pt x="1416" y="316"/>
                  </a:lnTo>
                  <a:lnTo>
                    <a:pt x="1408" y="306"/>
                  </a:lnTo>
                  <a:lnTo>
                    <a:pt x="1395" y="303"/>
                  </a:lnTo>
                  <a:lnTo>
                    <a:pt x="1371" y="304"/>
                  </a:lnTo>
                  <a:lnTo>
                    <a:pt x="1359" y="309"/>
                  </a:lnTo>
                  <a:lnTo>
                    <a:pt x="1344" y="304"/>
                  </a:lnTo>
                  <a:lnTo>
                    <a:pt x="1295" y="274"/>
                  </a:lnTo>
                  <a:lnTo>
                    <a:pt x="1283" y="269"/>
                  </a:lnTo>
                  <a:lnTo>
                    <a:pt x="1274" y="269"/>
                  </a:lnTo>
                  <a:lnTo>
                    <a:pt x="1260" y="269"/>
                  </a:lnTo>
                  <a:lnTo>
                    <a:pt x="1257" y="269"/>
                  </a:lnTo>
                  <a:lnTo>
                    <a:pt x="1254" y="272"/>
                  </a:lnTo>
                  <a:lnTo>
                    <a:pt x="1245" y="282"/>
                  </a:lnTo>
                  <a:lnTo>
                    <a:pt x="1245" y="284"/>
                  </a:lnTo>
                  <a:lnTo>
                    <a:pt x="1226" y="285"/>
                  </a:lnTo>
                  <a:lnTo>
                    <a:pt x="1220" y="284"/>
                  </a:lnTo>
                  <a:lnTo>
                    <a:pt x="1215" y="279"/>
                  </a:lnTo>
                  <a:lnTo>
                    <a:pt x="1210" y="275"/>
                  </a:lnTo>
                  <a:lnTo>
                    <a:pt x="1207" y="269"/>
                  </a:lnTo>
                  <a:lnTo>
                    <a:pt x="1200" y="268"/>
                  </a:lnTo>
                  <a:lnTo>
                    <a:pt x="1196" y="265"/>
                  </a:lnTo>
                  <a:lnTo>
                    <a:pt x="1190" y="258"/>
                  </a:lnTo>
                  <a:lnTo>
                    <a:pt x="1187" y="258"/>
                  </a:lnTo>
                  <a:lnTo>
                    <a:pt x="1174" y="262"/>
                  </a:lnTo>
                  <a:lnTo>
                    <a:pt x="1172" y="263"/>
                  </a:lnTo>
                  <a:lnTo>
                    <a:pt x="1171" y="265"/>
                  </a:lnTo>
                  <a:lnTo>
                    <a:pt x="1171" y="266"/>
                  </a:lnTo>
                  <a:lnTo>
                    <a:pt x="1171" y="268"/>
                  </a:lnTo>
                  <a:lnTo>
                    <a:pt x="1172" y="268"/>
                  </a:lnTo>
                  <a:lnTo>
                    <a:pt x="1172" y="269"/>
                  </a:lnTo>
                  <a:lnTo>
                    <a:pt x="1171" y="271"/>
                  </a:lnTo>
                  <a:lnTo>
                    <a:pt x="1171" y="272"/>
                  </a:lnTo>
                  <a:lnTo>
                    <a:pt x="1165" y="275"/>
                  </a:lnTo>
                  <a:lnTo>
                    <a:pt x="1156" y="279"/>
                  </a:lnTo>
                  <a:lnTo>
                    <a:pt x="1152" y="279"/>
                  </a:lnTo>
                  <a:lnTo>
                    <a:pt x="1151" y="279"/>
                  </a:lnTo>
                  <a:lnTo>
                    <a:pt x="1143" y="275"/>
                  </a:lnTo>
                  <a:lnTo>
                    <a:pt x="1142" y="274"/>
                  </a:lnTo>
                  <a:lnTo>
                    <a:pt x="1140" y="275"/>
                  </a:lnTo>
                  <a:lnTo>
                    <a:pt x="1133" y="278"/>
                  </a:lnTo>
                  <a:lnTo>
                    <a:pt x="1130" y="278"/>
                  </a:lnTo>
                  <a:lnTo>
                    <a:pt x="1130" y="277"/>
                  </a:lnTo>
                  <a:lnTo>
                    <a:pt x="1129" y="275"/>
                  </a:lnTo>
                  <a:lnTo>
                    <a:pt x="1129" y="269"/>
                  </a:lnTo>
                  <a:lnTo>
                    <a:pt x="1129" y="263"/>
                  </a:lnTo>
                  <a:lnTo>
                    <a:pt x="1126" y="260"/>
                  </a:lnTo>
                  <a:lnTo>
                    <a:pt x="1124" y="259"/>
                  </a:lnTo>
                  <a:lnTo>
                    <a:pt x="1123" y="259"/>
                  </a:lnTo>
                  <a:lnTo>
                    <a:pt x="1120" y="260"/>
                  </a:lnTo>
                  <a:lnTo>
                    <a:pt x="1119" y="262"/>
                  </a:lnTo>
                  <a:lnTo>
                    <a:pt x="1114" y="268"/>
                  </a:lnTo>
                  <a:lnTo>
                    <a:pt x="1113" y="269"/>
                  </a:lnTo>
                  <a:lnTo>
                    <a:pt x="1111" y="268"/>
                  </a:lnTo>
                  <a:lnTo>
                    <a:pt x="1100" y="258"/>
                  </a:lnTo>
                  <a:lnTo>
                    <a:pt x="1097" y="255"/>
                  </a:lnTo>
                  <a:lnTo>
                    <a:pt x="1095" y="252"/>
                  </a:lnTo>
                  <a:lnTo>
                    <a:pt x="1094" y="247"/>
                  </a:lnTo>
                  <a:lnTo>
                    <a:pt x="1092" y="244"/>
                  </a:lnTo>
                  <a:lnTo>
                    <a:pt x="1091" y="239"/>
                  </a:lnTo>
                  <a:lnTo>
                    <a:pt x="1089" y="237"/>
                  </a:lnTo>
                  <a:lnTo>
                    <a:pt x="1088" y="236"/>
                  </a:lnTo>
                  <a:lnTo>
                    <a:pt x="1086" y="234"/>
                  </a:lnTo>
                  <a:lnTo>
                    <a:pt x="1085" y="233"/>
                  </a:lnTo>
                  <a:lnTo>
                    <a:pt x="1085" y="231"/>
                  </a:lnTo>
                  <a:lnTo>
                    <a:pt x="1085" y="230"/>
                  </a:lnTo>
                  <a:lnTo>
                    <a:pt x="1084" y="228"/>
                  </a:lnTo>
                  <a:lnTo>
                    <a:pt x="1081" y="224"/>
                  </a:lnTo>
                  <a:lnTo>
                    <a:pt x="1079" y="204"/>
                  </a:lnTo>
                  <a:lnTo>
                    <a:pt x="1079" y="201"/>
                  </a:lnTo>
                  <a:lnTo>
                    <a:pt x="1056" y="196"/>
                  </a:lnTo>
                  <a:lnTo>
                    <a:pt x="1035" y="182"/>
                  </a:lnTo>
                  <a:lnTo>
                    <a:pt x="1031" y="180"/>
                  </a:lnTo>
                  <a:lnTo>
                    <a:pt x="1022" y="179"/>
                  </a:lnTo>
                  <a:lnTo>
                    <a:pt x="1017" y="176"/>
                  </a:lnTo>
                  <a:lnTo>
                    <a:pt x="1011" y="172"/>
                  </a:lnTo>
                  <a:lnTo>
                    <a:pt x="987" y="137"/>
                  </a:lnTo>
                  <a:lnTo>
                    <a:pt x="982" y="118"/>
                  </a:lnTo>
                  <a:lnTo>
                    <a:pt x="977" y="112"/>
                  </a:lnTo>
                  <a:lnTo>
                    <a:pt x="967" y="105"/>
                  </a:lnTo>
                  <a:lnTo>
                    <a:pt x="954" y="87"/>
                  </a:lnTo>
                  <a:lnTo>
                    <a:pt x="920" y="28"/>
                  </a:lnTo>
                  <a:lnTo>
                    <a:pt x="912" y="17"/>
                  </a:lnTo>
                  <a:lnTo>
                    <a:pt x="909" y="16"/>
                  </a:lnTo>
                  <a:lnTo>
                    <a:pt x="897" y="16"/>
                  </a:lnTo>
                  <a:lnTo>
                    <a:pt x="891" y="16"/>
                  </a:lnTo>
                  <a:lnTo>
                    <a:pt x="887" y="12"/>
                  </a:lnTo>
                  <a:lnTo>
                    <a:pt x="881" y="16"/>
                  </a:lnTo>
                  <a:lnTo>
                    <a:pt x="853" y="16"/>
                  </a:lnTo>
                  <a:lnTo>
                    <a:pt x="826" y="23"/>
                  </a:lnTo>
                  <a:lnTo>
                    <a:pt x="820" y="30"/>
                  </a:lnTo>
                  <a:lnTo>
                    <a:pt x="805" y="29"/>
                  </a:lnTo>
                  <a:lnTo>
                    <a:pt x="781" y="35"/>
                  </a:lnTo>
                  <a:lnTo>
                    <a:pt x="765" y="36"/>
                  </a:lnTo>
                  <a:lnTo>
                    <a:pt x="738" y="29"/>
                  </a:lnTo>
                  <a:lnTo>
                    <a:pt x="725" y="22"/>
                  </a:lnTo>
                  <a:lnTo>
                    <a:pt x="712" y="12"/>
                  </a:lnTo>
                  <a:lnTo>
                    <a:pt x="703" y="1"/>
                  </a:lnTo>
                  <a:lnTo>
                    <a:pt x="700" y="0"/>
                  </a:lnTo>
                  <a:lnTo>
                    <a:pt x="693" y="0"/>
                  </a:lnTo>
                  <a:lnTo>
                    <a:pt x="684" y="1"/>
                  </a:lnTo>
                  <a:lnTo>
                    <a:pt x="677" y="6"/>
                  </a:lnTo>
                  <a:lnTo>
                    <a:pt x="670" y="13"/>
                  </a:lnTo>
                  <a:lnTo>
                    <a:pt x="665" y="20"/>
                  </a:lnTo>
                  <a:lnTo>
                    <a:pt x="660" y="36"/>
                  </a:lnTo>
                  <a:lnTo>
                    <a:pt x="651" y="71"/>
                  </a:lnTo>
                  <a:lnTo>
                    <a:pt x="638" y="103"/>
                  </a:lnTo>
                  <a:lnTo>
                    <a:pt x="635" y="112"/>
                  </a:lnTo>
                  <a:lnTo>
                    <a:pt x="635" y="122"/>
                  </a:lnTo>
                  <a:lnTo>
                    <a:pt x="635" y="132"/>
                  </a:lnTo>
                  <a:lnTo>
                    <a:pt x="641" y="145"/>
                  </a:lnTo>
                  <a:lnTo>
                    <a:pt x="642" y="156"/>
                  </a:lnTo>
                  <a:lnTo>
                    <a:pt x="645" y="161"/>
                  </a:lnTo>
                  <a:lnTo>
                    <a:pt x="647" y="164"/>
                  </a:lnTo>
                  <a:lnTo>
                    <a:pt x="649" y="173"/>
                  </a:lnTo>
                  <a:lnTo>
                    <a:pt x="652" y="176"/>
                  </a:lnTo>
                  <a:lnTo>
                    <a:pt x="661" y="199"/>
                  </a:lnTo>
                  <a:lnTo>
                    <a:pt x="663" y="202"/>
                  </a:lnTo>
                  <a:lnTo>
                    <a:pt x="660" y="218"/>
                  </a:lnTo>
                  <a:lnTo>
                    <a:pt x="660" y="218"/>
                  </a:lnTo>
                  <a:lnTo>
                    <a:pt x="652" y="226"/>
                  </a:lnTo>
                  <a:lnTo>
                    <a:pt x="644" y="231"/>
                  </a:lnTo>
                  <a:lnTo>
                    <a:pt x="639" y="244"/>
                  </a:lnTo>
                  <a:lnTo>
                    <a:pt x="639" y="260"/>
                  </a:lnTo>
                  <a:lnTo>
                    <a:pt x="642" y="297"/>
                  </a:lnTo>
                  <a:lnTo>
                    <a:pt x="641" y="311"/>
                  </a:lnTo>
                  <a:lnTo>
                    <a:pt x="636" y="301"/>
                  </a:lnTo>
                  <a:lnTo>
                    <a:pt x="635" y="287"/>
                  </a:lnTo>
                  <a:lnTo>
                    <a:pt x="635" y="255"/>
                  </a:lnTo>
                  <a:lnTo>
                    <a:pt x="636" y="237"/>
                  </a:lnTo>
                  <a:lnTo>
                    <a:pt x="642" y="224"/>
                  </a:lnTo>
                  <a:lnTo>
                    <a:pt x="649" y="215"/>
                  </a:lnTo>
                  <a:lnTo>
                    <a:pt x="658" y="208"/>
                  </a:lnTo>
                  <a:lnTo>
                    <a:pt x="658" y="204"/>
                  </a:lnTo>
                  <a:lnTo>
                    <a:pt x="645" y="198"/>
                  </a:lnTo>
                  <a:lnTo>
                    <a:pt x="614" y="192"/>
                  </a:lnTo>
                  <a:lnTo>
                    <a:pt x="601" y="185"/>
                  </a:lnTo>
                  <a:lnTo>
                    <a:pt x="597" y="179"/>
                  </a:lnTo>
                  <a:lnTo>
                    <a:pt x="593" y="170"/>
                  </a:lnTo>
                  <a:lnTo>
                    <a:pt x="587" y="163"/>
                  </a:lnTo>
                  <a:lnTo>
                    <a:pt x="581" y="160"/>
                  </a:lnTo>
                  <a:lnTo>
                    <a:pt x="566" y="161"/>
                  </a:lnTo>
                  <a:lnTo>
                    <a:pt x="561" y="163"/>
                  </a:lnTo>
                  <a:lnTo>
                    <a:pt x="556" y="169"/>
                  </a:lnTo>
                  <a:lnTo>
                    <a:pt x="553" y="176"/>
                  </a:lnTo>
                  <a:lnTo>
                    <a:pt x="550" y="196"/>
                  </a:lnTo>
                  <a:lnTo>
                    <a:pt x="547" y="207"/>
                  </a:lnTo>
                  <a:lnTo>
                    <a:pt x="546" y="214"/>
                  </a:lnTo>
                  <a:lnTo>
                    <a:pt x="553" y="215"/>
                  </a:lnTo>
                  <a:lnTo>
                    <a:pt x="568" y="212"/>
                  </a:lnTo>
                  <a:lnTo>
                    <a:pt x="578" y="224"/>
                  </a:lnTo>
                  <a:lnTo>
                    <a:pt x="575" y="244"/>
                  </a:lnTo>
                  <a:lnTo>
                    <a:pt x="568" y="263"/>
                  </a:lnTo>
                  <a:lnTo>
                    <a:pt x="561" y="277"/>
                  </a:lnTo>
                  <a:lnTo>
                    <a:pt x="556" y="281"/>
                  </a:lnTo>
                  <a:lnTo>
                    <a:pt x="552" y="282"/>
                  </a:lnTo>
                  <a:lnTo>
                    <a:pt x="549" y="284"/>
                  </a:lnTo>
                  <a:lnTo>
                    <a:pt x="543" y="284"/>
                  </a:lnTo>
                  <a:lnTo>
                    <a:pt x="537" y="281"/>
                  </a:lnTo>
                  <a:lnTo>
                    <a:pt x="534" y="277"/>
                  </a:lnTo>
                  <a:lnTo>
                    <a:pt x="531" y="271"/>
                  </a:lnTo>
                  <a:lnTo>
                    <a:pt x="529" y="268"/>
                  </a:lnTo>
                  <a:lnTo>
                    <a:pt x="526" y="266"/>
                  </a:lnTo>
                  <a:lnTo>
                    <a:pt x="520" y="259"/>
                  </a:lnTo>
                  <a:lnTo>
                    <a:pt x="515" y="256"/>
                  </a:lnTo>
                  <a:lnTo>
                    <a:pt x="510" y="256"/>
                  </a:lnTo>
                  <a:lnTo>
                    <a:pt x="505" y="258"/>
                  </a:lnTo>
                  <a:lnTo>
                    <a:pt x="501" y="260"/>
                  </a:lnTo>
                  <a:lnTo>
                    <a:pt x="496" y="255"/>
                  </a:lnTo>
                  <a:lnTo>
                    <a:pt x="494" y="247"/>
                  </a:lnTo>
                  <a:lnTo>
                    <a:pt x="486" y="228"/>
                  </a:lnTo>
                  <a:lnTo>
                    <a:pt x="492" y="224"/>
                  </a:lnTo>
                  <a:lnTo>
                    <a:pt x="507" y="223"/>
                  </a:lnTo>
                  <a:lnTo>
                    <a:pt x="512" y="220"/>
                  </a:lnTo>
                  <a:lnTo>
                    <a:pt x="520" y="214"/>
                  </a:lnTo>
                  <a:lnTo>
                    <a:pt x="524" y="208"/>
                  </a:lnTo>
                  <a:lnTo>
                    <a:pt x="524" y="198"/>
                  </a:lnTo>
                  <a:lnTo>
                    <a:pt x="521" y="192"/>
                  </a:lnTo>
                  <a:lnTo>
                    <a:pt x="512" y="191"/>
                  </a:lnTo>
                  <a:lnTo>
                    <a:pt x="508" y="188"/>
                  </a:lnTo>
                  <a:lnTo>
                    <a:pt x="511" y="180"/>
                  </a:lnTo>
                  <a:lnTo>
                    <a:pt x="511" y="176"/>
                  </a:lnTo>
                  <a:lnTo>
                    <a:pt x="499" y="169"/>
                  </a:lnTo>
                  <a:lnTo>
                    <a:pt x="485" y="150"/>
                  </a:lnTo>
                  <a:lnTo>
                    <a:pt x="475" y="128"/>
                  </a:lnTo>
                  <a:lnTo>
                    <a:pt x="478" y="112"/>
                  </a:lnTo>
                  <a:lnTo>
                    <a:pt x="478" y="108"/>
                  </a:lnTo>
                  <a:lnTo>
                    <a:pt x="450" y="100"/>
                  </a:lnTo>
                  <a:lnTo>
                    <a:pt x="345" y="115"/>
                  </a:lnTo>
                  <a:lnTo>
                    <a:pt x="294" y="125"/>
                  </a:lnTo>
                  <a:lnTo>
                    <a:pt x="285" y="124"/>
                  </a:lnTo>
                  <a:lnTo>
                    <a:pt x="282" y="118"/>
                  </a:lnTo>
                  <a:lnTo>
                    <a:pt x="278" y="115"/>
                  </a:lnTo>
                  <a:lnTo>
                    <a:pt x="224" y="121"/>
                  </a:lnTo>
                  <a:lnTo>
                    <a:pt x="198" y="132"/>
                  </a:lnTo>
                  <a:lnTo>
                    <a:pt x="185" y="145"/>
                  </a:lnTo>
                  <a:lnTo>
                    <a:pt x="177" y="150"/>
                  </a:lnTo>
                  <a:lnTo>
                    <a:pt x="164" y="164"/>
                  </a:lnTo>
                  <a:lnTo>
                    <a:pt x="154" y="172"/>
                  </a:lnTo>
                  <a:lnTo>
                    <a:pt x="148" y="179"/>
                  </a:lnTo>
                  <a:lnTo>
                    <a:pt x="150" y="186"/>
                  </a:lnTo>
                  <a:lnTo>
                    <a:pt x="154" y="191"/>
                  </a:lnTo>
                  <a:lnTo>
                    <a:pt x="164" y="196"/>
                  </a:lnTo>
                  <a:lnTo>
                    <a:pt x="167" y="201"/>
                  </a:lnTo>
                  <a:lnTo>
                    <a:pt x="167" y="208"/>
                  </a:lnTo>
                  <a:lnTo>
                    <a:pt x="166" y="214"/>
                  </a:lnTo>
                  <a:lnTo>
                    <a:pt x="161" y="215"/>
                  </a:lnTo>
                  <a:lnTo>
                    <a:pt x="160" y="220"/>
                  </a:lnTo>
                  <a:lnTo>
                    <a:pt x="147" y="217"/>
                  </a:lnTo>
                  <a:lnTo>
                    <a:pt x="140" y="217"/>
                  </a:lnTo>
                  <a:lnTo>
                    <a:pt x="137" y="223"/>
                  </a:lnTo>
                  <a:lnTo>
                    <a:pt x="135" y="231"/>
                  </a:lnTo>
                  <a:lnTo>
                    <a:pt x="128" y="249"/>
                  </a:lnTo>
                  <a:lnTo>
                    <a:pt x="126" y="258"/>
                  </a:lnTo>
                  <a:lnTo>
                    <a:pt x="126" y="301"/>
                  </a:lnTo>
                  <a:lnTo>
                    <a:pt x="132" y="317"/>
                  </a:lnTo>
                  <a:lnTo>
                    <a:pt x="145" y="323"/>
                  </a:lnTo>
                  <a:lnTo>
                    <a:pt x="224" y="326"/>
                  </a:lnTo>
                  <a:lnTo>
                    <a:pt x="237" y="332"/>
                  </a:lnTo>
                  <a:lnTo>
                    <a:pt x="246" y="343"/>
                  </a:lnTo>
                  <a:lnTo>
                    <a:pt x="240" y="341"/>
                  </a:lnTo>
                  <a:lnTo>
                    <a:pt x="227" y="333"/>
                  </a:lnTo>
                  <a:lnTo>
                    <a:pt x="220" y="332"/>
                  </a:lnTo>
                  <a:lnTo>
                    <a:pt x="212" y="332"/>
                  </a:lnTo>
                  <a:lnTo>
                    <a:pt x="207" y="335"/>
                  </a:lnTo>
                  <a:lnTo>
                    <a:pt x="198" y="348"/>
                  </a:lnTo>
                  <a:lnTo>
                    <a:pt x="201" y="354"/>
                  </a:lnTo>
                  <a:lnTo>
                    <a:pt x="199" y="361"/>
                  </a:lnTo>
                  <a:lnTo>
                    <a:pt x="196" y="367"/>
                  </a:lnTo>
                  <a:lnTo>
                    <a:pt x="193" y="371"/>
                  </a:lnTo>
                  <a:lnTo>
                    <a:pt x="189" y="376"/>
                  </a:lnTo>
                  <a:lnTo>
                    <a:pt x="186" y="377"/>
                  </a:lnTo>
                  <a:lnTo>
                    <a:pt x="188" y="393"/>
                  </a:lnTo>
                  <a:lnTo>
                    <a:pt x="188" y="403"/>
                  </a:lnTo>
                  <a:lnTo>
                    <a:pt x="188" y="403"/>
                  </a:lnTo>
                  <a:lnTo>
                    <a:pt x="186" y="412"/>
                  </a:lnTo>
                  <a:lnTo>
                    <a:pt x="183" y="422"/>
                  </a:lnTo>
                  <a:lnTo>
                    <a:pt x="179" y="435"/>
                  </a:lnTo>
                  <a:lnTo>
                    <a:pt x="179" y="440"/>
                  </a:lnTo>
                  <a:lnTo>
                    <a:pt x="179" y="440"/>
                  </a:lnTo>
                  <a:lnTo>
                    <a:pt x="179" y="447"/>
                  </a:lnTo>
                  <a:lnTo>
                    <a:pt x="180" y="450"/>
                  </a:lnTo>
                  <a:lnTo>
                    <a:pt x="182" y="453"/>
                  </a:lnTo>
                  <a:lnTo>
                    <a:pt x="183" y="459"/>
                  </a:lnTo>
                  <a:lnTo>
                    <a:pt x="186" y="499"/>
                  </a:lnTo>
                  <a:lnTo>
                    <a:pt x="186" y="499"/>
                  </a:lnTo>
                  <a:lnTo>
                    <a:pt x="185" y="520"/>
                  </a:lnTo>
                  <a:lnTo>
                    <a:pt x="182" y="539"/>
                  </a:lnTo>
                  <a:lnTo>
                    <a:pt x="174" y="558"/>
                  </a:lnTo>
                  <a:lnTo>
                    <a:pt x="147" y="603"/>
                  </a:lnTo>
                  <a:lnTo>
                    <a:pt x="144" y="610"/>
                  </a:lnTo>
                  <a:lnTo>
                    <a:pt x="140" y="620"/>
                  </a:lnTo>
                  <a:lnTo>
                    <a:pt x="137" y="639"/>
                  </a:lnTo>
                  <a:lnTo>
                    <a:pt x="134" y="700"/>
                  </a:lnTo>
                  <a:lnTo>
                    <a:pt x="131" y="721"/>
                  </a:lnTo>
                  <a:lnTo>
                    <a:pt x="125" y="734"/>
                  </a:lnTo>
                  <a:lnTo>
                    <a:pt x="112" y="729"/>
                  </a:lnTo>
                  <a:lnTo>
                    <a:pt x="107" y="726"/>
                  </a:lnTo>
                  <a:lnTo>
                    <a:pt x="90" y="729"/>
                  </a:lnTo>
                  <a:lnTo>
                    <a:pt x="71" y="724"/>
                  </a:lnTo>
                  <a:lnTo>
                    <a:pt x="39" y="725"/>
                  </a:lnTo>
                  <a:lnTo>
                    <a:pt x="27" y="728"/>
                  </a:lnTo>
                  <a:lnTo>
                    <a:pt x="20" y="732"/>
                  </a:lnTo>
                  <a:lnTo>
                    <a:pt x="14" y="737"/>
                  </a:lnTo>
                  <a:lnTo>
                    <a:pt x="14" y="737"/>
                  </a:lnTo>
                  <a:lnTo>
                    <a:pt x="17" y="742"/>
                  </a:lnTo>
                  <a:lnTo>
                    <a:pt x="17" y="742"/>
                  </a:lnTo>
                  <a:lnTo>
                    <a:pt x="17" y="748"/>
                  </a:lnTo>
                  <a:lnTo>
                    <a:pt x="16" y="753"/>
                  </a:lnTo>
                  <a:lnTo>
                    <a:pt x="16" y="753"/>
                  </a:lnTo>
                  <a:lnTo>
                    <a:pt x="16" y="757"/>
                  </a:lnTo>
                  <a:lnTo>
                    <a:pt x="19" y="761"/>
                  </a:lnTo>
                  <a:lnTo>
                    <a:pt x="29" y="772"/>
                  </a:lnTo>
                  <a:lnTo>
                    <a:pt x="29" y="772"/>
                  </a:lnTo>
                  <a:lnTo>
                    <a:pt x="10" y="780"/>
                  </a:lnTo>
                  <a:lnTo>
                    <a:pt x="4" y="782"/>
                  </a:lnTo>
                  <a:lnTo>
                    <a:pt x="4" y="782"/>
                  </a:lnTo>
                  <a:lnTo>
                    <a:pt x="8" y="790"/>
                  </a:lnTo>
                  <a:lnTo>
                    <a:pt x="10" y="801"/>
                  </a:lnTo>
                  <a:lnTo>
                    <a:pt x="10" y="811"/>
                  </a:lnTo>
                  <a:lnTo>
                    <a:pt x="13" y="818"/>
                  </a:lnTo>
                  <a:lnTo>
                    <a:pt x="19" y="827"/>
                  </a:lnTo>
                  <a:lnTo>
                    <a:pt x="29" y="831"/>
                  </a:lnTo>
                  <a:lnTo>
                    <a:pt x="56" y="836"/>
                  </a:lnTo>
                  <a:lnTo>
                    <a:pt x="74" y="841"/>
                  </a:lnTo>
                  <a:lnTo>
                    <a:pt x="84" y="843"/>
                  </a:lnTo>
                  <a:lnTo>
                    <a:pt x="93" y="843"/>
                  </a:lnTo>
                  <a:lnTo>
                    <a:pt x="102" y="840"/>
                  </a:lnTo>
                  <a:lnTo>
                    <a:pt x="105" y="837"/>
                  </a:lnTo>
                  <a:lnTo>
                    <a:pt x="107" y="834"/>
                  </a:lnTo>
                  <a:lnTo>
                    <a:pt x="109" y="833"/>
                  </a:lnTo>
                  <a:lnTo>
                    <a:pt x="131" y="868"/>
                  </a:lnTo>
                  <a:lnTo>
                    <a:pt x="135" y="882"/>
                  </a:lnTo>
                  <a:lnTo>
                    <a:pt x="135" y="882"/>
                  </a:lnTo>
                  <a:lnTo>
                    <a:pt x="132" y="903"/>
                  </a:lnTo>
                  <a:lnTo>
                    <a:pt x="125" y="919"/>
                  </a:lnTo>
                  <a:lnTo>
                    <a:pt x="122" y="927"/>
                  </a:lnTo>
                  <a:lnTo>
                    <a:pt x="122" y="938"/>
                  </a:lnTo>
                  <a:lnTo>
                    <a:pt x="125" y="949"/>
                  </a:lnTo>
                  <a:lnTo>
                    <a:pt x="128" y="954"/>
                  </a:lnTo>
                  <a:lnTo>
                    <a:pt x="137" y="954"/>
                  </a:lnTo>
                  <a:lnTo>
                    <a:pt x="151" y="948"/>
                  </a:lnTo>
                  <a:lnTo>
                    <a:pt x="156" y="945"/>
                  </a:lnTo>
                  <a:lnTo>
                    <a:pt x="158" y="942"/>
                  </a:lnTo>
                  <a:lnTo>
                    <a:pt x="161" y="940"/>
                  </a:lnTo>
                  <a:lnTo>
                    <a:pt x="208" y="938"/>
                  </a:lnTo>
                  <a:lnTo>
                    <a:pt x="223" y="935"/>
                  </a:lnTo>
                  <a:lnTo>
                    <a:pt x="240" y="923"/>
                  </a:lnTo>
                  <a:lnTo>
                    <a:pt x="244" y="919"/>
                  </a:lnTo>
                  <a:lnTo>
                    <a:pt x="246" y="917"/>
                  </a:lnTo>
                  <a:lnTo>
                    <a:pt x="247" y="917"/>
                  </a:lnTo>
                  <a:lnTo>
                    <a:pt x="258" y="914"/>
                  </a:lnTo>
                  <a:lnTo>
                    <a:pt x="260" y="913"/>
                  </a:lnTo>
                  <a:lnTo>
                    <a:pt x="263" y="911"/>
                  </a:lnTo>
                  <a:lnTo>
                    <a:pt x="281" y="892"/>
                  </a:lnTo>
                  <a:lnTo>
                    <a:pt x="297" y="879"/>
                  </a:lnTo>
                  <a:lnTo>
                    <a:pt x="298" y="878"/>
                  </a:lnTo>
                  <a:lnTo>
                    <a:pt x="304" y="876"/>
                  </a:lnTo>
                  <a:lnTo>
                    <a:pt x="306" y="876"/>
                  </a:lnTo>
                  <a:lnTo>
                    <a:pt x="313" y="878"/>
                  </a:lnTo>
                  <a:lnTo>
                    <a:pt x="313" y="878"/>
                  </a:lnTo>
                  <a:lnTo>
                    <a:pt x="314" y="878"/>
                  </a:lnTo>
                  <a:lnTo>
                    <a:pt x="316" y="876"/>
                  </a:lnTo>
                  <a:lnTo>
                    <a:pt x="317" y="873"/>
                  </a:lnTo>
                  <a:lnTo>
                    <a:pt x="317" y="872"/>
                  </a:lnTo>
                  <a:lnTo>
                    <a:pt x="319" y="872"/>
                  </a:lnTo>
                  <a:lnTo>
                    <a:pt x="319" y="872"/>
                  </a:lnTo>
                  <a:lnTo>
                    <a:pt x="320" y="868"/>
                  </a:lnTo>
                  <a:lnTo>
                    <a:pt x="323" y="859"/>
                  </a:lnTo>
                  <a:lnTo>
                    <a:pt x="323" y="856"/>
                  </a:lnTo>
                  <a:lnTo>
                    <a:pt x="326" y="855"/>
                  </a:lnTo>
                  <a:lnTo>
                    <a:pt x="327" y="853"/>
                  </a:lnTo>
                  <a:lnTo>
                    <a:pt x="327" y="852"/>
                  </a:lnTo>
                  <a:lnTo>
                    <a:pt x="327" y="850"/>
                  </a:lnTo>
                  <a:lnTo>
                    <a:pt x="325" y="847"/>
                  </a:lnTo>
                  <a:lnTo>
                    <a:pt x="322" y="846"/>
                  </a:lnTo>
                  <a:lnTo>
                    <a:pt x="322" y="843"/>
                  </a:lnTo>
                  <a:lnTo>
                    <a:pt x="320" y="841"/>
                  </a:lnTo>
                  <a:lnTo>
                    <a:pt x="325" y="823"/>
                  </a:lnTo>
                  <a:lnTo>
                    <a:pt x="326" y="821"/>
                  </a:lnTo>
                  <a:lnTo>
                    <a:pt x="327" y="820"/>
                  </a:lnTo>
                  <a:lnTo>
                    <a:pt x="329" y="820"/>
                  </a:lnTo>
                  <a:lnTo>
                    <a:pt x="330" y="820"/>
                  </a:lnTo>
                  <a:lnTo>
                    <a:pt x="355" y="827"/>
                  </a:lnTo>
                  <a:lnTo>
                    <a:pt x="357" y="828"/>
                  </a:lnTo>
                  <a:lnTo>
                    <a:pt x="358" y="830"/>
                  </a:lnTo>
                  <a:lnTo>
                    <a:pt x="360" y="831"/>
                  </a:lnTo>
                  <a:lnTo>
                    <a:pt x="360" y="834"/>
                  </a:lnTo>
                  <a:lnTo>
                    <a:pt x="362" y="855"/>
                  </a:lnTo>
                  <a:lnTo>
                    <a:pt x="364" y="856"/>
                  </a:lnTo>
                  <a:lnTo>
                    <a:pt x="365" y="857"/>
                  </a:lnTo>
                  <a:lnTo>
                    <a:pt x="374" y="860"/>
                  </a:lnTo>
                  <a:lnTo>
                    <a:pt x="397" y="876"/>
                  </a:lnTo>
                  <a:lnTo>
                    <a:pt x="399" y="876"/>
                  </a:lnTo>
                  <a:lnTo>
                    <a:pt x="402" y="882"/>
                  </a:lnTo>
                  <a:lnTo>
                    <a:pt x="405" y="882"/>
                  </a:lnTo>
                  <a:lnTo>
                    <a:pt x="406" y="884"/>
                  </a:lnTo>
                  <a:lnTo>
                    <a:pt x="429" y="873"/>
                  </a:lnTo>
                  <a:lnTo>
                    <a:pt x="431" y="875"/>
                  </a:lnTo>
                  <a:lnTo>
                    <a:pt x="434" y="875"/>
                  </a:lnTo>
                  <a:lnTo>
                    <a:pt x="435" y="878"/>
                  </a:lnTo>
                  <a:lnTo>
                    <a:pt x="438" y="882"/>
                  </a:lnTo>
                  <a:lnTo>
                    <a:pt x="441" y="885"/>
                  </a:lnTo>
                  <a:lnTo>
                    <a:pt x="445" y="892"/>
                  </a:lnTo>
                  <a:lnTo>
                    <a:pt x="453" y="904"/>
                  </a:lnTo>
                  <a:lnTo>
                    <a:pt x="456" y="908"/>
                  </a:lnTo>
                  <a:lnTo>
                    <a:pt x="457" y="910"/>
                  </a:lnTo>
                  <a:lnTo>
                    <a:pt x="457" y="911"/>
                  </a:lnTo>
                  <a:lnTo>
                    <a:pt x="456" y="913"/>
                  </a:lnTo>
                  <a:lnTo>
                    <a:pt x="454" y="914"/>
                  </a:lnTo>
                  <a:lnTo>
                    <a:pt x="444" y="916"/>
                  </a:lnTo>
                  <a:lnTo>
                    <a:pt x="443" y="916"/>
                  </a:lnTo>
                  <a:lnTo>
                    <a:pt x="441" y="917"/>
                  </a:lnTo>
                  <a:lnTo>
                    <a:pt x="441" y="919"/>
                  </a:lnTo>
                  <a:lnTo>
                    <a:pt x="443" y="922"/>
                  </a:lnTo>
                  <a:lnTo>
                    <a:pt x="443" y="924"/>
                  </a:lnTo>
                  <a:lnTo>
                    <a:pt x="444" y="926"/>
                  </a:lnTo>
                  <a:lnTo>
                    <a:pt x="445" y="929"/>
                  </a:lnTo>
                  <a:lnTo>
                    <a:pt x="447" y="932"/>
                  </a:lnTo>
                  <a:lnTo>
                    <a:pt x="447" y="933"/>
                  </a:lnTo>
                  <a:lnTo>
                    <a:pt x="447" y="935"/>
                  </a:lnTo>
                  <a:lnTo>
                    <a:pt x="444" y="938"/>
                  </a:lnTo>
                  <a:lnTo>
                    <a:pt x="438" y="945"/>
                  </a:lnTo>
                  <a:lnTo>
                    <a:pt x="437" y="946"/>
                  </a:lnTo>
                  <a:lnTo>
                    <a:pt x="437" y="948"/>
                  </a:lnTo>
                  <a:lnTo>
                    <a:pt x="437" y="949"/>
                  </a:lnTo>
                  <a:lnTo>
                    <a:pt x="438" y="951"/>
                  </a:lnTo>
                  <a:lnTo>
                    <a:pt x="440" y="955"/>
                  </a:lnTo>
                  <a:lnTo>
                    <a:pt x="440" y="956"/>
                  </a:lnTo>
                  <a:lnTo>
                    <a:pt x="440" y="958"/>
                  </a:lnTo>
                  <a:lnTo>
                    <a:pt x="440" y="961"/>
                  </a:lnTo>
                  <a:lnTo>
                    <a:pt x="437" y="964"/>
                  </a:lnTo>
                  <a:lnTo>
                    <a:pt x="432" y="968"/>
                  </a:lnTo>
                  <a:lnTo>
                    <a:pt x="431" y="971"/>
                  </a:lnTo>
                  <a:lnTo>
                    <a:pt x="431" y="972"/>
                  </a:lnTo>
                  <a:lnTo>
                    <a:pt x="432" y="975"/>
                  </a:lnTo>
                  <a:lnTo>
                    <a:pt x="434" y="977"/>
                  </a:lnTo>
                  <a:lnTo>
                    <a:pt x="437" y="977"/>
                  </a:lnTo>
                  <a:lnTo>
                    <a:pt x="440" y="977"/>
                  </a:lnTo>
                  <a:lnTo>
                    <a:pt x="443" y="978"/>
                  </a:lnTo>
                  <a:lnTo>
                    <a:pt x="443" y="978"/>
                  </a:lnTo>
                  <a:lnTo>
                    <a:pt x="444" y="981"/>
                  </a:lnTo>
                  <a:lnTo>
                    <a:pt x="444" y="984"/>
                  </a:lnTo>
                  <a:lnTo>
                    <a:pt x="445" y="986"/>
                  </a:lnTo>
                  <a:lnTo>
                    <a:pt x="448" y="987"/>
                  </a:lnTo>
                  <a:lnTo>
                    <a:pt x="453" y="987"/>
                  </a:lnTo>
                  <a:lnTo>
                    <a:pt x="459" y="986"/>
                  </a:lnTo>
                  <a:lnTo>
                    <a:pt x="463" y="986"/>
                  </a:lnTo>
                  <a:lnTo>
                    <a:pt x="469" y="988"/>
                  </a:lnTo>
                  <a:lnTo>
                    <a:pt x="470" y="988"/>
                  </a:lnTo>
                  <a:lnTo>
                    <a:pt x="472" y="990"/>
                  </a:lnTo>
                  <a:lnTo>
                    <a:pt x="472" y="993"/>
                  </a:lnTo>
                  <a:lnTo>
                    <a:pt x="470" y="996"/>
                  </a:lnTo>
                  <a:lnTo>
                    <a:pt x="467" y="1003"/>
                  </a:lnTo>
                  <a:lnTo>
                    <a:pt x="464" y="1010"/>
                  </a:lnTo>
                  <a:lnTo>
                    <a:pt x="464" y="1013"/>
                  </a:lnTo>
                  <a:lnTo>
                    <a:pt x="464" y="1016"/>
                  </a:lnTo>
                  <a:lnTo>
                    <a:pt x="463" y="1019"/>
                  </a:lnTo>
                  <a:lnTo>
                    <a:pt x="459" y="1019"/>
                  </a:lnTo>
                  <a:lnTo>
                    <a:pt x="454" y="1019"/>
                  </a:lnTo>
                  <a:lnTo>
                    <a:pt x="448" y="1021"/>
                  </a:lnTo>
                  <a:lnTo>
                    <a:pt x="440" y="1025"/>
                  </a:lnTo>
                  <a:lnTo>
                    <a:pt x="432" y="1031"/>
                  </a:lnTo>
                  <a:lnTo>
                    <a:pt x="429" y="1035"/>
                  </a:lnTo>
                  <a:lnTo>
                    <a:pt x="428" y="1038"/>
                  </a:lnTo>
                  <a:lnTo>
                    <a:pt x="431" y="1044"/>
                  </a:lnTo>
                  <a:lnTo>
                    <a:pt x="432" y="1048"/>
                  </a:lnTo>
                  <a:lnTo>
                    <a:pt x="435" y="1057"/>
                  </a:lnTo>
                  <a:lnTo>
                    <a:pt x="437" y="1057"/>
                  </a:lnTo>
                  <a:lnTo>
                    <a:pt x="438" y="1058"/>
                  </a:lnTo>
                  <a:lnTo>
                    <a:pt x="448" y="1061"/>
                  </a:lnTo>
                  <a:lnTo>
                    <a:pt x="454" y="1064"/>
                  </a:lnTo>
                  <a:lnTo>
                    <a:pt x="456" y="1067"/>
                  </a:lnTo>
                  <a:lnTo>
                    <a:pt x="457" y="1067"/>
                  </a:lnTo>
                  <a:lnTo>
                    <a:pt x="459" y="1066"/>
                  </a:lnTo>
                  <a:lnTo>
                    <a:pt x="475" y="1051"/>
                  </a:lnTo>
                  <a:lnTo>
                    <a:pt x="479" y="1048"/>
                  </a:lnTo>
                  <a:lnTo>
                    <a:pt x="492" y="1047"/>
                  </a:lnTo>
                  <a:lnTo>
                    <a:pt x="504" y="1051"/>
                  </a:lnTo>
                  <a:lnTo>
                    <a:pt x="529" y="1041"/>
                  </a:lnTo>
                  <a:lnTo>
                    <a:pt x="536" y="1038"/>
                  </a:lnTo>
                  <a:lnTo>
                    <a:pt x="540" y="1034"/>
                  </a:lnTo>
                  <a:lnTo>
                    <a:pt x="542" y="1029"/>
                  </a:lnTo>
                  <a:lnTo>
                    <a:pt x="547" y="1022"/>
                  </a:lnTo>
                  <a:lnTo>
                    <a:pt x="559" y="1013"/>
                  </a:lnTo>
                  <a:lnTo>
                    <a:pt x="603" y="1025"/>
                  </a:lnTo>
                  <a:lnTo>
                    <a:pt x="606" y="1025"/>
                  </a:lnTo>
                  <a:lnTo>
                    <a:pt x="607" y="1023"/>
                  </a:lnTo>
                  <a:lnTo>
                    <a:pt x="607" y="1023"/>
                  </a:lnTo>
                  <a:lnTo>
                    <a:pt x="609" y="1021"/>
                  </a:lnTo>
                  <a:lnTo>
                    <a:pt x="612" y="1013"/>
                  </a:lnTo>
                  <a:lnTo>
                    <a:pt x="613" y="1010"/>
                  </a:lnTo>
                  <a:lnTo>
                    <a:pt x="614" y="1009"/>
                  </a:lnTo>
                  <a:lnTo>
                    <a:pt x="628" y="1000"/>
                  </a:lnTo>
                  <a:lnTo>
                    <a:pt x="632" y="997"/>
                  </a:lnTo>
                  <a:lnTo>
                    <a:pt x="633" y="994"/>
                  </a:lnTo>
                  <a:lnTo>
                    <a:pt x="635" y="993"/>
                  </a:lnTo>
                  <a:lnTo>
                    <a:pt x="636" y="988"/>
                  </a:lnTo>
                  <a:lnTo>
                    <a:pt x="639" y="984"/>
                  </a:lnTo>
                  <a:lnTo>
                    <a:pt x="639" y="983"/>
                  </a:lnTo>
                  <a:lnTo>
                    <a:pt x="639" y="981"/>
                  </a:lnTo>
                  <a:lnTo>
                    <a:pt x="635" y="978"/>
                  </a:lnTo>
                  <a:lnTo>
                    <a:pt x="628" y="972"/>
                  </a:lnTo>
                  <a:lnTo>
                    <a:pt x="628" y="972"/>
                  </a:lnTo>
                  <a:lnTo>
                    <a:pt x="626" y="967"/>
                  </a:lnTo>
                  <a:lnTo>
                    <a:pt x="626" y="946"/>
                  </a:lnTo>
                  <a:lnTo>
                    <a:pt x="626" y="926"/>
                  </a:lnTo>
                  <a:lnTo>
                    <a:pt x="626" y="916"/>
                  </a:lnTo>
                  <a:lnTo>
                    <a:pt x="625" y="907"/>
                  </a:lnTo>
                  <a:lnTo>
                    <a:pt x="622" y="897"/>
                  </a:lnTo>
                  <a:lnTo>
                    <a:pt x="619" y="888"/>
                  </a:lnTo>
                  <a:lnTo>
                    <a:pt x="617" y="884"/>
                  </a:lnTo>
                  <a:lnTo>
                    <a:pt x="614" y="881"/>
                  </a:lnTo>
                  <a:lnTo>
                    <a:pt x="604" y="873"/>
                  </a:lnTo>
                  <a:lnTo>
                    <a:pt x="582" y="863"/>
                  </a:lnTo>
                  <a:lnTo>
                    <a:pt x="579" y="859"/>
                  </a:lnTo>
                  <a:lnTo>
                    <a:pt x="578" y="856"/>
                  </a:lnTo>
                  <a:lnTo>
                    <a:pt x="571" y="833"/>
                  </a:lnTo>
                  <a:lnTo>
                    <a:pt x="578" y="836"/>
                  </a:lnTo>
                  <a:lnTo>
                    <a:pt x="587" y="836"/>
                  </a:lnTo>
                  <a:lnTo>
                    <a:pt x="588" y="836"/>
                  </a:lnTo>
                  <a:lnTo>
                    <a:pt x="591" y="837"/>
                  </a:lnTo>
                  <a:lnTo>
                    <a:pt x="594" y="839"/>
                  </a:lnTo>
                  <a:lnTo>
                    <a:pt x="613" y="836"/>
                  </a:lnTo>
                  <a:lnTo>
                    <a:pt x="619" y="833"/>
                  </a:lnTo>
                  <a:lnTo>
                    <a:pt x="622" y="831"/>
                  </a:lnTo>
                  <a:lnTo>
                    <a:pt x="623" y="830"/>
                  </a:lnTo>
                  <a:lnTo>
                    <a:pt x="623" y="827"/>
                  </a:lnTo>
                  <a:lnTo>
                    <a:pt x="626" y="812"/>
                  </a:lnTo>
                  <a:lnTo>
                    <a:pt x="626" y="812"/>
                  </a:lnTo>
                  <a:lnTo>
                    <a:pt x="628" y="811"/>
                  </a:lnTo>
                  <a:lnTo>
                    <a:pt x="628" y="809"/>
                  </a:lnTo>
                  <a:lnTo>
                    <a:pt x="630" y="808"/>
                  </a:lnTo>
                  <a:lnTo>
                    <a:pt x="633" y="806"/>
                  </a:lnTo>
                  <a:lnTo>
                    <a:pt x="636" y="804"/>
                  </a:lnTo>
                  <a:lnTo>
                    <a:pt x="639" y="802"/>
                  </a:lnTo>
                  <a:lnTo>
                    <a:pt x="645" y="801"/>
                  </a:lnTo>
                  <a:lnTo>
                    <a:pt x="663" y="801"/>
                  </a:lnTo>
                  <a:lnTo>
                    <a:pt x="668" y="801"/>
                  </a:lnTo>
                  <a:lnTo>
                    <a:pt x="686" y="792"/>
                  </a:lnTo>
                  <a:lnTo>
                    <a:pt x="687" y="792"/>
                  </a:lnTo>
                  <a:lnTo>
                    <a:pt x="689" y="792"/>
                  </a:lnTo>
                  <a:lnTo>
                    <a:pt x="695" y="793"/>
                  </a:lnTo>
                  <a:lnTo>
                    <a:pt x="697" y="796"/>
                  </a:lnTo>
                  <a:lnTo>
                    <a:pt x="700" y="799"/>
                  </a:lnTo>
                  <a:lnTo>
                    <a:pt x="711" y="817"/>
                  </a:lnTo>
                  <a:lnTo>
                    <a:pt x="712" y="821"/>
                  </a:lnTo>
                  <a:lnTo>
                    <a:pt x="712" y="825"/>
                  </a:lnTo>
                  <a:lnTo>
                    <a:pt x="712" y="827"/>
                  </a:lnTo>
                  <a:lnTo>
                    <a:pt x="711" y="833"/>
                  </a:lnTo>
                  <a:lnTo>
                    <a:pt x="711" y="836"/>
                  </a:lnTo>
                  <a:lnTo>
                    <a:pt x="711" y="839"/>
                  </a:lnTo>
                  <a:lnTo>
                    <a:pt x="712" y="840"/>
                  </a:lnTo>
                  <a:lnTo>
                    <a:pt x="712" y="843"/>
                  </a:lnTo>
                  <a:lnTo>
                    <a:pt x="714" y="844"/>
                  </a:lnTo>
                  <a:lnTo>
                    <a:pt x="714" y="846"/>
                  </a:lnTo>
                  <a:lnTo>
                    <a:pt x="712" y="852"/>
                  </a:lnTo>
                  <a:lnTo>
                    <a:pt x="712" y="855"/>
                  </a:lnTo>
                  <a:lnTo>
                    <a:pt x="712" y="857"/>
                  </a:lnTo>
                  <a:lnTo>
                    <a:pt x="712" y="860"/>
                  </a:lnTo>
                  <a:lnTo>
                    <a:pt x="712" y="862"/>
                  </a:lnTo>
                  <a:lnTo>
                    <a:pt x="714" y="863"/>
                  </a:lnTo>
                  <a:lnTo>
                    <a:pt x="714" y="863"/>
                  </a:lnTo>
                  <a:lnTo>
                    <a:pt x="718" y="865"/>
                  </a:lnTo>
                  <a:lnTo>
                    <a:pt x="753" y="868"/>
                  </a:lnTo>
                  <a:lnTo>
                    <a:pt x="765" y="868"/>
                  </a:lnTo>
                  <a:lnTo>
                    <a:pt x="775" y="863"/>
                  </a:lnTo>
                  <a:lnTo>
                    <a:pt x="776" y="862"/>
                  </a:lnTo>
                  <a:lnTo>
                    <a:pt x="799" y="857"/>
                  </a:lnTo>
                  <a:lnTo>
                    <a:pt x="801" y="856"/>
                  </a:lnTo>
                  <a:lnTo>
                    <a:pt x="802" y="855"/>
                  </a:lnTo>
                  <a:lnTo>
                    <a:pt x="802" y="853"/>
                  </a:lnTo>
                  <a:lnTo>
                    <a:pt x="808" y="837"/>
                  </a:lnTo>
                  <a:lnTo>
                    <a:pt x="811" y="828"/>
                  </a:lnTo>
                  <a:lnTo>
                    <a:pt x="813" y="827"/>
                  </a:lnTo>
                  <a:lnTo>
                    <a:pt x="823" y="817"/>
                  </a:lnTo>
                  <a:lnTo>
                    <a:pt x="842" y="806"/>
                  </a:lnTo>
                  <a:lnTo>
                    <a:pt x="843" y="806"/>
                  </a:lnTo>
                  <a:lnTo>
                    <a:pt x="845" y="806"/>
                  </a:lnTo>
                  <a:lnTo>
                    <a:pt x="848" y="808"/>
                  </a:lnTo>
                  <a:lnTo>
                    <a:pt x="852" y="815"/>
                  </a:lnTo>
                  <a:lnTo>
                    <a:pt x="853" y="815"/>
                  </a:lnTo>
                  <a:lnTo>
                    <a:pt x="853" y="817"/>
                  </a:lnTo>
                  <a:lnTo>
                    <a:pt x="855" y="817"/>
                  </a:lnTo>
                  <a:lnTo>
                    <a:pt x="856" y="818"/>
                  </a:lnTo>
                  <a:lnTo>
                    <a:pt x="859" y="818"/>
                  </a:lnTo>
                  <a:lnTo>
                    <a:pt x="861" y="820"/>
                  </a:lnTo>
                  <a:lnTo>
                    <a:pt x="861" y="821"/>
                  </a:lnTo>
                  <a:lnTo>
                    <a:pt x="859" y="825"/>
                  </a:lnTo>
                  <a:lnTo>
                    <a:pt x="858" y="827"/>
                  </a:lnTo>
                  <a:lnTo>
                    <a:pt x="856" y="830"/>
                  </a:lnTo>
                  <a:lnTo>
                    <a:pt x="855" y="830"/>
                  </a:lnTo>
                  <a:lnTo>
                    <a:pt x="852" y="831"/>
                  </a:lnTo>
                  <a:lnTo>
                    <a:pt x="852" y="833"/>
                  </a:lnTo>
                  <a:lnTo>
                    <a:pt x="852" y="836"/>
                  </a:lnTo>
                  <a:lnTo>
                    <a:pt x="852" y="839"/>
                  </a:lnTo>
                  <a:lnTo>
                    <a:pt x="858" y="857"/>
                  </a:lnTo>
                  <a:lnTo>
                    <a:pt x="846" y="876"/>
                  </a:lnTo>
                  <a:lnTo>
                    <a:pt x="840" y="889"/>
                  </a:lnTo>
                  <a:lnTo>
                    <a:pt x="839" y="891"/>
                  </a:lnTo>
                  <a:lnTo>
                    <a:pt x="836" y="892"/>
                  </a:lnTo>
                  <a:lnTo>
                    <a:pt x="833" y="894"/>
                  </a:lnTo>
                  <a:lnTo>
                    <a:pt x="830" y="897"/>
                  </a:lnTo>
                  <a:lnTo>
                    <a:pt x="827" y="897"/>
                  </a:lnTo>
                  <a:lnTo>
                    <a:pt x="820" y="895"/>
                  </a:lnTo>
                  <a:lnTo>
                    <a:pt x="818" y="895"/>
                  </a:lnTo>
                  <a:lnTo>
                    <a:pt x="817" y="897"/>
                  </a:lnTo>
                  <a:lnTo>
                    <a:pt x="815" y="898"/>
                  </a:lnTo>
                  <a:lnTo>
                    <a:pt x="814" y="900"/>
                  </a:lnTo>
                  <a:lnTo>
                    <a:pt x="813" y="905"/>
                  </a:lnTo>
                  <a:lnTo>
                    <a:pt x="811" y="910"/>
                  </a:lnTo>
                  <a:lnTo>
                    <a:pt x="810" y="926"/>
                  </a:lnTo>
                  <a:lnTo>
                    <a:pt x="810" y="930"/>
                  </a:lnTo>
                  <a:lnTo>
                    <a:pt x="808" y="933"/>
                  </a:lnTo>
                  <a:lnTo>
                    <a:pt x="808" y="936"/>
                  </a:lnTo>
                  <a:lnTo>
                    <a:pt x="807" y="938"/>
                  </a:lnTo>
                  <a:lnTo>
                    <a:pt x="808" y="939"/>
                  </a:lnTo>
                  <a:lnTo>
                    <a:pt x="808" y="940"/>
                  </a:lnTo>
                  <a:lnTo>
                    <a:pt x="810" y="942"/>
                  </a:lnTo>
                  <a:lnTo>
                    <a:pt x="811" y="943"/>
                  </a:lnTo>
                  <a:lnTo>
                    <a:pt x="817" y="945"/>
                  </a:lnTo>
                  <a:lnTo>
                    <a:pt x="829" y="951"/>
                  </a:lnTo>
                  <a:lnTo>
                    <a:pt x="836" y="952"/>
                  </a:lnTo>
                  <a:lnTo>
                    <a:pt x="839" y="952"/>
                  </a:lnTo>
                  <a:lnTo>
                    <a:pt x="839" y="954"/>
                  </a:lnTo>
                  <a:lnTo>
                    <a:pt x="837" y="955"/>
                  </a:lnTo>
                  <a:lnTo>
                    <a:pt x="830" y="959"/>
                  </a:lnTo>
                  <a:lnTo>
                    <a:pt x="829" y="962"/>
                  </a:lnTo>
                  <a:lnTo>
                    <a:pt x="827" y="965"/>
                  </a:lnTo>
                  <a:lnTo>
                    <a:pt x="827" y="967"/>
                  </a:lnTo>
                  <a:lnTo>
                    <a:pt x="827" y="968"/>
                  </a:lnTo>
                  <a:lnTo>
                    <a:pt x="829" y="970"/>
                  </a:lnTo>
                  <a:lnTo>
                    <a:pt x="830" y="972"/>
                  </a:lnTo>
                  <a:lnTo>
                    <a:pt x="830" y="977"/>
                  </a:lnTo>
                  <a:lnTo>
                    <a:pt x="830" y="978"/>
                  </a:lnTo>
                  <a:lnTo>
                    <a:pt x="829" y="980"/>
                  </a:lnTo>
                  <a:lnTo>
                    <a:pt x="820" y="978"/>
                  </a:lnTo>
                  <a:lnTo>
                    <a:pt x="810" y="981"/>
                  </a:lnTo>
                  <a:lnTo>
                    <a:pt x="811" y="988"/>
                  </a:lnTo>
                  <a:lnTo>
                    <a:pt x="815" y="996"/>
                  </a:lnTo>
                  <a:lnTo>
                    <a:pt x="815" y="997"/>
                  </a:lnTo>
                  <a:lnTo>
                    <a:pt x="815" y="1000"/>
                  </a:lnTo>
                  <a:lnTo>
                    <a:pt x="817" y="1002"/>
                  </a:lnTo>
                  <a:lnTo>
                    <a:pt x="815" y="1005"/>
                  </a:lnTo>
                  <a:lnTo>
                    <a:pt x="815" y="1006"/>
                  </a:lnTo>
                  <a:lnTo>
                    <a:pt x="815" y="1007"/>
                  </a:lnTo>
                  <a:lnTo>
                    <a:pt x="814" y="1007"/>
                  </a:lnTo>
                  <a:lnTo>
                    <a:pt x="813" y="1010"/>
                  </a:lnTo>
                  <a:lnTo>
                    <a:pt x="813" y="1013"/>
                  </a:lnTo>
                  <a:lnTo>
                    <a:pt x="813" y="1013"/>
                  </a:lnTo>
                  <a:lnTo>
                    <a:pt x="815" y="1013"/>
                  </a:lnTo>
                  <a:lnTo>
                    <a:pt x="818" y="1012"/>
                  </a:lnTo>
                  <a:lnTo>
                    <a:pt x="824" y="1010"/>
                  </a:lnTo>
                  <a:lnTo>
                    <a:pt x="829" y="1012"/>
                  </a:lnTo>
                  <a:lnTo>
                    <a:pt x="836" y="1010"/>
                  </a:lnTo>
                  <a:lnTo>
                    <a:pt x="861" y="1013"/>
                  </a:lnTo>
                  <a:lnTo>
                    <a:pt x="864" y="1015"/>
                  </a:lnTo>
                  <a:lnTo>
                    <a:pt x="865" y="1018"/>
                  </a:lnTo>
                  <a:lnTo>
                    <a:pt x="864" y="1021"/>
                  </a:lnTo>
                  <a:lnTo>
                    <a:pt x="862" y="1023"/>
                  </a:lnTo>
                  <a:lnTo>
                    <a:pt x="862" y="1025"/>
                  </a:lnTo>
                  <a:lnTo>
                    <a:pt x="862" y="1026"/>
                  </a:lnTo>
                  <a:lnTo>
                    <a:pt x="862" y="1028"/>
                  </a:lnTo>
                  <a:lnTo>
                    <a:pt x="865" y="1031"/>
                  </a:lnTo>
                  <a:lnTo>
                    <a:pt x="875" y="1035"/>
                  </a:lnTo>
                  <a:lnTo>
                    <a:pt x="880" y="1041"/>
                  </a:lnTo>
                  <a:lnTo>
                    <a:pt x="880" y="1044"/>
                  </a:lnTo>
                  <a:lnTo>
                    <a:pt x="880" y="1045"/>
                  </a:lnTo>
                  <a:lnTo>
                    <a:pt x="880" y="1047"/>
                  </a:lnTo>
                  <a:lnTo>
                    <a:pt x="875" y="1054"/>
                  </a:lnTo>
                  <a:lnTo>
                    <a:pt x="875" y="1055"/>
                  </a:lnTo>
                  <a:lnTo>
                    <a:pt x="875" y="1055"/>
                  </a:lnTo>
                  <a:lnTo>
                    <a:pt x="875" y="1058"/>
                  </a:lnTo>
                  <a:lnTo>
                    <a:pt x="878" y="1067"/>
                  </a:lnTo>
                  <a:lnTo>
                    <a:pt x="883" y="1077"/>
                  </a:lnTo>
                  <a:lnTo>
                    <a:pt x="883" y="1079"/>
                  </a:lnTo>
                  <a:lnTo>
                    <a:pt x="883" y="1080"/>
                  </a:lnTo>
                  <a:lnTo>
                    <a:pt x="883" y="1082"/>
                  </a:lnTo>
                  <a:lnTo>
                    <a:pt x="881" y="1083"/>
                  </a:lnTo>
                  <a:lnTo>
                    <a:pt x="881" y="1085"/>
                  </a:lnTo>
                  <a:lnTo>
                    <a:pt x="880" y="1086"/>
                  </a:lnTo>
                  <a:lnTo>
                    <a:pt x="878" y="1087"/>
                  </a:lnTo>
                  <a:lnTo>
                    <a:pt x="875" y="1089"/>
                  </a:lnTo>
                  <a:lnTo>
                    <a:pt x="875" y="1089"/>
                  </a:lnTo>
                  <a:lnTo>
                    <a:pt x="875" y="1090"/>
                  </a:lnTo>
                  <a:lnTo>
                    <a:pt x="875" y="1090"/>
                  </a:lnTo>
                  <a:lnTo>
                    <a:pt x="875" y="1092"/>
                  </a:lnTo>
                  <a:lnTo>
                    <a:pt x="875" y="1093"/>
                  </a:lnTo>
                  <a:lnTo>
                    <a:pt x="875" y="1093"/>
                  </a:lnTo>
                  <a:lnTo>
                    <a:pt x="874" y="1095"/>
                  </a:lnTo>
                  <a:lnTo>
                    <a:pt x="874" y="1095"/>
                  </a:lnTo>
                  <a:lnTo>
                    <a:pt x="872" y="1096"/>
                  </a:lnTo>
                  <a:lnTo>
                    <a:pt x="875" y="1098"/>
                  </a:lnTo>
                  <a:lnTo>
                    <a:pt x="878" y="1099"/>
                  </a:lnTo>
                  <a:lnTo>
                    <a:pt x="887" y="1104"/>
                  </a:lnTo>
                  <a:lnTo>
                    <a:pt x="890" y="1105"/>
                  </a:lnTo>
                  <a:lnTo>
                    <a:pt x="891" y="1104"/>
                  </a:lnTo>
                  <a:lnTo>
                    <a:pt x="891" y="1104"/>
                  </a:lnTo>
                  <a:lnTo>
                    <a:pt x="891" y="1102"/>
                  </a:lnTo>
                  <a:lnTo>
                    <a:pt x="891" y="1102"/>
                  </a:lnTo>
                  <a:lnTo>
                    <a:pt x="893" y="1101"/>
                  </a:lnTo>
                  <a:lnTo>
                    <a:pt x="893" y="1099"/>
                  </a:lnTo>
                  <a:lnTo>
                    <a:pt x="894" y="1099"/>
                  </a:lnTo>
                  <a:lnTo>
                    <a:pt x="896" y="1098"/>
                  </a:lnTo>
                  <a:lnTo>
                    <a:pt x="897" y="1098"/>
                  </a:lnTo>
                  <a:lnTo>
                    <a:pt x="899" y="1098"/>
                  </a:lnTo>
                  <a:lnTo>
                    <a:pt x="900" y="1098"/>
                  </a:lnTo>
                  <a:lnTo>
                    <a:pt x="913" y="1104"/>
                  </a:lnTo>
                  <a:lnTo>
                    <a:pt x="913" y="1105"/>
                  </a:lnTo>
                  <a:lnTo>
                    <a:pt x="913" y="1108"/>
                  </a:lnTo>
                  <a:lnTo>
                    <a:pt x="909" y="1124"/>
                  </a:lnTo>
                  <a:lnTo>
                    <a:pt x="909" y="1124"/>
                  </a:lnTo>
                  <a:lnTo>
                    <a:pt x="907" y="1127"/>
                  </a:lnTo>
                  <a:lnTo>
                    <a:pt x="906" y="1128"/>
                  </a:lnTo>
                  <a:lnTo>
                    <a:pt x="903" y="1131"/>
                  </a:lnTo>
                  <a:lnTo>
                    <a:pt x="903" y="1131"/>
                  </a:lnTo>
                  <a:lnTo>
                    <a:pt x="903" y="1133"/>
                  </a:lnTo>
                  <a:lnTo>
                    <a:pt x="904" y="1133"/>
                  </a:lnTo>
                  <a:lnTo>
                    <a:pt x="915" y="1131"/>
                  </a:lnTo>
                  <a:lnTo>
                    <a:pt x="919" y="1131"/>
                  </a:lnTo>
                  <a:lnTo>
                    <a:pt x="926" y="1136"/>
                  </a:lnTo>
                  <a:lnTo>
                    <a:pt x="929" y="1138"/>
                  </a:lnTo>
                  <a:lnTo>
                    <a:pt x="929" y="1140"/>
                  </a:lnTo>
                  <a:lnTo>
                    <a:pt x="929" y="1141"/>
                  </a:lnTo>
                  <a:lnTo>
                    <a:pt x="931" y="1144"/>
                  </a:lnTo>
                  <a:lnTo>
                    <a:pt x="931" y="1149"/>
                  </a:lnTo>
                  <a:lnTo>
                    <a:pt x="931" y="1154"/>
                  </a:lnTo>
                  <a:lnTo>
                    <a:pt x="925" y="1169"/>
                  </a:lnTo>
                  <a:lnTo>
                    <a:pt x="929" y="1169"/>
                  </a:lnTo>
                  <a:lnTo>
                    <a:pt x="932" y="1169"/>
                  </a:lnTo>
                  <a:lnTo>
                    <a:pt x="939" y="1166"/>
                  </a:lnTo>
                  <a:lnTo>
                    <a:pt x="941" y="1166"/>
                  </a:lnTo>
                  <a:lnTo>
                    <a:pt x="957" y="1166"/>
                  </a:lnTo>
                  <a:lnTo>
                    <a:pt x="964" y="1165"/>
                  </a:lnTo>
                  <a:lnTo>
                    <a:pt x="967" y="1165"/>
                  </a:lnTo>
                  <a:lnTo>
                    <a:pt x="970" y="1163"/>
                  </a:lnTo>
                  <a:lnTo>
                    <a:pt x="971" y="1162"/>
                  </a:lnTo>
                  <a:lnTo>
                    <a:pt x="973" y="1163"/>
                  </a:lnTo>
                  <a:lnTo>
                    <a:pt x="974" y="1163"/>
                  </a:lnTo>
                  <a:lnTo>
                    <a:pt x="973" y="1168"/>
                  </a:lnTo>
                  <a:lnTo>
                    <a:pt x="971" y="1169"/>
                  </a:lnTo>
                  <a:lnTo>
                    <a:pt x="970" y="1172"/>
                  </a:lnTo>
                  <a:lnTo>
                    <a:pt x="967" y="1176"/>
                  </a:lnTo>
                  <a:lnTo>
                    <a:pt x="967" y="1178"/>
                  </a:lnTo>
                  <a:lnTo>
                    <a:pt x="967" y="1179"/>
                  </a:lnTo>
                  <a:lnTo>
                    <a:pt x="968" y="1181"/>
                  </a:lnTo>
                  <a:lnTo>
                    <a:pt x="970" y="1181"/>
                  </a:lnTo>
                  <a:lnTo>
                    <a:pt x="973" y="1182"/>
                  </a:lnTo>
                  <a:lnTo>
                    <a:pt x="974" y="1182"/>
                  </a:lnTo>
                  <a:lnTo>
                    <a:pt x="974" y="1184"/>
                  </a:lnTo>
                  <a:lnTo>
                    <a:pt x="974" y="1185"/>
                  </a:lnTo>
                  <a:lnTo>
                    <a:pt x="971" y="1187"/>
                  </a:lnTo>
                  <a:lnTo>
                    <a:pt x="971" y="1188"/>
                  </a:lnTo>
                  <a:lnTo>
                    <a:pt x="971" y="1191"/>
                  </a:lnTo>
                  <a:lnTo>
                    <a:pt x="971" y="1197"/>
                  </a:lnTo>
                  <a:lnTo>
                    <a:pt x="970" y="1201"/>
                  </a:lnTo>
                  <a:lnTo>
                    <a:pt x="968" y="1208"/>
                  </a:lnTo>
                  <a:lnTo>
                    <a:pt x="966" y="1217"/>
                  </a:lnTo>
                  <a:lnTo>
                    <a:pt x="964" y="1219"/>
                  </a:lnTo>
                  <a:lnTo>
                    <a:pt x="963" y="1221"/>
                  </a:lnTo>
                  <a:lnTo>
                    <a:pt x="960" y="1223"/>
                  </a:lnTo>
                  <a:lnTo>
                    <a:pt x="955" y="1226"/>
                  </a:lnTo>
                  <a:lnTo>
                    <a:pt x="955" y="1227"/>
                  </a:lnTo>
                  <a:lnTo>
                    <a:pt x="954" y="1227"/>
                  </a:lnTo>
                  <a:lnTo>
                    <a:pt x="954" y="1229"/>
                  </a:lnTo>
                  <a:lnTo>
                    <a:pt x="954" y="1232"/>
                  </a:lnTo>
                  <a:lnTo>
                    <a:pt x="952" y="1233"/>
                  </a:lnTo>
                  <a:lnTo>
                    <a:pt x="952" y="1235"/>
                  </a:lnTo>
                  <a:lnTo>
                    <a:pt x="951" y="1235"/>
                  </a:lnTo>
                  <a:lnTo>
                    <a:pt x="951" y="1236"/>
                  </a:lnTo>
                  <a:lnTo>
                    <a:pt x="950" y="1236"/>
                  </a:lnTo>
                  <a:lnTo>
                    <a:pt x="950" y="1237"/>
                  </a:lnTo>
                  <a:lnTo>
                    <a:pt x="950" y="1240"/>
                  </a:lnTo>
                  <a:lnTo>
                    <a:pt x="950" y="1243"/>
                  </a:lnTo>
                  <a:lnTo>
                    <a:pt x="950" y="1246"/>
                  </a:lnTo>
                  <a:lnTo>
                    <a:pt x="950" y="1253"/>
                  </a:lnTo>
                  <a:lnTo>
                    <a:pt x="951" y="1256"/>
                  </a:lnTo>
                  <a:lnTo>
                    <a:pt x="950" y="1258"/>
                  </a:lnTo>
                  <a:lnTo>
                    <a:pt x="950" y="1259"/>
                  </a:lnTo>
                  <a:lnTo>
                    <a:pt x="948" y="1261"/>
                  </a:lnTo>
                  <a:lnTo>
                    <a:pt x="948" y="1262"/>
                  </a:lnTo>
                  <a:lnTo>
                    <a:pt x="948" y="1265"/>
                  </a:lnTo>
                  <a:lnTo>
                    <a:pt x="950" y="1269"/>
                  </a:lnTo>
                  <a:lnTo>
                    <a:pt x="948" y="1271"/>
                  </a:lnTo>
                  <a:lnTo>
                    <a:pt x="948" y="1272"/>
                  </a:lnTo>
                  <a:lnTo>
                    <a:pt x="945" y="1274"/>
                  </a:lnTo>
                  <a:lnTo>
                    <a:pt x="945" y="1274"/>
                  </a:lnTo>
                  <a:lnTo>
                    <a:pt x="944" y="1275"/>
                  </a:lnTo>
                  <a:lnTo>
                    <a:pt x="944" y="1278"/>
                  </a:lnTo>
                  <a:lnTo>
                    <a:pt x="944" y="1281"/>
                  </a:lnTo>
                  <a:lnTo>
                    <a:pt x="944" y="1284"/>
                  </a:lnTo>
                  <a:lnTo>
                    <a:pt x="944" y="1286"/>
                  </a:lnTo>
                  <a:lnTo>
                    <a:pt x="944" y="1287"/>
                  </a:lnTo>
                  <a:lnTo>
                    <a:pt x="944" y="1288"/>
                  </a:lnTo>
                  <a:lnTo>
                    <a:pt x="945" y="1290"/>
                  </a:lnTo>
                  <a:lnTo>
                    <a:pt x="951" y="1290"/>
                  </a:lnTo>
                  <a:lnTo>
                    <a:pt x="967" y="1286"/>
                  </a:lnTo>
                  <a:lnTo>
                    <a:pt x="970" y="1287"/>
                  </a:lnTo>
                  <a:lnTo>
                    <a:pt x="976" y="1281"/>
                  </a:lnTo>
                  <a:lnTo>
                    <a:pt x="982" y="1281"/>
                  </a:lnTo>
                  <a:lnTo>
                    <a:pt x="983" y="1283"/>
                  </a:lnTo>
                  <a:lnTo>
                    <a:pt x="984" y="1284"/>
                  </a:lnTo>
                  <a:lnTo>
                    <a:pt x="984" y="1287"/>
                  </a:lnTo>
                  <a:lnTo>
                    <a:pt x="984" y="1288"/>
                  </a:lnTo>
                  <a:lnTo>
                    <a:pt x="984" y="1290"/>
                  </a:lnTo>
                  <a:lnTo>
                    <a:pt x="984" y="1291"/>
                  </a:lnTo>
                  <a:lnTo>
                    <a:pt x="984" y="1293"/>
                  </a:lnTo>
                  <a:lnTo>
                    <a:pt x="986" y="1294"/>
                  </a:lnTo>
                  <a:lnTo>
                    <a:pt x="987" y="1296"/>
                  </a:lnTo>
                  <a:lnTo>
                    <a:pt x="990" y="1296"/>
                  </a:lnTo>
                  <a:lnTo>
                    <a:pt x="995" y="1297"/>
                  </a:lnTo>
                  <a:lnTo>
                    <a:pt x="998" y="1296"/>
                  </a:lnTo>
                  <a:lnTo>
                    <a:pt x="999" y="1296"/>
                  </a:lnTo>
                  <a:lnTo>
                    <a:pt x="999" y="1294"/>
                  </a:lnTo>
                  <a:lnTo>
                    <a:pt x="1001" y="1293"/>
                  </a:lnTo>
                  <a:lnTo>
                    <a:pt x="1002" y="1291"/>
                  </a:lnTo>
                  <a:lnTo>
                    <a:pt x="1003" y="1290"/>
                  </a:lnTo>
                  <a:lnTo>
                    <a:pt x="1005" y="1290"/>
                  </a:lnTo>
                  <a:lnTo>
                    <a:pt x="1006" y="1290"/>
                  </a:lnTo>
                  <a:lnTo>
                    <a:pt x="1006" y="1291"/>
                  </a:lnTo>
                  <a:lnTo>
                    <a:pt x="1008" y="1293"/>
                  </a:lnTo>
                  <a:lnTo>
                    <a:pt x="1009" y="1296"/>
                  </a:lnTo>
                  <a:lnTo>
                    <a:pt x="1014" y="1297"/>
                  </a:lnTo>
                  <a:lnTo>
                    <a:pt x="1017" y="1297"/>
                  </a:lnTo>
                  <a:lnTo>
                    <a:pt x="1019" y="1297"/>
                  </a:lnTo>
                  <a:lnTo>
                    <a:pt x="1024" y="1297"/>
                  </a:lnTo>
                  <a:lnTo>
                    <a:pt x="1028" y="1296"/>
                  </a:lnTo>
                  <a:lnTo>
                    <a:pt x="1030" y="1294"/>
                  </a:lnTo>
                  <a:lnTo>
                    <a:pt x="1030" y="1296"/>
                  </a:lnTo>
                  <a:lnTo>
                    <a:pt x="1031" y="1299"/>
                  </a:lnTo>
                  <a:lnTo>
                    <a:pt x="1031" y="1302"/>
                  </a:lnTo>
                  <a:lnTo>
                    <a:pt x="1033" y="1303"/>
                  </a:lnTo>
                  <a:lnTo>
                    <a:pt x="1040" y="1306"/>
                  </a:lnTo>
                  <a:lnTo>
                    <a:pt x="1041" y="1307"/>
                  </a:lnTo>
                  <a:lnTo>
                    <a:pt x="1041" y="1310"/>
                  </a:lnTo>
                  <a:lnTo>
                    <a:pt x="1043" y="1315"/>
                  </a:lnTo>
                  <a:lnTo>
                    <a:pt x="1046" y="1320"/>
                  </a:lnTo>
                  <a:lnTo>
                    <a:pt x="1051" y="1328"/>
                  </a:lnTo>
                  <a:lnTo>
                    <a:pt x="1049" y="1334"/>
                  </a:lnTo>
                  <a:lnTo>
                    <a:pt x="1047" y="1335"/>
                  </a:lnTo>
                  <a:lnTo>
                    <a:pt x="1046" y="1335"/>
                  </a:lnTo>
                  <a:lnTo>
                    <a:pt x="1037" y="1328"/>
                  </a:lnTo>
                  <a:lnTo>
                    <a:pt x="1037" y="1328"/>
                  </a:lnTo>
                  <a:lnTo>
                    <a:pt x="1035" y="1328"/>
                  </a:lnTo>
                  <a:lnTo>
                    <a:pt x="1035" y="1328"/>
                  </a:lnTo>
                  <a:lnTo>
                    <a:pt x="1034" y="1328"/>
                  </a:lnTo>
                  <a:lnTo>
                    <a:pt x="1034" y="1329"/>
                  </a:lnTo>
                  <a:lnTo>
                    <a:pt x="1034" y="1331"/>
                  </a:lnTo>
                  <a:lnTo>
                    <a:pt x="1034" y="1334"/>
                  </a:lnTo>
                  <a:lnTo>
                    <a:pt x="1038" y="1339"/>
                  </a:lnTo>
                  <a:lnTo>
                    <a:pt x="1037" y="1339"/>
                  </a:lnTo>
                  <a:lnTo>
                    <a:pt x="1037" y="1341"/>
                  </a:lnTo>
                  <a:lnTo>
                    <a:pt x="1035" y="1341"/>
                  </a:lnTo>
                  <a:lnTo>
                    <a:pt x="1034" y="1341"/>
                  </a:lnTo>
                  <a:lnTo>
                    <a:pt x="1033" y="1341"/>
                  </a:lnTo>
                  <a:lnTo>
                    <a:pt x="1030" y="1339"/>
                  </a:lnTo>
                  <a:lnTo>
                    <a:pt x="1028" y="1339"/>
                  </a:lnTo>
                  <a:lnTo>
                    <a:pt x="1028" y="1341"/>
                  </a:lnTo>
                  <a:lnTo>
                    <a:pt x="1028" y="1344"/>
                  </a:lnTo>
                  <a:lnTo>
                    <a:pt x="1028" y="1350"/>
                  </a:lnTo>
                  <a:lnTo>
                    <a:pt x="1027" y="1352"/>
                  </a:lnTo>
                  <a:lnTo>
                    <a:pt x="1027" y="1355"/>
                  </a:lnTo>
                  <a:lnTo>
                    <a:pt x="1025" y="1355"/>
                  </a:lnTo>
                  <a:lnTo>
                    <a:pt x="1024" y="1357"/>
                  </a:lnTo>
                  <a:lnTo>
                    <a:pt x="1021" y="1357"/>
                  </a:lnTo>
                  <a:lnTo>
                    <a:pt x="1021" y="1358"/>
                  </a:lnTo>
                  <a:lnTo>
                    <a:pt x="1021" y="1361"/>
                  </a:lnTo>
                  <a:lnTo>
                    <a:pt x="1028" y="1377"/>
                  </a:lnTo>
                  <a:lnTo>
                    <a:pt x="1030" y="1380"/>
                  </a:lnTo>
                  <a:lnTo>
                    <a:pt x="1031" y="1382"/>
                  </a:lnTo>
                  <a:lnTo>
                    <a:pt x="1034" y="1383"/>
                  </a:lnTo>
                  <a:lnTo>
                    <a:pt x="1035" y="1385"/>
                  </a:lnTo>
                  <a:lnTo>
                    <a:pt x="1035" y="1386"/>
                  </a:lnTo>
                  <a:lnTo>
                    <a:pt x="1035" y="1387"/>
                  </a:lnTo>
                  <a:lnTo>
                    <a:pt x="1033" y="1390"/>
                  </a:lnTo>
                  <a:lnTo>
                    <a:pt x="1033" y="1390"/>
                  </a:lnTo>
                  <a:lnTo>
                    <a:pt x="1033" y="1393"/>
                  </a:lnTo>
                  <a:lnTo>
                    <a:pt x="1034" y="1395"/>
                  </a:lnTo>
                  <a:lnTo>
                    <a:pt x="1035" y="1398"/>
                  </a:lnTo>
                  <a:lnTo>
                    <a:pt x="1035" y="1401"/>
                  </a:lnTo>
                  <a:lnTo>
                    <a:pt x="1034" y="1402"/>
                  </a:lnTo>
                  <a:lnTo>
                    <a:pt x="1034" y="1405"/>
                  </a:lnTo>
                  <a:lnTo>
                    <a:pt x="1035" y="1418"/>
                  </a:lnTo>
                  <a:lnTo>
                    <a:pt x="1034" y="1421"/>
                  </a:lnTo>
                  <a:lnTo>
                    <a:pt x="1034" y="1422"/>
                  </a:lnTo>
                  <a:lnTo>
                    <a:pt x="1024" y="1424"/>
                  </a:lnTo>
                  <a:lnTo>
                    <a:pt x="1021" y="1425"/>
                  </a:lnTo>
                  <a:lnTo>
                    <a:pt x="1019" y="1425"/>
                  </a:lnTo>
                  <a:lnTo>
                    <a:pt x="1017" y="1424"/>
                  </a:lnTo>
                  <a:lnTo>
                    <a:pt x="1017" y="1424"/>
                  </a:lnTo>
                  <a:lnTo>
                    <a:pt x="1015" y="1425"/>
                  </a:lnTo>
                  <a:lnTo>
                    <a:pt x="1014" y="1427"/>
                  </a:lnTo>
                  <a:lnTo>
                    <a:pt x="1014" y="1428"/>
                  </a:lnTo>
                  <a:lnTo>
                    <a:pt x="1012" y="1430"/>
                  </a:lnTo>
                  <a:lnTo>
                    <a:pt x="1009" y="1433"/>
                  </a:lnTo>
                  <a:lnTo>
                    <a:pt x="1009" y="1434"/>
                  </a:lnTo>
                  <a:lnTo>
                    <a:pt x="1009" y="1437"/>
                  </a:lnTo>
                  <a:lnTo>
                    <a:pt x="1012" y="1441"/>
                  </a:lnTo>
                  <a:lnTo>
                    <a:pt x="1012" y="1443"/>
                  </a:lnTo>
                  <a:lnTo>
                    <a:pt x="1012" y="1444"/>
                  </a:lnTo>
                  <a:lnTo>
                    <a:pt x="1011" y="1446"/>
                  </a:lnTo>
                  <a:lnTo>
                    <a:pt x="1009" y="1446"/>
                  </a:lnTo>
                  <a:lnTo>
                    <a:pt x="1006" y="1444"/>
                  </a:lnTo>
                  <a:lnTo>
                    <a:pt x="1001" y="1443"/>
                  </a:lnTo>
                  <a:lnTo>
                    <a:pt x="999" y="1443"/>
                  </a:lnTo>
                  <a:lnTo>
                    <a:pt x="999" y="1444"/>
                  </a:lnTo>
                  <a:lnTo>
                    <a:pt x="1002" y="1447"/>
                  </a:lnTo>
                  <a:lnTo>
                    <a:pt x="1011" y="1456"/>
                  </a:lnTo>
                  <a:lnTo>
                    <a:pt x="1018" y="1457"/>
                  </a:lnTo>
                  <a:lnTo>
                    <a:pt x="1041" y="1468"/>
                  </a:lnTo>
                  <a:lnTo>
                    <a:pt x="1044" y="1469"/>
                  </a:lnTo>
                  <a:lnTo>
                    <a:pt x="1046" y="1468"/>
                  </a:lnTo>
                  <a:lnTo>
                    <a:pt x="1051" y="1470"/>
                  </a:lnTo>
                  <a:lnTo>
                    <a:pt x="1060" y="1484"/>
                  </a:lnTo>
                  <a:lnTo>
                    <a:pt x="1065" y="1484"/>
                  </a:lnTo>
                  <a:lnTo>
                    <a:pt x="1066" y="1484"/>
                  </a:lnTo>
                  <a:lnTo>
                    <a:pt x="1069" y="1482"/>
                  </a:lnTo>
                  <a:lnTo>
                    <a:pt x="1078" y="1473"/>
                  </a:lnTo>
                  <a:lnTo>
                    <a:pt x="1081" y="1470"/>
                  </a:lnTo>
                  <a:lnTo>
                    <a:pt x="1082" y="1469"/>
                  </a:lnTo>
                  <a:lnTo>
                    <a:pt x="1082" y="1468"/>
                  </a:lnTo>
                  <a:lnTo>
                    <a:pt x="1082" y="1466"/>
                  </a:lnTo>
                  <a:lnTo>
                    <a:pt x="1082" y="1465"/>
                  </a:lnTo>
                  <a:lnTo>
                    <a:pt x="1082" y="1465"/>
                  </a:lnTo>
                  <a:lnTo>
                    <a:pt x="1082" y="1463"/>
                  </a:lnTo>
                  <a:lnTo>
                    <a:pt x="1084" y="1463"/>
                  </a:lnTo>
                  <a:lnTo>
                    <a:pt x="1084" y="1462"/>
                  </a:lnTo>
                  <a:lnTo>
                    <a:pt x="1084" y="1462"/>
                  </a:lnTo>
                  <a:lnTo>
                    <a:pt x="1085" y="1462"/>
                  </a:lnTo>
                  <a:lnTo>
                    <a:pt x="1085" y="1460"/>
                  </a:lnTo>
                  <a:lnTo>
                    <a:pt x="1086" y="1459"/>
                  </a:lnTo>
                  <a:lnTo>
                    <a:pt x="1086" y="1459"/>
                  </a:lnTo>
                  <a:lnTo>
                    <a:pt x="1086" y="1457"/>
                  </a:lnTo>
                  <a:lnTo>
                    <a:pt x="1086" y="1457"/>
                  </a:lnTo>
                  <a:lnTo>
                    <a:pt x="1085" y="1456"/>
                  </a:lnTo>
                  <a:lnTo>
                    <a:pt x="1085" y="1456"/>
                  </a:lnTo>
                  <a:lnTo>
                    <a:pt x="1084" y="1456"/>
                  </a:lnTo>
                  <a:lnTo>
                    <a:pt x="1081" y="1456"/>
                  </a:lnTo>
                  <a:lnTo>
                    <a:pt x="1078" y="1460"/>
                  </a:lnTo>
                  <a:lnTo>
                    <a:pt x="1076" y="1462"/>
                  </a:lnTo>
                  <a:lnTo>
                    <a:pt x="1076" y="1462"/>
                  </a:lnTo>
                  <a:lnTo>
                    <a:pt x="1075" y="1462"/>
                  </a:lnTo>
                  <a:lnTo>
                    <a:pt x="1072" y="1460"/>
                  </a:lnTo>
                  <a:lnTo>
                    <a:pt x="1063" y="1451"/>
                  </a:lnTo>
                  <a:lnTo>
                    <a:pt x="1062" y="1449"/>
                  </a:lnTo>
                  <a:lnTo>
                    <a:pt x="1062" y="1446"/>
                  </a:lnTo>
                  <a:lnTo>
                    <a:pt x="1062" y="1446"/>
                  </a:lnTo>
                  <a:lnTo>
                    <a:pt x="1062" y="1444"/>
                  </a:lnTo>
                  <a:lnTo>
                    <a:pt x="1062" y="1444"/>
                  </a:lnTo>
                  <a:lnTo>
                    <a:pt x="1076" y="1435"/>
                  </a:lnTo>
                  <a:lnTo>
                    <a:pt x="1081" y="1431"/>
                  </a:lnTo>
                  <a:lnTo>
                    <a:pt x="1089" y="1428"/>
                  </a:lnTo>
                  <a:lnTo>
                    <a:pt x="1091" y="1427"/>
                  </a:lnTo>
                  <a:lnTo>
                    <a:pt x="1092" y="1425"/>
                  </a:lnTo>
                  <a:lnTo>
                    <a:pt x="1091" y="1424"/>
                  </a:lnTo>
                  <a:lnTo>
                    <a:pt x="1091" y="1422"/>
                  </a:lnTo>
                  <a:lnTo>
                    <a:pt x="1091" y="1421"/>
                  </a:lnTo>
                  <a:lnTo>
                    <a:pt x="1091" y="1419"/>
                  </a:lnTo>
                  <a:lnTo>
                    <a:pt x="1091" y="1419"/>
                  </a:lnTo>
                  <a:lnTo>
                    <a:pt x="1092" y="1418"/>
                  </a:lnTo>
                  <a:lnTo>
                    <a:pt x="1094" y="1419"/>
                  </a:lnTo>
                  <a:lnTo>
                    <a:pt x="1101" y="1422"/>
                  </a:lnTo>
                  <a:lnTo>
                    <a:pt x="1102" y="1425"/>
                  </a:lnTo>
                  <a:lnTo>
                    <a:pt x="1104" y="1427"/>
                  </a:lnTo>
                  <a:lnTo>
                    <a:pt x="1105" y="1428"/>
                  </a:lnTo>
                  <a:lnTo>
                    <a:pt x="1107" y="1434"/>
                  </a:lnTo>
                  <a:lnTo>
                    <a:pt x="1108" y="1437"/>
                  </a:lnTo>
                  <a:lnTo>
                    <a:pt x="1110" y="1438"/>
                  </a:lnTo>
                  <a:lnTo>
                    <a:pt x="1111" y="1438"/>
                  </a:lnTo>
                  <a:lnTo>
                    <a:pt x="1113" y="1438"/>
                  </a:lnTo>
                  <a:lnTo>
                    <a:pt x="1114" y="1438"/>
                  </a:lnTo>
                  <a:lnTo>
                    <a:pt x="1117" y="1435"/>
                  </a:lnTo>
                  <a:lnTo>
                    <a:pt x="1119" y="1434"/>
                  </a:lnTo>
                  <a:lnTo>
                    <a:pt x="1119" y="1433"/>
                  </a:lnTo>
                  <a:lnTo>
                    <a:pt x="1116" y="1425"/>
                  </a:lnTo>
                  <a:lnTo>
                    <a:pt x="1114" y="1425"/>
                  </a:lnTo>
                  <a:lnTo>
                    <a:pt x="1114" y="1424"/>
                  </a:lnTo>
                  <a:lnTo>
                    <a:pt x="1113" y="1422"/>
                  </a:lnTo>
                  <a:lnTo>
                    <a:pt x="1113" y="1421"/>
                  </a:lnTo>
                  <a:lnTo>
                    <a:pt x="1113" y="1419"/>
                  </a:lnTo>
                  <a:lnTo>
                    <a:pt x="1113" y="1418"/>
                  </a:lnTo>
                  <a:lnTo>
                    <a:pt x="1114" y="1418"/>
                  </a:lnTo>
                  <a:lnTo>
                    <a:pt x="1116" y="1418"/>
                  </a:lnTo>
                  <a:lnTo>
                    <a:pt x="1120" y="1418"/>
                  </a:lnTo>
                  <a:lnTo>
                    <a:pt x="1121" y="1417"/>
                  </a:lnTo>
                  <a:lnTo>
                    <a:pt x="1123" y="1415"/>
                  </a:lnTo>
                  <a:lnTo>
                    <a:pt x="1124" y="1414"/>
                  </a:lnTo>
                  <a:lnTo>
                    <a:pt x="1126" y="1412"/>
                  </a:lnTo>
                  <a:lnTo>
                    <a:pt x="1127" y="1414"/>
                  </a:lnTo>
                  <a:lnTo>
                    <a:pt x="1127" y="1414"/>
                  </a:lnTo>
                  <a:lnTo>
                    <a:pt x="1129" y="1417"/>
                  </a:lnTo>
                  <a:lnTo>
                    <a:pt x="1129" y="1421"/>
                  </a:lnTo>
                  <a:lnTo>
                    <a:pt x="1129" y="1421"/>
                  </a:lnTo>
                  <a:lnTo>
                    <a:pt x="1132" y="1425"/>
                  </a:lnTo>
                  <a:lnTo>
                    <a:pt x="1143" y="1434"/>
                  </a:lnTo>
                  <a:lnTo>
                    <a:pt x="1161" y="1419"/>
                  </a:lnTo>
                  <a:lnTo>
                    <a:pt x="1165" y="1414"/>
                  </a:lnTo>
                  <a:lnTo>
                    <a:pt x="1167" y="1412"/>
                  </a:lnTo>
                  <a:lnTo>
                    <a:pt x="1172" y="1411"/>
                  </a:lnTo>
                  <a:lnTo>
                    <a:pt x="1174" y="1408"/>
                  </a:lnTo>
                  <a:lnTo>
                    <a:pt x="1175" y="1406"/>
                  </a:lnTo>
                  <a:lnTo>
                    <a:pt x="1175" y="1405"/>
                  </a:lnTo>
                  <a:lnTo>
                    <a:pt x="1177" y="1406"/>
                  </a:lnTo>
                  <a:lnTo>
                    <a:pt x="1184" y="1412"/>
                  </a:lnTo>
                  <a:lnTo>
                    <a:pt x="1186" y="1412"/>
                  </a:lnTo>
                  <a:lnTo>
                    <a:pt x="1187" y="1412"/>
                  </a:lnTo>
                  <a:lnTo>
                    <a:pt x="1188" y="1409"/>
                  </a:lnTo>
                  <a:lnTo>
                    <a:pt x="1190" y="1406"/>
                  </a:lnTo>
                  <a:lnTo>
                    <a:pt x="1196" y="1405"/>
                  </a:lnTo>
                  <a:lnTo>
                    <a:pt x="1213" y="1406"/>
                  </a:lnTo>
                  <a:lnTo>
                    <a:pt x="1212" y="1403"/>
                  </a:lnTo>
                  <a:lnTo>
                    <a:pt x="1212" y="1402"/>
                  </a:lnTo>
                  <a:lnTo>
                    <a:pt x="1212" y="1401"/>
                  </a:lnTo>
                  <a:lnTo>
                    <a:pt x="1213" y="1399"/>
                  </a:lnTo>
                  <a:lnTo>
                    <a:pt x="1218" y="1399"/>
                  </a:lnTo>
                  <a:lnTo>
                    <a:pt x="1219" y="1398"/>
                  </a:lnTo>
                  <a:lnTo>
                    <a:pt x="1220" y="1396"/>
                  </a:lnTo>
                  <a:lnTo>
                    <a:pt x="1223" y="1392"/>
                  </a:lnTo>
                  <a:lnTo>
                    <a:pt x="1225" y="1389"/>
                  </a:lnTo>
                  <a:lnTo>
                    <a:pt x="1225" y="1389"/>
                  </a:lnTo>
                  <a:lnTo>
                    <a:pt x="1223" y="1387"/>
                  </a:lnTo>
                  <a:lnTo>
                    <a:pt x="1223" y="1387"/>
                  </a:lnTo>
                  <a:lnTo>
                    <a:pt x="1223" y="1386"/>
                  </a:lnTo>
                  <a:lnTo>
                    <a:pt x="1223" y="1385"/>
                  </a:lnTo>
                  <a:lnTo>
                    <a:pt x="1223" y="1383"/>
                  </a:lnTo>
                  <a:lnTo>
                    <a:pt x="1225" y="1383"/>
                  </a:lnTo>
                  <a:lnTo>
                    <a:pt x="1226" y="1382"/>
                  </a:lnTo>
                  <a:lnTo>
                    <a:pt x="1226" y="1380"/>
                  </a:lnTo>
                  <a:lnTo>
                    <a:pt x="1229" y="1379"/>
                  </a:lnTo>
                  <a:lnTo>
                    <a:pt x="1232" y="1379"/>
                  </a:lnTo>
                  <a:lnTo>
                    <a:pt x="1234" y="1379"/>
                  </a:lnTo>
                  <a:lnTo>
                    <a:pt x="1235" y="1380"/>
                  </a:lnTo>
                  <a:lnTo>
                    <a:pt x="1235" y="1380"/>
                  </a:lnTo>
                  <a:lnTo>
                    <a:pt x="1235" y="1382"/>
                  </a:lnTo>
                  <a:lnTo>
                    <a:pt x="1235" y="1383"/>
                  </a:lnTo>
                  <a:lnTo>
                    <a:pt x="1237" y="1383"/>
                  </a:lnTo>
                  <a:lnTo>
                    <a:pt x="1237" y="1385"/>
                  </a:lnTo>
                  <a:lnTo>
                    <a:pt x="1238" y="1385"/>
                  </a:lnTo>
                  <a:lnTo>
                    <a:pt x="1242" y="1385"/>
                  </a:lnTo>
                  <a:lnTo>
                    <a:pt x="1244" y="1383"/>
                  </a:lnTo>
                  <a:lnTo>
                    <a:pt x="1260" y="1374"/>
                  </a:lnTo>
                  <a:lnTo>
                    <a:pt x="1261" y="1373"/>
                  </a:lnTo>
                  <a:lnTo>
                    <a:pt x="1263" y="1373"/>
                  </a:lnTo>
                  <a:lnTo>
                    <a:pt x="1263" y="1371"/>
                  </a:lnTo>
                  <a:lnTo>
                    <a:pt x="1264" y="1369"/>
                  </a:lnTo>
                  <a:lnTo>
                    <a:pt x="1264" y="1366"/>
                  </a:lnTo>
                  <a:lnTo>
                    <a:pt x="1266" y="1364"/>
                  </a:lnTo>
                  <a:lnTo>
                    <a:pt x="1267" y="1363"/>
                  </a:lnTo>
                  <a:lnTo>
                    <a:pt x="1273" y="1358"/>
                  </a:lnTo>
                  <a:lnTo>
                    <a:pt x="1277" y="1357"/>
                  </a:lnTo>
                  <a:lnTo>
                    <a:pt x="1277" y="1355"/>
                  </a:lnTo>
                  <a:lnTo>
                    <a:pt x="1279" y="1355"/>
                  </a:lnTo>
                  <a:lnTo>
                    <a:pt x="1279" y="1354"/>
                  </a:lnTo>
                  <a:lnTo>
                    <a:pt x="1280" y="1352"/>
                  </a:lnTo>
                  <a:lnTo>
                    <a:pt x="1286" y="1348"/>
                  </a:lnTo>
                  <a:lnTo>
                    <a:pt x="1287" y="1344"/>
                  </a:lnTo>
                  <a:lnTo>
                    <a:pt x="1292" y="1334"/>
                  </a:lnTo>
                  <a:lnTo>
                    <a:pt x="1292" y="1331"/>
                  </a:lnTo>
                  <a:lnTo>
                    <a:pt x="1293" y="1328"/>
                  </a:lnTo>
                  <a:lnTo>
                    <a:pt x="1293" y="1326"/>
                  </a:lnTo>
                  <a:lnTo>
                    <a:pt x="1293" y="1325"/>
                  </a:lnTo>
                  <a:lnTo>
                    <a:pt x="1292" y="1325"/>
                  </a:lnTo>
                  <a:lnTo>
                    <a:pt x="1292" y="1323"/>
                  </a:lnTo>
                  <a:lnTo>
                    <a:pt x="1290" y="1322"/>
                  </a:lnTo>
                  <a:lnTo>
                    <a:pt x="1290" y="1322"/>
                  </a:lnTo>
                  <a:lnTo>
                    <a:pt x="1290" y="1320"/>
                  </a:lnTo>
                  <a:lnTo>
                    <a:pt x="1292" y="1320"/>
                  </a:lnTo>
                  <a:lnTo>
                    <a:pt x="1292" y="1319"/>
                  </a:lnTo>
                  <a:lnTo>
                    <a:pt x="1295" y="1319"/>
                  </a:lnTo>
                  <a:lnTo>
                    <a:pt x="1301" y="1319"/>
                  </a:lnTo>
                  <a:lnTo>
                    <a:pt x="1305" y="1318"/>
                  </a:lnTo>
                  <a:lnTo>
                    <a:pt x="1308" y="1316"/>
                  </a:lnTo>
                  <a:lnTo>
                    <a:pt x="1311" y="1318"/>
                  </a:lnTo>
                  <a:lnTo>
                    <a:pt x="1327" y="1326"/>
                  </a:lnTo>
                  <a:lnTo>
                    <a:pt x="1340" y="1336"/>
                  </a:lnTo>
                  <a:lnTo>
                    <a:pt x="1344" y="1336"/>
                  </a:lnTo>
                  <a:lnTo>
                    <a:pt x="1355" y="1336"/>
                  </a:lnTo>
                  <a:lnTo>
                    <a:pt x="1356" y="1336"/>
                  </a:lnTo>
                  <a:lnTo>
                    <a:pt x="1373" y="1328"/>
                  </a:lnTo>
                  <a:lnTo>
                    <a:pt x="1376" y="1326"/>
                  </a:lnTo>
                  <a:lnTo>
                    <a:pt x="1378" y="1328"/>
                  </a:lnTo>
                  <a:lnTo>
                    <a:pt x="1382" y="1332"/>
                  </a:lnTo>
                  <a:lnTo>
                    <a:pt x="1384" y="1334"/>
                  </a:lnTo>
                  <a:lnTo>
                    <a:pt x="1385" y="1334"/>
                  </a:lnTo>
                  <a:lnTo>
                    <a:pt x="1387" y="1334"/>
                  </a:lnTo>
                  <a:lnTo>
                    <a:pt x="1388" y="1331"/>
                  </a:lnTo>
                  <a:lnTo>
                    <a:pt x="1389" y="1326"/>
                  </a:lnTo>
                  <a:lnTo>
                    <a:pt x="1388" y="1325"/>
                  </a:lnTo>
                  <a:lnTo>
                    <a:pt x="1388" y="1323"/>
                  </a:lnTo>
                  <a:lnTo>
                    <a:pt x="1387" y="1322"/>
                  </a:lnTo>
                  <a:lnTo>
                    <a:pt x="1384" y="1319"/>
                  </a:lnTo>
                  <a:lnTo>
                    <a:pt x="1382" y="1315"/>
                  </a:lnTo>
                  <a:lnTo>
                    <a:pt x="1381" y="1313"/>
                  </a:lnTo>
                  <a:lnTo>
                    <a:pt x="1379" y="1312"/>
                  </a:lnTo>
                  <a:lnTo>
                    <a:pt x="1379" y="1310"/>
                  </a:lnTo>
                  <a:lnTo>
                    <a:pt x="1381" y="1309"/>
                  </a:lnTo>
                  <a:lnTo>
                    <a:pt x="1387" y="1302"/>
                  </a:lnTo>
                  <a:lnTo>
                    <a:pt x="1404" y="1291"/>
                  </a:lnTo>
                  <a:lnTo>
                    <a:pt x="1394" y="1274"/>
                  </a:lnTo>
                  <a:lnTo>
                    <a:pt x="1394" y="1261"/>
                  </a:lnTo>
                  <a:lnTo>
                    <a:pt x="1394" y="1258"/>
                  </a:lnTo>
                  <a:lnTo>
                    <a:pt x="1392" y="1252"/>
                  </a:lnTo>
                  <a:lnTo>
                    <a:pt x="1391" y="1251"/>
                  </a:lnTo>
                  <a:lnTo>
                    <a:pt x="1389" y="1249"/>
                  </a:lnTo>
                  <a:lnTo>
                    <a:pt x="1385" y="1245"/>
                  </a:lnTo>
                  <a:lnTo>
                    <a:pt x="1385" y="1245"/>
                  </a:lnTo>
                  <a:lnTo>
                    <a:pt x="1382" y="1239"/>
                  </a:lnTo>
                  <a:lnTo>
                    <a:pt x="1381" y="1235"/>
                  </a:lnTo>
                  <a:lnTo>
                    <a:pt x="1379" y="1233"/>
                  </a:lnTo>
                  <a:lnTo>
                    <a:pt x="1378" y="1227"/>
                  </a:lnTo>
                  <a:lnTo>
                    <a:pt x="1378" y="1226"/>
                  </a:lnTo>
                  <a:lnTo>
                    <a:pt x="1376" y="1223"/>
                  </a:lnTo>
                  <a:lnTo>
                    <a:pt x="1375" y="1223"/>
                  </a:lnTo>
                  <a:lnTo>
                    <a:pt x="1373" y="1221"/>
                  </a:lnTo>
                  <a:lnTo>
                    <a:pt x="1371" y="1220"/>
                  </a:lnTo>
                  <a:lnTo>
                    <a:pt x="1369" y="1217"/>
                  </a:lnTo>
                  <a:lnTo>
                    <a:pt x="1368" y="1217"/>
                  </a:lnTo>
                  <a:lnTo>
                    <a:pt x="1366" y="1214"/>
                  </a:lnTo>
                  <a:lnTo>
                    <a:pt x="1365" y="1213"/>
                  </a:lnTo>
                  <a:lnTo>
                    <a:pt x="1365" y="1211"/>
                  </a:lnTo>
                  <a:lnTo>
                    <a:pt x="1363" y="1210"/>
                  </a:lnTo>
                  <a:lnTo>
                    <a:pt x="1363" y="1203"/>
                  </a:lnTo>
                  <a:lnTo>
                    <a:pt x="1362" y="1201"/>
                  </a:lnTo>
                  <a:lnTo>
                    <a:pt x="1362" y="1200"/>
                  </a:lnTo>
                  <a:lnTo>
                    <a:pt x="1362" y="1198"/>
                  </a:lnTo>
                  <a:lnTo>
                    <a:pt x="1363" y="1184"/>
                  </a:lnTo>
                  <a:lnTo>
                    <a:pt x="1363" y="1175"/>
                  </a:lnTo>
                  <a:lnTo>
                    <a:pt x="1363" y="1173"/>
                  </a:lnTo>
                  <a:lnTo>
                    <a:pt x="1365" y="1172"/>
                  </a:lnTo>
                  <a:lnTo>
                    <a:pt x="1371" y="1170"/>
                  </a:lnTo>
                  <a:lnTo>
                    <a:pt x="1371" y="1169"/>
                  </a:lnTo>
                  <a:lnTo>
                    <a:pt x="1372" y="1168"/>
                  </a:lnTo>
                  <a:lnTo>
                    <a:pt x="1373" y="1165"/>
                  </a:lnTo>
                  <a:lnTo>
                    <a:pt x="1375" y="1163"/>
                  </a:lnTo>
                  <a:lnTo>
                    <a:pt x="1376" y="1162"/>
                  </a:lnTo>
                  <a:lnTo>
                    <a:pt x="1379" y="1162"/>
                  </a:lnTo>
                  <a:lnTo>
                    <a:pt x="1379" y="1160"/>
                  </a:lnTo>
                  <a:lnTo>
                    <a:pt x="1381" y="1159"/>
                  </a:lnTo>
                  <a:lnTo>
                    <a:pt x="1382" y="1156"/>
                  </a:lnTo>
                  <a:lnTo>
                    <a:pt x="1382" y="1154"/>
                  </a:lnTo>
                  <a:lnTo>
                    <a:pt x="1384" y="1154"/>
                  </a:lnTo>
                  <a:lnTo>
                    <a:pt x="1384" y="1153"/>
                  </a:lnTo>
                  <a:lnTo>
                    <a:pt x="1384" y="1152"/>
                  </a:lnTo>
                  <a:lnTo>
                    <a:pt x="1384" y="1149"/>
                  </a:lnTo>
                  <a:lnTo>
                    <a:pt x="1382" y="1140"/>
                  </a:lnTo>
                  <a:lnTo>
                    <a:pt x="1382" y="1138"/>
                  </a:lnTo>
                  <a:lnTo>
                    <a:pt x="1381" y="1137"/>
                  </a:lnTo>
                  <a:lnTo>
                    <a:pt x="1375" y="1133"/>
                  </a:lnTo>
                  <a:lnTo>
                    <a:pt x="1375" y="1131"/>
                  </a:lnTo>
                  <a:lnTo>
                    <a:pt x="1373" y="1131"/>
                  </a:lnTo>
                  <a:lnTo>
                    <a:pt x="1375" y="1125"/>
                  </a:lnTo>
                  <a:lnTo>
                    <a:pt x="1376" y="1120"/>
                  </a:lnTo>
                  <a:lnTo>
                    <a:pt x="1378" y="1118"/>
                  </a:lnTo>
                  <a:lnTo>
                    <a:pt x="1379" y="1117"/>
                  </a:lnTo>
                  <a:lnTo>
                    <a:pt x="1384" y="1115"/>
                  </a:lnTo>
                  <a:lnTo>
                    <a:pt x="1385" y="1114"/>
                  </a:lnTo>
                  <a:lnTo>
                    <a:pt x="1385" y="1112"/>
                  </a:lnTo>
                  <a:lnTo>
                    <a:pt x="1385" y="1111"/>
                  </a:lnTo>
                  <a:lnTo>
                    <a:pt x="1384" y="1111"/>
                  </a:lnTo>
                  <a:lnTo>
                    <a:pt x="1382" y="1112"/>
                  </a:lnTo>
                  <a:lnTo>
                    <a:pt x="1379" y="1112"/>
                  </a:lnTo>
                  <a:lnTo>
                    <a:pt x="1378" y="1111"/>
                  </a:lnTo>
                  <a:lnTo>
                    <a:pt x="1376" y="1108"/>
                  </a:lnTo>
                  <a:lnTo>
                    <a:pt x="1375" y="1106"/>
                  </a:lnTo>
                  <a:lnTo>
                    <a:pt x="1366" y="1102"/>
                  </a:lnTo>
                  <a:lnTo>
                    <a:pt x="1366" y="1098"/>
                  </a:lnTo>
                  <a:lnTo>
                    <a:pt x="1365" y="1096"/>
                  </a:lnTo>
                  <a:lnTo>
                    <a:pt x="1365" y="1095"/>
                  </a:lnTo>
                  <a:lnTo>
                    <a:pt x="1360" y="1089"/>
                  </a:lnTo>
                  <a:lnTo>
                    <a:pt x="1359" y="1087"/>
                  </a:lnTo>
                  <a:lnTo>
                    <a:pt x="1359" y="1087"/>
                  </a:lnTo>
                  <a:lnTo>
                    <a:pt x="1359" y="1087"/>
                  </a:lnTo>
                  <a:lnTo>
                    <a:pt x="1359" y="1086"/>
                  </a:lnTo>
                  <a:lnTo>
                    <a:pt x="1359" y="1085"/>
                  </a:lnTo>
                  <a:lnTo>
                    <a:pt x="1360" y="1083"/>
                  </a:lnTo>
                  <a:lnTo>
                    <a:pt x="1363" y="1082"/>
                  </a:lnTo>
                  <a:lnTo>
                    <a:pt x="1373" y="1083"/>
                  </a:lnTo>
                  <a:lnTo>
                    <a:pt x="1375" y="1083"/>
                  </a:lnTo>
                  <a:lnTo>
                    <a:pt x="1378" y="1082"/>
                  </a:lnTo>
                  <a:lnTo>
                    <a:pt x="1382" y="1079"/>
                  </a:lnTo>
                  <a:lnTo>
                    <a:pt x="1385" y="1074"/>
                  </a:lnTo>
                  <a:lnTo>
                    <a:pt x="1388" y="1071"/>
                  </a:lnTo>
                  <a:lnTo>
                    <a:pt x="1388" y="1070"/>
                  </a:lnTo>
                  <a:lnTo>
                    <a:pt x="1388" y="1069"/>
                  </a:lnTo>
                  <a:lnTo>
                    <a:pt x="1388" y="1067"/>
                  </a:lnTo>
                  <a:lnTo>
                    <a:pt x="1388" y="1066"/>
                  </a:lnTo>
                  <a:lnTo>
                    <a:pt x="1388" y="1064"/>
                  </a:lnTo>
                  <a:lnTo>
                    <a:pt x="1391" y="1063"/>
                  </a:lnTo>
                  <a:lnTo>
                    <a:pt x="1410" y="1060"/>
                  </a:lnTo>
                  <a:lnTo>
                    <a:pt x="1456" y="1060"/>
                  </a:lnTo>
                  <a:lnTo>
                    <a:pt x="1465" y="1055"/>
                  </a:lnTo>
                  <a:lnTo>
                    <a:pt x="1473" y="1055"/>
                  </a:lnTo>
                  <a:lnTo>
                    <a:pt x="1490" y="1055"/>
                  </a:lnTo>
                  <a:lnTo>
                    <a:pt x="1493" y="1055"/>
                  </a:lnTo>
                  <a:lnTo>
                    <a:pt x="1494" y="1055"/>
                  </a:lnTo>
                  <a:lnTo>
                    <a:pt x="1496" y="1054"/>
                  </a:lnTo>
                  <a:lnTo>
                    <a:pt x="1497" y="1054"/>
                  </a:lnTo>
                  <a:lnTo>
                    <a:pt x="1497" y="1051"/>
                  </a:lnTo>
                  <a:lnTo>
                    <a:pt x="1499" y="1050"/>
                  </a:lnTo>
                  <a:lnTo>
                    <a:pt x="1499" y="1045"/>
                  </a:lnTo>
                  <a:lnTo>
                    <a:pt x="1499" y="1042"/>
                  </a:lnTo>
                  <a:lnTo>
                    <a:pt x="1497" y="1041"/>
                  </a:lnTo>
                  <a:lnTo>
                    <a:pt x="1497" y="1041"/>
                  </a:lnTo>
                  <a:lnTo>
                    <a:pt x="1491" y="1037"/>
                  </a:lnTo>
                  <a:lnTo>
                    <a:pt x="1491" y="1035"/>
                  </a:lnTo>
                  <a:lnTo>
                    <a:pt x="1490" y="1035"/>
                  </a:lnTo>
                  <a:lnTo>
                    <a:pt x="1490" y="1034"/>
                  </a:lnTo>
                  <a:lnTo>
                    <a:pt x="1491" y="1032"/>
                  </a:lnTo>
                  <a:lnTo>
                    <a:pt x="1491" y="1031"/>
                  </a:lnTo>
                  <a:lnTo>
                    <a:pt x="1494" y="1029"/>
                  </a:lnTo>
                  <a:lnTo>
                    <a:pt x="1506" y="1025"/>
                  </a:lnTo>
                  <a:lnTo>
                    <a:pt x="1513" y="1021"/>
                  </a:lnTo>
                  <a:lnTo>
                    <a:pt x="1522" y="1013"/>
                  </a:lnTo>
                  <a:lnTo>
                    <a:pt x="1523" y="1012"/>
                  </a:lnTo>
                  <a:lnTo>
                    <a:pt x="1525" y="1009"/>
                  </a:lnTo>
                  <a:lnTo>
                    <a:pt x="1528" y="1005"/>
                  </a:lnTo>
                  <a:lnTo>
                    <a:pt x="1529" y="1002"/>
                  </a:lnTo>
                  <a:lnTo>
                    <a:pt x="1529" y="999"/>
                  </a:lnTo>
                  <a:lnTo>
                    <a:pt x="1528" y="993"/>
                  </a:lnTo>
                  <a:lnTo>
                    <a:pt x="1526" y="991"/>
                  </a:lnTo>
                  <a:lnTo>
                    <a:pt x="1525" y="990"/>
                  </a:lnTo>
                  <a:lnTo>
                    <a:pt x="1523" y="990"/>
                  </a:lnTo>
                  <a:lnTo>
                    <a:pt x="1522" y="990"/>
                  </a:lnTo>
                  <a:lnTo>
                    <a:pt x="1521" y="990"/>
                  </a:lnTo>
                  <a:lnTo>
                    <a:pt x="1519" y="988"/>
                  </a:lnTo>
                  <a:lnTo>
                    <a:pt x="1518" y="988"/>
                  </a:lnTo>
                  <a:lnTo>
                    <a:pt x="1518" y="987"/>
                  </a:lnTo>
                  <a:lnTo>
                    <a:pt x="1516" y="986"/>
                  </a:lnTo>
                  <a:lnTo>
                    <a:pt x="1515" y="983"/>
                  </a:lnTo>
                  <a:lnTo>
                    <a:pt x="1515" y="981"/>
                  </a:lnTo>
                  <a:lnTo>
                    <a:pt x="1516" y="978"/>
                  </a:lnTo>
                  <a:lnTo>
                    <a:pt x="1519" y="972"/>
                  </a:lnTo>
                  <a:lnTo>
                    <a:pt x="1521" y="970"/>
                  </a:lnTo>
                  <a:lnTo>
                    <a:pt x="1522" y="968"/>
                  </a:lnTo>
                  <a:lnTo>
                    <a:pt x="1529" y="965"/>
                  </a:lnTo>
                  <a:lnTo>
                    <a:pt x="1534" y="965"/>
                  </a:lnTo>
                  <a:lnTo>
                    <a:pt x="1535" y="964"/>
                  </a:lnTo>
                  <a:lnTo>
                    <a:pt x="1537" y="962"/>
                  </a:lnTo>
                  <a:lnTo>
                    <a:pt x="1538" y="961"/>
                  </a:lnTo>
                  <a:lnTo>
                    <a:pt x="1538" y="959"/>
                  </a:lnTo>
                  <a:lnTo>
                    <a:pt x="1538" y="958"/>
                  </a:lnTo>
                  <a:lnTo>
                    <a:pt x="1538" y="952"/>
                  </a:lnTo>
                  <a:lnTo>
                    <a:pt x="1538" y="951"/>
                  </a:lnTo>
                  <a:lnTo>
                    <a:pt x="1538" y="949"/>
                  </a:lnTo>
                  <a:lnTo>
                    <a:pt x="1535" y="946"/>
                  </a:lnTo>
                  <a:lnTo>
                    <a:pt x="1535" y="946"/>
                  </a:lnTo>
                  <a:lnTo>
                    <a:pt x="1534" y="946"/>
                  </a:lnTo>
                  <a:lnTo>
                    <a:pt x="1534" y="948"/>
                  </a:lnTo>
                  <a:lnTo>
                    <a:pt x="1534" y="949"/>
                  </a:lnTo>
                  <a:lnTo>
                    <a:pt x="1532" y="949"/>
                  </a:lnTo>
                  <a:lnTo>
                    <a:pt x="1532" y="951"/>
                  </a:lnTo>
                  <a:lnTo>
                    <a:pt x="1531" y="951"/>
                  </a:lnTo>
                  <a:lnTo>
                    <a:pt x="1531" y="949"/>
                  </a:lnTo>
                  <a:lnTo>
                    <a:pt x="1531" y="946"/>
                  </a:lnTo>
                  <a:lnTo>
                    <a:pt x="1531" y="942"/>
                  </a:lnTo>
                  <a:lnTo>
                    <a:pt x="1529" y="940"/>
                  </a:lnTo>
                  <a:lnTo>
                    <a:pt x="1528" y="940"/>
                  </a:lnTo>
                  <a:lnTo>
                    <a:pt x="1525" y="940"/>
                  </a:lnTo>
                  <a:lnTo>
                    <a:pt x="1523" y="940"/>
                  </a:lnTo>
                  <a:lnTo>
                    <a:pt x="1523" y="939"/>
                  </a:lnTo>
                  <a:lnTo>
                    <a:pt x="1522" y="936"/>
                  </a:lnTo>
                  <a:lnTo>
                    <a:pt x="1521" y="935"/>
                  </a:lnTo>
                  <a:lnTo>
                    <a:pt x="1518" y="933"/>
                  </a:lnTo>
                  <a:lnTo>
                    <a:pt x="1513" y="926"/>
                  </a:lnTo>
                  <a:lnTo>
                    <a:pt x="1513" y="924"/>
                  </a:lnTo>
                  <a:lnTo>
                    <a:pt x="1515" y="923"/>
                  </a:lnTo>
                  <a:lnTo>
                    <a:pt x="1516" y="922"/>
                  </a:lnTo>
                  <a:lnTo>
                    <a:pt x="1519" y="919"/>
                  </a:lnTo>
                  <a:lnTo>
                    <a:pt x="1521" y="917"/>
                  </a:lnTo>
                  <a:lnTo>
                    <a:pt x="1521" y="916"/>
                  </a:lnTo>
                  <a:lnTo>
                    <a:pt x="1519" y="913"/>
                  </a:lnTo>
                  <a:lnTo>
                    <a:pt x="1518" y="911"/>
                  </a:lnTo>
                  <a:lnTo>
                    <a:pt x="1518" y="911"/>
                  </a:lnTo>
                  <a:lnTo>
                    <a:pt x="1518" y="910"/>
                  </a:lnTo>
                  <a:lnTo>
                    <a:pt x="1518" y="908"/>
                  </a:lnTo>
                  <a:lnTo>
                    <a:pt x="1516" y="907"/>
                  </a:lnTo>
                  <a:lnTo>
                    <a:pt x="1516" y="907"/>
                  </a:lnTo>
                  <a:lnTo>
                    <a:pt x="1516" y="905"/>
                  </a:lnTo>
                  <a:lnTo>
                    <a:pt x="1513" y="904"/>
                  </a:lnTo>
                  <a:lnTo>
                    <a:pt x="1510" y="903"/>
                  </a:lnTo>
                  <a:lnTo>
                    <a:pt x="1509" y="903"/>
                  </a:lnTo>
                  <a:lnTo>
                    <a:pt x="1509" y="901"/>
                  </a:lnTo>
                  <a:lnTo>
                    <a:pt x="1509" y="900"/>
                  </a:lnTo>
                  <a:lnTo>
                    <a:pt x="1509" y="897"/>
                  </a:lnTo>
                  <a:lnTo>
                    <a:pt x="1509" y="895"/>
                  </a:lnTo>
                  <a:lnTo>
                    <a:pt x="1509" y="895"/>
                  </a:lnTo>
                  <a:lnTo>
                    <a:pt x="1509" y="894"/>
                  </a:lnTo>
                  <a:lnTo>
                    <a:pt x="1512" y="892"/>
                  </a:lnTo>
                  <a:lnTo>
                    <a:pt x="1515" y="891"/>
                  </a:lnTo>
                  <a:lnTo>
                    <a:pt x="1525" y="889"/>
                  </a:lnTo>
                  <a:lnTo>
                    <a:pt x="1531" y="888"/>
                  </a:lnTo>
                  <a:lnTo>
                    <a:pt x="1532" y="887"/>
                  </a:lnTo>
                  <a:lnTo>
                    <a:pt x="1532" y="885"/>
                  </a:lnTo>
                  <a:lnTo>
                    <a:pt x="1534" y="882"/>
                  </a:lnTo>
                  <a:lnTo>
                    <a:pt x="1534" y="879"/>
                  </a:lnTo>
                  <a:lnTo>
                    <a:pt x="1534" y="878"/>
                  </a:lnTo>
                  <a:lnTo>
                    <a:pt x="1532" y="875"/>
                  </a:lnTo>
                  <a:lnTo>
                    <a:pt x="1532" y="873"/>
                  </a:lnTo>
                  <a:lnTo>
                    <a:pt x="1522" y="865"/>
                  </a:lnTo>
                  <a:lnTo>
                    <a:pt x="1518" y="863"/>
                  </a:lnTo>
                  <a:lnTo>
                    <a:pt x="1516" y="863"/>
                  </a:lnTo>
                  <a:lnTo>
                    <a:pt x="1513" y="862"/>
                  </a:lnTo>
                  <a:lnTo>
                    <a:pt x="1512" y="860"/>
                  </a:lnTo>
                  <a:lnTo>
                    <a:pt x="1487" y="827"/>
                  </a:lnTo>
                  <a:lnTo>
                    <a:pt x="1489" y="821"/>
                  </a:lnTo>
                  <a:lnTo>
                    <a:pt x="1489" y="818"/>
                  </a:lnTo>
                  <a:lnTo>
                    <a:pt x="1489" y="817"/>
                  </a:lnTo>
                  <a:lnTo>
                    <a:pt x="1490" y="815"/>
                  </a:lnTo>
                  <a:lnTo>
                    <a:pt x="1490" y="815"/>
                  </a:lnTo>
                  <a:lnTo>
                    <a:pt x="1490" y="814"/>
                  </a:lnTo>
                  <a:lnTo>
                    <a:pt x="1490" y="812"/>
                  </a:lnTo>
                  <a:lnTo>
                    <a:pt x="1490" y="811"/>
                  </a:lnTo>
                  <a:lnTo>
                    <a:pt x="1491" y="809"/>
                  </a:lnTo>
                  <a:lnTo>
                    <a:pt x="1491" y="808"/>
                  </a:lnTo>
                  <a:lnTo>
                    <a:pt x="1493" y="808"/>
                  </a:lnTo>
                  <a:lnTo>
                    <a:pt x="1496" y="806"/>
                  </a:lnTo>
                  <a:lnTo>
                    <a:pt x="1497" y="805"/>
                  </a:lnTo>
                  <a:lnTo>
                    <a:pt x="1499" y="805"/>
                  </a:lnTo>
                  <a:lnTo>
                    <a:pt x="1500" y="805"/>
                  </a:lnTo>
                  <a:lnTo>
                    <a:pt x="1506" y="806"/>
                  </a:lnTo>
                  <a:lnTo>
                    <a:pt x="1509" y="806"/>
                  </a:lnTo>
                  <a:lnTo>
                    <a:pt x="1509" y="806"/>
                  </a:lnTo>
                  <a:lnTo>
                    <a:pt x="1509" y="804"/>
                  </a:lnTo>
                  <a:lnTo>
                    <a:pt x="1506" y="801"/>
                  </a:lnTo>
                  <a:lnTo>
                    <a:pt x="1497" y="785"/>
                  </a:lnTo>
                  <a:lnTo>
                    <a:pt x="1496" y="783"/>
                  </a:lnTo>
                  <a:lnTo>
                    <a:pt x="1494" y="783"/>
                  </a:lnTo>
                  <a:lnTo>
                    <a:pt x="1493" y="780"/>
                  </a:lnTo>
                  <a:lnTo>
                    <a:pt x="1493" y="779"/>
                  </a:lnTo>
                  <a:lnTo>
                    <a:pt x="1491" y="777"/>
                  </a:lnTo>
                  <a:lnTo>
                    <a:pt x="1491" y="774"/>
                  </a:lnTo>
                  <a:lnTo>
                    <a:pt x="1490" y="769"/>
                  </a:lnTo>
                  <a:lnTo>
                    <a:pt x="1490" y="767"/>
                  </a:lnTo>
                  <a:lnTo>
                    <a:pt x="1490" y="757"/>
                  </a:lnTo>
                  <a:lnTo>
                    <a:pt x="1490" y="756"/>
                  </a:lnTo>
                  <a:lnTo>
                    <a:pt x="1490" y="754"/>
                  </a:lnTo>
                  <a:lnTo>
                    <a:pt x="1491" y="753"/>
                  </a:lnTo>
                  <a:lnTo>
                    <a:pt x="1491" y="753"/>
                  </a:lnTo>
                  <a:lnTo>
                    <a:pt x="1497" y="745"/>
                  </a:lnTo>
                  <a:lnTo>
                    <a:pt x="1500" y="744"/>
                  </a:lnTo>
                  <a:lnTo>
                    <a:pt x="1500" y="742"/>
                  </a:lnTo>
                  <a:lnTo>
                    <a:pt x="1500" y="741"/>
                  </a:lnTo>
                  <a:lnTo>
                    <a:pt x="1500" y="740"/>
                  </a:lnTo>
                  <a:lnTo>
                    <a:pt x="1499" y="737"/>
                  </a:lnTo>
                  <a:lnTo>
                    <a:pt x="1496" y="735"/>
                  </a:lnTo>
                  <a:lnTo>
                    <a:pt x="1494" y="735"/>
                  </a:lnTo>
                  <a:lnTo>
                    <a:pt x="1491" y="735"/>
                  </a:lnTo>
                  <a:lnTo>
                    <a:pt x="1491" y="737"/>
                  </a:lnTo>
                  <a:lnTo>
                    <a:pt x="1487" y="741"/>
                  </a:lnTo>
                  <a:lnTo>
                    <a:pt x="1486" y="741"/>
                  </a:lnTo>
                  <a:lnTo>
                    <a:pt x="1484" y="740"/>
                  </a:lnTo>
                  <a:lnTo>
                    <a:pt x="1481" y="737"/>
                  </a:lnTo>
                  <a:lnTo>
                    <a:pt x="1468" y="719"/>
                  </a:lnTo>
                  <a:lnTo>
                    <a:pt x="1455" y="693"/>
                  </a:lnTo>
                  <a:lnTo>
                    <a:pt x="1452" y="686"/>
                  </a:lnTo>
                  <a:lnTo>
                    <a:pt x="1449" y="683"/>
                  </a:lnTo>
                  <a:lnTo>
                    <a:pt x="1446" y="681"/>
                  </a:lnTo>
                  <a:lnTo>
                    <a:pt x="1443" y="681"/>
                  </a:lnTo>
                  <a:lnTo>
                    <a:pt x="1440" y="681"/>
                  </a:lnTo>
                  <a:lnTo>
                    <a:pt x="1439" y="678"/>
                  </a:lnTo>
                  <a:lnTo>
                    <a:pt x="1438" y="671"/>
                  </a:lnTo>
                  <a:lnTo>
                    <a:pt x="1438" y="668"/>
                  </a:lnTo>
                  <a:lnTo>
                    <a:pt x="1438" y="664"/>
                  </a:lnTo>
                  <a:lnTo>
                    <a:pt x="1436" y="662"/>
                  </a:lnTo>
                  <a:lnTo>
                    <a:pt x="1432" y="658"/>
                  </a:lnTo>
                  <a:lnTo>
                    <a:pt x="1430" y="655"/>
                  </a:lnTo>
                  <a:lnTo>
                    <a:pt x="1426" y="646"/>
                  </a:lnTo>
                  <a:lnTo>
                    <a:pt x="1424" y="645"/>
                  </a:lnTo>
                  <a:lnTo>
                    <a:pt x="1424" y="643"/>
                  </a:lnTo>
                  <a:lnTo>
                    <a:pt x="1424" y="642"/>
                  </a:lnTo>
                  <a:lnTo>
                    <a:pt x="1424" y="641"/>
                  </a:lnTo>
                  <a:lnTo>
                    <a:pt x="1424" y="638"/>
                  </a:lnTo>
                  <a:lnTo>
                    <a:pt x="1426" y="633"/>
                  </a:lnTo>
                  <a:lnTo>
                    <a:pt x="1426" y="632"/>
                  </a:lnTo>
                  <a:lnTo>
                    <a:pt x="1426" y="630"/>
                  </a:lnTo>
                  <a:lnTo>
                    <a:pt x="1424" y="627"/>
                  </a:lnTo>
                  <a:lnTo>
                    <a:pt x="1424" y="624"/>
                  </a:lnTo>
                  <a:lnTo>
                    <a:pt x="1424" y="623"/>
                  </a:lnTo>
                  <a:lnTo>
                    <a:pt x="1424" y="622"/>
                  </a:lnTo>
                  <a:lnTo>
                    <a:pt x="1426" y="619"/>
                  </a:lnTo>
                  <a:lnTo>
                    <a:pt x="1426" y="617"/>
                  </a:lnTo>
                  <a:lnTo>
                    <a:pt x="1424" y="614"/>
                  </a:lnTo>
                  <a:lnTo>
                    <a:pt x="1426" y="611"/>
                  </a:lnTo>
                  <a:lnTo>
                    <a:pt x="1438" y="607"/>
                  </a:lnTo>
                  <a:lnTo>
                    <a:pt x="1454" y="606"/>
                  </a:lnTo>
                  <a:lnTo>
                    <a:pt x="1468" y="607"/>
                  </a:lnTo>
                  <a:lnTo>
                    <a:pt x="1474" y="606"/>
                  </a:lnTo>
                  <a:lnTo>
                    <a:pt x="1478" y="603"/>
                  </a:lnTo>
                  <a:lnTo>
                    <a:pt x="1489" y="600"/>
                  </a:lnTo>
                  <a:lnTo>
                    <a:pt x="1494" y="597"/>
                  </a:lnTo>
                  <a:lnTo>
                    <a:pt x="1499" y="592"/>
                  </a:lnTo>
                  <a:lnTo>
                    <a:pt x="1505" y="587"/>
                  </a:lnTo>
                  <a:lnTo>
                    <a:pt x="1506" y="585"/>
                  </a:lnTo>
                  <a:lnTo>
                    <a:pt x="1506" y="585"/>
                  </a:lnTo>
                  <a:lnTo>
                    <a:pt x="1506" y="584"/>
                  </a:lnTo>
                  <a:lnTo>
                    <a:pt x="1506" y="581"/>
                  </a:lnTo>
                  <a:lnTo>
                    <a:pt x="1506" y="579"/>
                  </a:lnTo>
                  <a:lnTo>
                    <a:pt x="1507" y="578"/>
                  </a:lnTo>
                  <a:lnTo>
                    <a:pt x="1507" y="575"/>
                  </a:lnTo>
                  <a:lnTo>
                    <a:pt x="1507" y="574"/>
                  </a:lnTo>
                  <a:lnTo>
                    <a:pt x="1507" y="574"/>
                  </a:lnTo>
                  <a:lnTo>
                    <a:pt x="1509" y="572"/>
                  </a:lnTo>
                  <a:lnTo>
                    <a:pt x="1509" y="572"/>
                  </a:lnTo>
                  <a:lnTo>
                    <a:pt x="1509" y="572"/>
                  </a:lnTo>
                  <a:lnTo>
                    <a:pt x="1513" y="569"/>
                  </a:lnTo>
                  <a:lnTo>
                    <a:pt x="1521" y="569"/>
                  </a:lnTo>
                  <a:lnTo>
                    <a:pt x="1526" y="569"/>
                  </a:lnTo>
                  <a:lnTo>
                    <a:pt x="1537" y="572"/>
                  </a:lnTo>
                  <a:lnTo>
                    <a:pt x="1542" y="575"/>
                  </a:lnTo>
                  <a:lnTo>
                    <a:pt x="1545" y="576"/>
                  </a:lnTo>
                  <a:lnTo>
                    <a:pt x="1566" y="575"/>
                  </a:lnTo>
                  <a:lnTo>
                    <a:pt x="1583" y="578"/>
                  </a:lnTo>
                  <a:lnTo>
                    <a:pt x="1585" y="578"/>
                  </a:lnTo>
                  <a:lnTo>
                    <a:pt x="1585" y="579"/>
                  </a:lnTo>
                  <a:lnTo>
                    <a:pt x="1586" y="581"/>
                  </a:lnTo>
                  <a:lnTo>
                    <a:pt x="1588" y="582"/>
                  </a:lnTo>
                  <a:lnTo>
                    <a:pt x="1592" y="584"/>
                  </a:lnTo>
                  <a:lnTo>
                    <a:pt x="1592" y="584"/>
                  </a:lnTo>
                  <a:lnTo>
                    <a:pt x="1593" y="585"/>
                  </a:lnTo>
                  <a:lnTo>
                    <a:pt x="1593" y="587"/>
                  </a:lnTo>
                  <a:lnTo>
                    <a:pt x="1595" y="588"/>
                  </a:lnTo>
                  <a:lnTo>
                    <a:pt x="1595" y="590"/>
                  </a:lnTo>
                  <a:lnTo>
                    <a:pt x="1596" y="590"/>
                  </a:lnTo>
                  <a:lnTo>
                    <a:pt x="1596" y="590"/>
                  </a:lnTo>
                  <a:lnTo>
                    <a:pt x="1598" y="590"/>
                  </a:lnTo>
                  <a:lnTo>
                    <a:pt x="1601" y="590"/>
                  </a:lnTo>
                  <a:lnTo>
                    <a:pt x="1604" y="587"/>
                  </a:lnTo>
                  <a:lnTo>
                    <a:pt x="1605" y="585"/>
                  </a:lnTo>
                  <a:lnTo>
                    <a:pt x="1608" y="585"/>
                  </a:lnTo>
                  <a:lnTo>
                    <a:pt x="1609" y="587"/>
                  </a:lnTo>
                  <a:lnTo>
                    <a:pt x="1617" y="585"/>
                  </a:lnTo>
                  <a:lnTo>
                    <a:pt x="1639" y="576"/>
                  </a:lnTo>
                  <a:lnTo>
                    <a:pt x="1650" y="574"/>
                  </a:lnTo>
                  <a:lnTo>
                    <a:pt x="1652" y="572"/>
                  </a:lnTo>
                  <a:lnTo>
                    <a:pt x="1672" y="553"/>
                  </a:lnTo>
                  <a:lnTo>
                    <a:pt x="1675" y="553"/>
                  </a:lnTo>
                  <a:lnTo>
                    <a:pt x="1682" y="552"/>
                  </a:lnTo>
                  <a:lnTo>
                    <a:pt x="1682" y="552"/>
                  </a:lnTo>
                  <a:lnTo>
                    <a:pt x="1684" y="552"/>
                  </a:lnTo>
                  <a:lnTo>
                    <a:pt x="1682" y="547"/>
                  </a:lnTo>
                  <a:lnTo>
                    <a:pt x="1682" y="544"/>
                  </a:lnTo>
                  <a:lnTo>
                    <a:pt x="1681" y="542"/>
                  </a:lnTo>
                  <a:lnTo>
                    <a:pt x="1681" y="540"/>
                  </a:lnTo>
                  <a:lnTo>
                    <a:pt x="1681" y="537"/>
                  </a:lnTo>
                  <a:lnTo>
                    <a:pt x="1682" y="525"/>
                  </a:lnTo>
                  <a:lnTo>
                    <a:pt x="1682" y="524"/>
                  </a:lnTo>
                  <a:lnTo>
                    <a:pt x="1685" y="518"/>
                  </a:lnTo>
                  <a:lnTo>
                    <a:pt x="1685" y="517"/>
                  </a:lnTo>
                  <a:lnTo>
                    <a:pt x="1688" y="515"/>
                  </a:lnTo>
                  <a:lnTo>
                    <a:pt x="1691" y="514"/>
                  </a:lnTo>
                  <a:lnTo>
                    <a:pt x="1692" y="514"/>
                  </a:lnTo>
                  <a:lnTo>
                    <a:pt x="1695" y="515"/>
                  </a:lnTo>
                  <a:lnTo>
                    <a:pt x="1700" y="515"/>
                  </a:lnTo>
                  <a:lnTo>
                    <a:pt x="1704" y="514"/>
                  </a:lnTo>
                  <a:lnTo>
                    <a:pt x="1710" y="495"/>
                  </a:lnTo>
                  <a:lnTo>
                    <a:pt x="1694" y="488"/>
                  </a:lnTo>
                  <a:close/>
                  <a:moveTo>
                    <a:pt x="810" y="466"/>
                  </a:moveTo>
                  <a:lnTo>
                    <a:pt x="807" y="469"/>
                  </a:lnTo>
                  <a:lnTo>
                    <a:pt x="807" y="472"/>
                  </a:lnTo>
                  <a:lnTo>
                    <a:pt x="805" y="476"/>
                  </a:lnTo>
                  <a:lnTo>
                    <a:pt x="805" y="483"/>
                  </a:lnTo>
                  <a:lnTo>
                    <a:pt x="804" y="486"/>
                  </a:lnTo>
                  <a:lnTo>
                    <a:pt x="804" y="489"/>
                  </a:lnTo>
                  <a:lnTo>
                    <a:pt x="799" y="495"/>
                  </a:lnTo>
                  <a:lnTo>
                    <a:pt x="786" y="504"/>
                  </a:lnTo>
                  <a:lnTo>
                    <a:pt x="783" y="505"/>
                  </a:lnTo>
                  <a:lnTo>
                    <a:pt x="767" y="492"/>
                  </a:lnTo>
                  <a:lnTo>
                    <a:pt x="767" y="492"/>
                  </a:lnTo>
                  <a:lnTo>
                    <a:pt x="767" y="493"/>
                  </a:lnTo>
                  <a:lnTo>
                    <a:pt x="767" y="495"/>
                  </a:lnTo>
                  <a:lnTo>
                    <a:pt x="767" y="496"/>
                  </a:lnTo>
                  <a:lnTo>
                    <a:pt x="766" y="498"/>
                  </a:lnTo>
                  <a:lnTo>
                    <a:pt x="765" y="498"/>
                  </a:lnTo>
                  <a:lnTo>
                    <a:pt x="759" y="499"/>
                  </a:lnTo>
                  <a:lnTo>
                    <a:pt x="756" y="499"/>
                  </a:lnTo>
                  <a:lnTo>
                    <a:pt x="753" y="499"/>
                  </a:lnTo>
                  <a:lnTo>
                    <a:pt x="737" y="488"/>
                  </a:lnTo>
                  <a:lnTo>
                    <a:pt x="734" y="488"/>
                  </a:lnTo>
                  <a:lnTo>
                    <a:pt x="732" y="488"/>
                  </a:lnTo>
                  <a:lnTo>
                    <a:pt x="730" y="489"/>
                  </a:lnTo>
                  <a:lnTo>
                    <a:pt x="716" y="492"/>
                  </a:lnTo>
                  <a:lnTo>
                    <a:pt x="711" y="491"/>
                  </a:lnTo>
                  <a:lnTo>
                    <a:pt x="711" y="491"/>
                  </a:lnTo>
                  <a:lnTo>
                    <a:pt x="711" y="489"/>
                  </a:lnTo>
                  <a:lnTo>
                    <a:pt x="711" y="489"/>
                  </a:lnTo>
                  <a:lnTo>
                    <a:pt x="711" y="489"/>
                  </a:lnTo>
                  <a:lnTo>
                    <a:pt x="711" y="488"/>
                  </a:lnTo>
                  <a:lnTo>
                    <a:pt x="711" y="473"/>
                  </a:lnTo>
                  <a:lnTo>
                    <a:pt x="711" y="470"/>
                  </a:lnTo>
                  <a:lnTo>
                    <a:pt x="709" y="470"/>
                  </a:lnTo>
                  <a:lnTo>
                    <a:pt x="706" y="469"/>
                  </a:lnTo>
                  <a:lnTo>
                    <a:pt x="693" y="453"/>
                  </a:lnTo>
                  <a:lnTo>
                    <a:pt x="687" y="444"/>
                  </a:lnTo>
                  <a:lnTo>
                    <a:pt x="687" y="441"/>
                  </a:lnTo>
                  <a:lnTo>
                    <a:pt x="686" y="438"/>
                  </a:lnTo>
                  <a:lnTo>
                    <a:pt x="686" y="438"/>
                  </a:lnTo>
                  <a:lnTo>
                    <a:pt x="686" y="426"/>
                  </a:lnTo>
                  <a:lnTo>
                    <a:pt x="680" y="416"/>
                  </a:lnTo>
                  <a:lnTo>
                    <a:pt x="679" y="415"/>
                  </a:lnTo>
                  <a:lnTo>
                    <a:pt x="671" y="416"/>
                  </a:lnTo>
                  <a:lnTo>
                    <a:pt x="667" y="415"/>
                  </a:lnTo>
                  <a:lnTo>
                    <a:pt x="658" y="409"/>
                  </a:lnTo>
                  <a:lnTo>
                    <a:pt x="644" y="403"/>
                  </a:lnTo>
                  <a:lnTo>
                    <a:pt x="641" y="397"/>
                  </a:lnTo>
                  <a:lnTo>
                    <a:pt x="641" y="393"/>
                  </a:lnTo>
                  <a:lnTo>
                    <a:pt x="638" y="390"/>
                  </a:lnTo>
                  <a:lnTo>
                    <a:pt x="647" y="389"/>
                  </a:lnTo>
                  <a:lnTo>
                    <a:pt x="649" y="389"/>
                  </a:lnTo>
                  <a:lnTo>
                    <a:pt x="661" y="396"/>
                  </a:lnTo>
                  <a:lnTo>
                    <a:pt x="663" y="397"/>
                  </a:lnTo>
                  <a:lnTo>
                    <a:pt x="663" y="397"/>
                  </a:lnTo>
                  <a:lnTo>
                    <a:pt x="670" y="394"/>
                  </a:lnTo>
                  <a:lnTo>
                    <a:pt x="671" y="394"/>
                  </a:lnTo>
                  <a:lnTo>
                    <a:pt x="681" y="400"/>
                  </a:lnTo>
                  <a:lnTo>
                    <a:pt x="702" y="409"/>
                  </a:lnTo>
                  <a:lnTo>
                    <a:pt x="706" y="410"/>
                  </a:lnTo>
                  <a:lnTo>
                    <a:pt x="709" y="410"/>
                  </a:lnTo>
                  <a:lnTo>
                    <a:pt x="711" y="409"/>
                  </a:lnTo>
                  <a:lnTo>
                    <a:pt x="711" y="409"/>
                  </a:lnTo>
                  <a:lnTo>
                    <a:pt x="712" y="409"/>
                  </a:lnTo>
                  <a:lnTo>
                    <a:pt x="714" y="409"/>
                  </a:lnTo>
                  <a:lnTo>
                    <a:pt x="721" y="408"/>
                  </a:lnTo>
                  <a:lnTo>
                    <a:pt x="725" y="409"/>
                  </a:lnTo>
                  <a:lnTo>
                    <a:pt x="725" y="409"/>
                  </a:lnTo>
                  <a:lnTo>
                    <a:pt x="727" y="409"/>
                  </a:lnTo>
                  <a:lnTo>
                    <a:pt x="727" y="410"/>
                  </a:lnTo>
                  <a:lnTo>
                    <a:pt x="727" y="410"/>
                  </a:lnTo>
                  <a:lnTo>
                    <a:pt x="727" y="412"/>
                  </a:lnTo>
                  <a:lnTo>
                    <a:pt x="727" y="413"/>
                  </a:lnTo>
                  <a:lnTo>
                    <a:pt x="727" y="415"/>
                  </a:lnTo>
                  <a:lnTo>
                    <a:pt x="730" y="416"/>
                  </a:lnTo>
                  <a:lnTo>
                    <a:pt x="737" y="421"/>
                  </a:lnTo>
                  <a:lnTo>
                    <a:pt x="738" y="422"/>
                  </a:lnTo>
                  <a:lnTo>
                    <a:pt x="748" y="421"/>
                  </a:lnTo>
                  <a:lnTo>
                    <a:pt x="753" y="422"/>
                  </a:lnTo>
                  <a:lnTo>
                    <a:pt x="753" y="422"/>
                  </a:lnTo>
                  <a:lnTo>
                    <a:pt x="759" y="428"/>
                  </a:lnTo>
                  <a:lnTo>
                    <a:pt x="765" y="432"/>
                  </a:lnTo>
                  <a:lnTo>
                    <a:pt x="778" y="440"/>
                  </a:lnTo>
                  <a:lnTo>
                    <a:pt x="781" y="440"/>
                  </a:lnTo>
                  <a:lnTo>
                    <a:pt x="782" y="440"/>
                  </a:lnTo>
                  <a:lnTo>
                    <a:pt x="783" y="438"/>
                  </a:lnTo>
                  <a:lnTo>
                    <a:pt x="783" y="438"/>
                  </a:lnTo>
                  <a:lnTo>
                    <a:pt x="785" y="437"/>
                  </a:lnTo>
                  <a:lnTo>
                    <a:pt x="785" y="435"/>
                  </a:lnTo>
                  <a:lnTo>
                    <a:pt x="785" y="434"/>
                  </a:lnTo>
                  <a:lnTo>
                    <a:pt x="785" y="432"/>
                  </a:lnTo>
                  <a:lnTo>
                    <a:pt x="788" y="428"/>
                  </a:lnTo>
                  <a:lnTo>
                    <a:pt x="788" y="426"/>
                  </a:lnTo>
                  <a:lnTo>
                    <a:pt x="789" y="426"/>
                  </a:lnTo>
                  <a:lnTo>
                    <a:pt x="791" y="425"/>
                  </a:lnTo>
                  <a:lnTo>
                    <a:pt x="791" y="425"/>
                  </a:lnTo>
                  <a:lnTo>
                    <a:pt x="792" y="425"/>
                  </a:lnTo>
                  <a:lnTo>
                    <a:pt x="797" y="429"/>
                  </a:lnTo>
                  <a:lnTo>
                    <a:pt x="804" y="438"/>
                  </a:lnTo>
                  <a:lnTo>
                    <a:pt x="805" y="440"/>
                  </a:lnTo>
                  <a:lnTo>
                    <a:pt x="805" y="441"/>
                  </a:lnTo>
                  <a:lnTo>
                    <a:pt x="804" y="442"/>
                  </a:lnTo>
                  <a:lnTo>
                    <a:pt x="799" y="447"/>
                  </a:lnTo>
                  <a:lnTo>
                    <a:pt x="799" y="448"/>
                  </a:lnTo>
                  <a:lnTo>
                    <a:pt x="799" y="448"/>
                  </a:lnTo>
                  <a:lnTo>
                    <a:pt x="801" y="453"/>
                  </a:lnTo>
                  <a:lnTo>
                    <a:pt x="808" y="461"/>
                  </a:lnTo>
                  <a:lnTo>
                    <a:pt x="810" y="463"/>
                  </a:lnTo>
                  <a:lnTo>
                    <a:pt x="810" y="464"/>
                  </a:lnTo>
                  <a:lnTo>
                    <a:pt x="810" y="466"/>
                  </a:lnTo>
                  <a:close/>
                  <a:moveTo>
                    <a:pt x="135" y="116"/>
                  </a:moveTo>
                  <a:lnTo>
                    <a:pt x="87" y="122"/>
                  </a:lnTo>
                  <a:lnTo>
                    <a:pt x="75" y="128"/>
                  </a:lnTo>
                  <a:lnTo>
                    <a:pt x="148" y="121"/>
                  </a:lnTo>
                  <a:lnTo>
                    <a:pt x="135" y="116"/>
                  </a:lnTo>
                  <a:close/>
                  <a:moveTo>
                    <a:pt x="75" y="156"/>
                  </a:moveTo>
                  <a:lnTo>
                    <a:pt x="81" y="157"/>
                  </a:lnTo>
                  <a:lnTo>
                    <a:pt x="91" y="147"/>
                  </a:lnTo>
                  <a:lnTo>
                    <a:pt x="90" y="144"/>
                  </a:lnTo>
                  <a:lnTo>
                    <a:pt x="81" y="141"/>
                  </a:lnTo>
                  <a:lnTo>
                    <a:pt x="75" y="141"/>
                  </a:lnTo>
                  <a:lnTo>
                    <a:pt x="74" y="143"/>
                  </a:lnTo>
                  <a:lnTo>
                    <a:pt x="73" y="144"/>
                  </a:lnTo>
                  <a:lnTo>
                    <a:pt x="71" y="145"/>
                  </a:lnTo>
                  <a:lnTo>
                    <a:pt x="71" y="151"/>
                  </a:lnTo>
                  <a:lnTo>
                    <a:pt x="75" y="156"/>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14">
              <a:extLst>
                <a:ext uri="{FF2B5EF4-FFF2-40B4-BE49-F238E27FC236}">
                  <a16:creationId xmlns:a16="http://schemas.microsoft.com/office/drawing/2014/main" id="{E5B62A9E-4B5A-4291-846A-F17CC8C1F5F8}"/>
                </a:ext>
              </a:extLst>
            </p:cNvPr>
            <p:cNvSpPr>
              <a:spLocks/>
            </p:cNvSpPr>
            <p:nvPr/>
          </p:nvSpPr>
          <p:spPr bwMode="gray">
            <a:xfrm>
              <a:off x="4625976" y="3148013"/>
              <a:ext cx="1357313" cy="1955800"/>
            </a:xfrm>
            <a:custGeom>
              <a:avLst/>
              <a:gdLst>
                <a:gd name="T0" fmla="*/ 766 w 855"/>
                <a:gd name="T1" fmla="*/ 204 h 1232"/>
                <a:gd name="T2" fmla="*/ 810 w 855"/>
                <a:gd name="T3" fmla="*/ 243 h 1232"/>
                <a:gd name="T4" fmla="*/ 844 w 855"/>
                <a:gd name="T5" fmla="*/ 300 h 1232"/>
                <a:gd name="T6" fmla="*/ 822 w 855"/>
                <a:gd name="T7" fmla="*/ 296 h 1232"/>
                <a:gd name="T8" fmla="*/ 842 w 855"/>
                <a:gd name="T9" fmla="*/ 339 h 1232"/>
                <a:gd name="T10" fmla="*/ 810 w 855"/>
                <a:gd name="T11" fmla="*/ 360 h 1232"/>
                <a:gd name="T12" fmla="*/ 758 w 855"/>
                <a:gd name="T13" fmla="*/ 398 h 1232"/>
                <a:gd name="T14" fmla="*/ 775 w 855"/>
                <a:gd name="T15" fmla="*/ 406 h 1232"/>
                <a:gd name="T16" fmla="*/ 759 w 855"/>
                <a:gd name="T17" fmla="*/ 462 h 1232"/>
                <a:gd name="T18" fmla="*/ 752 w 855"/>
                <a:gd name="T19" fmla="*/ 501 h 1232"/>
                <a:gd name="T20" fmla="*/ 734 w 855"/>
                <a:gd name="T21" fmla="*/ 565 h 1232"/>
                <a:gd name="T22" fmla="*/ 764 w 855"/>
                <a:gd name="T23" fmla="*/ 546 h 1232"/>
                <a:gd name="T24" fmla="*/ 791 w 855"/>
                <a:gd name="T25" fmla="*/ 584 h 1232"/>
                <a:gd name="T26" fmla="*/ 746 w 855"/>
                <a:gd name="T27" fmla="*/ 684 h 1232"/>
                <a:gd name="T28" fmla="*/ 683 w 855"/>
                <a:gd name="T29" fmla="*/ 747 h 1232"/>
                <a:gd name="T30" fmla="*/ 621 w 855"/>
                <a:gd name="T31" fmla="*/ 786 h 1232"/>
                <a:gd name="T32" fmla="*/ 600 w 855"/>
                <a:gd name="T33" fmla="*/ 814 h 1232"/>
                <a:gd name="T34" fmla="*/ 561 w 855"/>
                <a:gd name="T35" fmla="*/ 845 h 1232"/>
                <a:gd name="T36" fmla="*/ 478 w 855"/>
                <a:gd name="T37" fmla="*/ 856 h 1232"/>
                <a:gd name="T38" fmla="*/ 430 w 855"/>
                <a:gd name="T39" fmla="*/ 868 h 1232"/>
                <a:gd name="T40" fmla="*/ 445 w 855"/>
                <a:gd name="T41" fmla="*/ 917 h 1232"/>
                <a:gd name="T42" fmla="*/ 459 w 855"/>
                <a:gd name="T43" fmla="*/ 993 h 1232"/>
                <a:gd name="T44" fmla="*/ 468 w 855"/>
                <a:gd name="T45" fmla="*/ 1038 h 1232"/>
                <a:gd name="T46" fmla="*/ 465 w 855"/>
                <a:gd name="T47" fmla="*/ 1098 h 1232"/>
                <a:gd name="T48" fmla="*/ 459 w 855"/>
                <a:gd name="T49" fmla="*/ 1149 h 1232"/>
                <a:gd name="T50" fmla="*/ 434 w 855"/>
                <a:gd name="T51" fmla="*/ 1175 h 1232"/>
                <a:gd name="T52" fmla="*/ 395 w 855"/>
                <a:gd name="T53" fmla="*/ 1206 h 1232"/>
                <a:gd name="T54" fmla="*/ 363 w 855"/>
                <a:gd name="T55" fmla="*/ 1216 h 1232"/>
                <a:gd name="T56" fmla="*/ 389 w 855"/>
                <a:gd name="T57" fmla="*/ 1179 h 1232"/>
                <a:gd name="T58" fmla="*/ 319 w 855"/>
                <a:gd name="T59" fmla="*/ 1137 h 1232"/>
                <a:gd name="T60" fmla="*/ 293 w 855"/>
                <a:gd name="T61" fmla="*/ 1152 h 1232"/>
                <a:gd name="T62" fmla="*/ 239 w 855"/>
                <a:gd name="T63" fmla="*/ 1046 h 1232"/>
                <a:gd name="T64" fmla="*/ 82 w 855"/>
                <a:gd name="T65" fmla="*/ 909 h 1232"/>
                <a:gd name="T66" fmla="*/ 40 w 855"/>
                <a:gd name="T67" fmla="*/ 843 h 1232"/>
                <a:gd name="T68" fmla="*/ 44 w 855"/>
                <a:gd name="T69" fmla="*/ 815 h 1232"/>
                <a:gd name="T70" fmla="*/ 91 w 855"/>
                <a:gd name="T71" fmla="*/ 775 h 1232"/>
                <a:gd name="T72" fmla="*/ 89 w 855"/>
                <a:gd name="T73" fmla="*/ 703 h 1232"/>
                <a:gd name="T74" fmla="*/ 79 w 855"/>
                <a:gd name="T75" fmla="*/ 651 h 1232"/>
                <a:gd name="T76" fmla="*/ 125 w 855"/>
                <a:gd name="T77" fmla="*/ 616 h 1232"/>
                <a:gd name="T78" fmla="*/ 136 w 855"/>
                <a:gd name="T79" fmla="*/ 526 h 1232"/>
                <a:gd name="T80" fmla="*/ 125 w 855"/>
                <a:gd name="T81" fmla="*/ 484 h 1232"/>
                <a:gd name="T82" fmla="*/ 209 w 855"/>
                <a:gd name="T83" fmla="*/ 438 h 1232"/>
                <a:gd name="T84" fmla="*/ 257 w 855"/>
                <a:gd name="T85" fmla="*/ 374 h 1232"/>
                <a:gd name="T86" fmla="*/ 309 w 855"/>
                <a:gd name="T87" fmla="*/ 315 h 1232"/>
                <a:gd name="T88" fmla="*/ 340 w 855"/>
                <a:gd name="T89" fmla="*/ 255 h 1232"/>
                <a:gd name="T90" fmla="*/ 318 w 855"/>
                <a:gd name="T91" fmla="*/ 220 h 1232"/>
                <a:gd name="T92" fmla="*/ 283 w 855"/>
                <a:gd name="T93" fmla="*/ 219 h 1232"/>
                <a:gd name="T94" fmla="*/ 324 w 855"/>
                <a:gd name="T95" fmla="*/ 162 h 1232"/>
                <a:gd name="T96" fmla="*/ 408 w 855"/>
                <a:gd name="T97" fmla="*/ 134 h 1232"/>
                <a:gd name="T98" fmla="*/ 427 w 855"/>
                <a:gd name="T99" fmla="*/ 85 h 1232"/>
                <a:gd name="T100" fmla="*/ 496 w 855"/>
                <a:gd name="T101" fmla="*/ 111 h 1232"/>
                <a:gd name="T102" fmla="*/ 533 w 855"/>
                <a:gd name="T103" fmla="*/ 70 h 1232"/>
                <a:gd name="T104" fmla="*/ 544 w 855"/>
                <a:gd name="T105" fmla="*/ 26 h 1232"/>
                <a:gd name="T106" fmla="*/ 615 w 855"/>
                <a:gd name="T107" fmla="*/ 10 h 1232"/>
                <a:gd name="T108" fmla="*/ 662 w 855"/>
                <a:gd name="T109" fmla="*/ 53 h 1232"/>
                <a:gd name="T110" fmla="*/ 640 w 855"/>
                <a:gd name="T111" fmla="*/ 74 h 1232"/>
                <a:gd name="T112" fmla="*/ 647 w 855"/>
                <a:gd name="T113" fmla="*/ 141 h 1232"/>
                <a:gd name="T114" fmla="*/ 624 w 855"/>
                <a:gd name="T115" fmla="*/ 175 h 1232"/>
                <a:gd name="T116" fmla="*/ 699 w 855"/>
                <a:gd name="T117" fmla="*/ 178 h 1232"/>
                <a:gd name="T118" fmla="*/ 705 w 855"/>
                <a:gd name="T119" fmla="*/ 144 h 1232"/>
                <a:gd name="T120" fmla="*/ 727 w 855"/>
                <a:gd name="T121" fmla="*/ 143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55" h="1232">
                  <a:moveTo>
                    <a:pt x="756" y="153"/>
                  </a:moveTo>
                  <a:lnTo>
                    <a:pt x="750" y="159"/>
                  </a:lnTo>
                  <a:lnTo>
                    <a:pt x="749" y="160"/>
                  </a:lnTo>
                  <a:lnTo>
                    <a:pt x="748" y="165"/>
                  </a:lnTo>
                  <a:lnTo>
                    <a:pt x="748" y="166"/>
                  </a:lnTo>
                  <a:lnTo>
                    <a:pt x="748" y="169"/>
                  </a:lnTo>
                  <a:lnTo>
                    <a:pt x="749" y="169"/>
                  </a:lnTo>
                  <a:lnTo>
                    <a:pt x="749" y="170"/>
                  </a:lnTo>
                  <a:lnTo>
                    <a:pt x="749" y="175"/>
                  </a:lnTo>
                  <a:lnTo>
                    <a:pt x="749" y="176"/>
                  </a:lnTo>
                  <a:lnTo>
                    <a:pt x="750" y="178"/>
                  </a:lnTo>
                  <a:lnTo>
                    <a:pt x="752" y="179"/>
                  </a:lnTo>
                  <a:lnTo>
                    <a:pt x="753" y="181"/>
                  </a:lnTo>
                  <a:lnTo>
                    <a:pt x="755" y="184"/>
                  </a:lnTo>
                  <a:lnTo>
                    <a:pt x="755" y="188"/>
                  </a:lnTo>
                  <a:lnTo>
                    <a:pt x="755" y="194"/>
                  </a:lnTo>
                  <a:lnTo>
                    <a:pt x="756" y="195"/>
                  </a:lnTo>
                  <a:lnTo>
                    <a:pt x="756" y="197"/>
                  </a:lnTo>
                  <a:lnTo>
                    <a:pt x="758" y="195"/>
                  </a:lnTo>
                  <a:lnTo>
                    <a:pt x="759" y="197"/>
                  </a:lnTo>
                  <a:lnTo>
                    <a:pt x="762" y="198"/>
                  </a:lnTo>
                  <a:lnTo>
                    <a:pt x="765" y="203"/>
                  </a:lnTo>
                  <a:lnTo>
                    <a:pt x="766" y="204"/>
                  </a:lnTo>
                  <a:lnTo>
                    <a:pt x="768" y="205"/>
                  </a:lnTo>
                  <a:lnTo>
                    <a:pt x="771" y="205"/>
                  </a:lnTo>
                  <a:lnTo>
                    <a:pt x="774" y="205"/>
                  </a:lnTo>
                  <a:lnTo>
                    <a:pt x="775" y="205"/>
                  </a:lnTo>
                  <a:lnTo>
                    <a:pt x="782" y="208"/>
                  </a:lnTo>
                  <a:lnTo>
                    <a:pt x="788" y="210"/>
                  </a:lnTo>
                  <a:lnTo>
                    <a:pt x="791" y="211"/>
                  </a:lnTo>
                  <a:lnTo>
                    <a:pt x="793" y="213"/>
                  </a:lnTo>
                  <a:lnTo>
                    <a:pt x="793" y="214"/>
                  </a:lnTo>
                  <a:lnTo>
                    <a:pt x="791" y="219"/>
                  </a:lnTo>
                  <a:lnTo>
                    <a:pt x="791" y="221"/>
                  </a:lnTo>
                  <a:lnTo>
                    <a:pt x="791" y="223"/>
                  </a:lnTo>
                  <a:lnTo>
                    <a:pt x="793" y="224"/>
                  </a:lnTo>
                  <a:lnTo>
                    <a:pt x="799" y="229"/>
                  </a:lnTo>
                  <a:lnTo>
                    <a:pt x="799" y="232"/>
                  </a:lnTo>
                  <a:lnTo>
                    <a:pt x="800" y="237"/>
                  </a:lnTo>
                  <a:lnTo>
                    <a:pt x="801" y="239"/>
                  </a:lnTo>
                  <a:lnTo>
                    <a:pt x="803" y="240"/>
                  </a:lnTo>
                  <a:lnTo>
                    <a:pt x="804" y="240"/>
                  </a:lnTo>
                  <a:lnTo>
                    <a:pt x="806" y="242"/>
                  </a:lnTo>
                  <a:lnTo>
                    <a:pt x="807" y="243"/>
                  </a:lnTo>
                  <a:lnTo>
                    <a:pt x="809" y="243"/>
                  </a:lnTo>
                  <a:lnTo>
                    <a:pt x="810" y="243"/>
                  </a:lnTo>
                  <a:lnTo>
                    <a:pt x="813" y="245"/>
                  </a:lnTo>
                  <a:lnTo>
                    <a:pt x="815" y="245"/>
                  </a:lnTo>
                  <a:lnTo>
                    <a:pt x="819" y="246"/>
                  </a:lnTo>
                  <a:lnTo>
                    <a:pt x="820" y="246"/>
                  </a:lnTo>
                  <a:lnTo>
                    <a:pt x="823" y="249"/>
                  </a:lnTo>
                  <a:lnTo>
                    <a:pt x="826" y="249"/>
                  </a:lnTo>
                  <a:lnTo>
                    <a:pt x="828" y="249"/>
                  </a:lnTo>
                  <a:lnTo>
                    <a:pt x="831" y="249"/>
                  </a:lnTo>
                  <a:lnTo>
                    <a:pt x="833" y="251"/>
                  </a:lnTo>
                  <a:lnTo>
                    <a:pt x="839" y="253"/>
                  </a:lnTo>
                  <a:lnTo>
                    <a:pt x="842" y="256"/>
                  </a:lnTo>
                  <a:lnTo>
                    <a:pt x="850" y="261"/>
                  </a:lnTo>
                  <a:lnTo>
                    <a:pt x="854" y="262"/>
                  </a:lnTo>
                  <a:lnTo>
                    <a:pt x="855" y="264"/>
                  </a:lnTo>
                  <a:lnTo>
                    <a:pt x="855" y="265"/>
                  </a:lnTo>
                  <a:lnTo>
                    <a:pt x="855" y="265"/>
                  </a:lnTo>
                  <a:lnTo>
                    <a:pt x="854" y="268"/>
                  </a:lnTo>
                  <a:lnTo>
                    <a:pt x="848" y="275"/>
                  </a:lnTo>
                  <a:lnTo>
                    <a:pt x="847" y="280"/>
                  </a:lnTo>
                  <a:lnTo>
                    <a:pt x="847" y="283"/>
                  </a:lnTo>
                  <a:lnTo>
                    <a:pt x="847" y="286"/>
                  </a:lnTo>
                  <a:lnTo>
                    <a:pt x="845" y="297"/>
                  </a:lnTo>
                  <a:lnTo>
                    <a:pt x="844" y="300"/>
                  </a:lnTo>
                  <a:lnTo>
                    <a:pt x="842" y="300"/>
                  </a:lnTo>
                  <a:lnTo>
                    <a:pt x="842" y="299"/>
                  </a:lnTo>
                  <a:lnTo>
                    <a:pt x="841" y="296"/>
                  </a:lnTo>
                  <a:lnTo>
                    <a:pt x="841" y="296"/>
                  </a:lnTo>
                  <a:lnTo>
                    <a:pt x="838" y="294"/>
                  </a:lnTo>
                  <a:lnTo>
                    <a:pt x="838" y="293"/>
                  </a:lnTo>
                  <a:lnTo>
                    <a:pt x="838" y="293"/>
                  </a:lnTo>
                  <a:lnTo>
                    <a:pt x="839" y="291"/>
                  </a:lnTo>
                  <a:lnTo>
                    <a:pt x="839" y="290"/>
                  </a:lnTo>
                  <a:lnTo>
                    <a:pt x="838" y="288"/>
                  </a:lnTo>
                  <a:lnTo>
                    <a:pt x="836" y="286"/>
                  </a:lnTo>
                  <a:lnTo>
                    <a:pt x="835" y="284"/>
                  </a:lnTo>
                  <a:lnTo>
                    <a:pt x="832" y="284"/>
                  </a:lnTo>
                  <a:lnTo>
                    <a:pt x="829" y="284"/>
                  </a:lnTo>
                  <a:lnTo>
                    <a:pt x="820" y="286"/>
                  </a:lnTo>
                  <a:lnTo>
                    <a:pt x="819" y="287"/>
                  </a:lnTo>
                  <a:lnTo>
                    <a:pt x="817" y="288"/>
                  </a:lnTo>
                  <a:lnTo>
                    <a:pt x="819" y="290"/>
                  </a:lnTo>
                  <a:lnTo>
                    <a:pt x="820" y="290"/>
                  </a:lnTo>
                  <a:lnTo>
                    <a:pt x="820" y="291"/>
                  </a:lnTo>
                  <a:lnTo>
                    <a:pt x="822" y="293"/>
                  </a:lnTo>
                  <a:lnTo>
                    <a:pt x="822" y="294"/>
                  </a:lnTo>
                  <a:lnTo>
                    <a:pt x="822" y="296"/>
                  </a:lnTo>
                  <a:lnTo>
                    <a:pt x="823" y="297"/>
                  </a:lnTo>
                  <a:lnTo>
                    <a:pt x="823" y="297"/>
                  </a:lnTo>
                  <a:lnTo>
                    <a:pt x="825" y="297"/>
                  </a:lnTo>
                  <a:lnTo>
                    <a:pt x="832" y="299"/>
                  </a:lnTo>
                  <a:lnTo>
                    <a:pt x="833" y="300"/>
                  </a:lnTo>
                  <a:lnTo>
                    <a:pt x="832" y="303"/>
                  </a:lnTo>
                  <a:lnTo>
                    <a:pt x="832" y="307"/>
                  </a:lnTo>
                  <a:lnTo>
                    <a:pt x="826" y="315"/>
                  </a:lnTo>
                  <a:lnTo>
                    <a:pt x="825" y="319"/>
                  </a:lnTo>
                  <a:lnTo>
                    <a:pt x="825" y="323"/>
                  </a:lnTo>
                  <a:lnTo>
                    <a:pt x="823" y="328"/>
                  </a:lnTo>
                  <a:lnTo>
                    <a:pt x="823" y="331"/>
                  </a:lnTo>
                  <a:lnTo>
                    <a:pt x="823" y="334"/>
                  </a:lnTo>
                  <a:lnTo>
                    <a:pt x="825" y="334"/>
                  </a:lnTo>
                  <a:lnTo>
                    <a:pt x="828" y="334"/>
                  </a:lnTo>
                  <a:lnTo>
                    <a:pt x="829" y="335"/>
                  </a:lnTo>
                  <a:lnTo>
                    <a:pt x="831" y="335"/>
                  </a:lnTo>
                  <a:lnTo>
                    <a:pt x="832" y="336"/>
                  </a:lnTo>
                  <a:lnTo>
                    <a:pt x="833" y="338"/>
                  </a:lnTo>
                  <a:lnTo>
                    <a:pt x="835" y="338"/>
                  </a:lnTo>
                  <a:lnTo>
                    <a:pt x="839" y="338"/>
                  </a:lnTo>
                  <a:lnTo>
                    <a:pt x="841" y="339"/>
                  </a:lnTo>
                  <a:lnTo>
                    <a:pt x="842" y="339"/>
                  </a:lnTo>
                  <a:lnTo>
                    <a:pt x="844" y="342"/>
                  </a:lnTo>
                  <a:lnTo>
                    <a:pt x="845" y="347"/>
                  </a:lnTo>
                  <a:lnTo>
                    <a:pt x="847" y="348"/>
                  </a:lnTo>
                  <a:lnTo>
                    <a:pt x="847" y="350"/>
                  </a:lnTo>
                  <a:lnTo>
                    <a:pt x="847" y="352"/>
                  </a:lnTo>
                  <a:lnTo>
                    <a:pt x="842" y="364"/>
                  </a:lnTo>
                  <a:lnTo>
                    <a:pt x="841" y="366"/>
                  </a:lnTo>
                  <a:lnTo>
                    <a:pt x="839" y="366"/>
                  </a:lnTo>
                  <a:lnTo>
                    <a:pt x="832" y="366"/>
                  </a:lnTo>
                  <a:lnTo>
                    <a:pt x="823" y="367"/>
                  </a:lnTo>
                  <a:lnTo>
                    <a:pt x="822" y="367"/>
                  </a:lnTo>
                  <a:lnTo>
                    <a:pt x="820" y="367"/>
                  </a:lnTo>
                  <a:lnTo>
                    <a:pt x="819" y="366"/>
                  </a:lnTo>
                  <a:lnTo>
                    <a:pt x="817" y="364"/>
                  </a:lnTo>
                  <a:lnTo>
                    <a:pt x="816" y="364"/>
                  </a:lnTo>
                  <a:lnTo>
                    <a:pt x="816" y="364"/>
                  </a:lnTo>
                  <a:lnTo>
                    <a:pt x="816" y="363"/>
                  </a:lnTo>
                  <a:lnTo>
                    <a:pt x="817" y="360"/>
                  </a:lnTo>
                  <a:lnTo>
                    <a:pt x="817" y="360"/>
                  </a:lnTo>
                  <a:lnTo>
                    <a:pt x="816" y="358"/>
                  </a:lnTo>
                  <a:lnTo>
                    <a:pt x="815" y="358"/>
                  </a:lnTo>
                  <a:lnTo>
                    <a:pt x="812" y="360"/>
                  </a:lnTo>
                  <a:lnTo>
                    <a:pt x="810" y="360"/>
                  </a:lnTo>
                  <a:lnTo>
                    <a:pt x="806" y="358"/>
                  </a:lnTo>
                  <a:lnTo>
                    <a:pt x="796" y="358"/>
                  </a:lnTo>
                  <a:lnTo>
                    <a:pt x="791" y="360"/>
                  </a:lnTo>
                  <a:lnTo>
                    <a:pt x="782" y="366"/>
                  </a:lnTo>
                  <a:lnTo>
                    <a:pt x="782" y="373"/>
                  </a:lnTo>
                  <a:lnTo>
                    <a:pt x="784" y="377"/>
                  </a:lnTo>
                  <a:lnTo>
                    <a:pt x="784" y="377"/>
                  </a:lnTo>
                  <a:lnTo>
                    <a:pt x="785" y="379"/>
                  </a:lnTo>
                  <a:lnTo>
                    <a:pt x="787" y="382"/>
                  </a:lnTo>
                  <a:lnTo>
                    <a:pt x="790" y="385"/>
                  </a:lnTo>
                  <a:lnTo>
                    <a:pt x="790" y="392"/>
                  </a:lnTo>
                  <a:lnTo>
                    <a:pt x="790" y="395"/>
                  </a:lnTo>
                  <a:lnTo>
                    <a:pt x="788" y="396"/>
                  </a:lnTo>
                  <a:lnTo>
                    <a:pt x="782" y="398"/>
                  </a:lnTo>
                  <a:lnTo>
                    <a:pt x="778" y="398"/>
                  </a:lnTo>
                  <a:lnTo>
                    <a:pt x="766" y="398"/>
                  </a:lnTo>
                  <a:lnTo>
                    <a:pt x="765" y="396"/>
                  </a:lnTo>
                  <a:lnTo>
                    <a:pt x="765" y="396"/>
                  </a:lnTo>
                  <a:lnTo>
                    <a:pt x="764" y="395"/>
                  </a:lnTo>
                  <a:lnTo>
                    <a:pt x="764" y="395"/>
                  </a:lnTo>
                  <a:lnTo>
                    <a:pt x="761" y="395"/>
                  </a:lnTo>
                  <a:lnTo>
                    <a:pt x="759" y="396"/>
                  </a:lnTo>
                  <a:lnTo>
                    <a:pt x="758" y="398"/>
                  </a:lnTo>
                  <a:lnTo>
                    <a:pt x="758" y="399"/>
                  </a:lnTo>
                  <a:lnTo>
                    <a:pt x="758" y="402"/>
                  </a:lnTo>
                  <a:lnTo>
                    <a:pt x="758" y="403"/>
                  </a:lnTo>
                  <a:lnTo>
                    <a:pt x="759" y="405"/>
                  </a:lnTo>
                  <a:lnTo>
                    <a:pt x="761" y="405"/>
                  </a:lnTo>
                  <a:lnTo>
                    <a:pt x="761" y="403"/>
                  </a:lnTo>
                  <a:lnTo>
                    <a:pt x="762" y="402"/>
                  </a:lnTo>
                  <a:lnTo>
                    <a:pt x="764" y="402"/>
                  </a:lnTo>
                  <a:lnTo>
                    <a:pt x="764" y="405"/>
                  </a:lnTo>
                  <a:lnTo>
                    <a:pt x="764" y="411"/>
                  </a:lnTo>
                  <a:lnTo>
                    <a:pt x="764" y="414"/>
                  </a:lnTo>
                  <a:lnTo>
                    <a:pt x="765" y="415"/>
                  </a:lnTo>
                  <a:lnTo>
                    <a:pt x="766" y="415"/>
                  </a:lnTo>
                  <a:lnTo>
                    <a:pt x="768" y="415"/>
                  </a:lnTo>
                  <a:lnTo>
                    <a:pt x="768" y="414"/>
                  </a:lnTo>
                  <a:lnTo>
                    <a:pt x="769" y="412"/>
                  </a:lnTo>
                  <a:lnTo>
                    <a:pt x="769" y="411"/>
                  </a:lnTo>
                  <a:lnTo>
                    <a:pt x="771" y="409"/>
                  </a:lnTo>
                  <a:lnTo>
                    <a:pt x="771" y="409"/>
                  </a:lnTo>
                  <a:lnTo>
                    <a:pt x="772" y="408"/>
                  </a:lnTo>
                  <a:lnTo>
                    <a:pt x="774" y="408"/>
                  </a:lnTo>
                  <a:lnTo>
                    <a:pt x="774" y="408"/>
                  </a:lnTo>
                  <a:lnTo>
                    <a:pt x="775" y="406"/>
                  </a:lnTo>
                  <a:lnTo>
                    <a:pt x="777" y="406"/>
                  </a:lnTo>
                  <a:lnTo>
                    <a:pt x="777" y="408"/>
                  </a:lnTo>
                  <a:lnTo>
                    <a:pt x="778" y="408"/>
                  </a:lnTo>
                  <a:lnTo>
                    <a:pt x="781" y="411"/>
                  </a:lnTo>
                  <a:lnTo>
                    <a:pt x="785" y="414"/>
                  </a:lnTo>
                  <a:lnTo>
                    <a:pt x="787" y="415"/>
                  </a:lnTo>
                  <a:lnTo>
                    <a:pt x="788" y="418"/>
                  </a:lnTo>
                  <a:lnTo>
                    <a:pt x="790" y="422"/>
                  </a:lnTo>
                  <a:lnTo>
                    <a:pt x="791" y="425"/>
                  </a:lnTo>
                  <a:lnTo>
                    <a:pt x="794" y="428"/>
                  </a:lnTo>
                  <a:lnTo>
                    <a:pt x="784" y="440"/>
                  </a:lnTo>
                  <a:lnTo>
                    <a:pt x="782" y="441"/>
                  </a:lnTo>
                  <a:lnTo>
                    <a:pt x="782" y="444"/>
                  </a:lnTo>
                  <a:lnTo>
                    <a:pt x="784" y="447"/>
                  </a:lnTo>
                  <a:lnTo>
                    <a:pt x="782" y="453"/>
                  </a:lnTo>
                  <a:lnTo>
                    <a:pt x="782" y="456"/>
                  </a:lnTo>
                  <a:lnTo>
                    <a:pt x="781" y="456"/>
                  </a:lnTo>
                  <a:lnTo>
                    <a:pt x="778" y="456"/>
                  </a:lnTo>
                  <a:lnTo>
                    <a:pt x="777" y="457"/>
                  </a:lnTo>
                  <a:lnTo>
                    <a:pt x="774" y="459"/>
                  </a:lnTo>
                  <a:lnTo>
                    <a:pt x="771" y="459"/>
                  </a:lnTo>
                  <a:lnTo>
                    <a:pt x="765" y="460"/>
                  </a:lnTo>
                  <a:lnTo>
                    <a:pt x="759" y="462"/>
                  </a:lnTo>
                  <a:lnTo>
                    <a:pt x="758" y="463"/>
                  </a:lnTo>
                  <a:lnTo>
                    <a:pt x="756" y="465"/>
                  </a:lnTo>
                  <a:lnTo>
                    <a:pt x="756" y="466"/>
                  </a:lnTo>
                  <a:lnTo>
                    <a:pt x="756" y="468"/>
                  </a:lnTo>
                  <a:lnTo>
                    <a:pt x="755" y="472"/>
                  </a:lnTo>
                  <a:lnTo>
                    <a:pt x="755" y="473"/>
                  </a:lnTo>
                  <a:lnTo>
                    <a:pt x="753" y="475"/>
                  </a:lnTo>
                  <a:lnTo>
                    <a:pt x="753" y="478"/>
                  </a:lnTo>
                  <a:lnTo>
                    <a:pt x="755" y="479"/>
                  </a:lnTo>
                  <a:lnTo>
                    <a:pt x="755" y="482"/>
                  </a:lnTo>
                  <a:lnTo>
                    <a:pt x="755" y="484"/>
                  </a:lnTo>
                  <a:lnTo>
                    <a:pt x="755" y="486"/>
                  </a:lnTo>
                  <a:lnTo>
                    <a:pt x="755" y="488"/>
                  </a:lnTo>
                  <a:lnTo>
                    <a:pt x="755" y="488"/>
                  </a:lnTo>
                  <a:lnTo>
                    <a:pt x="753" y="486"/>
                  </a:lnTo>
                  <a:lnTo>
                    <a:pt x="753" y="486"/>
                  </a:lnTo>
                  <a:lnTo>
                    <a:pt x="752" y="486"/>
                  </a:lnTo>
                  <a:lnTo>
                    <a:pt x="750" y="488"/>
                  </a:lnTo>
                  <a:lnTo>
                    <a:pt x="749" y="488"/>
                  </a:lnTo>
                  <a:lnTo>
                    <a:pt x="746" y="494"/>
                  </a:lnTo>
                  <a:lnTo>
                    <a:pt x="750" y="498"/>
                  </a:lnTo>
                  <a:lnTo>
                    <a:pt x="752" y="501"/>
                  </a:lnTo>
                  <a:lnTo>
                    <a:pt x="752" y="501"/>
                  </a:lnTo>
                  <a:lnTo>
                    <a:pt x="752" y="505"/>
                  </a:lnTo>
                  <a:lnTo>
                    <a:pt x="752" y="508"/>
                  </a:lnTo>
                  <a:lnTo>
                    <a:pt x="750" y="510"/>
                  </a:lnTo>
                  <a:lnTo>
                    <a:pt x="750" y="513"/>
                  </a:lnTo>
                  <a:lnTo>
                    <a:pt x="745" y="521"/>
                  </a:lnTo>
                  <a:lnTo>
                    <a:pt x="743" y="526"/>
                  </a:lnTo>
                  <a:lnTo>
                    <a:pt x="743" y="529"/>
                  </a:lnTo>
                  <a:lnTo>
                    <a:pt x="745" y="530"/>
                  </a:lnTo>
                  <a:lnTo>
                    <a:pt x="745" y="532"/>
                  </a:lnTo>
                  <a:lnTo>
                    <a:pt x="742" y="536"/>
                  </a:lnTo>
                  <a:lnTo>
                    <a:pt x="740" y="536"/>
                  </a:lnTo>
                  <a:lnTo>
                    <a:pt x="740" y="537"/>
                  </a:lnTo>
                  <a:lnTo>
                    <a:pt x="739" y="537"/>
                  </a:lnTo>
                  <a:lnTo>
                    <a:pt x="737" y="539"/>
                  </a:lnTo>
                  <a:lnTo>
                    <a:pt x="736" y="542"/>
                  </a:lnTo>
                  <a:lnTo>
                    <a:pt x="733" y="546"/>
                  </a:lnTo>
                  <a:lnTo>
                    <a:pt x="732" y="549"/>
                  </a:lnTo>
                  <a:lnTo>
                    <a:pt x="732" y="552"/>
                  </a:lnTo>
                  <a:lnTo>
                    <a:pt x="732" y="555"/>
                  </a:lnTo>
                  <a:lnTo>
                    <a:pt x="732" y="559"/>
                  </a:lnTo>
                  <a:lnTo>
                    <a:pt x="732" y="562"/>
                  </a:lnTo>
                  <a:lnTo>
                    <a:pt x="733" y="564"/>
                  </a:lnTo>
                  <a:lnTo>
                    <a:pt x="734" y="565"/>
                  </a:lnTo>
                  <a:lnTo>
                    <a:pt x="737" y="564"/>
                  </a:lnTo>
                  <a:lnTo>
                    <a:pt x="739" y="564"/>
                  </a:lnTo>
                  <a:lnTo>
                    <a:pt x="740" y="562"/>
                  </a:lnTo>
                  <a:lnTo>
                    <a:pt x="742" y="562"/>
                  </a:lnTo>
                  <a:lnTo>
                    <a:pt x="743" y="562"/>
                  </a:lnTo>
                  <a:lnTo>
                    <a:pt x="749" y="567"/>
                  </a:lnTo>
                  <a:lnTo>
                    <a:pt x="750" y="568"/>
                  </a:lnTo>
                  <a:lnTo>
                    <a:pt x="755" y="568"/>
                  </a:lnTo>
                  <a:lnTo>
                    <a:pt x="756" y="568"/>
                  </a:lnTo>
                  <a:lnTo>
                    <a:pt x="758" y="568"/>
                  </a:lnTo>
                  <a:lnTo>
                    <a:pt x="758" y="567"/>
                  </a:lnTo>
                  <a:lnTo>
                    <a:pt x="759" y="564"/>
                  </a:lnTo>
                  <a:lnTo>
                    <a:pt x="761" y="561"/>
                  </a:lnTo>
                  <a:lnTo>
                    <a:pt x="761" y="561"/>
                  </a:lnTo>
                  <a:lnTo>
                    <a:pt x="759" y="559"/>
                  </a:lnTo>
                  <a:lnTo>
                    <a:pt x="756" y="555"/>
                  </a:lnTo>
                  <a:lnTo>
                    <a:pt x="756" y="553"/>
                  </a:lnTo>
                  <a:lnTo>
                    <a:pt x="756" y="552"/>
                  </a:lnTo>
                  <a:lnTo>
                    <a:pt x="756" y="551"/>
                  </a:lnTo>
                  <a:lnTo>
                    <a:pt x="756" y="549"/>
                  </a:lnTo>
                  <a:lnTo>
                    <a:pt x="758" y="549"/>
                  </a:lnTo>
                  <a:lnTo>
                    <a:pt x="758" y="548"/>
                  </a:lnTo>
                  <a:lnTo>
                    <a:pt x="764" y="546"/>
                  </a:lnTo>
                  <a:lnTo>
                    <a:pt x="766" y="545"/>
                  </a:lnTo>
                  <a:lnTo>
                    <a:pt x="771" y="542"/>
                  </a:lnTo>
                  <a:lnTo>
                    <a:pt x="774" y="542"/>
                  </a:lnTo>
                  <a:lnTo>
                    <a:pt x="775" y="540"/>
                  </a:lnTo>
                  <a:lnTo>
                    <a:pt x="777" y="542"/>
                  </a:lnTo>
                  <a:lnTo>
                    <a:pt x="782" y="543"/>
                  </a:lnTo>
                  <a:lnTo>
                    <a:pt x="788" y="543"/>
                  </a:lnTo>
                  <a:lnTo>
                    <a:pt x="793" y="545"/>
                  </a:lnTo>
                  <a:lnTo>
                    <a:pt x="794" y="546"/>
                  </a:lnTo>
                  <a:lnTo>
                    <a:pt x="796" y="548"/>
                  </a:lnTo>
                  <a:lnTo>
                    <a:pt x="796" y="549"/>
                  </a:lnTo>
                  <a:lnTo>
                    <a:pt x="800" y="558"/>
                  </a:lnTo>
                  <a:lnTo>
                    <a:pt x="800" y="571"/>
                  </a:lnTo>
                  <a:lnTo>
                    <a:pt x="800" y="572"/>
                  </a:lnTo>
                  <a:lnTo>
                    <a:pt x="800" y="574"/>
                  </a:lnTo>
                  <a:lnTo>
                    <a:pt x="799" y="572"/>
                  </a:lnTo>
                  <a:lnTo>
                    <a:pt x="797" y="572"/>
                  </a:lnTo>
                  <a:lnTo>
                    <a:pt x="794" y="574"/>
                  </a:lnTo>
                  <a:lnTo>
                    <a:pt x="791" y="578"/>
                  </a:lnTo>
                  <a:lnTo>
                    <a:pt x="790" y="580"/>
                  </a:lnTo>
                  <a:lnTo>
                    <a:pt x="790" y="581"/>
                  </a:lnTo>
                  <a:lnTo>
                    <a:pt x="791" y="583"/>
                  </a:lnTo>
                  <a:lnTo>
                    <a:pt x="791" y="584"/>
                  </a:lnTo>
                  <a:lnTo>
                    <a:pt x="791" y="585"/>
                  </a:lnTo>
                  <a:lnTo>
                    <a:pt x="791" y="596"/>
                  </a:lnTo>
                  <a:lnTo>
                    <a:pt x="791" y="597"/>
                  </a:lnTo>
                  <a:lnTo>
                    <a:pt x="791" y="599"/>
                  </a:lnTo>
                  <a:lnTo>
                    <a:pt x="791" y="600"/>
                  </a:lnTo>
                  <a:lnTo>
                    <a:pt x="791" y="601"/>
                  </a:lnTo>
                  <a:lnTo>
                    <a:pt x="794" y="607"/>
                  </a:lnTo>
                  <a:lnTo>
                    <a:pt x="794" y="610"/>
                  </a:lnTo>
                  <a:lnTo>
                    <a:pt x="791" y="620"/>
                  </a:lnTo>
                  <a:lnTo>
                    <a:pt x="790" y="623"/>
                  </a:lnTo>
                  <a:lnTo>
                    <a:pt x="790" y="625"/>
                  </a:lnTo>
                  <a:lnTo>
                    <a:pt x="790" y="626"/>
                  </a:lnTo>
                  <a:lnTo>
                    <a:pt x="791" y="628"/>
                  </a:lnTo>
                  <a:lnTo>
                    <a:pt x="793" y="628"/>
                  </a:lnTo>
                  <a:lnTo>
                    <a:pt x="791" y="635"/>
                  </a:lnTo>
                  <a:lnTo>
                    <a:pt x="791" y="636"/>
                  </a:lnTo>
                  <a:lnTo>
                    <a:pt x="790" y="638"/>
                  </a:lnTo>
                  <a:lnTo>
                    <a:pt x="790" y="639"/>
                  </a:lnTo>
                  <a:lnTo>
                    <a:pt x="782" y="651"/>
                  </a:lnTo>
                  <a:lnTo>
                    <a:pt x="778" y="658"/>
                  </a:lnTo>
                  <a:lnTo>
                    <a:pt x="774" y="666"/>
                  </a:lnTo>
                  <a:lnTo>
                    <a:pt x="768" y="671"/>
                  </a:lnTo>
                  <a:lnTo>
                    <a:pt x="746" y="684"/>
                  </a:lnTo>
                  <a:lnTo>
                    <a:pt x="726" y="692"/>
                  </a:lnTo>
                  <a:lnTo>
                    <a:pt x="721" y="693"/>
                  </a:lnTo>
                  <a:lnTo>
                    <a:pt x="718" y="693"/>
                  </a:lnTo>
                  <a:lnTo>
                    <a:pt x="717" y="693"/>
                  </a:lnTo>
                  <a:lnTo>
                    <a:pt x="714" y="692"/>
                  </a:lnTo>
                  <a:lnTo>
                    <a:pt x="711" y="689"/>
                  </a:lnTo>
                  <a:lnTo>
                    <a:pt x="710" y="687"/>
                  </a:lnTo>
                  <a:lnTo>
                    <a:pt x="707" y="683"/>
                  </a:lnTo>
                  <a:lnTo>
                    <a:pt x="707" y="682"/>
                  </a:lnTo>
                  <a:lnTo>
                    <a:pt x="705" y="682"/>
                  </a:lnTo>
                  <a:lnTo>
                    <a:pt x="704" y="682"/>
                  </a:lnTo>
                  <a:lnTo>
                    <a:pt x="704" y="682"/>
                  </a:lnTo>
                  <a:lnTo>
                    <a:pt x="699" y="683"/>
                  </a:lnTo>
                  <a:lnTo>
                    <a:pt x="698" y="684"/>
                  </a:lnTo>
                  <a:lnTo>
                    <a:pt x="694" y="690"/>
                  </a:lnTo>
                  <a:lnTo>
                    <a:pt x="685" y="721"/>
                  </a:lnTo>
                  <a:lnTo>
                    <a:pt x="686" y="728"/>
                  </a:lnTo>
                  <a:lnTo>
                    <a:pt x="686" y="731"/>
                  </a:lnTo>
                  <a:lnTo>
                    <a:pt x="686" y="734"/>
                  </a:lnTo>
                  <a:lnTo>
                    <a:pt x="686" y="738"/>
                  </a:lnTo>
                  <a:lnTo>
                    <a:pt x="686" y="743"/>
                  </a:lnTo>
                  <a:lnTo>
                    <a:pt x="685" y="746"/>
                  </a:lnTo>
                  <a:lnTo>
                    <a:pt x="683" y="747"/>
                  </a:lnTo>
                  <a:lnTo>
                    <a:pt x="678" y="751"/>
                  </a:lnTo>
                  <a:lnTo>
                    <a:pt x="672" y="754"/>
                  </a:lnTo>
                  <a:lnTo>
                    <a:pt x="667" y="754"/>
                  </a:lnTo>
                  <a:lnTo>
                    <a:pt x="663" y="757"/>
                  </a:lnTo>
                  <a:lnTo>
                    <a:pt x="660" y="760"/>
                  </a:lnTo>
                  <a:lnTo>
                    <a:pt x="657" y="763"/>
                  </a:lnTo>
                  <a:lnTo>
                    <a:pt x="656" y="770"/>
                  </a:lnTo>
                  <a:lnTo>
                    <a:pt x="656" y="775"/>
                  </a:lnTo>
                  <a:lnTo>
                    <a:pt x="656" y="778"/>
                  </a:lnTo>
                  <a:lnTo>
                    <a:pt x="657" y="779"/>
                  </a:lnTo>
                  <a:lnTo>
                    <a:pt x="657" y="781"/>
                  </a:lnTo>
                  <a:lnTo>
                    <a:pt x="656" y="782"/>
                  </a:lnTo>
                  <a:lnTo>
                    <a:pt x="646" y="785"/>
                  </a:lnTo>
                  <a:lnTo>
                    <a:pt x="640" y="788"/>
                  </a:lnTo>
                  <a:lnTo>
                    <a:pt x="634" y="788"/>
                  </a:lnTo>
                  <a:lnTo>
                    <a:pt x="632" y="786"/>
                  </a:lnTo>
                  <a:lnTo>
                    <a:pt x="631" y="786"/>
                  </a:lnTo>
                  <a:lnTo>
                    <a:pt x="631" y="785"/>
                  </a:lnTo>
                  <a:lnTo>
                    <a:pt x="630" y="785"/>
                  </a:lnTo>
                  <a:lnTo>
                    <a:pt x="630" y="785"/>
                  </a:lnTo>
                  <a:lnTo>
                    <a:pt x="628" y="785"/>
                  </a:lnTo>
                  <a:lnTo>
                    <a:pt x="627" y="785"/>
                  </a:lnTo>
                  <a:lnTo>
                    <a:pt x="621" y="786"/>
                  </a:lnTo>
                  <a:lnTo>
                    <a:pt x="621" y="786"/>
                  </a:lnTo>
                  <a:lnTo>
                    <a:pt x="619" y="786"/>
                  </a:lnTo>
                  <a:lnTo>
                    <a:pt x="619" y="785"/>
                  </a:lnTo>
                  <a:lnTo>
                    <a:pt x="618" y="782"/>
                  </a:lnTo>
                  <a:lnTo>
                    <a:pt x="616" y="781"/>
                  </a:lnTo>
                  <a:lnTo>
                    <a:pt x="615" y="781"/>
                  </a:lnTo>
                  <a:lnTo>
                    <a:pt x="615" y="781"/>
                  </a:lnTo>
                  <a:lnTo>
                    <a:pt x="614" y="781"/>
                  </a:lnTo>
                  <a:lnTo>
                    <a:pt x="611" y="782"/>
                  </a:lnTo>
                  <a:lnTo>
                    <a:pt x="609" y="782"/>
                  </a:lnTo>
                  <a:lnTo>
                    <a:pt x="608" y="782"/>
                  </a:lnTo>
                  <a:lnTo>
                    <a:pt x="605" y="781"/>
                  </a:lnTo>
                  <a:lnTo>
                    <a:pt x="603" y="781"/>
                  </a:lnTo>
                  <a:lnTo>
                    <a:pt x="602" y="782"/>
                  </a:lnTo>
                  <a:lnTo>
                    <a:pt x="602" y="786"/>
                  </a:lnTo>
                  <a:lnTo>
                    <a:pt x="603" y="797"/>
                  </a:lnTo>
                  <a:lnTo>
                    <a:pt x="603" y="799"/>
                  </a:lnTo>
                  <a:lnTo>
                    <a:pt x="600" y="807"/>
                  </a:lnTo>
                  <a:lnTo>
                    <a:pt x="600" y="808"/>
                  </a:lnTo>
                  <a:lnTo>
                    <a:pt x="599" y="811"/>
                  </a:lnTo>
                  <a:lnTo>
                    <a:pt x="600" y="811"/>
                  </a:lnTo>
                  <a:lnTo>
                    <a:pt x="600" y="813"/>
                  </a:lnTo>
                  <a:lnTo>
                    <a:pt x="600" y="814"/>
                  </a:lnTo>
                  <a:lnTo>
                    <a:pt x="600" y="814"/>
                  </a:lnTo>
                  <a:lnTo>
                    <a:pt x="602" y="814"/>
                  </a:lnTo>
                  <a:lnTo>
                    <a:pt x="608" y="815"/>
                  </a:lnTo>
                  <a:lnTo>
                    <a:pt x="609" y="815"/>
                  </a:lnTo>
                  <a:lnTo>
                    <a:pt x="609" y="817"/>
                  </a:lnTo>
                  <a:lnTo>
                    <a:pt x="611" y="817"/>
                  </a:lnTo>
                  <a:lnTo>
                    <a:pt x="611" y="818"/>
                  </a:lnTo>
                  <a:lnTo>
                    <a:pt x="609" y="820"/>
                  </a:lnTo>
                  <a:lnTo>
                    <a:pt x="606" y="829"/>
                  </a:lnTo>
                  <a:lnTo>
                    <a:pt x="605" y="832"/>
                  </a:lnTo>
                  <a:lnTo>
                    <a:pt x="603" y="834"/>
                  </a:lnTo>
                  <a:lnTo>
                    <a:pt x="605" y="836"/>
                  </a:lnTo>
                  <a:lnTo>
                    <a:pt x="606" y="846"/>
                  </a:lnTo>
                  <a:lnTo>
                    <a:pt x="605" y="848"/>
                  </a:lnTo>
                  <a:lnTo>
                    <a:pt x="603" y="850"/>
                  </a:lnTo>
                  <a:lnTo>
                    <a:pt x="581" y="859"/>
                  </a:lnTo>
                  <a:lnTo>
                    <a:pt x="576" y="859"/>
                  </a:lnTo>
                  <a:lnTo>
                    <a:pt x="568" y="858"/>
                  </a:lnTo>
                  <a:lnTo>
                    <a:pt x="565" y="856"/>
                  </a:lnTo>
                  <a:lnTo>
                    <a:pt x="563" y="852"/>
                  </a:lnTo>
                  <a:lnTo>
                    <a:pt x="563" y="850"/>
                  </a:lnTo>
                  <a:lnTo>
                    <a:pt x="561" y="846"/>
                  </a:lnTo>
                  <a:lnTo>
                    <a:pt x="561" y="845"/>
                  </a:lnTo>
                  <a:lnTo>
                    <a:pt x="560" y="845"/>
                  </a:lnTo>
                  <a:lnTo>
                    <a:pt x="558" y="842"/>
                  </a:lnTo>
                  <a:lnTo>
                    <a:pt x="554" y="839"/>
                  </a:lnTo>
                  <a:lnTo>
                    <a:pt x="541" y="833"/>
                  </a:lnTo>
                  <a:lnTo>
                    <a:pt x="539" y="833"/>
                  </a:lnTo>
                  <a:lnTo>
                    <a:pt x="535" y="833"/>
                  </a:lnTo>
                  <a:lnTo>
                    <a:pt x="533" y="833"/>
                  </a:lnTo>
                  <a:lnTo>
                    <a:pt x="530" y="832"/>
                  </a:lnTo>
                  <a:lnTo>
                    <a:pt x="529" y="832"/>
                  </a:lnTo>
                  <a:lnTo>
                    <a:pt x="514" y="832"/>
                  </a:lnTo>
                  <a:lnTo>
                    <a:pt x="510" y="830"/>
                  </a:lnTo>
                  <a:lnTo>
                    <a:pt x="509" y="830"/>
                  </a:lnTo>
                  <a:lnTo>
                    <a:pt x="506" y="830"/>
                  </a:lnTo>
                  <a:lnTo>
                    <a:pt x="496" y="834"/>
                  </a:lnTo>
                  <a:lnTo>
                    <a:pt x="494" y="834"/>
                  </a:lnTo>
                  <a:lnTo>
                    <a:pt x="493" y="836"/>
                  </a:lnTo>
                  <a:lnTo>
                    <a:pt x="493" y="837"/>
                  </a:lnTo>
                  <a:lnTo>
                    <a:pt x="493" y="840"/>
                  </a:lnTo>
                  <a:lnTo>
                    <a:pt x="493" y="842"/>
                  </a:lnTo>
                  <a:lnTo>
                    <a:pt x="493" y="843"/>
                  </a:lnTo>
                  <a:lnTo>
                    <a:pt x="485" y="850"/>
                  </a:lnTo>
                  <a:lnTo>
                    <a:pt x="481" y="855"/>
                  </a:lnTo>
                  <a:lnTo>
                    <a:pt x="478" y="856"/>
                  </a:lnTo>
                  <a:lnTo>
                    <a:pt x="478" y="856"/>
                  </a:lnTo>
                  <a:lnTo>
                    <a:pt x="478" y="855"/>
                  </a:lnTo>
                  <a:lnTo>
                    <a:pt x="478" y="853"/>
                  </a:lnTo>
                  <a:lnTo>
                    <a:pt x="479" y="850"/>
                  </a:lnTo>
                  <a:lnTo>
                    <a:pt x="481" y="849"/>
                  </a:lnTo>
                  <a:lnTo>
                    <a:pt x="481" y="848"/>
                  </a:lnTo>
                  <a:lnTo>
                    <a:pt x="479" y="848"/>
                  </a:lnTo>
                  <a:lnTo>
                    <a:pt x="475" y="846"/>
                  </a:lnTo>
                  <a:lnTo>
                    <a:pt x="474" y="845"/>
                  </a:lnTo>
                  <a:lnTo>
                    <a:pt x="469" y="842"/>
                  </a:lnTo>
                  <a:lnTo>
                    <a:pt x="468" y="840"/>
                  </a:lnTo>
                  <a:lnTo>
                    <a:pt x="466" y="840"/>
                  </a:lnTo>
                  <a:lnTo>
                    <a:pt x="465" y="840"/>
                  </a:lnTo>
                  <a:lnTo>
                    <a:pt x="463" y="840"/>
                  </a:lnTo>
                  <a:lnTo>
                    <a:pt x="446" y="849"/>
                  </a:lnTo>
                  <a:lnTo>
                    <a:pt x="434" y="852"/>
                  </a:lnTo>
                  <a:lnTo>
                    <a:pt x="433" y="852"/>
                  </a:lnTo>
                  <a:lnTo>
                    <a:pt x="431" y="853"/>
                  </a:lnTo>
                  <a:lnTo>
                    <a:pt x="431" y="855"/>
                  </a:lnTo>
                  <a:lnTo>
                    <a:pt x="430" y="856"/>
                  </a:lnTo>
                  <a:lnTo>
                    <a:pt x="430" y="858"/>
                  </a:lnTo>
                  <a:lnTo>
                    <a:pt x="430" y="861"/>
                  </a:lnTo>
                  <a:lnTo>
                    <a:pt x="430" y="868"/>
                  </a:lnTo>
                  <a:lnTo>
                    <a:pt x="428" y="871"/>
                  </a:lnTo>
                  <a:lnTo>
                    <a:pt x="428" y="872"/>
                  </a:lnTo>
                  <a:lnTo>
                    <a:pt x="427" y="874"/>
                  </a:lnTo>
                  <a:lnTo>
                    <a:pt x="427" y="874"/>
                  </a:lnTo>
                  <a:lnTo>
                    <a:pt x="426" y="874"/>
                  </a:lnTo>
                  <a:lnTo>
                    <a:pt x="424" y="874"/>
                  </a:lnTo>
                  <a:lnTo>
                    <a:pt x="423" y="875"/>
                  </a:lnTo>
                  <a:lnTo>
                    <a:pt x="420" y="878"/>
                  </a:lnTo>
                  <a:lnTo>
                    <a:pt x="418" y="880"/>
                  </a:lnTo>
                  <a:lnTo>
                    <a:pt x="421" y="881"/>
                  </a:lnTo>
                  <a:lnTo>
                    <a:pt x="424" y="884"/>
                  </a:lnTo>
                  <a:lnTo>
                    <a:pt x="426" y="884"/>
                  </a:lnTo>
                  <a:lnTo>
                    <a:pt x="427" y="882"/>
                  </a:lnTo>
                  <a:lnTo>
                    <a:pt x="430" y="881"/>
                  </a:lnTo>
                  <a:lnTo>
                    <a:pt x="434" y="882"/>
                  </a:lnTo>
                  <a:lnTo>
                    <a:pt x="436" y="884"/>
                  </a:lnTo>
                  <a:lnTo>
                    <a:pt x="436" y="885"/>
                  </a:lnTo>
                  <a:lnTo>
                    <a:pt x="437" y="897"/>
                  </a:lnTo>
                  <a:lnTo>
                    <a:pt x="442" y="901"/>
                  </a:lnTo>
                  <a:lnTo>
                    <a:pt x="440" y="909"/>
                  </a:lnTo>
                  <a:lnTo>
                    <a:pt x="442" y="909"/>
                  </a:lnTo>
                  <a:lnTo>
                    <a:pt x="442" y="912"/>
                  </a:lnTo>
                  <a:lnTo>
                    <a:pt x="445" y="917"/>
                  </a:lnTo>
                  <a:lnTo>
                    <a:pt x="445" y="917"/>
                  </a:lnTo>
                  <a:lnTo>
                    <a:pt x="445" y="919"/>
                  </a:lnTo>
                  <a:lnTo>
                    <a:pt x="443" y="919"/>
                  </a:lnTo>
                  <a:lnTo>
                    <a:pt x="436" y="916"/>
                  </a:lnTo>
                  <a:lnTo>
                    <a:pt x="436" y="955"/>
                  </a:lnTo>
                  <a:lnTo>
                    <a:pt x="436" y="958"/>
                  </a:lnTo>
                  <a:lnTo>
                    <a:pt x="440" y="971"/>
                  </a:lnTo>
                  <a:lnTo>
                    <a:pt x="443" y="980"/>
                  </a:lnTo>
                  <a:lnTo>
                    <a:pt x="447" y="995"/>
                  </a:lnTo>
                  <a:lnTo>
                    <a:pt x="449" y="996"/>
                  </a:lnTo>
                  <a:lnTo>
                    <a:pt x="450" y="997"/>
                  </a:lnTo>
                  <a:lnTo>
                    <a:pt x="450" y="999"/>
                  </a:lnTo>
                  <a:lnTo>
                    <a:pt x="450" y="999"/>
                  </a:lnTo>
                  <a:lnTo>
                    <a:pt x="452" y="999"/>
                  </a:lnTo>
                  <a:lnTo>
                    <a:pt x="452" y="999"/>
                  </a:lnTo>
                  <a:lnTo>
                    <a:pt x="453" y="999"/>
                  </a:lnTo>
                  <a:lnTo>
                    <a:pt x="453" y="997"/>
                  </a:lnTo>
                  <a:lnTo>
                    <a:pt x="455" y="993"/>
                  </a:lnTo>
                  <a:lnTo>
                    <a:pt x="456" y="993"/>
                  </a:lnTo>
                  <a:lnTo>
                    <a:pt x="458" y="992"/>
                  </a:lnTo>
                  <a:lnTo>
                    <a:pt x="458" y="992"/>
                  </a:lnTo>
                  <a:lnTo>
                    <a:pt x="458" y="993"/>
                  </a:lnTo>
                  <a:lnTo>
                    <a:pt x="459" y="993"/>
                  </a:lnTo>
                  <a:lnTo>
                    <a:pt x="459" y="995"/>
                  </a:lnTo>
                  <a:lnTo>
                    <a:pt x="459" y="996"/>
                  </a:lnTo>
                  <a:lnTo>
                    <a:pt x="458" y="1000"/>
                  </a:lnTo>
                  <a:lnTo>
                    <a:pt x="458" y="1005"/>
                  </a:lnTo>
                  <a:lnTo>
                    <a:pt x="458" y="1008"/>
                  </a:lnTo>
                  <a:lnTo>
                    <a:pt x="461" y="1014"/>
                  </a:lnTo>
                  <a:lnTo>
                    <a:pt x="461" y="1015"/>
                  </a:lnTo>
                  <a:lnTo>
                    <a:pt x="462" y="1018"/>
                  </a:lnTo>
                  <a:lnTo>
                    <a:pt x="465" y="1019"/>
                  </a:lnTo>
                  <a:lnTo>
                    <a:pt x="466" y="1019"/>
                  </a:lnTo>
                  <a:lnTo>
                    <a:pt x="468" y="1019"/>
                  </a:lnTo>
                  <a:lnTo>
                    <a:pt x="469" y="1018"/>
                  </a:lnTo>
                  <a:lnTo>
                    <a:pt x="471" y="1018"/>
                  </a:lnTo>
                  <a:lnTo>
                    <a:pt x="472" y="1018"/>
                  </a:lnTo>
                  <a:lnTo>
                    <a:pt x="472" y="1018"/>
                  </a:lnTo>
                  <a:lnTo>
                    <a:pt x="474" y="1019"/>
                  </a:lnTo>
                  <a:lnTo>
                    <a:pt x="475" y="1021"/>
                  </a:lnTo>
                  <a:lnTo>
                    <a:pt x="475" y="1022"/>
                  </a:lnTo>
                  <a:lnTo>
                    <a:pt x="475" y="1025"/>
                  </a:lnTo>
                  <a:lnTo>
                    <a:pt x="474" y="1028"/>
                  </a:lnTo>
                  <a:lnTo>
                    <a:pt x="469" y="1034"/>
                  </a:lnTo>
                  <a:lnTo>
                    <a:pt x="468" y="1037"/>
                  </a:lnTo>
                  <a:lnTo>
                    <a:pt x="468" y="1038"/>
                  </a:lnTo>
                  <a:lnTo>
                    <a:pt x="469" y="1041"/>
                  </a:lnTo>
                  <a:lnTo>
                    <a:pt x="472" y="1043"/>
                  </a:lnTo>
                  <a:lnTo>
                    <a:pt x="478" y="1044"/>
                  </a:lnTo>
                  <a:lnTo>
                    <a:pt x="478" y="1046"/>
                  </a:lnTo>
                  <a:lnTo>
                    <a:pt x="478" y="1048"/>
                  </a:lnTo>
                  <a:lnTo>
                    <a:pt x="474" y="1057"/>
                  </a:lnTo>
                  <a:lnTo>
                    <a:pt x="472" y="1060"/>
                  </a:lnTo>
                  <a:lnTo>
                    <a:pt x="472" y="1062"/>
                  </a:lnTo>
                  <a:lnTo>
                    <a:pt x="472" y="1064"/>
                  </a:lnTo>
                  <a:lnTo>
                    <a:pt x="474" y="1067"/>
                  </a:lnTo>
                  <a:lnTo>
                    <a:pt x="474" y="1069"/>
                  </a:lnTo>
                  <a:lnTo>
                    <a:pt x="474" y="1070"/>
                  </a:lnTo>
                  <a:lnTo>
                    <a:pt x="472" y="1072"/>
                  </a:lnTo>
                  <a:lnTo>
                    <a:pt x="471" y="1073"/>
                  </a:lnTo>
                  <a:lnTo>
                    <a:pt x="469" y="1075"/>
                  </a:lnTo>
                  <a:lnTo>
                    <a:pt x="468" y="1076"/>
                  </a:lnTo>
                  <a:lnTo>
                    <a:pt x="466" y="1076"/>
                  </a:lnTo>
                  <a:lnTo>
                    <a:pt x="463" y="1076"/>
                  </a:lnTo>
                  <a:lnTo>
                    <a:pt x="462" y="1076"/>
                  </a:lnTo>
                  <a:lnTo>
                    <a:pt x="461" y="1076"/>
                  </a:lnTo>
                  <a:lnTo>
                    <a:pt x="461" y="1079"/>
                  </a:lnTo>
                  <a:lnTo>
                    <a:pt x="462" y="1083"/>
                  </a:lnTo>
                  <a:lnTo>
                    <a:pt x="465" y="1098"/>
                  </a:lnTo>
                  <a:lnTo>
                    <a:pt x="465" y="1101"/>
                  </a:lnTo>
                  <a:lnTo>
                    <a:pt x="465" y="1104"/>
                  </a:lnTo>
                  <a:lnTo>
                    <a:pt x="463" y="1105"/>
                  </a:lnTo>
                  <a:lnTo>
                    <a:pt x="462" y="1107"/>
                  </a:lnTo>
                  <a:lnTo>
                    <a:pt x="461" y="1107"/>
                  </a:lnTo>
                  <a:lnTo>
                    <a:pt x="458" y="1110"/>
                  </a:lnTo>
                  <a:lnTo>
                    <a:pt x="455" y="1113"/>
                  </a:lnTo>
                  <a:lnTo>
                    <a:pt x="453" y="1114"/>
                  </a:lnTo>
                  <a:lnTo>
                    <a:pt x="453" y="1115"/>
                  </a:lnTo>
                  <a:lnTo>
                    <a:pt x="452" y="1117"/>
                  </a:lnTo>
                  <a:lnTo>
                    <a:pt x="452" y="1120"/>
                  </a:lnTo>
                  <a:lnTo>
                    <a:pt x="453" y="1121"/>
                  </a:lnTo>
                  <a:lnTo>
                    <a:pt x="461" y="1127"/>
                  </a:lnTo>
                  <a:lnTo>
                    <a:pt x="465" y="1136"/>
                  </a:lnTo>
                  <a:lnTo>
                    <a:pt x="462" y="1142"/>
                  </a:lnTo>
                  <a:lnTo>
                    <a:pt x="461" y="1142"/>
                  </a:lnTo>
                  <a:lnTo>
                    <a:pt x="459" y="1142"/>
                  </a:lnTo>
                  <a:lnTo>
                    <a:pt x="455" y="1137"/>
                  </a:lnTo>
                  <a:lnTo>
                    <a:pt x="453" y="1137"/>
                  </a:lnTo>
                  <a:lnTo>
                    <a:pt x="452" y="1139"/>
                  </a:lnTo>
                  <a:lnTo>
                    <a:pt x="452" y="1140"/>
                  </a:lnTo>
                  <a:lnTo>
                    <a:pt x="453" y="1143"/>
                  </a:lnTo>
                  <a:lnTo>
                    <a:pt x="459" y="1149"/>
                  </a:lnTo>
                  <a:lnTo>
                    <a:pt x="461" y="1152"/>
                  </a:lnTo>
                  <a:lnTo>
                    <a:pt x="462" y="1155"/>
                  </a:lnTo>
                  <a:lnTo>
                    <a:pt x="463" y="1156"/>
                  </a:lnTo>
                  <a:lnTo>
                    <a:pt x="466" y="1162"/>
                  </a:lnTo>
                  <a:lnTo>
                    <a:pt x="471" y="1168"/>
                  </a:lnTo>
                  <a:lnTo>
                    <a:pt x="471" y="1171"/>
                  </a:lnTo>
                  <a:lnTo>
                    <a:pt x="471" y="1172"/>
                  </a:lnTo>
                  <a:lnTo>
                    <a:pt x="469" y="1172"/>
                  </a:lnTo>
                  <a:lnTo>
                    <a:pt x="469" y="1172"/>
                  </a:lnTo>
                  <a:lnTo>
                    <a:pt x="468" y="1172"/>
                  </a:lnTo>
                  <a:lnTo>
                    <a:pt x="466" y="1172"/>
                  </a:lnTo>
                  <a:lnTo>
                    <a:pt x="466" y="1171"/>
                  </a:lnTo>
                  <a:lnTo>
                    <a:pt x="463" y="1168"/>
                  </a:lnTo>
                  <a:lnTo>
                    <a:pt x="462" y="1166"/>
                  </a:lnTo>
                  <a:lnTo>
                    <a:pt x="462" y="1166"/>
                  </a:lnTo>
                  <a:lnTo>
                    <a:pt x="461" y="1166"/>
                  </a:lnTo>
                  <a:lnTo>
                    <a:pt x="456" y="1166"/>
                  </a:lnTo>
                  <a:lnTo>
                    <a:pt x="453" y="1166"/>
                  </a:lnTo>
                  <a:lnTo>
                    <a:pt x="450" y="1166"/>
                  </a:lnTo>
                  <a:lnTo>
                    <a:pt x="442" y="1174"/>
                  </a:lnTo>
                  <a:lnTo>
                    <a:pt x="440" y="1175"/>
                  </a:lnTo>
                  <a:lnTo>
                    <a:pt x="439" y="1175"/>
                  </a:lnTo>
                  <a:lnTo>
                    <a:pt x="434" y="1175"/>
                  </a:lnTo>
                  <a:lnTo>
                    <a:pt x="433" y="1174"/>
                  </a:lnTo>
                  <a:lnTo>
                    <a:pt x="430" y="1174"/>
                  </a:lnTo>
                  <a:lnTo>
                    <a:pt x="412" y="1174"/>
                  </a:lnTo>
                  <a:lnTo>
                    <a:pt x="411" y="1175"/>
                  </a:lnTo>
                  <a:lnTo>
                    <a:pt x="411" y="1175"/>
                  </a:lnTo>
                  <a:lnTo>
                    <a:pt x="411" y="1175"/>
                  </a:lnTo>
                  <a:lnTo>
                    <a:pt x="411" y="1177"/>
                  </a:lnTo>
                  <a:lnTo>
                    <a:pt x="402" y="1185"/>
                  </a:lnTo>
                  <a:lnTo>
                    <a:pt x="401" y="1187"/>
                  </a:lnTo>
                  <a:lnTo>
                    <a:pt x="401" y="1187"/>
                  </a:lnTo>
                  <a:lnTo>
                    <a:pt x="402" y="1188"/>
                  </a:lnTo>
                  <a:lnTo>
                    <a:pt x="404" y="1190"/>
                  </a:lnTo>
                  <a:lnTo>
                    <a:pt x="405" y="1193"/>
                  </a:lnTo>
                  <a:lnTo>
                    <a:pt x="407" y="1196"/>
                  </a:lnTo>
                  <a:lnTo>
                    <a:pt x="407" y="1197"/>
                  </a:lnTo>
                  <a:lnTo>
                    <a:pt x="408" y="1200"/>
                  </a:lnTo>
                  <a:lnTo>
                    <a:pt x="407" y="1201"/>
                  </a:lnTo>
                  <a:lnTo>
                    <a:pt x="405" y="1204"/>
                  </a:lnTo>
                  <a:lnTo>
                    <a:pt x="399" y="1209"/>
                  </a:lnTo>
                  <a:lnTo>
                    <a:pt x="396" y="1210"/>
                  </a:lnTo>
                  <a:lnTo>
                    <a:pt x="395" y="1209"/>
                  </a:lnTo>
                  <a:lnTo>
                    <a:pt x="395" y="1209"/>
                  </a:lnTo>
                  <a:lnTo>
                    <a:pt x="395" y="1206"/>
                  </a:lnTo>
                  <a:lnTo>
                    <a:pt x="394" y="1204"/>
                  </a:lnTo>
                  <a:lnTo>
                    <a:pt x="392" y="1204"/>
                  </a:lnTo>
                  <a:lnTo>
                    <a:pt x="392" y="1206"/>
                  </a:lnTo>
                  <a:lnTo>
                    <a:pt x="391" y="1207"/>
                  </a:lnTo>
                  <a:lnTo>
                    <a:pt x="389" y="1213"/>
                  </a:lnTo>
                  <a:lnTo>
                    <a:pt x="389" y="1214"/>
                  </a:lnTo>
                  <a:lnTo>
                    <a:pt x="389" y="1216"/>
                  </a:lnTo>
                  <a:lnTo>
                    <a:pt x="385" y="1222"/>
                  </a:lnTo>
                  <a:lnTo>
                    <a:pt x="379" y="1229"/>
                  </a:lnTo>
                  <a:lnTo>
                    <a:pt x="375" y="1230"/>
                  </a:lnTo>
                  <a:lnTo>
                    <a:pt x="373" y="1232"/>
                  </a:lnTo>
                  <a:lnTo>
                    <a:pt x="370" y="1230"/>
                  </a:lnTo>
                  <a:lnTo>
                    <a:pt x="367" y="1230"/>
                  </a:lnTo>
                  <a:lnTo>
                    <a:pt x="363" y="1229"/>
                  </a:lnTo>
                  <a:lnTo>
                    <a:pt x="361" y="1228"/>
                  </a:lnTo>
                  <a:lnTo>
                    <a:pt x="361" y="1228"/>
                  </a:lnTo>
                  <a:lnTo>
                    <a:pt x="361" y="1226"/>
                  </a:lnTo>
                  <a:lnTo>
                    <a:pt x="360" y="1225"/>
                  </a:lnTo>
                  <a:lnTo>
                    <a:pt x="361" y="1220"/>
                  </a:lnTo>
                  <a:lnTo>
                    <a:pt x="361" y="1217"/>
                  </a:lnTo>
                  <a:lnTo>
                    <a:pt x="361" y="1217"/>
                  </a:lnTo>
                  <a:lnTo>
                    <a:pt x="363" y="1216"/>
                  </a:lnTo>
                  <a:lnTo>
                    <a:pt x="363" y="1216"/>
                  </a:lnTo>
                  <a:lnTo>
                    <a:pt x="367" y="1214"/>
                  </a:lnTo>
                  <a:lnTo>
                    <a:pt x="367" y="1213"/>
                  </a:lnTo>
                  <a:lnTo>
                    <a:pt x="369" y="1212"/>
                  </a:lnTo>
                  <a:lnTo>
                    <a:pt x="369" y="1210"/>
                  </a:lnTo>
                  <a:lnTo>
                    <a:pt x="369" y="1209"/>
                  </a:lnTo>
                  <a:lnTo>
                    <a:pt x="367" y="1201"/>
                  </a:lnTo>
                  <a:lnTo>
                    <a:pt x="367" y="1198"/>
                  </a:lnTo>
                  <a:lnTo>
                    <a:pt x="367" y="1197"/>
                  </a:lnTo>
                  <a:lnTo>
                    <a:pt x="367" y="1194"/>
                  </a:lnTo>
                  <a:lnTo>
                    <a:pt x="367" y="1193"/>
                  </a:lnTo>
                  <a:lnTo>
                    <a:pt x="369" y="1191"/>
                  </a:lnTo>
                  <a:lnTo>
                    <a:pt x="375" y="1185"/>
                  </a:lnTo>
                  <a:lnTo>
                    <a:pt x="375" y="1184"/>
                  </a:lnTo>
                  <a:lnTo>
                    <a:pt x="376" y="1184"/>
                  </a:lnTo>
                  <a:lnTo>
                    <a:pt x="379" y="1187"/>
                  </a:lnTo>
                  <a:lnTo>
                    <a:pt x="379" y="1188"/>
                  </a:lnTo>
                  <a:lnTo>
                    <a:pt x="382" y="1190"/>
                  </a:lnTo>
                  <a:lnTo>
                    <a:pt x="383" y="1190"/>
                  </a:lnTo>
                  <a:lnTo>
                    <a:pt x="383" y="1190"/>
                  </a:lnTo>
                  <a:lnTo>
                    <a:pt x="386" y="1185"/>
                  </a:lnTo>
                  <a:lnTo>
                    <a:pt x="388" y="1184"/>
                  </a:lnTo>
                  <a:lnTo>
                    <a:pt x="389" y="1181"/>
                  </a:lnTo>
                  <a:lnTo>
                    <a:pt x="389" y="1179"/>
                  </a:lnTo>
                  <a:lnTo>
                    <a:pt x="389" y="1178"/>
                  </a:lnTo>
                  <a:lnTo>
                    <a:pt x="389" y="1177"/>
                  </a:lnTo>
                  <a:lnTo>
                    <a:pt x="389" y="1177"/>
                  </a:lnTo>
                  <a:lnTo>
                    <a:pt x="389" y="1175"/>
                  </a:lnTo>
                  <a:lnTo>
                    <a:pt x="389" y="1174"/>
                  </a:lnTo>
                  <a:lnTo>
                    <a:pt x="372" y="1175"/>
                  </a:lnTo>
                  <a:lnTo>
                    <a:pt x="367" y="1175"/>
                  </a:lnTo>
                  <a:lnTo>
                    <a:pt x="366" y="1174"/>
                  </a:lnTo>
                  <a:lnTo>
                    <a:pt x="364" y="1172"/>
                  </a:lnTo>
                  <a:lnTo>
                    <a:pt x="364" y="1172"/>
                  </a:lnTo>
                  <a:lnTo>
                    <a:pt x="363" y="1166"/>
                  </a:lnTo>
                  <a:lnTo>
                    <a:pt x="361" y="1165"/>
                  </a:lnTo>
                  <a:lnTo>
                    <a:pt x="360" y="1163"/>
                  </a:lnTo>
                  <a:lnTo>
                    <a:pt x="359" y="1163"/>
                  </a:lnTo>
                  <a:lnTo>
                    <a:pt x="351" y="1165"/>
                  </a:lnTo>
                  <a:lnTo>
                    <a:pt x="345" y="1163"/>
                  </a:lnTo>
                  <a:lnTo>
                    <a:pt x="338" y="1161"/>
                  </a:lnTo>
                  <a:lnTo>
                    <a:pt x="328" y="1153"/>
                  </a:lnTo>
                  <a:lnTo>
                    <a:pt x="327" y="1152"/>
                  </a:lnTo>
                  <a:lnTo>
                    <a:pt x="325" y="1150"/>
                  </a:lnTo>
                  <a:lnTo>
                    <a:pt x="325" y="1149"/>
                  </a:lnTo>
                  <a:lnTo>
                    <a:pt x="324" y="1147"/>
                  </a:lnTo>
                  <a:lnTo>
                    <a:pt x="319" y="1137"/>
                  </a:lnTo>
                  <a:lnTo>
                    <a:pt x="318" y="1131"/>
                  </a:lnTo>
                  <a:lnTo>
                    <a:pt x="318" y="1130"/>
                  </a:lnTo>
                  <a:lnTo>
                    <a:pt x="318" y="1130"/>
                  </a:lnTo>
                  <a:lnTo>
                    <a:pt x="319" y="1129"/>
                  </a:lnTo>
                  <a:lnTo>
                    <a:pt x="319" y="1127"/>
                  </a:lnTo>
                  <a:lnTo>
                    <a:pt x="319" y="1126"/>
                  </a:lnTo>
                  <a:lnTo>
                    <a:pt x="319" y="1124"/>
                  </a:lnTo>
                  <a:lnTo>
                    <a:pt x="319" y="1121"/>
                  </a:lnTo>
                  <a:lnTo>
                    <a:pt x="316" y="1117"/>
                  </a:lnTo>
                  <a:lnTo>
                    <a:pt x="315" y="1115"/>
                  </a:lnTo>
                  <a:lnTo>
                    <a:pt x="315" y="1111"/>
                  </a:lnTo>
                  <a:lnTo>
                    <a:pt x="313" y="1111"/>
                  </a:lnTo>
                  <a:lnTo>
                    <a:pt x="312" y="1111"/>
                  </a:lnTo>
                  <a:lnTo>
                    <a:pt x="289" y="1117"/>
                  </a:lnTo>
                  <a:lnTo>
                    <a:pt x="287" y="1117"/>
                  </a:lnTo>
                  <a:lnTo>
                    <a:pt x="287" y="1118"/>
                  </a:lnTo>
                  <a:lnTo>
                    <a:pt x="287" y="1120"/>
                  </a:lnTo>
                  <a:lnTo>
                    <a:pt x="289" y="1130"/>
                  </a:lnTo>
                  <a:lnTo>
                    <a:pt x="289" y="1131"/>
                  </a:lnTo>
                  <a:lnTo>
                    <a:pt x="293" y="1145"/>
                  </a:lnTo>
                  <a:lnTo>
                    <a:pt x="293" y="1147"/>
                  </a:lnTo>
                  <a:lnTo>
                    <a:pt x="293" y="1150"/>
                  </a:lnTo>
                  <a:lnTo>
                    <a:pt x="293" y="1152"/>
                  </a:lnTo>
                  <a:lnTo>
                    <a:pt x="293" y="1152"/>
                  </a:lnTo>
                  <a:lnTo>
                    <a:pt x="293" y="1153"/>
                  </a:lnTo>
                  <a:lnTo>
                    <a:pt x="292" y="1155"/>
                  </a:lnTo>
                  <a:lnTo>
                    <a:pt x="290" y="1155"/>
                  </a:lnTo>
                  <a:lnTo>
                    <a:pt x="286" y="1156"/>
                  </a:lnTo>
                  <a:lnTo>
                    <a:pt x="286" y="1158"/>
                  </a:lnTo>
                  <a:lnTo>
                    <a:pt x="284" y="1158"/>
                  </a:lnTo>
                  <a:lnTo>
                    <a:pt x="283" y="1159"/>
                  </a:lnTo>
                  <a:lnTo>
                    <a:pt x="276" y="1162"/>
                  </a:lnTo>
                  <a:lnTo>
                    <a:pt x="252" y="1137"/>
                  </a:lnTo>
                  <a:lnTo>
                    <a:pt x="243" y="1130"/>
                  </a:lnTo>
                  <a:lnTo>
                    <a:pt x="239" y="1129"/>
                  </a:lnTo>
                  <a:lnTo>
                    <a:pt x="238" y="1129"/>
                  </a:lnTo>
                  <a:lnTo>
                    <a:pt x="235" y="1129"/>
                  </a:lnTo>
                  <a:lnTo>
                    <a:pt x="225" y="1134"/>
                  </a:lnTo>
                  <a:lnTo>
                    <a:pt x="219" y="1117"/>
                  </a:lnTo>
                  <a:lnTo>
                    <a:pt x="210" y="1101"/>
                  </a:lnTo>
                  <a:lnTo>
                    <a:pt x="204" y="1088"/>
                  </a:lnTo>
                  <a:lnTo>
                    <a:pt x="206" y="1075"/>
                  </a:lnTo>
                  <a:lnTo>
                    <a:pt x="211" y="1064"/>
                  </a:lnTo>
                  <a:lnTo>
                    <a:pt x="220" y="1057"/>
                  </a:lnTo>
                  <a:lnTo>
                    <a:pt x="232" y="1056"/>
                  </a:lnTo>
                  <a:lnTo>
                    <a:pt x="239" y="1046"/>
                  </a:lnTo>
                  <a:lnTo>
                    <a:pt x="243" y="1038"/>
                  </a:lnTo>
                  <a:lnTo>
                    <a:pt x="245" y="1034"/>
                  </a:lnTo>
                  <a:lnTo>
                    <a:pt x="239" y="1031"/>
                  </a:lnTo>
                  <a:lnTo>
                    <a:pt x="233" y="1032"/>
                  </a:lnTo>
                  <a:lnTo>
                    <a:pt x="226" y="1034"/>
                  </a:lnTo>
                  <a:lnTo>
                    <a:pt x="223" y="1028"/>
                  </a:lnTo>
                  <a:lnTo>
                    <a:pt x="223" y="1024"/>
                  </a:lnTo>
                  <a:lnTo>
                    <a:pt x="222" y="1019"/>
                  </a:lnTo>
                  <a:lnTo>
                    <a:pt x="214" y="1008"/>
                  </a:lnTo>
                  <a:lnTo>
                    <a:pt x="213" y="1003"/>
                  </a:lnTo>
                  <a:lnTo>
                    <a:pt x="213" y="999"/>
                  </a:lnTo>
                  <a:lnTo>
                    <a:pt x="211" y="993"/>
                  </a:lnTo>
                  <a:lnTo>
                    <a:pt x="209" y="986"/>
                  </a:lnTo>
                  <a:lnTo>
                    <a:pt x="200" y="974"/>
                  </a:lnTo>
                  <a:lnTo>
                    <a:pt x="197" y="967"/>
                  </a:lnTo>
                  <a:lnTo>
                    <a:pt x="203" y="948"/>
                  </a:lnTo>
                  <a:lnTo>
                    <a:pt x="195" y="931"/>
                  </a:lnTo>
                  <a:lnTo>
                    <a:pt x="159" y="888"/>
                  </a:lnTo>
                  <a:lnTo>
                    <a:pt x="153" y="884"/>
                  </a:lnTo>
                  <a:lnTo>
                    <a:pt x="149" y="884"/>
                  </a:lnTo>
                  <a:lnTo>
                    <a:pt x="140" y="884"/>
                  </a:lnTo>
                  <a:lnTo>
                    <a:pt x="96" y="898"/>
                  </a:lnTo>
                  <a:lnTo>
                    <a:pt x="82" y="909"/>
                  </a:lnTo>
                  <a:lnTo>
                    <a:pt x="66" y="917"/>
                  </a:lnTo>
                  <a:lnTo>
                    <a:pt x="51" y="922"/>
                  </a:lnTo>
                  <a:lnTo>
                    <a:pt x="37" y="923"/>
                  </a:lnTo>
                  <a:lnTo>
                    <a:pt x="31" y="913"/>
                  </a:lnTo>
                  <a:lnTo>
                    <a:pt x="29" y="907"/>
                  </a:lnTo>
                  <a:lnTo>
                    <a:pt x="26" y="903"/>
                  </a:lnTo>
                  <a:lnTo>
                    <a:pt x="5" y="882"/>
                  </a:lnTo>
                  <a:lnTo>
                    <a:pt x="0" y="881"/>
                  </a:lnTo>
                  <a:lnTo>
                    <a:pt x="0" y="880"/>
                  </a:lnTo>
                  <a:lnTo>
                    <a:pt x="13" y="869"/>
                  </a:lnTo>
                  <a:lnTo>
                    <a:pt x="19" y="865"/>
                  </a:lnTo>
                  <a:lnTo>
                    <a:pt x="23" y="862"/>
                  </a:lnTo>
                  <a:lnTo>
                    <a:pt x="25" y="861"/>
                  </a:lnTo>
                  <a:lnTo>
                    <a:pt x="25" y="856"/>
                  </a:lnTo>
                  <a:lnTo>
                    <a:pt x="25" y="853"/>
                  </a:lnTo>
                  <a:lnTo>
                    <a:pt x="26" y="850"/>
                  </a:lnTo>
                  <a:lnTo>
                    <a:pt x="28" y="846"/>
                  </a:lnTo>
                  <a:lnTo>
                    <a:pt x="31" y="845"/>
                  </a:lnTo>
                  <a:lnTo>
                    <a:pt x="32" y="843"/>
                  </a:lnTo>
                  <a:lnTo>
                    <a:pt x="34" y="845"/>
                  </a:lnTo>
                  <a:lnTo>
                    <a:pt x="35" y="845"/>
                  </a:lnTo>
                  <a:lnTo>
                    <a:pt x="37" y="845"/>
                  </a:lnTo>
                  <a:lnTo>
                    <a:pt x="40" y="843"/>
                  </a:lnTo>
                  <a:lnTo>
                    <a:pt x="42" y="843"/>
                  </a:lnTo>
                  <a:lnTo>
                    <a:pt x="42" y="843"/>
                  </a:lnTo>
                  <a:lnTo>
                    <a:pt x="44" y="845"/>
                  </a:lnTo>
                  <a:lnTo>
                    <a:pt x="47" y="846"/>
                  </a:lnTo>
                  <a:lnTo>
                    <a:pt x="47" y="848"/>
                  </a:lnTo>
                  <a:lnTo>
                    <a:pt x="48" y="849"/>
                  </a:lnTo>
                  <a:lnTo>
                    <a:pt x="51" y="850"/>
                  </a:lnTo>
                  <a:lnTo>
                    <a:pt x="51" y="849"/>
                  </a:lnTo>
                  <a:lnTo>
                    <a:pt x="53" y="848"/>
                  </a:lnTo>
                  <a:lnTo>
                    <a:pt x="53" y="846"/>
                  </a:lnTo>
                  <a:lnTo>
                    <a:pt x="53" y="845"/>
                  </a:lnTo>
                  <a:lnTo>
                    <a:pt x="53" y="842"/>
                  </a:lnTo>
                  <a:lnTo>
                    <a:pt x="54" y="837"/>
                  </a:lnTo>
                  <a:lnTo>
                    <a:pt x="56" y="836"/>
                  </a:lnTo>
                  <a:lnTo>
                    <a:pt x="56" y="834"/>
                  </a:lnTo>
                  <a:lnTo>
                    <a:pt x="54" y="833"/>
                  </a:lnTo>
                  <a:lnTo>
                    <a:pt x="53" y="833"/>
                  </a:lnTo>
                  <a:lnTo>
                    <a:pt x="47" y="829"/>
                  </a:lnTo>
                  <a:lnTo>
                    <a:pt x="45" y="829"/>
                  </a:lnTo>
                  <a:lnTo>
                    <a:pt x="44" y="826"/>
                  </a:lnTo>
                  <a:lnTo>
                    <a:pt x="42" y="824"/>
                  </a:lnTo>
                  <a:lnTo>
                    <a:pt x="42" y="821"/>
                  </a:lnTo>
                  <a:lnTo>
                    <a:pt x="44" y="815"/>
                  </a:lnTo>
                  <a:lnTo>
                    <a:pt x="48" y="807"/>
                  </a:lnTo>
                  <a:lnTo>
                    <a:pt x="50" y="802"/>
                  </a:lnTo>
                  <a:lnTo>
                    <a:pt x="53" y="799"/>
                  </a:lnTo>
                  <a:lnTo>
                    <a:pt x="58" y="798"/>
                  </a:lnTo>
                  <a:lnTo>
                    <a:pt x="63" y="794"/>
                  </a:lnTo>
                  <a:lnTo>
                    <a:pt x="72" y="789"/>
                  </a:lnTo>
                  <a:lnTo>
                    <a:pt x="74" y="786"/>
                  </a:lnTo>
                  <a:lnTo>
                    <a:pt x="76" y="785"/>
                  </a:lnTo>
                  <a:lnTo>
                    <a:pt x="77" y="785"/>
                  </a:lnTo>
                  <a:lnTo>
                    <a:pt x="77" y="785"/>
                  </a:lnTo>
                  <a:lnTo>
                    <a:pt x="79" y="786"/>
                  </a:lnTo>
                  <a:lnTo>
                    <a:pt x="80" y="788"/>
                  </a:lnTo>
                  <a:lnTo>
                    <a:pt x="82" y="789"/>
                  </a:lnTo>
                  <a:lnTo>
                    <a:pt x="83" y="791"/>
                  </a:lnTo>
                  <a:lnTo>
                    <a:pt x="85" y="791"/>
                  </a:lnTo>
                  <a:lnTo>
                    <a:pt x="88" y="792"/>
                  </a:lnTo>
                  <a:lnTo>
                    <a:pt x="89" y="791"/>
                  </a:lnTo>
                  <a:lnTo>
                    <a:pt x="89" y="788"/>
                  </a:lnTo>
                  <a:lnTo>
                    <a:pt x="93" y="782"/>
                  </a:lnTo>
                  <a:lnTo>
                    <a:pt x="95" y="781"/>
                  </a:lnTo>
                  <a:lnTo>
                    <a:pt x="93" y="779"/>
                  </a:lnTo>
                  <a:lnTo>
                    <a:pt x="91" y="775"/>
                  </a:lnTo>
                  <a:lnTo>
                    <a:pt x="91" y="775"/>
                  </a:lnTo>
                  <a:lnTo>
                    <a:pt x="91" y="772"/>
                  </a:lnTo>
                  <a:lnTo>
                    <a:pt x="92" y="769"/>
                  </a:lnTo>
                  <a:lnTo>
                    <a:pt x="93" y="766"/>
                  </a:lnTo>
                  <a:lnTo>
                    <a:pt x="95" y="766"/>
                  </a:lnTo>
                  <a:lnTo>
                    <a:pt x="112" y="766"/>
                  </a:lnTo>
                  <a:lnTo>
                    <a:pt x="118" y="765"/>
                  </a:lnTo>
                  <a:lnTo>
                    <a:pt x="120" y="765"/>
                  </a:lnTo>
                  <a:lnTo>
                    <a:pt x="121" y="763"/>
                  </a:lnTo>
                  <a:lnTo>
                    <a:pt x="121" y="762"/>
                  </a:lnTo>
                  <a:lnTo>
                    <a:pt x="121" y="760"/>
                  </a:lnTo>
                  <a:lnTo>
                    <a:pt x="121" y="759"/>
                  </a:lnTo>
                  <a:lnTo>
                    <a:pt x="121" y="757"/>
                  </a:lnTo>
                  <a:lnTo>
                    <a:pt x="120" y="754"/>
                  </a:lnTo>
                  <a:lnTo>
                    <a:pt x="117" y="740"/>
                  </a:lnTo>
                  <a:lnTo>
                    <a:pt x="114" y="735"/>
                  </a:lnTo>
                  <a:lnTo>
                    <a:pt x="114" y="735"/>
                  </a:lnTo>
                  <a:lnTo>
                    <a:pt x="109" y="733"/>
                  </a:lnTo>
                  <a:lnTo>
                    <a:pt x="107" y="730"/>
                  </a:lnTo>
                  <a:lnTo>
                    <a:pt x="105" y="725"/>
                  </a:lnTo>
                  <a:lnTo>
                    <a:pt x="98" y="711"/>
                  </a:lnTo>
                  <a:lnTo>
                    <a:pt x="96" y="708"/>
                  </a:lnTo>
                  <a:lnTo>
                    <a:pt x="91" y="705"/>
                  </a:lnTo>
                  <a:lnTo>
                    <a:pt x="89" y="703"/>
                  </a:lnTo>
                  <a:lnTo>
                    <a:pt x="89" y="702"/>
                  </a:lnTo>
                  <a:lnTo>
                    <a:pt x="89" y="699"/>
                  </a:lnTo>
                  <a:lnTo>
                    <a:pt x="88" y="698"/>
                  </a:lnTo>
                  <a:lnTo>
                    <a:pt x="86" y="698"/>
                  </a:lnTo>
                  <a:lnTo>
                    <a:pt x="72" y="695"/>
                  </a:lnTo>
                  <a:lnTo>
                    <a:pt x="70" y="693"/>
                  </a:lnTo>
                  <a:lnTo>
                    <a:pt x="70" y="692"/>
                  </a:lnTo>
                  <a:lnTo>
                    <a:pt x="70" y="689"/>
                  </a:lnTo>
                  <a:lnTo>
                    <a:pt x="74" y="686"/>
                  </a:lnTo>
                  <a:lnTo>
                    <a:pt x="76" y="680"/>
                  </a:lnTo>
                  <a:lnTo>
                    <a:pt x="77" y="674"/>
                  </a:lnTo>
                  <a:lnTo>
                    <a:pt x="79" y="670"/>
                  </a:lnTo>
                  <a:lnTo>
                    <a:pt x="85" y="664"/>
                  </a:lnTo>
                  <a:lnTo>
                    <a:pt x="85" y="663"/>
                  </a:lnTo>
                  <a:lnTo>
                    <a:pt x="86" y="663"/>
                  </a:lnTo>
                  <a:lnTo>
                    <a:pt x="85" y="661"/>
                  </a:lnTo>
                  <a:lnTo>
                    <a:pt x="82" y="660"/>
                  </a:lnTo>
                  <a:lnTo>
                    <a:pt x="80" y="658"/>
                  </a:lnTo>
                  <a:lnTo>
                    <a:pt x="80" y="658"/>
                  </a:lnTo>
                  <a:lnTo>
                    <a:pt x="79" y="657"/>
                  </a:lnTo>
                  <a:lnTo>
                    <a:pt x="79" y="655"/>
                  </a:lnTo>
                  <a:lnTo>
                    <a:pt x="79" y="652"/>
                  </a:lnTo>
                  <a:lnTo>
                    <a:pt x="79" y="651"/>
                  </a:lnTo>
                  <a:lnTo>
                    <a:pt x="79" y="651"/>
                  </a:lnTo>
                  <a:lnTo>
                    <a:pt x="79" y="632"/>
                  </a:lnTo>
                  <a:lnTo>
                    <a:pt x="80" y="628"/>
                  </a:lnTo>
                  <a:lnTo>
                    <a:pt x="80" y="626"/>
                  </a:lnTo>
                  <a:lnTo>
                    <a:pt x="82" y="625"/>
                  </a:lnTo>
                  <a:lnTo>
                    <a:pt x="85" y="623"/>
                  </a:lnTo>
                  <a:lnTo>
                    <a:pt x="86" y="622"/>
                  </a:lnTo>
                  <a:lnTo>
                    <a:pt x="91" y="617"/>
                  </a:lnTo>
                  <a:lnTo>
                    <a:pt x="92" y="615"/>
                  </a:lnTo>
                  <a:lnTo>
                    <a:pt x="93" y="613"/>
                  </a:lnTo>
                  <a:lnTo>
                    <a:pt x="98" y="612"/>
                  </a:lnTo>
                  <a:lnTo>
                    <a:pt x="101" y="612"/>
                  </a:lnTo>
                  <a:lnTo>
                    <a:pt x="102" y="612"/>
                  </a:lnTo>
                  <a:lnTo>
                    <a:pt x="104" y="613"/>
                  </a:lnTo>
                  <a:lnTo>
                    <a:pt x="109" y="620"/>
                  </a:lnTo>
                  <a:lnTo>
                    <a:pt x="111" y="622"/>
                  </a:lnTo>
                  <a:lnTo>
                    <a:pt x="111" y="622"/>
                  </a:lnTo>
                  <a:lnTo>
                    <a:pt x="115" y="623"/>
                  </a:lnTo>
                  <a:lnTo>
                    <a:pt x="117" y="623"/>
                  </a:lnTo>
                  <a:lnTo>
                    <a:pt x="117" y="622"/>
                  </a:lnTo>
                  <a:lnTo>
                    <a:pt x="118" y="622"/>
                  </a:lnTo>
                  <a:lnTo>
                    <a:pt x="124" y="617"/>
                  </a:lnTo>
                  <a:lnTo>
                    <a:pt x="125" y="616"/>
                  </a:lnTo>
                  <a:lnTo>
                    <a:pt x="127" y="615"/>
                  </a:lnTo>
                  <a:lnTo>
                    <a:pt x="127" y="613"/>
                  </a:lnTo>
                  <a:lnTo>
                    <a:pt x="133" y="600"/>
                  </a:lnTo>
                  <a:lnTo>
                    <a:pt x="136" y="591"/>
                  </a:lnTo>
                  <a:lnTo>
                    <a:pt x="134" y="590"/>
                  </a:lnTo>
                  <a:lnTo>
                    <a:pt x="134" y="588"/>
                  </a:lnTo>
                  <a:lnTo>
                    <a:pt x="131" y="587"/>
                  </a:lnTo>
                  <a:lnTo>
                    <a:pt x="130" y="584"/>
                  </a:lnTo>
                  <a:lnTo>
                    <a:pt x="128" y="581"/>
                  </a:lnTo>
                  <a:lnTo>
                    <a:pt x="128" y="574"/>
                  </a:lnTo>
                  <a:lnTo>
                    <a:pt x="125" y="568"/>
                  </a:lnTo>
                  <a:lnTo>
                    <a:pt x="121" y="558"/>
                  </a:lnTo>
                  <a:lnTo>
                    <a:pt x="121" y="556"/>
                  </a:lnTo>
                  <a:lnTo>
                    <a:pt x="121" y="553"/>
                  </a:lnTo>
                  <a:lnTo>
                    <a:pt x="121" y="552"/>
                  </a:lnTo>
                  <a:lnTo>
                    <a:pt x="123" y="549"/>
                  </a:lnTo>
                  <a:lnTo>
                    <a:pt x="124" y="546"/>
                  </a:lnTo>
                  <a:lnTo>
                    <a:pt x="125" y="537"/>
                  </a:lnTo>
                  <a:lnTo>
                    <a:pt x="128" y="530"/>
                  </a:lnTo>
                  <a:lnTo>
                    <a:pt x="130" y="529"/>
                  </a:lnTo>
                  <a:lnTo>
                    <a:pt x="131" y="527"/>
                  </a:lnTo>
                  <a:lnTo>
                    <a:pt x="136" y="526"/>
                  </a:lnTo>
                  <a:lnTo>
                    <a:pt x="136" y="526"/>
                  </a:lnTo>
                  <a:lnTo>
                    <a:pt x="137" y="524"/>
                  </a:lnTo>
                  <a:lnTo>
                    <a:pt x="139" y="520"/>
                  </a:lnTo>
                  <a:lnTo>
                    <a:pt x="140" y="505"/>
                  </a:lnTo>
                  <a:lnTo>
                    <a:pt x="140" y="504"/>
                  </a:lnTo>
                  <a:lnTo>
                    <a:pt x="140" y="504"/>
                  </a:lnTo>
                  <a:lnTo>
                    <a:pt x="139" y="502"/>
                  </a:lnTo>
                  <a:lnTo>
                    <a:pt x="139" y="501"/>
                  </a:lnTo>
                  <a:lnTo>
                    <a:pt x="137" y="500"/>
                  </a:lnTo>
                  <a:lnTo>
                    <a:pt x="130" y="494"/>
                  </a:lnTo>
                  <a:lnTo>
                    <a:pt x="128" y="494"/>
                  </a:lnTo>
                  <a:lnTo>
                    <a:pt x="128" y="492"/>
                  </a:lnTo>
                  <a:lnTo>
                    <a:pt x="128" y="492"/>
                  </a:lnTo>
                  <a:lnTo>
                    <a:pt x="128" y="491"/>
                  </a:lnTo>
                  <a:lnTo>
                    <a:pt x="128" y="489"/>
                  </a:lnTo>
                  <a:lnTo>
                    <a:pt x="128" y="489"/>
                  </a:lnTo>
                  <a:lnTo>
                    <a:pt x="127" y="488"/>
                  </a:lnTo>
                  <a:lnTo>
                    <a:pt x="127" y="488"/>
                  </a:lnTo>
                  <a:lnTo>
                    <a:pt x="125" y="488"/>
                  </a:lnTo>
                  <a:lnTo>
                    <a:pt x="125" y="486"/>
                  </a:lnTo>
                  <a:lnTo>
                    <a:pt x="125" y="486"/>
                  </a:lnTo>
                  <a:lnTo>
                    <a:pt x="125" y="485"/>
                  </a:lnTo>
                  <a:lnTo>
                    <a:pt x="125" y="485"/>
                  </a:lnTo>
                  <a:lnTo>
                    <a:pt x="125" y="484"/>
                  </a:lnTo>
                  <a:lnTo>
                    <a:pt x="127" y="482"/>
                  </a:lnTo>
                  <a:lnTo>
                    <a:pt x="144" y="468"/>
                  </a:lnTo>
                  <a:lnTo>
                    <a:pt x="146" y="460"/>
                  </a:lnTo>
                  <a:lnTo>
                    <a:pt x="147" y="459"/>
                  </a:lnTo>
                  <a:lnTo>
                    <a:pt x="147" y="459"/>
                  </a:lnTo>
                  <a:lnTo>
                    <a:pt x="155" y="454"/>
                  </a:lnTo>
                  <a:lnTo>
                    <a:pt x="155" y="453"/>
                  </a:lnTo>
                  <a:lnTo>
                    <a:pt x="156" y="450"/>
                  </a:lnTo>
                  <a:lnTo>
                    <a:pt x="158" y="450"/>
                  </a:lnTo>
                  <a:lnTo>
                    <a:pt x="172" y="435"/>
                  </a:lnTo>
                  <a:lnTo>
                    <a:pt x="176" y="431"/>
                  </a:lnTo>
                  <a:lnTo>
                    <a:pt x="178" y="430"/>
                  </a:lnTo>
                  <a:lnTo>
                    <a:pt x="179" y="430"/>
                  </a:lnTo>
                  <a:lnTo>
                    <a:pt x="184" y="430"/>
                  </a:lnTo>
                  <a:lnTo>
                    <a:pt x="184" y="430"/>
                  </a:lnTo>
                  <a:lnTo>
                    <a:pt x="185" y="431"/>
                  </a:lnTo>
                  <a:lnTo>
                    <a:pt x="188" y="438"/>
                  </a:lnTo>
                  <a:lnTo>
                    <a:pt x="191" y="440"/>
                  </a:lnTo>
                  <a:lnTo>
                    <a:pt x="195" y="441"/>
                  </a:lnTo>
                  <a:lnTo>
                    <a:pt x="201" y="440"/>
                  </a:lnTo>
                  <a:lnTo>
                    <a:pt x="206" y="440"/>
                  </a:lnTo>
                  <a:lnTo>
                    <a:pt x="207" y="438"/>
                  </a:lnTo>
                  <a:lnTo>
                    <a:pt x="209" y="438"/>
                  </a:lnTo>
                  <a:lnTo>
                    <a:pt x="216" y="433"/>
                  </a:lnTo>
                  <a:lnTo>
                    <a:pt x="217" y="431"/>
                  </a:lnTo>
                  <a:lnTo>
                    <a:pt x="217" y="430"/>
                  </a:lnTo>
                  <a:lnTo>
                    <a:pt x="217" y="427"/>
                  </a:lnTo>
                  <a:lnTo>
                    <a:pt x="217" y="425"/>
                  </a:lnTo>
                  <a:lnTo>
                    <a:pt x="219" y="422"/>
                  </a:lnTo>
                  <a:lnTo>
                    <a:pt x="227" y="414"/>
                  </a:lnTo>
                  <a:lnTo>
                    <a:pt x="233" y="409"/>
                  </a:lnTo>
                  <a:lnTo>
                    <a:pt x="235" y="409"/>
                  </a:lnTo>
                  <a:lnTo>
                    <a:pt x="239" y="411"/>
                  </a:lnTo>
                  <a:lnTo>
                    <a:pt x="241" y="411"/>
                  </a:lnTo>
                  <a:lnTo>
                    <a:pt x="241" y="409"/>
                  </a:lnTo>
                  <a:lnTo>
                    <a:pt x="242" y="408"/>
                  </a:lnTo>
                  <a:lnTo>
                    <a:pt x="242" y="399"/>
                  </a:lnTo>
                  <a:lnTo>
                    <a:pt x="242" y="396"/>
                  </a:lnTo>
                  <a:lnTo>
                    <a:pt x="242" y="395"/>
                  </a:lnTo>
                  <a:lnTo>
                    <a:pt x="245" y="389"/>
                  </a:lnTo>
                  <a:lnTo>
                    <a:pt x="249" y="379"/>
                  </a:lnTo>
                  <a:lnTo>
                    <a:pt x="252" y="376"/>
                  </a:lnTo>
                  <a:lnTo>
                    <a:pt x="255" y="376"/>
                  </a:lnTo>
                  <a:lnTo>
                    <a:pt x="255" y="374"/>
                  </a:lnTo>
                  <a:lnTo>
                    <a:pt x="257" y="374"/>
                  </a:lnTo>
                  <a:lnTo>
                    <a:pt x="257" y="374"/>
                  </a:lnTo>
                  <a:lnTo>
                    <a:pt x="257" y="373"/>
                  </a:lnTo>
                  <a:lnTo>
                    <a:pt x="258" y="370"/>
                  </a:lnTo>
                  <a:lnTo>
                    <a:pt x="260" y="367"/>
                  </a:lnTo>
                  <a:lnTo>
                    <a:pt x="261" y="364"/>
                  </a:lnTo>
                  <a:lnTo>
                    <a:pt x="262" y="361"/>
                  </a:lnTo>
                  <a:lnTo>
                    <a:pt x="262" y="361"/>
                  </a:lnTo>
                  <a:lnTo>
                    <a:pt x="267" y="357"/>
                  </a:lnTo>
                  <a:lnTo>
                    <a:pt x="268" y="352"/>
                  </a:lnTo>
                  <a:lnTo>
                    <a:pt x="268" y="350"/>
                  </a:lnTo>
                  <a:lnTo>
                    <a:pt x="268" y="347"/>
                  </a:lnTo>
                  <a:lnTo>
                    <a:pt x="265" y="339"/>
                  </a:lnTo>
                  <a:lnTo>
                    <a:pt x="265" y="336"/>
                  </a:lnTo>
                  <a:lnTo>
                    <a:pt x="265" y="332"/>
                  </a:lnTo>
                  <a:lnTo>
                    <a:pt x="267" y="331"/>
                  </a:lnTo>
                  <a:lnTo>
                    <a:pt x="265" y="329"/>
                  </a:lnTo>
                  <a:lnTo>
                    <a:pt x="265" y="326"/>
                  </a:lnTo>
                  <a:lnTo>
                    <a:pt x="262" y="322"/>
                  </a:lnTo>
                  <a:lnTo>
                    <a:pt x="261" y="319"/>
                  </a:lnTo>
                  <a:lnTo>
                    <a:pt x="260" y="318"/>
                  </a:lnTo>
                  <a:lnTo>
                    <a:pt x="261" y="312"/>
                  </a:lnTo>
                  <a:lnTo>
                    <a:pt x="297" y="312"/>
                  </a:lnTo>
                  <a:lnTo>
                    <a:pt x="308" y="315"/>
                  </a:lnTo>
                  <a:lnTo>
                    <a:pt x="309" y="315"/>
                  </a:lnTo>
                  <a:lnTo>
                    <a:pt x="309" y="315"/>
                  </a:lnTo>
                  <a:lnTo>
                    <a:pt x="310" y="315"/>
                  </a:lnTo>
                  <a:lnTo>
                    <a:pt x="315" y="310"/>
                  </a:lnTo>
                  <a:lnTo>
                    <a:pt x="324" y="306"/>
                  </a:lnTo>
                  <a:lnTo>
                    <a:pt x="325" y="304"/>
                  </a:lnTo>
                  <a:lnTo>
                    <a:pt x="325" y="303"/>
                  </a:lnTo>
                  <a:lnTo>
                    <a:pt x="325" y="302"/>
                  </a:lnTo>
                  <a:lnTo>
                    <a:pt x="324" y="300"/>
                  </a:lnTo>
                  <a:lnTo>
                    <a:pt x="321" y="294"/>
                  </a:lnTo>
                  <a:lnTo>
                    <a:pt x="321" y="294"/>
                  </a:lnTo>
                  <a:lnTo>
                    <a:pt x="321" y="293"/>
                  </a:lnTo>
                  <a:lnTo>
                    <a:pt x="321" y="293"/>
                  </a:lnTo>
                  <a:lnTo>
                    <a:pt x="321" y="291"/>
                  </a:lnTo>
                  <a:lnTo>
                    <a:pt x="322" y="290"/>
                  </a:lnTo>
                  <a:lnTo>
                    <a:pt x="328" y="281"/>
                  </a:lnTo>
                  <a:lnTo>
                    <a:pt x="340" y="268"/>
                  </a:lnTo>
                  <a:lnTo>
                    <a:pt x="340" y="267"/>
                  </a:lnTo>
                  <a:lnTo>
                    <a:pt x="341" y="265"/>
                  </a:lnTo>
                  <a:lnTo>
                    <a:pt x="341" y="262"/>
                  </a:lnTo>
                  <a:lnTo>
                    <a:pt x="341" y="261"/>
                  </a:lnTo>
                  <a:lnTo>
                    <a:pt x="340" y="258"/>
                  </a:lnTo>
                  <a:lnTo>
                    <a:pt x="340" y="255"/>
                  </a:lnTo>
                  <a:lnTo>
                    <a:pt x="340" y="255"/>
                  </a:lnTo>
                  <a:lnTo>
                    <a:pt x="340" y="253"/>
                  </a:lnTo>
                  <a:lnTo>
                    <a:pt x="338" y="248"/>
                  </a:lnTo>
                  <a:lnTo>
                    <a:pt x="338" y="245"/>
                  </a:lnTo>
                  <a:lnTo>
                    <a:pt x="335" y="236"/>
                  </a:lnTo>
                  <a:lnTo>
                    <a:pt x="335" y="235"/>
                  </a:lnTo>
                  <a:lnTo>
                    <a:pt x="335" y="233"/>
                  </a:lnTo>
                  <a:lnTo>
                    <a:pt x="334" y="226"/>
                  </a:lnTo>
                  <a:lnTo>
                    <a:pt x="334" y="226"/>
                  </a:lnTo>
                  <a:lnTo>
                    <a:pt x="332" y="224"/>
                  </a:lnTo>
                  <a:lnTo>
                    <a:pt x="329" y="223"/>
                  </a:lnTo>
                  <a:lnTo>
                    <a:pt x="329" y="223"/>
                  </a:lnTo>
                  <a:lnTo>
                    <a:pt x="329" y="223"/>
                  </a:lnTo>
                  <a:lnTo>
                    <a:pt x="329" y="221"/>
                  </a:lnTo>
                  <a:lnTo>
                    <a:pt x="331" y="217"/>
                  </a:lnTo>
                  <a:lnTo>
                    <a:pt x="331" y="217"/>
                  </a:lnTo>
                  <a:lnTo>
                    <a:pt x="331" y="216"/>
                  </a:lnTo>
                  <a:lnTo>
                    <a:pt x="331" y="216"/>
                  </a:lnTo>
                  <a:lnTo>
                    <a:pt x="329" y="214"/>
                  </a:lnTo>
                  <a:lnTo>
                    <a:pt x="329" y="214"/>
                  </a:lnTo>
                  <a:lnTo>
                    <a:pt x="328" y="214"/>
                  </a:lnTo>
                  <a:lnTo>
                    <a:pt x="327" y="214"/>
                  </a:lnTo>
                  <a:lnTo>
                    <a:pt x="325" y="216"/>
                  </a:lnTo>
                  <a:lnTo>
                    <a:pt x="318" y="220"/>
                  </a:lnTo>
                  <a:lnTo>
                    <a:pt x="310" y="223"/>
                  </a:lnTo>
                  <a:lnTo>
                    <a:pt x="303" y="223"/>
                  </a:lnTo>
                  <a:lnTo>
                    <a:pt x="302" y="224"/>
                  </a:lnTo>
                  <a:lnTo>
                    <a:pt x="300" y="224"/>
                  </a:lnTo>
                  <a:lnTo>
                    <a:pt x="300" y="224"/>
                  </a:lnTo>
                  <a:lnTo>
                    <a:pt x="300" y="226"/>
                  </a:lnTo>
                  <a:lnTo>
                    <a:pt x="297" y="229"/>
                  </a:lnTo>
                  <a:lnTo>
                    <a:pt x="297" y="230"/>
                  </a:lnTo>
                  <a:lnTo>
                    <a:pt x="296" y="230"/>
                  </a:lnTo>
                  <a:lnTo>
                    <a:pt x="296" y="232"/>
                  </a:lnTo>
                  <a:lnTo>
                    <a:pt x="293" y="232"/>
                  </a:lnTo>
                  <a:lnTo>
                    <a:pt x="290" y="230"/>
                  </a:lnTo>
                  <a:lnTo>
                    <a:pt x="289" y="230"/>
                  </a:lnTo>
                  <a:lnTo>
                    <a:pt x="289" y="229"/>
                  </a:lnTo>
                  <a:lnTo>
                    <a:pt x="287" y="229"/>
                  </a:lnTo>
                  <a:lnTo>
                    <a:pt x="287" y="227"/>
                  </a:lnTo>
                  <a:lnTo>
                    <a:pt x="287" y="227"/>
                  </a:lnTo>
                  <a:lnTo>
                    <a:pt x="287" y="226"/>
                  </a:lnTo>
                  <a:lnTo>
                    <a:pt x="286" y="223"/>
                  </a:lnTo>
                  <a:lnTo>
                    <a:pt x="286" y="223"/>
                  </a:lnTo>
                  <a:lnTo>
                    <a:pt x="286" y="221"/>
                  </a:lnTo>
                  <a:lnTo>
                    <a:pt x="284" y="220"/>
                  </a:lnTo>
                  <a:lnTo>
                    <a:pt x="283" y="219"/>
                  </a:lnTo>
                  <a:lnTo>
                    <a:pt x="280" y="217"/>
                  </a:lnTo>
                  <a:lnTo>
                    <a:pt x="280" y="217"/>
                  </a:lnTo>
                  <a:lnTo>
                    <a:pt x="280" y="216"/>
                  </a:lnTo>
                  <a:lnTo>
                    <a:pt x="280" y="216"/>
                  </a:lnTo>
                  <a:lnTo>
                    <a:pt x="278" y="214"/>
                  </a:lnTo>
                  <a:lnTo>
                    <a:pt x="280" y="213"/>
                  </a:lnTo>
                  <a:lnTo>
                    <a:pt x="280" y="211"/>
                  </a:lnTo>
                  <a:lnTo>
                    <a:pt x="284" y="204"/>
                  </a:lnTo>
                  <a:lnTo>
                    <a:pt x="286" y="200"/>
                  </a:lnTo>
                  <a:lnTo>
                    <a:pt x="293" y="191"/>
                  </a:lnTo>
                  <a:lnTo>
                    <a:pt x="305" y="179"/>
                  </a:lnTo>
                  <a:lnTo>
                    <a:pt x="305" y="178"/>
                  </a:lnTo>
                  <a:lnTo>
                    <a:pt x="306" y="176"/>
                  </a:lnTo>
                  <a:lnTo>
                    <a:pt x="306" y="175"/>
                  </a:lnTo>
                  <a:lnTo>
                    <a:pt x="306" y="175"/>
                  </a:lnTo>
                  <a:lnTo>
                    <a:pt x="306" y="173"/>
                  </a:lnTo>
                  <a:lnTo>
                    <a:pt x="309" y="170"/>
                  </a:lnTo>
                  <a:lnTo>
                    <a:pt x="313" y="169"/>
                  </a:lnTo>
                  <a:lnTo>
                    <a:pt x="315" y="165"/>
                  </a:lnTo>
                  <a:lnTo>
                    <a:pt x="315" y="165"/>
                  </a:lnTo>
                  <a:lnTo>
                    <a:pt x="316" y="163"/>
                  </a:lnTo>
                  <a:lnTo>
                    <a:pt x="318" y="163"/>
                  </a:lnTo>
                  <a:lnTo>
                    <a:pt x="324" y="162"/>
                  </a:lnTo>
                  <a:lnTo>
                    <a:pt x="332" y="157"/>
                  </a:lnTo>
                  <a:lnTo>
                    <a:pt x="334" y="157"/>
                  </a:lnTo>
                  <a:lnTo>
                    <a:pt x="340" y="157"/>
                  </a:lnTo>
                  <a:lnTo>
                    <a:pt x="347" y="156"/>
                  </a:lnTo>
                  <a:lnTo>
                    <a:pt x="356" y="153"/>
                  </a:lnTo>
                  <a:lnTo>
                    <a:pt x="360" y="153"/>
                  </a:lnTo>
                  <a:lnTo>
                    <a:pt x="361" y="153"/>
                  </a:lnTo>
                  <a:lnTo>
                    <a:pt x="364" y="153"/>
                  </a:lnTo>
                  <a:lnTo>
                    <a:pt x="366" y="153"/>
                  </a:lnTo>
                  <a:lnTo>
                    <a:pt x="367" y="154"/>
                  </a:lnTo>
                  <a:lnTo>
                    <a:pt x="375" y="156"/>
                  </a:lnTo>
                  <a:lnTo>
                    <a:pt x="376" y="156"/>
                  </a:lnTo>
                  <a:lnTo>
                    <a:pt x="376" y="156"/>
                  </a:lnTo>
                  <a:lnTo>
                    <a:pt x="378" y="156"/>
                  </a:lnTo>
                  <a:lnTo>
                    <a:pt x="386" y="150"/>
                  </a:lnTo>
                  <a:lnTo>
                    <a:pt x="389" y="149"/>
                  </a:lnTo>
                  <a:lnTo>
                    <a:pt x="404" y="147"/>
                  </a:lnTo>
                  <a:lnTo>
                    <a:pt x="405" y="146"/>
                  </a:lnTo>
                  <a:lnTo>
                    <a:pt x="407" y="144"/>
                  </a:lnTo>
                  <a:lnTo>
                    <a:pt x="408" y="140"/>
                  </a:lnTo>
                  <a:lnTo>
                    <a:pt x="410" y="137"/>
                  </a:lnTo>
                  <a:lnTo>
                    <a:pt x="410" y="136"/>
                  </a:lnTo>
                  <a:lnTo>
                    <a:pt x="408" y="134"/>
                  </a:lnTo>
                  <a:lnTo>
                    <a:pt x="407" y="133"/>
                  </a:lnTo>
                  <a:lnTo>
                    <a:pt x="407" y="133"/>
                  </a:lnTo>
                  <a:lnTo>
                    <a:pt x="399" y="131"/>
                  </a:lnTo>
                  <a:lnTo>
                    <a:pt x="398" y="131"/>
                  </a:lnTo>
                  <a:lnTo>
                    <a:pt x="398" y="131"/>
                  </a:lnTo>
                  <a:lnTo>
                    <a:pt x="398" y="130"/>
                  </a:lnTo>
                  <a:lnTo>
                    <a:pt x="398" y="128"/>
                  </a:lnTo>
                  <a:lnTo>
                    <a:pt x="398" y="124"/>
                  </a:lnTo>
                  <a:lnTo>
                    <a:pt x="398" y="122"/>
                  </a:lnTo>
                  <a:lnTo>
                    <a:pt x="396" y="117"/>
                  </a:lnTo>
                  <a:lnTo>
                    <a:pt x="396" y="115"/>
                  </a:lnTo>
                  <a:lnTo>
                    <a:pt x="395" y="112"/>
                  </a:lnTo>
                  <a:lnTo>
                    <a:pt x="395" y="112"/>
                  </a:lnTo>
                  <a:lnTo>
                    <a:pt x="392" y="108"/>
                  </a:lnTo>
                  <a:lnTo>
                    <a:pt x="392" y="106"/>
                  </a:lnTo>
                  <a:lnTo>
                    <a:pt x="391" y="105"/>
                  </a:lnTo>
                  <a:lnTo>
                    <a:pt x="391" y="104"/>
                  </a:lnTo>
                  <a:lnTo>
                    <a:pt x="392" y="102"/>
                  </a:lnTo>
                  <a:lnTo>
                    <a:pt x="392" y="101"/>
                  </a:lnTo>
                  <a:lnTo>
                    <a:pt x="392" y="99"/>
                  </a:lnTo>
                  <a:lnTo>
                    <a:pt x="394" y="98"/>
                  </a:lnTo>
                  <a:lnTo>
                    <a:pt x="412" y="89"/>
                  </a:lnTo>
                  <a:lnTo>
                    <a:pt x="427" y="85"/>
                  </a:lnTo>
                  <a:lnTo>
                    <a:pt x="431" y="82"/>
                  </a:lnTo>
                  <a:lnTo>
                    <a:pt x="434" y="83"/>
                  </a:lnTo>
                  <a:lnTo>
                    <a:pt x="437" y="85"/>
                  </a:lnTo>
                  <a:lnTo>
                    <a:pt x="445" y="89"/>
                  </a:lnTo>
                  <a:lnTo>
                    <a:pt x="449" y="92"/>
                  </a:lnTo>
                  <a:lnTo>
                    <a:pt x="450" y="92"/>
                  </a:lnTo>
                  <a:lnTo>
                    <a:pt x="452" y="92"/>
                  </a:lnTo>
                  <a:lnTo>
                    <a:pt x="453" y="92"/>
                  </a:lnTo>
                  <a:lnTo>
                    <a:pt x="453" y="93"/>
                  </a:lnTo>
                  <a:lnTo>
                    <a:pt x="456" y="96"/>
                  </a:lnTo>
                  <a:lnTo>
                    <a:pt x="456" y="102"/>
                  </a:lnTo>
                  <a:lnTo>
                    <a:pt x="456" y="104"/>
                  </a:lnTo>
                  <a:lnTo>
                    <a:pt x="456" y="104"/>
                  </a:lnTo>
                  <a:lnTo>
                    <a:pt x="456" y="109"/>
                  </a:lnTo>
                  <a:lnTo>
                    <a:pt x="456" y="109"/>
                  </a:lnTo>
                  <a:lnTo>
                    <a:pt x="456" y="111"/>
                  </a:lnTo>
                  <a:lnTo>
                    <a:pt x="458" y="114"/>
                  </a:lnTo>
                  <a:lnTo>
                    <a:pt x="465" y="118"/>
                  </a:lnTo>
                  <a:lnTo>
                    <a:pt x="477" y="121"/>
                  </a:lnTo>
                  <a:lnTo>
                    <a:pt x="479" y="121"/>
                  </a:lnTo>
                  <a:lnTo>
                    <a:pt x="481" y="121"/>
                  </a:lnTo>
                  <a:lnTo>
                    <a:pt x="494" y="111"/>
                  </a:lnTo>
                  <a:lnTo>
                    <a:pt x="496" y="111"/>
                  </a:lnTo>
                  <a:lnTo>
                    <a:pt x="500" y="111"/>
                  </a:lnTo>
                  <a:lnTo>
                    <a:pt x="500" y="111"/>
                  </a:lnTo>
                  <a:lnTo>
                    <a:pt x="501" y="109"/>
                  </a:lnTo>
                  <a:lnTo>
                    <a:pt x="501" y="108"/>
                  </a:lnTo>
                  <a:lnTo>
                    <a:pt x="503" y="106"/>
                  </a:lnTo>
                  <a:lnTo>
                    <a:pt x="503" y="105"/>
                  </a:lnTo>
                  <a:lnTo>
                    <a:pt x="503" y="104"/>
                  </a:lnTo>
                  <a:lnTo>
                    <a:pt x="503" y="102"/>
                  </a:lnTo>
                  <a:lnTo>
                    <a:pt x="503" y="101"/>
                  </a:lnTo>
                  <a:lnTo>
                    <a:pt x="503" y="99"/>
                  </a:lnTo>
                  <a:lnTo>
                    <a:pt x="503" y="98"/>
                  </a:lnTo>
                  <a:lnTo>
                    <a:pt x="504" y="96"/>
                  </a:lnTo>
                  <a:lnTo>
                    <a:pt x="504" y="95"/>
                  </a:lnTo>
                  <a:lnTo>
                    <a:pt x="506" y="93"/>
                  </a:lnTo>
                  <a:lnTo>
                    <a:pt x="507" y="90"/>
                  </a:lnTo>
                  <a:lnTo>
                    <a:pt x="514" y="88"/>
                  </a:lnTo>
                  <a:lnTo>
                    <a:pt x="517" y="86"/>
                  </a:lnTo>
                  <a:lnTo>
                    <a:pt x="520" y="83"/>
                  </a:lnTo>
                  <a:lnTo>
                    <a:pt x="525" y="80"/>
                  </a:lnTo>
                  <a:lnTo>
                    <a:pt x="529" y="77"/>
                  </a:lnTo>
                  <a:lnTo>
                    <a:pt x="530" y="76"/>
                  </a:lnTo>
                  <a:lnTo>
                    <a:pt x="532" y="74"/>
                  </a:lnTo>
                  <a:lnTo>
                    <a:pt x="533" y="70"/>
                  </a:lnTo>
                  <a:lnTo>
                    <a:pt x="535" y="67"/>
                  </a:lnTo>
                  <a:lnTo>
                    <a:pt x="536" y="64"/>
                  </a:lnTo>
                  <a:lnTo>
                    <a:pt x="539" y="61"/>
                  </a:lnTo>
                  <a:lnTo>
                    <a:pt x="542" y="60"/>
                  </a:lnTo>
                  <a:lnTo>
                    <a:pt x="544" y="57"/>
                  </a:lnTo>
                  <a:lnTo>
                    <a:pt x="545" y="53"/>
                  </a:lnTo>
                  <a:lnTo>
                    <a:pt x="546" y="50"/>
                  </a:lnTo>
                  <a:lnTo>
                    <a:pt x="546" y="48"/>
                  </a:lnTo>
                  <a:lnTo>
                    <a:pt x="546" y="48"/>
                  </a:lnTo>
                  <a:lnTo>
                    <a:pt x="546" y="45"/>
                  </a:lnTo>
                  <a:lnTo>
                    <a:pt x="548" y="42"/>
                  </a:lnTo>
                  <a:lnTo>
                    <a:pt x="548" y="41"/>
                  </a:lnTo>
                  <a:lnTo>
                    <a:pt x="549" y="37"/>
                  </a:lnTo>
                  <a:lnTo>
                    <a:pt x="549" y="37"/>
                  </a:lnTo>
                  <a:lnTo>
                    <a:pt x="549" y="35"/>
                  </a:lnTo>
                  <a:lnTo>
                    <a:pt x="549" y="35"/>
                  </a:lnTo>
                  <a:lnTo>
                    <a:pt x="549" y="34"/>
                  </a:lnTo>
                  <a:lnTo>
                    <a:pt x="549" y="34"/>
                  </a:lnTo>
                  <a:lnTo>
                    <a:pt x="545" y="31"/>
                  </a:lnTo>
                  <a:lnTo>
                    <a:pt x="544" y="29"/>
                  </a:lnTo>
                  <a:lnTo>
                    <a:pt x="542" y="28"/>
                  </a:lnTo>
                  <a:lnTo>
                    <a:pt x="542" y="28"/>
                  </a:lnTo>
                  <a:lnTo>
                    <a:pt x="544" y="26"/>
                  </a:lnTo>
                  <a:lnTo>
                    <a:pt x="546" y="25"/>
                  </a:lnTo>
                  <a:lnTo>
                    <a:pt x="571" y="16"/>
                  </a:lnTo>
                  <a:lnTo>
                    <a:pt x="574" y="13"/>
                  </a:lnTo>
                  <a:lnTo>
                    <a:pt x="580" y="5"/>
                  </a:lnTo>
                  <a:lnTo>
                    <a:pt x="583" y="6"/>
                  </a:lnTo>
                  <a:lnTo>
                    <a:pt x="589" y="0"/>
                  </a:lnTo>
                  <a:lnTo>
                    <a:pt x="595" y="0"/>
                  </a:lnTo>
                  <a:lnTo>
                    <a:pt x="596" y="2"/>
                  </a:lnTo>
                  <a:lnTo>
                    <a:pt x="597" y="3"/>
                  </a:lnTo>
                  <a:lnTo>
                    <a:pt x="597" y="6"/>
                  </a:lnTo>
                  <a:lnTo>
                    <a:pt x="597" y="7"/>
                  </a:lnTo>
                  <a:lnTo>
                    <a:pt x="597" y="9"/>
                  </a:lnTo>
                  <a:lnTo>
                    <a:pt x="597" y="10"/>
                  </a:lnTo>
                  <a:lnTo>
                    <a:pt x="597" y="12"/>
                  </a:lnTo>
                  <a:lnTo>
                    <a:pt x="599" y="13"/>
                  </a:lnTo>
                  <a:lnTo>
                    <a:pt x="600" y="15"/>
                  </a:lnTo>
                  <a:lnTo>
                    <a:pt x="603" y="15"/>
                  </a:lnTo>
                  <a:lnTo>
                    <a:pt x="608" y="16"/>
                  </a:lnTo>
                  <a:lnTo>
                    <a:pt x="611" y="15"/>
                  </a:lnTo>
                  <a:lnTo>
                    <a:pt x="612" y="15"/>
                  </a:lnTo>
                  <a:lnTo>
                    <a:pt x="612" y="13"/>
                  </a:lnTo>
                  <a:lnTo>
                    <a:pt x="614" y="12"/>
                  </a:lnTo>
                  <a:lnTo>
                    <a:pt x="615" y="10"/>
                  </a:lnTo>
                  <a:lnTo>
                    <a:pt x="616" y="9"/>
                  </a:lnTo>
                  <a:lnTo>
                    <a:pt x="618" y="9"/>
                  </a:lnTo>
                  <a:lnTo>
                    <a:pt x="619" y="9"/>
                  </a:lnTo>
                  <a:lnTo>
                    <a:pt x="619" y="10"/>
                  </a:lnTo>
                  <a:lnTo>
                    <a:pt x="621" y="12"/>
                  </a:lnTo>
                  <a:lnTo>
                    <a:pt x="622" y="15"/>
                  </a:lnTo>
                  <a:lnTo>
                    <a:pt x="627" y="16"/>
                  </a:lnTo>
                  <a:lnTo>
                    <a:pt x="630" y="16"/>
                  </a:lnTo>
                  <a:lnTo>
                    <a:pt x="632" y="16"/>
                  </a:lnTo>
                  <a:lnTo>
                    <a:pt x="637" y="16"/>
                  </a:lnTo>
                  <a:lnTo>
                    <a:pt x="641" y="15"/>
                  </a:lnTo>
                  <a:lnTo>
                    <a:pt x="643" y="13"/>
                  </a:lnTo>
                  <a:lnTo>
                    <a:pt x="643" y="15"/>
                  </a:lnTo>
                  <a:lnTo>
                    <a:pt x="644" y="18"/>
                  </a:lnTo>
                  <a:lnTo>
                    <a:pt x="644" y="21"/>
                  </a:lnTo>
                  <a:lnTo>
                    <a:pt x="646" y="22"/>
                  </a:lnTo>
                  <a:lnTo>
                    <a:pt x="653" y="25"/>
                  </a:lnTo>
                  <a:lnTo>
                    <a:pt x="654" y="26"/>
                  </a:lnTo>
                  <a:lnTo>
                    <a:pt x="654" y="29"/>
                  </a:lnTo>
                  <a:lnTo>
                    <a:pt x="656" y="34"/>
                  </a:lnTo>
                  <a:lnTo>
                    <a:pt x="659" y="39"/>
                  </a:lnTo>
                  <a:lnTo>
                    <a:pt x="664" y="47"/>
                  </a:lnTo>
                  <a:lnTo>
                    <a:pt x="662" y="53"/>
                  </a:lnTo>
                  <a:lnTo>
                    <a:pt x="660" y="54"/>
                  </a:lnTo>
                  <a:lnTo>
                    <a:pt x="659" y="54"/>
                  </a:lnTo>
                  <a:lnTo>
                    <a:pt x="650" y="47"/>
                  </a:lnTo>
                  <a:lnTo>
                    <a:pt x="650" y="47"/>
                  </a:lnTo>
                  <a:lnTo>
                    <a:pt x="648" y="47"/>
                  </a:lnTo>
                  <a:lnTo>
                    <a:pt x="648" y="47"/>
                  </a:lnTo>
                  <a:lnTo>
                    <a:pt x="647" y="47"/>
                  </a:lnTo>
                  <a:lnTo>
                    <a:pt x="647" y="48"/>
                  </a:lnTo>
                  <a:lnTo>
                    <a:pt x="647" y="50"/>
                  </a:lnTo>
                  <a:lnTo>
                    <a:pt x="647" y="53"/>
                  </a:lnTo>
                  <a:lnTo>
                    <a:pt x="651" y="58"/>
                  </a:lnTo>
                  <a:lnTo>
                    <a:pt x="650" y="58"/>
                  </a:lnTo>
                  <a:lnTo>
                    <a:pt x="650" y="60"/>
                  </a:lnTo>
                  <a:lnTo>
                    <a:pt x="648" y="60"/>
                  </a:lnTo>
                  <a:lnTo>
                    <a:pt x="647" y="60"/>
                  </a:lnTo>
                  <a:lnTo>
                    <a:pt x="646" y="60"/>
                  </a:lnTo>
                  <a:lnTo>
                    <a:pt x="643" y="58"/>
                  </a:lnTo>
                  <a:lnTo>
                    <a:pt x="641" y="58"/>
                  </a:lnTo>
                  <a:lnTo>
                    <a:pt x="641" y="60"/>
                  </a:lnTo>
                  <a:lnTo>
                    <a:pt x="641" y="63"/>
                  </a:lnTo>
                  <a:lnTo>
                    <a:pt x="641" y="69"/>
                  </a:lnTo>
                  <a:lnTo>
                    <a:pt x="640" y="71"/>
                  </a:lnTo>
                  <a:lnTo>
                    <a:pt x="640" y="74"/>
                  </a:lnTo>
                  <a:lnTo>
                    <a:pt x="638" y="74"/>
                  </a:lnTo>
                  <a:lnTo>
                    <a:pt x="637" y="76"/>
                  </a:lnTo>
                  <a:lnTo>
                    <a:pt x="634" y="76"/>
                  </a:lnTo>
                  <a:lnTo>
                    <a:pt x="634" y="77"/>
                  </a:lnTo>
                  <a:lnTo>
                    <a:pt x="634" y="80"/>
                  </a:lnTo>
                  <a:lnTo>
                    <a:pt x="641" y="96"/>
                  </a:lnTo>
                  <a:lnTo>
                    <a:pt x="643" y="99"/>
                  </a:lnTo>
                  <a:lnTo>
                    <a:pt x="644" y="101"/>
                  </a:lnTo>
                  <a:lnTo>
                    <a:pt x="647" y="102"/>
                  </a:lnTo>
                  <a:lnTo>
                    <a:pt x="648" y="104"/>
                  </a:lnTo>
                  <a:lnTo>
                    <a:pt x="648" y="105"/>
                  </a:lnTo>
                  <a:lnTo>
                    <a:pt x="648" y="106"/>
                  </a:lnTo>
                  <a:lnTo>
                    <a:pt x="646" y="109"/>
                  </a:lnTo>
                  <a:lnTo>
                    <a:pt x="646" y="109"/>
                  </a:lnTo>
                  <a:lnTo>
                    <a:pt x="646" y="112"/>
                  </a:lnTo>
                  <a:lnTo>
                    <a:pt x="647" y="114"/>
                  </a:lnTo>
                  <a:lnTo>
                    <a:pt x="648" y="117"/>
                  </a:lnTo>
                  <a:lnTo>
                    <a:pt x="648" y="120"/>
                  </a:lnTo>
                  <a:lnTo>
                    <a:pt x="647" y="121"/>
                  </a:lnTo>
                  <a:lnTo>
                    <a:pt x="647" y="124"/>
                  </a:lnTo>
                  <a:lnTo>
                    <a:pt x="648" y="137"/>
                  </a:lnTo>
                  <a:lnTo>
                    <a:pt x="647" y="140"/>
                  </a:lnTo>
                  <a:lnTo>
                    <a:pt x="647" y="141"/>
                  </a:lnTo>
                  <a:lnTo>
                    <a:pt x="637" y="143"/>
                  </a:lnTo>
                  <a:lnTo>
                    <a:pt x="634" y="144"/>
                  </a:lnTo>
                  <a:lnTo>
                    <a:pt x="632" y="144"/>
                  </a:lnTo>
                  <a:lnTo>
                    <a:pt x="630" y="143"/>
                  </a:lnTo>
                  <a:lnTo>
                    <a:pt x="630" y="143"/>
                  </a:lnTo>
                  <a:lnTo>
                    <a:pt x="628" y="144"/>
                  </a:lnTo>
                  <a:lnTo>
                    <a:pt x="627" y="146"/>
                  </a:lnTo>
                  <a:lnTo>
                    <a:pt x="627" y="147"/>
                  </a:lnTo>
                  <a:lnTo>
                    <a:pt x="625" y="149"/>
                  </a:lnTo>
                  <a:lnTo>
                    <a:pt x="622" y="152"/>
                  </a:lnTo>
                  <a:lnTo>
                    <a:pt x="622" y="153"/>
                  </a:lnTo>
                  <a:lnTo>
                    <a:pt x="622" y="156"/>
                  </a:lnTo>
                  <a:lnTo>
                    <a:pt x="625" y="160"/>
                  </a:lnTo>
                  <a:lnTo>
                    <a:pt x="625" y="162"/>
                  </a:lnTo>
                  <a:lnTo>
                    <a:pt x="625" y="163"/>
                  </a:lnTo>
                  <a:lnTo>
                    <a:pt x="624" y="165"/>
                  </a:lnTo>
                  <a:lnTo>
                    <a:pt x="622" y="165"/>
                  </a:lnTo>
                  <a:lnTo>
                    <a:pt x="619" y="163"/>
                  </a:lnTo>
                  <a:lnTo>
                    <a:pt x="614" y="162"/>
                  </a:lnTo>
                  <a:lnTo>
                    <a:pt x="612" y="162"/>
                  </a:lnTo>
                  <a:lnTo>
                    <a:pt x="612" y="163"/>
                  </a:lnTo>
                  <a:lnTo>
                    <a:pt x="615" y="166"/>
                  </a:lnTo>
                  <a:lnTo>
                    <a:pt x="624" y="175"/>
                  </a:lnTo>
                  <a:lnTo>
                    <a:pt x="631" y="176"/>
                  </a:lnTo>
                  <a:lnTo>
                    <a:pt x="654" y="187"/>
                  </a:lnTo>
                  <a:lnTo>
                    <a:pt x="657" y="188"/>
                  </a:lnTo>
                  <a:lnTo>
                    <a:pt x="659" y="187"/>
                  </a:lnTo>
                  <a:lnTo>
                    <a:pt x="664" y="189"/>
                  </a:lnTo>
                  <a:lnTo>
                    <a:pt x="673" y="203"/>
                  </a:lnTo>
                  <a:lnTo>
                    <a:pt x="678" y="203"/>
                  </a:lnTo>
                  <a:lnTo>
                    <a:pt x="679" y="203"/>
                  </a:lnTo>
                  <a:lnTo>
                    <a:pt x="682" y="201"/>
                  </a:lnTo>
                  <a:lnTo>
                    <a:pt x="691" y="192"/>
                  </a:lnTo>
                  <a:lnTo>
                    <a:pt x="694" y="189"/>
                  </a:lnTo>
                  <a:lnTo>
                    <a:pt x="695" y="188"/>
                  </a:lnTo>
                  <a:lnTo>
                    <a:pt x="695" y="187"/>
                  </a:lnTo>
                  <a:lnTo>
                    <a:pt x="695" y="185"/>
                  </a:lnTo>
                  <a:lnTo>
                    <a:pt x="695" y="184"/>
                  </a:lnTo>
                  <a:lnTo>
                    <a:pt x="695" y="184"/>
                  </a:lnTo>
                  <a:lnTo>
                    <a:pt x="695" y="182"/>
                  </a:lnTo>
                  <a:lnTo>
                    <a:pt x="697" y="182"/>
                  </a:lnTo>
                  <a:lnTo>
                    <a:pt x="697" y="181"/>
                  </a:lnTo>
                  <a:lnTo>
                    <a:pt x="697" y="181"/>
                  </a:lnTo>
                  <a:lnTo>
                    <a:pt x="698" y="181"/>
                  </a:lnTo>
                  <a:lnTo>
                    <a:pt x="698" y="179"/>
                  </a:lnTo>
                  <a:lnTo>
                    <a:pt x="699" y="178"/>
                  </a:lnTo>
                  <a:lnTo>
                    <a:pt x="699" y="178"/>
                  </a:lnTo>
                  <a:lnTo>
                    <a:pt x="699" y="176"/>
                  </a:lnTo>
                  <a:lnTo>
                    <a:pt x="699" y="176"/>
                  </a:lnTo>
                  <a:lnTo>
                    <a:pt x="698" y="175"/>
                  </a:lnTo>
                  <a:lnTo>
                    <a:pt x="698" y="175"/>
                  </a:lnTo>
                  <a:lnTo>
                    <a:pt x="697" y="175"/>
                  </a:lnTo>
                  <a:lnTo>
                    <a:pt x="694" y="175"/>
                  </a:lnTo>
                  <a:lnTo>
                    <a:pt x="691" y="179"/>
                  </a:lnTo>
                  <a:lnTo>
                    <a:pt x="689" y="181"/>
                  </a:lnTo>
                  <a:lnTo>
                    <a:pt x="689" y="181"/>
                  </a:lnTo>
                  <a:lnTo>
                    <a:pt x="688" y="181"/>
                  </a:lnTo>
                  <a:lnTo>
                    <a:pt x="685" y="179"/>
                  </a:lnTo>
                  <a:lnTo>
                    <a:pt x="676" y="170"/>
                  </a:lnTo>
                  <a:lnTo>
                    <a:pt x="675" y="168"/>
                  </a:lnTo>
                  <a:lnTo>
                    <a:pt x="675" y="165"/>
                  </a:lnTo>
                  <a:lnTo>
                    <a:pt x="675" y="165"/>
                  </a:lnTo>
                  <a:lnTo>
                    <a:pt x="675" y="163"/>
                  </a:lnTo>
                  <a:lnTo>
                    <a:pt x="675" y="163"/>
                  </a:lnTo>
                  <a:lnTo>
                    <a:pt x="689" y="154"/>
                  </a:lnTo>
                  <a:lnTo>
                    <a:pt x="694" y="150"/>
                  </a:lnTo>
                  <a:lnTo>
                    <a:pt x="702" y="147"/>
                  </a:lnTo>
                  <a:lnTo>
                    <a:pt x="704" y="146"/>
                  </a:lnTo>
                  <a:lnTo>
                    <a:pt x="705" y="144"/>
                  </a:lnTo>
                  <a:lnTo>
                    <a:pt x="704" y="143"/>
                  </a:lnTo>
                  <a:lnTo>
                    <a:pt x="704" y="141"/>
                  </a:lnTo>
                  <a:lnTo>
                    <a:pt x="704" y="140"/>
                  </a:lnTo>
                  <a:lnTo>
                    <a:pt x="704" y="138"/>
                  </a:lnTo>
                  <a:lnTo>
                    <a:pt x="704" y="138"/>
                  </a:lnTo>
                  <a:lnTo>
                    <a:pt x="705" y="137"/>
                  </a:lnTo>
                  <a:lnTo>
                    <a:pt x="707" y="138"/>
                  </a:lnTo>
                  <a:lnTo>
                    <a:pt x="714" y="141"/>
                  </a:lnTo>
                  <a:lnTo>
                    <a:pt x="715" y="144"/>
                  </a:lnTo>
                  <a:lnTo>
                    <a:pt x="717" y="146"/>
                  </a:lnTo>
                  <a:lnTo>
                    <a:pt x="718" y="147"/>
                  </a:lnTo>
                  <a:lnTo>
                    <a:pt x="720" y="153"/>
                  </a:lnTo>
                  <a:lnTo>
                    <a:pt x="721" y="156"/>
                  </a:lnTo>
                  <a:lnTo>
                    <a:pt x="723" y="157"/>
                  </a:lnTo>
                  <a:lnTo>
                    <a:pt x="724" y="157"/>
                  </a:lnTo>
                  <a:lnTo>
                    <a:pt x="726" y="157"/>
                  </a:lnTo>
                  <a:lnTo>
                    <a:pt x="727" y="157"/>
                  </a:lnTo>
                  <a:lnTo>
                    <a:pt x="730" y="154"/>
                  </a:lnTo>
                  <a:lnTo>
                    <a:pt x="732" y="153"/>
                  </a:lnTo>
                  <a:lnTo>
                    <a:pt x="732" y="152"/>
                  </a:lnTo>
                  <a:lnTo>
                    <a:pt x="729" y="144"/>
                  </a:lnTo>
                  <a:lnTo>
                    <a:pt x="727" y="144"/>
                  </a:lnTo>
                  <a:lnTo>
                    <a:pt x="727" y="143"/>
                  </a:lnTo>
                  <a:lnTo>
                    <a:pt x="726" y="141"/>
                  </a:lnTo>
                  <a:lnTo>
                    <a:pt x="726" y="140"/>
                  </a:lnTo>
                  <a:lnTo>
                    <a:pt x="726" y="138"/>
                  </a:lnTo>
                  <a:lnTo>
                    <a:pt x="726" y="137"/>
                  </a:lnTo>
                  <a:lnTo>
                    <a:pt x="727" y="137"/>
                  </a:lnTo>
                  <a:lnTo>
                    <a:pt x="729" y="137"/>
                  </a:lnTo>
                  <a:lnTo>
                    <a:pt x="733" y="137"/>
                  </a:lnTo>
                  <a:lnTo>
                    <a:pt x="734" y="136"/>
                  </a:lnTo>
                  <a:lnTo>
                    <a:pt x="736" y="134"/>
                  </a:lnTo>
                  <a:lnTo>
                    <a:pt x="737" y="133"/>
                  </a:lnTo>
                  <a:lnTo>
                    <a:pt x="739" y="131"/>
                  </a:lnTo>
                  <a:lnTo>
                    <a:pt x="740" y="133"/>
                  </a:lnTo>
                  <a:lnTo>
                    <a:pt x="740" y="133"/>
                  </a:lnTo>
                  <a:lnTo>
                    <a:pt x="742" y="136"/>
                  </a:lnTo>
                  <a:lnTo>
                    <a:pt x="742" y="140"/>
                  </a:lnTo>
                  <a:lnTo>
                    <a:pt x="742" y="140"/>
                  </a:lnTo>
                  <a:lnTo>
                    <a:pt x="745" y="144"/>
                  </a:lnTo>
                  <a:lnTo>
                    <a:pt x="756" y="153"/>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15">
              <a:extLst>
                <a:ext uri="{FF2B5EF4-FFF2-40B4-BE49-F238E27FC236}">
                  <a16:creationId xmlns:a16="http://schemas.microsoft.com/office/drawing/2014/main" id="{E530D406-1898-4DCC-B2A4-F702A9EDD6DC}"/>
                </a:ext>
              </a:extLst>
            </p:cNvPr>
            <p:cNvSpPr>
              <a:spLocks/>
            </p:cNvSpPr>
            <p:nvPr/>
          </p:nvSpPr>
          <p:spPr bwMode="gray">
            <a:xfrm>
              <a:off x="5710238" y="1266825"/>
              <a:ext cx="323850" cy="300038"/>
            </a:xfrm>
            <a:custGeom>
              <a:avLst/>
              <a:gdLst>
                <a:gd name="T0" fmla="*/ 187 w 204"/>
                <a:gd name="T1" fmla="*/ 173 h 189"/>
                <a:gd name="T2" fmla="*/ 175 w 204"/>
                <a:gd name="T3" fmla="*/ 188 h 189"/>
                <a:gd name="T4" fmla="*/ 145 w 204"/>
                <a:gd name="T5" fmla="*/ 183 h 189"/>
                <a:gd name="T6" fmla="*/ 130 w 204"/>
                <a:gd name="T7" fmla="*/ 172 h 189"/>
                <a:gd name="T8" fmla="*/ 117 w 204"/>
                <a:gd name="T9" fmla="*/ 162 h 189"/>
                <a:gd name="T10" fmla="*/ 101 w 204"/>
                <a:gd name="T11" fmla="*/ 169 h 189"/>
                <a:gd name="T12" fmla="*/ 102 w 204"/>
                <a:gd name="T13" fmla="*/ 172 h 189"/>
                <a:gd name="T14" fmla="*/ 101 w 204"/>
                <a:gd name="T15" fmla="*/ 176 h 189"/>
                <a:gd name="T16" fmla="*/ 82 w 204"/>
                <a:gd name="T17" fmla="*/ 183 h 189"/>
                <a:gd name="T18" fmla="*/ 72 w 204"/>
                <a:gd name="T19" fmla="*/ 178 h 189"/>
                <a:gd name="T20" fmla="*/ 60 w 204"/>
                <a:gd name="T21" fmla="*/ 182 h 189"/>
                <a:gd name="T22" fmla="*/ 59 w 204"/>
                <a:gd name="T23" fmla="*/ 173 h 189"/>
                <a:gd name="T24" fmla="*/ 54 w 204"/>
                <a:gd name="T25" fmla="*/ 163 h 189"/>
                <a:gd name="T26" fmla="*/ 49 w 204"/>
                <a:gd name="T27" fmla="*/ 166 h 189"/>
                <a:gd name="T28" fmla="*/ 41 w 204"/>
                <a:gd name="T29" fmla="*/ 172 h 189"/>
                <a:gd name="T30" fmla="*/ 25 w 204"/>
                <a:gd name="T31" fmla="*/ 156 h 189"/>
                <a:gd name="T32" fmla="*/ 21 w 204"/>
                <a:gd name="T33" fmla="*/ 143 h 189"/>
                <a:gd name="T34" fmla="*/ 16 w 204"/>
                <a:gd name="T35" fmla="*/ 138 h 189"/>
                <a:gd name="T36" fmla="*/ 15 w 204"/>
                <a:gd name="T37" fmla="*/ 134 h 189"/>
                <a:gd name="T38" fmla="*/ 9 w 204"/>
                <a:gd name="T39" fmla="*/ 108 h 189"/>
                <a:gd name="T40" fmla="*/ 32 w 204"/>
                <a:gd name="T41" fmla="*/ 108 h 189"/>
                <a:gd name="T42" fmla="*/ 0 w 204"/>
                <a:gd name="T43" fmla="*/ 92 h 189"/>
                <a:gd name="T44" fmla="*/ 5 w 204"/>
                <a:gd name="T45" fmla="*/ 73 h 189"/>
                <a:gd name="T46" fmla="*/ 6 w 204"/>
                <a:gd name="T47" fmla="*/ 68 h 189"/>
                <a:gd name="T48" fmla="*/ 9 w 204"/>
                <a:gd name="T49" fmla="*/ 64 h 189"/>
                <a:gd name="T50" fmla="*/ 12 w 204"/>
                <a:gd name="T51" fmla="*/ 58 h 189"/>
                <a:gd name="T52" fmla="*/ 21 w 204"/>
                <a:gd name="T53" fmla="*/ 61 h 189"/>
                <a:gd name="T54" fmla="*/ 25 w 204"/>
                <a:gd name="T55" fmla="*/ 64 h 189"/>
                <a:gd name="T56" fmla="*/ 24 w 204"/>
                <a:gd name="T57" fmla="*/ 74 h 189"/>
                <a:gd name="T58" fmla="*/ 24 w 204"/>
                <a:gd name="T59" fmla="*/ 77 h 189"/>
                <a:gd name="T60" fmla="*/ 25 w 204"/>
                <a:gd name="T61" fmla="*/ 79 h 189"/>
                <a:gd name="T62" fmla="*/ 66 w 204"/>
                <a:gd name="T63" fmla="*/ 48 h 189"/>
                <a:gd name="T64" fmla="*/ 85 w 204"/>
                <a:gd name="T65" fmla="*/ 48 h 189"/>
                <a:gd name="T66" fmla="*/ 92 w 204"/>
                <a:gd name="T67" fmla="*/ 36 h 189"/>
                <a:gd name="T68" fmla="*/ 99 w 204"/>
                <a:gd name="T69" fmla="*/ 31 h 189"/>
                <a:gd name="T70" fmla="*/ 110 w 204"/>
                <a:gd name="T71" fmla="*/ 32 h 189"/>
                <a:gd name="T72" fmla="*/ 118 w 204"/>
                <a:gd name="T73" fmla="*/ 9 h 189"/>
                <a:gd name="T74" fmla="*/ 121 w 204"/>
                <a:gd name="T75" fmla="*/ 6 h 189"/>
                <a:gd name="T76" fmla="*/ 140 w 204"/>
                <a:gd name="T77" fmla="*/ 9 h 189"/>
                <a:gd name="T78" fmla="*/ 150 w 204"/>
                <a:gd name="T79" fmla="*/ 1 h 189"/>
                <a:gd name="T80" fmla="*/ 156 w 204"/>
                <a:gd name="T81" fmla="*/ 0 h 189"/>
                <a:gd name="T82" fmla="*/ 159 w 204"/>
                <a:gd name="T83" fmla="*/ 3 h 189"/>
                <a:gd name="T84" fmla="*/ 153 w 204"/>
                <a:gd name="T85" fmla="*/ 13 h 189"/>
                <a:gd name="T86" fmla="*/ 149 w 204"/>
                <a:gd name="T87" fmla="*/ 26 h 189"/>
                <a:gd name="T88" fmla="*/ 162 w 204"/>
                <a:gd name="T89" fmla="*/ 38 h 189"/>
                <a:gd name="T90" fmla="*/ 164 w 204"/>
                <a:gd name="T91" fmla="*/ 45 h 189"/>
                <a:gd name="T92" fmla="*/ 167 w 204"/>
                <a:gd name="T93" fmla="*/ 51 h 189"/>
                <a:gd name="T94" fmla="*/ 168 w 204"/>
                <a:gd name="T95" fmla="*/ 60 h 189"/>
                <a:gd name="T96" fmla="*/ 167 w 204"/>
                <a:gd name="T97" fmla="*/ 67 h 189"/>
                <a:gd name="T98" fmla="*/ 165 w 204"/>
                <a:gd name="T99" fmla="*/ 83 h 189"/>
                <a:gd name="T100" fmla="*/ 162 w 204"/>
                <a:gd name="T101" fmla="*/ 86 h 189"/>
                <a:gd name="T102" fmla="*/ 152 w 204"/>
                <a:gd name="T103" fmla="*/ 89 h 189"/>
                <a:gd name="T104" fmla="*/ 152 w 204"/>
                <a:gd name="T105" fmla="*/ 95 h 189"/>
                <a:gd name="T106" fmla="*/ 155 w 204"/>
                <a:gd name="T107" fmla="*/ 114 h 189"/>
                <a:gd name="T108" fmla="*/ 159 w 204"/>
                <a:gd name="T109" fmla="*/ 121 h 189"/>
                <a:gd name="T110" fmla="*/ 177 w 204"/>
                <a:gd name="T111" fmla="*/ 140 h 189"/>
                <a:gd name="T112" fmla="*/ 200 w 204"/>
                <a:gd name="T113" fmla="*/ 160 h 189"/>
                <a:gd name="T114" fmla="*/ 201 w 204"/>
                <a:gd name="T115" fmla="*/ 159 h 189"/>
                <a:gd name="T116" fmla="*/ 204 w 204"/>
                <a:gd name="T117" fmla="*/ 17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4" h="189">
                  <a:moveTo>
                    <a:pt x="204" y="173"/>
                  </a:moveTo>
                  <a:lnTo>
                    <a:pt x="190" y="173"/>
                  </a:lnTo>
                  <a:lnTo>
                    <a:pt x="187" y="173"/>
                  </a:lnTo>
                  <a:lnTo>
                    <a:pt x="184" y="176"/>
                  </a:lnTo>
                  <a:lnTo>
                    <a:pt x="175" y="186"/>
                  </a:lnTo>
                  <a:lnTo>
                    <a:pt x="175" y="188"/>
                  </a:lnTo>
                  <a:lnTo>
                    <a:pt x="156" y="189"/>
                  </a:lnTo>
                  <a:lnTo>
                    <a:pt x="150" y="188"/>
                  </a:lnTo>
                  <a:lnTo>
                    <a:pt x="145" y="183"/>
                  </a:lnTo>
                  <a:lnTo>
                    <a:pt x="140" y="179"/>
                  </a:lnTo>
                  <a:lnTo>
                    <a:pt x="137" y="173"/>
                  </a:lnTo>
                  <a:lnTo>
                    <a:pt x="130" y="172"/>
                  </a:lnTo>
                  <a:lnTo>
                    <a:pt x="126" y="169"/>
                  </a:lnTo>
                  <a:lnTo>
                    <a:pt x="120" y="162"/>
                  </a:lnTo>
                  <a:lnTo>
                    <a:pt x="117" y="162"/>
                  </a:lnTo>
                  <a:lnTo>
                    <a:pt x="104" y="166"/>
                  </a:lnTo>
                  <a:lnTo>
                    <a:pt x="102" y="167"/>
                  </a:lnTo>
                  <a:lnTo>
                    <a:pt x="101" y="169"/>
                  </a:lnTo>
                  <a:lnTo>
                    <a:pt x="101" y="170"/>
                  </a:lnTo>
                  <a:lnTo>
                    <a:pt x="101" y="172"/>
                  </a:lnTo>
                  <a:lnTo>
                    <a:pt x="102" y="172"/>
                  </a:lnTo>
                  <a:lnTo>
                    <a:pt x="102" y="173"/>
                  </a:lnTo>
                  <a:lnTo>
                    <a:pt x="101" y="175"/>
                  </a:lnTo>
                  <a:lnTo>
                    <a:pt x="101" y="176"/>
                  </a:lnTo>
                  <a:lnTo>
                    <a:pt x="95" y="179"/>
                  </a:lnTo>
                  <a:lnTo>
                    <a:pt x="86" y="183"/>
                  </a:lnTo>
                  <a:lnTo>
                    <a:pt x="82" y="183"/>
                  </a:lnTo>
                  <a:lnTo>
                    <a:pt x="81" y="183"/>
                  </a:lnTo>
                  <a:lnTo>
                    <a:pt x="73" y="179"/>
                  </a:lnTo>
                  <a:lnTo>
                    <a:pt x="72" y="178"/>
                  </a:lnTo>
                  <a:lnTo>
                    <a:pt x="70" y="179"/>
                  </a:lnTo>
                  <a:lnTo>
                    <a:pt x="63" y="182"/>
                  </a:lnTo>
                  <a:lnTo>
                    <a:pt x="60" y="182"/>
                  </a:lnTo>
                  <a:lnTo>
                    <a:pt x="60" y="181"/>
                  </a:lnTo>
                  <a:lnTo>
                    <a:pt x="59" y="179"/>
                  </a:lnTo>
                  <a:lnTo>
                    <a:pt x="59" y="173"/>
                  </a:lnTo>
                  <a:lnTo>
                    <a:pt x="59" y="167"/>
                  </a:lnTo>
                  <a:lnTo>
                    <a:pt x="56" y="164"/>
                  </a:lnTo>
                  <a:lnTo>
                    <a:pt x="54" y="163"/>
                  </a:lnTo>
                  <a:lnTo>
                    <a:pt x="53" y="163"/>
                  </a:lnTo>
                  <a:lnTo>
                    <a:pt x="50" y="164"/>
                  </a:lnTo>
                  <a:lnTo>
                    <a:pt x="49" y="166"/>
                  </a:lnTo>
                  <a:lnTo>
                    <a:pt x="44" y="172"/>
                  </a:lnTo>
                  <a:lnTo>
                    <a:pt x="43" y="173"/>
                  </a:lnTo>
                  <a:lnTo>
                    <a:pt x="41" y="172"/>
                  </a:lnTo>
                  <a:lnTo>
                    <a:pt x="30" y="162"/>
                  </a:lnTo>
                  <a:lnTo>
                    <a:pt x="27" y="159"/>
                  </a:lnTo>
                  <a:lnTo>
                    <a:pt x="25" y="156"/>
                  </a:lnTo>
                  <a:lnTo>
                    <a:pt x="24" y="151"/>
                  </a:lnTo>
                  <a:lnTo>
                    <a:pt x="22" y="148"/>
                  </a:lnTo>
                  <a:lnTo>
                    <a:pt x="21" y="143"/>
                  </a:lnTo>
                  <a:lnTo>
                    <a:pt x="19" y="141"/>
                  </a:lnTo>
                  <a:lnTo>
                    <a:pt x="18" y="140"/>
                  </a:lnTo>
                  <a:lnTo>
                    <a:pt x="16" y="138"/>
                  </a:lnTo>
                  <a:lnTo>
                    <a:pt x="15" y="137"/>
                  </a:lnTo>
                  <a:lnTo>
                    <a:pt x="15" y="135"/>
                  </a:lnTo>
                  <a:lnTo>
                    <a:pt x="15" y="134"/>
                  </a:lnTo>
                  <a:lnTo>
                    <a:pt x="14" y="132"/>
                  </a:lnTo>
                  <a:lnTo>
                    <a:pt x="11" y="128"/>
                  </a:lnTo>
                  <a:lnTo>
                    <a:pt x="9" y="108"/>
                  </a:lnTo>
                  <a:lnTo>
                    <a:pt x="9" y="105"/>
                  </a:lnTo>
                  <a:lnTo>
                    <a:pt x="28" y="109"/>
                  </a:lnTo>
                  <a:lnTo>
                    <a:pt x="32" y="108"/>
                  </a:lnTo>
                  <a:lnTo>
                    <a:pt x="28" y="100"/>
                  </a:lnTo>
                  <a:lnTo>
                    <a:pt x="15" y="93"/>
                  </a:lnTo>
                  <a:lnTo>
                    <a:pt x="0" y="92"/>
                  </a:lnTo>
                  <a:lnTo>
                    <a:pt x="3" y="80"/>
                  </a:lnTo>
                  <a:lnTo>
                    <a:pt x="5" y="76"/>
                  </a:lnTo>
                  <a:lnTo>
                    <a:pt x="5" y="73"/>
                  </a:lnTo>
                  <a:lnTo>
                    <a:pt x="5" y="70"/>
                  </a:lnTo>
                  <a:lnTo>
                    <a:pt x="6" y="70"/>
                  </a:lnTo>
                  <a:lnTo>
                    <a:pt x="6" y="68"/>
                  </a:lnTo>
                  <a:lnTo>
                    <a:pt x="8" y="67"/>
                  </a:lnTo>
                  <a:lnTo>
                    <a:pt x="9" y="65"/>
                  </a:lnTo>
                  <a:lnTo>
                    <a:pt x="9" y="64"/>
                  </a:lnTo>
                  <a:lnTo>
                    <a:pt x="11" y="60"/>
                  </a:lnTo>
                  <a:lnTo>
                    <a:pt x="11" y="58"/>
                  </a:lnTo>
                  <a:lnTo>
                    <a:pt x="12" y="58"/>
                  </a:lnTo>
                  <a:lnTo>
                    <a:pt x="14" y="58"/>
                  </a:lnTo>
                  <a:lnTo>
                    <a:pt x="18" y="60"/>
                  </a:lnTo>
                  <a:lnTo>
                    <a:pt x="21" y="61"/>
                  </a:lnTo>
                  <a:lnTo>
                    <a:pt x="21" y="61"/>
                  </a:lnTo>
                  <a:lnTo>
                    <a:pt x="24" y="64"/>
                  </a:lnTo>
                  <a:lnTo>
                    <a:pt x="25" y="64"/>
                  </a:lnTo>
                  <a:lnTo>
                    <a:pt x="25" y="67"/>
                  </a:lnTo>
                  <a:lnTo>
                    <a:pt x="24" y="71"/>
                  </a:lnTo>
                  <a:lnTo>
                    <a:pt x="24" y="74"/>
                  </a:lnTo>
                  <a:lnTo>
                    <a:pt x="24" y="76"/>
                  </a:lnTo>
                  <a:lnTo>
                    <a:pt x="24" y="77"/>
                  </a:lnTo>
                  <a:lnTo>
                    <a:pt x="24" y="77"/>
                  </a:lnTo>
                  <a:lnTo>
                    <a:pt x="25" y="77"/>
                  </a:lnTo>
                  <a:lnTo>
                    <a:pt x="25" y="79"/>
                  </a:lnTo>
                  <a:lnTo>
                    <a:pt x="25" y="79"/>
                  </a:lnTo>
                  <a:lnTo>
                    <a:pt x="27" y="79"/>
                  </a:lnTo>
                  <a:lnTo>
                    <a:pt x="31" y="77"/>
                  </a:lnTo>
                  <a:lnTo>
                    <a:pt x="66" y="48"/>
                  </a:lnTo>
                  <a:lnTo>
                    <a:pt x="75" y="45"/>
                  </a:lnTo>
                  <a:lnTo>
                    <a:pt x="85" y="48"/>
                  </a:lnTo>
                  <a:lnTo>
                    <a:pt x="85" y="48"/>
                  </a:lnTo>
                  <a:lnTo>
                    <a:pt x="88" y="47"/>
                  </a:lnTo>
                  <a:lnTo>
                    <a:pt x="89" y="45"/>
                  </a:lnTo>
                  <a:lnTo>
                    <a:pt x="92" y="36"/>
                  </a:lnTo>
                  <a:lnTo>
                    <a:pt x="94" y="33"/>
                  </a:lnTo>
                  <a:lnTo>
                    <a:pt x="95" y="32"/>
                  </a:lnTo>
                  <a:lnTo>
                    <a:pt x="99" y="31"/>
                  </a:lnTo>
                  <a:lnTo>
                    <a:pt x="102" y="31"/>
                  </a:lnTo>
                  <a:lnTo>
                    <a:pt x="105" y="31"/>
                  </a:lnTo>
                  <a:lnTo>
                    <a:pt x="110" y="32"/>
                  </a:lnTo>
                  <a:lnTo>
                    <a:pt x="113" y="29"/>
                  </a:lnTo>
                  <a:lnTo>
                    <a:pt x="114" y="28"/>
                  </a:lnTo>
                  <a:lnTo>
                    <a:pt x="118" y="9"/>
                  </a:lnTo>
                  <a:lnTo>
                    <a:pt x="120" y="7"/>
                  </a:lnTo>
                  <a:lnTo>
                    <a:pt x="121" y="6"/>
                  </a:lnTo>
                  <a:lnTo>
                    <a:pt x="121" y="6"/>
                  </a:lnTo>
                  <a:lnTo>
                    <a:pt x="123" y="4"/>
                  </a:lnTo>
                  <a:lnTo>
                    <a:pt x="123" y="4"/>
                  </a:lnTo>
                  <a:lnTo>
                    <a:pt x="140" y="9"/>
                  </a:lnTo>
                  <a:lnTo>
                    <a:pt x="143" y="9"/>
                  </a:lnTo>
                  <a:lnTo>
                    <a:pt x="145" y="7"/>
                  </a:lnTo>
                  <a:lnTo>
                    <a:pt x="150" y="1"/>
                  </a:lnTo>
                  <a:lnTo>
                    <a:pt x="152" y="0"/>
                  </a:lnTo>
                  <a:lnTo>
                    <a:pt x="155" y="0"/>
                  </a:lnTo>
                  <a:lnTo>
                    <a:pt x="156" y="0"/>
                  </a:lnTo>
                  <a:lnTo>
                    <a:pt x="158" y="1"/>
                  </a:lnTo>
                  <a:lnTo>
                    <a:pt x="158" y="1"/>
                  </a:lnTo>
                  <a:lnTo>
                    <a:pt x="159" y="3"/>
                  </a:lnTo>
                  <a:lnTo>
                    <a:pt x="158" y="6"/>
                  </a:lnTo>
                  <a:lnTo>
                    <a:pt x="158" y="7"/>
                  </a:lnTo>
                  <a:lnTo>
                    <a:pt x="153" y="13"/>
                  </a:lnTo>
                  <a:lnTo>
                    <a:pt x="150" y="20"/>
                  </a:lnTo>
                  <a:lnTo>
                    <a:pt x="149" y="25"/>
                  </a:lnTo>
                  <a:lnTo>
                    <a:pt x="149" y="26"/>
                  </a:lnTo>
                  <a:lnTo>
                    <a:pt x="149" y="28"/>
                  </a:lnTo>
                  <a:lnTo>
                    <a:pt x="150" y="29"/>
                  </a:lnTo>
                  <a:lnTo>
                    <a:pt x="162" y="38"/>
                  </a:lnTo>
                  <a:lnTo>
                    <a:pt x="162" y="39"/>
                  </a:lnTo>
                  <a:lnTo>
                    <a:pt x="162" y="42"/>
                  </a:lnTo>
                  <a:lnTo>
                    <a:pt x="164" y="45"/>
                  </a:lnTo>
                  <a:lnTo>
                    <a:pt x="164" y="49"/>
                  </a:lnTo>
                  <a:lnTo>
                    <a:pt x="165" y="51"/>
                  </a:lnTo>
                  <a:lnTo>
                    <a:pt x="167" y="51"/>
                  </a:lnTo>
                  <a:lnTo>
                    <a:pt x="168" y="52"/>
                  </a:lnTo>
                  <a:lnTo>
                    <a:pt x="168" y="55"/>
                  </a:lnTo>
                  <a:lnTo>
                    <a:pt x="168" y="60"/>
                  </a:lnTo>
                  <a:lnTo>
                    <a:pt x="168" y="61"/>
                  </a:lnTo>
                  <a:lnTo>
                    <a:pt x="167" y="64"/>
                  </a:lnTo>
                  <a:lnTo>
                    <a:pt x="167" y="67"/>
                  </a:lnTo>
                  <a:lnTo>
                    <a:pt x="165" y="74"/>
                  </a:lnTo>
                  <a:lnTo>
                    <a:pt x="165" y="82"/>
                  </a:lnTo>
                  <a:lnTo>
                    <a:pt x="165" y="83"/>
                  </a:lnTo>
                  <a:lnTo>
                    <a:pt x="164" y="84"/>
                  </a:lnTo>
                  <a:lnTo>
                    <a:pt x="164" y="84"/>
                  </a:lnTo>
                  <a:lnTo>
                    <a:pt x="162" y="86"/>
                  </a:lnTo>
                  <a:lnTo>
                    <a:pt x="159" y="87"/>
                  </a:lnTo>
                  <a:lnTo>
                    <a:pt x="153" y="89"/>
                  </a:lnTo>
                  <a:lnTo>
                    <a:pt x="152" y="89"/>
                  </a:lnTo>
                  <a:lnTo>
                    <a:pt x="152" y="90"/>
                  </a:lnTo>
                  <a:lnTo>
                    <a:pt x="150" y="92"/>
                  </a:lnTo>
                  <a:lnTo>
                    <a:pt x="152" y="95"/>
                  </a:lnTo>
                  <a:lnTo>
                    <a:pt x="153" y="105"/>
                  </a:lnTo>
                  <a:lnTo>
                    <a:pt x="155" y="109"/>
                  </a:lnTo>
                  <a:lnTo>
                    <a:pt x="155" y="114"/>
                  </a:lnTo>
                  <a:lnTo>
                    <a:pt x="155" y="116"/>
                  </a:lnTo>
                  <a:lnTo>
                    <a:pt x="156" y="119"/>
                  </a:lnTo>
                  <a:lnTo>
                    <a:pt x="159" y="121"/>
                  </a:lnTo>
                  <a:lnTo>
                    <a:pt x="165" y="122"/>
                  </a:lnTo>
                  <a:lnTo>
                    <a:pt x="168" y="125"/>
                  </a:lnTo>
                  <a:lnTo>
                    <a:pt x="177" y="140"/>
                  </a:lnTo>
                  <a:lnTo>
                    <a:pt x="185" y="144"/>
                  </a:lnTo>
                  <a:lnTo>
                    <a:pt x="188" y="147"/>
                  </a:lnTo>
                  <a:lnTo>
                    <a:pt x="200" y="160"/>
                  </a:lnTo>
                  <a:lnTo>
                    <a:pt x="200" y="160"/>
                  </a:lnTo>
                  <a:lnTo>
                    <a:pt x="200" y="159"/>
                  </a:lnTo>
                  <a:lnTo>
                    <a:pt x="201" y="159"/>
                  </a:lnTo>
                  <a:lnTo>
                    <a:pt x="203" y="159"/>
                  </a:lnTo>
                  <a:lnTo>
                    <a:pt x="203" y="162"/>
                  </a:lnTo>
                  <a:lnTo>
                    <a:pt x="204" y="173"/>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16">
              <a:extLst>
                <a:ext uri="{FF2B5EF4-FFF2-40B4-BE49-F238E27FC236}">
                  <a16:creationId xmlns:a16="http://schemas.microsoft.com/office/drawing/2014/main" id="{93370C55-534A-4AFB-A4F3-2FB13C5E33D8}"/>
                </a:ext>
              </a:extLst>
            </p:cNvPr>
            <p:cNvSpPr>
              <a:spLocks/>
            </p:cNvSpPr>
            <p:nvPr/>
          </p:nvSpPr>
          <p:spPr bwMode="gray">
            <a:xfrm>
              <a:off x="5024438" y="1731963"/>
              <a:ext cx="273050" cy="184150"/>
            </a:xfrm>
            <a:custGeom>
              <a:avLst/>
              <a:gdLst>
                <a:gd name="T0" fmla="*/ 25 w 172"/>
                <a:gd name="T1" fmla="*/ 8 h 116"/>
                <a:gd name="T2" fmla="*/ 32 w 172"/>
                <a:gd name="T3" fmla="*/ 5 h 116"/>
                <a:gd name="T4" fmla="*/ 43 w 172"/>
                <a:gd name="T5" fmla="*/ 11 h 116"/>
                <a:gd name="T6" fmla="*/ 68 w 172"/>
                <a:gd name="T7" fmla="*/ 21 h 116"/>
                <a:gd name="T8" fmla="*/ 73 w 172"/>
                <a:gd name="T9" fmla="*/ 20 h 116"/>
                <a:gd name="T10" fmla="*/ 74 w 172"/>
                <a:gd name="T11" fmla="*/ 20 h 116"/>
                <a:gd name="T12" fmla="*/ 83 w 172"/>
                <a:gd name="T13" fmla="*/ 19 h 116"/>
                <a:gd name="T14" fmla="*/ 87 w 172"/>
                <a:gd name="T15" fmla="*/ 20 h 116"/>
                <a:gd name="T16" fmla="*/ 89 w 172"/>
                <a:gd name="T17" fmla="*/ 21 h 116"/>
                <a:gd name="T18" fmla="*/ 89 w 172"/>
                <a:gd name="T19" fmla="*/ 23 h 116"/>
                <a:gd name="T20" fmla="*/ 89 w 172"/>
                <a:gd name="T21" fmla="*/ 26 h 116"/>
                <a:gd name="T22" fmla="*/ 99 w 172"/>
                <a:gd name="T23" fmla="*/ 32 h 116"/>
                <a:gd name="T24" fmla="*/ 110 w 172"/>
                <a:gd name="T25" fmla="*/ 32 h 116"/>
                <a:gd name="T26" fmla="*/ 115 w 172"/>
                <a:gd name="T27" fmla="*/ 33 h 116"/>
                <a:gd name="T28" fmla="*/ 127 w 172"/>
                <a:gd name="T29" fmla="*/ 43 h 116"/>
                <a:gd name="T30" fmla="*/ 143 w 172"/>
                <a:gd name="T31" fmla="*/ 51 h 116"/>
                <a:gd name="T32" fmla="*/ 145 w 172"/>
                <a:gd name="T33" fmla="*/ 49 h 116"/>
                <a:gd name="T34" fmla="*/ 147 w 172"/>
                <a:gd name="T35" fmla="*/ 48 h 116"/>
                <a:gd name="T36" fmla="*/ 147 w 172"/>
                <a:gd name="T37" fmla="*/ 45 h 116"/>
                <a:gd name="T38" fmla="*/ 150 w 172"/>
                <a:gd name="T39" fmla="*/ 39 h 116"/>
                <a:gd name="T40" fmla="*/ 151 w 172"/>
                <a:gd name="T41" fmla="*/ 37 h 116"/>
                <a:gd name="T42" fmla="*/ 153 w 172"/>
                <a:gd name="T43" fmla="*/ 36 h 116"/>
                <a:gd name="T44" fmla="*/ 159 w 172"/>
                <a:gd name="T45" fmla="*/ 40 h 116"/>
                <a:gd name="T46" fmla="*/ 167 w 172"/>
                <a:gd name="T47" fmla="*/ 51 h 116"/>
                <a:gd name="T48" fmla="*/ 166 w 172"/>
                <a:gd name="T49" fmla="*/ 53 h 116"/>
                <a:gd name="T50" fmla="*/ 161 w 172"/>
                <a:gd name="T51" fmla="*/ 59 h 116"/>
                <a:gd name="T52" fmla="*/ 163 w 172"/>
                <a:gd name="T53" fmla="*/ 64 h 116"/>
                <a:gd name="T54" fmla="*/ 172 w 172"/>
                <a:gd name="T55" fmla="*/ 74 h 116"/>
                <a:gd name="T56" fmla="*/ 172 w 172"/>
                <a:gd name="T57" fmla="*/ 77 h 116"/>
                <a:gd name="T58" fmla="*/ 169 w 172"/>
                <a:gd name="T59" fmla="*/ 83 h 116"/>
                <a:gd name="T60" fmla="*/ 167 w 172"/>
                <a:gd name="T61" fmla="*/ 94 h 116"/>
                <a:gd name="T62" fmla="*/ 166 w 172"/>
                <a:gd name="T63" fmla="*/ 100 h 116"/>
                <a:gd name="T64" fmla="*/ 148 w 172"/>
                <a:gd name="T65" fmla="*/ 115 h 116"/>
                <a:gd name="T66" fmla="*/ 129 w 172"/>
                <a:gd name="T67" fmla="*/ 103 h 116"/>
                <a:gd name="T68" fmla="*/ 129 w 172"/>
                <a:gd name="T69" fmla="*/ 104 h 116"/>
                <a:gd name="T70" fmla="*/ 129 w 172"/>
                <a:gd name="T71" fmla="*/ 107 h 116"/>
                <a:gd name="T72" fmla="*/ 127 w 172"/>
                <a:gd name="T73" fmla="*/ 109 h 116"/>
                <a:gd name="T74" fmla="*/ 118 w 172"/>
                <a:gd name="T75" fmla="*/ 110 h 116"/>
                <a:gd name="T76" fmla="*/ 99 w 172"/>
                <a:gd name="T77" fmla="*/ 99 h 116"/>
                <a:gd name="T78" fmla="*/ 94 w 172"/>
                <a:gd name="T79" fmla="*/ 99 h 116"/>
                <a:gd name="T80" fmla="*/ 78 w 172"/>
                <a:gd name="T81" fmla="*/ 103 h 116"/>
                <a:gd name="T82" fmla="*/ 73 w 172"/>
                <a:gd name="T83" fmla="*/ 102 h 116"/>
                <a:gd name="T84" fmla="*/ 73 w 172"/>
                <a:gd name="T85" fmla="*/ 100 h 116"/>
                <a:gd name="T86" fmla="*/ 73 w 172"/>
                <a:gd name="T87" fmla="*/ 99 h 116"/>
                <a:gd name="T88" fmla="*/ 73 w 172"/>
                <a:gd name="T89" fmla="*/ 81 h 116"/>
                <a:gd name="T90" fmla="*/ 68 w 172"/>
                <a:gd name="T91" fmla="*/ 80 h 116"/>
                <a:gd name="T92" fmla="*/ 49 w 172"/>
                <a:gd name="T93" fmla="*/ 55 h 116"/>
                <a:gd name="T94" fmla="*/ 48 w 172"/>
                <a:gd name="T95" fmla="*/ 49 h 116"/>
                <a:gd name="T96" fmla="*/ 48 w 172"/>
                <a:gd name="T97" fmla="*/ 37 h 116"/>
                <a:gd name="T98" fmla="*/ 41 w 172"/>
                <a:gd name="T99" fmla="*/ 26 h 116"/>
                <a:gd name="T100" fmla="*/ 29 w 172"/>
                <a:gd name="T101" fmla="*/ 26 h 116"/>
                <a:gd name="T102" fmla="*/ 6 w 172"/>
                <a:gd name="T103" fmla="*/ 14 h 116"/>
                <a:gd name="T104" fmla="*/ 3 w 172"/>
                <a:gd name="T105" fmla="*/ 4 h 116"/>
                <a:gd name="T106" fmla="*/ 9 w 172"/>
                <a:gd name="T107" fmla="*/ 0 h 116"/>
                <a:gd name="T108" fmla="*/ 23 w 172"/>
                <a:gd name="T109" fmla="*/ 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116">
                  <a:moveTo>
                    <a:pt x="23" y="7"/>
                  </a:moveTo>
                  <a:lnTo>
                    <a:pt x="25" y="8"/>
                  </a:lnTo>
                  <a:lnTo>
                    <a:pt x="25" y="8"/>
                  </a:lnTo>
                  <a:lnTo>
                    <a:pt x="32" y="5"/>
                  </a:lnTo>
                  <a:lnTo>
                    <a:pt x="33" y="5"/>
                  </a:lnTo>
                  <a:lnTo>
                    <a:pt x="43" y="11"/>
                  </a:lnTo>
                  <a:lnTo>
                    <a:pt x="64" y="20"/>
                  </a:lnTo>
                  <a:lnTo>
                    <a:pt x="68" y="21"/>
                  </a:lnTo>
                  <a:lnTo>
                    <a:pt x="71" y="21"/>
                  </a:lnTo>
                  <a:lnTo>
                    <a:pt x="73" y="20"/>
                  </a:lnTo>
                  <a:lnTo>
                    <a:pt x="73" y="20"/>
                  </a:lnTo>
                  <a:lnTo>
                    <a:pt x="74" y="20"/>
                  </a:lnTo>
                  <a:lnTo>
                    <a:pt x="76" y="20"/>
                  </a:lnTo>
                  <a:lnTo>
                    <a:pt x="83" y="19"/>
                  </a:lnTo>
                  <a:lnTo>
                    <a:pt x="87" y="20"/>
                  </a:lnTo>
                  <a:lnTo>
                    <a:pt x="87" y="20"/>
                  </a:lnTo>
                  <a:lnTo>
                    <a:pt x="89" y="20"/>
                  </a:lnTo>
                  <a:lnTo>
                    <a:pt x="89" y="21"/>
                  </a:lnTo>
                  <a:lnTo>
                    <a:pt x="89" y="21"/>
                  </a:lnTo>
                  <a:lnTo>
                    <a:pt x="89" y="23"/>
                  </a:lnTo>
                  <a:lnTo>
                    <a:pt x="89" y="24"/>
                  </a:lnTo>
                  <a:lnTo>
                    <a:pt x="89" y="26"/>
                  </a:lnTo>
                  <a:lnTo>
                    <a:pt x="92" y="27"/>
                  </a:lnTo>
                  <a:lnTo>
                    <a:pt x="99" y="32"/>
                  </a:lnTo>
                  <a:lnTo>
                    <a:pt x="100" y="33"/>
                  </a:lnTo>
                  <a:lnTo>
                    <a:pt x="110" y="32"/>
                  </a:lnTo>
                  <a:lnTo>
                    <a:pt x="115" y="33"/>
                  </a:lnTo>
                  <a:lnTo>
                    <a:pt x="115" y="33"/>
                  </a:lnTo>
                  <a:lnTo>
                    <a:pt x="121" y="39"/>
                  </a:lnTo>
                  <a:lnTo>
                    <a:pt x="127" y="43"/>
                  </a:lnTo>
                  <a:lnTo>
                    <a:pt x="140" y="51"/>
                  </a:lnTo>
                  <a:lnTo>
                    <a:pt x="143" y="51"/>
                  </a:lnTo>
                  <a:lnTo>
                    <a:pt x="144" y="51"/>
                  </a:lnTo>
                  <a:lnTo>
                    <a:pt x="145" y="49"/>
                  </a:lnTo>
                  <a:lnTo>
                    <a:pt x="145" y="49"/>
                  </a:lnTo>
                  <a:lnTo>
                    <a:pt x="147" y="48"/>
                  </a:lnTo>
                  <a:lnTo>
                    <a:pt x="147" y="46"/>
                  </a:lnTo>
                  <a:lnTo>
                    <a:pt x="147" y="45"/>
                  </a:lnTo>
                  <a:lnTo>
                    <a:pt x="147" y="43"/>
                  </a:lnTo>
                  <a:lnTo>
                    <a:pt x="150" y="39"/>
                  </a:lnTo>
                  <a:lnTo>
                    <a:pt x="150" y="37"/>
                  </a:lnTo>
                  <a:lnTo>
                    <a:pt x="151" y="37"/>
                  </a:lnTo>
                  <a:lnTo>
                    <a:pt x="153" y="36"/>
                  </a:lnTo>
                  <a:lnTo>
                    <a:pt x="153" y="36"/>
                  </a:lnTo>
                  <a:lnTo>
                    <a:pt x="154" y="36"/>
                  </a:lnTo>
                  <a:lnTo>
                    <a:pt x="159" y="40"/>
                  </a:lnTo>
                  <a:lnTo>
                    <a:pt x="166" y="49"/>
                  </a:lnTo>
                  <a:lnTo>
                    <a:pt x="167" y="51"/>
                  </a:lnTo>
                  <a:lnTo>
                    <a:pt x="167" y="52"/>
                  </a:lnTo>
                  <a:lnTo>
                    <a:pt x="166" y="53"/>
                  </a:lnTo>
                  <a:lnTo>
                    <a:pt x="161" y="58"/>
                  </a:lnTo>
                  <a:lnTo>
                    <a:pt x="161" y="59"/>
                  </a:lnTo>
                  <a:lnTo>
                    <a:pt x="161" y="59"/>
                  </a:lnTo>
                  <a:lnTo>
                    <a:pt x="163" y="64"/>
                  </a:lnTo>
                  <a:lnTo>
                    <a:pt x="170" y="72"/>
                  </a:lnTo>
                  <a:lnTo>
                    <a:pt x="172" y="74"/>
                  </a:lnTo>
                  <a:lnTo>
                    <a:pt x="172" y="75"/>
                  </a:lnTo>
                  <a:lnTo>
                    <a:pt x="172" y="77"/>
                  </a:lnTo>
                  <a:lnTo>
                    <a:pt x="169" y="80"/>
                  </a:lnTo>
                  <a:lnTo>
                    <a:pt x="169" y="83"/>
                  </a:lnTo>
                  <a:lnTo>
                    <a:pt x="167" y="87"/>
                  </a:lnTo>
                  <a:lnTo>
                    <a:pt x="167" y="94"/>
                  </a:lnTo>
                  <a:lnTo>
                    <a:pt x="166" y="97"/>
                  </a:lnTo>
                  <a:lnTo>
                    <a:pt x="166" y="100"/>
                  </a:lnTo>
                  <a:lnTo>
                    <a:pt x="161" y="106"/>
                  </a:lnTo>
                  <a:lnTo>
                    <a:pt x="148" y="115"/>
                  </a:lnTo>
                  <a:lnTo>
                    <a:pt x="145" y="116"/>
                  </a:lnTo>
                  <a:lnTo>
                    <a:pt x="129" y="103"/>
                  </a:lnTo>
                  <a:lnTo>
                    <a:pt x="129" y="103"/>
                  </a:lnTo>
                  <a:lnTo>
                    <a:pt x="129" y="104"/>
                  </a:lnTo>
                  <a:lnTo>
                    <a:pt x="129" y="106"/>
                  </a:lnTo>
                  <a:lnTo>
                    <a:pt x="129" y="107"/>
                  </a:lnTo>
                  <a:lnTo>
                    <a:pt x="128" y="109"/>
                  </a:lnTo>
                  <a:lnTo>
                    <a:pt x="127" y="109"/>
                  </a:lnTo>
                  <a:lnTo>
                    <a:pt x="121" y="110"/>
                  </a:lnTo>
                  <a:lnTo>
                    <a:pt x="118" y="110"/>
                  </a:lnTo>
                  <a:lnTo>
                    <a:pt x="115" y="110"/>
                  </a:lnTo>
                  <a:lnTo>
                    <a:pt x="99" y="99"/>
                  </a:lnTo>
                  <a:lnTo>
                    <a:pt x="96" y="99"/>
                  </a:lnTo>
                  <a:lnTo>
                    <a:pt x="94" y="99"/>
                  </a:lnTo>
                  <a:lnTo>
                    <a:pt x="92" y="100"/>
                  </a:lnTo>
                  <a:lnTo>
                    <a:pt x="78" y="103"/>
                  </a:lnTo>
                  <a:lnTo>
                    <a:pt x="73" y="102"/>
                  </a:lnTo>
                  <a:lnTo>
                    <a:pt x="73" y="102"/>
                  </a:lnTo>
                  <a:lnTo>
                    <a:pt x="73" y="100"/>
                  </a:lnTo>
                  <a:lnTo>
                    <a:pt x="73" y="100"/>
                  </a:lnTo>
                  <a:lnTo>
                    <a:pt x="73" y="100"/>
                  </a:lnTo>
                  <a:lnTo>
                    <a:pt x="73" y="99"/>
                  </a:lnTo>
                  <a:lnTo>
                    <a:pt x="73" y="84"/>
                  </a:lnTo>
                  <a:lnTo>
                    <a:pt x="73" y="81"/>
                  </a:lnTo>
                  <a:lnTo>
                    <a:pt x="71" y="81"/>
                  </a:lnTo>
                  <a:lnTo>
                    <a:pt x="68" y="80"/>
                  </a:lnTo>
                  <a:lnTo>
                    <a:pt x="55" y="64"/>
                  </a:lnTo>
                  <a:lnTo>
                    <a:pt x="49" y="55"/>
                  </a:lnTo>
                  <a:lnTo>
                    <a:pt x="49" y="52"/>
                  </a:lnTo>
                  <a:lnTo>
                    <a:pt x="48" y="49"/>
                  </a:lnTo>
                  <a:lnTo>
                    <a:pt x="48" y="49"/>
                  </a:lnTo>
                  <a:lnTo>
                    <a:pt x="48" y="37"/>
                  </a:lnTo>
                  <a:lnTo>
                    <a:pt x="42" y="27"/>
                  </a:lnTo>
                  <a:lnTo>
                    <a:pt x="41" y="26"/>
                  </a:lnTo>
                  <a:lnTo>
                    <a:pt x="33" y="27"/>
                  </a:lnTo>
                  <a:lnTo>
                    <a:pt x="29" y="26"/>
                  </a:lnTo>
                  <a:lnTo>
                    <a:pt x="20" y="20"/>
                  </a:lnTo>
                  <a:lnTo>
                    <a:pt x="6" y="14"/>
                  </a:lnTo>
                  <a:lnTo>
                    <a:pt x="3" y="8"/>
                  </a:lnTo>
                  <a:lnTo>
                    <a:pt x="3" y="4"/>
                  </a:lnTo>
                  <a:lnTo>
                    <a:pt x="0" y="1"/>
                  </a:lnTo>
                  <a:lnTo>
                    <a:pt x="9" y="0"/>
                  </a:lnTo>
                  <a:lnTo>
                    <a:pt x="11" y="0"/>
                  </a:lnTo>
                  <a:lnTo>
                    <a:pt x="23" y="7"/>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17">
              <a:extLst>
                <a:ext uri="{FF2B5EF4-FFF2-40B4-BE49-F238E27FC236}">
                  <a16:creationId xmlns:a16="http://schemas.microsoft.com/office/drawing/2014/main" id="{50505341-71A8-494B-A86C-FA3E069B587C}"/>
                </a:ext>
              </a:extLst>
            </p:cNvPr>
            <p:cNvSpPr>
              <a:spLocks noEditPoints="1"/>
            </p:cNvSpPr>
            <p:nvPr/>
          </p:nvSpPr>
          <p:spPr bwMode="gray">
            <a:xfrm>
              <a:off x="6557963" y="1438275"/>
              <a:ext cx="1924050" cy="1982788"/>
            </a:xfrm>
            <a:custGeom>
              <a:avLst/>
              <a:gdLst>
                <a:gd name="T0" fmla="*/ 708 w 1212"/>
                <a:gd name="T1" fmla="*/ 527 h 1249"/>
                <a:gd name="T2" fmla="*/ 695 w 1212"/>
                <a:gd name="T3" fmla="*/ 522 h 1249"/>
                <a:gd name="T4" fmla="*/ 657 w 1212"/>
                <a:gd name="T5" fmla="*/ 546 h 1249"/>
                <a:gd name="T6" fmla="*/ 645 w 1212"/>
                <a:gd name="T7" fmla="*/ 611 h 1249"/>
                <a:gd name="T8" fmla="*/ 636 w 1212"/>
                <a:gd name="T9" fmla="*/ 640 h 1249"/>
                <a:gd name="T10" fmla="*/ 655 w 1212"/>
                <a:gd name="T11" fmla="*/ 659 h 1249"/>
                <a:gd name="T12" fmla="*/ 702 w 1212"/>
                <a:gd name="T13" fmla="*/ 651 h 1249"/>
                <a:gd name="T14" fmla="*/ 748 w 1212"/>
                <a:gd name="T15" fmla="*/ 662 h 1249"/>
                <a:gd name="T16" fmla="*/ 772 w 1212"/>
                <a:gd name="T17" fmla="*/ 659 h 1249"/>
                <a:gd name="T18" fmla="*/ 823 w 1212"/>
                <a:gd name="T19" fmla="*/ 688 h 1249"/>
                <a:gd name="T20" fmla="*/ 845 w 1212"/>
                <a:gd name="T21" fmla="*/ 662 h 1249"/>
                <a:gd name="T22" fmla="*/ 855 w 1212"/>
                <a:gd name="T23" fmla="*/ 624 h 1249"/>
                <a:gd name="T24" fmla="*/ 773 w 1212"/>
                <a:gd name="T25" fmla="*/ 537 h 1249"/>
                <a:gd name="T26" fmla="*/ 919 w 1212"/>
                <a:gd name="T27" fmla="*/ 68 h 1249"/>
                <a:gd name="T28" fmla="*/ 983 w 1212"/>
                <a:gd name="T29" fmla="*/ 157 h 1249"/>
                <a:gd name="T30" fmla="*/ 1097 w 1212"/>
                <a:gd name="T31" fmla="*/ 166 h 1249"/>
                <a:gd name="T32" fmla="*/ 1070 w 1212"/>
                <a:gd name="T33" fmla="*/ 276 h 1249"/>
                <a:gd name="T34" fmla="*/ 990 w 1212"/>
                <a:gd name="T35" fmla="*/ 400 h 1249"/>
                <a:gd name="T36" fmla="*/ 1161 w 1212"/>
                <a:gd name="T37" fmla="*/ 549 h 1249"/>
                <a:gd name="T38" fmla="*/ 1169 w 1212"/>
                <a:gd name="T39" fmla="*/ 735 h 1249"/>
                <a:gd name="T40" fmla="*/ 1206 w 1212"/>
                <a:gd name="T41" fmla="*/ 849 h 1249"/>
                <a:gd name="T42" fmla="*/ 1151 w 1212"/>
                <a:gd name="T43" fmla="*/ 994 h 1249"/>
                <a:gd name="T44" fmla="*/ 1193 w 1212"/>
                <a:gd name="T45" fmla="*/ 1141 h 1249"/>
                <a:gd name="T46" fmla="*/ 970 w 1212"/>
                <a:gd name="T47" fmla="*/ 1179 h 1249"/>
                <a:gd name="T48" fmla="*/ 796 w 1212"/>
                <a:gd name="T49" fmla="*/ 1239 h 1249"/>
                <a:gd name="T50" fmla="*/ 687 w 1212"/>
                <a:gd name="T51" fmla="*/ 1227 h 1249"/>
                <a:gd name="T52" fmla="*/ 661 w 1212"/>
                <a:gd name="T53" fmla="*/ 1214 h 1249"/>
                <a:gd name="T54" fmla="*/ 673 w 1212"/>
                <a:gd name="T55" fmla="*/ 1169 h 1249"/>
                <a:gd name="T56" fmla="*/ 648 w 1212"/>
                <a:gd name="T57" fmla="*/ 1115 h 1249"/>
                <a:gd name="T58" fmla="*/ 655 w 1212"/>
                <a:gd name="T59" fmla="*/ 1029 h 1249"/>
                <a:gd name="T60" fmla="*/ 648 w 1212"/>
                <a:gd name="T61" fmla="*/ 965 h 1249"/>
                <a:gd name="T62" fmla="*/ 546 w 1212"/>
                <a:gd name="T63" fmla="*/ 917 h 1249"/>
                <a:gd name="T64" fmla="*/ 425 w 1212"/>
                <a:gd name="T65" fmla="*/ 883 h 1249"/>
                <a:gd name="T66" fmla="*/ 378 w 1212"/>
                <a:gd name="T67" fmla="*/ 862 h 1249"/>
                <a:gd name="T68" fmla="*/ 322 w 1212"/>
                <a:gd name="T69" fmla="*/ 771 h 1249"/>
                <a:gd name="T70" fmla="*/ 324 w 1212"/>
                <a:gd name="T71" fmla="*/ 710 h 1249"/>
                <a:gd name="T72" fmla="*/ 333 w 1212"/>
                <a:gd name="T73" fmla="*/ 665 h 1249"/>
                <a:gd name="T74" fmla="*/ 352 w 1212"/>
                <a:gd name="T75" fmla="*/ 610 h 1249"/>
                <a:gd name="T76" fmla="*/ 341 w 1212"/>
                <a:gd name="T77" fmla="*/ 594 h 1249"/>
                <a:gd name="T78" fmla="*/ 316 w 1212"/>
                <a:gd name="T79" fmla="*/ 592 h 1249"/>
                <a:gd name="T80" fmla="*/ 303 w 1212"/>
                <a:gd name="T81" fmla="*/ 572 h 1249"/>
                <a:gd name="T82" fmla="*/ 324 w 1212"/>
                <a:gd name="T83" fmla="*/ 518 h 1249"/>
                <a:gd name="T84" fmla="*/ 319 w 1212"/>
                <a:gd name="T85" fmla="*/ 467 h 1249"/>
                <a:gd name="T86" fmla="*/ 326 w 1212"/>
                <a:gd name="T87" fmla="*/ 399 h 1249"/>
                <a:gd name="T88" fmla="*/ 260 w 1212"/>
                <a:gd name="T89" fmla="*/ 380 h 1249"/>
                <a:gd name="T90" fmla="*/ 164 w 1212"/>
                <a:gd name="T91" fmla="*/ 319 h 1249"/>
                <a:gd name="T92" fmla="*/ 90 w 1212"/>
                <a:gd name="T93" fmla="*/ 284 h 1249"/>
                <a:gd name="T94" fmla="*/ 35 w 1212"/>
                <a:gd name="T95" fmla="*/ 252 h 1249"/>
                <a:gd name="T96" fmla="*/ 91 w 1212"/>
                <a:gd name="T97" fmla="*/ 196 h 1249"/>
                <a:gd name="T98" fmla="*/ 204 w 1212"/>
                <a:gd name="T99" fmla="*/ 170 h 1249"/>
                <a:gd name="T100" fmla="*/ 291 w 1212"/>
                <a:gd name="T101" fmla="*/ 105 h 1249"/>
                <a:gd name="T102" fmla="*/ 333 w 1212"/>
                <a:gd name="T103" fmla="*/ 118 h 1249"/>
                <a:gd name="T104" fmla="*/ 425 w 1212"/>
                <a:gd name="T105" fmla="*/ 158 h 1249"/>
                <a:gd name="T106" fmla="*/ 515 w 1212"/>
                <a:gd name="T107" fmla="*/ 204 h 1249"/>
                <a:gd name="T108" fmla="*/ 582 w 1212"/>
                <a:gd name="T109" fmla="*/ 202 h 1249"/>
                <a:gd name="T110" fmla="*/ 616 w 1212"/>
                <a:gd name="T111" fmla="*/ 201 h 1249"/>
                <a:gd name="T112" fmla="*/ 648 w 1212"/>
                <a:gd name="T113" fmla="*/ 169 h 1249"/>
                <a:gd name="T114" fmla="*/ 689 w 1212"/>
                <a:gd name="T115" fmla="*/ 156 h 1249"/>
                <a:gd name="T116" fmla="*/ 786 w 1212"/>
                <a:gd name="T117" fmla="*/ 86 h 1249"/>
                <a:gd name="T118" fmla="*/ 903 w 1212"/>
                <a:gd name="T119" fmla="*/ 33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12" h="1249">
                  <a:moveTo>
                    <a:pt x="763" y="508"/>
                  </a:moveTo>
                  <a:lnTo>
                    <a:pt x="754" y="515"/>
                  </a:lnTo>
                  <a:lnTo>
                    <a:pt x="753" y="517"/>
                  </a:lnTo>
                  <a:lnTo>
                    <a:pt x="753" y="520"/>
                  </a:lnTo>
                  <a:lnTo>
                    <a:pt x="751" y="521"/>
                  </a:lnTo>
                  <a:lnTo>
                    <a:pt x="750" y="521"/>
                  </a:lnTo>
                  <a:lnTo>
                    <a:pt x="750" y="521"/>
                  </a:lnTo>
                  <a:lnTo>
                    <a:pt x="743" y="517"/>
                  </a:lnTo>
                  <a:lnTo>
                    <a:pt x="735" y="522"/>
                  </a:lnTo>
                  <a:lnTo>
                    <a:pt x="732" y="527"/>
                  </a:lnTo>
                  <a:lnTo>
                    <a:pt x="732" y="528"/>
                  </a:lnTo>
                  <a:lnTo>
                    <a:pt x="731" y="530"/>
                  </a:lnTo>
                  <a:lnTo>
                    <a:pt x="729" y="530"/>
                  </a:lnTo>
                  <a:lnTo>
                    <a:pt x="727" y="531"/>
                  </a:lnTo>
                  <a:lnTo>
                    <a:pt x="713" y="530"/>
                  </a:lnTo>
                  <a:lnTo>
                    <a:pt x="708" y="527"/>
                  </a:lnTo>
                  <a:lnTo>
                    <a:pt x="706" y="527"/>
                  </a:lnTo>
                  <a:lnTo>
                    <a:pt x="706" y="525"/>
                  </a:lnTo>
                  <a:lnTo>
                    <a:pt x="705" y="524"/>
                  </a:lnTo>
                  <a:lnTo>
                    <a:pt x="705" y="518"/>
                  </a:lnTo>
                  <a:lnTo>
                    <a:pt x="705" y="517"/>
                  </a:lnTo>
                  <a:lnTo>
                    <a:pt x="703" y="515"/>
                  </a:lnTo>
                  <a:lnTo>
                    <a:pt x="705" y="514"/>
                  </a:lnTo>
                  <a:lnTo>
                    <a:pt x="705" y="512"/>
                  </a:lnTo>
                  <a:lnTo>
                    <a:pt x="705" y="512"/>
                  </a:lnTo>
                  <a:lnTo>
                    <a:pt x="705" y="512"/>
                  </a:lnTo>
                  <a:lnTo>
                    <a:pt x="700" y="512"/>
                  </a:lnTo>
                  <a:lnTo>
                    <a:pt x="699" y="512"/>
                  </a:lnTo>
                  <a:lnTo>
                    <a:pt x="697" y="514"/>
                  </a:lnTo>
                  <a:lnTo>
                    <a:pt x="697" y="517"/>
                  </a:lnTo>
                  <a:lnTo>
                    <a:pt x="696" y="520"/>
                  </a:lnTo>
                  <a:lnTo>
                    <a:pt x="695" y="522"/>
                  </a:lnTo>
                  <a:lnTo>
                    <a:pt x="690" y="525"/>
                  </a:lnTo>
                  <a:lnTo>
                    <a:pt x="687" y="527"/>
                  </a:lnTo>
                  <a:lnTo>
                    <a:pt x="677" y="528"/>
                  </a:lnTo>
                  <a:lnTo>
                    <a:pt x="677" y="530"/>
                  </a:lnTo>
                  <a:lnTo>
                    <a:pt x="673" y="538"/>
                  </a:lnTo>
                  <a:lnTo>
                    <a:pt x="673" y="540"/>
                  </a:lnTo>
                  <a:lnTo>
                    <a:pt x="673" y="541"/>
                  </a:lnTo>
                  <a:lnTo>
                    <a:pt x="673" y="544"/>
                  </a:lnTo>
                  <a:lnTo>
                    <a:pt x="673" y="546"/>
                  </a:lnTo>
                  <a:lnTo>
                    <a:pt x="673" y="546"/>
                  </a:lnTo>
                  <a:lnTo>
                    <a:pt x="674" y="549"/>
                  </a:lnTo>
                  <a:lnTo>
                    <a:pt x="674" y="549"/>
                  </a:lnTo>
                  <a:lnTo>
                    <a:pt x="676" y="550"/>
                  </a:lnTo>
                  <a:lnTo>
                    <a:pt x="676" y="552"/>
                  </a:lnTo>
                  <a:lnTo>
                    <a:pt x="671" y="552"/>
                  </a:lnTo>
                  <a:lnTo>
                    <a:pt x="657" y="546"/>
                  </a:lnTo>
                  <a:lnTo>
                    <a:pt x="654" y="544"/>
                  </a:lnTo>
                  <a:lnTo>
                    <a:pt x="654" y="544"/>
                  </a:lnTo>
                  <a:lnTo>
                    <a:pt x="652" y="546"/>
                  </a:lnTo>
                  <a:lnTo>
                    <a:pt x="651" y="549"/>
                  </a:lnTo>
                  <a:lnTo>
                    <a:pt x="651" y="550"/>
                  </a:lnTo>
                  <a:lnTo>
                    <a:pt x="651" y="552"/>
                  </a:lnTo>
                  <a:lnTo>
                    <a:pt x="649" y="553"/>
                  </a:lnTo>
                  <a:lnTo>
                    <a:pt x="651" y="554"/>
                  </a:lnTo>
                  <a:lnTo>
                    <a:pt x="651" y="557"/>
                  </a:lnTo>
                  <a:lnTo>
                    <a:pt x="651" y="563"/>
                  </a:lnTo>
                  <a:lnTo>
                    <a:pt x="649" y="572"/>
                  </a:lnTo>
                  <a:lnTo>
                    <a:pt x="648" y="588"/>
                  </a:lnTo>
                  <a:lnTo>
                    <a:pt x="654" y="597"/>
                  </a:lnTo>
                  <a:lnTo>
                    <a:pt x="654" y="598"/>
                  </a:lnTo>
                  <a:lnTo>
                    <a:pt x="654" y="601"/>
                  </a:lnTo>
                  <a:lnTo>
                    <a:pt x="645" y="611"/>
                  </a:lnTo>
                  <a:lnTo>
                    <a:pt x="644" y="613"/>
                  </a:lnTo>
                  <a:lnTo>
                    <a:pt x="641" y="614"/>
                  </a:lnTo>
                  <a:lnTo>
                    <a:pt x="641" y="614"/>
                  </a:lnTo>
                  <a:lnTo>
                    <a:pt x="639" y="616"/>
                  </a:lnTo>
                  <a:lnTo>
                    <a:pt x="639" y="617"/>
                  </a:lnTo>
                  <a:lnTo>
                    <a:pt x="638" y="621"/>
                  </a:lnTo>
                  <a:lnTo>
                    <a:pt x="638" y="624"/>
                  </a:lnTo>
                  <a:lnTo>
                    <a:pt x="638" y="627"/>
                  </a:lnTo>
                  <a:lnTo>
                    <a:pt x="638" y="630"/>
                  </a:lnTo>
                  <a:lnTo>
                    <a:pt x="639" y="632"/>
                  </a:lnTo>
                  <a:lnTo>
                    <a:pt x="641" y="635"/>
                  </a:lnTo>
                  <a:lnTo>
                    <a:pt x="641" y="635"/>
                  </a:lnTo>
                  <a:lnTo>
                    <a:pt x="639" y="636"/>
                  </a:lnTo>
                  <a:lnTo>
                    <a:pt x="638" y="637"/>
                  </a:lnTo>
                  <a:lnTo>
                    <a:pt x="636" y="639"/>
                  </a:lnTo>
                  <a:lnTo>
                    <a:pt x="636" y="640"/>
                  </a:lnTo>
                  <a:lnTo>
                    <a:pt x="636" y="640"/>
                  </a:lnTo>
                  <a:lnTo>
                    <a:pt x="636" y="642"/>
                  </a:lnTo>
                  <a:lnTo>
                    <a:pt x="636" y="643"/>
                  </a:lnTo>
                  <a:lnTo>
                    <a:pt x="635" y="643"/>
                  </a:lnTo>
                  <a:lnTo>
                    <a:pt x="632" y="648"/>
                  </a:lnTo>
                  <a:lnTo>
                    <a:pt x="632" y="649"/>
                  </a:lnTo>
                  <a:lnTo>
                    <a:pt x="632" y="649"/>
                  </a:lnTo>
                  <a:lnTo>
                    <a:pt x="632" y="651"/>
                  </a:lnTo>
                  <a:lnTo>
                    <a:pt x="632" y="651"/>
                  </a:lnTo>
                  <a:lnTo>
                    <a:pt x="632" y="651"/>
                  </a:lnTo>
                  <a:lnTo>
                    <a:pt x="633" y="651"/>
                  </a:lnTo>
                  <a:lnTo>
                    <a:pt x="639" y="656"/>
                  </a:lnTo>
                  <a:lnTo>
                    <a:pt x="641" y="656"/>
                  </a:lnTo>
                  <a:lnTo>
                    <a:pt x="642" y="658"/>
                  </a:lnTo>
                  <a:lnTo>
                    <a:pt x="654" y="659"/>
                  </a:lnTo>
                  <a:lnTo>
                    <a:pt x="655" y="659"/>
                  </a:lnTo>
                  <a:lnTo>
                    <a:pt x="657" y="659"/>
                  </a:lnTo>
                  <a:lnTo>
                    <a:pt x="658" y="658"/>
                  </a:lnTo>
                  <a:lnTo>
                    <a:pt x="658" y="656"/>
                  </a:lnTo>
                  <a:lnTo>
                    <a:pt x="660" y="655"/>
                  </a:lnTo>
                  <a:lnTo>
                    <a:pt x="674" y="648"/>
                  </a:lnTo>
                  <a:lnTo>
                    <a:pt x="676" y="648"/>
                  </a:lnTo>
                  <a:lnTo>
                    <a:pt x="678" y="649"/>
                  </a:lnTo>
                  <a:lnTo>
                    <a:pt x="683" y="652"/>
                  </a:lnTo>
                  <a:lnTo>
                    <a:pt x="686" y="655"/>
                  </a:lnTo>
                  <a:lnTo>
                    <a:pt x="687" y="655"/>
                  </a:lnTo>
                  <a:lnTo>
                    <a:pt x="689" y="655"/>
                  </a:lnTo>
                  <a:lnTo>
                    <a:pt x="699" y="651"/>
                  </a:lnTo>
                  <a:lnTo>
                    <a:pt x="700" y="651"/>
                  </a:lnTo>
                  <a:lnTo>
                    <a:pt x="702" y="649"/>
                  </a:lnTo>
                  <a:lnTo>
                    <a:pt x="702" y="649"/>
                  </a:lnTo>
                  <a:lnTo>
                    <a:pt x="702" y="651"/>
                  </a:lnTo>
                  <a:lnTo>
                    <a:pt x="703" y="652"/>
                  </a:lnTo>
                  <a:lnTo>
                    <a:pt x="706" y="656"/>
                  </a:lnTo>
                  <a:lnTo>
                    <a:pt x="708" y="658"/>
                  </a:lnTo>
                  <a:lnTo>
                    <a:pt x="708" y="658"/>
                  </a:lnTo>
                  <a:lnTo>
                    <a:pt x="716" y="655"/>
                  </a:lnTo>
                  <a:lnTo>
                    <a:pt x="719" y="653"/>
                  </a:lnTo>
                  <a:lnTo>
                    <a:pt x="721" y="655"/>
                  </a:lnTo>
                  <a:lnTo>
                    <a:pt x="722" y="656"/>
                  </a:lnTo>
                  <a:lnTo>
                    <a:pt x="727" y="661"/>
                  </a:lnTo>
                  <a:lnTo>
                    <a:pt x="729" y="664"/>
                  </a:lnTo>
                  <a:lnTo>
                    <a:pt x="731" y="665"/>
                  </a:lnTo>
                  <a:lnTo>
                    <a:pt x="737" y="668"/>
                  </a:lnTo>
                  <a:lnTo>
                    <a:pt x="747" y="668"/>
                  </a:lnTo>
                  <a:lnTo>
                    <a:pt x="748" y="665"/>
                  </a:lnTo>
                  <a:lnTo>
                    <a:pt x="748" y="664"/>
                  </a:lnTo>
                  <a:lnTo>
                    <a:pt x="748" y="662"/>
                  </a:lnTo>
                  <a:lnTo>
                    <a:pt x="747" y="659"/>
                  </a:lnTo>
                  <a:lnTo>
                    <a:pt x="747" y="656"/>
                  </a:lnTo>
                  <a:lnTo>
                    <a:pt x="747" y="655"/>
                  </a:lnTo>
                  <a:lnTo>
                    <a:pt x="747" y="653"/>
                  </a:lnTo>
                  <a:lnTo>
                    <a:pt x="748" y="652"/>
                  </a:lnTo>
                  <a:lnTo>
                    <a:pt x="748" y="652"/>
                  </a:lnTo>
                  <a:lnTo>
                    <a:pt x="750" y="651"/>
                  </a:lnTo>
                  <a:lnTo>
                    <a:pt x="756" y="649"/>
                  </a:lnTo>
                  <a:lnTo>
                    <a:pt x="759" y="649"/>
                  </a:lnTo>
                  <a:lnTo>
                    <a:pt x="760" y="649"/>
                  </a:lnTo>
                  <a:lnTo>
                    <a:pt x="763" y="651"/>
                  </a:lnTo>
                  <a:lnTo>
                    <a:pt x="764" y="653"/>
                  </a:lnTo>
                  <a:lnTo>
                    <a:pt x="764" y="656"/>
                  </a:lnTo>
                  <a:lnTo>
                    <a:pt x="766" y="658"/>
                  </a:lnTo>
                  <a:lnTo>
                    <a:pt x="767" y="659"/>
                  </a:lnTo>
                  <a:lnTo>
                    <a:pt x="772" y="659"/>
                  </a:lnTo>
                  <a:lnTo>
                    <a:pt x="775" y="659"/>
                  </a:lnTo>
                  <a:lnTo>
                    <a:pt x="776" y="659"/>
                  </a:lnTo>
                  <a:lnTo>
                    <a:pt x="776" y="658"/>
                  </a:lnTo>
                  <a:lnTo>
                    <a:pt x="778" y="656"/>
                  </a:lnTo>
                  <a:lnTo>
                    <a:pt x="779" y="656"/>
                  </a:lnTo>
                  <a:lnTo>
                    <a:pt x="780" y="655"/>
                  </a:lnTo>
                  <a:lnTo>
                    <a:pt x="783" y="655"/>
                  </a:lnTo>
                  <a:lnTo>
                    <a:pt x="796" y="661"/>
                  </a:lnTo>
                  <a:lnTo>
                    <a:pt x="802" y="664"/>
                  </a:lnTo>
                  <a:lnTo>
                    <a:pt x="811" y="667"/>
                  </a:lnTo>
                  <a:lnTo>
                    <a:pt x="814" y="668"/>
                  </a:lnTo>
                  <a:lnTo>
                    <a:pt x="817" y="667"/>
                  </a:lnTo>
                  <a:lnTo>
                    <a:pt x="820" y="668"/>
                  </a:lnTo>
                  <a:lnTo>
                    <a:pt x="821" y="671"/>
                  </a:lnTo>
                  <a:lnTo>
                    <a:pt x="823" y="680"/>
                  </a:lnTo>
                  <a:lnTo>
                    <a:pt x="823" y="688"/>
                  </a:lnTo>
                  <a:lnTo>
                    <a:pt x="823" y="690"/>
                  </a:lnTo>
                  <a:lnTo>
                    <a:pt x="823" y="690"/>
                  </a:lnTo>
                  <a:lnTo>
                    <a:pt x="824" y="691"/>
                  </a:lnTo>
                  <a:lnTo>
                    <a:pt x="827" y="691"/>
                  </a:lnTo>
                  <a:lnTo>
                    <a:pt x="831" y="681"/>
                  </a:lnTo>
                  <a:lnTo>
                    <a:pt x="833" y="680"/>
                  </a:lnTo>
                  <a:lnTo>
                    <a:pt x="833" y="680"/>
                  </a:lnTo>
                  <a:lnTo>
                    <a:pt x="842" y="677"/>
                  </a:lnTo>
                  <a:lnTo>
                    <a:pt x="842" y="677"/>
                  </a:lnTo>
                  <a:lnTo>
                    <a:pt x="843" y="675"/>
                  </a:lnTo>
                  <a:lnTo>
                    <a:pt x="843" y="675"/>
                  </a:lnTo>
                  <a:lnTo>
                    <a:pt x="845" y="674"/>
                  </a:lnTo>
                  <a:lnTo>
                    <a:pt x="845" y="672"/>
                  </a:lnTo>
                  <a:lnTo>
                    <a:pt x="845" y="671"/>
                  </a:lnTo>
                  <a:lnTo>
                    <a:pt x="845" y="668"/>
                  </a:lnTo>
                  <a:lnTo>
                    <a:pt x="845" y="662"/>
                  </a:lnTo>
                  <a:lnTo>
                    <a:pt x="845" y="659"/>
                  </a:lnTo>
                  <a:lnTo>
                    <a:pt x="846" y="655"/>
                  </a:lnTo>
                  <a:lnTo>
                    <a:pt x="847" y="653"/>
                  </a:lnTo>
                  <a:lnTo>
                    <a:pt x="849" y="652"/>
                  </a:lnTo>
                  <a:lnTo>
                    <a:pt x="855" y="646"/>
                  </a:lnTo>
                  <a:lnTo>
                    <a:pt x="856" y="645"/>
                  </a:lnTo>
                  <a:lnTo>
                    <a:pt x="856" y="643"/>
                  </a:lnTo>
                  <a:lnTo>
                    <a:pt x="856" y="639"/>
                  </a:lnTo>
                  <a:lnTo>
                    <a:pt x="856" y="637"/>
                  </a:lnTo>
                  <a:lnTo>
                    <a:pt x="856" y="636"/>
                  </a:lnTo>
                  <a:lnTo>
                    <a:pt x="858" y="635"/>
                  </a:lnTo>
                  <a:lnTo>
                    <a:pt x="861" y="633"/>
                  </a:lnTo>
                  <a:lnTo>
                    <a:pt x="861" y="632"/>
                  </a:lnTo>
                  <a:lnTo>
                    <a:pt x="861" y="630"/>
                  </a:lnTo>
                  <a:lnTo>
                    <a:pt x="858" y="626"/>
                  </a:lnTo>
                  <a:lnTo>
                    <a:pt x="855" y="624"/>
                  </a:lnTo>
                  <a:lnTo>
                    <a:pt x="842" y="617"/>
                  </a:lnTo>
                  <a:lnTo>
                    <a:pt x="834" y="610"/>
                  </a:lnTo>
                  <a:lnTo>
                    <a:pt x="830" y="607"/>
                  </a:lnTo>
                  <a:lnTo>
                    <a:pt x="817" y="608"/>
                  </a:lnTo>
                  <a:lnTo>
                    <a:pt x="817" y="607"/>
                  </a:lnTo>
                  <a:lnTo>
                    <a:pt x="817" y="602"/>
                  </a:lnTo>
                  <a:lnTo>
                    <a:pt x="826" y="584"/>
                  </a:lnTo>
                  <a:lnTo>
                    <a:pt x="824" y="579"/>
                  </a:lnTo>
                  <a:lnTo>
                    <a:pt x="817" y="578"/>
                  </a:lnTo>
                  <a:lnTo>
                    <a:pt x="813" y="575"/>
                  </a:lnTo>
                  <a:lnTo>
                    <a:pt x="810" y="572"/>
                  </a:lnTo>
                  <a:lnTo>
                    <a:pt x="805" y="570"/>
                  </a:lnTo>
                  <a:lnTo>
                    <a:pt x="798" y="565"/>
                  </a:lnTo>
                  <a:lnTo>
                    <a:pt x="775" y="538"/>
                  </a:lnTo>
                  <a:lnTo>
                    <a:pt x="773" y="537"/>
                  </a:lnTo>
                  <a:lnTo>
                    <a:pt x="773" y="537"/>
                  </a:lnTo>
                  <a:lnTo>
                    <a:pt x="773" y="533"/>
                  </a:lnTo>
                  <a:lnTo>
                    <a:pt x="773" y="530"/>
                  </a:lnTo>
                  <a:lnTo>
                    <a:pt x="773" y="527"/>
                  </a:lnTo>
                  <a:lnTo>
                    <a:pt x="775" y="522"/>
                  </a:lnTo>
                  <a:lnTo>
                    <a:pt x="775" y="521"/>
                  </a:lnTo>
                  <a:lnTo>
                    <a:pt x="773" y="520"/>
                  </a:lnTo>
                  <a:lnTo>
                    <a:pt x="773" y="518"/>
                  </a:lnTo>
                  <a:lnTo>
                    <a:pt x="767" y="514"/>
                  </a:lnTo>
                  <a:lnTo>
                    <a:pt x="766" y="511"/>
                  </a:lnTo>
                  <a:lnTo>
                    <a:pt x="766" y="509"/>
                  </a:lnTo>
                  <a:lnTo>
                    <a:pt x="764" y="508"/>
                  </a:lnTo>
                  <a:lnTo>
                    <a:pt x="763" y="508"/>
                  </a:lnTo>
                  <a:close/>
                  <a:moveTo>
                    <a:pt x="903" y="33"/>
                  </a:moveTo>
                  <a:lnTo>
                    <a:pt x="913" y="52"/>
                  </a:lnTo>
                  <a:lnTo>
                    <a:pt x="914" y="59"/>
                  </a:lnTo>
                  <a:lnTo>
                    <a:pt x="919" y="68"/>
                  </a:lnTo>
                  <a:lnTo>
                    <a:pt x="944" y="67"/>
                  </a:lnTo>
                  <a:lnTo>
                    <a:pt x="964" y="68"/>
                  </a:lnTo>
                  <a:lnTo>
                    <a:pt x="971" y="71"/>
                  </a:lnTo>
                  <a:lnTo>
                    <a:pt x="980" y="73"/>
                  </a:lnTo>
                  <a:lnTo>
                    <a:pt x="987" y="62"/>
                  </a:lnTo>
                  <a:lnTo>
                    <a:pt x="996" y="61"/>
                  </a:lnTo>
                  <a:lnTo>
                    <a:pt x="1009" y="67"/>
                  </a:lnTo>
                  <a:lnTo>
                    <a:pt x="1024" y="67"/>
                  </a:lnTo>
                  <a:lnTo>
                    <a:pt x="1031" y="68"/>
                  </a:lnTo>
                  <a:lnTo>
                    <a:pt x="1032" y="83"/>
                  </a:lnTo>
                  <a:lnTo>
                    <a:pt x="1031" y="94"/>
                  </a:lnTo>
                  <a:lnTo>
                    <a:pt x="1025" y="106"/>
                  </a:lnTo>
                  <a:lnTo>
                    <a:pt x="1012" y="126"/>
                  </a:lnTo>
                  <a:lnTo>
                    <a:pt x="983" y="147"/>
                  </a:lnTo>
                  <a:lnTo>
                    <a:pt x="983" y="151"/>
                  </a:lnTo>
                  <a:lnTo>
                    <a:pt x="983" y="157"/>
                  </a:lnTo>
                  <a:lnTo>
                    <a:pt x="998" y="160"/>
                  </a:lnTo>
                  <a:lnTo>
                    <a:pt x="1011" y="163"/>
                  </a:lnTo>
                  <a:lnTo>
                    <a:pt x="1034" y="166"/>
                  </a:lnTo>
                  <a:lnTo>
                    <a:pt x="1038" y="161"/>
                  </a:lnTo>
                  <a:lnTo>
                    <a:pt x="1041" y="154"/>
                  </a:lnTo>
                  <a:lnTo>
                    <a:pt x="1050" y="150"/>
                  </a:lnTo>
                  <a:lnTo>
                    <a:pt x="1060" y="137"/>
                  </a:lnTo>
                  <a:lnTo>
                    <a:pt x="1083" y="122"/>
                  </a:lnTo>
                  <a:lnTo>
                    <a:pt x="1083" y="122"/>
                  </a:lnTo>
                  <a:lnTo>
                    <a:pt x="1085" y="132"/>
                  </a:lnTo>
                  <a:lnTo>
                    <a:pt x="1086" y="138"/>
                  </a:lnTo>
                  <a:lnTo>
                    <a:pt x="1086" y="148"/>
                  </a:lnTo>
                  <a:lnTo>
                    <a:pt x="1088" y="154"/>
                  </a:lnTo>
                  <a:lnTo>
                    <a:pt x="1089" y="157"/>
                  </a:lnTo>
                  <a:lnTo>
                    <a:pt x="1095" y="161"/>
                  </a:lnTo>
                  <a:lnTo>
                    <a:pt x="1097" y="166"/>
                  </a:lnTo>
                  <a:lnTo>
                    <a:pt x="1101" y="169"/>
                  </a:lnTo>
                  <a:lnTo>
                    <a:pt x="1094" y="183"/>
                  </a:lnTo>
                  <a:lnTo>
                    <a:pt x="1091" y="188"/>
                  </a:lnTo>
                  <a:lnTo>
                    <a:pt x="1089" y="190"/>
                  </a:lnTo>
                  <a:lnTo>
                    <a:pt x="1089" y="190"/>
                  </a:lnTo>
                  <a:lnTo>
                    <a:pt x="1089" y="190"/>
                  </a:lnTo>
                  <a:lnTo>
                    <a:pt x="1085" y="193"/>
                  </a:lnTo>
                  <a:lnTo>
                    <a:pt x="1082" y="198"/>
                  </a:lnTo>
                  <a:lnTo>
                    <a:pt x="1082" y="198"/>
                  </a:lnTo>
                  <a:lnTo>
                    <a:pt x="1079" y="205"/>
                  </a:lnTo>
                  <a:lnTo>
                    <a:pt x="1078" y="212"/>
                  </a:lnTo>
                  <a:lnTo>
                    <a:pt x="1079" y="222"/>
                  </a:lnTo>
                  <a:lnTo>
                    <a:pt x="1082" y="230"/>
                  </a:lnTo>
                  <a:lnTo>
                    <a:pt x="1082" y="238"/>
                  </a:lnTo>
                  <a:lnTo>
                    <a:pt x="1072" y="272"/>
                  </a:lnTo>
                  <a:lnTo>
                    <a:pt x="1070" y="276"/>
                  </a:lnTo>
                  <a:lnTo>
                    <a:pt x="1066" y="287"/>
                  </a:lnTo>
                  <a:lnTo>
                    <a:pt x="1066" y="287"/>
                  </a:lnTo>
                  <a:lnTo>
                    <a:pt x="1056" y="298"/>
                  </a:lnTo>
                  <a:lnTo>
                    <a:pt x="1035" y="314"/>
                  </a:lnTo>
                  <a:lnTo>
                    <a:pt x="1014" y="326"/>
                  </a:lnTo>
                  <a:lnTo>
                    <a:pt x="998" y="338"/>
                  </a:lnTo>
                  <a:lnTo>
                    <a:pt x="998" y="338"/>
                  </a:lnTo>
                  <a:lnTo>
                    <a:pt x="998" y="342"/>
                  </a:lnTo>
                  <a:lnTo>
                    <a:pt x="999" y="348"/>
                  </a:lnTo>
                  <a:lnTo>
                    <a:pt x="1003" y="368"/>
                  </a:lnTo>
                  <a:lnTo>
                    <a:pt x="1005" y="375"/>
                  </a:lnTo>
                  <a:lnTo>
                    <a:pt x="1003" y="386"/>
                  </a:lnTo>
                  <a:lnTo>
                    <a:pt x="1000" y="390"/>
                  </a:lnTo>
                  <a:lnTo>
                    <a:pt x="999" y="393"/>
                  </a:lnTo>
                  <a:lnTo>
                    <a:pt x="990" y="400"/>
                  </a:lnTo>
                  <a:lnTo>
                    <a:pt x="990" y="400"/>
                  </a:lnTo>
                  <a:lnTo>
                    <a:pt x="995" y="409"/>
                  </a:lnTo>
                  <a:lnTo>
                    <a:pt x="1000" y="413"/>
                  </a:lnTo>
                  <a:lnTo>
                    <a:pt x="1008" y="416"/>
                  </a:lnTo>
                  <a:lnTo>
                    <a:pt x="1015" y="416"/>
                  </a:lnTo>
                  <a:lnTo>
                    <a:pt x="1022" y="419"/>
                  </a:lnTo>
                  <a:lnTo>
                    <a:pt x="1034" y="432"/>
                  </a:lnTo>
                  <a:lnTo>
                    <a:pt x="1043" y="438"/>
                  </a:lnTo>
                  <a:lnTo>
                    <a:pt x="1081" y="466"/>
                  </a:lnTo>
                  <a:lnTo>
                    <a:pt x="1085" y="471"/>
                  </a:lnTo>
                  <a:lnTo>
                    <a:pt x="1097" y="495"/>
                  </a:lnTo>
                  <a:lnTo>
                    <a:pt x="1101" y="498"/>
                  </a:lnTo>
                  <a:lnTo>
                    <a:pt x="1107" y="502"/>
                  </a:lnTo>
                  <a:lnTo>
                    <a:pt x="1117" y="515"/>
                  </a:lnTo>
                  <a:lnTo>
                    <a:pt x="1139" y="524"/>
                  </a:lnTo>
                  <a:lnTo>
                    <a:pt x="1158" y="546"/>
                  </a:lnTo>
                  <a:lnTo>
                    <a:pt x="1161" y="549"/>
                  </a:lnTo>
                  <a:lnTo>
                    <a:pt x="1171" y="557"/>
                  </a:lnTo>
                  <a:lnTo>
                    <a:pt x="1161" y="578"/>
                  </a:lnTo>
                  <a:lnTo>
                    <a:pt x="1159" y="591"/>
                  </a:lnTo>
                  <a:lnTo>
                    <a:pt x="1165" y="597"/>
                  </a:lnTo>
                  <a:lnTo>
                    <a:pt x="1167" y="602"/>
                  </a:lnTo>
                  <a:lnTo>
                    <a:pt x="1161" y="616"/>
                  </a:lnTo>
                  <a:lnTo>
                    <a:pt x="1161" y="616"/>
                  </a:lnTo>
                  <a:lnTo>
                    <a:pt x="1152" y="630"/>
                  </a:lnTo>
                  <a:lnTo>
                    <a:pt x="1134" y="645"/>
                  </a:lnTo>
                  <a:lnTo>
                    <a:pt x="1134" y="645"/>
                  </a:lnTo>
                  <a:lnTo>
                    <a:pt x="1136" y="668"/>
                  </a:lnTo>
                  <a:lnTo>
                    <a:pt x="1145" y="693"/>
                  </a:lnTo>
                  <a:lnTo>
                    <a:pt x="1152" y="709"/>
                  </a:lnTo>
                  <a:lnTo>
                    <a:pt x="1151" y="719"/>
                  </a:lnTo>
                  <a:lnTo>
                    <a:pt x="1158" y="728"/>
                  </a:lnTo>
                  <a:lnTo>
                    <a:pt x="1169" y="735"/>
                  </a:lnTo>
                  <a:lnTo>
                    <a:pt x="1180" y="736"/>
                  </a:lnTo>
                  <a:lnTo>
                    <a:pt x="1190" y="741"/>
                  </a:lnTo>
                  <a:lnTo>
                    <a:pt x="1194" y="751"/>
                  </a:lnTo>
                  <a:lnTo>
                    <a:pt x="1194" y="763"/>
                  </a:lnTo>
                  <a:lnTo>
                    <a:pt x="1194" y="763"/>
                  </a:lnTo>
                  <a:lnTo>
                    <a:pt x="1188" y="771"/>
                  </a:lnTo>
                  <a:lnTo>
                    <a:pt x="1188" y="771"/>
                  </a:lnTo>
                  <a:lnTo>
                    <a:pt x="1188" y="774"/>
                  </a:lnTo>
                  <a:lnTo>
                    <a:pt x="1193" y="783"/>
                  </a:lnTo>
                  <a:lnTo>
                    <a:pt x="1191" y="790"/>
                  </a:lnTo>
                  <a:lnTo>
                    <a:pt x="1188" y="801"/>
                  </a:lnTo>
                  <a:lnTo>
                    <a:pt x="1185" y="815"/>
                  </a:lnTo>
                  <a:lnTo>
                    <a:pt x="1188" y="824"/>
                  </a:lnTo>
                  <a:lnTo>
                    <a:pt x="1212" y="841"/>
                  </a:lnTo>
                  <a:lnTo>
                    <a:pt x="1212" y="841"/>
                  </a:lnTo>
                  <a:lnTo>
                    <a:pt x="1206" y="849"/>
                  </a:lnTo>
                  <a:lnTo>
                    <a:pt x="1203" y="851"/>
                  </a:lnTo>
                  <a:lnTo>
                    <a:pt x="1203" y="853"/>
                  </a:lnTo>
                  <a:lnTo>
                    <a:pt x="1201" y="859"/>
                  </a:lnTo>
                  <a:lnTo>
                    <a:pt x="1201" y="863"/>
                  </a:lnTo>
                  <a:lnTo>
                    <a:pt x="1200" y="869"/>
                  </a:lnTo>
                  <a:lnTo>
                    <a:pt x="1191" y="882"/>
                  </a:lnTo>
                  <a:lnTo>
                    <a:pt x="1190" y="888"/>
                  </a:lnTo>
                  <a:lnTo>
                    <a:pt x="1188" y="923"/>
                  </a:lnTo>
                  <a:lnTo>
                    <a:pt x="1185" y="933"/>
                  </a:lnTo>
                  <a:lnTo>
                    <a:pt x="1181" y="943"/>
                  </a:lnTo>
                  <a:lnTo>
                    <a:pt x="1181" y="943"/>
                  </a:lnTo>
                  <a:lnTo>
                    <a:pt x="1174" y="952"/>
                  </a:lnTo>
                  <a:lnTo>
                    <a:pt x="1153" y="972"/>
                  </a:lnTo>
                  <a:lnTo>
                    <a:pt x="1153" y="972"/>
                  </a:lnTo>
                  <a:lnTo>
                    <a:pt x="1149" y="983"/>
                  </a:lnTo>
                  <a:lnTo>
                    <a:pt x="1151" y="994"/>
                  </a:lnTo>
                  <a:lnTo>
                    <a:pt x="1156" y="1003"/>
                  </a:lnTo>
                  <a:lnTo>
                    <a:pt x="1162" y="1007"/>
                  </a:lnTo>
                  <a:lnTo>
                    <a:pt x="1168" y="1013"/>
                  </a:lnTo>
                  <a:lnTo>
                    <a:pt x="1169" y="1028"/>
                  </a:lnTo>
                  <a:lnTo>
                    <a:pt x="1172" y="1042"/>
                  </a:lnTo>
                  <a:lnTo>
                    <a:pt x="1180" y="1052"/>
                  </a:lnTo>
                  <a:lnTo>
                    <a:pt x="1197" y="1065"/>
                  </a:lnTo>
                  <a:lnTo>
                    <a:pt x="1201" y="1076"/>
                  </a:lnTo>
                  <a:lnTo>
                    <a:pt x="1204" y="1090"/>
                  </a:lnTo>
                  <a:lnTo>
                    <a:pt x="1206" y="1105"/>
                  </a:lnTo>
                  <a:lnTo>
                    <a:pt x="1201" y="1115"/>
                  </a:lnTo>
                  <a:lnTo>
                    <a:pt x="1201" y="1115"/>
                  </a:lnTo>
                  <a:lnTo>
                    <a:pt x="1194" y="1127"/>
                  </a:lnTo>
                  <a:lnTo>
                    <a:pt x="1194" y="1127"/>
                  </a:lnTo>
                  <a:lnTo>
                    <a:pt x="1191" y="1137"/>
                  </a:lnTo>
                  <a:lnTo>
                    <a:pt x="1193" y="1141"/>
                  </a:lnTo>
                  <a:lnTo>
                    <a:pt x="1193" y="1141"/>
                  </a:lnTo>
                  <a:lnTo>
                    <a:pt x="1178" y="1140"/>
                  </a:lnTo>
                  <a:lnTo>
                    <a:pt x="1162" y="1134"/>
                  </a:lnTo>
                  <a:lnTo>
                    <a:pt x="1153" y="1130"/>
                  </a:lnTo>
                  <a:lnTo>
                    <a:pt x="1146" y="1128"/>
                  </a:lnTo>
                  <a:lnTo>
                    <a:pt x="1139" y="1128"/>
                  </a:lnTo>
                  <a:lnTo>
                    <a:pt x="1124" y="1132"/>
                  </a:lnTo>
                  <a:lnTo>
                    <a:pt x="1078" y="1156"/>
                  </a:lnTo>
                  <a:lnTo>
                    <a:pt x="1065" y="1159"/>
                  </a:lnTo>
                  <a:lnTo>
                    <a:pt x="1053" y="1150"/>
                  </a:lnTo>
                  <a:lnTo>
                    <a:pt x="1041" y="1146"/>
                  </a:lnTo>
                  <a:lnTo>
                    <a:pt x="1024" y="1144"/>
                  </a:lnTo>
                  <a:lnTo>
                    <a:pt x="1002" y="1148"/>
                  </a:lnTo>
                  <a:lnTo>
                    <a:pt x="989" y="1157"/>
                  </a:lnTo>
                  <a:lnTo>
                    <a:pt x="984" y="1160"/>
                  </a:lnTo>
                  <a:lnTo>
                    <a:pt x="970" y="1179"/>
                  </a:lnTo>
                  <a:lnTo>
                    <a:pt x="968" y="1182"/>
                  </a:lnTo>
                  <a:lnTo>
                    <a:pt x="968" y="1186"/>
                  </a:lnTo>
                  <a:lnTo>
                    <a:pt x="968" y="1191"/>
                  </a:lnTo>
                  <a:lnTo>
                    <a:pt x="963" y="1204"/>
                  </a:lnTo>
                  <a:lnTo>
                    <a:pt x="944" y="1231"/>
                  </a:lnTo>
                  <a:lnTo>
                    <a:pt x="936" y="1242"/>
                  </a:lnTo>
                  <a:lnTo>
                    <a:pt x="935" y="1243"/>
                  </a:lnTo>
                  <a:lnTo>
                    <a:pt x="933" y="1243"/>
                  </a:lnTo>
                  <a:lnTo>
                    <a:pt x="932" y="1242"/>
                  </a:lnTo>
                  <a:lnTo>
                    <a:pt x="928" y="1242"/>
                  </a:lnTo>
                  <a:lnTo>
                    <a:pt x="926" y="1240"/>
                  </a:lnTo>
                  <a:lnTo>
                    <a:pt x="903" y="1243"/>
                  </a:lnTo>
                  <a:lnTo>
                    <a:pt x="866" y="1249"/>
                  </a:lnTo>
                  <a:lnTo>
                    <a:pt x="853" y="1247"/>
                  </a:lnTo>
                  <a:lnTo>
                    <a:pt x="813" y="1245"/>
                  </a:lnTo>
                  <a:lnTo>
                    <a:pt x="796" y="1239"/>
                  </a:lnTo>
                  <a:lnTo>
                    <a:pt x="792" y="1239"/>
                  </a:lnTo>
                  <a:lnTo>
                    <a:pt x="789" y="1239"/>
                  </a:lnTo>
                  <a:lnTo>
                    <a:pt x="785" y="1240"/>
                  </a:lnTo>
                  <a:lnTo>
                    <a:pt x="780" y="1237"/>
                  </a:lnTo>
                  <a:lnTo>
                    <a:pt x="775" y="1229"/>
                  </a:lnTo>
                  <a:lnTo>
                    <a:pt x="770" y="1226"/>
                  </a:lnTo>
                  <a:lnTo>
                    <a:pt x="766" y="1223"/>
                  </a:lnTo>
                  <a:lnTo>
                    <a:pt x="763" y="1220"/>
                  </a:lnTo>
                  <a:lnTo>
                    <a:pt x="759" y="1215"/>
                  </a:lnTo>
                  <a:lnTo>
                    <a:pt x="743" y="1208"/>
                  </a:lnTo>
                  <a:lnTo>
                    <a:pt x="738" y="1207"/>
                  </a:lnTo>
                  <a:lnTo>
                    <a:pt x="734" y="1208"/>
                  </a:lnTo>
                  <a:lnTo>
                    <a:pt x="731" y="1213"/>
                  </a:lnTo>
                  <a:lnTo>
                    <a:pt x="725" y="1215"/>
                  </a:lnTo>
                  <a:lnTo>
                    <a:pt x="693" y="1226"/>
                  </a:lnTo>
                  <a:lnTo>
                    <a:pt x="687" y="1227"/>
                  </a:lnTo>
                  <a:lnTo>
                    <a:pt x="683" y="1220"/>
                  </a:lnTo>
                  <a:lnTo>
                    <a:pt x="680" y="1218"/>
                  </a:lnTo>
                  <a:lnTo>
                    <a:pt x="676" y="1218"/>
                  </a:lnTo>
                  <a:lnTo>
                    <a:pt x="674" y="1221"/>
                  </a:lnTo>
                  <a:lnTo>
                    <a:pt x="670" y="1221"/>
                  </a:lnTo>
                  <a:lnTo>
                    <a:pt x="668" y="1223"/>
                  </a:lnTo>
                  <a:lnTo>
                    <a:pt x="667" y="1224"/>
                  </a:lnTo>
                  <a:lnTo>
                    <a:pt x="665" y="1227"/>
                  </a:lnTo>
                  <a:lnTo>
                    <a:pt x="664" y="1227"/>
                  </a:lnTo>
                  <a:lnTo>
                    <a:pt x="662" y="1226"/>
                  </a:lnTo>
                  <a:lnTo>
                    <a:pt x="661" y="1223"/>
                  </a:lnTo>
                  <a:lnTo>
                    <a:pt x="661" y="1221"/>
                  </a:lnTo>
                  <a:lnTo>
                    <a:pt x="661" y="1220"/>
                  </a:lnTo>
                  <a:lnTo>
                    <a:pt x="660" y="1217"/>
                  </a:lnTo>
                  <a:lnTo>
                    <a:pt x="660" y="1215"/>
                  </a:lnTo>
                  <a:lnTo>
                    <a:pt x="661" y="1214"/>
                  </a:lnTo>
                  <a:lnTo>
                    <a:pt x="661" y="1213"/>
                  </a:lnTo>
                  <a:lnTo>
                    <a:pt x="665" y="1210"/>
                  </a:lnTo>
                  <a:lnTo>
                    <a:pt x="665" y="1208"/>
                  </a:lnTo>
                  <a:lnTo>
                    <a:pt x="667" y="1207"/>
                  </a:lnTo>
                  <a:lnTo>
                    <a:pt x="668" y="1201"/>
                  </a:lnTo>
                  <a:lnTo>
                    <a:pt x="668" y="1194"/>
                  </a:lnTo>
                  <a:lnTo>
                    <a:pt x="670" y="1188"/>
                  </a:lnTo>
                  <a:lnTo>
                    <a:pt x="668" y="1182"/>
                  </a:lnTo>
                  <a:lnTo>
                    <a:pt x="667" y="1181"/>
                  </a:lnTo>
                  <a:lnTo>
                    <a:pt x="665" y="1178"/>
                  </a:lnTo>
                  <a:lnTo>
                    <a:pt x="665" y="1176"/>
                  </a:lnTo>
                  <a:lnTo>
                    <a:pt x="667" y="1175"/>
                  </a:lnTo>
                  <a:lnTo>
                    <a:pt x="668" y="1175"/>
                  </a:lnTo>
                  <a:lnTo>
                    <a:pt x="670" y="1173"/>
                  </a:lnTo>
                  <a:lnTo>
                    <a:pt x="671" y="1172"/>
                  </a:lnTo>
                  <a:lnTo>
                    <a:pt x="673" y="1169"/>
                  </a:lnTo>
                  <a:lnTo>
                    <a:pt x="673" y="1166"/>
                  </a:lnTo>
                  <a:lnTo>
                    <a:pt x="673" y="1162"/>
                  </a:lnTo>
                  <a:lnTo>
                    <a:pt x="670" y="1154"/>
                  </a:lnTo>
                  <a:lnTo>
                    <a:pt x="668" y="1150"/>
                  </a:lnTo>
                  <a:lnTo>
                    <a:pt x="668" y="1148"/>
                  </a:lnTo>
                  <a:lnTo>
                    <a:pt x="661" y="1144"/>
                  </a:lnTo>
                  <a:lnTo>
                    <a:pt x="657" y="1138"/>
                  </a:lnTo>
                  <a:lnTo>
                    <a:pt x="657" y="1135"/>
                  </a:lnTo>
                  <a:lnTo>
                    <a:pt x="658" y="1134"/>
                  </a:lnTo>
                  <a:lnTo>
                    <a:pt x="658" y="1131"/>
                  </a:lnTo>
                  <a:lnTo>
                    <a:pt x="660" y="1127"/>
                  </a:lnTo>
                  <a:lnTo>
                    <a:pt x="658" y="1125"/>
                  </a:lnTo>
                  <a:lnTo>
                    <a:pt x="657" y="1124"/>
                  </a:lnTo>
                  <a:lnTo>
                    <a:pt x="654" y="1121"/>
                  </a:lnTo>
                  <a:lnTo>
                    <a:pt x="648" y="1116"/>
                  </a:lnTo>
                  <a:lnTo>
                    <a:pt x="648" y="1115"/>
                  </a:lnTo>
                  <a:lnTo>
                    <a:pt x="646" y="1115"/>
                  </a:lnTo>
                  <a:lnTo>
                    <a:pt x="645" y="1116"/>
                  </a:lnTo>
                  <a:lnTo>
                    <a:pt x="644" y="1116"/>
                  </a:lnTo>
                  <a:lnTo>
                    <a:pt x="642" y="1118"/>
                  </a:lnTo>
                  <a:lnTo>
                    <a:pt x="639" y="1116"/>
                  </a:lnTo>
                  <a:lnTo>
                    <a:pt x="635" y="1114"/>
                  </a:lnTo>
                  <a:lnTo>
                    <a:pt x="625" y="1102"/>
                  </a:lnTo>
                  <a:lnTo>
                    <a:pt x="622" y="1100"/>
                  </a:lnTo>
                  <a:lnTo>
                    <a:pt x="628" y="1087"/>
                  </a:lnTo>
                  <a:lnTo>
                    <a:pt x="630" y="1084"/>
                  </a:lnTo>
                  <a:lnTo>
                    <a:pt x="652" y="1067"/>
                  </a:lnTo>
                  <a:lnTo>
                    <a:pt x="661" y="1054"/>
                  </a:lnTo>
                  <a:lnTo>
                    <a:pt x="662" y="1048"/>
                  </a:lnTo>
                  <a:lnTo>
                    <a:pt x="660" y="1041"/>
                  </a:lnTo>
                  <a:lnTo>
                    <a:pt x="657" y="1035"/>
                  </a:lnTo>
                  <a:lnTo>
                    <a:pt x="655" y="1029"/>
                  </a:lnTo>
                  <a:lnTo>
                    <a:pt x="654" y="1025"/>
                  </a:lnTo>
                  <a:lnTo>
                    <a:pt x="654" y="1010"/>
                  </a:lnTo>
                  <a:lnTo>
                    <a:pt x="655" y="1006"/>
                  </a:lnTo>
                  <a:lnTo>
                    <a:pt x="657" y="1003"/>
                  </a:lnTo>
                  <a:lnTo>
                    <a:pt x="667" y="985"/>
                  </a:lnTo>
                  <a:lnTo>
                    <a:pt x="678" y="972"/>
                  </a:lnTo>
                  <a:lnTo>
                    <a:pt x="681" y="965"/>
                  </a:lnTo>
                  <a:lnTo>
                    <a:pt x="676" y="962"/>
                  </a:lnTo>
                  <a:lnTo>
                    <a:pt x="664" y="962"/>
                  </a:lnTo>
                  <a:lnTo>
                    <a:pt x="662" y="962"/>
                  </a:lnTo>
                  <a:lnTo>
                    <a:pt x="660" y="964"/>
                  </a:lnTo>
                  <a:lnTo>
                    <a:pt x="657" y="969"/>
                  </a:lnTo>
                  <a:lnTo>
                    <a:pt x="655" y="971"/>
                  </a:lnTo>
                  <a:lnTo>
                    <a:pt x="652" y="971"/>
                  </a:lnTo>
                  <a:lnTo>
                    <a:pt x="651" y="968"/>
                  </a:lnTo>
                  <a:lnTo>
                    <a:pt x="648" y="965"/>
                  </a:lnTo>
                  <a:lnTo>
                    <a:pt x="645" y="964"/>
                  </a:lnTo>
                  <a:lnTo>
                    <a:pt x="623" y="966"/>
                  </a:lnTo>
                  <a:lnTo>
                    <a:pt x="616" y="965"/>
                  </a:lnTo>
                  <a:lnTo>
                    <a:pt x="597" y="950"/>
                  </a:lnTo>
                  <a:lnTo>
                    <a:pt x="594" y="948"/>
                  </a:lnTo>
                  <a:lnTo>
                    <a:pt x="593" y="945"/>
                  </a:lnTo>
                  <a:lnTo>
                    <a:pt x="591" y="942"/>
                  </a:lnTo>
                  <a:lnTo>
                    <a:pt x="587" y="939"/>
                  </a:lnTo>
                  <a:lnTo>
                    <a:pt x="582" y="936"/>
                  </a:lnTo>
                  <a:lnTo>
                    <a:pt x="575" y="934"/>
                  </a:lnTo>
                  <a:lnTo>
                    <a:pt x="559" y="934"/>
                  </a:lnTo>
                  <a:lnTo>
                    <a:pt x="556" y="934"/>
                  </a:lnTo>
                  <a:lnTo>
                    <a:pt x="555" y="933"/>
                  </a:lnTo>
                  <a:lnTo>
                    <a:pt x="552" y="924"/>
                  </a:lnTo>
                  <a:lnTo>
                    <a:pt x="550" y="920"/>
                  </a:lnTo>
                  <a:lnTo>
                    <a:pt x="546" y="917"/>
                  </a:lnTo>
                  <a:lnTo>
                    <a:pt x="533" y="916"/>
                  </a:lnTo>
                  <a:lnTo>
                    <a:pt x="528" y="914"/>
                  </a:lnTo>
                  <a:lnTo>
                    <a:pt x="498" y="895"/>
                  </a:lnTo>
                  <a:lnTo>
                    <a:pt x="483" y="888"/>
                  </a:lnTo>
                  <a:lnTo>
                    <a:pt x="482" y="886"/>
                  </a:lnTo>
                  <a:lnTo>
                    <a:pt x="480" y="888"/>
                  </a:lnTo>
                  <a:lnTo>
                    <a:pt x="479" y="888"/>
                  </a:lnTo>
                  <a:lnTo>
                    <a:pt x="479" y="891"/>
                  </a:lnTo>
                  <a:lnTo>
                    <a:pt x="479" y="892"/>
                  </a:lnTo>
                  <a:lnTo>
                    <a:pt x="477" y="894"/>
                  </a:lnTo>
                  <a:lnTo>
                    <a:pt x="473" y="897"/>
                  </a:lnTo>
                  <a:lnTo>
                    <a:pt x="469" y="898"/>
                  </a:lnTo>
                  <a:lnTo>
                    <a:pt x="463" y="904"/>
                  </a:lnTo>
                  <a:lnTo>
                    <a:pt x="447" y="900"/>
                  </a:lnTo>
                  <a:lnTo>
                    <a:pt x="441" y="897"/>
                  </a:lnTo>
                  <a:lnTo>
                    <a:pt x="425" y="883"/>
                  </a:lnTo>
                  <a:lnTo>
                    <a:pt x="418" y="875"/>
                  </a:lnTo>
                  <a:lnTo>
                    <a:pt x="416" y="873"/>
                  </a:lnTo>
                  <a:lnTo>
                    <a:pt x="415" y="872"/>
                  </a:lnTo>
                  <a:lnTo>
                    <a:pt x="413" y="872"/>
                  </a:lnTo>
                  <a:lnTo>
                    <a:pt x="412" y="873"/>
                  </a:lnTo>
                  <a:lnTo>
                    <a:pt x="410" y="875"/>
                  </a:lnTo>
                  <a:lnTo>
                    <a:pt x="410" y="876"/>
                  </a:lnTo>
                  <a:lnTo>
                    <a:pt x="409" y="878"/>
                  </a:lnTo>
                  <a:lnTo>
                    <a:pt x="406" y="879"/>
                  </a:lnTo>
                  <a:lnTo>
                    <a:pt x="402" y="879"/>
                  </a:lnTo>
                  <a:lnTo>
                    <a:pt x="400" y="878"/>
                  </a:lnTo>
                  <a:lnTo>
                    <a:pt x="399" y="878"/>
                  </a:lnTo>
                  <a:lnTo>
                    <a:pt x="394" y="873"/>
                  </a:lnTo>
                  <a:lnTo>
                    <a:pt x="384" y="866"/>
                  </a:lnTo>
                  <a:lnTo>
                    <a:pt x="381" y="863"/>
                  </a:lnTo>
                  <a:lnTo>
                    <a:pt x="378" y="862"/>
                  </a:lnTo>
                  <a:lnTo>
                    <a:pt x="378" y="859"/>
                  </a:lnTo>
                  <a:lnTo>
                    <a:pt x="378" y="857"/>
                  </a:lnTo>
                  <a:lnTo>
                    <a:pt x="378" y="856"/>
                  </a:lnTo>
                  <a:lnTo>
                    <a:pt x="378" y="851"/>
                  </a:lnTo>
                  <a:lnTo>
                    <a:pt x="357" y="822"/>
                  </a:lnTo>
                  <a:lnTo>
                    <a:pt x="349" y="815"/>
                  </a:lnTo>
                  <a:lnTo>
                    <a:pt x="342" y="812"/>
                  </a:lnTo>
                  <a:lnTo>
                    <a:pt x="341" y="811"/>
                  </a:lnTo>
                  <a:lnTo>
                    <a:pt x="341" y="808"/>
                  </a:lnTo>
                  <a:lnTo>
                    <a:pt x="338" y="801"/>
                  </a:lnTo>
                  <a:lnTo>
                    <a:pt x="329" y="792"/>
                  </a:lnTo>
                  <a:lnTo>
                    <a:pt x="327" y="790"/>
                  </a:lnTo>
                  <a:lnTo>
                    <a:pt x="324" y="783"/>
                  </a:lnTo>
                  <a:lnTo>
                    <a:pt x="322" y="774"/>
                  </a:lnTo>
                  <a:lnTo>
                    <a:pt x="322" y="773"/>
                  </a:lnTo>
                  <a:lnTo>
                    <a:pt x="322" y="771"/>
                  </a:lnTo>
                  <a:lnTo>
                    <a:pt x="324" y="767"/>
                  </a:lnTo>
                  <a:lnTo>
                    <a:pt x="329" y="752"/>
                  </a:lnTo>
                  <a:lnTo>
                    <a:pt x="338" y="745"/>
                  </a:lnTo>
                  <a:lnTo>
                    <a:pt x="338" y="744"/>
                  </a:lnTo>
                  <a:lnTo>
                    <a:pt x="338" y="742"/>
                  </a:lnTo>
                  <a:lnTo>
                    <a:pt x="338" y="741"/>
                  </a:lnTo>
                  <a:lnTo>
                    <a:pt x="336" y="738"/>
                  </a:lnTo>
                  <a:lnTo>
                    <a:pt x="335" y="735"/>
                  </a:lnTo>
                  <a:lnTo>
                    <a:pt x="333" y="734"/>
                  </a:lnTo>
                  <a:lnTo>
                    <a:pt x="332" y="732"/>
                  </a:lnTo>
                  <a:lnTo>
                    <a:pt x="329" y="732"/>
                  </a:lnTo>
                  <a:lnTo>
                    <a:pt x="326" y="729"/>
                  </a:lnTo>
                  <a:lnTo>
                    <a:pt x="324" y="726"/>
                  </a:lnTo>
                  <a:lnTo>
                    <a:pt x="324" y="718"/>
                  </a:lnTo>
                  <a:lnTo>
                    <a:pt x="323" y="713"/>
                  </a:lnTo>
                  <a:lnTo>
                    <a:pt x="324" y="710"/>
                  </a:lnTo>
                  <a:lnTo>
                    <a:pt x="324" y="709"/>
                  </a:lnTo>
                  <a:lnTo>
                    <a:pt x="327" y="704"/>
                  </a:lnTo>
                  <a:lnTo>
                    <a:pt x="327" y="700"/>
                  </a:lnTo>
                  <a:lnTo>
                    <a:pt x="327" y="699"/>
                  </a:lnTo>
                  <a:lnTo>
                    <a:pt x="329" y="696"/>
                  </a:lnTo>
                  <a:lnTo>
                    <a:pt x="333" y="688"/>
                  </a:lnTo>
                  <a:lnTo>
                    <a:pt x="333" y="687"/>
                  </a:lnTo>
                  <a:lnTo>
                    <a:pt x="333" y="684"/>
                  </a:lnTo>
                  <a:lnTo>
                    <a:pt x="333" y="683"/>
                  </a:lnTo>
                  <a:lnTo>
                    <a:pt x="333" y="680"/>
                  </a:lnTo>
                  <a:lnTo>
                    <a:pt x="332" y="675"/>
                  </a:lnTo>
                  <a:lnTo>
                    <a:pt x="332" y="674"/>
                  </a:lnTo>
                  <a:lnTo>
                    <a:pt x="333" y="672"/>
                  </a:lnTo>
                  <a:lnTo>
                    <a:pt x="333" y="669"/>
                  </a:lnTo>
                  <a:lnTo>
                    <a:pt x="333" y="668"/>
                  </a:lnTo>
                  <a:lnTo>
                    <a:pt x="333" y="665"/>
                  </a:lnTo>
                  <a:lnTo>
                    <a:pt x="333" y="664"/>
                  </a:lnTo>
                  <a:lnTo>
                    <a:pt x="338" y="656"/>
                  </a:lnTo>
                  <a:lnTo>
                    <a:pt x="339" y="653"/>
                  </a:lnTo>
                  <a:lnTo>
                    <a:pt x="341" y="646"/>
                  </a:lnTo>
                  <a:lnTo>
                    <a:pt x="342" y="643"/>
                  </a:lnTo>
                  <a:lnTo>
                    <a:pt x="342" y="640"/>
                  </a:lnTo>
                  <a:lnTo>
                    <a:pt x="341" y="639"/>
                  </a:lnTo>
                  <a:lnTo>
                    <a:pt x="339" y="637"/>
                  </a:lnTo>
                  <a:lnTo>
                    <a:pt x="339" y="636"/>
                  </a:lnTo>
                  <a:lnTo>
                    <a:pt x="338" y="635"/>
                  </a:lnTo>
                  <a:lnTo>
                    <a:pt x="338" y="633"/>
                  </a:lnTo>
                  <a:lnTo>
                    <a:pt x="339" y="632"/>
                  </a:lnTo>
                  <a:lnTo>
                    <a:pt x="342" y="629"/>
                  </a:lnTo>
                  <a:lnTo>
                    <a:pt x="345" y="626"/>
                  </a:lnTo>
                  <a:lnTo>
                    <a:pt x="348" y="617"/>
                  </a:lnTo>
                  <a:lnTo>
                    <a:pt x="352" y="610"/>
                  </a:lnTo>
                  <a:lnTo>
                    <a:pt x="352" y="608"/>
                  </a:lnTo>
                  <a:lnTo>
                    <a:pt x="352" y="605"/>
                  </a:lnTo>
                  <a:lnTo>
                    <a:pt x="352" y="601"/>
                  </a:lnTo>
                  <a:lnTo>
                    <a:pt x="352" y="598"/>
                  </a:lnTo>
                  <a:lnTo>
                    <a:pt x="354" y="595"/>
                  </a:lnTo>
                  <a:lnTo>
                    <a:pt x="355" y="592"/>
                  </a:lnTo>
                  <a:lnTo>
                    <a:pt x="354" y="591"/>
                  </a:lnTo>
                  <a:lnTo>
                    <a:pt x="354" y="591"/>
                  </a:lnTo>
                  <a:lnTo>
                    <a:pt x="351" y="592"/>
                  </a:lnTo>
                  <a:lnTo>
                    <a:pt x="349" y="592"/>
                  </a:lnTo>
                  <a:lnTo>
                    <a:pt x="348" y="592"/>
                  </a:lnTo>
                  <a:lnTo>
                    <a:pt x="346" y="592"/>
                  </a:lnTo>
                  <a:lnTo>
                    <a:pt x="345" y="592"/>
                  </a:lnTo>
                  <a:lnTo>
                    <a:pt x="343" y="592"/>
                  </a:lnTo>
                  <a:lnTo>
                    <a:pt x="343" y="594"/>
                  </a:lnTo>
                  <a:lnTo>
                    <a:pt x="341" y="594"/>
                  </a:lnTo>
                  <a:lnTo>
                    <a:pt x="339" y="591"/>
                  </a:lnTo>
                  <a:lnTo>
                    <a:pt x="333" y="582"/>
                  </a:lnTo>
                  <a:lnTo>
                    <a:pt x="332" y="581"/>
                  </a:lnTo>
                  <a:lnTo>
                    <a:pt x="329" y="578"/>
                  </a:lnTo>
                  <a:lnTo>
                    <a:pt x="327" y="578"/>
                  </a:lnTo>
                  <a:lnTo>
                    <a:pt x="326" y="578"/>
                  </a:lnTo>
                  <a:lnTo>
                    <a:pt x="324" y="578"/>
                  </a:lnTo>
                  <a:lnTo>
                    <a:pt x="323" y="579"/>
                  </a:lnTo>
                  <a:lnTo>
                    <a:pt x="323" y="581"/>
                  </a:lnTo>
                  <a:lnTo>
                    <a:pt x="323" y="585"/>
                  </a:lnTo>
                  <a:lnTo>
                    <a:pt x="322" y="586"/>
                  </a:lnTo>
                  <a:lnTo>
                    <a:pt x="322" y="588"/>
                  </a:lnTo>
                  <a:lnTo>
                    <a:pt x="320" y="589"/>
                  </a:lnTo>
                  <a:lnTo>
                    <a:pt x="319" y="591"/>
                  </a:lnTo>
                  <a:lnTo>
                    <a:pt x="319" y="591"/>
                  </a:lnTo>
                  <a:lnTo>
                    <a:pt x="316" y="592"/>
                  </a:lnTo>
                  <a:lnTo>
                    <a:pt x="311" y="594"/>
                  </a:lnTo>
                  <a:lnTo>
                    <a:pt x="307" y="592"/>
                  </a:lnTo>
                  <a:lnTo>
                    <a:pt x="306" y="591"/>
                  </a:lnTo>
                  <a:lnTo>
                    <a:pt x="304" y="589"/>
                  </a:lnTo>
                  <a:lnTo>
                    <a:pt x="304" y="588"/>
                  </a:lnTo>
                  <a:lnTo>
                    <a:pt x="303" y="585"/>
                  </a:lnTo>
                  <a:lnTo>
                    <a:pt x="303" y="584"/>
                  </a:lnTo>
                  <a:lnTo>
                    <a:pt x="304" y="581"/>
                  </a:lnTo>
                  <a:lnTo>
                    <a:pt x="306" y="579"/>
                  </a:lnTo>
                  <a:lnTo>
                    <a:pt x="306" y="578"/>
                  </a:lnTo>
                  <a:lnTo>
                    <a:pt x="307" y="576"/>
                  </a:lnTo>
                  <a:lnTo>
                    <a:pt x="308" y="575"/>
                  </a:lnTo>
                  <a:lnTo>
                    <a:pt x="308" y="573"/>
                  </a:lnTo>
                  <a:lnTo>
                    <a:pt x="307" y="572"/>
                  </a:lnTo>
                  <a:lnTo>
                    <a:pt x="306" y="572"/>
                  </a:lnTo>
                  <a:lnTo>
                    <a:pt x="303" y="572"/>
                  </a:lnTo>
                  <a:lnTo>
                    <a:pt x="300" y="573"/>
                  </a:lnTo>
                  <a:lnTo>
                    <a:pt x="297" y="573"/>
                  </a:lnTo>
                  <a:lnTo>
                    <a:pt x="295" y="572"/>
                  </a:lnTo>
                  <a:lnTo>
                    <a:pt x="295" y="570"/>
                  </a:lnTo>
                  <a:lnTo>
                    <a:pt x="295" y="570"/>
                  </a:lnTo>
                  <a:lnTo>
                    <a:pt x="304" y="556"/>
                  </a:lnTo>
                  <a:lnTo>
                    <a:pt x="306" y="552"/>
                  </a:lnTo>
                  <a:lnTo>
                    <a:pt x="306" y="546"/>
                  </a:lnTo>
                  <a:lnTo>
                    <a:pt x="307" y="533"/>
                  </a:lnTo>
                  <a:lnTo>
                    <a:pt x="307" y="527"/>
                  </a:lnTo>
                  <a:lnTo>
                    <a:pt x="308" y="524"/>
                  </a:lnTo>
                  <a:lnTo>
                    <a:pt x="310" y="524"/>
                  </a:lnTo>
                  <a:lnTo>
                    <a:pt x="317" y="524"/>
                  </a:lnTo>
                  <a:lnTo>
                    <a:pt x="320" y="522"/>
                  </a:lnTo>
                  <a:lnTo>
                    <a:pt x="323" y="521"/>
                  </a:lnTo>
                  <a:lnTo>
                    <a:pt x="324" y="518"/>
                  </a:lnTo>
                  <a:lnTo>
                    <a:pt x="327" y="514"/>
                  </a:lnTo>
                  <a:lnTo>
                    <a:pt x="330" y="502"/>
                  </a:lnTo>
                  <a:lnTo>
                    <a:pt x="332" y="498"/>
                  </a:lnTo>
                  <a:lnTo>
                    <a:pt x="332" y="493"/>
                  </a:lnTo>
                  <a:lnTo>
                    <a:pt x="330" y="490"/>
                  </a:lnTo>
                  <a:lnTo>
                    <a:pt x="329" y="490"/>
                  </a:lnTo>
                  <a:lnTo>
                    <a:pt x="326" y="487"/>
                  </a:lnTo>
                  <a:lnTo>
                    <a:pt x="324" y="486"/>
                  </a:lnTo>
                  <a:lnTo>
                    <a:pt x="324" y="483"/>
                  </a:lnTo>
                  <a:lnTo>
                    <a:pt x="323" y="480"/>
                  </a:lnTo>
                  <a:lnTo>
                    <a:pt x="323" y="477"/>
                  </a:lnTo>
                  <a:lnTo>
                    <a:pt x="322" y="476"/>
                  </a:lnTo>
                  <a:lnTo>
                    <a:pt x="320" y="473"/>
                  </a:lnTo>
                  <a:lnTo>
                    <a:pt x="319" y="471"/>
                  </a:lnTo>
                  <a:lnTo>
                    <a:pt x="319" y="469"/>
                  </a:lnTo>
                  <a:lnTo>
                    <a:pt x="319" y="467"/>
                  </a:lnTo>
                  <a:lnTo>
                    <a:pt x="319" y="464"/>
                  </a:lnTo>
                  <a:lnTo>
                    <a:pt x="320" y="463"/>
                  </a:lnTo>
                  <a:lnTo>
                    <a:pt x="323" y="460"/>
                  </a:lnTo>
                  <a:lnTo>
                    <a:pt x="324" y="457"/>
                  </a:lnTo>
                  <a:lnTo>
                    <a:pt x="324" y="455"/>
                  </a:lnTo>
                  <a:lnTo>
                    <a:pt x="324" y="454"/>
                  </a:lnTo>
                  <a:lnTo>
                    <a:pt x="323" y="453"/>
                  </a:lnTo>
                  <a:lnTo>
                    <a:pt x="322" y="451"/>
                  </a:lnTo>
                  <a:lnTo>
                    <a:pt x="320" y="448"/>
                  </a:lnTo>
                  <a:lnTo>
                    <a:pt x="320" y="444"/>
                  </a:lnTo>
                  <a:lnTo>
                    <a:pt x="320" y="442"/>
                  </a:lnTo>
                  <a:lnTo>
                    <a:pt x="320" y="439"/>
                  </a:lnTo>
                  <a:lnTo>
                    <a:pt x="332" y="431"/>
                  </a:lnTo>
                  <a:lnTo>
                    <a:pt x="333" y="425"/>
                  </a:lnTo>
                  <a:lnTo>
                    <a:pt x="333" y="420"/>
                  </a:lnTo>
                  <a:lnTo>
                    <a:pt x="326" y="399"/>
                  </a:lnTo>
                  <a:lnTo>
                    <a:pt x="324" y="394"/>
                  </a:lnTo>
                  <a:lnTo>
                    <a:pt x="323" y="391"/>
                  </a:lnTo>
                  <a:lnTo>
                    <a:pt x="319" y="391"/>
                  </a:lnTo>
                  <a:lnTo>
                    <a:pt x="314" y="388"/>
                  </a:lnTo>
                  <a:lnTo>
                    <a:pt x="313" y="388"/>
                  </a:lnTo>
                  <a:lnTo>
                    <a:pt x="311" y="388"/>
                  </a:lnTo>
                  <a:lnTo>
                    <a:pt x="300" y="391"/>
                  </a:lnTo>
                  <a:lnTo>
                    <a:pt x="295" y="393"/>
                  </a:lnTo>
                  <a:lnTo>
                    <a:pt x="291" y="391"/>
                  </a:lnTo>
                  <a:lnTo>
                    <a:pt x="291" y="386"/>
                  </a:lnTo>
                  <a:lnTo>
                    <a:pt x="291" y="383"/>
                  </a:lnTo>
                  <a:lnTo>
                    <a:pt x="290" y="381"/>
                  </a:lnTo>
                  <a:lnTo>
                    <a:pt x="287" y="378"/>
                  </a:lnTo>
                  <a:lnTo>
                    <a:pt x="285" y="378"/>
                  </a:lnTo>
                  <a:lnTo>
                    <a:pt x="284" y="377"/>
                  </a:lnTo>
                  <a:lnTo>
                    <a:pt x="260" y="380"/>
                  </a:lnTo>
                  <a:lnTo>
                    <a:pt x="252" y="380"/>
                  </a:lnTo>
                  <a:lnTo>
                    <a:pt x="246" y="383"/>
                  </a:lnTo>
                  <a:lnTo>
                    <a:pt x="240" y="381"/>
                  </a:lnTo>
                  <a:lnTo>
                    <a:pt x="231" y="375"/>
                  </a:lnTo>
                  <a:lnTo>
                    <a:pt x="225" y="374"/>
                  </a:lnTo>
                  <a:lnTo>
                    <a:pt x="220" y="372"/>
                  </a:lnTo>
                  <a:lnTo>
                    <a:pt x="217" y="371"/>
                  </a:lnTo>
                  <a:lnTo>
                    <a:pt x="193" y="356"/>
                  </a:lnTo>
                  <a:lnTo>
                    <a:pt x="195" y="354"/>
                  </a:lnTo>
                  <a:lnTo>
                    <a:pt x="198" y="348"/>
                  </a:lnTo>
                  <a:lnTo>
                    <a:pt x="201" y="340"/>
                  </a:lnTo>
                  <a:lnTo>
                    <a:pt x="196" y="339"/>
                  </a:lnTo>
                  <a:lnTo>
                    <a:pt x="185" y="338"/>
                  </a:lnTo>
                  <a:lnTo>
                    <a:pt x="180" y="333"/>
                  </a:lnTo>
                  <a:lnTo>
                    <a:pt x="170" y="317"/>
                  </a:lnTo>
                  <a:lnTo>
                    <a:pt x="164" y="319"/>
                  </a:lnTo>
                  <a:lnTo>
                    <a:pt x="156" y="324"/>
                  </a:lnTo>
                  <a:lnTo>
                    <a:pt x="153" y="326"/>
                  </a:lnTo>
                  <a:lnTo>
                    <a:pt x="145" y="324"/>
                  </a:lnTo>
                  <a:lnTo>
                    <a:pt x="144" y="320"/>
                  </a:lnTo>
                  <a:lnTo>
                    <a:pt x="144" y="316"/>
                  </a:lnTo>
                  <a:lnTo>
                    <a:pt x="141" y="308"/>
                  </a:lnTo>
                  <a:lnTo>
                    <a:pt x="137" y="305"/>
                  </a:lnTo>
                  <a:lnTo>
                    <a:pt x="125" y="304"/>
                  </a:lnTo>
                  <a:lnTo>
                    <a:pt x="121" y="303"/>
                  </a:lnTo>
                  <a:lnTo>
                    <a:pt x="123" y="300"/>
                  </a:lnTo>
                  <a:lnTo>
                    <a:pt x="126" y="294"/>
                  </a:lnTo>
                  <a:lnTo>
                    <a:pt x="126" y="292"/>
                  </a:lnTo>
                  <a:lnTo>
                    <a:pt x="125" y="288"/>
                  </a:lnTo>
                  <a:lnTo>
                    <a:pt x="122" y="287"/>
                  </a:lnTo>
                  <a:lnTo>
                    <a:pt x="106" y="291"/>
                  </a:lnTo>
                  <a:lnTo>
                    <a:pt x="90" y="284"/>
                  </a:lnTo>
                  <a:lnTo>
                    <a:pt x="81" y="282"/>
                  </a:lnTo>
                  <a:lnTo>
                    <a:pt x="75" y="279"/>
                  </a:lnTo>
                  <a:lnTo>
                    <a:pt x="65" y="269"/>
                  </a:lnTo>
                  <a:lnTo>
                    <a:pt x="56" y="266"/>
                  </a:lnTo>
                  <a:lnTo>
                    <a:pt x="49" y="268"/>
                  </a:lnTo>
                  <a:lnTo>
                    <a:pt x="38" y="276"/>
                  </a:lnTo>
                  <a:lnTo>
                    <a:pt x="32" y="278"/>
                  </a:lnTo>
                  <a:lnTo>
                    <a:pt x="23" y="276"/>
                  </a:lnTo>
                  <a:lnTo>
                    <a:pt x="21" y="276"/>
                  </a:lnTo>
                  <a:lnTo>
                    <a:pt x="19" y="273"/>
                  </a:lnTo>
                  <a:lnTo>
                    <a:pt x="5" y="259"/>
                  </a:lnTo>
                  <a:lnTo>
                    <a:pt x="0" y="247"/>
                  </a:lnTo>
                  <a:lnTo>
                    <a:pt x="7" y="246"/>
                  </a:lnTo>
                  <a:lnTo>
                    <a:pt x="16" y="249"/>
                  </a:lnTo>
                  <a:lnTo>
                    <a:pt x="27" y="249"/>
                  </a:lnTo>
                  <a:lnTo>
                    <a:pt x="35" y="252"/>
                  </a:lnTo>
                  <a:lnTo>
                    <a:pt x="42" y="253"/>
                  </a:lnTo>
                  <a:lnTo>
                    <a:pt x="42" y="244"/>
                  </a:lnTo>
                  <a:lnTo>
                    <a:pt x="43" y="238"/>
                  </a:lnTo>
                  <a:lnTo>
                    <a:pt x="49" y="236"/>
                  </a:lnTo>
                  <a:lnTo>
                    <a:pt x="59" y="236"/>
                  </a:lnTo>
                  <a:lnTo>
                    <a:pt x="78" y="246"/>
                  </a:lnTo>
                  <a:lnTo>
                    <a:pt x="88" y="246"/>
                  </a:lnTo>
                  <a:lnTo>
                    <a:pt x="96" y="240"/>
                  </a:lnTo>
                  <a:lnTo>
                    <a:pt x="97" y="231"/>
                  </a:lnTo>
                  <a:lnTo>
                    <a:pt x="96" y="227"/>
                  </a:lnTo>
                  <a:lnTo>
                    <a:pt x="96" y="217"/>
                  </a:lnTo>
                  <a:lnTo>
                    <a:pt x="94" y="212"/>
                  </a:lnTo>
                  <a:lnTo>
                    <a:pt x="93" y="209"/>
                  </a:lnTo>
                  <a:lnTo>
                    <a:pt x="90" y="206"/>
                  </a:lnTo>
                  <a:lnTo>
                    <a:pt x="88" y="202"/>
                  </a:lnTo>
                  <a:lnTo>
                    <a:pt x="91" y="196"/>
                  </a:lnTo>
                  <a:lnTo>
                    <a:pt x="106" y="182"/>
                  </a:lnTo>
                  <a:lnTo>
                    <a:pt x="113" y="177"/>
                  </a:lnTo>
                  <a:lnTo>
                    <a:pt x="132" y="170"/>
                  </a:lnTo>
                  <a:lnTo>
                    <a:pt x="144" y="170"/>
                  </a:lnTo>
                  <a:lnTo>
                    <a:pt x="148" y="172"/>
                  </a:lnTo>
                  <a:lnTo>
                    <a:pt x="158" y="180"/>
                  </a:lnTo>
                  <a:lnTo>
                    <a:pt x="163" y="190"/>
                  </a:lnTo>
                  <a:lnTo>
                    <a:pt x="170" y="186"/>
                  </a:lnTo>
                  <a:lnTo>
                    <a:pt x="177" y="183"/>
                  </a:lnTo>
                  <a:lnTo>
                    <a:pt x="186" y="183"/>
                  </a:lnTo>
                  <a:lnTo>
                    <a:pt x="196" y="185"/>
                  </a:lnTo>
                  <a:lnTo>
                    <a:pt x="195" y="176"/>
                  </a:lnTo>
                  <a:lnTo>
                    <a:pt x="188" y="170"/>
                  </a:lnTo>
                  <a:lnTo>
                    <a:pt x="192" y="169"/>
                  </a:lnTo>
                  <a:lnTo>
                    <a:pt x="195" y="167"/>
                  </a:lnTo>
                  <a:lnTo>
                    <a:pt x="204" y="170"/>
                  </a:lnTo>
                  <a:lnTo>
                    <a:pt x="212" y="160"/>
                  </a:lnTo>
                  <a:lnTo>
                    <a:pt x="225" y="153"/>
                  </a:lnTo>
                  <a:lnTo>
                    <a:pt x="228" y="153"/>
                  </a:lnTo>
                  <a:lnTo>
                    <a:pt x="231" y="151"/>
                  </a:lnTo>
                  <a:lnTo>
                    <a:pt x="239" y="154"/>
                  </a:lnTo>
                  <a:lnTo>
                    <a:pt x="244" y="147"/>
                  </a:lnTo>
                  <a:lnTo>
                    <a:pt x="250" y="142"/>
                  </a:lnTo>
                  <a:lnTo>
                    <a:pt x="256" y="142"/>
                  </a:lnTo>
                  <a:lnTo>
                    <a:pt x="259" y="132"/>
                  </a:lnTo>
                  <a:lnTo>
                    <a:pt x="260" y="125"/>
                  </a:lnTo>
                  <a:lnTo>
                    <a:pt x="269" y="119"/>
                  </a:lnTo>
                  <a:lnTo>
                    <a:pt x="275" y="109"/>
                  </a:lnTo>
                  <a:lnTo>
                    <a:pt x="276" y="109"/>
                  </a:lnTo>
                  <a:lnTo>
                    <a:pt x="279" y="107"/>
                  </a:lnTo>
                  <a:lnTo>
                    <a:pt x="285" y="105"/>
                  </a:lnTo>
                  <a:lnTo>
                    <a:pt x="291" y="105"/>
                  </a:lnTo>
                  <a:lnTo>
                    <a:pt x="294" y="103"/>
                  </a:lnTo>
                  <a:lnTo>
                    <a:pt x="295" y="103"/>
                  </a:lnTo>
                  <a:lnTo>
                    <a:pt x="297" y="103"/>
                  </a:lnTo>
                  <a:lnTo>
                    <a:pt x="303" y="109"/>
                  </a:lnTo>
                  <a:lnTo>
                    <a:pt x="304" y="110"/>
                  </a:lnTo>
                  <a:lnTo>
                    <a:pt x="306" y="109"/>
                  </a:lnTo>
                  <a:lnTo>
                    <a:pt x="307" y="109"/>
                  </a:lnTo>
                  <a:lnTo>
                    <a:pt x="314" y="103"/>
                  </a:lnTo>
                  <a:lnTo>
                    <a:pt x="317" y="102"/>
                  </a:lnTo>
                  <a:lnTo>
                    <a:pt x="319" y="102"/>
                  </a:lnTo>
                  <a:lnTo>
                    <a:pt x="320" y="102"/>
                  </a:lnTo>
                  <a:lnTo>
                    <a:pt x="323" y="103"/>
                  </a:lnTo>
                  <a:lnTo>
                    <a:pt x="324" y="106"/>
                  </a:lnTo>
                  <a:lnTo>
                    <a:pt x="329" y="113"/>
                  </a:lnTo>
                  <a:lnTo>
                    <a:pt x="330" y="116"/>
                  </a:lnTo>
                  <a:lnTo>
                    <a:pt x="333" y="118"/>
                  </a:lnTo>
                  <a:lnTo>
                    <a:pt x="355" y="123"/>
                  </a:lnTo>
                  <a:lnTo>
                    <a:pt x="368" y="131"/>
                  </a:lnTo>
                  <a:lnTo>
                    <a:pt x="370" y="132"/>
                  </a:lnTo>
                  <a:lnTo>
                    <a:pt x="380" y="141"/>
                  </a:lnTo>
                  <a:lnTo>
                    <a:pt x="381" y="142"/>
                  </a:lnTo>
                  <a:lnTo>
                    <a:pt x="384" y="144"/>
                  </a:lnTo>
                  <a:lnTo>
                    <a:pt x="384" y="145"/>
                  </a:lnTo>
                  <a:lnTo>
                    <a:pt x="387" y="147"/>
                  </a:lnTo>
                  <a:lnTo>
                    <a:pt x="396" y="153"/>
                  </a:lnTo>
                  <a:lnTo>
                    <a:pt x="397" y="154"/>
                  </a:lnTo>
                  <a:lnTo>
                    <a:pt x="400" y="158"/>
                  </a:lnTo>
                  <a:lnTo>
                    <a:pt x="402" y="160"/>
                  </a:lnTo>
                  <a:lnTo>
                    <a:pt x="403" y="161"/>
                  </a:lnTo>
                  <a:lnTo>
                    <a:pt x="408" y="161"/>
                  </a:lnTo>
                  <a:lnTo>
                    <a:pt x="419" y="160"/>
                  </a:lnTo>
                  <a:lnTo>
                    <a:pt x="425" y="158"/>
                  </a:lnTo>
                  <a:lnTo>
                    <a:pt x="431" y="157"/>
                  </a:lnTo>
                  <a:lnTo>
                    <a:pt x="467" y="167"/>
                  </a:lnTo>
                  <a:lnTo>
                    <a:pt x="469" y="167"/>
                  </a:lnTo>
                  <a:lnTo>
                    <a:pt x="473" y="169"/>
                  </a:lnTo>
                  <a:lnTo>
                    <a:pt x="483" y="179"/>
                  </a:lnTo>
                  <a:lnTo>
                    <a:pt x="498" y="183"/>
                  </a:lnTo>
                  <a:lnTo>
                    <a:pt x="507" y="183"/>
                  </a:lnTo>
                  <a:lnTo>
                    <a:pt x="510" y="185"/>
                  </a:lnTo>
                  <a:lnTo>
                    <a:pt x="510" y="193"/>
                  </a:lnTo>
                  <a:lnTo>
                    <a:pt x="510" y="198"/>
                  </a:lnTo>
                  <a:lnTo>
                    <a:pt x="510" y="199"/>
                  </a:lnTo>
                  <a:lnTo>
                    <a:pt x="511" y="201"/>
                  </a:lnTo>
                  <a:lnTo>
                    <a:pt x="511" y="201"/>
                  </a:lnTo>
                  <a:lnTo>
                    <a:pt x="512" y="202"/>
                  </a:lnTo>
                  <a:lnTo>
                    <a:pt x="514" y="204"/>
                  </a:lnTo>
                  <a:lnTo>
                    <a:pt x="515" y="204"/>
                  </a:lnTo>
                  <a:lnTo>
                    <a:pt x="518" y="204"/>
                  </a:lnTo>
                  <a:lnTo>
                    <a:pt x="533" y="201"/>
                  </a:lnTo>
                  <a:lnTo>
                    <a:pt x="539" y="201"/>
                  </a:lnTo>
                  <a:lnTo>
                    <a:pt x="540" y="201"/>
                  </a:lnTo>
                  <a:lnTo>
                    <a:pt x="543" y="202"/>
                  </a:lnTo>
                  <a:lnTo>
                    <a:pt x="547" y="206"/>
                  </a:lnTo>
                  <a:lnTo>
                    <a:pt x="550" y="208"/>
                  </a:lnTo>
                  <a:lnTo>
                    <a:pt x="553" y="208"/>
                  </a:lnTo>
                  <a:lnTo>
                    <a:pt x="559" y="208"/>
                  </a:lnTo>
                  <a:lnTo>
                    <a:pt x="562" y="206"/>
                  </a:lnTo>
                  <a:lnTo>
                    <a:pt x="565" y="205"/>
                  </a:lnTo>
                  <a:lnTo>
                    <a:pt x="566" y="205"/>
                  </a:lnTo>
                  <a:lnTo>
                    <a:pt x="577" y="205"/>
                  </a:lnTo>
                  <a:lnTo>
                    <a:pt x="579" y="204"/>
                  </a:lnTo>
                  <a:lnTo>
                    <a:pt x="581" y="204"/>
                  </a:lnTo>
                  <a:lnTo>
                    <a:pt x="582" y="202"/>
                  </a:lnTo>
                  <a:lnTo>
                    <a:pt x="584" y="202"/>
                  </a:lnTo>
                  <a:lnTo>
                    <a:pt x="585" y="204"/>
                  </a:lnTo>
                  <a:lnTo>
                    <a:pt x="585" y="206"/>
                  </a:lnTo>
                  <a:lnTo>
                    <a:pt x="585" y="208"/>
                  </a:lnTo>
                  <a:lnTo>
                    <a:pt x="584" y="209"/>
                  </a:lnTo>
                  <a:lnTo>
                    <a:pt x="582" y="211"/>
                  </a:lnTo>
                  <a:lnTo>
                    <a:pt x="581" y="211"/>
                  </a:lnTo>
                  <a:lnTo>
                    <a:pt x="581" y="212"/>
                  </a:lnTo>
                  <a:lnTo>
                    <a:pt x="581" y="215"/>
                  </a:lnTo>
                  <a:lnTo>
                    <a:pt x="582" y="217"/>
                  </a:lnTo>
                  <a:lnTo>
                    <a:pt x="591" y="220"/>
                  </a:lnTo>
                  <a:lnTo>
                    <a:pt x="600" y="218"/>
                  </a:lnTo>
                  <a:lnTo>
                    <a:pt x="609" y="209"/>
                  </a:lnTo>
                  <a:lnTo>
                    <a:pt x="610" y="206"/>
                  </a:lnTo>
                  <a:lnTo>
                    <a:pt x="614" y="202"/>
                  </a:lnTo>
                  <a:lnTo>
                    <a:pt x="616" y="201"/>
                  </a:lnTo>
                  <a:lnTo>
                    <a:pt x="626" y="195"/>
                  </a:lnTo>
                  <a:lnTo>
                    <a:pt x="630" y="190"/>
                  </a:lnTo>
                  <a:lnTo>
                    <a:pt x="633" y="188"/>
                  </a:lnTo>
                  <a:lnTo>
                    <a:pt x="635" y="186"/>
                  </a:lnTo>
                  <a:lnTo>
                    <a:pt x="636" y="185"/>
                  </a:lnTo>
                  <a:lnTo>
                    <a:pt x="636" y="183"/>
                  </a:lnTo>
                  <a:lnTo>
                    <a:pt x="636" y="183"/>
                  </a:lnTo>
                  <a:lnTo>
                    <a:pt x="638" y="182"/>
                  </a:lnTo>
                  <a:lnTo>
                    <a:pt x="638" y="180"/>
                  </a:lnTo>
                  <a:lnTo>
                    <a:pt x="638" y="177"/>
                  </a:lnTo>
                  <a:lnTo>
                    <a:pt x="639" y="176"/>
                  </a:lnTo>
                  <a:lnTo>
                    <a:pt x="641" y="174"/>
                  </a:lnTo>
                  <a:lnTo>
                    <a:pt x="642" y="173"/>
                  </a:lnTo>
                  <a:lnTo>
                    <a:pt x="645" y="172"/>
                  </a:lnTo>
                  <a:lnTo>
                    <a:pt x="646" y="170"/>
                  </a:lnTo>
                  <a:lnTo>
                    <a:pt x="648" y="169"/>
                  </a:lnTo>
                  <a:lnTo>
                    <a:pt x="649" y="167"/>
                  </a:lnTo>
                  <a:lnTo>
                    <a:pt x="651" y="166"/>
                  </a:lnTo>
                  <a:lnTo>
                    <a:pt x="654" y="166"/>
                  </a:lnTo>
                  <a:lnTo>
                    <a:pt x="655" y="166"/>
                  </a:lnTo>
                  <a:lnTo>
                    <a:pt x="658" y="167"/>
                  </a:lnTo>
                  <a:lnTo>
                    <a:pt x="662" y="173"/>
                  </a:lnTo>
                  <a:lnTo>
                    <a:pt x="665" y="177"/>
                  </a:lnTo>
                  <a:lnTo>
                    <a:pt x="665" y="179"/>
                  </a:lnTo>
                  <a:lnTo>
                    <a:pt x="670" y="180"/>
                  </a:lnTo>
                  <a:lnTo>
                    <a:pt x="680" y="180"/>
                  </a:lnTo>
                  <a:lnTo>
                    <a:pt x="681" y="174"/>
                  </a:lnTo>
                  <a:lnTo>
                    <a:pt x="681" y="170"/>
                  </a:lnTo>
                  <a:lnTo>
                    <a:pt x="681" y="169"/>
                  </a:lnTo>
                  <a:lnTo>
                    <a:pt x="683" y="166"/>
                  </a:lnTo>
                  <a:lnTo>
                    <a:pt x="686" y="158"/>
                  </a:lnTo>
                  <a:lnTo>
                    <a:pt x="689" y="156"/>
                  </a:lnTo>
                  <a:lnTo>
                    <a:pt x="692" y="151"/>
                  </a:lnTo>
                  <a:lnTo>
                    <a:pt x="697" y="148"/>
                  </a:lnTo>
                  <a:lnTo>
                    <a:pt x="706" y="148"/>
                  </a:lnTo>
                  <a:lnTo>
                    <a:pt x="713" y="150"/>
                  </a:lnTo>
                  <a:lnTo>
                    <a:pt x="722" y="153"/>
                  </a:lnTo>
                  <a:lnTo>
                    <a:pt x="728" y="157"/>
                  </a:lnTo>
                  <a:lnTo>
                    <a:pt x="734" y="158"/>
                  </a:lnTo>
                  <a:lnTo>
                    <a:pt x="741" y="157"/>
                  </a:lnTo>
                  <a:lnTo>
                    <a:pt x="759" y="141"/>
                  </a:lnTo>
                  <a:lnTo>
                    <a:pt x="763" y="141"/>
                  </a:lnTo>
                  <a:lnTo>
                    <a:pt x="766" y="137"/>
                  </a:lnTo>
                  <a:lnTo>
                    <a:pt x="772" y="131"/>
                  </a:lnTo>
                  <a:lnTo>
                    <a:pt x="776" y="118"/>
                  </a:lnTo>
                  <a:lnTo>
                    <a:pt x="782" y="103"/>
                  </a:lnTo>
                  <a:lnTo>
                    <a:pt x="785" y="91"/>
                  </a:lnTo>
                  <a:lnTo>
                    <a:pt x="786" y="86"/>
                  </a:lnTo>
                  <a:lnTo>
                    <a:pt x="792" y="81"/>
                  </a:lnTo>
                  <a:lnTo>
                    <a:pt x="798" y="77"/>
                  </a:lnTo>
                  <a:lnTo>
                    <a:pt x="811" y="77"/>
                  </a:lnTo>
                  <a:lnTo>
                    <a:pt x="818" y="70"/>
                  </a:lnTo>
                  <a:lnTo>
                    <a:pt x="826" y="58"/>
                  </a:lnTo>
                  <a:lnTo>
                    <a:pt x="846" y="39"/>
                  </a:lnTo>
                  <a:lnTo>
                    <a:pt x="859" y="38"/>
                  </a:lnTo>
                  <a:lnTo>
                    <a:pt x="871" y="39"/>
                  </a:lnTo>
                  <a:lnTo>
                    <a:pt x="881" y="35"/>
                  </a:lnTo>
                  <a:lnTo>
                    <a:pt x="880" y="27"/>
                  </a:lnTo>
                  <a:lnTo>
                    <a:pt x="871" y="11"/>
                  </a:lnTo>
                  <a:lnTo>
                    <a:pt x="871" y="0"/>
                  </a:lnTo>
                  <a:lnTo>
                    <a:pt x="877" y="1"/>
                  </a:lnTo>
                  <a:lnTo>
                    <a:pt x="885" y="14"/>
                  </a:lnTo>
                  <a:lnTo>
                    <a:pt x="901" y="20"/>
                  </a:lnTo>
                  <a:lnTo>
                    <a:pt x="903" y="33"/>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18">
              <a:extLst>
                <a:ext uri="{FF2B5EF4-FFF2-40B4-BE49-F238E27FC236}">
                  <a16:creationId xmlns:a16="http://schemas.microsoft.com/office/drawing/2014/main" id="{7DF92231-B26F-4E23-B74D-B01B4D3A0445}"/>
                </a:ext>
              </a:extLst>
            </p:cNvPr>
            <p:cNvSpPr>
              <a:spLocks/>
            </p:cNvSpPr>
            <p:nvPr/>
          </p:nvSpPr>
          <p:spPr bwMode="gray">
            <a:xfrm>
              <a:off x="7561263" y="2244725"/>
              <a:ext cx="363538" cy="290513"/>
            </a:xfrm>
            <a:custGeom>
              <a:avLst/>
              <a:gdLst>
                <a:gd name="T0" fmla="*/ 141 w 229"/>
                <a:gd name="T1" fmla="*/ 19 h 183"/>
                <a:gd name="T2" fmla="*/ 141 w 229"/>
                <a:gd name="T3" fmla="*/ 29 h 183"/>
                <a:gd name="T4" fmla="*/ 178 w 229"/>
                <a:gd name="T5" fmla="*/ 64 h 183"/>
                <a:gd name="T6" fmla="*/ 194 w 229"/>
                <a:gd name="T7" fmla="*/ 76 h 183"/>
                <a:gd name="T8" fmla="*/ 198 w 229"/>
                <a:gd name="T9" fmla="*/ 99 h 183"/>
                <a:gd name="T10" fmla="*/ 226 w 229"/>
                <a:gd name="T11" fmla="*/ 118 h 183"/>
                <a:gd name="T12" fmla="*/ 226 w 229"/>
                <a:gd name="T13" fmla="*/ 127 h 183"/>
                <a:gd name="T14" fmla="*/ 224 w 229"/>
                <a:gd name="T15" fmla="*/ 135 h 183"/>
                <a:gd name="T16" fmla="*/ 215 w 229"/>
                <a:gd name="T17" fmla="*/ 145 h 183"/>
                <a:gd name="T18" fmla="*/ 213 w 229"/>
                <a:gd name="T19" fmla="*/ 160 h 183"/>
                <a:gd name="T20" fmla="*/ 211 w 229"/>
                <a:gd name="T21" fmla="*/ 167 h 183"/>
                <a:gd name="T22" fmla="*/ 201 w 229"/>
                <a:gd name="T23" fmla="*/ 172 h 183"/>
                <a:gd name="T24" fmla="*/ 192 w 229"/>
                <a:gd name="T25" fmla="*/ 183 h 183"/>
                <a:gd name="T26" fmla="*/ 191 w 229"/>
                <a:gd name="T27" fmla="*/ 172 h 183"/>
                <a:gd name="T28" fmla="*/ 182 w 229"/>
                <a:gd name="T29" fmla="*/ 160 h 183"/>
                <a:gd name="T30" fmla="*/ 151 w 229"/>
                <a:gd name="T31" fmla="*/ 147 h 183"/>
                <a:gd name="T32" fmla="*/ 144 w 229"/>
                <a:gd name="T33" fmla="*/ 150 h 183"/>
                <a:gd name="T34" fmla="*/ 135 w 229"/>
                <a:gd name="T35" fmla="*/ 151 h 183"/>
                <a:gd name="T36" fmla="*/ 131 w 229"/>
                <a:gd name="T37" fmla="*/ 143 h 183"/>
                <a:gd name="T38" fmla="*/ 118 w 229"/>
                <a:gd name="T39" fmla="*/ 143 h 183"/>
                <a:gd name="T40" fmla="*/ 115 w 229"/>
                <a:gd name="T41" fmla="*/ 147 h 183"/>
                <a:gd name="T42" fmla="*/ 116 w 229"/>
                <a:gd name="T43" fmla="*/ 156 h 183"/>
                <a:gd name="T44" fmla="*/ 99 w 229"/>
                <a:gd name="T45" fmla="*/ 157 h 183"/>
                <a:gd name="T46" fmla="*/ 89 w 229"/>
                <a:gd name="T47" fmla="*/ 147 h 183"/>
                <a:gd name="T48" fmla="*/ 76 w 229"/>
                <a:gd name="T49" fmla="*/ 150 h 183"/>
                <a:gd name="T50" fmla="*/ 70 w 229"/>
                <a:gd name="T51" fmla="*/ 141 h 183"/>
                <a:gd name="T52" fmla="*/ 57 w 229"/>
                <a:gd name="T53" fmla="*/ 147 h 183"/>
                <a:gd name="T54" fmla="*/ 46 w 229"/>
                <a:gd name="T55" fmla="*/ 141 h 183"/>
                <a:gd name="T56" fmla="*/ 26 w 229"/>
                <a:gd name="T57" fmla="*/ 148 h 183"/>
                <a:gd name="T58" fmla="*/ 22 w 229"/>
                <a:gd name="T59" fmla="*/ 151 h 183"/>
                <a:gd name="T60" fmla="*/ 1 w 229"/>
                <a:gd name="T61" fmla="*/ 143 h 183"/>
                <a:gd name="T62" fmla="*/ 0 w 229"/>
                <a:gd name="T63" fmla="*/ 141 h 183"/>
                <a:gd name="T64" fmla="*/ 4 w 229"/>
                <a:gd name="T65" fmla="*/ 135 h 183"/>
                <a:gd name="T66" fmla="*/ 4 w 229"/>
                <a:gd name="T67" fmla="*/ 131 h 183"/>
                <a:gd name="T68" fmla="*/ 9 w 229"/>
                <a:gd name="T69" fmla="*/ 127 h 183"/>
                <a:gd name="T70" fmla="*/ 6 w 229"/>
                <a:gd name="T71" fmla="*/ 116 h 183"/>
                <a:gd name="T72" fmla="*/ 9 w 229"/>
                <a:gd name="T73" fmla="*/ 106 h 183"/>
                <a:gd name="T74" fmla="*/ 22 w 229"/>
                <a:gd name="T75" fmla="*/ 93 h 183"/>
                <a:gd name="T76" fmla="*/ 17 w 229"/>
                <a:gd name="T77" fmla="*/ 64 h 183"/>
                <a:gd name="T78" fmla="*/ 17 w 229"/>
                <a:gd name="T79" fmla="*/ 45 h 183"/>
                <a:gd name="T80" fmla="*/ 20 w 229"/>
                <a:gd name="T81" fmla="*/ 38 h 183"/>
                <a:gd name="T82" fmla="*/ 39 w 229"/>
                <a:gd name="T83" fmla="*/ 44 h 183"/>
                <a:gd name="T84" fmla="*/ 42 w 229"/>
                <a:gd name="T85" fmla="*/ 41 h 183"/>
                <a:gd name="T86" fmla="*/ 41 w 229"/>
                <a:gd name="T87" fmla="*/ 33 h 183"/>
                <a:gd name="T88" fmla="*/ 45 w 229"/>
                <a:gd name="T89" fmla="*/ 20 h 183"/>
                <a:gd name="T90" fmla="*/ 64 w 229"/>
                <a:gd name="T91" fmla="*/ 12 h 183"/>
                <a:gd name="T92" fmla="*/ 68 w 229"/>
                <a:gd name="T93" fmla="*/ 4 h 183"/>
                <a:gd name="T94" fmla="*/ 73 w 229"/>
                <a:gd name="T95" fmla="*/ 6 h 183"/>
                <a:gd name="T96" fmla="*/ 73 w 229"/>
                <a:gd name="T97" fmla="*/ 16 h 183"/>
                <a:gd name="T98" fmla="*/ 81 w 229"/>
                <a:gd name="T99" fmla="*/ 22 h 183"/>
                <a:gd name="T100" fmla="*/ 100 w 229"/>
                <a:gd name="T101" fmla="*/ 20 h 183"/>
                <a:gd name="T102" fmla="*/ 118 w 229"/>
                <a:gd name="T103" fmla="*/ 13 h 183"/>
                <a:gd name="T104" fmla="*/ 121 w 229"/>
                <a:gd name="T105" fmla="*/ 9 h 183"/>
                <a:gd name="T106" fmla="*/ 134 w 229"/>
                <a:gd name="T107" fmla="*/ 1 h 183"/>
                <a:gd name="T108" fmla="*/ 141 w 229"/>
                <a:gd name="T109" fmla="*/ 1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9" h="183">
                  <a:moveTo>
                    <a:pt x="141" y="12"/>
                  </a:moveTo>
                  <a:lnTo>
                    <a:pt x="143" y="13"/>
                  </a:lnTo>
                  <a:lnTo>
                    <a:pt x="143" y="14"/>
                  </a:lnTo>
                  <a:lnTo>
                    <a:pt x="141" y="19"/>
                  </a:lnTo>
                  <a:lnTo>
                    <a:pt x="141" y="22"/>
                  </a:lnTo>
                  <a:lnTo>
                    <a:pt x="141" y="25"/>
                  </a:lnTo>
                  <a:lnTo>
                    <a:pt x="141" y="29"/>
                  </a:lnTo>
                  <a:lnTo>
                    <a:pt x="141" y="29"/>
                  </a:lnTo>
                  <a:lnTo>
                    <a:pt x="143" y="30"/>
                  </a:lnTo>
                  <a:lnTo>
                    <a:pt x="166" y="57"/>
                  </a:lnTo>
                  <a:lnTo>
                    <a:pt x="173" y="62"/>
                  </a:lnTo>
                  <a:lnTo>
                    <a:pt x="178" y="64"/>
                  </a:lnTo>
                  <a:lnTo>
                    <a:pt x="181" y="67"/>
                  </a:lnTo>
                  <a:lnTo>
                    <a:pt x="185" y="70"/>
                  </a:lnTo>
                  <a:lnTo>
                    <a:pt x="192" y="71"/>
                  </a:lnTo>
                  <a:lnTo>
                    <a:pt x="194" y="76"/>
                  </a:lnTo>
                  <a:lnTo>
                    <a:pt x="185" y="94"/>
                  </a:lnTo>
                  <a:lnTo>
                    <a:pt x="185" y="99"/>
                  </a:lnTo>
                  <a:lnTo>
                    <a:pt x="185" y="100"/>
                  </a:lnTo>
                  <a:lnTo>
                    <a:pt x="198" y="99"/>
                  </a:lnTo>
                  <a:lnTo>
                    <a:pt x="202" y="102"/>
                  </a:lnTo>
                  <a:lnTo>
                    <a:pt x="210" y="109"/>
                  </a:lnTo>
                  <a:lnTo>
                    <a:pt x="223" y="116"/>
                  </a:lnTo>
                  <a:lnTo>
                    <a:pt x="226" y="118"/>
                  </a:lnTo>
                  <a:lnTo>
                    <a:pt x="229" y="122"/>
                  </a:lnTo>
                  <a:lnTo>
                    <a:pt x="229" y="124"/>
                  </a:lnTo>
                  <a:lnTo>
                    <a:pt x="229" y="125"/>
                  </a:lnTo>
                  <a:lnTo>
                    <a:pt x="226" y="127"/>
                  </a:lnTo>
                  <a:lnTo>
                    <a:pt x="224" y="128"/>
                  </a:lnTo>
                  <a:lnTo>
                    <a:pt x="224" y="129"/>
                  </a:lnTo>
                  <a:lnTo>
                    <a:pt x="224" y="131"/>
                  </a:lnTo>
                  <a:lnTo>
                    <a:pt x="224" y="135"/>
                  </a:lnTo>
                  <a:lnTo>
                    <a:pt x="224" y="137"/>
                  </a:lnTo>
                  <a:lnTo>
                    <a:pt x="223" y="138"/>
                  </a:lnTo>
                  <a:lnTo>
                    <a:pt x="217" y="144"/>
                  </a:lnTo>
                  <a:lnTo>
                    <a:pt x="215" y="145"/>
                  </a:lnTo>
                  <a:lnTo>
                    <a:pt x="214" y="147"/>
                  </a:lnTo>
                  <a:lnTo>
                    <a:pt x="213" y="151"/>
                  </a:lnTo>
                  <a:lnTo>
                    <a:pt x="213" y="154"/>
                  </a:lnTo>
                  <a:lnTo>
                    <a:pt x="213" y="160"/>
                  </a:lnTo>
                  <a:lnTo>
                    <a:pt x="213" y="163"/>
                  </a:lnTo>
                  <a:lnTo>
                    <a:pt x="213" y="164"/>
                  </a:lnTo>
                  <a:lnTo>
                    <a:pt x="213" y="166"/>
                  </a:lnTo>
                  <a:lnTo>
                    <a:pt x="211" y="167"/>
                  </a:lnTo>
                  <a:lnTo>
                    <a:pt x="211" y="167"/>
                  </a:lnTo>
                  <a:lnTo>
                    <a:pt x="210" y="169"/>
                  </a:lnTo>
                  <a:lnTo>
                    <a:pt x="210" y="169"/>
                  </a:lnTo>
                  <a:lnTo>
                    <a:pt x="201" y="172"/>
                  </a:lnTo>
                  <a:lnTo>
                    <a:pt x="201" y="172"/>
                  </a:lnTo>
                  <a:lnTo>
                    <a:pt x="199" y="173"/>
                  </a:lnTo>
                  <a:lnTo>
                    <a:pt x="195" y="183"/>
                  </a:lnTo>
                  <a:lnTo>
                    <a:pt x="192" y="183"/>
                  </a:lnTo>
                  <a:lnTo>
                    <a:pt x="191" y="182"/>
                  </a:lnTo>
                  <a:lnTo>
                    <a:pt x="191" y="182"/>
                  </a:lnTo>
                  <a:lnTo>
                    <a:pt x="191" y="180"/>
                  </a:lnTo>
                  <a:lnTo>
                    <a:pt x="191" y="172"/>
                  </a:lnTo>
                  <a:lnTo>
                    <a:pt x="189" y="163"/>
                  </a:lnTo>
                  <a:lnTo>
                    <a:pt x="188" y="160"/>
                  </a:lnTo>
                  <a:lnTo>
                    <a:pt x="185" y="159"/>
                  </a:lnTo>
                  <a:lnTo>
                    <a:pt x="182" y="160"/>
                  </a:lnTo>
                  <a:lnTo>
                    <a:pt x="179" y="159"/>
                  </a:lnTo>
                  <a:lnTo>
                    <a:pt x="170" y="156"/>
                  </a:lnTo>
                  <a:lnTo>
                    <a:pt x="164" y="153"/>
                  </a:lnTo>
                  <a:lnTo>
                    <a:pt x="151" y="147"/>
                  </a:lnTo>
                  <a:lnTo>
                    <a:pt x="148" y="147"/>
                  </a:lnTo>
                  <a:lnTo>
                    <a:pt x="147" y="148"/>
                  </a:lnTo>
                  <a:lnTo>
                    <a:pt x="146" y="148"/>
                  </a:lnTo>
                  <a:lnTo>
                    <a:pt x="144" y="150"/>
                  </a:lnTo>
                  <a:lnTo>
                    <a:pt x="144" y="151"/>
                  </a:lnTo>
                  <a:lnTo>
                    <a:pt x="143" y="151"/>
                  </a:lnTo>
                  <a:lnTo>
                    <a:pt x="140" y="151"/>
                  </a:lnTo>
                  <a:lnTo>
                    <a:pt x="135" y="151"/>
                  </a:lnTo>
                  <a:lnTo>
                    <a:pt x="134" y="150"/>
                  </a:lnTo>
                  <a:lnTo>
                    <a:pt x="132" y="148"/>
                  </a:lnTo>
                  <a:lnTo>
                    <a:pt x="132" y="145"/>
                  </a:lnTo>
                  <a:lnTo>
                    <a:pt x="131" y="143"/>
                  </a:lnTo>
                  <a:lnTo>
                    <a:pt x="128" y="141"/>
                  </a:lnTo>
                  <a:lnTo>
                    <a:pt x="127" y="141"/>
                  </a:lnTo>
                  <a:lnTo>
                    <a:pt x="124" y="141"/>
                  </a:lnTo>
                  <a:lnTo>
                    <a:pt x="118" y="143"/>
                  </a:lnTo>
                  <a:lnTo>
                    <a:pt x="116" y="144"/>
                  </a:lnTo>
                  <a:lnTo>
                    <a:pt x="116" y="144"/>
                  </a:lnTo>
                  <a:lnTo>
                    <a:pt x="115" y="145"/>
                  </a:lnTo>
                  <a:lnTo>
                    <a:pt x="115" y="147"/>
                  </a:lnTo>
                  <a:lnTo>
                    <a:pt x="115" y="148"/>
                  </a:lnTo>
                  <a:lnTo>
                    <a:pt x="115" y="151"/>
                  </a:lnTo>
                  <a:lnTo>
                    <a:pt x="116" y="154"/>
                  </a:lnTo>
                  <a:lnTo>
                    <a:pt x="116" y="156"/>
                  </a:lnTo>
                  <a:lnTo>
                    <a:pt x="116" y="157"/>
                  </a:lnTo>
                  <a:lnTo>
                    <a:pt x="115" y="160"/>
                  </a:lnTo>
                  <a:lnTo>
                    <a:pt x="105" y="160"/>
                  </a:lnTo>
                  <a:lnTo>
                    <a:pt x="99" y="157"/>
                  </a:lnTo>
                  <a:lnTo>
                    <a:pt x="97" y="156"/>
                  </a:lnTo>
                  <a:lnTo>
                    <a:pt x="95" y="153"/>
                  </a:lnTo>
                  <a:lnTo>
                    <a:pt x="90" y="148"/>
                  </a:lnTo>
                  <a:lnTo>
                    <a:pt x="89" y="147"/>
                  </a:lnTo>
                  <a:lnTo>
                    <a:pt x="87" y="145"/>
                  </a:lnTo>
                  <a:lnTo>
                    <a:pt x="84" y="147"/>
                  </a:lnTo>
                  <a:lnTo>
                    <a:pt x="76" y="150"/>
                  </a:lnTo>
                  <a:lnTo>
                    <a:pt x="76" y="150"/>
                  </a:lnTo>
                  <a:lnTo>
                    <a:pt x="74" y="148"/>
                  </a:lnTo>
                  <a:lnTo>
                    <a:pt x="71" y="144"/>
                  </a:lnTo>
                  <a:lnTo>
                    <a:pt x="70" y="143"/>
                  </a:lnTo>
                  <a:lnTo>
                    <a:pt x="70" y="141"/>
                  </a:lnTo>
                  <a:lnTo>
                    <a:pt x="70" y="141"/>
                  </a:lnTo>
                  <a:lnTo>
                    <a:pt x="68" y="143"/>
                  </a:lnTo>
                  <a:lnTo>
                    <a:pt x="67" y="143"/>
                  </a:lnTo>
                  <a:lnTo>
                    <a:pt x="57" y="147"/>
                  </a:lnTo>
                  <a:lnTo>
                    <a:pt x="55" y="147"/>
                  </a:lnTo>
                  <a:lnTo>
                    <a:pt x="54" y="147"/>
                  </a:lnTo>
                  <a:lnTo>
                    <a:pt x="51" y="144"/>
                  </a:lnTo>
                  <a:lnTo>
                    <a:pt x="46" y="141"/>
                  </a:lnTo>
                  <a:lnTo>
                    <a:pt x="44" y="140"/>
                  </a:lnTo>
                  <a:lnTo>
                    <a:pt x="42" y="140"/>
                  </a:lnTo>
                  <a:lnTo>
                    <a:pt x="28" y="147"/>
                  </a:lnTo>
                  <a:lnTo>
                    <a:pt x="26" y="148"/>
                  </a:lnTo>
                  <a:lnTo>
                    <a:pt x="26" y="150"/>
                  </a:lnTo>
                  <a:lnTo>
                    <a:pt x="25" y="151"/>
                  </a:lnTo>
                  <a:lnTo>
                    <a:pt x="23" y="151"/>
                  </a:lnTo>
                  <a:lnTo>
                    <a:pt x="22" y="151"/>
                  </a:lnTo>
                  <a:lnTo>
                    <a:pt x="10" y="150"/>
                  </a:lnTo>
                  <a:lnTo>
                    <a:pt x="9" y="148"/>
                  </a:lnTo>
                  <a:lnTo>
                    <a:pt x="7" y="148"/>
                  </a:lnTo>
                  <a:lnTo>
                    <a:pt x="1" y="143"/>
                  </a:lnTo>
                  <a:lnTo>
                    <a:pt x="0" y="143"/>
                  </a:lnTo>
                  <a:lnTo>
                    <a:pt x="0" y="143"/>
                  </a:lnTo>
                  <a:lnTo>
                    <a:pt x="0" y="143"/>
                  </a:lnTo>
                  <a:lnTo>
                    <a:pt x="0" y="141"/>
                  </a:lnTo>
                  <a:lnTo>
                    <a:pt x="0" y="141"/>
                  </a:lnTo>
                  <a:lnTo>
                    <a:pt x="0" y="140"/>
                  </a:lnTo>
                  <a:lnTo>
                    <a:pt x="3" y="135"/>
                  </a:lnTo>
                  <a:lnTo>
                    <a:pt x="4" y="135"/>
                  </a:lnTo>
                  <a:lnTo>
                    <a:pt x="4" y="134"/>
                  </a:lnTo>
                  <a:lnTo>
                    <a:pt x="4" y="132"/>
                  </a:lnTo>
                  <a:lnTo>
                    <a:pt x="4" y="132"/>
                  </a:lnTo>
                  <a:lnTo>
                    <a:pt x="4" y="131"/>
                  </a:lnTo>
                  <a:lnTo>
                    <a:pt x="6" y="129"/>
                  </a:lnTo>
                  <a:lnTo>
                    <a:pt x="7" y="128"/>
                  </a:lnTo>
                  <a:lnTo>
                    <a:pt x="9" y="127"/>
                  </a:lnTo>
                  <a:lnTo>
                    <a:pt x="9" y="127"/>
                  </a:lnTo>
                  <a:lnTo>
                    <a:pt x="7" y="124"/>
                  </a:lnTo>
                  <a:lnTo>
                    <a:pt x="6" y="122"/>
                  </a:lnTo>
                  <a:lnTo>
                    <a:pt x="6" y="119"/>
                  </a:lnTo>
                  <a:lnTo>
                    <a:pt x="6" y="116"/>
                  </a:lnTo>
                  <a:lnTo>
                    <a:pt x="6" y="113"/>
                  </a:lnTo>
                  <a:lnTo>
                    <a:pt x="7" y="109"/>
                  </a:lnTo>
                  <a:lnTo>
                    <a:pt x="7" y="108"/>
                  </a:lnTo>
                  <a:lnTo>
                    <a:pt x="9" y="106"/>
                  </a:lnTo>
                  <a:lnTo>
                    <a:pt x="9" y="106"/>
                  </a:lnTo>
                  <a:lnTo>
                    <a:pt x="12" y="105"/>
                  </a:lnTo>
                  <a:lnTo>
                    <a:pt x="13" y="103"/>
                  </a:lnTo>
                  <a:lnTo>
                    <a:pt x="22" y="93"/>
                  </a:lnTo>
                  <a:lnTo>
                    <a:pt x="22" y="90"/>
                  </a:lnTo>
                  <a:lnTo>
                    <a:pt x="22" y="89"/>
                  </a:lnTo>
                  <a:lnTo>
                    <a:pt x="16" y="80"/>
                  </a:lnTo>
                  <a:lnTo>
                    <a:pt x="17" y="64"/>
                  </a:lnTo>
                  <a:lnTo>
                    <a:pt x="19" y="55"/>
                  </a:lnTo>
                  <a:lnTo>
                    <a:pt x="19" y="49"/>
                  </a:lnTo>
                  <a:lnTo>
                    <a:pt x="19" y="46"/>
                  </a:lnTo>
                  <a:lnTo>
                    <a:pt x="17" y="45"/>
                  </a:lnTo>
                  <a:lnTo>
                    <a:pt x="19" y="44"/>
                  </a:lnTo>
                  <a:lnTo>
                    <a:pt x="19" y="42"/>
                  </a:lnTo>
                  <a:lnTo>
                    <a:pt x="19" y="41"/>
                  </a:lnTo>
                  <a:lnTo>
                    <a:pt x="20" y="38"/>
                  </a:lnTo>
                  <a:lnTo>
                    <a:pt x="22" y="36"/>
                  </a:lnTo>
                  <a:lnTo>
                    <a:pt x="22" y="36"/>
                  </a:lnTo>
                  <a:lnTo>
                    <a:pt x="25" y="38"/>
                  </a:lnTo>
                  <a:lnTo>
                    <a:pt x="39" y="44"/>
                  </a:lnTo>
                  <a:lnTo>
                    <a:pt x="44" y="44"/>
                  </a:lnTo>
                  <a:lnTo>
                    <a:pt x="44" y="42"/>
                  </a:lnTo>
                  <a:lnTo>
                    <a:pt x="42" y="41"/>
                  </a:lnTo>
                  <a:lnTo>
                    <a:pt x="42" y="41"/>
                  </a:lnTo>
                  <a:lnTo>
                    <a:pt x="41" y="38"/>
                  </a:lnTo>
                  <a:lnTo>
                    <a:pt x="41" y="38"/>
                  </a:lnTo>
                  <a:lnTo>
                    <a:pt x="41" y="36"/>
                  </a:lnTo>
                  <a:lnTo>
                    <a:pt x="41" y="33"/>
                  </a:lnTo>
                  <a:lnTo>
                    <a:pt x="41" y="32"/>
                  </a:lnTo>
                  <a:lnTo>
                    <a:pt x="41" y="30"/>
                  </a:lnTo>
                  <a:lnTo>
                    <a:pt x="45" y="22"/>
                  </a:lnTo>
                  <a:lnTo>
                    <a:pt x="45" y="20"/>
                  </a:lnTo>
                  <a:lnTo>
                    <a:pt x="55" y="19"/>
                  </a:lnTo>
                  <a:lnTo>
                    <a:pt x="58" y="17"/>
                  </a:lnTo>
                  <a:lnTo>
                    <a:pt x="63" y="14"/>
                  </a:lnTo>
                  <a:lnTo>
                    <a:pt x="64" y="12"/>
                  </a:lnTo>
                  <a:lnTo>
                    <a:pt x="65" y="9"/>
                  </a:lnTo>
                  <a:lnTo>
                    <a:pt x="65" y="6"/>
                  </a:lnTo>
                  <a:lnTo>
                    <a:pt x="67" y="4"/>
                  </a:lnTo>
                  <a:lnTo>
                    <a:pt x="68" y="4"/>
                  </a:lnTo>
                  <a:lnTo>
                    <a:pt x="73" y="4"/>
                  </a:lnTo>
                  <a:lnTo>
                    <a:pt x="73" y="4"/>
                  </a:lnTo>
                  <a:lnTo>
                    <a:pt x="73" y="4"/>
                  </a:lnTo>
                  <a:lnTo>
                    <a:pt x="73" y="6"/>
                  </a:lnTo>
                  <a:lnTo>
                    <a:pt x="71" y="7"/>
                  </a:lnTo>
                  <a:lnTo>
                    <a:pt x="73" y="9"/>
                  </a:lnTo>
                  <a:lnTo>
                    <a:pt x="73" y="10"/>
                  </a:lnTo>
                  <a:lnTo>
                    <a:pt x="73" y="16"/>
                  </a:lnTo>
                  <a:lnTo>
                    <a:pt x="74" y="17"/>
                  </a:lnTo>
                  <a:lnTo>
                    <a:pt x="74" y="19"/>
                  </a:lnTo>
                  <a:lnTo>
                    <a:pt x="76" y="19"/>
                  </a:lnTo>
                  <a:lnTo>
                    <a:pt x="81" y="22"/>
                  </a:lnTo>
                  <a:lnTo>
                    <a:pt x="95" y="23"/>
                  </a:lnTo>
                  <a:lnTo>
                    <a:pt x="97" y="22"/>
                  </a:lnTo>
                  <a:lnTo>
                    <a:pt x="99" y="22"/>
                  </a:lnTo>
                  <a:lnTo>
                    <a:pt x="100" y="20"/>
                  </a:lnTo>
                  <a:lnTo>
                    <a:pt x="100" y="19"/>
                  </a:lnTo>
                  <a:lnTo>
                    <a:pt x="103" y="14"/>
                  </a:lnTo>
                  <a:lnTo>
                    <a:pt x="111" y="9"/>
                  </a:lnTo>
                  <a:lnTo>
                    <a:pt x="118" y="13"/>
                  </a:lnTo>
                  <a:lnTo>
                    <a:pt x="118" y="13"/>
                  </a:lnTo>
                  <a:lnTo>
                    <a:pt x="119" y="13"/>
                  </a:lnTo>
                  <a:lnTo>
                    <a:pt x="121" y="12"/>
                  </a:lnTo>
                  <a:lnTo>
                    <a:pt x="121" y="9"/>
                  </a:lnTo>
                  <a:lnTo>
                    <a:pt x="122" y="7"/>
                  </a:lnTo>
                  <a:lnTo>
                    <a:pt x="131" y="0"/>
                  </a:lnTo>
                  <a:lnTo>
                    <a:pt x="132" y="0"/>
                  </a:lnTo>
                  <a:lnTo>
                    <a:pt x="134" y="1"/>
                  </a:lnTo>
                  <a:lnTo>
                    <a:pt x="134" y="3"/>
                  </a:lnTo>
                  <a:lnTo>
                    <a:pt x="135" y="6"/>
                  </a:lnTo>
                  <a:lnTo>
                    <a:pt x="141" y="10"/>
                  </a:lnTo>
                  <a:lnTo>
                    <a:pt x="141" y="12"/>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19">
              <a:extLst>
                <a:ext uri="{FF2B5EF4-FFF2-40B4-BE49-F238E27FC236}">
                  <a16:creationId xmlns:a16="http://schemas.microsoft.com/office/drawing/2014/main" id="{CCCA2D09-2577-442D-8B8C-5451AA900E2C}"/>
                </a:ext>
              </a:extLst>
            </p:cNvPr>
            <p:cNvSpPr>
              <a:spLocks/>
            </p:cNvSpPr>
            <p:nvPr/>
          </p:nvSpPr>
          <p:spPr bwMode="gray">
            <a:xfrm>
              <a:off x="5289551" y="4105275"/>
              <a:ext cx="2671763" cy="2754313"/>
            </a:xfrm>
            <a:custGeom>
              <a:avLst/>
              <a:gdLst>
                <a:gd name="T0" fmla="*/ 484 w 1683"/>
                <a:gd name="T1" fmla="*/ 67 h 1735"/>
                <a:gd name="T2" fmla="*/ 539 w 1683"/>
                <a:gd name="T3" fmla="*/ 115 h 1735"/>
                <a:gd name="T4" fmla="*/ 599 w 1683"/>
                <a:gd name="T5" fmla="*/ 189 h 1735"/>
                <a:gd name="T6" fmla="*/ 647 w 1683"/>
                <a:gd name="T7" fmla="*/ 159 h 1735"/>
                <a:gd name="T8" fmla="*/ 617 w 1683"/>
                <a:gd name="T9" fmla="*/ 112 h 1735"/>
                <a:gd name="T10" fmla="*/ 666 w 1683"/>
                <a:gd name="T11" fmla="*/ 97 h 1735"/>
                <a:gd name="T12" fmla="*/ 742 w 1683"/>
                <a:gd name="T13" fmla="*/ 108 h 1735"/>
                <a:gd name="T14" fmla="*/ 793 w 1683"/>
                <a:gd name="T15" fmla="*/ 150 h 1735"/>
                <a:gd name="T16" fmla="*/ 796 w 1683"/>
                <a:gd name="T17" fmla="*/ 92 h 1735"/>
                <a:gd name="T18" fmla="*/ 823 w 1683"/>
                <a:gd name="T19" fmla="*/ 25 h 1735"/>
                <a:gd name="T20" fmla="*/ 883 w 1683"/>
                <a:gd name="T21" fmla="*/ 99 h 1735"/>
                <a:gd name="T22" fmla="*/ 989 w 1683"/>
                <a:gd name="T23" fmla="*/ 89 h 1735"/>
                <a:gd name="T24" fmla="*/ 1067 w 1683"/>
                <a:gd name="T25" fmla="*/ 128 h 1735"/>
                <a:gd name="T26" fmla="*/ 1132 w 1683"/>
                <a:gd name="T27" fmla="*/ 262 h 1735"/>
                <a:gd name="T28" fmla="*/ 1185 w 1683"/>
                <a:gd name="T29" fmla="*/ 443 h 1735"/>
                <a:gd name="T30" fmla="*/ 1265 w 1683"/>
                <a:gd name="T31" fmla="*/ 566 h 1735"/>
                <a:gd name="T32" fmla="*/ 1418 w 1683"/>
                <a:gd name="T33" fmla="*/ 712 h 1735"/>
                <a:gd name="T34" fmla="*/ 1645 w 1683"/>
                <a:gd name="T35" fmla="*/ 906 h 1735"/>
                <a:gd name="T36" fmla="*/ 1616 w 1683"/>
                <a:gd name="T37" fmla="*/ 1067 h 1735"/>
                <a:gd name="T38" fmla="*/ 1376 w 1683"/>
                <a:gd name="T39" fmla="*/ 1252 h 1735"/>
                <a:gd name="T40" fmla="*/ 1373 w 1683"/>
                <a:gd name="T41" fmla="*/ 1476 h 1735"/>
                <a:gd name="T42" fmla="*/ 1409 w 1683"/>
                <a:gd name="T43" fmla="*/ 1596 h 1735"/>
                <a:gd name="T44" fmla="*/ 1316 w 1683"/>
                <a:gd name="T45" fmla="*/ 1533 h 1735"/>
                <a:gd name="T46" fmla="*/ 1134 w 1683"/>
                <a:gd name="T47" fmla="*/ 1500 h 1735"/>
                <a:gd name="T48" fmla="*/ 895 w 1683"/>
                <a:gd name="T49" fmla="*/ 1612 h 1735"/>
                <a:gd name="T50" fmla="*/ 691 w 1683"/>
                <a:gd name="T51" fmla="*/ 1655 h 1735"/>
                <a:gd name="T52" fmla="*/ 516 w 1683"/>
                <a:gd name="T53" fmla="*/ 1583 h 1735"/>
                <a:gd name="T54" fmla="*/ 410 w 1683"/>
                <a:gd name="T55" fmla="*/ 1734 h 1735"/>
                <a:gd name="T56" fmla="*/ 360 w 1683"/>
                <a:gd name="T57" fmla="*/ 1626 h 1735"/>
                <a:gd name="T58" fmla="*/ 222 w 1683"/>
                <a:gd name="T59" fmla="*/ 1607 h 1735"/>
                <a:gd name="T60" fmla="*/ 376 w 1683"/>
                <a:gd name="T61" fmla="*/ 1527 h 1735"/>
                <a:gd name="T62" fmla="*/ 391 w 1683"/>
                <a:gd name="T63" fmla="*/ 1479 h 1735"/>
                <a:gd name="T64" fmla="*/ 386 w 1683"/>
                <a:gd name="T65" fmla="*/ 1433 h 1735"/>
                <a:gd name="T66" fmla="*/ 404 w 1683"/>
                <a:gd name="T67" fmla="*/ 1306 h 1735"/>
                <a:gd name="T68" fmla="*/ 398 w 1683"/>
                <a:gd name="T69" fmla="*/ 1108 h 1735"/>
                <a:gd name="T70" fmla="*/ 465 w 1683"/>
                <a:gd name="T71" fmla="*/ 1082 h 1735"/>
                <a:gd name="T72" fmla="*/ 456 w 1683"/>
                <a:gd name="T73" fmla="*/ 1025 h 1735"/>
                <a:gd name="T74" fmla="*/ 503 w 1683"/>
                <a:gd name="T75" fmla="*/ 996 h 1735"/>
                <a:gd name="T76" fmla="*/ 507 w 1683"/>
                <a:gd name="T77" fmla="*/ 971 h 1735"/>
                <a:gd name="T78" fmla="*/ 513 w 1683"/>
                <a:gd name="T79" fmla="*/ 914 h 1735"/>
                <a:gd name="T80" fmla="*/ 485 w 1683"/>
                <a:gd name="T81" fmla="*/ 836 h 1735"/>
                <a:gd name="T82" fmla="*/ 446 w 1683"/>
                <a:gd name="T83" fmla="*/ 791 h 1735"/>
                <a:gd name="T84" fmla="*/ 439 w 1683"/>
                <a:gd name="T85" fmla="*/ 754 h 1735"/>
                <a:gd name="T86" fmla="*/ 401 w 1683"/>
                <a:gd name="T87" fmla="*/ 700 h 1735"/>
                <a:gd name="T88" fmla="*/ 398 w 1683"/>
                <a:gd name="T89" fmla="*/ 652 h 1735"/>
                <a:gd name="T90" fmla="*/ 397 w 1683"/>
                <a:gd name="T91" fmla="*/ 565 h 1735"/>
                <a:gd name="T92" fmla="*/ 363 w 1683"/>
                <a:gd name="T93" fmla="*/ 584 h 1735"/>
                <a:gd name="T94" fmla="*/ 321 w 1683"/>
                <a:gd name="T95" fmla="*/ 533 h 1735"/>
                <a:gd name="T96" fmla="*/ 315 w 1683"/>
                <a:gd name="T97" fmla="*/ 517 h 1735"/>
                <a:gd name="T98" fmla="*/ 260 w 1683"/>
                <a:gd name="T99" fmla="*/ 472 h 1735"/>
                <a:gd name="T100" fmla="*/ 230 w 1683"/>
                <a:gd name="T101" fmla="*/ 459 h 1735"/>
                <a:gd name="T102" fmla="*/ 228 w 1683"/>
                <a:gd name="T103" fmla="*/ 425 h 1735"/>
                <a:gd name="T104" fmla="*/ 137 w 1683"/>
                <a:gd name="T105" fmla="*/ 459 h 1735"/>
                <a:gd name="T106" fmla="*/ 146 w 1683"/>
                <a:gd name="T107" fmla="*/ 498 h 1735"/>
                <a:gd name="T108" fmla="*/ 35 w 1683"/>
                <a:gd name="T109" fmla="*/ 518 h 1735"/>
                <a:gd name="T110" fmla="*/ 60 w 1683"/>
                <a:gd name="T111" fmla="*/ 445 h 1735"/>
                <a:gd name="T112" fmla="*/ 40 w 1683"/>
                <a:gd name="T113" fmla="*/ 389 h 1735"/>
                <a:gd name="T114" fmla="*/ 12 w 1683"/>
                <a:gd name="T115" fmla="*/ 278 h 1735"/>
                <a:gd name="T116" fmla="*/ 61 w 1683"/>
                <a:gd name="T117" fmla="*/ 245 h 1735"/>
                <a:gd name="T118" fmla="*/ 143 w 1683"/>
                <a:gd name="T119" fmla="*/ 242 h 1735"/>
                <a:gd name="T120" fmla="*/ 185 w 1683"/>
                <a:gd name="T121" fmla="*/ 194 h 1735"/>
                <a:gd name="T122" fmla="*/ 238 w 1683"/>
                <a:gd name="T123" fmla="*/ 175 h 1735"/>
                <a:gd name="T124" fmla="*/ 303 w 1683"/>
                <a:gd name="T125" fmla="*/ 90 h 1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83" h="1735">
                  <a:moveTo>
                    <a:pt x="402" y="9"/>
                  </a:moveTo>
                  <a:lnTo>
                    <a:pt x="404" y="9"/>
                  </a:lnTo>
                  <a:lnTo>
                    <a:pt x="421" y="7"/>
                  </a:lnTo>
                  <a:lnTo>
                    <a:pt x="424" y="9"/>
                  </a:lnTo>
                  <a:lnTo>
                    <a:pt x="427" y="9"/>
                  </a:lnTo>
                  <a:lnTo>
                    <a:pt x="427" y="10"/>
                  </a:lnTo>
                  <a:lnTo>
                    <a:pt x="429" y="12"/>
                  </a:lnTo>
                  <a:lnTo>
                    <a:pt x="430" y="13"/>
                  </a:lnTo>
                  <a:lnTo>
                    <a:pt x="432" y="14"/>
                  </a:lnTo>
                  <a:lnTo>
                    <a:pt x="433" y="16"/>
                  </a:lnTo>
                  <a:lnTo>
                    <a:pt x="433" y="19"/>
                  </a:lnTo>
                  <a:lnTo>
                    <a:pt x="434" y="23"/>
                  </a:lnTo>
                  <a:lnTo>
                    <a:pt x="436" y="26"/>
                  </a:lnTo>
                  <a:lnTo>
                    <a:pt x="436" y="28"/>
                  </a:lnTo>
                  <a:lnTo>
                    <a:pt x="439" y="29"/>
                  </a:lnTo>
                  <a:lnTo>
                    <a:pt x="466" y="39"/>
                  </a:lnTo>
                  <a:lnTo>
                    <a:pt x="469" y="41"/>
                  </a:lnTo>
                  <a:lnTo>
                    <a:pt x="472" y="42"/>
                  </a:lnTo>
                  <a:lnTo>
                    <a:pt x="472" y="44"/>
                  </a:lnTo>
                  <a:lnTo>
                    <a:pt x="474" y="47"/>
                  </a:lnTo>
                  <a:lnTo>
                    <a:pt x="474" y="48"/>
                  </a:lnTo>
                  <a:lnTo>
                    <a:pt x="474" y="49"/>
                  </a:lnTo>
                  <a:lnTo>
                    <a:pt x="474" y="52"/>
                  </a:lnTo>
                  <a:lnTo>
                    <a:pt x="474" y="54"/>
                  </a:lnTo>
                  <a:lnTo>
                    <a:pt x="474" y="55"/>
                  </a:lnTo>
                  <a:lnTo>
                    <a:pt x="475" y="57"/>
                  </a:lnTo>
                  <a:lnTo>
                    <a:pt x="480" y="61"/>
                  </a:lnTo>
                  <a:lnTo>
                    <a:pt x="481" y="63"/>
                  </a:lnTo>
                  <a:lnTo>
                    <a:pt x="482" y="65"/>
                  </a:lnTo>
                  <a:lnTo>
                    <a:pt x="484" y="67"/>
                  </a:lnTo>
                  <a:lnTo>
                    <a:pt x="485" y="68"/>
                  </a:lnTo>
                  <a:lnTo>
                    <a:pt x="496" y="76"/>
                  </a:lnTo>
                  <a:lnTo>
                    <a:pt x="496" y="79"/>
                  </a:lnTo>
                  <a:lnTo>
                    <a:pt x="496" y="80"/>
                  </a:lnTo>
                  <a:lnTo>
                    <a:pt x="494" y="80"/>
                  </a:lnTo>
                  <a:lnTo>
                    <a:pt x="493" y="83"/>
                  </a:lnTo>
                  <a:lnTo>
                    <a:pt x="493" y="84"/>
                  </a:lnTo>
                  <a:lnTo>
                    <a:pt x="493" y="86"/>
                  </a:lnTo>
                  <a:lnTo>
                    <a:pt x="494" y="89"/>
                  </a:lnTo>
                  <a:lnTo>
                    <a:pt x="496" y="90"/>
                  </a:lnTo>
                  <a:lnTo>
                    <a:pt x="497" y="92"/>
                  </a:lnTo>
                  <a:lnTo>
                    <a:pt x="504" y="92"/>
                  </a:lnTo>
                  <a:lnTo>
                    <a:pt x="507" y="92"/>
                  </a:lnTo>
                  <a:lnTo>
                    <a:pt x="510" y="90"/>
                  </a:lnTo>
                  <a:lnTo>
                    <a:pt x="512" y="89"/>
                  </a:lnTo>
                  <a:lnTo>
                    <a:pt x="513" y="90"/>
                  </a:lnTo>
                  <a:lnTo>
                    <a:pt x="513" y="92"/>
                  </a:lnTo>
                  <a:lnTo>
                    <a:pt x="515" y="93"/>
                  </a:lnTo>
                  <a:lnTo>
                    <a:pt x="515" y="96"/>
                  </a:lnTo>
                  <a:lnTo>
                    <a:pt x="516" y="97"/>
                  </a:lnTo>
                  <a:lnTo>
                    <a:pt x="517" y="99"/>
                  </a:lnTo>
                  <a:lnTo>
                    <a:pt x="528" y="108"/>
                  </a:lnTo>
                  <a:lnTo>
                    <a:pt x="528" y="109"/>
                  </a:lnTo>
                  <a:lnTo>
                    <a:pt x="529" y="111"/>
                  </a:lnTo>
                  <a:lnTo>
                    <a:pt x="528" y="112"/>
                  </a:lnTo>
                  <a:lnTo>
                    <a:pt x="529" y="113"/>
                  </a:lnTo>
                  <a:lnTo>
                    <a:pt x="529" y="113"/>
                  </a:lnTo>
                  <a:lnTo>
                    <a:pt x="535" y="115"/>
                  </a:lnTo>
                  <a:lnTo>
                    <a:pt x="538" y="115"/>
                  </a:lnTo>
                  <a:lnTo>
                    <a:pt x="539" y="115"/>
                  </a:lnTo>
                  <a:lnTo>
                    <a:pt x="539" y="113"/>
                  </a:lnTo>
                  <a:lnTo>
                    <a:pt x="542" y="112"/>
                  </a:lnTo>
                  <a:lnTo>
                    <a:pt x="548" y="111"/>
                  </a:lnTo>
                  <a:lnTo>
                    <a:pt x="552" y="121"/>
                  </a:lnTo>
                  <a:lnTo>
                    <a:pt x="555" y="125"/>
                  </a:lnTo>
                  <a:lnTo>
                    <a:pt x="561" y="128"/>
                  </a:lnTo>
                  <a:lnTo>
                    <a:pt x="561" y="130"/>
                  </a:lnTo>
                  <a:lnTo>
                    <a:pt x="563" y="131"/>
                  </a:lnTo>
                  <a:lnTo>
                    <a:pt x="563" y="134"/>
                  </a:lnTo>
                  <a:lnTo>
                    <a:pt x="563" y="137"/>
                  </a:lnTo>
                  <a:lnTo>
                    <a:pt x="564" y="144"/>
                  </a:lnTo>
                  <a:lnTo>
                    <a:pt x="564" y="147"/>
                  </a:lnTo>
                  <a:lnTo>
                    <a:pt x="564" y="150"/>
                  </a:lnTo>
                  <a:lnTo>
                    <a:pt x="564" y="151"/>
                  </a:lnTo>
                  <a:lnTo>
                    <a:pt x="564" y="154"/>
                  </a:lnTo>
                  <a:lnTo>
                    <a:pt x="563" y="156"/>
                  </a:lnTo>
                  <a:lnTo>
                    <a:pt x="563" y="159"/>
                  </a:lnTo>
                  <a:lnTo>
                    <a:pt x="563" y="160"/>
                  </a:lnTo>
                  <a:lnTo>
                    <a:pt x="564" y="164"/>
                  </a:lnTo>
                  <a:lnTo>
                    <a:pt x="567" y="170"/>
                  </a:lnTo>
                  <a:lnTo>
                    <a:pt x="567" y="172"/>
                  </a:lnTo>
                  <a:lnTo>
                    <a:pt x="567" y="173"/>
                  </a:lnTo>
                  <a:lnTo>
                    <a:pt x="566" y="175"/>
                  </a:lnTo>
                  <a:lnTo>
                    <a:pt x="566" y="176"/>
                  </a:lnTo>
                  <a:lnTo>
                    <a:pt x="566" y="178"/>
                  </a:lnTo>
                  <a:lnTo>
                    <a:pt x="568" y="180"/>
                  </a:lnTo>
                  <a:lnTo>
                    <a:pt x="570" y="183"/>
                  </a:lnTo>
                  <a:lnTo>
                    <a:pt x="586" y="183"/>
                  </a:lnTo>
                  <a:lnTo>
                    <a:pt x="595" y="186"/>
                  </a:lnTo>
                  <a:lnTo>
                    <a:pt x="599" y="189"/>
                  </a:lnTo>
                  <a:lnTo>
                    <a:pt x="603" y="192"/>
                  </a:lnTo>
                  <a:lnTo>
                    <a:pt x="606" y="194"/>
                  </a:lnTo>
                  <a:lnTo>
                    <a:pt x="608" y="194"/>
                  </a:lnTo>
                  <a:lnTo>
                    <a:pt x="609" y="192"/>
                  </a:lnTo>
                  <a:lnTo>
                    <a:pt x="609" y="191"/>
                  </a:lnTo>
                  <a:lnTo>
                    <a:pt x="609" y="186"/>
                  </a:lnTo>
                  <a:lnTo>
                    <a:pt x="611" y="175"/>
                  </a:lnTo>
                  <a:lnTo>
                    <a:pt x="612" y="172"/>
                  </a:lnTo>
                  <a:lnTo>
                    <a:pt x="614" y="172"/>
                  </a:lnTo>
                  <a:lnTo>
                    <a:pt x="615" y="172"/>
                  </a:lnTo>
                  <a:lnTo>
                    <a:pt x="617" y="172"/>
                  </a:lnTo>
                  <a:lnTo>
                    <a:pt x="618" y="173"/>
                  </a:lnTo>
                  <a:lnTo>
                    <a:pt x="619" y="173"/>
                  </a:lnTo>
                  <a:lnTo>
                    <a:pt x="622" y="173"/>
                  </a:lnTo>
                  <a:lnTo>
                    <a:pt x="634" y="172"/>
                  </a:lnTo>
                  <a:lnTo>
                    <a:pt x="635" y="172"/>
                  </a:lnTo>
                  <a:lnTo>
                    <a:pt x="640" y="175"/>
                  </a:lnTo>
                  <a:lnTo>
                    <a:pt x="644" y="175"/>
                  </a:lnTo>
                  <a:lnTo>
                    <a:pt x="647" y="175"/>
                  </a:lnTo>
                  <a:lnTo>
                    <a:pt x="649" y="175"/>
                  </a:lnTo>
                  <a:lnTo>
                    <a:pt x="649" y="173"/>
                  </a:lnTo>
                  <a:lnTo>
                    <a:pt x="650" y="172"/>
                  </a:lnTo>
                  <a:lnTo>
                    <a:pt x="650" y="170"/>
                  </a:lnTo>
                  <a:lnTo>
                    <a:pt x="650" y="167"/>
                  </a:lnTo>
                  <a:lnTo>
                    <a:pt x="650" y="166"/>
                  </a:lnTo>
                  <a:lnTo>
                    <a:pt x="650" y="164"/>
                  </a:lnTo>
                  <a:lnTo>
                    <a:pt x="650" y="162"/>
                  </a:lnTo>
                  <a:lnTo>
                    <a:pt x="649" y="160"/>
                  </a:lnTo>
                  <a:lnTo>
                    <a:pt x="649" y="159"/>
                  </a:lnTo>
                  <a:lnTo>
                    <a:pt x="647" y="159"/>
                  </a:lnTo>
                  <a:lnTo>
                    <a:pt x="641" y="157"/>
                  </a:lnTo>
                  <a:lnTo>
                    <a:pt x="640" y="156"/>
                  </a:lnTo>
                  <a:lnTo>
                    <a:pt x="638" y="156"/>
                  </a:lnTo>
                  <a:lnTo>
                    <a:pt x="637" y="154"/>
                  </a:lnTo>
                  <a:lnTo>
                    <a:pt x="637" y="153"/>
                  </a:lnTo>
                  <a:lnTo>
                    <a:pt x="637" y="153"/>
                  </a:lnTo>
                  <a:lnTo>
                    <a:pt x="635" y="150"/>
                  </a:lnTo>
                  <a:lnTo>
                    <a:pt x="635" y="148"/>
                  </a:lnTo>
                  <a:lnTo>
                    <a:pt x="634" y="147"/>
                  </a:lnTo>
                  <a:lnTo>
                    <a:pt x="633" y="147"/>
                  </a:lnTo>
                  <a:lnTo>
                    <a:pt x="627" y="148"/>
                  </a:lnTo>
                  <a:lnTo>
                    <a:pt x="625" y="147"/>
                  </a:lnTo>
                  <a:lnTo>
                    <a:pt x="624" y="147"/>
                  </a:lnTo>
                  <a:lnTo>
                    <a:pt x="622" y="146"/>
                  </a:lnTo>
                  <a:lnTo>
                    <a:pt x="621" y="146"/>
                  </a:lnTo>
                  <a:lnTo>
                    <a:pt x="617" y="141"/>
                  </a:lnTo>
                  <a:lnTo>
                    <a:pt x="617" y="140"/>
                  </a:lnTo>
                  <a:lnTo>
                    <a:pt x="612" y="137"/>
                  </a:lnTo>
                  <a:lnTo>
                    <a:pt x="609" y="135"/>
                  </a:lnTo>
                  <a:lnTo>
                    <a:pt x="608" y="134"/>
                  </a:lnTo>
                  <a:lnTo>
                    <a:pt x="606" y="134"/>
                  </a:lnTo>
                  <a:lnTo>
                    <a:pt x="605" y="131"/>
                  </a:lnTo>
                  <a:lnTo>
                    <a:pt x="605" y="128"/>
                  </a:lnTo>
                  <a:lnTo>
                    <a:pt x="605" y="115"/>
                  </a:lnTo>
                  <a:lnTo>
                    <a:pt x="606" y="112"/>
                  </a:lnTo>
                  <a:lnTo>
                    <a:pt x="608" y="111"/>
                  </a:lnTo>
                  <a:lnTo>
                    <a:pt x="609" y="111"/>
                  </a:lnTo>
                  <a:lnTo>
                    <a:pt x="612" y="111"/>
                  </a:lnTo>
                  <a:lnTo>
                    <a:pt x="617" y="112"/>
                  </a:lnTo>
                  <a:lnTo>
                    <a:pt x="617" y="112"/>
                  </a:lnTo>
                  <a:lnTo>
                    <a:pt x="618" y="112"/>
                  </a:lnTo>
                  <a:lnTo>
                    <a:pt x="619" y="112"/>
                  </a:lnTo>
                  <a:lnTo>
                    <a:pt x="621" y="111"/>
                  </a:lnTo>
                  <a:lnTo>
                    <a:pt x="621" y="109"/>
                  </a:lnTo>
                  <a:lnTo>
                    <a:pt x="622" y="108"/>
                  </a:lnTo>
                  <a:lnTo>
                    <a:pt x="627" y="99"/>
                  </a:lnTo>
                  <a:lnTo>
                    <a:pt x="628" y="97"/>
                  </a:lnTo>
                  <a:lnTo>
                    <a:pt x="630" y="96"/>
                  </a:lnTo>
                  <a:lnTo>
                    <a:pt x="631" y="96"/>
                  </a:lnTo>
                  <a:lnTo>
                    <a:pt x="633" y="96"/>
                  </a:lnTo>
                  <a:lnTo>
                    <a:pt x="635" y="97"/>
                  </a:lnTo>
                  <a:lnTo>
                    <a:pt x="637" y="99"/>
                  </a:lnTo>
                  <a:lnTo>
                    <a:pt x="637" y="99"/>
                  </a:lnTo>
                  <a:lnTo>
                    <a:pt x="640" y="97"/>
                  </a:lnTo>
                  <a:lnTo>
                    <a:pt x="641" y="97"/>
                  </a:lnTo>
                  <a:lnTo>
                    <a:pt x="646" y="95"/>
                  </a:lnTo>
                  <a:lnTo>
                    <a:pt x="647" y="93"/>
                  </a:lnTo>
                  <a:lnTo>
                    <a:pt x="649" y="93"/>
                  </a:lnTo>
                  <a:lnTo>
                    <a:pt x="654" y="95"/>
                  </a:lnTo>
                  <a:lnTo>
                    <a:pt x="657" y="93"/>
                  </a:lnTo>
                  <a:lnTo>
                    <a:pt x="659" y="92"/>
                  </a:lnTo>
                  <a:lnTo>
                    <a:pt x="660" y="92"/>
                  </a:lnTo>
                  <a:lnTo>
                    <a:pt x="662" y="92"/>
                  </a:lnTo>
                  <a:lnTo>
                    <a:pt x="662" y="92"/>
                  </a:lnTo>
                  <a:lnTo>
                    <a:pt x="663" y="93"/>
                  </a:lnTo>
                  <a:lnTo>
                    <a:pt x="663" y="95"/>
                  </a:lnTo>
                  <a:lnTo>
                    <a:pt x="665" y="95"/>
                  </a:lnTo>
                  <a:lnTo>
                    <a:pt x="665" y="96"/>
                  </a:lnTo>
                  <a:lnTo>
                    <a:pt x="666" y="97"/>
                  </a:lnTo>
                  <a:lnTo>
                    <a:pt x="666" y="97"/>
                  </a:lnTo>
                  <a:lnTo>
                    <a:pt x="668" y="99"/>
                  </a:lnTo>
                  <a:lnTo>
                    <a:pt x="669" y="99"/>
                  </a:lnTo>
                  <a:lnTo>
                    <a:pt x="669" y="99"/>
                  </a:lnTo>
                  <a:lnTo>
                    <a:pt x="679" y="96"/>
                  </a:lnTo>
                  <a:lnTo>
                    <a:pt x="681" y="95"/>
                  </a:lnTo>
                  <a:lnTo>
                    <a:pt x="684" y="96"/>
                  </a:lnTo>
                  <a:lnTo>
                    <a:pt x="695" y="113"/>
                  </a:lnTo>
                  <a:lnTo>
                    <a:pt x="697" y="115"/>
                  </a:lnTo>
                  <a:lnTo>
                    <a:pt x="700" y="116"/>
                  </a:lnTo>
                  <a:lnTo>
                    <a:pt x="700" y="115"/>
                  </a:lnTo>
                  <a:lnTo>
                    <a:pt x="701" y="113"/>
                  </a:lnTo>
                  <a:lnTo>
                    <a:pt x="701" y="113"/>
                  </a:lnTo>
                  <a:lnTo>
                    <a:pt x="701" y="109"/>
                  </a:lnTo>
                  <a:lnTo>
                    <a:pt x="702" y="109"/>
                  </a:lnTo>
                  <a:lnTo>
                    <a:pt x="702" y="109"/>
                  </a:lnTo>
                  <a:lnTo>
                    <a:pt x="713" y="111"/>
                  </a:lnTo>
                  <a:lnTo>
                    <a:pt x="714" y="111"/>
                  </a:lnTo>
                  <a:lnTo>
                    <a:pt x="717" y="113"/>
                  </a:lnTo>
                  <a:lnTo>
                    <a:pt x="718" y="116"/>
                  </a:lnTo>
                  <a:lnTo>
                    <a:pt x="720" y="116"/>
                  </a:lnTo>
                  <a:lnTo>
                    <a:pt x="721" y="118"/>
                  </a:lnTo>
                  <a:lnTo>
                    <a:pt x="726" y="115"/>
                  </a:lnTo>
                  <a:lnTo>
                    <a:pt x="727" y="115"/>
                  </a:lnTo>
                  <a:lnTo>
                    <a:pt x="732" y="113"/>
                  </a:lnTo>
                  <a:lnTo>
                    <a:pt x="733" y="113"/>
                  </a:lnTo>
                  <a:lnTo>
                    <a:pt x="735" y="112"/>
                  </a:lnTo>
                  <a:lnTo>
                    <a:pt x="735" y="112"/>
                  </a:lnTo>
                  <a:lnTo>
                    <a:pt x="736" y="111"/>
                  </a:lnTo>
                  <a:lnTo>
                    <a:pt x="737" y="109"/>
                  </a:lnTo>
                  <a:lnTo>
                    <a:pt x="742" y="108"/>
                  </a:lnTo>
                  <a:lnTo>
                    <a:pt x="743" y="108"/>
                  </a:lnTo>
                  <a:lnTo>
                    <a:pt x="743" y="109"/>
                  </a:lnTo>
                  <a:lnTo>
                    <a:pt x="745" y="112"/>
                  </a:lnTo>
                  <a:lnTo>
                    <a:pt x="746" y="113"/>
                  </a:lnTo>
                  <a:lnTo>
                    <a:pt x="748" y="115"/>
                  </a:lnTo>
                  <a:lnTo>
                    <a:pt x="749" y="115"/>
                  </a:lnTo>
                  <a:lnTo>
                    <a:pt x="751" y="115"/>
                  </a:lnTo>
                  <a:lnTo>
                    <a:pt x="752" y="115"/>
                  </a:lnTo>
                  <a:lnTo>
                    <a:pt x="753" y="121"/>
                  </a:lnTo>
                  <a:lnTo>
                    <a:pt x="756" y="122"/>
                  </a:lnTo>
                  <a:lnTo>
                    <a:pt x="756" y="125"/>
                  </a:lnTo>
                  <a:lnTo>
                    <a:pt x="758" y="127"/>
                  </a:lnTo>
                  <a:lnTo>
                    <a:pt x="758" y="127"/>
                  </a:lnTo>
                  <a:lnTo>
                    <a:pt x="758" y="128"/>
                  </a:lnTo>
                  <a:lnTo>
                    <a:pt x="758" y="130"/>
                  </a:lnTo>
                  <a:lnTo>
                    <a:pt x="758" y="131"/>
                  </a:lnTo>
                  <a:lnTo>
                    <a:pt x="751" y="138"/>
                  </a:lnTo>
                  <a:lnTo>
                    <a:pt x="753" y="143"/>
                  </a:lnTo>
                  <a:lnTo>
                    <a:pt x="771" y="159"/>
                  </a:lnTo>
                  <a:lnTo>
                    <a:pt x="774" y="151"/>
                  </a:lnTo>
                  <a:lnTo>
                    <a:pt x="775" y="151"/>
                  </a:lnTo>
                  <a:lnTo>
                    <a:pt x="778" y="154"/>
                  </a:lnTo>
                  <a:lnTo>
                    <a:pt x="781" y="156"/>
                  </a:lnTo>
                  <a:lnTo>
                    <a:pt x="788" y="157"/>
                  </a:lnTo>
                  <a:lnTo>
                    <a:pt x="791" y="157"/>
                  </a:lnTo>
                  <a:lnTo>
                    <a:pt x="793" y="157"/>
                  </a:lnTo>
                  <a:lnTo>
                    <a:pt x="793" y="156"/>
                  </a:lnTo>
                  <a:lnTo>
                    <a:pt x="793" y="154"/>
                  </a:lnTo>
                  <a:lnTo>
                    <a:pt x="793" y="153"/>
                  </a:lnTo>
                  <a:lnTo>
                    <a:pt x="793" y="150"/>
                  </a:lnTo>
                  <a:lnTo>
                    <a:pt x="793" y="148"/>
                  </a:lnTo>
                  <a:lnTo>
                    <a:pt x="793" y="146"/>
                  </a:lnTo>
                  <a:lnTo>
                    <a:pt x="796" y="143"/>
                  </a:lnTo>
                  <a:lnTo>
                    <a:pt x="796" y="140"/>
                  </a:lnTo>
                  <a:lnTo>
                    <a:pt x="796" y="138"/>
                  </a:lnTo>
                  <a:lnTo>
                    <a:pt x="796" y="137"/>
                  </a:lnTo>
                  <a:lnTo>
                    <a:pt x="794" y="134"/>
                  </a:lnTo>
                  <a:lnTo>
                    <a:pt x="794" y="132"/>
                  </a:lnTo>
                  <a:lnTo>
                    <a:pt x="794" y="130"/>
                  </a:lnTo>
                  <a:lnTo>
                    <a:pt x="797" y="122"/>
                  </a:lnTo>
                  <a:lnTo>
                    <a:pt x="797" y="121"/>
                  </a:lnTo>
                  <a:lnTo>
                    <a:pt x="797" y="119"/>
                  </a:lnTo>
                  <a:lnTo>
                    <a:pt x="797" y="118"/>
                  </a:lnTo>
                  <a:lnTo>
                    <a:pt x="797" y="115"/>
                  </a:lnTo>
                  <a:lnTo>
                    <a:pt x="797" y="115"/>
                  </a:lnTo>
                  <a:lnTo>
                    <a:pt x="797" y="113"/>
                  </a:lnTo>
                  <a:lnTo>
                    <a:pt x="800" y="113"/>
                  </a:lnTo>
                  <a:lnTo>
                    <a:pt x="802" y="112"/>
                  </a:lnTo>
                  <a:lnTo>
                    <a:pt x="802" y="111"/>
                  </a:lnTo>
                  <a:lnTo>
                    <a:pt x="800" y="109"/>
                  </a:lnTo>
                  <a:lnTo>
                    <a:pt x="800" y="108"/>
                  </a:lnTo>
                  <a:lnTo>
                    <a:pt x="800" y="106"/>
                  </a:lnTo>
                  <a:lnTo>
                    <a:pt x="800" y="105"/>
                  </a:lnTo>
                  <a:lnTo>
                    <a:pt x="800" y="103"/>
                  </a:lnTo>
                  <a:lnTo>
                    <a:pt x="800" y="102"/>
                  </a:lnTo>
                  <a:lnTo>
                    <a:pt x="799" y="100"/>
                  </a:lnTo>
                  <a:lnTo>
                    <a:pt x="796" y="97"/>
                  </a:lnTo>
                  <a:lnTo>
                    <a:pt x="796" y="96"/>
                  </a:lnTo>
                  <a:lnTo>
                    <a:pt x="796" y="95"/>
                  </a:lnTo>
                  <a:lnTo>
                    <a:pt x="796" y="92"/>
                  </a:lnTo>
                  <a:lnTo>
                    <a:pt x="796" y="90"/>
                  </a:lnTo>
                  <a:lnTo>
                    <a:pt x="794" y="89"/>
                  </a:lnTo>
                  <a:lnTo>
                    <a:pt x="794" y="87"/>
                  </a:lnTo>
                  <a:lnTo>
                    <a:pt x="794" y="84"/>
                  </a:lnTo>
                  <a:lnTo>
                    <a:pt x="794" y="76"/>
                  </a:lnTo>
                  <a:lnTo>
                    <a:pt x="794" y="74"/>
                  </a:lnTo>
                  <a:lnTo>
                    <a:pt x="794" y="73"/>
                  </a:lnTo>
                  <a:lnTo>
                    <a:pt x="794" y="70"/>
                  </a:lnTo>
                  <a:lnTo>
                    <a:pt x="794" y="68"/>
                  </a:lnTo>
                  <a:lnTo>
                    <a:pt x="793" y="67"/>
                  </a:lnTo>
                  <a:lnTo>
                    <a:pt x="793" y="64"/>
                  </a:lnTo>
                  <a:lnTo>
                    <a:pt x="791" y="63"/>
                  </a:lnTo>
                  <a:lnTo>
                    <a:pt x="793" y="60"/>
                  </a:lnTo>
                  <a:lnTo>
                    <a:pt x="793" y="60"/>
                  </a:lnTo>
                  <a:lnTo>
                    <a:pt x="793" y="58"/>
                  </a:lnTo>
                  <a:lnTo>
                    <a:pt x="791" y="55"/>
                  </a:lnTo>
                  <a:lnTo>
                    <a:pt x="790" y="49"/>
                  </a:lnTo>
                  <a:lnTo>
                    <a:pt x="800" y="45"/>
                  </a:lnTo>
                  <a:lnTo>
                    <a:pt x="806" y="44"/>
                  </a:lnTo>
                  <a:lnTo>
                    <a:pt x="813" y="38"/>
                  </a:lnTo>
                  <a:lnTo>
                    <a:pt x="815" y="36"/>
                  </a:lnTo>
                  <a:lnTo>
                    <a:pt x="815" y="36"/>
                  </a:lnTo>
                  <a:lnTo>
                    <a:pt x="815" y="35"/>
                  </a:lnTo>
                  <a:lnTo>
                    <a:pt x="815" y="35"/>
                  </a:lnTo>
                  <a:lnTo>
                    <a:pt x="815" y="33"/>
                  </a:lnTo>
                  <a:lnTo>
                    <a:pt x="815" y="32"/>
                  </a:lnTo>
                  <a:lnTo>
                    <a:pt x="816" y="30"/>
                  </a:lnTo>
                  <a:lnTo>
                    <a:pt x="819" y="29"/>
                  </a:lnTo>
                  <a:lnTo>
                    <a:pt x="820" y="28"/>
                  </a:lnTo>
                  <a:lnTo>
                    <a:pt x="823" y="25"/>
                  </a:lnTo>
                  <a:lnTo>
                    <a:pt x="847" y="25"/>
                  </a:lnTo>
                  <a:lnTo>
                    <a:pt x="853" y="28"/>
                  </a:lnTo>
                  <a:lnTo>
                    <a:pt x="855" y="33"/>
                  </a:lnTo>
                  <a:lnTo>
                    <a:pt x="855" y="35"/>
                  </a:lnTo>
                  <a:lnTo>
                    <a:pt x="855" y="35"/>
                  </a:lnTo>
                  <a:lnTo>
                    <a:pt x="855" y="36"/>
                  </a:lnTo>
                  <a:lnTo>
                    <a:pt x="855" y="38"/>
                  </a:lnTo>
                  <a:lnTo>
                    <a:pt x="855" y="38"/>
                  </a:lnTo>
                  <a:lnTo>
                    <a:pt x="853" y="41"/>
                  </a:lnTo>
                  <a:lnTo>
                    <a:pt x="850" y="42"/>
                  </a:lnTo>
                  <a:lnTo>
                    <a:pt x="850" y="61"/>
                  </a:lnTo>
                  <a:lnTo>
                    <a:pt x="850" y="63"/>
                  </a:lnTo>
                  <a:lnTo>
                    <a:pt x="850" y="65"/>
                  </a:lnTo>
                  <a:lnTo>
                    <a:pt x="854" y="67"/>
                  </a:lnTo>
                  <a:lnTo>
                    <a:pt x="857" y="70"/>
                  </a:lnTo>
                  <a:lnTo>
                    <a:pt x="860" y="73"/>
                  </a:lnTo>
                  <a:lnTo>
                    <a:pt x="861" y="74"/>
                  </a:lnTo>
                  <a:lnTo>
                    <a:pt x="863" y="74"/>
                  </a:lnTo>
                  <a:lnTo>
                    <a:pt x="864" y="73"/>
                  </a:lnTo>
                  <a:lnTo>
                    <a:pt x="866" y="73"/>
                  </a:lnTo>
                  <a:lnTo>
                    <a:pt x="867" y="73"/>
                  </a:lnTo>
                  <a:lnTo>
                    <a:pt x="870" y="74"/>
                  </a:lnTo>
                  <a:lnTo>
                    <a:pt x="870" y="76"/>
                  </a:lnTo>
                  <a:lnTo>
                    <a:pt x="871" y="77"/>
                  </a:lnTo>
                  <a:lnTo>
                    <a:pt x="871" y="81"/>
                  </a:lnTo>
                  <a:lnTo>
                    <a:pt x="871" y="89"/>
                  </a:lnTo>
                  <a:lnTo>
                    <a:pt x="873" y="90"/>
                  </a:lnTo>
                  <a:lnTo>
                    <a:pt x="874" y="92"/>
                  </a:lnTo>
                  <a:lnTo>
                    <a:pt x="879" y="95"/>
                  </a:lnTo>
                  <a:lnTo>
                    <a:pt x="883" y="99"/>
                  </a:lnTo>
                  <a:lnTo>
                    <a:pt x="886" y="100"/>
                  </a:lnTo>
                  <a:lnTo>
                    <a:pt x="889" y="100"/>
                  </a:lnTo>
                  <a:lnTo>
                    <a:pt x="890" y="99"/>
                  </a:lnTo>
                  <a:lnTo>
                    <a:pt x="896" y="99"/>
                  </a:lnTo>
                  <a:lnTo>
                    <a:pt x="896" y="99"/>
                  </a:lnTo>
                  <a:lnTo>
                    <a:pt x="898" y="97"/>
                  </a:lnTo>
                  <a:lnTo>
                    <a:pt x="899" y="96"/>
                  </a:lnTo>
                  <a:lnTo>
                    <a:pt x="899" y="93"/>
                  </a:lnTo>
                  <a:lnTo>
                    <a:pt x="901" y="92"/>
                  </a:lnTo>
                  <a:lnTo>
                    <a:pt x="902" y="92"/>
                  </a:lnTo>
                  <a:lnTo>
                    <a:pt x="905" y="92"/>
                  </a:lnTo>
                  <a:lnTo>
                    <a:pt x="909" y="92"/>
                  </a:lnTo>
                  <a:lnTo>
                    <a:pt x="920" y="96"/>
                  </a:lnTo>
                  <a:lnTo>
                    <a:pt x="960" y="87"/>
                  </a:lnTo>
                  <a:lnTo>
                    <a:pt x="966" y="86"/>
                  </a:lnTo>
                  <a:lnTo>
                    <a:pt x="968" y="84"/>
                  </a:lnTo>
                  <a:lnTo>
                    <a:pt x="968" y="84"/>
                  </a:lnTo>
                  <a:lnTo>
                    <a:pt x="968" y="83"/>
                  </a:lnTo>
                  <a:lnTo>
                    <a:pt x="971" y="81"/>
                  </a:lnTo>
                  <a:lnTo>
                    <a:pt x="976" y="81"/>
                  </a:lnTo>
                  <a:lnTo>
                    <a:pt x="979" y="81"/>
                  </a:lnTo>
                  <a:lnTo>
                    <a:pt x="981" y="81"/>
                  </a:lnTo>
                  <a:lnTo>
                    <a:pt x="981" y="81"/>
                  </a:lnTo>
                  <a:lnTo>
                    <a:pt x="981" y="83"/>
                  </a:lnTo>
                  <a:lnTo>
                    <a:pt x="982" y="83"/>
                  </a:lnTo>
                  <a:lnTo>
                    <a:pt x="982" y="84"/>
                  </a:lnTo>
                  <a:lnTo>
                    <a:pt x="984" y="84"/>
                  </a:lnTo>
                  <a:lnTo>
                    <a:pt x="985" y="86"/>
                  </a:lnTo>
                  <a:lnTo>
                    <a:pt x="988" y="87"/>
                  </a:lnTo>
                  <a:lnTo>
                    <a:pt x="989" y="89"/>
                  </a:lnTo>
                  <a:lnTo>
                    <a:pt x="989" y="89"/>
                  </a:lnTo>
                  <a:lnTo>
                    <a:pt x="989" y="90"/>
                  </a:lnTo>
                  <a:lnTo>
                    <a:pt x="989" y="92"/>
                  </a:lnTo>
                  <a:lnTo>
                    <a:pt x="989" y="93"/>
                  </a:lnTo>
                  <a:lnTo>
                    <a:pt x="991" y="93"/>
                  </a:lnTo>
                  <a:lnTo>
                    <a:pt x="992" y="93"/>
                  </a:lnTo>
                  <a:lnTo>
                    <a:pt x="994" y="92"/>
                  </a:lnTo>
                  <a:lnTo>
                    <a:pt x="995" y="92"/>
                  </a:lnTo>
                  <a:lnTo>
                    <a:pt x="998" y="90"/>
                  </a:lnTo>
                  <a:lnTo>
                    <a:pt x="1005" y="89"/>
                  </a:lnTo>
                  <a:lnTo>
                    <a:pt x="1007" y="87"/>
                  </a:lnTo>
                  <a:lnTo>
                    <a:pt x="1010" y="84"/>
                  </a:lnTo>
                  <a:lnTo>
                    <a:pt x="1019" y="80"/>
                  </a:lnTo>
                  <a:lnTo>
                    <a:pt x="1027" y="80"/>
                  </a:lnTo>
                  <a:lnTo>
                    <a:pt x="1030" y="81"/>
                  </a:lnTo>
                  <a:lnTo>
                    <a:pt x="1032" y="83"/>
                  </a:lnTo>
                  <a:lnTo>
                    <a:pt x="1032" y="84"/>
                  </a:lnTo>
                  <a:lnTo>
                    <a:pt x="1033" y="84"/>
                  </a:lnTo>
                  <a:lnTo>
                    <a:pt x="1033" y="86"/>
                  </a:lnTo>
                  <a:lnTo>
                    <a:pt x="1038" y="92"/>
                  </a:lnTo>
                  <a:lnTo>
                    <a:pt x="1045" y="96"/>
                  </a:lnTo>
                  <a:lnTo>
                    <a:pt x="1046" y="99"/>
                  </a:lnTo>
                  <a:lnTo>
                    <a:pt x="1045" y="100"/>
                  </a:lnTo>
                  <a:lnTo>
                    <a:pt x="1045" y="102"/>
                  </a:lnTo>
                  <a:lnTo>
                    <a:pt x="1045" y="105"/>
                  </a:lnTo>
                  <a:lnTo>
                    <a:pt x="1046" y="115"/>
                  </a:lnTo>
                  <a:lnTo>
                    <a:pt x="1048" y="116"/>
                  </a:lnTo>
                  <a:lnTo>
                    <a:pt x="1051" y="118"/>
                  </a:lnTo>
                  <a:lnTo>
                    <a:pt x="1065" y="128"/>
                  </a:lnTo>
                  <a:lnTo>
                    <a:pt x="1067" y="128"/>
                  </a:lnTo>
                  <a:lnTo>
                    <a:pt x="1068" y="128"/>
                  </a:lnTo>
                  <a:lnTo>
                    <a:pt x="1070" y="128"/>
                  </a:lnTo>
                  <a:lnTo>
                    <a:pt x="1074" y="128"/>
                  </a:lnTo>
                  <a:lnTo>
                    <a:pt x="1084" y="131"/>
                  </a:lnTo>
                  <a:lnTo>
                    <a:pt x="1086" y="135"/>
                  </a:lnTo>
                  <a:lnTo>
                    <a:pt x="1077" y="134"/>
                  </a:lnTo>
                  <a:lnTo>
                    <a:pt x="1077" y="135"/>
                  </a:lnTo>
                  <a:lnTo>
                    <a:pt x="1086" y="143"/>
                  </a:lnTo>
                  <a:lnTo>
                    <a:pt x="1089" y="148"/>
                  </a:lnTo>
                  <a:lnTo>
                    <a:pt x="1090" y="156"/>
                  </a:lnTo>
                  <a:lnTo>
                    <a:pt x="1090" y="156"/>
                  </a:lnTo>
                  <a:lnTo>
                    <a:pt x="1089" y="163"/>
                  </a:lnTo>
                  <a:lnTo>
                    <a:pt x="1087" y="164"/>
                  </a:lnTo>
                  <a:lnTo>
                    <a:pt x="1083" y="167"/>
                  </a:lnTo>
                  <a:lnTo>
                    <a:pt x="1078" y="173"/>
                  </a:lnTo>
                  <a:lnTo>
                    <a:pt x="1078" y="173"/>
                  </a:lnTo>
                  <a:lnTo>
                    <a:pt x="1083" y="180"/>
                  </a:lnTo>
                  <a:lnTo>
                    <a:pt x="1099" y="191"/>
                  </a:lnTo>
                  <a:lnTo>
                    <a:pt x="1107" y="201"/>
                  </a:lnTo>
                  <a:lnTo>
                    <a:pt x="1112" y="207"/>
                  </a:lnTo>
                  <a:lnTo>
                    <a:pt x="1115" y="212"/>
                  </a:lnTo>
                  <a:lnTo>
                    <a:pt x="1116" y="221"/>
                  </a:lnTo>
                  <a:lnTo>
                    <a:pt x="1115" y="221"/>
                  </a:lnTo>
                  <a:lnTo>
                    <a:pt x="1113" y="233"/>
                  </a:lnTo>
                  <a:lnTo>
                    <a:pt x="1113" y="233"/>
                  </a:lnTo>
                  <a:lnTo>
                    <a:pt x="1113" y="242"/>
                  </a:lnTo>
                  <a:lnTo>
                    <a:pt x="1116" y="249"/>
                  </a:lnTo>
                  <a:lnTo>
                    <a:pt x="1121" y="255"/>
                  </a:lnTo>
                  <a:lnTo>
                    <a:pt x="1126" y="258"/>
                  </a:lnTo>
                  <a:lnTo>
                    <a:pt x="1132" y="262"/>
                  </a:lnTo>
                  <a:lnTo>
                    <a:pt x="1135" y="266"/>
                  </a:lnTo>
                  <a:lnTo>
                    <a:pt x="1135" y="272"/>
                  </a:lnTo>
                  <a:lnTo>
                    <a:pt x="1135" y="278"/>
                  </a:lnTo>
                  <a:lnTo>
                    <a:pt x="1137" y="281"/>
                  </a:lnTo>
                  <a:lnTo>
                    <a:pt x="1189" y="309"/>
                  </a:lnTo>
                  <a:lnTo>
                    <a:pt x="1189" y="309"/>
                  </a:lnTo>
                  <a:lnTo>
                    <a:pt x="1195" y="314"/>
                  </a:lnTo>
                  <a:lnTo>
                    <a:pt x="1208" y="316"/>
                  </a:lnTo>
                  <a:lnTo>
                    <a:pt x="1214" y="322"/>
                  </a:lnTo>
                  <a:lnTo>
                    <a:pt x="1215" y="329"/>
                  </a:lnTo>
                  <a:lnTo>
                    <a:pt x="1215" y="329"/>
                  </a:lnTo>
                  <a:lnTo>
                    <a:pt x="1212" y="336"/>
                  </a:lnTo>
                  <a:lnTo>
                    <a:pt x="1212" y="342"/>
                  </a:lnTo>
                  <a:lnTo>
                    <a:pt x="1212" y="342"/>
                  </a:lnTo>
                  <a:lnTo>
                    <a:pt x="1225" y="351"/>
                  </a:lnTo>
                  <a:lnTo>
                    <a:pt x="1231" y="352"/>
                  </a:lnTo>
                  <a:lnTo>
                    <a:pt x="1233" y="357"/>
                  </a:lnTo>
                  <a:lnTo>
                    <a:pt x="1233" y="357"/>
                  </a:lnTo>
                  <a:lnTo>
                    <a:pt x="1233" y="367"/>
                  </a:lnTo>
                  <a:lnTo>
                    <a:pt x="1230" y="374"/>
                  </a:lnTo>
                  <a:lnTo>
                    <a:pt x="1221" y="390"/>
                  </a:lnTo>
                  <a:lnTo>
                    <a:pt x="1218" y="397"/>
                  </a:lnTo>
                  <a:lnTo>
                    <a:pt x="1212" y="396"/>
                  </a:lnTo>
                  <a:lnTo>
                    <a:pt x="1209" y="403"/>
                  </a:lnTo>
                  <a:lnTo>
                    <a:pt x="1209" y="415"/>
                  </a:lnTo>
                  <a:lnTo>
                    <a:pt x="1208" y="424"/>
                  </a:lnTo>
                  <a:lnTo>
                    <a:pt x="1202" y="429"/>
                  </a:lnTo>
                  <a:lnTo>
                    <a:pt x="1189" y="435"/>
                  </a:lnTo>
                  <a:lnTo>
                    <a:pt x="1185" y="443"/>
                  </a:lnTo>
                  <a:lnTo>
                    <a:pt x="1185" y="443"/>
                  </a:lnTo>
                  <a:lnTo>
                    <a:pt x="1186" y="448"/>
                  </a:lnTo>
                  <a:lnTo>
                    <a:pt x="1189" y="456"/>
                  </a:lnTo>
                  <a:lnTo>
                    <a:pt x="1196" y="466"/>
                  </a:lnTo>
                  <a:lnTo>
                    <a:pt x="1202" y="470"/>
                  </a:lnTo>
                  <a:lnTo>
                    <a:pt x="1207" y="475"/>
                  </a:lnTo>
                  <a:lnTo>
                    <a:pt x="1218" y="479"/>
                  </a:lnTo>
                  <a:lnTo>
                    <a:pt x="1224" y="482"/>
                  </a:lnTo>
                  <a:lnTo>
                    <a:pt x="1227" y="488"/>
                  </a:lnTo>
                  <a:lnTo>
                    <a:pt x="1227" y="495"/>
                  </a:lnTo>
                  <a:lnTo>
                    <a:pt x="1227" y="495"/>
                  </a:lnTo>
                  <a:lnTo>
                    <a:pt x="1224" y="502"/>
                  </a:lnTo>
                  <a:lnTo>
                    <a:pt x="1224" y="502"/>
                  </a:lnTo>
                  <a:lnTo>
                    <a:pt x="1224" y="502"/>
                  </a:lnTo>
                  <a:lnTo>
                    <a:pt x="1227" y="504"/>
                  </a:lnTo>
                  <a:lnTo>
                    <a:pt x="1227" y="504"/>
                  </a:lnTo>
                  <a:lnTo>
                    <a:pt x="1225" y="508"/>
                  </a:lnTo>
                  <a:lnTo>
                    <a:pt x="1225" y="510"/>
                  </a:lnTo>
                  <a:lnTo>
                    <a:pt x="1225" y="510"/>
                  </a:lnTo>
                  <a:lnTo>
                    <a:pt x="1228" y="514"/>
                  </a:lnTo>
                  <a:lnTo>
                    <a:pt x="1237" y="518"/>
                  </a:lnTo>
                  <a:lnTo>
                    <a:pt x="1241" y="523"/>
                  </a:lnTo>
                  <a:lnTo>
                    <a:pt x="1243" y="528"/>
                  </a:lnTo>
                  <a:lnTo>
                    <a:pt x="1244" y="540"/>
                  </a:lnTo>
                  <a:lnTo>
                    <a:pt x="1246" y="546"/>
                  </a:lnTo>
                  <a:lnTo>
                    <a:pt x="1249" y="552"/>
                  </a:lnTo>
                  <a:lnTo>
                    <a:pt x="1250" y="558"/>
                  </a:lnTo>
                  <a:lnTo>
                    <a:pt x="1253" y="560"/>
                  </a:lnTo>
                  <a:lnTo>
                    <a:pt x="1258" y="565"/>
                  </a:lnTo>
                  <a:lnTo>
                    <a:pt x="1262" y="566"/>
                  </a:lnTo>
                  <a:lnTo>
                    <a:pt x="1265" y="566"/>
                  </a:lnTo>
                  <a:lnTo>
                    <a:pt x="1268" y="568"/>
                  </a:lnTo>
                  <a:lnTo>
                    <a:pt x="1268" y="576"/>
                  </a:lnTo>
                  <a:lnTo>
                    <a:pt x="1269" y="594"/>
                  </a:lnTo>
                  <a:lnTo>
                    <a:pt x="1271" y="603"/>
                  </a:lnTo>
                  <a:lnTo>
                    <a:pt x="1275" y="610"/>
                  </a:lnTo>
                  <a:lnTo>
                    <a:pt x="1281" y="616"/>
                  </a:lnTo>
                  <a:lnTo>
                    <a:pt x="1297" y="623"/>
                  </a:lnTo>
                  <a:lnTo>
                    <a:pt x="1304" y="630"/>
                  </a:lnTo>
                  <a:lnTo>
                    <a:pt x="1316" y="657"/>
                  </a:lnTo>
                  <a:lnTo>
                    <a:pt x="1322" y="662"/>
                  </a:lnTo>
                  <a:lnTo>
                    <a:pt x="1329" y="665"/>
                  </a:lnTo>
                  <a:lnTo>
                    <a:pt x="1349" y="668"/>
                  </a:lnTo>
                  <a:lnTo>
                    <a:pt x="1355" y="667"/>
                  </a:lnTo>
                  <a:lnTo>
                    <a:pt x="1355" y="667"/>
                  </a:lnTo>
                  <a:lnTo>
                    <a:pt x="1354" y="659"/>
                  </a:lnTo>
                  <a:lnTo>
                    <a:pt x="1354" y="659"/>
                  </a:lnTo>
                  <a:lnTo>
                    <a:pt x="1358" y="658"/>
                  </a:lnTo>
                  <a:lnTo>
                    <a:pt x="1371" y="662"/>
                  </a:lnTo>
                  <a:lnTo>
                    <a:pt x="1377" y="665"/>
                  </a:lnTo>
                  <a:lnTo>
                    <a:pt x="1383" y="670"/>
                  </a:lnTo>
                  <a:lnTo>
                    <a:pt x="1393" y="680"/>
                  </a:lnTo>
                  <a:lnTo>
                    <a:pt x="1399" y="683"/>
                  </a:lnTo>
                  <a:lnTo>
                    <a:pt x="1400" y="687"/>
                  </a:lnTo>
                  <a:lnTo>
                    <a:pt x="1400" y="692"/>
                  </a:lnTo>
                  <a:lnTo>
                    <a:pt x="1402" y="696"/>
                  </a:lnTo>
                  <a:lnTo>
                    <a:pt x="1413" y="710"/>
                  </a:lnTo>
                  <a:lnTo>
                    <a:pt x="1413" y="710"/>
                  </a:lnTo>
                  <a:lnTo>
                    <a:pt x="1413" y="710"/>
                  </a:lnTo>
                  <a:lnTo>
                    <a:pt x="1413" y="710"/>
                  </a:lnTo>
                  <a:lnTo>
                    <a:pt x="1418" y="712"/>
                  </a:lnTo>
                  <a:lnTo>
                    <a:pt x="1450" y="757"/>
                  </a:lnTo>
                  <a:lnTo>
                    <a:pt x="1456" y="767"/>
                  </a:lnTo>
                  <a:lnTo>
                    <a:pt x="1460" y="776"/>
                  </a:lnTo>
                  <a:lnTo>
                    <a:pt x="1470" y="782"/>
                  </a:lnTo>
                  <a:lnTo>
                    <a:pt x="1492" y="782"/>
                  </a:lnTo>
                  <a:lnTo>
                    <a:pt x="1498" y="785"/>
                  </a:lnTo>
                  <a:lnTo>
                    <a:pt x="1502" y="789"/>
                  </a:lnTo>
                  <a:lnTo>
                    <a:pt x="1512" y="804"/>
                  </a:lnTo>
                  <a:lnTo>
                    <a:pt x="1528" y="818"/>
                  </a:lnTo>
                  <a:lnTo>
                    <a:pt x="1531" y="827"/>
                  </a:lnTo>
                  <a:lnTo>
                    <a:pt x="1531" y="841"/>
                  </a:lnTo>
                  <a:lnTo>
                    <a:pt x="1537" y="850"/>
                  </a:lnTo>
                  <a:lnTo>
                    <a:pt x="1547" y="859"/>
                  </a:lnTo>
                  <a:lnTo>
                    <a:pt x="1558" y="868"/>
                  </a:lnTo>
                  <a:lnTo>
                    <a:pt x="1566" y="871"/>
                  </a:lnTo>
                  <a:lnTo>
                    <a:pt x="1569" y="862"/>
                  </a:lnTo>
                  <a:lnTo>
                    <a:pt x="1574" y="856"/>
                  </a:lnTo>
                  <a:lnTo>
                    <a:pt x="1578" y="855"/>
                  </a:lnTo>
                  <a:lnTo>
                    <a:pt x="1579" y="855"/>
                  </a:lnTo>
                  <a:lnTo>
                    <a:pt x="1585" y="856"/>
                  </a:lnTo>
                  <a:lnTo>
                    <a:pt x="1593" y="859"/>
                  </a:lnTo>
                  <a:lnTo>
                    <a:pt x="1598" y="865"/>
                  </a:lnTo>
                  <a:lnTo>
                    <a:pt x="1604" y="868"/>
                  </a:lnTo>
                  <a:lnTo>
                    <a:pt x="1610" y="866"/>
                  </a:lnTo>
                  <a:lnTo>
                    <a:pt x="1612" y="876"/>
                  </a:lnTo>
                  <a:lnTo>
                    <a:pt x="1614" y="887"/>
                  </a:lnTo>
                  <a:lnTo>
                    <a:pt x="1620" y="894"/>
                  </a:lnTo>
                  <a:lnTo>
                    <a:pt x="1626" y="900"/>
                  </a:lnTo>
                  <a:lnTo>
                    <a:pt x="1632" y="904"/>
                  </a:lnTo>
                  <a:lnTo>
                    <a:pt x="1645" y="906"/>
                  </a:lnTo>
                  <a:lnTo>
                    <a:pt x="1651" y="908"/>
                  </a:lnTo>
                  <a:lnTo>
                    <a:pt x="1658" y="922"/>
                  </a:lnTo>
                  <a:lnTo>
                    <a:pt x="1676" y="954"/>
                  </a:lnTo>
                  <a:lnTo>
                    <a:pt x="1681" y="961"/>
                  </a:lnTo>
                  <a:lnTo>
                    <a:pt x="1681" y="961"/>
                  </a:lnTo>
                  <a:lnTo>
                    <a:pt x="1671" y="983"/>
                  </a:lnTo>
                  <a:lnTo>
                    <a:pt x="1671" y="989"/>
                  </a:lnTo>
                  <a:lnTo>
                    <a:pt x="1673" y="987"/>
                  </a:lnTo>
                  <a:lnTo>
                    <a:pt x="1676" y="994"/>
                  </a:lnTo>
                  <a:lnTo>
                    <a:pt x="1679" y="996"/>
                  </a:lnTo>
                  <a:lnTo>
                    <a:pt x="1683" y="999"/>
                  </a:lnTo>
                  <a:lnTo>
                    <a:pt x="1677" y="1003"/>
                  </a:lnTo>
                  <a:lnTo>
                    <a:pt x="1677" y="1009"/>
                  </a:lnTo>
                  <a:lnTo>
                    <a:pt x="1679" y="1026"/>
                  </a:lnTo>
                  <a:lnTo>
                    <a:pt x="1679" y="1035"/>
                  </a:lnTo>
                  <a:lnTo>
                    <a:pt x="1677" y="1042"/>
                  </a:lnTo>
                  <a:lnTo>
                    <a:pt x="1676" y="1050"/>
                  </a:lnTo>
                  <a:lnTo>
                    <a:pt x="1670" y="1063"/>
                  </a:lnTo>
                  <a:lnTo>
                    <a:pt x="1667" y="1064"/>
                  </a:lnTo>
                  <a:lnTo>
                    <a:pt x="1665" y="1067"/>
                  </a:lnTo>
                  <a:lnTo>
                    <a:pt x="1663" y="1069"/>
                  </a:lnTo>
                  <a:lnTo>
                    <a:pt x="1655" y="1070"/>
                  </a:lnTo>
                  <a:lnTo>
                    <a:pt x="1654" y="1070"/>
                  </a:lnTo>
                  <a:lnTo>
                    <a:pt x="1651" y="1076"/>
                  </a:lnTo>
                  <a:lnTo>
                    <a:pt x="1648" y="1089"/>
                  </a:lnTo>
                  <a:lnTo>
                    <a:pt x="1646" y="1089"/>
                  </a:lnTo>
                  <a:lnTo>
                    <a:pt x="1632" y="1082"/>
                  </a:lnTo>
                  <a:lnTo>
                    <a:pt x="1628" y="1074"/>
                  </a:lnTo>
                  <a:lnTo>
                    <a:pt x="1622" y="1070"/>
                  </a:lnTo>
                  <a:lnTo>
                    <a:pt x="1616" y="1067"/>
                  </a:lnTo>
                  <a:lnTo>
                    <a:pt x="1579" y="1057"/>
                  </a:lnTo>
                  <a:lnTo>
                    <a:pt x="1568" y="1058"/>
                  </a:lnTo>
                  <a:lnTo>
                    <a:pt x="1556" y="1063"/>
                  </a:lnTo>
                  <a:lnTo>
                    <a:pt x="1553" y="1066"/>
                  </a:lnTo>
                  <a:lnTo>
                    <a:pt x="1552" y="1069"/>
                  </a:lnTo>
                  <a:lnTo>
                    <a:pt x="1552" y="1072"/>
                  </a:lnTo>
                  <a:lnTo>
                    <a:pt x="1553" y="1073"/>
                  </a:lnTo>
                  <a:lnTo>
                    <a:pt x="1555" y="1083"/>
                  </a:lnTo>
                  <a:lnTo>
                    <a:pt x="1558" y="1088"/>
                  </a:lnTo>
                  <a:lnTo>
                    <a:pt x="1558" y="1092"/>
                  </a:lnTo>
                  <a:lnTo>
                    <a:pt x="1558" y="1098"/>
                  </a:lnTo>
                  <a:lnTo>
                    <a:pt x="1552" y="1108"/>
                  </a:lnTo>
                  <a:lnTo>
                    <a:pt x="1550" y="1112"/>
                  </a:lnTo>
                  <a:lnTo>
                    <a:pt x="1550" y="1117"/>
                  </a:lnTo>
                  <a:lnTo>
                    <a:pt x="1550" y="1131"/>
                  </a:lnTo>
                  <a:lnTo>
                    <a:pt x="1550" y="1137"/>
                  </a:lnTo>
                  <a:lnTo>
                    <a:pt x="1549" y="1141"/>
                  </a:lnTo>
                  <a:lnTo>
                    <a:pt x="1547" y="1143"/>
                  </a:lnTo>
                  <a:lnTo>
                    <a:pt x="1546" y="1146"/>
                  </a:lnTo>
                  <a:lnTo>
                    <a:pt x="1545" y="1157"/>
                  </a:lnTo>
                  <a:lnTo>
                    <a:pt x="1540" y="1165"/>
                  </a:lnTo>
                  <a:lnTo>
                    <a:pt x="1505" y="1195"/>
                  </a:lnTo>
                  <a:lnTo>
                    <a:pt x="1494" y="1201"/>
                  </a:lnTo>
                  <a:lnTo>
                    <a:pt x="1445" y="1210"/>
                  </a:lnTo>
                  <a:lnTo>
                    <a:pt x="1410" y="1224"/>
                  </a:lnTo>
                  <a:lnTo>
                    <a:pt x="1405" y="1229"/>
                  </a:lnTo>
                  <a:lnTo>
                    <a:pt x="1392" y="1240"/>
                  </a:lnTo>
                  <a:lnTo>
                    <a:pt x="1380" y="1246"/>
                  </a:lnTo>
                  <a:lnTo>
                    <a:pt x="1374" y="1251"/>
                  </a:lnTo>
                  <a:lnTo>
                    <a:pt x="1376" y="1252"/>
                  </a:lnTo>
                  <a:lnTo>
                    <a:pt x="1357" y="1256"/>
                  </a:lnTo>
                  <a:lnTo>
                    <a:pt x="1351" y="1259"/>
                  </a:lnTo>
                  <a:lnTo>
                    <a:pt x="1348" y="1262"/>
                  </a:lnTo>
                  <a:lnTo>
                    <a:pt x="1341" y="1272"/>
                  </a:lnTo>
                  <a:lnTo>
                    <a:pt x="1336" y="1278"/>
                  </a:lnTo>
                  <a:lnTo>
                    <a:pt x="1323" y="1287"/>
                  </a:lnTo>
                  <a:lnTo>
                    <a:pt x="1322" y="1288"/>
                  </a:lnTo>
                  <a:lnTo>
                    <a:pt x="1317" y="1297"/>
                  </a:lnTo>
                  <a:lnTo>
                    <a:pt x="1314" y="1297"/>
                  </a:lnTo>
                  <a:lnTo>
                    <a:pt x="1311" y="1297"/>
                  </a:lnTo>
                  <a:lnTo>
                    <a:pt x="1310" y="1299"/>
                  </a:lnTo>
                  <a:lnTo>
                    <a:pt x="1309" y="1302"/>
                  </a:lnTo>
                  <a:lnTo>
                    <a:pt x="1307" y="1309"/>
                  </a:lnTo>
                  <a:lnTo>
                    <a:pt x="1309" y="1316"/>
                  </a:lnTo>
                  <a:lnTo>
                    <a:pt x="1311" y="1322"/>
                  </a:lnTo>
                  <a:lnTo>
                    <a:pt x="1316" y="1328"/>
                  </a:lnTo>
                  <a:lnTo>
                    <a:pt x="1339" y="1352"/>
                  </a:lnTo>
                  <a:lnTo>
                    <a:pt x="1345" y="1364"/>
                  </a:lnTo>
                  <a:lnTo>
                    <a:pt x="1346" y="1370"/>
                  </a:lnTo>
                  <a:lnTo>
                    <a:pt x="1346" y="1371"/>
                  </a:lnTo>
                  <a:lnTo>
                    <a:pt x="1348" y="1376"/>
                  </a:lnTo>
                  <a:lnTo>
                    <a:pt x="1351" y="1380"/>
                  </a:lnTo>
                  <a:lnTo>
                    <a:pt x="1359" y="1386"/>
                  </a:lnTo>
                  <a:lnTo>
                    <a:pt x="1365" y="1392"/>
                  </a:lnTo>
                  <a:lnTo>
                    <a:pt x="1368" y="1395"/>
                  </a:lnTo>
                  <a:lnTo>
                    <a:pt x="1374" y="1399"/>
                  </a:lnTo>
                  <a:lnTo>
                    <a:pt x="1386" y="1427"/>
                  </a:lnTo>
                  <a:lnTo>
                    <a:pt x="1394" y="1438"/>
                  </a:lnTo>
                  <a:lnTo>
                    <a:pt x="1396" y="1440"/>
                  </a:lnTo>
                  <a:lnTo>
                    <a:pt x="1373" y="1476"/>
                  </a:lnTo>
                  <a:lnTo>
                    <a:pt x="1371" y="1481"/>
                  </a:lnTo>
                  <a:lnTo>
                    <a:pt x="1371" y="1484"/>
                  </a:lnTo>
                  <a:lnTo>
                    <a:pt x="1370" y="1486"/>
                  </a:lnTo>
                  <a:lnTo>
                    <a:pt x="1370" y="1489"/>
                  </a:lnTo>
                  <a:lnTo>
                    <a:pt x="1367" y="1494"/>
                  </a:lnTo>
                  <a:lnTo>
                    <a:pt x="1367" y="1494"/>
                  </a:lnTo>
                  <a:lnTo>
                    <a:pt x="1367" y="1494"/>
                  </a:lnTo>
                  <a:lnTo>
                    <a:pt x="1367" y="1494"/>
                  </a:lnTo>
                  <a:lnTo>
                    <a:pt x="1361" y="1504"/>
                  </a:lnTo>
                  <a:lnTo>
                    <a:pt x="1367" y="1510"/>
                  </a:lnTo>
                  <a:lnTo>
                    <a:pt x="1386" y="1513"/>
                  </a:lnTo>
                  <a:lnTo>
                    <a:pt x="1392" y="1513"/>
                  </a:lnTo>
                  <a:lnTo>
                    <a:pt x="1400" y="1508"/>
                  </a:lnTo>
                  <a:lnTo>
                    <a:pt x="1406" y="1510"/>
                  </a:lnTo>
                  <a:lnTo>
                    <a:pt x="1409" y="1513"/>
                  </a:lnTo>
                  <a:lnTo>
                    <a:pt x="1413" y="1517"/>
                  </a:lnTo>
                  <a:lnTo>
                    <a:pt x="1421" y="1529"/>
                  </a:lnTo>
                  <a:lnTo>
                    <a:pt x="1424" y="1536"/>
                  </a:lnTo>
                  <a:lnTo>
                    <a:pt x="1425" y="1543"/>
                  </a:lnTo>
                  <a:lnTo>
                    <a:pt x="1424" y="1549"/>
                  </a:lnTo>
                  <a:lnTo>
                    <a:pt x="1424" y="1556"/>
                  </a:lnTo>
                  <a:lnTo>
                    <a:pt x="1422" y="1556"/>
                  </a:lnTo>
                  <a:lnTo>
                    <a:pt x="1419" y="1566"/>
                  </a:lnTo>
                  <a:lnTo>
                    <a:pt x="1418" y="1568"/>
                  </a:lnTo>
                  <a:lnTo>
                    <a:pt x="1413" y="1575"/>
                  </a:lnTo>
                  <a:lnTo>
                    <a:pt x="1412" y="1575"/>
                  </a:lnTo>
                  <a:lnTo>
                    <a:pt x="1412" y="1587"/>
                  </a:lnTo>
                  <a:lnTo>
                    <a:pt x="1413" y="1587"/>
                  </a:lnTo>
                  <a:lnTo>
                    <a:pt x="1412" y="1587"/>
                  </a:lnTo>
                  <a:lnTo>
                    <a:pt x="1409" y="1596"/>
                  </a:lnTo>
                  <a:lnTo>
                    <a:pt x="1409" y="1597"/>
                  </a:lnTo>
                  <a:lnTo>
                    <a:pt x="1409" y="1606"/>
                  </a:lnTo>
                  <a:lnTo>
                    <a:pt x="1409" y="1609"/>
                  </a:lnTo>
                  <a:lnTo>
                    <a:pt x="1409" y="1612"/>
                  </a:lnTo>
                  <a:lnTo>
                    <a:pt x="1410" y="1615"/>
                  </a:lnTo>
                  <a:lnTo>
                    <a:pt x="1412" y="1617"/>
                  </a:lnTo>
                  <a:lnTo>
                    <a:pt x="1412" y="1622"/>
                  </a:lnTo>
                  <a:lnTo>
                    <a:pt x="1402" y="1633"/>
                  </a:lnTo>
                  <a:lnTo>
                    <a:pt x="1399" y="1636"/>
                  </a:lnTo>
                  <a:lnTo>
                    <a:pt x="1396" y="1636"/>
                  </a:lnTo>
                  <a:lnTo>
                    <a:pt x="1393" y="1635"/>
                  </a:lnTo>
                  <a:lnTo>
                    <a:pt x="1392" y="1632"/>
                  </a:lnTo>
                  <a:lnTo>
                    <a:pt x="1389" y="1631"/>
                  </a:lnTo>
                  <a:lnTo>
                    <a:pt x="1384" y="1631"/>
                  </a:lnTo>
                  <a:lnTo>
                    <a:pt x="1381" y="1632"/>
                  </a:lnTo>
                  <a:lnTo>
                    <a:pt x="1378" y="1633"/>
                  </a:lnTo>
                  <a:lnTo>
                    <a:pt x="1374" y="1632"/>
                  </a:lnTo>
                  <a:lnTo>
                    <a:pt x="1358" y="1619"/>
                  </a:lnTo>
                  <a:lnTo>
                    <a:pt x="1342" y="1601"/>
                  </a:lnTo>
                  <a:lnTo>
                    <a:pt x="1339" y="1600"/>
                  </a:lnTo>
                  <a:lnTo>
                    <a:pt x="1336" y="1599"/>
                  </a:lnTo>
                  <a:lnTo>
                    <a:pt x="1330" y="1597"/>
                  </a:lnTo>
                  <a:lnTo>
                    <a:pt x="1322" y="1590"/>
                  </a:lnTo>
                  <a:lnTo>
                    <a:pt x="1320" y="1578"/>
                  </a:lnTo>
                  <a:lnTo>
                    <a:pt x="1325" y="1565"/>
                  </a:lnTo>
                  <a:lnTo>
                    <a:pt x="1333" y="1561"/>
                  </a:lnTo>
                  <a:lnTo>
                    <a:pt x="1326" y="1555"/>
                  </a:lnTo>
                  <a:lnTo>
                    <a:pt x="1317" y="1549"/>
                  </a:lnTo>
                  <a:lnTo>
                    <a:pt x="1313" y="1542"/>
                  </a:lnTo>
                  <a:lnTo>
                    <a:pt x="1316" y="1533"/>
                  </a:lnTo>
                  <a:lnTo>
                    <a:pt x="1310" y="1533"/>
                  </a:lnTo>
                  <a:lnTo>
                    <a:pt x="1291" y="1529"/>
                  </a:lnTo>
                  <a:lnTo>
                    <a:pt x="1278" y="1529"/>
                  </a:lnTo>
                  <a:lnTo>
                    <a:pt x="1266" y="1532"/>
                  </a:lnTo>
                  <a:lnTo>
                    <a:pt x="1259" y="1534"/>
                  </a:lnTo>
                  <a:lnTo>
                    <a:pt x="1243" y="1549"/>
                  </a:lnTo>
                  <a:lnTo>
                    <a:pt x="1239" y="1550"/>
                  </a:lnTo>
                  <a:lnTo>
                    <a:pt x="1231" y="1552"/>
                  </a:lnTo>
                  <a:lnTo>
                    <a:pt x="1224" y="1552"/>
                  </a:lnTo>
                  <a:lnTo>
                    <a:pt x="1218" y="1550"/>
                  </a:lnTo>
                  <a:lnTo>
                    <a:pt x="1208" y="1542"/>
                  </a:lnTo>
                  <a:lnTo>
                    <a:pt x="1205" y="1539"/>
                  </a:lnTo>
                  <a:lnTo>
                    <a:pt x="1204" y="1534"/>
                  </a:lnTo>
                  <a:lnTo>
                    <a:pt x="1201" y="1523"/>
                  </a:lnTo>
                  <a:lnTo>
                    <a:pt x="1198" y="1520"/>
                  </a:lnTo>
                  <a:lnTo>
                    <a:pt x="1192" y="1518"/>
                  </a:lnTo>
                  <a:lnTo>
                    <a:pt x="1179" y="1524"/>
                  </a:lnTo>
                  <a:lnTo>
                    <a:pt x="1173" y="1526"/>
                  </a:lnTo>
                  <a:lnTo>
                    <a:pt x="1153" y="1521"/>
                  </a:lnTo>
                  <a:lnTo>
                    <a:pt x="1145" y="1521"/>
                  </a:lnTo>
                  <a:lnTo>
                    <a:pt x="1138" y="1526"/>
                  </a:lnTo>
                  <a:lnTo>
                    <a:pt x="1134" y="1527"/>
                  </a:lnTo>
                  <a:lnTo>
                    <a:pt x="1131" y="1523"/>
                  </a:lnTo>
                  <a:lnTo>
                    <a:pt x="1128" y="1518"/>
                  </a:lnTo>
                  <a:lnTo>
                    <a:pt x="1129" y="1514"/>
                  </a:lnTo>
                  <a:lnTo>
                    <a:pt x="1132" y="1511"/>
                  </a:lnTo>
                  <a:lnTo>
                    <a:pt x="1134" y="1507"/>
                  </a:lnTo>
                  <a:lnTo>
                    <a:pt x="1134" y="1501"/>
                  </a:lnTo>
                  <a:lnTo>
                    <a:pt x="1135" y="1500"/>
                  </a:lnTo>
                  <a:lnTo>
                    <a:pt x="1134" y="1500"/>
                  </a:lnTo>
                  <a:lnTo>
                    <a:pt x="1129" y="1501"/>
                  </a:lnTo>
                  <a:lnTo>
                    <a:pt x="1126" y="1504"/>
                  </a:lnTo>
                  <a:lnTo>
                    <a:pt x="1118" y="1511"/>
                  </a:lnTo>
                  <a:lnTo>
                    <a:pt x="1112" y="1513"/>
                  </a:lnTo>
                  <a:lnTo>
                    <a:pt x="1113" y="1517"/>
                  </a:lnTo>
                  <a:lnTo>
                    <a:pt x="1115" y="1520"/>
                  </a:lnTo>
                  <a:lnTo>
                    <a:pt x="1116" y="1523"/>
                  </a:lnTo>
                  <a:lnTo>
                    <a:pt x="1119" y="1526"/>
                  </a:lnTo>
                  <a:lnTo>
                    <a:pt x="1122" y="1527"/>
                  </a:lnTo>
                  <a:lnTo>
                    <a:pt x="1122" y="1530"/>
                  </a:lnTo>
                  <a:lnTo>
                    <a:pt x="1123" y="1543"/>
                  </a:lnTo>
                  <a:lnTo>
                    <a:pt x="1122" y="1549"/>
                  </a:lnTo>
                  <a:lnTo>
                    <a:pt x="1121" y="1552"/>
                  </a:lnTo>
                  <a:lnTo>
                    <a:pt x="1112" y="1565"/>
                  </a:lnTo>
                  <a:lnTo>
                    <a:pt x="1109" y="1565"/>
                  </a:lnTo>
                  <a:lnTo>
                    <a:pt x="1029" y="1562"/>
                  </a:lnTo>
                  <a:lnTo>
                    <a:pt x="1000" y="1568"/>
                  </a:lnTo>
                  <a:lnTo>
                    <a:pt x="995" y="1569"/>
                  </a:lnTo>
                  <a:lnTo>
                    <a:pt x="992" y="1578"/>
                  </a:lnTo>
                  <a:lnTo>
                    <a:pt x="988" y="1580"/>
                  </a:lnTo>
                  <a:lnTo>
                    <a:pt x="969" y="1575"/>
                  </a:lnTo>
                  <a:lnTo>
                    <a:pt x="941" y="1575"/>
                  </a:lnTo>
                  <a:lnTo>
                    <a:pt x="925" y="1572"/>
                  </a:lnTo>
                  <a:lnTo>
                    <a:pt x="920" y="1572"/>
                  </a:lnTo>
                  <a:lnTo>
                    <a:pt x="918" y="1574"/>
                  </a:lnTo>
                  <a:lnTo>
                    <a:pt x="908" y="1583"/>
                  </a:lnTo>
                  <a:lnTo>
                    <a:pt x="906" y="1588"/>
                  </a:lnTo>
                  <a:lnTo>
                    <a:pt x="904" y="1600"/>
                  </a:lnTo>
                  <a:lnTo>
                    <a:pt x="902" y="1604"/>
                  </a:lnTo>
                  <a:lnTo>
                    <a:pt x="895" y="1612"/>
                  </a:lnTo>
                  <a:lnTo>
                    <a:pt x="887" y="1615"/>
                  </a:lnTo>
                  <a:lnTo>
                    <a:pt x="871" y="1617"/>
                  </a:lnTo>
                  <a:lnTo>
                    <a:pt x="863" y="1615"/>
                  </a:lnTo>
                  <a:lnTo>
                    <a:pt x="855" y="1613"/>
                  </a:lnTo>
                  <a:lnTo>
                    <a:pt x="847" y="1616"/>
                  </a:lnTo>
                  <a:lnTo>
                    <a:pt x="831" y="1633"/>
                  </a:lnTo>
                  <a:lnTo>
                    <a:pt x="835" y="1635"/>
                  </a:lnTo>
                  <a:lnTo>
                    <a:pt x="838" y="1638"/>
                  </a:lnTo>
                  <a:lnTo>
                    <a:pt x="839" y="1642"/>
                  </a:lnTo>
                  <a:lnTo>
                    <a:pt x="837" y="1647"/>
                  </a:lnTo>
                  <a:lnTo>
                    <a:pt x="831" y="1649"/>
                  </a:lnTo>
                  <a:lnTo>
                    <a:pt x="816" y="1649"/>
                  </a:lnTo>
                  <a:lnTo>
                    <a:pt x="810" y="1651"/>
                  </a:lnTo>
                  <a:lnTo>
                    <a:pt x="803" y="1658"/>
                  </a:lnTo>
                  <a:lnTo>
                    <a:pt x="799" y="1664"/>
                  </a:lnTo>
                  <a:lnTo>
                    <a:pt x="793" y="1670"/>
                  </a:lnTo>
                  <a:lnTo>
                    <a:pt x="786" y="1673"/>
                  </a:lnTo>
                  <a:lnTo>
                    <a:pt x="778" y="1671"/>
                  </a:lnTo>
                  <a:lnTo>
                    <a:pt x="778" y="1658"/>
                  </a:lnTo>
                  <a:lnTo>
                    <a:pt x="771" y="1655"/>
                  </a:lnTo>
                  <a:lnTo>
                    <a:pt x="762" y="1657"/>
                  </a:lnTo>
                  <a:lnTo>
                    <a:pt x="739" y="1673"/>
                  </a:lnTo>
                  <a:lnTo>
                    <a:pt x="733" y="1674"/>
                  </a:lnTo>
                  <a:lnTo>
                    <a:pt x="697" y="1674"/>
                  </a:lnTo>
                  <a:lnTo>
                    <a:pt x="691" y="1671"/>
                  </a:lnTo>
                  <a:lnTo>
                    <a:pt x="688" y="1664"/>
                  </a:lnTo>
                  <a:lnTo>
                    <a:pt x="689" y="1664"/>
                  </a:lnTo>
                  <a:lnTo>
                    <a:pt x="689" y="1663"/>
                  </a:lnTo>
                  <a:lnTo>
                    <a:pt x="691" y="1658"/>
                  </a:lnTo>
                  <a:lnTo>
                    <a:pt x="691" y="1655"/>
                  </a:lnTo>
                  <a:lnTo>
                    <a:pt x="689" y="1652"/>
                  </a:lnTo>
                  <a:lnTo>
                    <a:pt x="672" y="1635"/>
                  </a:lnTo>
                  <a:lnTo>
                    <a:pt x="654" y="1626"/>
                  </a:lnTo>
                  <a:lnTo>
                    <a:pt x="651" y="1622"/>
                  </a:lnTo>
                  <a:lnTo>
                    <a:pt x="663" y="1615"/>
                  </a:lnTo>
                  <a:lnTo>
                    <a:pt x="666" y="1610"/>
                  </a:lnTo>
                  <a:lnTo>
                    <a:pt x="659" y="1604"/>
                  </a:lnTo>
                  <a:lnTo>
                    <a:pt x="654" y="1603"/>
                  </a:lnTo>
                  <a:lnTo>
                    <a:pt x="650" y="1603"/>
                  </a:lnTo>
                  <a:lnTo>
                    <a:pt x="644" y="1604"/>
                  </a:lnTo>
                  <a:lnTo>
                    <a:pt x="631" y="1610"/>
                  </a:lnTo>
                  <a:lnTo>
                    <a:pt x="621" y="1612"/>
                  </a:lnTo>
                  <a:lnTo>
                    <a:pt x="618" y="1610"/>
                  </a:lnTo>
                  <a:lnTo>
                    <a:pt x="615" y="1609"/>
                  </a:lnTo>
                  <a:lnTo>
                    <a:pt x="615" y="1606"/>
                  </a:lnTo>
                  <a:lnTo>
                    <a:pt x="614" y="1604"/>
                  </a:lnTo>
                  <a:lnTo>
                    <a:pt x="567" y="1587"/>
                  </a:lnTo>
                  <a:lnTo>
                    <a:pt x="558" y="1587"/>
                  </a:lnTo>
                  <a:lnTo>
                    <a:pt x="554" y="1590"/>
                  </a:lnTo>
                  <a:lnTo>
                    <a:pt x="547" y="1600"/>
                  </a:lnTo>
                  <a:lnTo>
                    <a:pt x="542" y="1603"/>
                  </a:lnTo>
                  <a:lnTo>
                    <a:pt x="538" y="1604"/>
                  </a:lnTo>
                  <a:lnTo>
                    <a:pt x="523" y="1601"/>
                  </a:lnTo>
                  <a:lnTo>
                    <a:pt x="519" y="1599"/>
                  </a:lnTo>
                  <a:lnTo>
                    <a:pt x="516" y="1597"/>
                  </a:lnTo>
                  <a:lnTo>
                    <a:pt x="513" y="1594"/>
                  </a:lnTo>
                  <a:lnTo>
                    <a:pt x="513" y="1590"/>
                  </a:lnTo>
                  <a:lnTo>
                    <a:pt x="515" y="1587"/>
                  </a:lnTo>
                  <a:lnTo>
                    <a:pt x="516" y="1584"/>
                  </a:lnTo>
                  <a:lnTo>
                    <a:pt x="516" y="1583"/>
                  </a:lnTo>
                  <a:lnTo>
                    <a:pt x="515" y="1578"/>
                  </a:lnTo>
                  <a:lnTo>
                    <a:pt x="513" y="1577"/>
                  </a:lnTo>
                  <a:lnTo>
                    <a:pt x="512" y="1578"/>
                  </a:lnTo>
                  <a:lnTo>
                    <a:pt x="506" y="1580"/>
                  </a:lnTo>
                  <a:lnTo>
                    <a:pt x="500" y="1581"/>
                  </a:lnTo>
                  <a:lnTo>
                    <a:pt x="500" y="1585"/>
                  </a:lnTo>
                  <a:lnTo>
                    <a:pt x="503" y="1591"/>
                  </a:lnTo>
                  <a:lnTo>
                    <a:pt x="506" y="1597"/>
                  </a:lnTo>
                  <a:lnTo>
                    <a:pt x="506" y="1601"/>
                  </a:lnTo>
                  <a:lnTo>
                    <a:pt x="501" y="1622"/>
                  </a:lnTo>
                  <a:lnTo>
                    <a:pt x="507" y="1625"/>
                  </a:lnTo>
                  <a:lnTo>
                    <a:pt x="510" y="1628"/>
                  </a:lnTo>
                  <a:lnTo>
                    <a:pt x="512" y="1632"/>
                  </a:lnTo>
                  <a:lnTo>
                    <a:pt x="513" y="1639"/>
                  </a:lnTo>
                  <a:lnTo>
                    <a:pt x="513" y="1649"/>
                  </a:lnTo>
                  <a:lnTo>
                    <a:pt x="510" y="1661"/>
                  </a:lnTo>
                  <a:lnTo>
                    <a:pt x="504" y="1671"/>
                  </a:lnTo>
                  <a:lnTo>
                    <a:pt x="499" y="1679"/>
                  </a:lnTo>
                  <a:lnTo>
                    <a:pt x="496" y="1682"/>
                  </a:lnTo>
                  <a:lnTo>
                    <a:pt x="488" y="1684"/>
                  </a:lnTo>
                  <a:lnTo>
                    <a:pt x="485" y="1686"/>
                  </a:lnTo>
                  <a:lnTo>
                    <a:pt x="482" y="1689"/>
                  </a:lnTo>
                  <a:lnTo>
                    <a:pt x="475" y="1705"/>
                  </a:lnTo>
                  <a:lnTo>
                    <a:pt x="469" y="1714"/>
                  </a:lnTo>
                  <a:lnTo>
                    <a:pt x="462" y="1719"/>
                  </a:lnTo>
                  <a:lnTo>
                    <a:pt x="446" y="1730"/>
                  </a:lnTo>
                  <a:lnTo>
                    <a:pt x="439" y="1732"/>
                  </a:lnTo>
                  <a:lnTo>
                    <a:pt x="417" y="1735"/>
                  </a:lnTo>
                  <a:lnTo>
                    <a:pt x="411" y="1735"/>
                  </a:lnTo>
                  <a:lnTo>
                    <a:pt x="410" y="1734"/>
                  </a:lnTo>
                  <a:lnTo>
                    <a:pt x="411" y="1731"/>
                  </a:lnTo>
                  <a:lnTo>
                    <a:pt x="414" y="1725"/>
                  </a:lnTo>
                  <a:lnTo>
                    <a:pt x="415" y="1725"/>
                  </a:lnTo>
                  <a:lnTo>
                    <a:pt x="420" y="1724"/>
                  </a:lnTo>
                  <a:lnTo>
                    <a:pt x="423" y="1722"/>
                  </a:lnTo>
                  <a:lnTo>
                    <a:pt x="423" y="1718"/>
                  </a:lnTo>
                  <a:lnTo>
                    <a:pt x="423" y="1715"/>
                  </a:lnTo>
                  <a:lnTo>
                    <a:pt x="423" y="1712"/>
                  </a:lnTo>
                  <a:lnTo>
                    <a:pt x="429" y="1693"/>
                  </a:lnTo>
                  <a:lnTo>
                    <a:pt x="429" y="1683"/>
                  </a:lnTo>
                  <a:lnTo>
                    <a:pt x="423" y="1680"/>
                  </a:lnTo>
                  <a:lnTo>
                    <a:pt x="407" y="1683"/>
                  </a:lnTo>
                  <a:lnTo>
                    <a:pt x="402" y="1687"/>
                  </a:lnTo>
                  <a:lnTo>
                    <a:pt x="401" y="1689"/>
                  </a:lnTo>
                  <a:lnTo>
                    <a:pt x="399" y="1689"/>
                  </a:lnTo>
                  <a:lnTo>
                    <a:pt x="397" y="1686"/>
                  </a:lnTo>
                  <a:lnTo>
                    <a:pt x="394" y="1686"/>
                  </a:lnTo>
                  <a:lnTo>
                    <a:pt x="389" y="1689"/>
                  </a:lnTo>
                  <a:lnTo>
                    <a:pt x="386" y="1690"/>
                  </a:lnTo>
                  <a:lnTo>
                    <a:pt x="385" y="1690"/>
                  </a:lnTo>
                  <a:lnTo>
                    <a:pt x="382" y="1687"/>
                  </a:lnTo>
                  <a:lnTo>
                    <a:pt x="379" y="1683"/>
                  </a:lnTo>
                  <a:lnTo>
                    <a:pt x="379" y="1677"/>
                  </a:lnTo>
                  <a:lnTo>
                    <a:pt x="378" y="1671"/>
                  </a:lnTo>
                  <a:lnTo>
                    <a:pt x="375" y="1667"/>
                  </a:lnTo>
                  <a:lnTo>
                    <a:pt x="382" y="1661"/>
                  </a:lnTo>
                  <a:lnTo>
                    <a:pt x="383" y="1655"/>
                  </a:lnTo>
                  <a:lnTo>
                    <a:pt x="381" y="1649"/>
                  </a:lnTo>
                  <a:lnTo>
                    <a:pt x="364" y="1625"/>
                  </a:lnTo>
                  <a:lnTo>
                    <a:pt x="360" y="1626"/>
                  </a:lnTo>
                  <a:lnTo>
                    <a:pt x="357" y="1629"/>
                  </a:lnTo>
                  <a:lnTo>
                    <a:pt x="354" y="1631"/>
                  </a:lnTo>
                  <a:lnTo>
                    <a:pt x="350" y="1628"/>
                  </a:lnTo>
                  <a:lnTo>
                    <a:pt x="350" y="1625"/>
                  </a:lnTo>
                  <a:lnTo>
                    <a:pt x="350" y="1623"/>
                  </a:lnTo>
                  <a:lnTo>
                    <a:pt x="350" y="1622"/>
                  </a:lnTo>
                  <a:lnTo>
                    <a:pt x="346" y="1615"/>
                  </a:lnTo>
                  <a:lnTo>
                    <a:pt x="341" y="1610"/>
                  </a:lnTo>
                  <a:lnTo>
                    <a:pt x="338" y="1606"/>
                  </a:lnTo>
                  <a:lnTo>
                    <a:pt x="337" y="1597"/>
                  </a:lnTo>
                  <a:lnTo>
                    <a:pt x="332" y="1601"/>
                  </a:lnTo>
                  <a:lnTo>
                    <a:pt x="328" y="1601"/>
                  </a:lnTo>
                  <a:lnTo>
                    <a:pt x="318" y="1601"/>
                  </a:lnTo>
                  <a:lnTo>
                    <a:pt x="306" y="1597"/>
                  </a:lnTo>
                  <a:lnTo>
                    <a:pt x="305" y="1597"/>
                  </a:lnTo>
                  <a:lnTo>
                    <a:pt x="300" y="1600"/>
                  </a:lnTo>
                  <a:lnTo>
                    <a:pt x="297" y="1600"/>
                  </a:lnTo>
                  <a:lnTo>
                    <a:pt x="292" y="1597"/>
                  </a:lnTo>
                  <a:lnTo>
                    <a:pt x="290" y="1591"/>
                  </a:lnTo>
                  <a:lnTo>
                    <a:pt x="290" y="1585"/>
                  </a:lnTo>
                  <a:lnTo>
                    <a:pt x="289" y="1580"/>
                  </a:lnTo>
                  <a:lnTo>
                    <a:pt x="286" y="1575"/>
                  </a:lnTo>
                  <a:lnTo>
                    <a:pt x="280" y="1574"/>
                  </a:lnTo>
                  <a:lnTo>
                    <a:pt x="276" y="1574"/>
                  </a:lnTo>
                  <a:lnTo>
                    <a:pt x="270" y="1577"/>
                  </a:lnTo>
                  <a:lnTo>
                    <a:pt x="263" y="1585"/>
                  </a:lnTo>
                  <a:lnTo>
                    <a:pt x="258" y="1594"/>
                  </a:lnTo>
                  <a:lnTo>
                    <a:pt x="254" y="1603"/>
                  </a:lnTo>
                  <a:lnTo>
                    <a:pt x="244" y="1607"/>
                  </a:lnTo>
                  <a:lnTo>
                    <a:pt x="222" y="1607"/>
                  </a:lnTo>
                  <a:lnTo>
                    <a:pt x="201" y="1601"/>
                  </a:lnTo>
                  <a:lnTo>
                    <a:pt x="201" y="1601"/>
                  </a:lnTo>
                  <a:lnTo>
                    <a:pt x="217" y="1580"/>
                  </a:lnTo>
                  <a:lnTo>
                    <a:pt x="222" y="1574"/>
                  </a:lnTo>
                  <a:lnTo>
                    <a:pt x="222" y="1572"/>
                  </a:lnTo>
                  <a:lnTo>
                    <a:pt x="225" y="1572"/>
                  </a:lnTo>
                  <a:lnTo>
                    <a:pt x="233" y="1571"/>
                  </a:lnTo>
                  <a:lnTo>
                    <a:pt x="236" y="1569"/>
                  </a:lnTo>
                  <a:lnTo>
                    <a:pt x="238" y="1568"/>
                  </a:lnTo>
                  <a:lnTo>
                    <a:pt x="238" y="1568"/>
                  </a:lnTo>
                  <a:lnTo>
                    <a:pt x="238" y="1566"/>
                  </a:lnTo>
                  <a:lnTo>
                    <a:pt x="239" y="1564"/>
                  </a:lnTo>
                  <a:lnTo>
                    <a:pt x="245" y="1561"/>
                  </a:lnTo>
                  <a:lnTo>
                    <a:pt x="246" y="1562"/>
                  </a:lnTo>
                  <a:lnTo>
                    <a:pt x="257" y="1565"/>
                  </a:lnTo>
                  <a:lnTo>
                    <a:pt x="273" y="1556"/>
                  </a:lnTo>
                  <a:lnTo>
                    <a:pt x="299" y="1534"/>
                  </a:lnTo>
                  <a:lnTo>
                    <a:pt x="305" y="1530"/>
                  </a:lnTo>
                  <a:lnTo>
                    <a:pt x="309" y="1529"/>
                  </a:lnTo>
                  <a:lnTo>
                    <a:pt x="312" y="1530"/>
                  </a:lnTo>
                  <a:lnTo>
                    <a:pt x="324" y="1534"/>
                  </a:lnTo>
                  <a:lnTo>
                    <a:pt x="331" y="1537"/>
                  </a:lnTo>
                  <a:lnTo>
                    <a:pt x="340" y="1537"/>
                  </a:lnTo>
                  <a:lnTo>
                    <a:pt x="346" y="1536"/>
                  </a:lnTo>
                  <a:lnTo>
                    <a:pt x="351" y="1533"/>
                  </a:lnTo>
                  <a:lnTo>
                    <a:pt x="359" y="1529"/>
                  </a:lnTo>
                  <a:lnTo>
                    <a:pt x="367" y="1526"/>
                  </a:lnTo>
                  <a:lnTo>
                    <a:pt x="372" y="1526"/>
                  </a:lnTo>
                  <a:lnTo>
                    <a:pt x="375" y="1526"/>
                  </a:lnTo>
                  <a:lnTo>
                    <a:pt x="376" y="1527"/>
                  </a:lnTo>
                  <a:lnTo>
                    <a:pt x="378" y="1529"/>
                  </a:lnTo>
                  <a:lnTo>
                    <a:pt x="379" y="1534"/>
                  </a:lnTo>
                  <a:lnTo>
                    <a:pt x="381" y="1537"/>
                  </a:lnTo>
                  <a:lnTo>
                    <a:pt x="382" y="1542"/>
                  </a:lnTo>
                  <a:lnTo>
                    <a:pt x="386" y="1537"/>
                  </a:lnTo>
                  <a:lnTo>
                    <a:pt x="386" y="1530"/>
                  </a:lnTo>
                  <a:lnTo>
                    <a:pt x="386" y="1527"/>
                  </a:lnTo>
                  <a:lnTo>
                    <a:pt x="388" y="1527"/>
                  </a:lnTo>
                  <a:lnTo>
                    <a:pt x="388" y="1526"/>
                  </a:lnTo>
                  <a:lnTo>
                    <a:pt x="388" y="1526"/>
                  </a:lnTo>
                  <a:lnTo>
                    <a:pt x="395" y="1529"/>
                  </a:lnTo>
                  <a:lnTo>
                    <a:pt x="398" y="1529"/>
                  </a:lnTo>
                  <a:lnTo>
                    <a:pt x="399" y="1529"/>
                  </a:lnTo>
                  <a:lnTo>
                    <a:pt x="401" y="1527"/>
                  </a:lnTo>
                  <a:lnTo>
                    <a:pt x="401" y="1526"/>
                  </a:lnTo>
                  <a:lnTo>
                    <a:pt x="401" y="1524"/>
                  </a:lnTo>
                  <a:lnTo>
                    <a:pt x="402" y="1523"/>
                  </a:lnTo>
                  <a:lnTo>
                    <a:pt x="402" y="1520"/>
                  </a:lnTo>
                  <a:lnTo>
                    <a:pt x="401" y="1518"/>
                  </a:lnTo>
                  <a:lnTo>
                    <a:pt x="399" y="1516"/>
                  </a:lnTo>
                  <a:lnTo>
                    <a:pt x="398" y="1510"/>
                  </a:lnTo>
                  <a:lnTo>
                    <a:pt x="398" y="1501"/>
                  </a:lnTo>
                  <a:lnTo>
                    <a:pt x="397" y="1485"/>
                  </a:lnTo>
                  <a:lnTo>
                    <a:pt x="397" y="1484"/>
                  </a:lnTo>
                  <a:lnTo>
                    <a:pt x="397" y="1482"/>
                  </a:lnTo>
                  <a:lnTo>
                    <a:pt x="395" y="1481"/>
                  </a:lnTo>
                  <a:lnTo>
                    <a:pt x="395" y="1481"/>
                  </a:lnTo>
                  <a:lnTo>
                    <a:pt x="392" y="1481"/>
                  </a:lnTo>
                  <a:lnTo>
                    <a:pt x="391" y="1481"/>
                  </a:lnTo>
                  <a:lnTo>
                    <a:pt x="391" y="1479"/>
                  </a:lnTo>
                  <a:lnTo>
                    <a:pt x="389" y="1478"/>
                  </a:lnTo>
                  <a:lnTo>
                    <a:pt x="388" y="1475"/>
                  </a:lnTo>
                  <a:lnTo>
                    <a:pt x="386" y="1473"/>
                  </a:lnTo>
                  <a:lnTo>
                    <a:pt x="383" y="1470"/>
                  </a:lnTo>
                  <a:lnTo>
                    <a:pt x="383" y="1469"/>
                  </a:lnTo>
                  <a:lnTo>
                    <a:pt x="383" y="1467"/>
                  </a:lnTo>
                  <a:lnTo>
                    <a:pt x="386" y="1465"/>
                  </a:lnTo>
                  <a:lnTo>
                    <a:pt x="386" y="1465"/>
                  </a:lnTo>
                  <a:lnTo>
                    <a:pt x="388" y="1463"/>
                  </a:lnTo>
                  <a:lnTo>
                    <a:pt x="388" y="1463"/>
                  </a:lnTo>
                  <a:lnTo>
                    <a:pt x="394" y="1463"/>
                  </a:lnTo>
                  <a:lnTo>
                    <a:pt x="395" y="1463"/>
                  </a:lnTo>
                  <a:lnTo>
                    <a:pt x="397" y="1462"/>
                  </a:lnTo>
                  <a:lnTo>
                    <a:pt x="397" y="1459"/>
                  </a:lnTo>
                  <a:lnTo>
                    <a:pt x="397" y="1459"/>
                  </a:lnTo>
                  <a:lnTo>
                    <a:pt x="398" y="1457"/>
                  </a:lnTo>
                  <a:lnTo>
                    <a:pt x="398" y="1457"/>
                  </a:lnTo>
                  <a:lnTo>
                    <a:pt x="399" y="1457"/>
                  </a:lnTo>
                  <a:lnTo>
                    <a:pt x="401" y="1456"/>
                  </a:lnTo>
                  <a:lnTo>
                    <a:pt x="395" y="1441"/>
                  </a:lnTo>
                  <a:lnTo>
                    <a:pt x="394" y="1437"/>
                  </a:lnTo>
                  <a:lnTo>
                    <a:pt x="392" y="1434"/>
                  </a:lnTo>
                  <a:lnTo>
                    <a:pt x="392" y="1433"/>
                  </a:lnTo>
                  <a:lnTo>
                    <a:pt x="391" y="1433"/>
                  </a:lnTo>
                  <a:lnTo>
                    <a:pt x="391" y="1433"/>
                  </a:lnTo>
                  <a:lnTo>
                    <a:pt x="391" y="1433"/>
                  </a:lnTo>
                  <a:lnTo>
                    <a:pt x="389" y="1433"/>
                  </a:lnTo>
                  <a:lnTo>
                    <a:pt x="389" y="1433"/>
                  </a:lnTo>
                  <a:lnTo>
                    <a:pt x="388" y="1433"/>
                  </a:lnTo>
                  <a:lnTo>
                    <a:pt x="386" y="1433"/>
                  </a:lnTo>
                  <a:lnTo>
                    <a:pt x="386" y="1431"/>
                  </a:lnTo>
                  <a:lnTo>
                    <a:pt x="386" y="1431"/>
                  </a:lnTo>
                  <a:lnTo>
                    <a:pt x="386" y="1430"/>
                  </a:lnTo>
                  <a:lnTo>
                    <a:pt x="388" y="1428"/>
                  </a:lnTo>
                  <a:lnTo>
                    <a:pt x="388" y="1428"/>
                  </a:lnTo>
                  <a:lnTo>
                    <a:pt x="388" y="1428"/>
                  </a:lnTo>
                  <a:lnTo>
                    <a:pt x="389" y="1427"/>
                  </a:lnTo>
                  <a:lnTo>
                    <a:pt x="389" y="1425"/>
                  </a:lnTo>
                  <a:lnTo>
                    <a:pt x="391" y="1424"/>
                  </a:lnTo>
                  <a:lnTo>
                    <a:pt x="391" y="1418"/>
                  </a:lnTo>
                  <a:lnTo>
                    <a:pt x="392" y="1417"/>
                  </a:lnTo>
                  <a:lnTo>
                    <a:pt x="394" y="1414"/>
                  </a:lnTo>
                  <a:lnTo>
                    <a:pt x="394" y="1411"/>
                  </a:lnTo>
                  <a:lnTo>
                    <a:pt x="394" y="1408"/>
                  </a:lnTo>
                  <a:lnTo>
                    <a:pt x="395" y="1395"/>
                  </a:lnTo>
                  <a:lnTo>
                    <a:pt x="394" y="1393"/>
                  </a:lnTo>
                  <a:lnTo>
                    <a:pt x="389" y="1389"/>
                  </a:lnTo>
                  <a:lnTo>
                    <a:pt x="389" y="1387"/>
                  </a:lnTo>
                  <a:lnTo>
                    <a:pt x="386" y="1382"/>
                  </a:lnTo>
                  <a:lnTo>
                    <a:pt x="386" y="1379"/>
                  </a:lnTo>
                  <a:lnTo>
                    <a:pt x="386" y="1377"/>
                  </a:lnTo>
                  <a:lnTo>
                    <a:pt x="386" y="1374"/>
                  </a:lnTo>
                  <a:lnTo>
                    <a:pt x="388" y="1374"/>
                  </a:lnTo>
                  <a:lnTo>
                    <a:pt x="388" y="1373"/>
                  </a:lnTo>
                  <a:lnTo>
                    <a:pt x="391" y="1371"/>
                  </a:lnTo>
                  <a:lnTo>
                    <a:pt x="401" y="1344"/>
                  </a:lnTo>
                  <a:lnTo>
                    <a:pt x="404" y="1332"/>
                  </a:lnTo>
                  <a:lnTo>
                    <a:pt x="405" y="1318"/>
                  </a:lnTo>
                  <a:lnTo>
                    <a:pt x="404" y="1312"/>
                  </a:lnTo>
                  <a:lnTo>
                    <a:pt x="404" y="1306"/>
                  </a:lnTo>
                  <a:lnTo>
                    <a:pt x="394" y="1284"/>
                  </a:lnTo>
                  <a:lnTo>
                    <a:pt x="381" y="1221"/>
                  </a:lnTo>
                  <a:lnTo>
                    <a:pt x="375" y="1202"/>
                  </a:lnTo>
                  <a:lnTo>
                    <a:pt x="373" y="1200"/>
                  </a:lnTo>
                  <a:lnTo>
                    <a:pt x="369" y="1192"/>
                  </a:lnTo>
                  <a:lnTo>
                    <a:pt x="364" y="1184"/>
                  </a:lnTo>
                  <a:lnTo>
                    <a:pt x="357" y="1170"/>
                  </a:lnTo>
                  <a:lnTo>
                    <a:pt x="357" y="1169"/>
                  </a:lnTo>
                  <a:lnTo>
                    <a:pt x="357" y="1169"/>
                  </a:lnTo>
                  <a:lnTo>
                    <a:pt x="356" y="1169"/>
                  </a:lnTo>
                  <a:lnTo>
                    <a:pt x="356" y="1169"/>
                  </a:lnTo>
                  <a:lnTo>
                    <a:pt x="356" y="1169"/>
                  </a:lnTo>
                  <a:lnTo>
                    <a:pt x="354" y="1169"/>
                  </a:lnTo>
                  <a:lnTo>
                    <a:pt x="353" y="1169"/>
                  </a:lnTo>
                  <a:lnTo>
                    <a:pt x="350" y="1163"/>
                  </a:lnTo>
                  <a:lnTo>
                    <a:pt x="369" y="1136"/>
                  </a:lnTo>
                  <a:lnTo>
                    <a:pt x="372" y="1134"/>
                  </a:lnTo>
                  <a:lnTo>
                    <a:pt x="370" y="1131"/>
                  </a:lnTo>
                  <a:lnTo>
                    <a:pt x="370" y="1130"/>
                  </a:lnTo>
                  <a:lnTo>
                    <a:pt x="370" y="1127"/>
                  </a:lnTo>
                  <a:lnTo>
                    <a:pt x="372" y="1122"/>
                  </a:lnTo>
                  <a:lnTo>
                    <a:pt x="373" y="1121"/>
                  </a:lnTo>
                  <a:lnTo>
                    <a:pt x="376" y="1118"/>
                  </a:lnTo>
                  <a:lnTo>
                    <a:pt x="379" y="1117"/>
                  </a:lnTo>
                  <a:lnTo>
                    <a:pt x="379" y="1115"/>
                  </a:lnTo>
                  <a:lnTo>
                    <a:pt x="383" y="1115"/>
                  </a:lnTo>
                  <a:lnTo>
                    <a:pt x="391" y="1114"/>
                  </a:lnTo>
                  <a:lnTo>
                    <a:pt x="391" y="1114"/>
                  </a:lnTo>
                  <a:lnTo>
                    <a:pt x="394" y="1111"/>
                  </a:lnTo>
                  <a:lnTo>
                    <a:pt x="398" y="1108"/>
                  </a:lnTo>
                  <a:lnTo>
                    <a:pt x="399" y="1108"/>
                  </a:lnTo>
                  <a:lnTo>
                    <a:pt x="401" y="1108"/>
                  </a:lnTo>
                  <a:lnTo>
                    <a:pt x="402" y="1108"/>
                  </a:lnTo>
                  <a:lnTo>
                    <a:pt x="402" y="1108"/>
                  </a:lnTo>
                  <a:lnTo>
                    <a:pt x="404" y="1109"/>
                  </a:lnTo>
                  <a:lnTo>
                    <a:pt x="404" y="1109"/>
                  </a:lnTo>
                  <a:lnTo>
                    <a:pt x="404" y="1111"/>
                  </a:lnTo>
                  <a:lnTo>
                    <a:pt x="405" y="1112"/>
                  </a:lnTo>
                  <a:lnTo>
                    <a:pt x="405" y="1115"/>
                  </a:lnTo>
                  <a:lnTo>
                    <a:pt x="405" y="1117"/>
                  </a:lnTo>
                  <a:lnTo>
                    <a:pt x="405" y="1117"/>
                  </a:lnTo>
                  <a:lnTo>
                    <a:pt x="407" y="1118"/>
                  </a:lnTo>
                  <a:lnTo>
                    <a:pt x="407" y="1118"/>
                  </a:lnTo>
                  <a:lnTo>
                    <a:pt x="408" y="1118"/>
                  </a:lnTo>
                  <a:lnTo>
                    <a:pt x="410" y="1120"/>
                  </a:lnTo>
                  <a:lnTo>
                    <a:pt x="443" y="1098"/>
                  </a:lnTo>
                  <a:lnTo>
                    <a:pt x="445" y="1092"/>
                  </a:lnTo>
                  <a:lnTo>
                    <a:pt x="445" y="1092"/>
                  </a:lnTo>
                  <a:lnTo>
                    <a:pt x="445" y="1090"/>
                  </a:lnTo>
                  <a:lnTo>
                    <a:pt x="448" y="1088"/>
                  </a:lnTo>
                  <a:lnTo>
                    <a:pt x="449" y="1088"/>
                  </a:lnTo>
                  <a:lnTo>
                    <a:pt x="449" y="1086"/>
                  </a:lnTo>
                  <a:lnTo>
                    <a:pt x="452" y="1086"/>
                  </a:lnTo>
                  <a:lnTo>
                    <a:pt x="465" y="1085"/>
                  </a:lnTo>
                  <a:lnTo>
                    <a:pt x="466" y="1085"/>
                  </a:lnTo>
                  <a:lnTo>
                    <a:pt x="466" y="1085"/>
                  </a:lnTo>
                  <a:lnTo>
                    <a:pt x="466" y="1083"/>
                  </a:lnTo>
                  <a:lnTo>
                    <a:pt x="465" y="1083"/>
                  </a:lnTo>
                  <a:lnTo>
                    <a:pt x="465" y="1082"/>
                  </a:lnTo>
                  <a:lnTo>
                    <a:pt x="465" y="1082"/>
                  </a:lnTo>
                  <a:lnTo>
                    <a:pt x="465" y="1080"/>
                  </a:lnTo>
                  <a:lnTo>
                    <a:pt x="465" y="1079"/>
                  </a:lnTo>
                  <a:lnTo>
                    <a:pt x="468" y="1069"/>
                  </a:lnTo>
                  <a:lnTo>
                    <a:pt x="469" y="1066"/>
                  </a:lnTo>
                  <a:lnTo>
                    <a:pt x="469" y="1063"/>
                  </a:lnTo>
                  <a:lnTo>
                    <a:pt x="468" y="1060"/>
                  </a:lnTo>
                  <a:lnTo>
                    <a:pt x="468" y="1057"/>
                  </a:lnTo>
                  <a:lnTo>
                    <a:pt x="468" y="1056"/>
                  </a:lnTo>
                  <a:lnTo>
                    <a:pt x="466" y="1053"/>
                  </a:lnTo>
                  <a:lnTo>
                    <a:pt x="465" y="1051"/>
                  </a:lnTo>
                  <a:lnTo>
                    <a:pt x="465" y="1050"/>
                  </a:lnTo>
                  <a:lnTo>
                    <a:pt x="465" y="1048"/>
                  </a:lnTo>
                  <a:lnTo>
                    <a:pt x="464" y="1047"/>
                  </a:lnTo>
                  <a:lnTo>
                    <a:pt x="465" y="1045"/>
                  </a:lnTo>
                  <a:lnTo>
                    <a:pt x="465" y="1044"/>
                  </a:lnTo>
                  <a:lnTo>
                    <a:pt x="466" y="1044"/>
                  </a:lnTo>
                  <a:lnTo>
                    <a:pt x="469" y="1042"/>
                  </a:lnTo>
                  <a:lnTo>
                    <a:pt x="471" y="1041"/>
                  </a:lnTo>
                  <a:lnTo>
                    <a:pt x="472" y="1039"/>
                  </a:lnTo>
                  <a:lnTo>
                    <a:pt x="472" y="1038"/>
                  </a:lnTo>
                  <a:lnTo>
                    <a:pt x="472" y="1037"/>
                  </a:lnTo>
                  <a:lnTo>
                    <a:pt x="471" y="1035"/>
                  </a:lnTo>
                  <a:lnTo>
                    <a:pt x="471" y="1035"/>
                  </a:lnTo>
                  <a:lnTo>
                    <a:pt x="468" y="1034"/>
                  </a:lnTo>
                  <a:lnTo>
                    <a:pt x="465" y="1032"/>
                  </a:lnTo>
                  <a:lnTo>
                    <a:pt x="464" y="1029"/>
                  </a:lnTo>
                  <a:lnTo>
                    <a:pt x="462" y="1028"/>
                  </a:lnTo>
                  <a:lnTo>
                    <a:pt x="461" y="1026"/>
                  </a:lnTo>
                  <a:lnTo>
                    <a:pt x="458" y="1026"/>
                  </a:lnTo>
                  <a:lnTo>
                    <a:pt x="456" y="1025"/>
                  </a:lnTo>
                  <a:lnTo>
                    <a:pt x="456" y="1025"/>
                  </a:lnTo>
                  <a:lnTo>
                    <a:pt x="455" y="1023"/>
                  </a:lnTo>
                  <a:lnTo>
                    <a:pt x="455" y="1021"/>
                  </a:lnTo>
                  <a:lnTo>
                    <a:pt x="455" y="1021"/>
                  </a:lnTo>
                  <a:lnTo>
                    <a:pt x="453" y="1019"/>
                  </a:lnTo>
                  <a:lnTo>
                    <a:pt x="452" y="1018"/>
                  </a:lnTo>
                  <a:lnTo>
                    <a:pt x="450" y="1016"/>
                  </a:lnTo>
                  <a:lnTo>
                    <a:pt x="450" y="1012"/>
                  </a:lnTo>
                  <a:lnTo>
                    <a:pt x="450" y="1006"/>
                  </a:lnTo>
                  <a:lnTo>
                    <a:pt x="450" y="1005"/>
                  </a:lnTo>
                  <a:lnTo>
                    <a:pt x="450" y="1005"/>
                  </a:lnTo>
                  <a:lnTo>
                    <a:pt x="455" y="1002"/>
                  </a:lnTo>
                  <a:lnTo>
                    <a:pt x="456" y="996"/>
                  </a:lnTo>
                  <a:lnTo>
                    <a:pt x="458" y="994"/>
                  </a:lnTo>
                  <a:lnTo>
                    <a:pt x="459" y="994"/>
                  </a:lnTo>
                  <a:lnTo>
                    <a:pt x="461" y="996"/>
                  </a:lnTo>
                  <a:lnTo>
                    <a:pt x="465" y="1000"/>
                  </a:lnTo>
                  <a:lnTo>
                    <a:pt x="466" y="1002"/>
                  </a:lnTo>
                  <a:lnTo>
                    <a:pt x="468" y="1002"/>
                  </a:lnTo>
                  <a:lnTo>
                    <a:pt x="469" y="1002"/>
                  </a:lnTo>
                  <a:lnTo>
                    <a:pt x="477" y="1002"/>
                  </a:lnTo>
                  <a:lnTo>
                    <a:pt x="478" y="1002"/>
                  </a:lnTo>
                  <a:lnTo>
                    <a:pt x="480" y="1003"/>
                  </a:lnTo>
                  <a:lnTo>
                    <a:pt x="481" y="1010"/>
                  </a:lnTo>
                  <a:lnTo>
                    <a:pt x="484" y="1013"/>
                  </a:lnTo>
                  <a:lnTo>
                    <a:pt x="485" y="1015"/>
                  </a:lnTo>
                  <a:lnTo>
                    <a:pt x="485" y="1015"/>
                  </a:lnTo>
                  <a:lnTo>
                    <a:pt x="487" y="1015"/>
                  </a:lnTo>
                  <a:lnTo>
                    <a:pt x="488" y="1013"/>
                  </a:lnTo>
                  <a:lnTo>
                    <a:pt x="503" y="996"/>
                  </a:lnTo>
                  <a:lnTo>
                    <a:pt x="506" y="994"/>
                  </a:lnTo>
                  <a:lnTo>
                    <a:pt x="507" y="994"/>
                  </a:lnTo>
                  <a:lnTo>
                    <a:pt x="509" y="994"/>
                  </a:lnTo>
                  <a:lnTo>
                    <a:pt x="510" y="994"/>
                  </a:lnTo>
                  <a:lnTo>
                    <a:pt x="510" y="997"/>
                  </a:lnTo>
                  <a:lnTo>
                    <a:pt x="510" y="997"/>
                  </a:lnTo>
                  <a:lnTo>
                    <a:pt x="510" y="999"/>
                  </a:lnTo>
                  <a:lnTo>
                    <a:pt x="509" y="999"/>
                  </a:lnTo>
                  <a:lnTo>
                    <a:pt x="507" y="1000"/>
                  </a:lnTo>
                  <a:lnTo>
                    <a:pt x="509" y="1002"/>
                  </a:lnTo>
                  <a:lnTo>
                    <a:pt x="509" y="1003"/>
                  </a:lnTo>
                  <a:lnTo>
                    <a:pt x="507" y="1006"/>
                  </a:lnTo>
                  <a:lnTo>
                    <a:pt x="506" y="1007"/>
                  </a:lnTo>
                  <a:lnTo>
                    <a:pt x="506" y="1007"/>
                  </a:lnTo>
                  <a:lnTo>
                    <a:pt x="506" y="1009"/>
                  </a:lnTo>
                  <a:lnTo>
                    <a:pt x="506" y="1010"/>
                  </a:lnTo>
                  <a:lnTo>
                    <a:pt x="507" y="1012"/>
                  </a:lnTo>
                  <a:lnTo>
                    <a:pt x="507" y="1013"/>
                  </a:lnTo>
                  <a:lnTo>
                    <a:pt x="507" y="1013"/>
                  </a:lnTo>
                  <a:lnTo>
                    <a:pt x="509" y="1013"/>
                  </a:lnTo>
                  <a:lnTo>
                    <a:pt x="513" y="1010"/>
                  </a:lnTo>
                  <a:lnTo>
                    <a:pt x="528" y="997"/>
                  </a:lnTo>
                  <a:lnTo>
                    <a:pt x="522" y="986"/>
                  </a:lnTo>
                  <a:lnTo>
                    <a:pt x="520" y="981"/>
                  </a:lnTo>
                  <a:lnTo>
                    <a:pt x="520" y="978"/>
                  </a:lnTo>
                  <a:lnTo>
                    <a:pt x="519" y="978"/>
                  </a:lnTo>
                  <a:lnTo>
                    <a:pt x="519" y="977"/>
                  </a:lnTo>
                  <a:lnTo>
                    <a:pt x="516" y="978"/>
                  </a:lnTo>
                  <a:lnTo>
                    <a:pt x="509" y="974"/>
                  </a:lnTo>
                  <a:lnTo>
                    <a:pt x="507" y="971"/>
                  </a:lnTo>
                  <a:lnTo>
                    <a:pt x="507" y="971"/>
                  </a:lnTo>
                  <a:lnTo>
                    <a:pt x="506" y="970"/>
                  </a:lnTo>
                  <a:lnTo>
                    <a:pt x="506" y="967"/>
                  </a:lnTo>
                  <a:lnTo>
                    <a:pt x="506" y="964"/>
                  </a:lnTo>
                  <a:lnTo>
                    <a:pt x="506" y="964"/>
                  </a:lnTo>
                  <a:lnTo>
                    <a:pt x="506" y="962"/>
                  </a:lnTo>
                  <a:lnTo>
                    <a:pt x="507" y="961"/>
                  </a:lnTo>
                  <a:lnTo>
                    <a:pt x="507" y="959"/>
                  </a:lnTo>
                  <a:lnTo>
                    <a:pt x="507" y="959"/>
                  </a:lnTo>
                  <a:lnTo>
                    <a:pt x="509" y="958"/>
                  </a:lnTo>
                  <a:lnTo>
                    <a:pt x="509" y="956"/>
                  </a:lnTo>
                  <a:lnTo>
                    <a:pt x="509" y="954"/>
                  </a:lnTo>
                  <a:lnTo>
                    <a:pt x="509" y="948"/>
                  </a:lnTo>
                  <a:lnTo>
                    <a:pt x="509" y="943"/>
                  </a:lnTo>
                  <a:lnTo>
                    <a:pt x="509" y="942"/>
                  </a:lnTo>
                  <a:lnTo>
                    <a:pt x="510" y="940"/>
                  </a:lnTo>
                  <a:lnTo>
                    <a:pt x="513" y="939"/>
                  </a:lnTo>
                  <a:lnTo>
                    <a:pt x="513" y="938"/>
                  </a:lnTo>
                  <a:lnTo>
                    <a:pt x="515" y="936"/>
                  </a:lnTo>
                  <a:lnTo>
                    <a:pt x="515" y="935"/>
                  </a:lnTo>
                  <a:lnTo>
                    <a:pt x="516" y="930"/>
                  </a:lnTo>
                  <a:lnTo>
                    <a:pt x="516" y="927"/>
                  </a:lnTo>
                  <a:lnTo>
                    <a:pt x="516" y="926"/>
                  </a:lnTo>
                  <a:lnTo>
                    <a:pt x="515" y="926"/>
                  </a:lnTo>
                  <a:lnTo>
                    <a:pt x="515" y="924"/>
                  </a:lnTo>
                  <a:lnTo>
                    <a:pt x="512" y="920"/>
                  </a:lnTo>
                  <a:lnTo>
                    <a:pt x="512" y="919"/>
                  </a:lnTo>
                  <a:lnTo>
                    <a:pt x="512" y="917"/>
                  </a:lnTo>
                  <a:lnTo>
                    <a:pt x="512" y="917"/>
                  </a:lnTo>
                  <a:lnTo>
                    <a:pt x="513" y="914"/>
                  </a:lnTo>
                  <a:lnTo>
                    <a:pt x="513" y="913"/>
                  </a:lnTo>
                  <a:lnTo>
                    <a:pt x="513" y="911"/>
                  </a:lnTo>
                  <a:lnTo>
                    <a:pt x="515" y="898"/>
                  </a:lnTo>
                  <a:lnTo>
                    <a:pt x="515" y="894"/>
                  </a:lnTo>
                  <a:lnTo>
                    <a:pt x="515" y="892"/>
                  </a:lnTo>
                  <a:lnTo>
                    <a:pt x="513" y="891"/>
                  </a:lnTo>
                  <a:lnTo>
                    <a:pt x="512" y="888"/>
                  </a:lnTo>
                  <a:lnTo>
                    <a:pt x="510" y="888"/>
                  </a:lnTo>
                  <a:lnTo>
                    <a:pt x="512" y="887"/>
                  </a:lnTo>
                  <a:lnTo>
                    <a:pt x="512" y="887"/>
                  </a:lnTo>
                  <a:lnTo>
                    <a:pt x="516" y="885"/>
                  </a:lnTo>
                  <a:lnTo>
                    <a:pt x="517" y="885"/>
                  </a:lnTo>
                  <a:lnTo>
                    <a:pt x="519" y="884"/>
                  </a:lnTo>
                  <a:lnTo>
                    <a:pt x="519" y="882"/>
                  </a:lnTo>
                  <a:lnTo>
                    <a:pt x="519" y="881"/>
                  </a:lnTo>
                  <a:lnTo>
                    <a:pt x="517" y="875"/>
                  </a:lnTo>
                  <a:lnTo>
                    <a:pt x="516" y="872"/>
                  </a:lnTo>
                  <a:lnTo>
                    <a:pt x="516" y="871"/>
                  </a:lnTo>
                  <a:lnTo>
                    <a:pt x="515" y="869"/>
                  </a:lnTo>
                  <a:lnTo>
                    <a:pt x="515" y="868"/>
                  </a:lnTo>
                  <a:lnTo>
                    <a:pt x="512" y="866"/>
                  </a:lnTo>
                  <a:lnTo>
                    <a:pt x="512" y="865"/>
                  </a:lnTo>
                  <a:lnTo>
                    <a:pt x="510" y="860"/>
                  </a:lnTo>
                  <a:lnTo>
                    <a:pt x="509" y="860"/>
                  </a:lnTo>
                  <a:lnTo>
                    <a:pt x="509" y="859"/>
                  </a:lnTo>
                  <a:lnTo>
                    <a:pt x="509" y="859"/>
                  </a:lnTo>
                  <a:lnTo>
                    <a:pt x="507" y="857"/>
                  </a:lnTo>
                  <a:lnTo>
                    <a:pt x="503" y="853"/>
                  </a:lnTo>
                  <a:lnTo>
                    <a:pt x="500" y="847"/>
                  </a:lnTo>
                  <a:lnTo>
                    <a:pt x="485" y="836"/>
                  </a:lnTo>
                  <a:lnTo>
                    <a:pt x="484" y="833"/>
                  </a:lnTo>
                  <a:lnTo>
                    <a:pt x="482" y="827"/>
                  </a:lnTo>
                  <a:lnTo>
                    <a:pt x="481" y="824"/>
                  </a:lnTo>
                  <a:lnTo>
                    <a:pt x="480" y="823"/>
                  </a:lnTo>
                  <a:lnTo>
                    <a:pt x="480" y="821"/>
                  </a:lnTo>
                  <a:lnTo>
                    <a:pt x="475" y="821"/>
                  </a:lnTo>
                  <a:lnTo>
                    <a:pt x="474" y="821"/>
                  </a:lnTo>
                  <a:lnTo>
                    <a:pt x="474" y="821"/>
                  </a:lnTo>
                  <a:lnTo>
                    <a:pt x="468" y="817"/>
                  </a:lnTo>
                  <a:lnTo>
                    <a:pt x="466" y="817"/>
                  </a:lnTo>
                  <a:lnTo>
                    <a:pt x="465" y="817"/>
                  </a:lnTo>
                  <a:lnTo>
                    <a:pt x="462" y="817"/>
                  </a:lnTo>
                  <a:lnTo>
                    <a:pt x="461" y="817"/>
                  </a:lnTo>
                  <a:lnTo>
                    <a:pt x="455" y="814"/>
                  </a:lnTo>
                  <a:lnTo>
                    <a:pt x="452" y="812"/>
                  </a:lnTo>
                  <a:lnTo>
                    <a:pt x="452" y="812"/>
                  </a:lnTo>
                  <a:lnTo>
                    <a:pt x="452" y="811"/>
                  </a:lnTo>
                  <a:lnTo>
                    <a:pt x="452" y="811"/>
                  </a:lnTo>
                  <a:lnTo>
                    <a:pt x="452" y="809"/>
                  </a:lnTo>
                  <a:lnTo>
                    <a:pt x="452" y="808"/>
                  </a:lnTo>
                  <a:lnTo>
                    <a:pt x="453" y="807"/>
                  </a:lnTo>
                  <a:lnTo>
                    <a:pt x="453" y="804"/>
                  </a:lnTo>
                  <a:lnTo>
                    <a:pt x="448" y="799"/>
                  </a:lnTo>
                  <a:lnTo>
                    <a:pt x="446" y="796"/>
                  </a:lnTo>
                  <a:lnTo>
                    <a:pt x="446" y="796"/>
                  </a:lnTo>
                  <a:lnTo>
                    <a:pt x="446" y="795"/>
                  </a:lnTo>
                  <a:lnTo>
                    <a:pt x="448" y="793"/>
                  </a:lnTo>
                  <a:lnTo>
                    <a:pt x="448" y="792"/>
                  </a:lnTo>
                  <a:lnTo>
                    <a:pt x="448" y="791"/>
                  </a:lnTo>
                  <a:lnTo>
                    <a:pt x="446" y="791"/>
                  </a:lnTo>
                  <a:lnTo>
                    <a:pt x="445" y="789"/>
                  </a:lnTo>
                  <a:lnTo>
                    <a:pt x="442" y="789"/>
                  </a:lnTo>
                  <a:lnTo>
                    <a:pt x="437" y="786"/>
                  </a:lnTo>
                  <a:lnTo>
                    <a:pt x="436" y="785"/>
                  </a:lnTo>
                  <a:lnTo>
                    <a:pt x="436" y="785"/>
                  </a:lnTo>
                  <a:lnTo>
                    <a:pt x="436" y="783"/>
                  </a:lnTo>
                  <a:lnTo>
                    <a:pt x="437" y="783"/>
                  </a:lnTo>
                  <a:lnTo>
                    <a:pt x="437" y="782"/>
                  </a:lnTo>
                  <a:lnTo>
                    <a:pt x="439" y="782"/>
                  </a:lnTo>
                  <a:lnTo>
                    <a:pt x="440" y="783"/>
                  </a:lnTo>
                  <a:lnTo>
                    <a:pt x="442" y="783"/>
                  </a:lnTo>
                  <a:lnTo>
                    <a:pt x="442" y="782"/>
                  </a:lnTo>
                  <a:lnTo>
                    <a:pt x="443" y="782"/>
                  </a:lnTo>
                  <a:lnTo>
                    <a:pt x="443" y="782"/>
                  </a:lnTo>
                  <a:lnTo>
                    <a:pt x="445" y="780"/>
                  </a:lnTo>
                  <a:lnTo>
                    <a:pt x="445" y="780"/>
                  </a:lnTo>
                  <a:lnTo>
                    <a:pt x="445" y="777"/>
                  </a:lnTo>
                  <a:lnTo>
                    <a:pt x="446" y="777"/>
                  </a:lnTo>
                  <a:lnTo>
                    <a:pt x="446" y="776"/>
                  </a:lnTo>
                  <a:lnTo>
                    <a:pt x="446" y="776"/>
                  </a:lnTo>
                  <a:lnTo>
                    <a:pt x="448" y="775"/>
                  </a:lnTo>
                  <a:lnTo>
                    <a:pt x="448" y="772"/>
                  </a:lnTo>
                  <a:lnTo>
                    <a:pt x="449" y="766"/>
                  </a:lnTo>
                  <a:lnTo>
                    <a:pt x="448" y="763"/>
                  </a:lnTo>
                  <a:lnTo>
                    <a:pt x="448" y="760"/>
                  </a:lnTo>
                  <a:lnTo>
                    <a:pt x="448" y="760"/>
                  </a:lnTo>
                  <a:lnTo>
                    <a:pt x="442" y="754"/>
                  </a:lnTo>
                  <a:lnTo>
                    <a:pt x="440" y="754"/>
                  </a:lnTo>
                  <a:lnTo>
                    <a:pt x="440" y="754"/>
                  </a:lnTo>
                  <a:lnTo>
                    <a:pt x="439" y="754"/>
                  </a:lnTo>
                  <a:lnTo>
                    <a:pt x="439" y="754"/>
                  </a:lnTo>
                  <a:lnTo>
                    <a:pt x="437" y="754"/>
                  </a:lnTo>
                  <a:lnTo>
                    <a:pt x="434" y="757"/>
                  </a:lnTo>
                  <a:lnTo>
                    <a:pt x="433" y="757"/>
                  </a:lnTo>
                  <a:lnTo>
                    <a:pt x="432" y="757"/>
                  </a:lnTo>
                  <a:lnTo>
                    <a:pt x="427" y="751"/>
                  </a:lnTo>
                  <a:lnTo>
                    <a:pt x="420" y="742"/>
                  </a:lnTo>
                  <a:lnTo>
                    <a:pt x="418" y="740"/>
                  </a:lnTo>
                  <a:lnTo>
                    <a:pt x="417" y="740"/>
                  </a:lnTo>
                  <a:lnTo>
                    <a:pt x="411" y="735"/>
                  </a:lnTo>
                  <a:lnTo>
                    <a:pt x="408" y="732"/>
                  </a:lnTo>
                  <a:lnTo>
                    <a:pt x="407" y="731"/>
                  </a:lnTo>
                  <a:lnTo>
                    <a:pt x="407" y="729"/>
                  </a:lnTo>
                  <a:lnTo>
                    <a:pt x="408" y="729"/>
                  </a:lnTo>
                  <a:lnTo>
                    <a:pt x="408" y="729"/>
                  </a:lnTo>
                  <a:lnTo>
                    <a:pt x="410" y="729"/>
                  </a:lnTo>
                  <a:lnTo>
                    <a:pt x="411" y="728"/>
                  </a:lnTo>
                  <a:lnTo>
                    <a:pt x="411" y="728"/>
                  </a:lnTo>
                  <a:lnTo>
                    <a:pt x="413" y="726"/>
                  </a:lnTo>
                  <a:lnTo>
                    <a:pt x="411" y="725"/>
                  </a:lnTo>
                  <a:lnTo>
                    <a:pt x="411" y="724"/>
                  </a:lnTo>
                  <a:lnTo>
                    <a:pt x="408" y="721"/>
                  </a:lnTo>
                  <a:lnTo>
                    <a:pt x="407" y="719"/>
                  </a:lnTo>
                  <a:lnTo>
                    <a:pt x="407" y="718"/>
                  </a:lnTo>
                  <a:lnTo>
                    <a:pt x="407" y="715"/>
                  </a:lnTo>
                  <a:lnTo>
                    <a:pt x="407" y="713"/>
                  </a:lnTo>
                  <a:lnTo>
                    <a:pt x="407" y="709"/>
                  </a:lnTo>
                  <a:lnTo>
                    <a:pt x="407" y="706"/>
                  </a:lnTo>
                  <a:lnTo>
                    <a:pt x="407" y="706"/>
                  </a:lnTo>
                  <a:lnTo>
                    <a:pt x="401" y="700"/>
                  </a:lnTo>
                  <a:lnTo>
                    <a:pt x="401" y="699"/>
                  </a:lnTo>
                  <a:lnTo>
                    <a:pt x="399" y="697"/>
                  </a:lnTo>
                  <a:lnTo>
                    <a:pt x="401" y="696"/>
                  </a:lnTo>
                  <a:lnTo>
                    <a:pt x="401" y="694"/>
                  </a:lnTo>
                  <a:lnTo>
                    <a:pt x="401" y="694"/>
                  </a:lnTo>
                  <a:lnTo>
                    <a:pt x="402" y="694"/>
                  </a:lnTo>
                  <a:lnTo>
                    <a:pt x="404" y="696"/>
                  </a:lnTo>
                  <a:lnTo>
                    <a:pt x="405" y="696"/>
                  </a:lnTo>
                  <a:lnTo>
                    <a:pt x="408" y="697"/>
                  </a:lnTo>
                  <a:lnTo>
                    <a:pt x="410" y="697"/>
                  </a:lnTo>
                  <a:lnTo>
                    <a:pt x="411" y="697"/>
                  </a:lnTo>
                  <a:lnTo>
                    <a:pt x="411" y="696"/>
                  </a:lnTo>
                  <a:lnTo>
                    <a:pt x="411" y="693"/>
                  </a:lnTo>
                  <a:lnTo>
                    <a:pt x="411" y="690"/>
                  </a:lnTo>
                  <a:lnTo>
                    <a:pt x="408" y="684"/>
                  </a:lnTo>
                  <a:lnTo>
                    <a:pt x="407" y="681"/>
                  </a:lnTo>
                  <a:lnTo>
                    <a:pt x="407" y="680"/>
                  </a:lnTo>
                  <a:lnTo>
                    <a:pt x="410" y="673"/>
                  </a:lnTo>
                  <a:lnTo>
                    <a:pt x="410" y="671"/>
                  </a:lnTo>
                  <a:lnTo>
                    <a:pt x="410" y="670"/>
                  </a:lnTo>
                  <a:lnTo>
                    <a:pt x="408" y="670"/>
                  </a:lnTo>
                  <a:lnTo>
                    <a:pt x="408" y="668"/>
                  </a:lnTo>
                  <a:lnTo>
                    <a:pt x="407" y="668"/>
                  </a:lnTo>
                  <a:lnTo>
                    <a:pt x="405" y="668"/>
                  </a:lnTo>
                  <a:lnTo>
                    <a:pt x="404" y="667"/>
                  </a:lnTo>
                  <a:lnTo>
                    <a:pt x="402" y="665"/>
                  </a:lnTo>
                  <a:lnTo>
                    <a:pt x="398" y="661"/>
                  </a:lnTo>
                  <a:lnTo>
                    <a:pt x="398" y="658"/>
                  </a:lnTo>
                  <a:lnTo>
                    <a:pt x="398" y="654"/>
                  </a:lnTo>
                  <a:lnTo>
                    <a:pt x="398" y="652"/>
                  </a:lnTo>
                  <a:lnTo>
                    <a:pt x="398" y="642"/>
                  </a:lnTo>
                  <a:lnTo>
                    <a:pt x="405" y="635"/>
                  </a:lnTo>
                  <a:lnTo>
                    <a:pt x="407" y="635"/>
                  </a:lnTo>
                  <a:lnTo>
                    <a:pt x="408" y="635"/>
                  </a:lnTo>
                  <a:lnTo>
                    <a:pt x="411" y="636"/>
                  </a:lnTo>
                  <a:lnTo>
                    <a:pt x="413" y="636"/>
                  </a:lnTo>
                  <a:lnTo>
                    <a:pt x="415" y="638"/>
                  </a:lnTo>
                  <a:lnTo>
                    <a:pt x="415" y="636"/>
                  </a:lnTo>
                  <a:lnTo>
                    <a:pt x="415" y="635"/>
                  </a:lnTo>
                  <a:lnTo>
                    <a:pt x="405" y="610"/>
                  </a:lnTo>
                  <a:lnTo>
                    <a:pt x="405" y="609"/>
                  </a:lnTo>
                  <a:lnTo>
                    <a:pt x="404" y="609"/>
                  </a:lnTo>
                  <a:lnTo>
                    <a:pt x="402" y="607"/>
                  </a:lnTo>
                  <a:lnTo>
                    <a:pt x="397" y="606"/>
                  </a:lnTo>
                  <a:lnTo>
                    <a:pt x="395" y="604"/>
                  </a:lnTo>
                  <a:lnTo>
                    <a:pt x="395" y="603"/>
                  </a:lnTo>
                  <a:lnTo>
                    <a:pt x="397" y="601"/>
                  </a:lnTo>
                  <a:lnTo>
                    <a:pt x="398" y="600"/>
                  </a:lnTo>
                  <a:lnTo>
                    <a:pt x="399" y="597"/>
                  </a:lnTo>
                  <a:lnTo>
                    <a:pt x="402" y="588"/>
                  </a:lnTo>
                  <a:lnTo>
                    <a:pt x="398" y="579"/>
                  </a:lnTo>
                  <a:lnTo>
                    <a:pt x="398" y="578"/>
                  </a:lnTo>
                  <a:lnTo>
                    <a:pt x="398" y="576"/>
                  </a:lnTo>
                  <a:lnTo>
                    <a:pt x="399" y="574"/>
                  </a:lnTo>
                  <a:lnTo>
                    <a:pt x="401" y="571"/>
                  </a:lnTo>
                  <a:lnTo>
                    <a:pt x="401" y="569"/>
                  </a:lnTo>
                  <a:lnTo>
                    <a:pt x="401" y="568"/>
                  </a:lnTo>
                  <a:lnTo>
                    <a:pt x="399" y="566"/>
                  </a:lnTo>
                  <a:lnTo>
                    <a:pt x="398" y="565"/>
                  </a:lnTo>
                  <a:lnTo>
                    <a:pt x="397" y="565"/>
                  </a:lnTo>
                  <a:lnTo>
                    <a:pt x="397" y="565"/>
                  </a:lnTo>
                  <a:lnTo>
                    <a:pt x="395" y="565"/>
                  </a:lnTo>
                  <a:lnTo>
                    <a:pt x="394" y="565"/>
                  </a:lnTo>
                  <a:lnTo>
                    <a:pt x="392" y="565"/>
                  </a:lnTo>
                  <a:lnTo>
                    <a:pt x="391" y="563"/>
                  </a:lnTo>
                  <a:lnTo>
                    <a:pt x="389" y="562"/>
                  </a:lnTo>
                  <a:lnTo>
                    <a:pt x="389" y="560"/>
                  </a:lnTo>
                  <a:lnTo>
                    <a:pt x="389" y="559"/>
                  </a:lnTo>
                  <a:lnTo>
                    <a:pt x="391" y="559"/>
                  </a:lnTo>
                  <a:lnTo>
                    <a:pt x="391" y="558"/>
                  </a:lnTo>
                  <a:lnTo>
                    <a:pt x="392" y="555"/>
                  </a:lnTo>
                  <a:lnTo>
                    <a:pt x="392" y="555"/>
                  </a:lnTo>
                  <a:lnTo>
                    <a:pt x="391" y="553"/>
                  </a:lnTo>
                  <a:lnTo>
                    <a:pt x="389" y="552"/>
                  </a:lnTo>
                  <a:lnTo>
                    <a:pt x="388" y="550"/>
                  </a:lnTo>
                  <a:lnTo>
                    <a:pt x="386" y="550"/>
                  </a:lnTo>
                  <a:lnTo>
                    <a:pt x="378" y="556"/>
                  </a:lnTo>
                  <a:lnTo>
                    <a:pt x="376" y="559"/>
                  </a:lnTo>
                  <a:lnTo>
                    <a:pt x="376" y="559"/>
                  </a:lnTo>
                  <a:lnTo>
                    <a:pt x="376" y="559"/>
                  </a:lnTo>
                  <a:lnTo>
                    <a:pt x="378" y="560"/>
                  </a:lnTo>
                  <a:lnTo>
                    <a:pt x="378" y="560"/>
                  </a:lnTo>
                  <a:lnTo>
                    <a:pt x="378" y="562"/>
                  </a:lnTo>
                  <a:lnTo>
                    <a:pt x="379" y="563"/>
                  </a:lnTo>
                  <a:lnTo>
                    <a:pt x="379" y="563"/>
                  </a:lnTo>
                  <a:lnTo>
                    <a:pt x="379" y="566"/>
                  </a:lnTo>
                  <a:lnTo>
                    <a:pt x="379" y="568"/>
                  </a:lnTo>
                  <a:lnTo>
                    <a:pt x="369" y="579"/>
                  </a:lnTo>
                  <a:lnTo>
                    <a:pt x="366" y="582"/>
                  </a:lnTo>
                  <a:lnTo>
                    <a:pt x="363" y="584"/>
                  </a:lnTo>
                  <a:lnTo>
                    <a:pt x="338" y="584"/>
                  </a:lnTo>
                  <a:lnTo>
                    <a:pt x="335" y="584"/>
                  </a:lnTo>
                  <a:lnTo>
                    <a:pt x="334" y="582"/>
                  </a:lnTo>
                  <a:lnTo>
                    <a:pt x="334" y="582"/>
                  </a:lnTo>
                  <a:lnTo>
                    <a:pt x="334" y="581"/>
                  </a:lnTo>
                  <a:lnTo>
                    <a:pt x="334" y="581"/>
                  </a:lnTo>
                  <a:lnTo>
                    <a:pt x="332" y="569"/>
                  </a:lnTo>
                  <a:lnTo>
                    <a:pt x="332" y="568"/>
                  </a:lnTo>
                  <a:lnTo>
                    <a:pt x="332" y="566"/>
                  </a:lnTo>
                  <a:lnTo>
                    <a:pt x="332" y="563"/>
                  </a:lnTo>
                  <a:lnTo>
                    <a:pt x="334" y="560"/>
                  </a:lnTo>
                  <a:lnTo>
                    <a:pt x="334" y="558"/>
                  </a:lnTo>
                  <a:lnTo>
                    <a:pt x="332" y="553"/>
                  </a:lnTo>
                  <a:lnTo>
                    <a:pt x="331" y="546"/>
                  </a:lnTo>
                  <a:lnTo>
                    <a:pt x="331" y="546"/>
                  </a:lnTo>
                  <a:lnTo>
                    <a:pt x="331" y="544"/>
                  </a:lnTo>
                  <a:lnTo>
                    <a:pt x="325" y="540"/>
                  </a:lnTo>
                  <a:lnTo>
                    <a:pt x="325" y="540"/>
                  </a:lnTo>
                  <a:lnTo>
                    <a:pt x="325" y="540"/>
                  </a:lnTo>
                  <a:lnTo>
                    <a:pt x="327" y="539"/>
                  </a:lnTo>
                  <a:lnTo>
                    <a:pt x="327" y="537"/>
                  </a:lnTo>
                  <a:lnTo>
                    <a:pt x="328" y="536"/>
                  </a:lnTo>
                  <a:lnTo>
                    <a:pt x="328" y="534"/>
                  </a:lnTo>
                  <a:lnTo>
                    <a:pt x="328" y="534"/>
                  </a:lnTo>
                  <a:lnTo>
                    <a:pt x="327" y="533"/>
                  </a:lnTo>
                  <a:lnTo>
                    <a:pt x="325" y="531"/>
                  </a:lnTo>
                  <a:lnTo>
                    <a:pt x="325" y="531"/>
                  </a:lnTo>
                  <a:lnTo>
                    <a:pt x="324" y="531"/>
                  </a:lnTo>
                  <a:lnTo>
                    <a:pt x="322" y="531"/>
                  </a:lnTo>
                  <a:lnTo>
                    <a:pt x="321" y="533"/>
                  </a:lnTo>
                  <a:lnTo>
                    <a:pt x="319" y="536"/>
                  </a:lnTo>
                  <a:lnTo>
                    <a:pt x="318" y="537"/>
                  </a:lnTo>
                  <a:lnTo>
                    <a:pt x="318" y="539"/>
                  </a:lnTo>
                  <a:lnTo>
                    <a:pt x="316" y="539"/>
                  </a:lnTo>
                  <a:lnTo>
                    <a:pt x="315" y="539"/>
                  </a:lnTo>
                  <a:lnTo>
                    <a:pt x="314" y="540"/>
                  </a:lnTo>
                  <a:lnTo>
                    <a:pt x="312" y="540"/>
                  </a:lnTo>
                  <a:lnTo>
                    <a:pt x="312" y="542"/>
                  </a:lnTo>
                  <a:lnTo>
                    <a:pt x="311" y="546"/>
                  </a:lnTo>
                  <a:lnTo>
                    <a:pt x="311" y="547"/>
                  </a:lnTo>
                  <a:lnTo>
                    <a:pt x="309" y="549"/>
                  </a:lnTo>
                  <a:lnTo>
                    <a:pt x="306" y="550"/>
                  </a:lnTo>
                  <a:lnTo>
                    <a:pt x="303" y="550"/>
                  </a:lnTo>
                  <a:lnTo>
                    <a:pt x="300" y="549"/>
                  </a:lnTo>
                  <a:lnTo>
                    <a:pt x="300" y="547"/>
                  </a:lnTo>
                  <a:lnTo>
                    <a:pt x="300" y="546"/>
                  </a:lnTo>
                  <a:lnTo>
                    <a:pt x="302" y="544"/>
                  </a:lnTo>
                  <a:lnTo>
                    <a:pt x="306" y="539"/>
                  </a:lnTo>
                  <a:lnTo>
                    <a:pt x="306" y="539"/>
                  </a:lnTo>
                  <a:lnTo>
                    <a:pt x="308" y="537"/>
                  </a:lnTo>
                  <a:lnTo>
                    <a:pt x="308" y="536"/>
                  </a:lnTo>
                  <a:lnTo>
                    <a:pt x="308" y="534"/>
                  </a:lnTo>
                  <a:lnTo>
                    <a:pt x="308" y="531"/>
                  </a:lnTo>
                  <a:lnTo>
                    <a:pt x="308" y="530"/>
                  </a:lnTo>
                  <a:lnTo>
                    <a:pt x="308" y="528"/>
                  </a:lnTo>
                  <a:lnTo>
                    <a:pt x="308" y="526"/>
                  </a:lnTo>
                  <a:lnTo>
                    <a:pt x="311" y="521"/>
                  </a:lnTo>
                  <a:lnTo>
                    <a:pt x="314" y="518"/>
                  </a:lnTo>
                  <a:lnTo>
                    <a:pt x="315" y="518"/>
                  </a:lnTo>
                  <a:lnTo>
                    <a:pt x="315" y="517"/>
                  </a:lnTo>
                  <a:lnTo>
                    <a:pt x="315" y="515"/>
                  </a:lnTo>
                  <a:lnTo>
                    <a:pt x="315" y="515"/>
                  </a:lnTo>
                  <a:lnTo>
                    <a:pt x="315" y="514"/>
                  </a:lnTo>
                  <a:lnTo>
                    <a:pt x="315" y="512"/>
                  </a:lnTo>
                  <a:lnTo>
                    <a:pt x="315" y="511"/>
                  </a:lnTo>
                  <a:lnTo>
                    <a:pt x="312" y="508"/>
                  </a:lnTo>
                  <a:lnTo>
                    <a:pt x="300" y="496"/>
                  </a:lnTo>
                  <a:lnTo>
                    <a:pt x="299" y="493"/>
                  </a:lnTo>
                  <a:lnTo>
                    <a:pt x="299" y="492"/>
                  </a:lnTo>
                  <a:lnTo>
                    <a:pt x="299" y="492"/>
                  </a:lnTo>
                  <a:lnTo>
                    <a:pt x="297" y="486"/>
                  </a:lnTo>
                  <a:lnTo>
                    <a:pt x="299" y="476"/>
                  </a:lnTo>
                  <a:lnTo>
                    <a:pt x="297" y="473"/>
                  </a:lnTo>
                  <a:lnTo>
                    <a:pt x="297" y="473"/>
                  </a:lnTo>
                  <a:lnTo>
                    <a:pt x="297" y="472"/>
                  </a:lnTo>
                  <a:lnTo>
                    <a:pt x="287" y="460"/>
                  </a:lnTo>
                  <a:lnTo>
                    <a:pt x="286" y="456"/>
                  </a:lnTo>
                  <a:lnTo>
                    <a:pt x="284" y="456"/>
                  </a:lnTo>
                  <a:lnTo>
                    <a:pt x="284" y="454"/>
                  </a:lnTo>
                  <a:lnTo>
                    <a:pt x="281" y="457"/>
                  </a:lnTo>
                  <a:lnTo>
                    <a:pt x="276" y="459"/>
                  </a:lnTo>
                  <a:lnTo>
                    <a:pt x="274" y="460"/>
                  </a:lnTo>
                  <a:lnTo>
                    <a:pt x="273" y="461"/>
                  </a:lnTo>
                  <a:lnTo>
                    <a:pt x="273" y="461"/>
                  </a:lnTo>
                  <a:lnTo>
                    <a:pt x="265" y="469"/>
                  </a:lnTo>
                  <a:lnTo>
                    <a:pt x="264" y="472"/>
                  </a:lnTo>
                  <a:lnTo>
                    <a:pt x="263" y="472"/>
                  </a:lnTo>
                  <a:lnTo>
                    <a:pt x="261" y="473"/>
                  </a:lnTo>
                  <a:lnTo>
                    <a:pt x="260" y="473"/>
                  </a:lnTo>
                  <a:lnTo>
                    <a:pt x="260" y="472"/>
                  </a:lnTo>
                  <a:lnTo>
                    <a:pt x="257" y="464"/>
                  </a:lnTo>
                  <a:lnTo>
                    <a:pt x="255" y="463"/>
                  </a:lnTo>
                  <a:lnTo>
                    <a:pt x="255" y="461"/>
                  </a:lnTo>
                  <a:lnTo>
                    <a:pt x="255" y="459"/>
                  </a:lnTo>
                  <a:lnTo>
                    <a:pt x="255" y="456"/>
                  </a:lnTo>
                  <a:lnTo>
                    <a:pt x="254" y="456"/>
                  </a:lnTo>
                  <a:lnTo>
                    <a:pt x="254" y="456"/>
                  </a:lnTo>
                  <a:lnTo>
                    <a:pt x="254" y="456"/>
                  </a:lnTo>
                  <a:lnTo>
                    <a:pt x="252" y="456"/>
                  </a:lnTo>
                  <a:lnTo>
                    <a:pt x="251" y="459"/>
                  </a:lnTo>
                  <a:lnTo>
                    <a:pt x="251" y="460"/>
                  </a:lnTo>
                  <a:lnTo>
                    <a:pt x="246" y="461"/>
                  </a:lnTo>
                  <a:lnTo>
                    <a:pt x="245" y="463"/>
                  </a:lnTo>
                  <a:lnTo>
                    <a:pt x="245" y="463"/>
                  </a:lnTo>
                  <a:lnTo>
                    <a:pt x="245" y="466"/>
                  </a:lnTo>
                  <a:lnTo>
                    <a:pt x="245" y="469"/>
                  </a:lnTo>
                  <a:lnTo>
                    <a:pt x="245" y="470"/>
                  </a:lnTo>
                  <a:lnTo>
                    <a:pt x="244" y="472"/>
                  </a:lnTo>
                  <a:lnTo>
                    <a:pt x="242" y="473"/>
                  </a:lnTo>
                  <a:lnTo>
                    <a:pt x="241" y="473"/>
                  </a:lnTo>
                  <a:lnTo>
                    <a:pt x="235" y="473"/>
                  </a:lnTo>
                  <a:lnTo>
                    <a:pt x="232" y="472"/>
                  </a:lnTo>
                  <a:lnTo>
                    <a:pt x="229" y="470"/>
                  </a:lnTo>
                  <a:lnTo>
                    <a:pt x="228" y="469"/>
                  </a:lnTo>
                  <a:lnTo>
                    <a:pt x="228" y="467"/>
                  </a:lnTo>
                  <a:lnTo>
                    <a:pt x="228" y="467"/>
                  </a:lnTo>
                  <a:lnTo>
                    <a:pt x="228" y="466"/>
                  </a:lnTo>
                  <a:lnTo>
                    <a:pt x="228" y="464"/>
                  </a:lnTo>
                  <a:lnTo>
                    <a:pt x="230" y="460"/>
                  </a:lnTo>
                  <a:lnTo>
                    <a:pt x="230" y="459"/>
                  </a:lnTo>
                  <a:lnTo>
                    <a:pt x="230" y="457"/>
                  </a:lnTo>
                  <a:lnTo>
                    <a:pt x="230" y="454"/>
                  </a:lnTo>
                  <a:lnTo>
                    <a:pt x="230" y="454"/>
                  </a:lnTo>
                  <a:lnTo>
                    <a:pt x="230" y="453"/>
                  </a:lnTo>
                  <a:lnTo>
                    <a:pt x="233" y="451"/>
                  </a:lnTo>
                  <a:lnTo>
                    <a:pt x="233" y="451"/>
                  </a:lnTo>
                  <a:lnTo>
                    <a:pt x="233" y="450"/>
                  </a:lnTo>
                  <a:lnTo>
                    <a:pt x="233" y="447"/>
                  </a:lnTo>
                  <a:lnTo>
                    <a:pt x="233" y="445"/>
                  </a:lnTo>
                  <a:lnTo>
                    <a:pt x="233" y="444"/>
                  </a:lnTo>
                  <a:lnTo>
                    <a:pt x="233" y="443"/>
                  </a:lnTo>
                  <a:lnTo>
                    <a:pt x="233" y="441"/>
                  </a:lnTo>
                  <a:lnTo>
                    <a:pt x="235" y="440"/>
                  </a:lnTo>
                  <a:lnTo>
                    <a:pt x="235" y="440"/>
                  </a:lnTo>
                  <a:lnTo>
                    <a:pt x="235" y="438"/>
                  </a:lnTo>
                  <a:lnTo>
                    <a:pt x="235" y="437"/>
                  </a:lnTo>
                  <a:lnTo>
                    <a:pt x="233" y="435"/>
                  </a:lnTo>
                  <a:lnTo>
                    <a:pt x="233" y="432"/>
                  </a:lnTo>
                  <a:lnTo>
                    <a:pt x="233" y="431"/>
                  </a:lnTo>
                  <a:lnTo>
                    <a:pt x="233" y="429"/>
                  </a:lnTo>
                  <a:lnTo>
                    <a:pt x="235" y="429"/>
                  </a:lnTo>
                  <a:lnTo>
                    <a:pt x="235" y="428"/>
                  </a:lnTo>
                  <a:lnTo>
                    <a:pt x="236" y="427"/>
                  </a:lnTo>
                  <a:lnTo>
                    <a:pt x="236" y="425"/>
                  </a:lnTo>
                  <a:lnTo>
                    <a:pt x="235" y="422"/>
                  </a:lnTo>
                  <a:lnTo>
                    <a:pt x="235" y="422"/>
                  </a:lnTo>
                  <a:lnTo>
                    <a:pt x="233" y="422"/>
                  </a:lnTo>
                  <a:lnTo>
                    <a:pt x="232" y="422"/>
                  </a:lnTo>
                  <a:lnTo>
                    <a:pt x="230" y="424"/>
                  </a:lnTo>
                  <a:lnTo>
                    <a:pt x="228" y="425"/>
                  </a:lnTo>
                  <a:lnTo>
                    <a:pt x="222" y="428"/>
                  </a:lnTo>
                  <a:lnTo>
                    <a:pt x="217" y="428"/>
                  </a:lnTo>
                  <a:lnTo>
                    <a:pt x="209" y="422"/>
                  </a:lnTo>
                  <a:lnTo>
                    <a:pt x="206" y="424"/>
                  </a:lnTo>
                  <a:lnTo>
                    <a:pt x="203" y="425"/>
                  </a:lnTo>
                  <a:lnTo>
                    <a:pt x="198" y="424"/>
                  </a:lnTo>
                  <a:lnTo>
                    <a:pt x="179" y="415"/>
                  </a:lnTo>
                  <a:lnTo>
                    <a:pt x="172" y="415"/>
                  </a:lnTo>
                  <a:lnTo>
                    <a:pt x="161" y="416"/>
                  </a:lnTo>
                  <a:lnTo>
                    <a:pt x="147" y="422"/>
                  </a:lnTo>
                  <a:lnTo>
                    <a:pt x="131" y="421"/>
                  </a:lnTo>
                  <a:lnTo>
                    <a:pt x="127" y="422"/>
                  </a:lnTo>
                  <a:lnTo>
                    <a:pt x="123" y="425"/>
                  </a:lnTo>
                  <a:lnTo>
                    <a:pt x="118" y="428"/>
                  </a:lnTo>
                  <a:lnTo>
                    <a:pt x="117" y="431"/>
                  </a:lnTo>
                  <a:lnTo>
                    <a:pt x="120" y="438"/>
                  </a:lnTo>
                  <a:lnTo>
                    <a:pt x="120" y="440"/>
                  </a:lnTo>
                  <a:lnTo>
                    <a:pt x="120" y="440"/>
                  </a:lnTo>
                  <a:lnTo>
                    <a:pt x="120" y="441"/>
                  </a:lnTo>
                  <a:lnTo>
                    <a:pt x="120" y="443"/>
                  </a:lnTo>
                  <a:lnTo>
                    <a:pt x="117" y="445"/>
                  </a:lnTo>
                  <a:lnTo>
                    <a:pt x="117" y="447"/>
                  </a:lnTo>
                  <a:lnTo>
                    <a:pt x="117" y="450"/>
                  </a:lnTo>
                  <a:lnTo>
                    <a:pt x="118" y="450"/>
                  </a:lnTo>
                  <a:lnTo>
                    <a:pt x="120" y="451"/>
                  </a:lnTo>
                  <a:lnTo>
                    <a:pt x="123" y="453"/>
                  </a:lnTo>
                  <a:lnTo>
                    <a:pt x="134" y="454"/>
                  </a:lnTo>
                  <a:lnTo>
                    <a:pt x="136" y="456"/>
                  </a:lnTo>
                  <a:lnTo>
                    <a:pt x="137" y="456"/>
                  </a:lnTo>
                  <a:lnTo>
                    <a:pt x="137" y="459"/>
                  </a:lnTo>
                  <a:lnTo>
                    <a:pt x="137" y="460"/>
                  </a:lnTo>
                  <a:lnTo>
                    <a:pt x="136" y="464"/>
                  </a:lnTo>
                  <a:lnTo>
                    <a:pt x="136" y="466"/>
                  </a:lnTo>
                  <a:lnTo>
                    <a:pt x="137" y="467"/>
                  </a:lnTo>
                  <a:lnTo>
                    <a:pt x="139" y="467"/>
                  </a:lnTo>
                  <a:lnTo>
                    <a:pt x="139" y="467"/>
                  </a:lnTo>
                  <a:lnTo>
                    <a:pt x="140" y="467"/>
                  </a:lnTo>
                  <a:lnTo>
                    <a:pt x="142" y="466"/>
                  </a:lnTo>
                  <a:lnTo>
                    <a:pt x="143" y="466"/>
                  </a:lnTo>
                  <a:lnTo>
                    <a:pt x="143" y="463"/>
                  </a:lnTo>
                  <a:lnTo>
                    <a:pt x="145" y="459"/>
                  </a:lnTo>
                  <a:lnTo>
                    <a:pt x="145" y="459"/>
                  </a:lnTo>
                  <a:lnTo>
                    <a:pt x="145" y="457"/>
                  </a:lnTo>
                  <a:lnTo>
                    <a:pt x="146" y="457"/>
                  </a:lnTo>
                  <a:lnTo>
                    <a:pt x="146" y="457"/>
                  </a:lnTo>
                  <a:lnTo>
                    <a:pt x="147" y="457"/>
                  </a:lnTo>
                  <a:lnTo>
                    <a:pt x="149" y="457"/>
                  </a:lnTo>
                  <a:lnTo>
                    <a:pt x="155" y="460"/>
                  </a:lnTo>
                  <a:lnTo>
                    <a:pt x="156" y="460"/>
                  </a:lnTo>
                  <a:lnTo>
                    <a:pt x="156" y="461"/>
                  </a:lnTo>
                  <a:lnTo>
                    <a:pt x="158" y="461"/>
                  </a:lnTo>
                  <a:lnTo>
                    <a:pt x="153" y="483"/>
                  </a:lnTo>
                  <a:lnTo>
                    <a:pt x="153" y="486"/>
                  </a:lnTo>
                  <a:lnTo>
                    <a:pt x="153" y="486"/>
                  </a:lnTo>
                  <a:lnTo>
                    <a:pt x="153" y="486"/>
                  </a:lnTo>
                  <a:lnTo>
                    <a:pt x="155" y="489"/>
                  </a:lnTo>
                  <a:lnTo>
                    <a:pt x="156" y="492"/>
                  </a:lnTo>
                  <a:lnTo>
                    <a:pt x="149" y="498"/>
                  </a:lnTo>
                  <a:lnTo>
                    <a:pt x="147" y="499"/>
                  </a:lnTo>
                  <a:lnTo>
                    <a:pt x="146" y="498"/>
                  </a:lnTo>
                  <a:lnTo>
                    <a:pt x="142" y="493"/>
                  </a:lnTo>
                  <a:lnTo>
                    <a:pt x="140" y="493"/>
                  </a:lnTo>
                  <a:lnTo>
                    <a:pt x="140" y="493"/>
                  </a:lnTo>
                  <a:lnTo>
                    <a:pt x="130" y="498"/>
                  </a:lnTo>
                  <a:lnTo>
                    <a:pt x="126" y="498"/>
                  </a:lnTo>
                  <a:lnTo>
                    <a:pt x="121" y="498"/>
                  </a:lnTo>
                  <a:lnTo>
                    <a:pt x="118" y="498"/>
                  </a:lnTo>
                  <a:lnTo>
                    <a:pt x="115" y="499"/>
                  </a:lnTo>
                  <a:lnTo>
                    <a:pt x="111" y="502"/>
                  </a:lnTo>
                  <a:lnTo>
                    <a:pt x="110" y="504"/>
                  </a:lnTo>
                  <a:lnTo>
                    <a:pt x="108" y="505"/>
                  </a:lnTo>
                  <a:lnTo>
                    <a:pt x="110" y="512"/>
                  </a:lnTo>
                  <a:lnTo>
                    <a:pt x="110" y="514"/>
                  </a:lnTo>
                  <a:lnTo>
                    <a:pt x="110" y="514"/>
                  </a:lnTo>
                  <a:lnTo>
                    <a:pt x="108" y="515"/>
                  </a:lnTo>
                  <a:lnTo>
                    <a:pt x="105" y="518"/>
                  </a:lnTo>
                  <a:lnTo>
                    <a:pt x="104" y="520"/>
                  </a:lnTo>
                  <a:lnTo>
                    <a:pt x="104" y="521"/>
                  </a:lnTo>
                  <a:lnTo>
                    <a:pt x="102" y="526"/>
                  </a:lnTo>
                  <a:lnTo>
                    <a:pt x="102" y="527"/>
                  </a:lnTo>
                  <a:lnTo>
                    <a:pt x="101" y="530"/>
                  </a:lnTo>
                  <a:lnTo>
                    <a:pt x="98" y="531"/>
                  </a:lnTo>
                  <a:lnTo>
                    <a:pt x="96" y="531"/>
                  </a:lnTo>
                  <a:lnTo>
                    <a:pt x="76" y="531"/>
                  </a:lnTo>
                  <a:lnTo>
                    <a:pt x="70" y="531"/>
                  </a:lnTo>
                  <a:lnTo>
                    <a:pt x="51" y="536"/>
                  </a:lnTo>
                  <a:lnTo>
                    <a:pt x="50" y="536"/>
                  </a:lnTo>
                  <a:lnTo>
                    <a:pt x="47" y="533"/>
                  </a:lnTo>
                  <a:lnTo>
                    <a:pt x="43" y="524"/>
                  </a:lnTo>
                  <a:lnTo>
                    <a:pt x="35" y="518"/>
                  </a:lnTo>
                  <a:lnTo>
                    <a:pt x="34" y="517"/>
                  </a:lnTo>
                  <a:lnTo>
                    <a:pt x="34" y="514"/>
                  </a:lnTo>
                  <a:lnTo>
                    <a:pt x="35" y="512"/>
                  </a:lnTo>
                  <a:lnTo>
                    <a:pt x="35" y="511"/>
                  </a:lnTo>
                  <a:lnTo>
                    <a:pt x="37" y="510"/>
                  </a:lnTo>
                  <a:lnTo>
                    <a:pt x="40" y="507"/>
                  </a:lnTo>
                  <a:lnTo>
                    <a:pt x="43" y="504"/>
                  </a:lnTo>
                  <a:lnTo>
                    <a:pt x="44" y="504"/>
                  </a:lnTo>
                  <a:lnTo>
                    <a:pt x="45" y="502"/>
                  </a:lnTo>
                  <a:lnTo>
                    <a:pt x="47" y="501"/>
                  </a:lnTo>
                  <a:lnTo>
                    <a:pt x="47" y="498"/>
                  </a:lnTo>
                  <a:lnTo>
                    <a:pt x="47" y="495"/>
                  </a:lnTo>
                  <a:lnTo>
                    <a:pt x="44" y="480"/>
                  </a:lnTo>
                  <a:lnTo>
                    <a:pt x="43" y="476"/>
                  </a:lnTo>
                  <a:lnTo>
                    <a:pt x="43" y="473"/>
                  </a:lnTo>
                  <a:lnTo>
                    <a:pt x="44" y="473"/>
                  </a:lnTo>
                  <a:lnTo>
                    <a:pt x="45" y="473"/>
                  </a:lnTo>
                  <a:lnTo>
                    <a:pt x="48" y="473"/>
                  </a:lnTo>
                  <a:lnTo>
                    <a:pt x="50" y="473"/>
                  </a:lnTo>
                  <a:lnTo>
                    <a:pt x="51" y="472"/>
                  </a:lnTo>
                  <a:lnTo>
                    <a:pt x="53" y="470"/>
                  </a:lnTo>
                  <a:lnTo>
                    <a:pt x="54" y="469"/>
                  </a:lnTo>
                  <a:lnTo>
                    <a:pt x="56" y="467"/>
                  </a:lnTo>
                  <a:lnTo>
                    <a:pt x="56" y="466"/>
                  </a:lnTo>
                  <a:lnTo>
                    <a:pt x="56" y="464"/>
                  </a:lnTo>
                  <a:lnTo>
                    <a:pt x="54" y="461"/>
                  </a:lnTo>
                  <a:lnTo>
                    <a:pt x="54" y="459"/>
                  </a:lnTo>
                  <a:lnTo>
                    <a:pt x="54" y="457"/>
                  </a:lnTo>
                  <a:lnTo>
                    <a:pt x="56" y="454"/>
                  </a:lnTo>
                  <a:lnTo>
                    <a:pt x="60" y="445"/>
                  </a:lnTo>
                  <a:lnTo>
                    <a:pt x="60" y="443"/>
                  </a:lnTo>
                  <a:lnTo>
                    <a:pt x="60" y="441"/>
                  </a:lnTo>
                  <a:lnTo>
                    <a:pt x="54" y="440"/>
                  </a:lnTo>
                  <a:lnTo>
                    <a:pt x="51" y="438"/>
                  </a:lnTo>
                  <a:lnTo>
                    <a:pt x="50" y="435"/>
                  </a:lnTo>
                  <a:lnTo>
                    <a:pt x="50" y="434"/>
                  </a:lnTo>
                  <a:lnTo>
                    <a:pt x="51" y="431"/>
                  </a:lnTo>
                  <a:lnTo>
                    <a:pt x="56" y="425"/>
                  </a:lnTo>
                  <a:lnTo>
                    <a:pt x="57" y="422"/>
                  </a:lnTo>
                  <a:lnTo>
                    <a:pt x="57" y="419"/>
                  </a:lnTo>
                  <a:lnTo>
                    <a:pt x="57" y="418"/>
                  </a:lnTo>
                  <a:lnTo>
                    <a:pt x="56" y="416"/>
                  </a:lnTo>
                  <a:lnTo>
                    <a:pt x="54" y="415"/>
                  </a:lnTo>
                  <a:lnTo>
                    <a:pt x="54" y="415"/>
                  </a:lnTo>
                  <a:lnTo>
                    <a:pt x="53" y="415"/>
                  </a:lnTo>
                  <a:lnTo>
                    <a:pt x="51" y="415"/>
                  </a:lnTo>
                  <a:lnTo>
                    <a:pt x="50" y="416"/>
                  </a:lnTo>
                  <a:lnTo>
                    <a:pt x="48" y="416"/>
                  </a:lnTo>
                  <a:lnTo>
                    <a:pt x="47" y="416"/>
                  </a:lnTo>
                  <a:lnTo>
                    <a:pt x="44" y="415"/>
                  </a:lnTo>
                  <a:lnTo>
                    <a:pt x="43" y="412"/>
                  </a:lnTo>
                  <a:lnTo>
                    <a:pt x="43" y="411"/>
                  </a:lnTo>
                  <a:lnTo>
                    <a:pt x="40" y="405"/>
                  </a:lnTo>
                  <a:lnTo>
                    <a:pt x="40" y="402"/>
                  </a:lnTo>
                  <a:lnTo>
                    <a:pt x="40" y="397"/>
                  </a:lnTo>
                  <a:lnTo>
                    <a:pt x="41" y="393"/>
                  </a:lnTo>
                  <a:lnTo>
                    <a:pt x="41" y="392"/>
                  </a:lnTo>
                  <a:lnTo>
                    <a:pt x="41" y="390"/>
                  </a:lnTo>
                  <a:lnTo>
                    <a:pt x="40" y="390"/>
                  </a:lnTo>
                  <a:lnTo>
                    <a:pt x="40" y="389"/>
                  </a:lnTo>
                  <a:lnTo>
                    <a:pt x="40" y="389"/>
                  </a:lnTo>
                  <a:lnTo>
                    <a:pt x="38" y="390"/>
                  </a:lnTo>
                  <a:lnTo>
                    <a:pt x="37" y="390"/>
                  </a:lnTo>
                  <a:lnTo>
                    <a:pt x="35" y="394"/>
                  </a:lnTo>
                  <a:lnTo>
                    <a:pt x="35" y="396"/>
                  </a:lnTo>
                  <a:lnTo>
                    <a:pt x="34" y="396"/>
                  </a:lnTo>
                  <a:lnTo>
                    <a:pt x="34" y="396"/>
                  </a:lnTo>
                  <a:lnTo>
                    <a:pt x="32" y="396"/>
                  </a:lnTo>
                  <a:lnTo>
                    <a:pt x="32" y="396"/>
                  </a:lnTo>
                  <a:lnTo>
                    <a:pt x="32" y="394"/>
                  </a:lnTo>
                  <a:lnTo>
                    <a:pt x="31" y="393"/>
                  </a:lnTo>
                  <a:lnTo>
                    <a:pt x="29" y="392"/>
                  </a:lnTo>
                  <a:lnTo>
                    <a:pt x="25" y="377"/>
                  </a:lnTo>
                  <a:lnTo>
                    <a:pt x="22" y="368"/>
                  </a:lnTo>
                  <a:lnTo>
                    <a:pt x="18" y="355"/>
                  </a:lnTo>
                  <a:lnTo>
                    <a:pt x="18" y="352"/>
                  </a:lnTo>
                  <a:lnTo>
                    <a:pt x="18" y="313"/>
                  </a:lnTo>
                  <a:lnTo>
                    <a:pt x="25" y="316"/>
                  </a:lnTo>
                  <a:lnTo>
                    <a:pt x="27" y="316"/>
                  </a:lnTo>
                  <a:lnTo>
                    <a:pt x="27" y="314"/>
                  </a:lnTo>
                  <a:lnTo>
                    <a:pt x="27" y="314"/>
                  </a:lnTo>
                  <a:lnTo>
                    <a:pt x="24" y="309"/>
                  </a:lnTo>
                  <a:lnTo>
                    <a:pt x="24" y="306"/>
                  </a:lnTo>
                  <a:lnTo>
                    <a:pt x="22" y="306"/>
                  </a:lnTo>
                  <a:lnTo>
                    <a:pt x="24" y="298"/>
                  </a:lnTo>
                  <a:lnTo>
                    <a:pt x="19" y="294"/>
                  </a:lnTo>
                  <a:lnTo>
                    <a:pt x="18" y="282"/>
                  </a:lnTo>
                  <a:lnTo>
                    <a:pt x="18" y="281"/>
                  </a:lnTo>
                  <a:lnTo>
                    <a:pt x="16" y="279"/>
                  </a:lnTo>
                  <a:lnTo>
                    <a:pt x="12" y="278"/>
                  </a:lnTo>
                  <a:lnTo>
                    <a:pt x="9" y="279"/>
                  </a:lnTo>
                  <a:lnTo>
                    <a:pt x="8" y="281"/>
                  </a:lnTo>
                  <a:lnTo>
                    <a:pt x="6" y="281"/>
                  </a:lnTo>
                  <a:lnTo>
                    <a:pt x="3" y="278"/>
                  </a:lnTo>
                  <a:lnTo>
                    <a:pt x="0" y="277"/>
                  </a:lnTo>
                  <a:lnTo>
                    <a:pt x="2" y="275"/>
                  </a:lnTo>
                  <a:lnTo>
                    <a:pt x="5" y="272"/>
                  </a:lnTo>
                  <a:lnTo>
                    <a:pt x="6" y="271"/>
                  </a:lnTo>
                  <a:lnTo>
                    <a:pt x="8" y="271"/>
                  </a:lnTo>
                  <a:lnTo>
                    <a:pt x="9" y="271"/>
                  </a:lnTo>
                  <a:lnTo>
                    <a:pt x="9" y="271"/>
                  </a:lnTo>
                  <a:lnTo>
                    <a:pt x="10" y="269"/>
                  </a:lnTo>
                  <a:lnTo>
                    <a:pt x="10" y="268"/>
                  </a:lnTo>
                  <a:lnTo>
                    <a:pt x="12" y="265"/>
                  </a:lnTo>
                  <a:lnTo>
                    <a:pt x="12" y="258"/>
                  </a:lnTo>
                  <a:lnTo>
                    <a:pt x="12" y="255"/>
                  </a:lnTo>
                  <a:lnTo>
                    <a:pt x="12" y="253"/>
                  </a:lnTo>
                  <a:lnTo>
                    <a:pt x="13" y="252"/>
                  </a:lnTo>
                  <a:lnTo>
                    <a:pt x="13" y="250"/>
                  </a:lnTo>
                  <a:lnTo>
                    <a:pt x="15" y="249"/>
                  </a:lnTo>
                  <a:lnTo>
                    <a:pt x="16" y="249"/>
                  </a:lnTo>
                  <a:lnTo>
                    <a:pt x="28" y="246"/>
                  </a:lnTo>
                  <a:lnTo>
                    <a:pt x="45" y="237"/>
                  </a:lnTo>
                  <a:lnTo>
                    <a:pt x="47" y="237"/>
                  </a:lnTo>
                  <a:lnTo>
                    <a:pt x="48" y="237"/>
                  </a:lnTo>
                  <a:lnTo>
                    <a:pt x="50" y="237"/>
                  </a:lnTo>
                  <a:lnTo>
                    <a:pt x="51" y="239"/>
                  </a:lnTo>
                  <a:lnTo>
                    <a:pt x="56" y="242"/>
                  </a:lnTo>
                  <a:lnTo>
                    <a:pt x="57" y="243"/>
                  </a:lnTo>
                  <a:lnTo>
                    <a:pt x="61" y="245"/>
                  </a:lnTo>
                  <a:lnTo>
                    <a:pt x="63" y="245"/>
                  </a:lnTo>
                  <a:lnTo>
                    <a:pt x="63" y="246"/>
                  </a:lnTo>
                  <a:lnTo>
                    <a:pt x="61" y="247"/>
                  </a:lnTo>
                  <a:lnTo>
                    <a:pt x="60" y="250"/>
                  </a:lnTo>
                  <a:lnTo>
                    <a:pt x="60" y="252"/>
                  </a:lnTo>
                  <a:lnTo>
                    <a:pt x="60" y="253"/>
                  </a:lnTo>
                  <a:lnTo>
                    <a:pt x="60" y="253"/>
                  </a:lnTo>
                  <a:lnTo>
                    <a:pt x="63" y="252"/>
                  </a:lnTo>
                  <a:lnTo>
                    <a:pt x="67" y="247"/>
                  </a:lnTo>
                  <a:lnTo>
                    <a:pt x="75" y="240"/>
                  </a:lnTo>
                  <a:lnTo>
                    <a:pt x="75" y="239"/>
                  </a:lnTo>
                  <a:lnTo>
                    <a:pt x="75" y="237"/>
                  </a:lnTo>
                  <a:lnTo>
                    <a:pt x="75" y="234"/>
                  </a:lnTo>
                  <a:lnTo>
                    <a:pt x="75" y="233"/>
                  </a:lnTo>
                  <a:lnTo>
                    <a:pt x="76" y="231"/>
                  </a:lnTo>
                  <a:lnTo>
                    <a:pt x="78" y="231"/>
                  </a:lnTo>
                  <a:lnTo>
                    <a:pt x="88" y="227"/>
                  </a:lnTo>
                  <a:lnTo>
                    <a:pt x="91" y="227"/>
                  </a:lnTo>
                  <a:lnTo>
                    <a:pt x="92" y="227"/>
                  </a:lnTo>
                  <a:lnTo>
                    <a:pt x="96" y="229"/>
                  </a:lnTo>
                  <a:lnTo>
                    <a:pt x="111" y="229"/>
                  </a:lnTo>
                  <a:lnTo>
                    <a:pt x="112" y="229"/>
                  </a:lnTo>
                  <a:lnTo>
                    <a:pt x="115" y="230"/>
                  </a:lnTo>
                  <a:lnTo>
                    <a:pt x="117" y="230"/>
                  </a:lnTo>
                  <a:lnTo>
                    <a:pt x="121" y="230"/>
                  </a:lnTo>
                  <a:lnTo>
                    <a:pt x="123" y="230"/>
                  </a:lnTo>
                  <a:lnTo>
                    <a:pt x="136" y="236"/>
                  </a:lnTo>
                  <a:lnTo>
                    <a:pt x="140" y="239"/>
                  </a:lnTo>
                  <a:lnTo>
                    <a:pt x="142" y="242"/>
                  </a:lnTo>
                  <a:lnTo>
                    <a:pt x="143" y="242"/>
                  </a:lnTo>
                  <a:lnTo>
                    <a:pt x="143" y="243"/>
                  </a:lnTo>
                  <a:lnTo>
                    <a:pt x="145" y="247"/>
                  </a:lnTo>
                  <a:lnTo>
                    <a:pt x="145" y="249"/>
                  </a:lnTo>
                  <a:lnTo>
                    <a:pt x="147" y="253"/>
                  </a:lnTo>
                  <a:lnTo>
                    <a:pt x="150" y="255"/>
                  </a:lnTo>
                  <a:lnTo>
                    <a:pt x="158" y="256"/>
                  </a:lnTo>
                  <a:lnTo>
                    <a:pt x="163" y="256"/>
                  </a:lnTo>
                  <a:lnTo>
                    <a:pt x="185" y="247"/>
                  </a:lnTo>
                  <a:lnTo>
                    <a:pt x="187" y="245"/>
                  </a:lnTo>
                  <a:lnTo>
                    <a:pt x="188" y="243"/>
                  </a:lnTo>
                  <a:lnTo>
                    <a:pt x="187" y="233"/>
                  </a:lnTo>
                  <a:lnTo>
                    <a:pt x="185" y="231"/>
                  </a:lnTo>
                  <a:lnTo>
                    <a:pt x="187" y="229"/>
                  </a:lnTo>
                  <a:lnTo>
                    <a:pt x="188" y="226"/>
                  </a:lnTo>
                  <a:lnTo>
                    <a:pt x="191" y="217"/>
                  </a:lnTo>
                  <a:lnTo>
                    <a:pt x="193" y="215"/>
                  </a:lnTo>
                  <a:lnTo>
                    <a:pt x="193" y="214"/>
                  </a:lnTo>
                  <a:lnTo>
                    <a:pt x="191" y="214"/>
                  </a:lnTo>
                  <a:lnTo>
                    <a:pt x="191" y="212"/>
                  </a:lnTo>
                  <a:lnTo>
                    <a:pt x="190" y="212"/>
                  </a:lnTo>
                  <a:lnTo>
                    <a:pt x="184" y="211"/>
                  </a:lnTo>
                  <a:lnTo>
                    <a:pt x="182" y="211"/>
                  </a:lnTo>
                  <a:lnTo>
                    <a:pt x="182" y="211"/>
                  </a:lnTo>
                  <a:lnTo>
                    <a:pt x="182" y="210"/>
                  </a:lnTo>
                  <a:lnTo>
                    <a:pt x="182" y="208"/>
                  </a:lnTo>
                  <a:lnTo>
                    <a:pt x="181" y="208"/>
                  </a:lnTo>
                  <a:lnTo>
                    <a:pt x="182" y="205"/>
                  </a:lnTo>
                  <a:lnTo>
                    <a:pt x="182" y="204"/>
                  </a:lnTo>
                  <a:lnTo>
                    <a:pt x="185" y="196"/>
                  </a:lnTo>
                  <a:lnTo>
                    <a:pt x="185" y="194"/>
                  </a:lnTo>
                  <a:lnTo>
                    <a:pt x="184" y="183"/>
                  </a:lnTo>
                  <a:lnTo>
                    <a:pt x="184" y="179"/>
                  </a:lnTo>
                  <a:lnTo>
                    <a:pt x="185" y="178"/>
                  </a:lnTo>
                  <a:lnTo>
                    <a:pt x="187" y="178"/>
                  </a:lnTo>
                  <a:lnTo>
                    <a:pt x="190" y="179"/>
                  </a:lnTo>
                  <a:lnTo>
                    <a:pt x="191" y="179"/>
                  </a:lnTo>
                  <a:lnTo>
                    <a:pt x="193" y="179"/>
                  </a:lnTo>
                  <a:lnTo>
                    <a:pt x="196" y="178"/>
                  </a:lnTo>
                  <a:lnTo>
                    <a:pt x="197" y="178"/>
                  </a:lnTo>
                  <a:lnTo>
                    <a:pt x="197" y="178"/>
                  </a:lnTo>
                  <a:lnTo>
                    <a:pt x="198" y="178"/>
                  </a:lnTo>
                  <a:lnTo>
                    <a:pt x="200" y="179"/>
                  </a:lnTo>
                  <a:lnTo>
                    <a:pt x="201" y="182"/>
                  </a:lnTo>
                  <a:lnTo>
                    <a:pt x="201" y="183"/>
                  </a:lnTo>
                  <a:lnTo>
                    <a:pt x="203" y="183"/>
                  </a:lnTo>
                  <a:lnTo>
                    <a:pt x="203" y="183"/>
                  </a:lnTo>
                  <a:lnTo>
                    <a:pt x="209" y="182"/>
                  </a:lnTo>
                  <a:lnTo>
                    <a:pt x="210" y="182"/>
                  </a:lnTo>
                  <a:lnTo>
                    <a:pt x="212" y="182"/>
                  </a:lnTo>
                  <a:lnTo>
                    <a:pt x="212" y="182"/>
                  </a:lnTo>
                  <a:lnTo>
                    <a:pt x="213" y="182"/>
                  </a:lnTo>
                  <a:lnTo>
                    <a:pt x="213" y="183"/>
                  </a:lnTo>
                  <a:lnTo>
                    <a:pt x="214" y="183"/>
                  </a:lnTo>
                  <a:lnTo>
                    <a:pt x="216" y="185"/>
                  </a:lnTo>
                  <a:lnTo>
                    <a:pt x="222" y="185"/>
                  </a:lnTo>
                  <a:lnTo>
                    <a:pt x="228" y="182"/>
                  </a:lnTo>
                  <a:lnTo>
                    <a:pt x="238" y="179"/>
                  </a:lnTo>
                  <a:lnTo>
                    <a:pt x="239" y="178"/>
                  </a:lnTo>
                  <a:lnTo>
                    <a:pt x="239" y="176"/>
                  </a:lnTo>
                  <a:lnTo>
                    <a:pt x="238" y="175"/>
                  </a:lnTo>
                  <a:lnTo>
                    <a:pt x="238" y="172"/>
                  </a:lnTo>
                  <a:lnTo>
                    <a:pt x="238" y="167"/>
                  </a:lnTo>
                  <a:lnTo>
                    <a:pt x="239" y="160"/>
                  </a:lnTo>
                  <a:lnTo>
                    <a:pt x="242" y="157"/>
                  </a:lnTo>
                  <a:lnTo>
                    <a:pt x="245" y="154"/>
                  </a:lnTo>
                  <a:lnTo>
                    <a:pt x="249" y="151"/>
                  </a:lnTo>
                  <a:lnTo>
                    <a:pt x="254" y="151"/>
                  </a:lnTo>
                  <a:lnTo>
                    <a:pt x="260" y="148"/>
                  </a:lnTo>
                  <a:lnTo>
                    <a:pt x="265" y="144"/>
                  </a:lnTo>
                  <a:lnTo>
                    <a:pt x="267" y="143"/>
                  </a:lnTo>
                  <a:lnTo>
                    <a:pt x="268" y="140"/>
                  </a:lnTo>
                  <a:lnTo>
                    <a:pt x="268" y="135"/>
                  </a:lnTo>
                  <a:lnTo>
                    <a:pt x="268" y="131"/>
                  </a:lnTo>
                  <a:lnTo>
                    <a:pt x="268" y="128"/>
                  </a:lnTo>
                  <a:lnTo>
                    <a:pt x="268" y="125"/>
                  </a:lnTo>
                  <a:lnTo>
                    <a:pt x="267" y="118"/>
                  </a:lnTo>
                  <a:lnTo>
                    <a:pt x="276" y="87"/>
                  </a:lnTo>
                  <a:lnTo>
                    <a:pt x="280" y="81"/>
                  </a:lnTo>
                  <a:lnTo>
                    <a:pt x="281" y="80"/>
                  </a:lnTo>
                  <a:lnTo>
                    <a:pt x="286" y="79"/>
                  </a:lnTo>
                  <a:lnTo>
                    <a:pt x="286" y="79"/>
                  </a:lnTo>
                  <a:lnTo>
                    <a:pt x="287" y="79"/>
                  </a:lnTo>
                  <a:lnTo>
                    <a:pt x="289" y="79"/>
                  </a:lnTo>
                  <a:lnTo>
                    <a:pt x="289" y="80"/>
                  </a:lnTo>
                  <a:lnTo>
                    <a:pt x="292" y="84"/>
                  </a:lnTo>
                  <a:lnTo>
                    <a:pt x="293" y="86"/>
                  </a:lnTo>
                  <a:lnTo>
                    <a:pt x="296" y="89"/>
                  </a:lnTo>
                  <a:lnTo>
                    <a:pt x="299" y="90"/>
                  </a:lnTo>
                  <a:lnTo>
                    <a:pt x="300" y="90"/>
                  </a:lnTo>
                  <a:lnTo>
                    <a:pt x="303" y="90"/>
                  </a:lnTo>
                  <a:lnTo>
                    <a:pt x="308" y="89"/>
                  </a:lnTo>
                  <a:lnTo>
                    <a:pt x="328" y="81"/>
                  </a:lnTo>
                  <a:lnTo>
                    <a:pt x="350" y="68"/>
                  </a:lnTo>
                  <a:lnTo>
                    <a:pt x="356" y="63"/>
                  </a:lnTo>
                  <a:lnTo>
                    <a:pt x="360" y="55"/>
                  </a:lnTo>
                  <a:lnTo>
                    <a:pt x="364" y="48"/>
                  </a:lnTo>
                  <a:lnTo>
                    <a:pt x="372" y="36"/>
                  </a:lnTo>
                  <a:lnTo>
                    <a:pt x="372" y="35"/>
                  </a:lnTo>
                  <a:lnTo>
                    <a:pt x="373" y="33"/>
                  </a:lnTo>
                  <a:lnTo>
                    <a:pt x="373" y="32"/>
                  </a:lnTo>
                  <a:lnTo>
                    <a:pt x="375" y="25"/>
                  </a:lnTo>
                  <a:lnTo>
                    <a:pt x="394" y="4"/>
                  </a:lnTo>
                  <a:lnTo>
                    <a:pt x="399" y="0"/>
                  </a:lnTo>
                  <a:lnTo>
                    <a:pt x="401" y="1"/>
                  </a:lnTo>
                  <a:lnTo>
                    <a:pt x="401" y="3"/>
                  </a:lnTo>
                  <a:lnTo>
                    <a:pt x="401" y="4"/>
                  </a:lnTo>
                  <a:lnTo>
                    <a:pt x="401" y="6"/>
                  </a:lnTo>
                  <a:lnTo>
                    <a:pt x="401" y="7"/>
                  </a:lnTo>
                  <a:lnTo>
                    <a:pt x="401" y="9"/>
                  </a:lnTo>
                  <a:lnTo>
                    <a:pt x="402" y="9"/>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0">
              <a:extLst>
                <a:ext uri="{FF2B5EF4-FFF2-40B4-BE49-F238E27FC236}">
                  <a16:creationId xmlns:a16="http://schemas.microsoft.com/office/drawing/2014/main" id="{76969AA4-A878-48C7-8CF1-671A903CF31C}"/>
                </a:ext>
              </a:extLst>
            </p:cNvPr>
            <p:cNvSpPr>
              <a:spLocks/>
            </p:cNvSpPr>
            <p:nvPr/>
          </p:nvSpPr>
          <p:spPr bwMode="gray">
            <a:xfrm>
              <a:off x="4483101" y="4764088"/>
              <a:ext cx="1644650" cy="1882775"/>
            </a:xfrm>
            <a:custGeom>
              <a:avLst/>
              <a:gdLst>
                <a:gd name="T0" fmla="*/ 741 w 1036"/>
                <a:gd name="T1" fmla="*/ 16 h 1186"/>
                <a:gd name="T2" fmla="*/ 738 w 1036"/>
                <a:gd name="T3" fmla="*/ 44 h 1186"/>
                <a:gd name="T4" fmla="*/ 759 w 1036"/>
                <a:gd name="T5" fmla="*/ 45 h 1186"/>
                <a:gd name="T6" fmla="*/ 782 w 1036"/>
                <a:gd name="T7" fmla="*/ 45 h 1186"/>
                <a:gd name="T8" fmla="*/ 823 w 1036"/>
                <a:gd name="T9" fmla="*/ 99 h 1186"/>
                <a:gd name="T10" fmla="*/ 808 w 1036"/>
                <a:gd name="T11" fmla="*/ 134 h 1186"/>
                <a:gd name="T12" fmla="*/ 835 w 1036"/>
                <a:gd name="T13" fmla="*/ 118 h 1186"/>
                <a:gd name="T14" fmla="*/ 842 w 1036"/>
                <a:gd name="T15" fmla="*/ 166 h 1186"/>
                <a:gd name="T16" fmla="*/ 886 w 1036"/>
                <a:gd name="T17" fmla="*/ 141 h 1186"/>
                <a:gd name="T18" fmla="*/ 907 w 1036"/>
                <a:gd name="T19" fmla="*/ 151 h 1186"/>
                <a:gd name="T20" fmla="*/ 923 w 1036"/>
                <a:gd name="T21" fmla="*/ 220 h 1186"/>
                <a:gd name="T22" fmla="*/ 918 w 1036"/>
                <a:gd name="T23" fmla="*/ 255 h 1186"/>
                <a:gd name="T24" fmla="*/ 909 w 1036"/>
                <a:gd name="T25" fmla="*/ 284 h 1186"/>
                <a:gd name="T26" fmla="*/ 915 w 1036"/>
                <a:gd name="T27" fmla="*/ 316 h 1186"/>
                <a:gd name="T28" fmla="*/ 957 w 1036"/>
                <a:gd name="T29" fmla="*/ 351 h 1186"/>
                <a:gd name="T30" fmla="*/ 944 w 1036"/>
                <a:gd name="T31" fmla="*/ 370 h 1186"/>
                <a:gd name="T32" fmla="*/ 960 w 1036"/>
                <a:gd name="T33" fmla="*/ 397 h 1186"/>
                <a:gd name="T34" fmla="*/ 1017 w 1036"/>
                <a:gd name="T35" fmla="*/ 444 h 1186"/>
                <a:gd name="T36" fmla="*/ 1020 w 1036"/>
                <a:gd name="T37" fmla="*/ 473 h 1186"/>
                <a:gd name="T38" fmla="*/ 1021 w 1036"/>
                <a:gd name="T39" fmla="*/ 523 h 1186"/>
                <a:gd name="T40" fmla="*/ 1017 w 1036"/>
                <a:gd name="T41" fmla="*/ 559 h 1186"/>
                <a:gd name="T42" fmla="*/ 1017 w 1036"/>
                <a:gd name="T43" fmla="*/ 587 h 1186"/>
                <a:gd name="T44" fmla="*/ 985 w 1036"/>
                <a:gd name="T45" fmla="*/ 587 h 1186"/>
                <a:gd name="T46" fmla="*/ 963 w 1036"/>
                <a:gd name="T47" fmla="*/ 608 h 1186"/>
                <a:gd name="T48" fmla="*/ 972 w 1036"/>
                <a:gd name="T49" fmla="*/ 632 h 1186"/>
                <a:gd name="T50" fmla="*/ 973 w 1036"/>
                <a:gd name="T51" fmla="*/ 670 h 1186"/>
                <a:gd name="T52" fmla="*/ 912 w 1036"/>
                <a:gd name="T53" fmla="*/ 694 h 1186"/>
                <a:gd name="T54" fmla="*/ 877 w 1036"/>
                <a:gd name="T55" fmla="*/ 721 h 1186"/>
                <a:gd name="T56" fmla="*/ 912 w 1036"/>
                <a:gd name="T57" fmla="*/ 917 h 1186"/>
                <a:gd name="T58" fmla="*/ 897 w 1036"/>
                <a:gd name="T59" fmla="*/ 1010 h 1186"/>
                <a:gd name="T60" fmla="*/ 909 w 1036"/>
                <a:gd name="T61" fmla="*/ 1041 h 1186"/>
                <a:gd name="T62" fmla="*/ 899 w 1036"/>
                <a:gd name="T63" fmla="*/ 1064 h 1186"/>
                <a:gd name="T64" fmla="*/ 903 w 1036"/>
                <a:gd name="T65" fmla="*/ 1114 h 1186"/>
                <a:gd name="T66" fmla="*/ 839 w 1036"/>
                <a:gd name="T67" fmla="*/ 1122 h 1186"/>
                <a:gd name="T68" fmla="*/ 725 w 1036"/>
                <a:gd name="T69" fmla="*/ 1165 h 1186"/>
                <a:gd name="T70" fmla="*/ 460 w 1036"/>
                <a:gd name="T71" fmla="*/ 1106 h 1186"/>
                <a:gd name="T72" fmla="*/ 419 w 1036"/>
                <a:gd name="T73" fmla="*/ 1076 h 1186"/>
                <a:gd name="T74" fmla="*/ 357 w 1036"/>
                <a:gd name="T75" fmla="*/ 1051 h 1186"/>
                <a:gd name="T76" fmla="*/ 304 w 1036"/>
                <a:gd name="T77" fmla="*/ 1118 h 1186"/>
                <a:gd name="T78" fmla="*/ 374 w 1036"/>
                <a:gd name="T79" fmla="*/ 1130 h 1186"/>
                <a:gd name="T80" fmla="*/ 341 w 1036"/>
                <a:gd name="T81" fmla="*/ 1141 h 1186"/>
                <a:gd name="T82" fmla="*/ 211 w 1036"/>
                <a:gd name="T83" fmla="*/ 1156 h 1186"/>
                <a:gd name="T84" fmla="*/ 33 w 1036"/>
                <a:gd name="T85" fmla="*/ 1170 h 1186"/>
                <a:gd name="T86" fmla="*/ 1 w 1036"/>
                <a:gd name="T87" fmla="*/ 1114 h 1186"/>
                <a:gd name="T88" fmla="*/ 16 w 1036"/>
                <a:gd name="T89" fmla="*/ 1012 h 1186"/>
                <a:gd name="T90" fmla="*/ 22 w 1036"/>
                <a:gd name="T91" fmla="*/ 919 h 1186"/>
                <a:gd name="T92" fmla="*/ 83 w 1036"/>
                <a:gd name="T93" fmla="*/ 761 h 1186"/>
                <a:gd name="T94" fmla="*/ 103 w 1036"/>
                <a:gd name="T95" fmla="*/ 626 h 1186"/>
                <a:gd name="T96" fmla="*/ 182 w 1036"/>
                <a:gd name="T97" fmla="*/ 534 h 1186"/>
                <a:gd name="T98" fmla="*/ 336 w 1036"/>
                <a:gd name="T99" fmla="*/ 266 h 1186"/>
                <a:gd name="T100" fmla="*/ 317 w 1036"/>
                <a:gd name="T101" fmla="*/ 140 h 1186"/>
                <a:gd name="T102" fmla="*/ 383 w 1036"/>
                <a:gd name="T103" fmla="*/ 129 h 1186"/>
                <a:gd name="T104" fmla="*/ 408 w 1036"/>
                <a:gd name="T105" fmla="*/ 112 h 1186"/>
                <a:gd name="T106" fmla="*/ 462 w 1036"/>
                <a:gd name="T107" fmla="*/ 157 h 1186"/>
                <a:gd name="T108" fmla="*/ 457 w 1036"/>
                <a:gd name="T109" fmla="*/ 175 h 1186"/>
                <a:gd name="T110" fmla="*/ 453 w 1036"/>
                <a:gd name="T111" fmla="*/ 211 h 1186"/>
                <a:gd name="T112" fmla="*/ 495 w 1036"/>
                <a:gd name="T113" fmla="*/ 186 h 1186"/>
                <a:gd name="T114" fmla="*/ 529 w 1036"/>
                <a:gd name="T115" fmla="*/ 157 h 1186"/>
                <a:gd name="T116" fmla="*/ 553 w 1036"/>
                <a:gd name="T117" fmla="*/ 138 h 1186"/>
                <a:gd name="T118" fmla="*/ 609 w 1036"/>
                <a:gd name="T119" fmla="*/ 115 h 1186"/>
                <a:gd name="T120" fmla="*/ 648 w 1036"/>
                <a:gd name="T121" fmla="*/ 78 h 1186"/>
                <a:gd name="T122" fmla="*/ 653 w 1036"/>
                <a:gd name="T123" fmla="*/ 42 h 1186"/>
                <a:gd name="T124" fmla="*/ 626 w 1036"/>
                <a:gd name="T125" fmla="*/ 35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36" h="1186">
                  <a:moveTo>
                    <a:pt x="687" y="0"/>
                  </a:moveTo>
                  <a:lnTo>
                    <a:pt x="706" y="9"/>
                  </a:lnTo>
                  <a:lnTo>
                    <a:pt x="711" y="10"/>
                  </a:lnTo>
                  <a:lnTo>
                    <a:pt x="714" y="9"/>
                  </a:lnTo>
                  <a:lnTo>
                    <a:pt x="717" y="7"/>
                  </a:lnTo>
                  <a:lnTo>
                    <a:pt x="725" y="13"/>
                  </a:lnTo>
                  <a:lnTo>
                    <a:pt x="730" y="13"/>
                  </a:lnTo>
                  <a:lnTo>
                    <a:pt x="736" y="10"/>
                  </a:lnTo>
                  <a:lnTo>
                    <a:pt x="738" y="9"/>
                  </a:lnTo>
                  <a:lnTo>
                    <a:pt x="740" y="7"/>
                  </a:lnTo>
                  <a:lnTo>
                    <a:pt x="741" y="7"/>
                  </a:lnTo>
                  <a:lnTo>
                    <a:pt x="743" y="7"/>
                  </a:lnTo>
                  <a:lnTo>
                    <a:pt x="743" y="7"/>
                  </a:lnTo>
                  <a:lnTo>
                    <a:pt x="744" y="10"/>
                  </a:lnTo>
                  <a:lnTo>
                    <a:pt x="744" y="12"/>
                  </a:lnTo>
                  <a:lnTo>
                    <a:pt x="743" y="13"/>
                  </a:lnTo>
                  <a:lnTo>
                    <a:pt x="743" y="14"/>
                  </a:lnTo>
                  <a:lnTo>
                    <a:pt x="741" y="14"/>
                  </a:lnTo>
                  <a:lnTo>
                    <a:pt x="741" y="16"/>
                  </a:lnTo>
                  <a:lnTo>
                    <a:pt x="741" y="17"/>
                  </a:lnTo>
                  <a:lnTo>
                    <a:pt x="741" y="20"/>
                  </a:lnTo>
                  <a:lnTo>
                    <a:pt x="743" y="22"/>
                  </a:lnTo>
                  <a:lnTo>
                    <a:pt x="743" y="23"/>
                  </a:lnTo>
                  <a:lnTo>
                    <a:pt x="743" y="25"/>
                  </a:lnTo>
                  <a:lnTo>
                    <a:pt x="743" y="25"/>
                  </a:lnTo>
                  <a:lnTo>
                    <a:pt x="741" y="26"/>
                  </a:lnTo>
                  <a:lnTo>
                    <a:pt x="741" y="28"/>
                  </a:lnTo>
                  <a:lnTo>
                    <a:pt x="741" y="29"/>
                  </a:lnTo>
                  <a:lnTo>
                    <a:pt x="741" y="30"/>
                  </a:lnTo>
                  <a:lnTo>
                    <a:pt x="741" y="32"/>
                  </a:lnTo>
                  <a:lnTo>
                    <a:pt x="741" y="35"/>
                  </a:lnTo>
                  <a:lnTo>
                    <a:pt x="741" y="36"/>
                  </a:lnTo>
                  <a:lnTo>
                    <a:pt x="741" y="36"/>
                  </a:lnTo>
                  <a:lnTo>
                    <a:pt x="738" y="38"/>
                  </a:lnTo>
                  <a:lnTo>
                    <a:pt x="738" y="39"/>
                  </a:lnTo>
                  <a:lnTo>
                    <a:pt x="738" y="39"/>
                  </a:lnTo>
                  <a:lnTo>
                    <a:pt x="738" y="42"/>
                  </a:lnTo>
                  <a:lnTo>
                    <a:pt x="738" y="44"/>
                  </a:lnTo>
                  <a:lnTo>
                    <a:pt x="738" y="45"/>
                  </a:lnTo>
                  <a:lnTo>
                    <a:pt x="736" y="49"/>
                  </a:lnTo>
                  <a:lnTo>
                    <a:pt x="736" y="51"/>
                  </a:lnTo>
                  <a:lnTo>
                    <a:pt x="736" y="52"/>
                  </a:lnTo>
                  <a:lnTo>
                    <a:pt x="736" y="52"/>
                  </a:lnTo>
                  <a:lnTo>
                    <a:pt x="736" y="54"/>
                  </a:lnTo>
                  <a:lnTo>
                    <a:pt x="737" y="55"/>
                  </a:lnTo>
                  <a:lnTo>
                    <a:pt x="740" y="57"/>
                  </a:lnTo>
                  <a:lnTo>
                    <a:pt x="743" y="58"/>
                  </a:lnTo>
                  <a:lnTo>
                    <a:pt x="749" y="58"/>
                  </a:lnTo>
                  <a:lnTo>
                    <a:pt x="750" y="58"/>
                  </a:lnTo>
                  <a:lnTo>
                    <a:pt x="752" y="57"/>
                  </a:lnTo>
                  <a:lnTo>
                    <a:pt x="753" y="55"/>
                  </a:lnTo>
                  <a:lnTo>
                    <a:pt x="753" y="54"/>
                  </a:lnTo>
                  <a:lnTo>
                    <a:pt x="753" y="51"/>
                  </a:lnTo>
                  <a:lnTo>
                    <a:pt x="753" y="48"/>
                  </a:lnTo>
                  <a:lnTo>
                    <a:pt x="753" y="48"/>
                  </a:lnTo>
                  <a:lnTo>
                    <a:pt x="754" y="46"/>
                  </a:lnTo>
                  <a:lnTo>
                    <a:pt x="759" y="45"/>
                  </a:lnTo>
                  <a:lnTo>
                    <a:pt x="759" y="44"/>
                  </a:lnTo>
                  <a:lnTo>
                    <a:pt x="760" y="41"/>
                  </a:lnTo>
                  <a:lnTo>
                    <a:pt x="762" y="41"/>
                  </a:lnTo>
                  <a:lnTo>
                    <a:pt x="762" y="41"/>
                  </a:lnTo>
                  <a:lnTo>
                    <a:pt x="762" y="41"/>
                  </a:lnTo>
                  <a:lnTo>
                    <a:pt x="763" y="41"/>
                  </a:lnTo>
                  <a:lnTo>
                    <a:pt x="763" y="44"/>
                  </a:lnTo>
                  <a:lnTo>
                    <a:pt x="763" y="46"/>
                  </a:lnTo>
                  <a:lnTo>
                    <a:pt x="763" y="48"/>
                  </a:lnTo>
                  <a:lnTo>
                    <a:pt x="765" y="49"/>
                  </a:lnTo>
                  <a:lnTo>
                    <a:pt x="768" y="57"/>
                  </a:lnTo>
                  <a:lnTo>
                    <a:pt x="768" y="58"/>
                  </a:lnTo>
                  <a:lnTo>
                    <a:pt x="769" y="58"/>
                  </a:lnTo>
                  <a:lnTo>
                    <a:pt x="771" y="57"/>
                  </a:lnTo>
                  <a:lnTo>
                    <a:pt x="772" y="57"/>
                  </a:lnTo>
                  <a:lnTo>
                    <a:pt x="773" y="54"/>
                  </a:lnTo>
                  <a:lnTo>
                    <a:pt x="781" y="46"/>
                  </a:lnTo>
                  <a:lnTo>
                    <a:pt x="781" y="46"/>
                  </a:lnTo>
                  <a:lnTo>
                    <a:pt x="782" y="45"/>
                  </a:lnTo>
                  <a:lnTo>
                    <a:pt x="784" y="44"/>
                  </a:lnTo>
                  <a:lnTo>
                    <a:pt x="789" y="42"/>
                  </a:lnTo>
                  <a:lnTo>
                    <a:pt x="792" y="39"/>
                  </a:lnTo>
                  <a:lnTo>
                    <a:pt x="792" y="41"/>
                  </a:lnTo>
                  <a:lnTo>
                    <a:pt x="794" y="41"/>
                  </a:lnTo>
                  <a:lnTo>
                    <a:pt x="795" y="45"/>
                  </a:lnTo>
                  <a:lnTo>
                    <a:pt x="805" y="57"/>
                  </a:lnTo>
                  <a:lnTo>
                    <a:pt x="805" y="58"/>
                  </a:lnTo>
                  <a:lnTo>
                    <a:pt x="805" y="58"/>
                  </a:lnTo>
                  <a:lnTo>
                    <a:pt x="807" y="61"/>
                  </a:lnTo>
                  <a:lnTo>
                    <a:pt x="805" y="71"/>
                  </a:lnTo>
                  <a:lnTo>
                    <a:pt x="807" y="77"/>
                  </a:lnTo>
                  <a:lnTo>
                    <a:pt x="807" y="77"/>
                  </a:lnTo>
                  <a:lnTo>
                    <a:pt x="807" y="78"/>
                  </a:lnTo>
                  <a:lnTo>
                    <a:pt x="808" y="81"/>
                  </a:lnTo>
                  <a:lnTo>
                    <a:pt x="820" y="93"/>
                  </a:lnTo>
                  <a:lnTo>
                    <a:pt x="823" y="96"/>
                  </a:lnTo>
                  <a:lnTo>
                    <a:pt x="823" y="97"/>
                  </a:lnTo>
                  <a:lnTo>
                    <a:pt x="823" y="99"/>
                  </a:lnTo>
                  <a:lnTo>
                    <a:pt x="823" y="100"/>
                  </a:lnTo>
                  <a:lnTo>
                    <a:pt x="823" y="100"/>
                  </a:lnTo>
                  <a:lnTo>
                    <a:pt x="823" y="102"/>
                  </a:lnTo>
                  <a:lnTo>
                    <a:pt x="823" y="103"/>
                  </a:lnTo>
                  <a:lnTo>
                    <a:pt x="822" y="103"/>
                  </a:lnTo>
                  <a:lnTo>
                    <a:pt x="819" y="106"/>
                  </a:lnTo>
                  <a:lnTo>
                    <a:pt x="816" y="111"/>
                  </a:lnTo>
                  <a:lnTo>
                    <a:pt x="816" y="113"/>
                  </a:lnTo>
                  <a:lnTo>
                    <a:pt x="816" y="115"/>
                  </a:lnTo>
                  <a:lnTo>
                    <a:pt x="816" y="116"/>
                  </a:lnTo>
                  <a:lnTo>
                    <a:pt x="816" y="119"/>
                  </a:lnTo>
                  <a:lnTo>
                    <a:pt x="816" y="121"/>
                  </a:lnTo>
                  <a:lnTo>
                    <a:pt x="816" y="122"/>
                  </a:lnTo>
                  <a:lnTo>
                    <a:pt x="814" y="124"/>
                  </a:lnTo>
                  <a:lnTo>
                    <a:pt x="814" y="124"/>
                  </a:lnTo>
                  <a:lnTo>
                    <a:pt x="810" y="129"/>
                  </a:lnTo>
                  <a:lnTo>
                    <a:pt x="808" y="131"/>
                  </a:lnTo>
                  <a:lnTo>
                    <a:pt x="808" y="132"/>
                  </a:lnTo>
                  <a:lnTo>
                    <a:pt x="808" y="134"/>
                  </a:lnTo>
                  <a:lnTo>
                    <a:pt x="811" y="135"/>
                  </a:lnTo>
                  <a:lnTo>
                    <a:pt x="814" y="135"/>
                  </a:lnTo>
                  <a:lnTo>
                    <a:pt x="817" y="134"/>
                  </a:lnTo>
                  <a:lnTo>
                    <a:pt x="819" y="132"/>
                  </a:lnTo>
                  <a:lnTo>
                    <a:pt x="819" y="131"/>
                  </a:lnTo>
                  <a:lnTo>
                    <a:pt x="820" y="127"/>
                  </a:lnTo>
                  <a:lnTo>
                    <a:pt x="820" y="125"/>
                  </a:lnTo>
                  <a:lnTo>
                    <a:pt x="822" y="125"/>
                  </a:lnTo>
                  <a:lnTo>
                    <a:pt x="823" y="124"/>
                  </a:lnTo>
                  <a:lnTo>
                    <a:pt x="824" y="124"/>
                  </a:lnTo>
                  <a:lnTo>
                    <a:pt x="826" y="124"/>
                  </a:lnTo>
                  <a:lnTo>
                    <a:pt x="826" y="122"/>
                  </a:lnTo>
                  <a:lnTo>
                    <a:pt x="827" y="121"/>
                  </a:lnTo>
                  <a:lnTo>
                    <a:pt x="829" y="118"/>
                  </a:lnTo>
                  <a:lnTo>
                    <a:pt x="830" y="116"/>
                  </a:lnTo>
                  <a:lnTo>
                    <a:pt x="832" y="116"/>
                  </a:lnTo>
                  <a:lnTo>
                    <a:pt x="833" y="116"/>
                  </a:lnTo>
                  <a:lnTo>
                    <a:pt x="833" y="116"/>
                  </a:lnTo>
                  <a:lnTo>
                    <a:pt x="835" y="118"/>
                  </a:lnTo>
                  <a:lnTo>
                    <a:pt x="836" y="119"/>
                  </a:lnTo>
                  <a:lnTo>
                    <a:pt x="836" y="119"/>
                  </a:lnTo>
                  <a:lnTo>
                    <a:pt x="836" y="121"/>
                  </a:lnTo>
                  <a:lnTo>
                    <a:pt x="835" y="122"/>
                  </a:lnTo>
                  <a:lnTo>
                    <a:pt x="835" y="124"/>
                  </a:lnTo>
                  <a:lnTo>
                    <a:pt x="833" y="125"/>
                  </a:lnTo>
                  <a:lnTo>
                    <a:pt x="833" y="125"/>
                  </a:lnTo>
                  <a:lnTo>
                    <a:pt x="833" y="125"/>
                  </a:lnTo>
                  <a:lnTo>
                    <a:pt x="839" y="129"/>
                  </a:lnTo>
                  <a:lnTo>
                    <a:pt x="839" y="131"/>
                  </a:lnTo>
                  <a:lnTo>
                    <a:pt x="839" y="131"/>
                  </a:lnTo>
                  <a:lnTo>
                    <a:pt x="840" y="138"/>
                  </a:lnTo>
                  <a:lnTo>
                    <a:pt x="842" y="143"/>
                  </a:lnTo>
                  <a:lnTo>
                    <a:pt x="842" y="145"/>
                  </a:lnTo>
                  <a:lnTo>
                    <a:pt x="840" y="148"/>
                  </a:lnTo>
                  <a:lnTo>
                    <a:pt x="840" y="151"/>
                  </a:lnTo>
                  <a:lnTo>
                    <a:pt x="840" y="153"/>
                  </a:lnTo>
                  <a:lnTo>
                    <a:pt x="840" y="154"/>
                  </a:lnTo>
                  <a:lnTo>
                    <a:pt x="842" y="166"/>
                  </a:lnTo>
                  <a:lnTo>
                    <a:pt x="842" y="166"/>
                  </a:lnTo>
                  <a:lnTo>
                    <a:pt x="842" y="167"/>
                  </a:lnTo>
                  <a:lnTo>
                    <a:pt x="842" y="167"/>
                  </a:lnTo>
                  <a:lnTo>
                    <a:pt x="843" y="169"/>
                  </a:lnTo>
                  <a:lnTo>
                    <a:pt x="846" y="169"/>
                  </a:lnTo>
                  <a:lnTo>
                    <a:pt x="871" y="169"/>
                  </a:lnTo>
                  <a:lnTo>
                    <a:pt x="874" y="167"/>
                  </a:lnTo>
                  <a:lnTo>
                    <a:pt x="877" y="164"/>
                  </a:lnTo>
                  <a:lnTo>
                    <a:pt x="887" y="153"/>
                  </a:lnTo>
                  <a:lnTo>
                    <a:pt x="887" y="151"/>
                  </a:lnTo>
                  <a:lnTo>
                    <a:pt x="887" y="148"/>
                  </a:lnTo>
                  <a:lnTo>
                    <a:pt x="887" y="148"/>
                  </a:lnTo>
                  <a:lnTo>
                    <a:pt x="886" y="147"/>
                  </a:lnTo>
                  <a:lnTo>
                    <a:pt x="886" y="145"/>
                  </a:lnTo>
                  <a:lnTo>
                    <a:pt x="886" y="145"/>
                  </a:lnTo>
                  <a:lnTo>
                    <a:pt x="884" y="144"/>
                  </a:lnTo>
                  <a:lnTo>
                    <a:pt x="884" y="144"/>
                  </a:lnTo>
                  <a:lnTo>
                    <a:pt x="884" y="144"/>
                  </a:lnTo>
                  <a:lnTo>
                    <a:pt x="886" y="141"/>
                  </a:lnTo>
                  <a:lnTo>
                    <a:pt x="894" y="135"/>
                  </a:lnTo>
                  <a:lnTo>
                    <a:pt x="896" y="135"/>
                  </a:lnTo>
                  <a:lnTo>
                    <a:pt x="897" y="137"/>
                  </a:lnTo>
                  <a:lnTo>
                    <a:pt x="899" y="138"/>
                  </a:lnTo>
                  <a:lnTo>
                    <a:pt x="900" y="140"/>
                  </a:lnTo>
                  <a:lnTo>
                    <a:pt x="900" y="140"/>
                  </a:lnTo>
                  <a:lnTo>
                    <a:pt x="899" y="143"/>
                  </a:lnTo>
                  <a:lnTo>
                    <a:pt x="899" y="144"/>
                  </a:lnTo>
                  <a:lnTo>
                    <a:pt x="897" y="144"/>
                  </a:lnTo>
                  <a:lnTo>
                    <a:pt x="897" y="145"/>
                  </a:lnTo>
                  <a:lnTo>
                    <a:pt x="897" y="147"/>
                  </a:lnTo>
                  <a:lnTo>
                    <a:pt x="899" y="148"/>
                  </a:lnTo>
                  <a:lnTo>
                    <a:pt x="900" y="150"/>
                  </a:lnTo>
                  <a:lnTo>
                    <a:pt x="902" y="150"/>
                  </a:lnTo>
                  <a:lnTo>
                    <a:pt x="903" y="150"/>
                  </a:lnTo>
                  <a:lnTo>
                    <a:pt x="905" y="150"/>
                  </a:lnTo>
                  <a:lnTo>
                    <a:pt x="905" y="150"/>
                  </a:lnTo>
                  <a:lnTo>
                    <a:pt x="906" y="150"/>
                  </a:lnTo>
                  <a:lnTo>
                    <a:pt x="907" y="151"/>
                  </a:lnTo>
                  <a:lnTo>
                    <a:pt x="909" y="153"/>
                  </a:lnTo>
                  <a:lnTo>
                    <a:pt x="909" y="154"/>
                  </a:lnTo>
                  <a:lnTo>
                    <a:pt x="909" y="156"/>
                  </a:lnTo>
                  <a:lnTo>
                    <a:pt x="907" y="159"/>
                  </a:lnTo>
                  <a:lnTo>
                    <a:pt x="906" y="161"/>
                  </a:lnTo>
                  <a:lnTo>
                    <a:pt x="906" y="163"/>
                  </a:lnTo>
                  <a:lnTo>
                    <a:pt x="906" y="164"/>
                  </a:lnTo>
                  <a:lnTo>
                    <a:pt x="910" y="173"/>
                  </a:lnTo>
                  <a:lnTo>
                    <a:pt x="907" y="182"/>
                  </a:lnTo>
                  <a:lnTo>
                    <a:pt x="906" y="185"/>
                  </a:lnTo>
                  <a:lnTo>
                    <a:pt x="905" y="186"/>
                  </a:lnTo>
                  <a:lnTo>
                    <a:pt x="903" y="188"/>
                  </a:lnTo>
                  <a:lnTo>
                    <a:pt x="903" y="189"/>
                  </a:lnTo>
                  <a:lnTo>
                    <a:pt x="905" y="191"/>
                  </a:lnTo>
                  <a:lnTo>
                    <a:pt x="910" y="192"/>
                  </a:lnTo>
                  <a:lnTo>
                    <a:pt x="912" y="194"/>
                  </a:lnTo>
                  <a:lnTo>
                    <a:pt x="913" y="194"/>
                  </a:lnTo>
                  <a:lnTo>
                    <a:pt x="913" y="195"/>
                  </a:lnTo>
                  <a:lnTo>
                    <a:pt x="923" y="220"/>
                  </a:lnTo>
                  <a:lnTo>
                    <a:pt x="923" y="221"/>
                  </a:lnTo>
                  <a:lnTo>
                    <a:pt x="923" y="223"/>
                  </a:lnTo>
                  <a:lnTo>
                    <a:pt x="921" y="221"/>
                  </a:lnTo>
                  <a:lnTo>
                    <a:pt x="919" y="221"/>
                  </a:lnTo>
                  <a:lnTo>
                    <a:pt x="916" y="220"/>
                  </a:lnTo>
                  <a:lnTo>
                    <a:pt x="915" y="220"/>
                  </a:lnTo>
                  <a:lnTo>
                    <a:pt x="913" y="220"/>
                  </a:lnTo>
                  <a:lnTo>
                    <a:pt x="906" y="227"/>
                  </a:lnTo>
                  <a:lnTo>
                    <a:pt x="906" y="237"/>
                  </a:lnTo>
                  <a:lnTo>
                    <a:pt x="906" y="239"/>
                  </a:lnTo>
                  <a:lnTo>
                    <a:pt x="906" y="243"/>
                  </a:lnTo>
                  <a:lnTo>
                    <a:pt x="906" y="246"/>
                  </a:lnTo>
                  <a:lnTo>
                    <a:pt x="910" y="250"/>
                  </a:lnTo>
                  <a:lnTo>
                    <a:pt x="912" y="252"/>
                  </a:lnTo>
                  <a:lnTo>
                    <a:pt x="913" y="253"/>
                  </a:lnTo>
                  <a:lnTo>
                    <a:pt x="915" y="253"/>
                  </a:lnTo>
                  <a:lnTo>
                    <a:pt x="916" y="253"/>
                  </a:lnTo>
                  <a:lnTo>
                    <a:pt x="916" y="255"/>
                  </a:lnTo>
                  <a:lnTo>
                    <a:pt x="918" y="255"/>
                  </a:lnTo>
                  <a:lnTo>
                    <a:pt x="918" y="256"/>
                  </a:lnTo>
                  <a:lnTo>
                    <a:pt x="918" y="258"/>
                  </a:lnTo>
                  <a:lnTo>
                    <a:pt x="915" y="265"/>
                  </a:lnTo>
                  <a:lnTo>
                    <a:pt x="915" y="266"/>
                  </a:lnTo>
                  <a:lnTo>
                    <a:pt x="916" y="269"/>
                  </a:lnTo>
                  <a:lnTo>
                    <a:pt x="919" y="275"/>
                  </a:lnTo>
                  <a:lnTo>
                    <a:pt x="919" y="278"/>
                  </a:lnTo>
                  <a:lnTo>
                    <a:pt x="919" y="281"/>
                  </a:lnTo>
                  <a:lnTo>
                    <a:pt x="919" y="282"/>
                  </a:lnTo>
                  <a:lnTo>
                    <a:pt x="918" y="282"/>
                  </a:lnTo>
                  <a:lnTo>
                    <a:pt x="916" y="282"/>
                  </a:lnTo>
                  <a:lnTo>
                    <a:pt x="913" y="281"/>
                  </a:lnTo>
                  <a:lnTo>
                    <a:pt x="912" y="281"/>
                  </a:lnTo>
                  <a:lnTo>
                    <a:pt x="910" y="279"/>
                  </a:lnTo>
                  <a:lnTo>
                    <a:pt x="909" y="279"/>
                  </a:lnTo>
                  <a:lnTo>
                    <a:pt x="909" y="279"/>
                  </a:lnTo>
                  <a:lnTo>
                    <a:pt x="909" y="281"/>
                  </a:lnTo>
                  <a:lnTo>
                    <a:pt x="907" y="282"/>
                  </a:lnTo>
                  <a:lnTo>
                    <a:pt x="909" y="284"/>
                  </a:lnTo>
                  <a:lnTo>
                    <a:pt x="909" y="285"/>
                  </a:lnTo>
                  <a:lnTo>
                    <a:pt x="915" y="291"/>
                  </a:lnTo>
                  <a:lnTo>
                    <a:pt x="915" y="291"/>
                  </a:lnTo>
                  <a:lnTo>
                    <a:pt x="915" y="294"/>
                  </a:lnTo>
                  <a:lnTo>
                    <a:pt x="915" y="298"/>
                  </a:lnTo>
                  <a:lnTo>
                    <a:pt x="915" y="300"/>
                  </a:lnTo>
                  <a:lnTo>
                    <a:pt x="915" y="303"/>
                  </a:lnTo>
                  <a:lnTo>
                    <a:pt x="915" y="304"/>
                  </a:lnTo>
                  <a:lnTo>
                    <a:pt x="916" y="306"/>
                  </a:lnTo>
                  <a:lnTo>
                    <a:pt x="919" y="309"/>
                  </a:lnTo>
                  <a:lnTo>
                    <a:pt x="919" y="310"/>
                  </a:lnTo>
                  <a:lnTo>
                    <a:pt x="921" y="311"/>
                  </a:lnTo>
                  <a:lnTo>
                    <a:pt x="919" y="313"/>
                  </a:lnTo>
                  <a:lnTo>
                    <a:pt x="919" y="313"/>
                  </a:lnTo>
                  <a:lnTo>
                    <a:pt x="918" y="314"/>
                  </a:lnTo>
                  <a:lnTo>
                    <a:pt x="916" y="314"/>
                  </a:lnTo>
                  <a:lnTo>
                    <a:pt x="916" y="314"/>
                  </a:lnTo>
                  <a:lnTo>
                    <a:pt x="915" y="314"/>
                  </a:lnTo>
                  <a:lnTo>
                    <a:pt x="915" y="316"/>
                  </a:lnTo>
                  <a:lnTo>
                    <a:pt x="916" y="317"/>
                  </a:lnTo>
                  <a:lnTo>
                    <a:pt x="919" y="320"/>
                  </a:lnTo>
                  <a:lnTo>
                    <a:pt x="925" y="325"/>
                  </a:lnTo>
                  <a:lnTo>
                    <a:pt x="926" y="325"/>
                  </a:lnTo>
                  <a:lnTo>
                    <a:pt x="928" y="327"/>
                  </a:lnTo>
                  <a:lnTo>
                    <a:pt x="935" y="336"/>
                  </a:lnTo>
                  <a:lnTo>
                    <a:pt x="940" y="342"/>
                  </a:lnTo>
                  <a:lnTo>
                    <a:pt x="941" y="342"/>
                  </a:lnTo>
                  <a:lnTo>
                    <a:pt x="942" y="342"/>
                  </a:lnTo>
                  <a:lnTo>
                    <a:pt x="945" y="339"/>
                  </a:lnTo>
                  <a:lnTo>
                    <a:pt x="947" y="339"/>
                  </a:lnTo>
                  <a:lnTo>
                    <a:pt x="947" y="339"/>
                  </a:lnTo>
                  <a:lnTo>
                    <a:pt x="948" y="339"/>
                  </a:lnTo>
                  <a:lnTo>
                    <a:pt x="948" y="339"/>
                  </a:lnTo>
                  <a:lnTo>
                    <a:pt x="950" y="339"/>
                  </a:lnTo>
                  <a:lnTo>
                    <a:pt x="956" y="345"/>
                  </a:lnTo>
                  <a:lnTo>
                    <a:pt x="956" y="345"/>
                  </a:lnTo>
                  <a:lnTo>
                    <a:pt x="956" y="348"/>
                  </a:lnTo>
                  <a:lnTo>
                    <a:pt x="957" y="351"/>
                  </a:lnTo>
                  <a:lnTo>
                    <a:pt x="956" y="357"/>
                  </a:lnTo>
                  <a:lnTo>
                    <a:pt x="956" y="360"/>
                  </a:lnTo>
                  <a:lnTo>
                    <a:pt x="954" y="361"/>
                  </a:lnTo>
                  <a:lnTo>
                    <a:pt x="954" y="361"/>
                  </a:lnTo>
                  <a:lnTo>
                    <a:pt x="954" y="362"/>
                  </a:lnTo>
                  <a:lnTo>
                    <a:pt x="953" y="362"/>
                  </a:lnTo>
                  <a:lnTo>
                    <a:pt x="953" y="365"/>
                  </a:lnTo>
                  <a:lnTo>
                    <a:pt x="953" y="365"/>
                  </a:lnTo>
                  <a:lnTo>
                    <a:pt x="951" y="367"/>
                  </a:lnTo>
                  <a:lnTo>
                    <a:pt x="951" y="367"/>
                  </a:lnTo>
                  <a:lnTo>
                    <a:pt x="950" y="367"/>
                  </a:lnTo>
                  <a:lnTo>
                    <a:pt x="950" y="368"/>
                  </a:lnTo>
                  <a:lnTo>
                    <a:pt x="948" y="368"/>
                  </a:lnTo>
                  <a:lnTo>
                    <a:pt x="947" y="367"/>
                  </a:lnTo>
                  <a:lnTo>
                    <a:pt x="945" y="367"/>
                  </a:lnTo>
                  <a:lnTo>
                    <a:pt x="945" y="368"/>
                  </a:lnTo>
                  <a:lnTo>
                    <a:pt x="944" y="368"/>
                  </a:lnTo>
                  <a:lnTo>
                    <a:pt x="944" y="370"/>
                  </a:lnTo>
                  <a:lnTo>
                    <a:pt x="944" y="370"/>
                  </a:lnTo>
                  <a:lnTo>
                    <a:pt x="945" y="371"/>
                  </a:lnTo>
                  <a:lnTo>
                    <a:pt x="950" y="374"/>
                  </a:lnTo>
                  <a:lnTo>
                    <a:pt x="953" y="374"/>
                  </a:lnTo>
                  <a:lnTo>
                    <a:pt x="954" y="376"/>
                  </a:lnTo>
                  <a:lnTo>
                    <a:pt x="956" y="376"/>
                  </a:lnTo>
                  <a:lnTo>
                    <a:pt x="956" y="377"/>
                  </a:lnTo>
                  <a:lnTo>
                    <a:pt x="956" y="378"/>
                  </a:lnTo>
                  <a:lnTo>
                    <a:pt x="954" y="380"/>
                  </a:lnTo>
                  <a:lnTo>
                    <a:pt x="954" y="381"/>
                  </a:lnTo>
                  <a:lnTo>
                    <a:pt x="954" y="381"/>
                  </a:lnTo>
                  <a:lnTo>
                    <a:pt x="956" y="384"/>
                  </a:lnTo>
                  <a:lnTo>
                    <a:pt x="961" y="389"/>
                  </a:lnTo>
                  <a:lnTo>
                    <a:pt x="961" y="392"/>
                  </a:lnTo>
                  <a:lnTo>
                    <a:pt x="960" y="393"/>
                  </a:lnTo>
                  <a:lnTo>
                    <a:pt x="960" y="394"/>
                  </a:lnTo>
                  <a:lnTo>
                    <a:pt x="960" y="396"/>
                  </a:lnTo>
                  <a:lnTo>
                    <a:pt x="960" y="396"/>
                  </a:lnTo>
                  <a:lnTo>
                    <a:pt x="960" y="397"/>
                  </a:lnTo>
                  <a:lnTo>
                    <a:pt x="960" y="397"/>
                  </a:lnTo>
                  <a:lnTo>
                    <a:pt x="963" y="399"/>
                  </a:lnTo>
                  <a:lnTo>
                    <a:pt x="969" y="402"/>
                  </a:lnTo>
                  <a:lnTo>
                    <a:pt x="970" y="402"/>
                  </a:lnTo>
                  <a:lnTo>
                    <a:pt x="973" y="402"/>
                  </a:lnTo>
                  <a:lnTo>
                    <a:pt x="974" y="402"/>
                  </a:lnTo>
                  <a:lnTo>
                    <a:pt x="976" y="402"/>
                  </a:lnTo>
                  <a:lnTo>
                    <a:pt x="982" y="406"/>
                  </a:lnTo>
                  <a:lnTo>
                    <a:pt x="982" y="406"/>
                  </a:lnTo>
                  <a:lnTo>
                    <a:pt x="983" y="406"/>
                  </a:lnTo>
                  <a:lnTo>
                    <a:pt x="988" y="406"/>
                  </a:lnTo>
                  <a:lnTo>
                    <a:pt x="988" y="408"/>
                  </a:lnTo>
                  <a:lnTo>
                    <a:pt x="989" y="409"/>
                  </a:lnTo>
                  <a:lnTo>
                    <a:pt x="990" y="412"/>
                  </a:lnTo>
                  <a:lnTo>
                    <a:pt x="992" y="418"/>
                  </a:lnTo>
                  <a:lnTo>
                    <a:pt x="993" y="421"/>
                  </a:lnTo>
                  <a:lnTo>
                    <a:pt x="1008" y="432"/>
                  </a:lnTo>
                  <a:lnTo>
                    <a:pt x="1011" y="438"/>
                  </a:lnTo>
                  <a:lnTo>
                    <a:pt x="1015" y="442"/>
                  </a:lnTo>
                  <a:lnTo>
                    <a:pt x="1017" y="444"/>
                  </a:lnTo>
                  <a:lnTo>
                    <a:pt x="1017" y="444"/>
                  </a:lnTo>
                  <a:lnTo>
                    <a:pt x="1017" y="445"/>
                  </a:lnTo>
                  <a:lnTo>
                    <a:pt x="1018" y="445"/>
                  </a:lnTo>
                  <a:lnTo>
                    <a:pt x="1020" y="450"/>
                  </a:lnTo>
                  <a:lnTo>
                    <a:pt x="1020" y="451"/>
                  </a:lnTo>
                  <a:lnTo>
                    <a:pt x="1023" y="453"/>
                  </a:lnTo>
                  <a:lnTo>
                    <a:pt x="1023" y="454"/>
                  </a:lnTo>
                  <a:lnTo>
                    <a:pt x="1024" y="456"/>
                  </a:lnTo>
                  <a:lnTo>
                    <a:pt x="1024" y="457"/>
                  </a:lnTo>
                  <a:lnTo>
                    <a:pt x="1025" y="460"/>
                  </a:lnTo>
                  <a:lnTo>
                    <a:pt x="1027" y="466"/>
                  </a:lnTo>
                  <a:lnTo>
                    <a:pt x="1027" y="467"/>
                  </a:lnTo>
                  <a:lnTo>
                    <a:pt x="1027" y="469"/>
                  </a:lnTo>
                  <a:lnTo>
                    <a:pt x="1025" y="470"/>
                  </a:lnTo>
                  <a:lnTo>
                    <a:pt x="1024" y="470"/>
                  </a:lnTo>
                  <a:lnTo>
                    <a:pt x="1020" y="472"/>
                  </a:lnTo>
                  <a:lnTo>
                    <a:pt x="1020" y="472"/>
                  </a:lnTo>
                  <a:lnTo>
                    <a:pt x="1018" y="473"/>
                  </a:lnTo>
                  <a:lnTo>
                    <a:pt x="1020" y="473"/>
                  </a:lnTo>
                  <a:lnTo>
                    <a:pt x="1021" y="476"/>
                  </a:lnTo>
                  <a:lnTo>
                    <a:pt x="1023" y="477"/>
                  </a:lnTo>
                  <a:lnTo>
                    <a:pt x="1023" y="479"/>
                  </a:lnTo>
                  <a:lnTo>
                    <a:pt x="1023" y="483"/>
                  </a:lnTo>
                  <a:lnTo>
                    <a:pt x="1021" y="496"/>
                  </a:lnTo>
                  <a:lnTo>
                    <a:pt x="1021" y="498"/>
                  </a:lnTo>
                  <a:lnTo>
                    <a:pt x="1021" y="499"/>
                  </a:lnTo>
                  <a:lnTo>
                    <a:pt x="1020" y="502"/>
                  </a:lnTo>
                  <a:lnTo>
                    <a:pt x="1020" y="502"/>
                  </a:lnTo>
                  <a:lnTo>
                    <a:pt x="1020" y="504"/>
                  </a:lnTo>
                  <a:lnTo>
                    <a:pt x="1020" y="505"/>
                  </a:lnTo>
                  <a:lnTo>
                    <a:pt x="1023" y="509"/>
                  </a:lnTo>
                  <a:lnTo>
                    <a:pt x="1023" y="511"/>
                  </a:lnTo>
                  <a:lnTo>
                    <a:pt x="1024" y="511"/>
                  </a:lnTo>
                  <a:lnTo>
                    <a:pt x="1024" y="512"/>
                  </a:lnTo>
                  <a:lnTo>
                    <a:pt x="1024" y="515"/>
                  </a:lnTo>
                  <a:lnTo>
                    <a:pt x="1023" y="520"/>
                  </a:lnTo>
                  <a:lnTo>
                    <a:pt x="1023" y="521"/>
                  </a:lnTo>
                  <a:lnTo>
                    <a:pt x="1021" y="523"/>
                  </a:lnTo>
                  <a:lnTo>
                    <a:pt x="1021" y="524"/>
                  </a:lnTo>
                  <a:lnTo>
                    <a:pt x="1018" y="525"/>
                  </a:lnTo>
                  <a:lnTo>
                    <a:pt x="1017" y="527"/>
                  </a:lnTo>
                  <a:lnTo>
                    <a:pt x="1017" y="528"/>
                  </a:lnTo>
                  <a:lnTo>
                    <a:pt x="1017" y="533"/>
                  </a:lnTo>
                  <a:lnTo>
                    <a:pt x="1017" y="539"/>
                  </a:lnTo>
                  <a:lnTo>
                    <a:pt x="1017" y="541"/>
                  </a:lnTo>
                  <a:lnTo>
                    <a:pt x="1017" y="543"/>
                  </a:lnTo>
                  <a:lnTo>
                    <a:pt x="1015" y="544"/>
                  </a:lnTo>
                  <a:lnTo>
                    <a:pt x="1015" y="544"/>
                  </a:lnTo>
                  <a:lnTo>
                    <a:pt x="1015" y="546"/>
                  </a:lnTo>
                  <a:lnTo>
                    <a:pt x="1014" y="547"/>
                  </a:lnTo>
                  <a:lnTo>
                    <a:pt x="1014" y="549"/>
                  </a:lnTo>
                  <a:lnTo>
                    <a:pt x="1014" y="549"/>
                  </a:lnTo>
                  <a:lnTo>
                    <a:pt x="1014" y="552"/>
                  </a:lnTo>
                  <a:lnTo>
                    <a:pt x="1014" y="555"/>
                  </a:lnTo>
                  <a:lnTo>
                    <a:pt x="1015" y="556"/>
                  </a:lnTo>
                  <a:lnTo>
                    <a:pt x="1015" y="556"/>
                  </a:lnTo>
                  <a:lnTo>
                    <a:pt x="1017" y="559"/>
                  </a:lnTo>
                  <a:lnTo>
                    <a:pt x="1024" y="563"/>
                  </a:lnTo>
                  <a:lnTo>
                    <a:pt x="1027" y="562"/>
                  </a:lnTo>
                  <a:lnTo>
                    <a:pt x="1027" y="563"/>
                  </a:lnTo>
                  <a:lnTo>
                    <a:pt x="1028" y="563"/>
                  </a:lnTo>
                  <a:lnTo>
                    <a:pt x="1028" y="566"/>
                  </a:lnTo>
                  <a:lnTo>
                    <a:pt x="1030" y="571"/>
                  </a:lnTo>
                  <a:lnTo>
                    <a:pt x="1036" y="582"/>
                  </a:lnTo>
                  <a:lnTo>
                    <a:pt x="1021" y="595"/>
                  </a:lnTo>
                  <a:lnTo>
                    <a:pt x="1017" y="598"/>
                  </a:lnTo>
                  <a:lnTo>
                    <a:pt x="1015" y="598"/>
                  </a:lnTo>
                  <a:lnTo>
                    <a:pt x="1015" y="598"/>
                  </a:lnTo>
                  <a:lnTo>
                    <a:pt x="1015" y="597"/>
                  </a:lnTo>
                  <a:lnTo>
                    <a:pt x="1014" y="595"/>
                  </a:lnTo>
                  <a:lnTo>
                    <a:pt x="1014" y="594"/>
                  </a:lnTo>
                  <a:lnTo>
                    <a:pt x="1014" y="592"/>
                  </a:lnTo>
                  <a:lnTo>
                    <a:pt x="1014" y="592"/>
                  </a:lnTo>
                  <a:lnTo>
                    <a:pt x="1015" y="591"/>
                  </a:lnTo>
                  <a:lnTo>
                    <a:pt x="1017" y="588"/>
                  </a:lnTo>
                  <a:lnTo>
                    <a:pt x="1017" y="587"/>
                  </a:lnTo>
                  <a:lnTo>
                    <a:pt x="1015" y="585"/>
                  </a:lnTo>
                  <a:lnTo>
                    <a:pt x="1017" y="584"/>
                  </a:lnTo>
                  <a:lnTo>
                    <a:pt x="1018" y="584"/>
                  </a:lnTo>
                  <a:lnTo>
                    <a:pt x="1018" y="582"/>
                  </a:lnTo>
                  <a:lnTo>
                    <a:pt x="1018" y="582"/>
                  </a:lnTo>
                  <a:lnTo>
                    <a:pt x="1018" y="579"/>
                  </a:lnTo>
                  <a:lnTo>
                    <a:pt x="1017" y="579"/>
                  </a:lnTo>
                  <a:lnTo>
                    <a:pt x="1015" y="579"/>
                  </a:lnTo>
                  <a:lnTo>
                    <a:pt x="1014" y="579"/>
                  </a:lnTo>
                  <a:lnTo>
                    <a:pt x="1011" y="581"/>
                  </a:lnTo>
                  <a:lnTo>
                    <a:pt x="996" y="598"/>
                  </a:lnTo>
                  <a:lnTo>
                    <a:pt x="995" y="600"/>
                  </a:lnTo>
                  <a:lnTo>
                    <a:pt x="993" y="600"/>
                  </a:lnTo>
                  <a:lnTo>
                    <a:pt x="993" y="600"/>
                  </a:lnTo>
                  <a:lnTo>
                    <a:pt x="992" y="598"/>
                  </a:lnTo>
                  <a:lnTo>
                    <a:pt x="989" y="595"/>
                  </a:lnTo>
                  <a:lnTo>
                    <a:pt x="988" y="588"/>
                  </a:lnTo>
                  <a:lnTo>
                    <a:pt x="986" y="587"/>
                  </a:lnTo>
                  <a:lnTo>
                    <a:pt x="985" y="587"/>
                  </a:lnTo>
                  <a:lnTo>
                    <a:pt x="977" y="587"/>
                  </a:lnTo>
                  <a:lnTo>
                    <a:pt x="976" y="587"/>
                  </a:lnTo>
                  <a:lnTo>
                    <a:pt x="974" y="587"/>
                  </a:lnTo>
                  <a:lnTo>
                    <a:pt x="973" y="585"/>
                  </a:lnTo>
                  <a:lnTo>
                    <a:pt x="969" y="581"/>
                  </a:lnTo>
                  <a:lnTo>
                    <a:pt x="967" y="579"/>
                  </a:lnTo>
                  <a:lnTo>
                    <a:pt x="966" y="579"/>
                  </a:lnTo>
                  <a:lnTo>
                    <a:pt x="964" y="581"/>
                  </a:lnTo>
                  <a:lnTo>
                    <a:pt x="963" y="587"/>
                  </a:lnTo>
                  <a:lnTo>
                    <a:pt x="958" y="590"/>
                  </a:lnTo>
                  <a:lnTo>
                    <a:pt x="958" y="590"/>
                  </a:lnTo>
                  <a:lnTo>
                    <a:pt x="958" y="591"/>
                  </a:lnTo>
                  <a:lnTo>
                    <a:pt x="958" y="597"/>
                  </a:lnTo>
                  <a:lnTo>
                    <a:pt x="958" y="601"/>
                  </a:lnTo>
                  <a:lnTo>
                    <a:pt x="960" y="603"/>
                  </a:lnTo>
                  <a:lnTo>
                    <a:pt x="961" y="604"/>
                  </a:lnTo>
                  <a:lnTo>
                    <a:pt x="963" y="606"/>
                  </a:lnTo>
                  <a:lnTo>
                    <a:pt x="963" y="606"/>
                  </a:lnTo>
                  <a:lnTo>
                    <a:pt x="963" y="608"/>
                  </a:lnTo>
                  <a:lnTo>
                    <a:pt x="964" y="610"/>
                  </a:lnTo>
                  <a:lnTo>
                    <a:pt x="964" y="610"/>
                  </a:lnTo>
                  <a:lnTo>
                    <a:pt x="966" y="611"/>
                  </a:lnTo>
                  <a:lnTo>
                    <a:pt x="969" y="611"/>
                  </a:lnTo>
                  <a:lnTo>
                    <a:pt x="970" y="613"/>
                  </a:lnTo>
                  <a:lnTo>
                    <a:pt x="972" y="614"/>
                  </a:lnTo>
                  <a:lnTo>
                    <a:pt x="973" y="617"/>
                  </a:lnTo>
                  <a:lnTo>
                    <a:pt x="976" y="619"/>
                  </a:lnTo>
                  <a:lnTo>
                    <a:pt x="979" y="620"/>
                  </a:lnTo>
                  <a:lnTo>
                    <a:pt x="979" y="620"/>
                  </a:lnTo>
                  <a:lnTo>
                    <a:pt x="980" y="622"/>
                  </a:lnTo>
                  <a:lnTo>
                    <a:pt x="980" y="623"/>
                  </a:lnTo>
                  <a:lnTo>
                    <a:pt x="980" y="624"/>
                  </a:lnTo>
                  <a:lnTo>
                    <a:pt x="979" y="626"/>
                  </a:lnTo>
                  <a:lnTo>
                    <a:pt x="977" y="627"/>
                  </a:lnTo>
                  <a:lnTo>
                    <a:pt x="974" y="629"/>
                  </a:lnTo>
                  <a:lnTo>
                    <a:pt x="973" y="629"/>
                  </a:lnTo>
                  <a:lnTo>
                    <a:pt x="973" y="630"/>
                  </a:lnTo>
                  <a:lnTo>
                    <a:pt x="972" y="632"/>
                  </a:lnTo>
                  <a:lnTo>
                    <a:pt x="973" y="633"/>
                  </a:lnTo>
                  <a:lnTo>
                    <a:pt x="973" y="635"/>
                  </a:lnTo>
                  <a:lnTo>
                    <a:pt x="973" y="636"/>
                  </a:lnTo>
                  <a:lnTo>
                    <a:pt x="974" y="638"/>
                  </a:lnTo>
                  <a:lnTo>
                    <a:pt x="976" y="641"/>
                  </a:lnTo>
                  <a:lnTo>
                    <a:pt x="976" y="642"/>
                  </a:lnTo>
                  <a:lnTo>
                    <a:pt x="976" y="645"/>
                  </a:lnTo>
                  <a:lnTo>
                    <a:pt x="977" y="648"/>
                  </a:lnTo>
                  <a:lnTo>
                    <a:pt x="977" y="651"/>
                  </a:lnTo>
                  <a:lnTo>
                    <a:pt x="976" y="654"/>
                  </a:lnTo>
                  <a:lnTo>
                    <a:pt x="973" y="664"/>
                  </a:lnTo>
                  <a:lnTo>
                    <a:pt x="973" y="665"/>
                  </a:lnTo>
                  <a:lnTo>
                    <a:pt x="973" y="667"/>
                  </a:lnTo>
                  <a:lnTo>
                    <a:pt x="973" y="667"/>
                  </a:lnTo>
                  <a:lnTo>
                    <a:pt x="973" y="668"/>
                  </a:lnTo>
                  <a:lnTo>
                    <a:pt x="974" y="668"/>
                  </a:lnTo>
                  <a:lnTo>
                    <a:pt x="974" y="670"/>
                  </a:lnTo>
                  <a:lnTo>
                    <a:pt x="974" y="670"/>
                  </a:lnTo>
                  <a:lnTo>
                    <a:pt x="973" y="670"/>
                  </a:lnTo>
                  <a:lnTo>
                    <a:pt x="960" y="671"/>
                  </a:lnTo>
                  <a:lnTo>
                    <a:pt x="957" y="671"/>
                  </a:lnTo>
                  <a:lnTo>
                    <a:pt x="957" y="673"/>
                  </a:lnTo>
                  <a:lnTo>
                    <a:pt x="956" y="673"/>
                  </a:lnTo>
                  <a:lnTo>
                    <a:pt x="953" y="675"/>
                  </a:lnTo>
                  <a:lnTo>
                    <a:pt x="953" y="677"/>
                  </a:lnTo>
                  <a:lnTo>
                    <a:pt x="953" y="677"/>
                  </a:lnTo>
                  <a:lnTo>
                    <a:pt x="951" y="683"/>
                  </a:lnTo>
                  <a:lnTo>
                    <a:pt x="918" y="705"/>
                  </a:lnTo>
                  <a:lnTo>
                    <a:pt x="916" y="703"/>
                  </a:lnTo>
                  <a:lnTo>
                    <a:pt x="915" y="703"/>
                  </a:lnTo>
                  <a:lnTo>
                    <a:pt x="915" y="703"/>
                  </a:lnTo>
                  <a:lnTo>
                    <a:pt x="913" y="702"/>
                  </a:lnTo>
                  <a:lnTo>
                    <a:pt x="913" y="702"/>
                  </a:lnTo>
                  <a:lnTo>
                    <a:pt x="913" y="700"/>
                  </a:lnTo>
                  <a:lnTo>
                    <a:pt x="913" y="697"/>
                  </a:lnTo>
                  <a:lnTo>
                    <a:pt x="912" y="696"/>
                  </a:lnTo>
                  <a:lnTo>
                    <a:pt x="912" y="694"/>
                  </a:lnTo>
                  <a:lnTo>
                    <a:pt x="912" y="694"/>
                  </a:lnTo>
                  <a:lnTo>
                    <a:pt x="910" y="693"/>
                  </a:lnTo>
                  <a:lnTo>
                    <a:pt x="910" y="693"/>
                  </a:lnTo>
                  <a:lnTo>
                    <a:pt x="909" y="693"/>
                  </a:lnTo>
                  <a:lnTo>
                    <a:pt x="907" y="693"/>
                  </a:lnTo>
                  <a:lnTo>
                    <a:pt x="906" y="693"/>
                  </a:lnTo>
                  <a:lnTo>
                    <a:pt x="902" y="696"/>
                  </a:lnTo>
                  <a:lnTo>
                    <a:pt x="899" y="699"/>
                  </a:lnTo>
                  <a:lnTo>
                    <a:pt x="899" y="699"/>
                  </a:lnTo>
                  <a:lnTo>
                    <a:pt x="891" y="700"/>
                  </a:lnTo>
                  <a:lnTo>
                    <a:pt x="887" y="700"/>
                  </a:lnTo>
                  <a:lnTo>
                    <a:pt x="887" y="702"/>
                  </a:lnTo>
                  <a:lnTo>
                    <a:pt x="884" y="703"/>
                  </a:lnTo>
                  <a:lnTo>
                    <a:pt x="881" y="706"/>
                  </a:lnTo>
                  <a:lnTo>
                    <a:pt x="880" y="707"/>
                  </a:lnTo>
                  <a:lnTo>
                    <a:pt x="878" y="712"/>
                  </a:lnTo>
                  <a:lnTo>
                    <a:pt x="878" y="715"/>
                  </a:lnTo>
                  <a:lnTo>
                    <a:pt x="878" y="716"/>
                  </a:lnTo>
                  <a:lnTo>
                    <a:pt x="880" y="719"/>
                  </a:lnTo>
                  <a:lnTo>
                    <a:pt x="877" y="721"/>
                  </a:lnTo>
                  <a:lnTo>
                    <a:pt x="858" y="748"/>
                  </a:lnTo>
                  <a:lnTo>
                    <a:pt x="861" y="754"/>
                  </a:lnTo>
                  <a:lnTo>
                    <a:pt x="862" y="754"/>
                  </a:lnTo>
                  <a:lnTo>
                    <a:pt x="864" y="754"/>
                  </a:lnTo>
                  <a:lnTo>
                    <a:pt x="864" y="754"/>
                  </a:lnTo>
                  <a:lnTo>
                    <a:pt x="864" y="754"/>
                  </a:lnTo>
                  <a:lnTo>
                    <a:pt x="865" y="754"/>
                  </a:lnTo>
                  <a:lnTo>
                    <a:pt x="865" y="754"/>
                  </a:lnTo>
                  <a:lnTo>
                    <a:pt x="865" y="755"/>
                  </a:lnTo>
                  <a:lnTo>
                    <a:pt x="872" y="769"/>
                  </a:lnTo>
                  <a:lnTo>
                    <a:pt x="877" y="777"/>
                  </a:lnTo>
                  <a:lnTo>
                    <a:pt x="881" y="785"/>
                  </a:lnTo>
                  <a:lnTo>
                    <a:pt x="883" y="787"/>
                  </a:lnTo>
                  <a:lnTo>
                    <a:pt x="889" y="806"/>
                  </a:lnTo>
                  <a:lnTo>
                    <a:pt x="902" y="869"/>
                  </a:lnTo>
                  <a:lnTo>
                    <a:pt x="912" y="891"/>
                  </a:lnTo>
                  <a:lnTo>
                    <a:pt x="912" y="897"/>
                  </a:lnTo>
                  <a:lnTo>
                    <a:pt x="913" y="903"/>
                  </a:lnTo>
                  <a:lnTo>
                    <a:pt x="912" y="917"/>
                  </a:lnTo>
                  <a:lnTo>
                    <a:pt x="909" y="929"/>
                  </a:lnTo>
                  <a:lnTo>
                    <a:pt x="899" y="956"/>
                  </a:lnTo>
                  <a:lnTo>
                    <a:pt x="896" y="958"/>
                  </a:lnTo>
                  <a:lnTo>
                    <a:pt x="896" y="959"/>
                  </a:lnTo>
                  <a:lnTo>
                    <a:pt x="894" y="959"/>
                  </a:lnTo>
                  <a:lnTo>
                    <a:pt x="894" y="962"/>
                  </a:lnTo>
                  <a:lnTo>
                    <a:pt x="894" y="964"/>
                  </a:lnTo>
                  <a:lnTo>
                    <a:pt x="894" y="967"/>
                  </a:lnTo>
                  <a:lnTo>
                    <a:pt x="897" y="972"/>
                  </a:lnTo>
                  <a:lnTo>
                    <a:pt x="897" y="974"/>
                  </a:lnTo>
                  <a:lnTo>
                    <a:pt x="902" y="978"/>
                  </a:lnTo>
                  <a:lnTo>
                    <a:pt x="903" y="980"/>
                  </a:lnTo>
                  <a:lnTo>
                    <a:pt x="902" y="993"/>
                  </a:lnTo>
                  <a:lnTo>
                    <a:pt x="902" y="996"/>
                  </a:lnTo>
                  <a:lnTo>
                    <a:pt x="902" y="999"/>
                  </a:lnTo>
                  <a:lnTo>
                    <a:pt x="900" y="1002"/>
                  </a:lnTo>
                  <a:lnTo>
                    <a:pt x="899" y="1003"/>
                  </a:lnTo>
                  <a:lnTo>
                    <a:pt x="899" y="1009"/>
                  </a:lnTo>
                  <a:lnTo>
                    <a:pt x="897" y="1010"/>
                  </a:lnTo>
                  <a:lnTo>
                    <a:pt x="897" y="1012"/>
                  </a:lnTo>
                  <a:lnTo>
                    <a:pt x="896" y="1013"/>
                  </a:lnTo>
                  <a:lnTo>
                    <a:pt x="896" y="1013"/>
                  </a:lnTo>
                  <a:lnTo>
                    <a:pt x="896" y="1013"/>
                  </a:lnTo>
                  <a:lnTo>
                    <a:pt x="894" y="1015"/>
                  </a:lnTo>
                  <a:lnTo>
                    <a:pt x="894" y="1016"/>
                  </a:lnTo>
                  <a:lnTo>
                    <a:pt x="894" y="1016"/>
                  </a:lnTo>
                  <a:lnTo>
                    <a:pt x="894" y="1018"/>
                  </a:lnTo>
                  <a:lnTo>
                    <a:pt x="896" y="1018"/>
                  </a:lnTo>
                  <a:lnTo>
                    <a:pt x="897" y="1018"/>
                  </a:lnTo>
                  <a:lnTo>
                    <a:pt x="897" y="1018"/>
                  </a:lnTo>
                  <a:lnTo>
                    <a:pt x="899" y="1018"/>
                  </a:lnTo>
                  <a:lnTo>
                    <a:pt x="899" y="1018"/>
                  </a:lnTo>
                  <a:lnTo>
                    <a:pt x="899" y="1018"/>
                  </a:lnTo>
                  <a:lnTo>
                    <a:pt x="900" y="1018"/>
                  </a:lnTo>
                  <a:lnTo>
                    <a:pt x="900" y="1019"/>
                  </a:lnTo>
                  <a:lnTo>
                    <a:pt x="902" y="1022"/>
                  </a:lnTo>
                  <a:lnTo>
                    <a:pt x="903" y="1026"/>
                  </a:lnTo>
                  <a:lnTo>
                    <a:pt x="909" y="1041"/>
                  </a:lnTo>
                  <a:lnTo>
                    <a:pt x="907" y="1042"/>
                  </a:lnTo>
                  <a:lnTo>
                    <a:pt x="906" y="1042"/>
                  </a:lnTo>
                  <a:lnTo>
                    <a:pt x="906" y="1042"/>
                  </a:lnTo>
                  <a:lnTo>
                    <a:pt x="905" y="1044"/>
                  </a:lnTo>
                  <a:lnTo>
                    <a:pt x="905" y="1044"/>
                  </a:lnTo>
                  <a:lnTo>
                    <a:pt x="905" y="1047"/>
                  </a:lnTo>
                  <a:lnTo>
                    <a:pt x="903" y="1048"/>
                  </a:lnTo>
                  <a:lnTo>
                    <a:pt x="902" y="1048"/>
                  </a:lnTo>
                  <a:lnTo>
                    <a:pt x="896" y="1048"/>
                  </a:lnTo>
                  <a:lnTo>
                    <a:pt x="896" y="1048"/>
                  </a:lnTo>
                  <a:lnTo>
                    <a:pt x="894" y="1050"/>
                  </a:lnTo>
                  <a:lnTo>
                    <a:pt x="894" y="1050"/>
                  </a:lnTo>
                  <a:lnTo>
                    <a:pt x="891" y="1052"/>
                  </a:lnTo>
                  <a:lnTo>
                    <a:pt x="891" y="1054"/>
                  </a:lnTo>
                  <a:lnTo>
                    <a:pt x="891" y="1055"/>
                  </a:lnTo>
                  <a:lnTo>
                    <a:pt x="894" y="1058"/>
                  </a:lnTo>
                  <a:lnTo>
                    <a:pt x="896" y="1060"/>
                  </a:lnTo>
                  <a:lnTo>
                    <a:pt x="897" y="1063"/>
                  </a:lnTo>
                  <a:lnTo>
                    <a:pt x="899" y="1064"/>
                  </a:lnTo>
                  <a:lnTo>
                    <a:pt x="899" y="1066"/>
                  </a:lnTo>
                  <a:lnTo>
                    <a:pt x="900" y="1066"/>
                  </a:lnTo>
                  <a:lnTo>
                    <a:pt x="903" y="1066"/>
                  </a:lnTo>
                  <a:lnTo>
                    <a:pt x="903" y="1066"/>
                  </a:lnTo>
                  <a:lnTo>
                    <a:pt x="905" y="1067"/>
                  </a:lnTo>
                  <a:lnTo>
                    <a:pt x="905" y="1069"/>
                  </a:lnTo>
                  <a:lnTo>
                    <a:pt x="905" y="1070"/>
                  </a:lnTo>
                  <a:lnTo>
                    <a:pt x="906" y="1086"/>
                  </a:lnTo>
                  <a:lnTo>
                    <a:pt x="906" y="1095"/>
                  </a:lnTo>
                  <a:lnTo>
                    <a:pt x="907" y="1101"/>
                  </a:lnTo>
                  <a:lnTo>
                    <a:pt x="909" y="1103"/>
                  </a:lnTo>
                  <a:lnTo>
                    <a:pt x="910" y="1105"/>
                  </a:lnTo>
                  <a:lnTo>
                    <a:pt x="910" y="1108"/>
                  </a:lnTo>
                  <a:lnTo>
                    <a:pt x="909" y="1109"/>
                  </a:lnTo>
                  <a:lnTo>
                    <a:pt x="909" y="1111"/>
                  </a:lnTo>
                  <a:lnTo>
                    <a:pt x="909" y="1112"/>
                  </a:lnTo>
                  <a:lnTo>
                    <a:pt x="907" y="1114"/>
                  </a:lnTo>
                  <a:lnTo>
                    <a:pt x="906" y="1114"/>
                  </a:lnTo>
                  <a:lnTo>
                    <a:pt x="903" y="1114"/>
                  </a:lnTo>
                  <a:lnTo>
                    <a:pt x="896" y="1111"/>
                  </a:lnTo>
                  <a:lnTo>
                    <a:pt x="896" y="1111"/>
                  </a:lnTo>
                  <a:lnTo>
                    <a:pt x="896" y="1112"/>
                  </a:lnTo>
                  <a:lnTo>
                    <a:pt x="894" y="1112"/>
                  </a:lnTo>
                  <a:lnTo>
                    <a:pt x="894" y="1115"/>
                  </a:lnTo>
                  <a:lnTo>
                    <a:pt x="894" y="1122"/>
                  </a:lnTo>
                  <a:lnTo>
                    <a:pt x="890" y="1127"/>
                  </a:lnTo>
                  <a:lnTo>
                    <a:pt x="889" y="1122"/>
                  </a:lnTo>
                  <a:lnTo>
                    <a:pt x="887" y="1119"/>
                  </a:lnTo>
                  <a:lnTo>
                    <a:pt x="886" y="1114"/>
                  </a:lnTo>
                  <a:lnTo>
                    <a:pt x="884" y="1112"/>
                  </a:lnTo>
                  <a:lnTo>
                    <a:pt x="883" y="1111"/>
                  </a:lnTo>
                  <a:lnTo>
                    <a:pt x="880" y="1111"/>
                  </a:lnTo>
                  <a:lnTo>
                    <a:pt x="875" y="1111"/>
                  </a:lnTo>
                  <a:lnTo>
                    <a:pt x="867" y="1114"/>
                  </a:lnTo>
                  <a:lnTo>
                    <a:pt x="859" y="1118"/>
                  </a:lnTo>
                  <a:lnTo>
                    <a:pt x="854" y="1121"/>
                  </a:lnTo>
                  <a:lnTo>
                    <a:pt x="848" y="1122"/>
                  </a:lnTo>
                  <a:lnTo>
                    <a:pt x="839" y="1122"/>
                  </a:lnTo>
                  <a:lnTo>
                    <a:pt x="832" y="1119"/>
                  </a:lnTo>
                  <a:lnTo>
                    <a:pt x="820" y="1115"/>
                  </a:lnTo>
                  <a:lnTo>
                    <a:pt x="817" y="1114"/>
                  </a:lnTo>
                  <a:lnTo>
                    <a:pt x="813" y="1115"/>
                  </a:lnTo>
                  <a:lnTo>
                    <a:pt x="807" y="1119"/>
                  </a:lnTo>
                  <a:lnTo>
                    <a:pt x="781" y="1141"/>
                  </a:lnTo>
                  <a:lnTo>
                    <a:pt x="765" y="1150"/>
                  </a:lnTo>
                  <a:lnTo>
                    <a:pt x="754" y="1147"/>
                  </a:lnTo>
                  <a:lnTo>
                    <a:pt x="753" y="1146"/>
                  </a:lnTo>
                  <a:lnTo>
                    <a:pt x="747" y="1149"/>
                  </a:lnTo>
                  <a:lnTo>
                    <a:pt x="746" y="1151"/>
                  </a:lnTo>
                  <a:lnTo>
                    <a:pt x="746" y="1153"/>
                  </a:lnTo>
                  <a:lnTo>
                    <a:pt x="746" y="1153"/>
                  </a:lnTo>
                  <a:lnTo>
                    <a:pt x="744" y="1154"/>
                  </a:lnTo>
                  <a:lnTo>
                    <a:pt x="741" y="1156"/>
                  </a:lnTo>
                  <a:lnTo>
                    <a:pt x="733" y="1157"/>
                  </a:lnTo>
                  <a:lnTo>
                    <a:pt x="730" y="1157"/>
                  </a:lnTo>
                  <a:lnTo>
                    <a:pt x="730" y="1159"/>
                  </a:lnTo>
                  <a:lnTo>
                    <a:pt x="725" y="1165"/>
                  </a:lnTo>
                  <a:lnTo>
                    <a:pt x="709" y="1186"/>
                  </a:lnTo>
                  <a:lnTo>
                    <a:pt x="709" y="1186"/>
                  </a:lnTo>
                  <a:lnTo>
                    <a:pt x="708" y="1186"/>
                  </a:lnTo>
                  <a:lnTo>
                    <a:pt x="706" y="1185"/>
                  </a:lnTo>
                  <a:lnTo>
                    <a:pt x="612" y="1127"/>
                  </a:lnTo>
                  <a:lnTo>
                    <a:pt x="597" y="1124"/>
                  </a:lnTo>
                  <a:lnTo>
                    <a:pt x="586" y="1124"/>
                  </a:lnTo>
                  <a:lnTo>
                    <a:pt x="580" y="1117"/>
                  </a:lnTo>
                  <a:lnTo>
                    <a:pt x="561" y="1117"/>
                  </a:lnTo>
                  <a:lnTo>
                    <a:pt x="523" y="1112"/>
                  </a:lnTo>
                  <a:lnTo>
                    <a:pt x="516" y="1114"/>
                  </a:lnTo>
                  <a:lnTo>
                    <a:pt x="510" y="1119"/>
                  </a:lnTo>
                  <a:lnTo>
                    <a:pt x="498" y="1124"/>
                  </a:lnTo>
                  <a:lnTo>
                    <a:pt x="484" y="1125"/>
                  </a:lnTo>
                  <a:lnTo>
                    <a:pt x="475" y="1124"/>
                  </a:lnTo>
                  <a:lnTo>
                    <a:pt x="465" y="1115"/>
                  </a:lnTo>
                  <a:lnTo>
                    <a:pt x="460" y="1111"/>
                  </a:lnTo>
                  <a:lnTo>
                    <a:pt x="460" y="1106"/>
                  </a:lnTo>
                  <a:lnTo>
                    <a:pt x="460" y="1106"/>
                  </a:lnTo>
                  <a:lnTo>
                    <a:pt x="466" y="1105"/>
                  </a:lnTo>
                  <a:lnTo>
                    <a:pt x="466" y="1105"/>
                  </a:lnTo>
                  <a:lnTo>
                    <a:pt x="457" y="1098"/>
                  </a:lnTo>
                  <a:lnTo>
                    <a:pt x="446" y="1090"/>
                  </a:lnTo>
                  <a:lnTo>
                    <a:pt x="437" y="1090"/>
                  </a:lnTo>
                  <a:lnTo>
                    <a:pt x="434" y="1101"/>
                  </a:lnTo>
                  <a:lnTo>
                    <a:pt x="434" y="1101"/>
                  </a:lnTo>
                  <a:lnTo>
                    <a:pt x="437" y="1103"/>
                  </a:lnTo>
                  <a:lnTo>
                    <a:pt x="437" y="1103"/>
                  </a:lnTo>
                  <a:lnTo>
                    <a:pt x="418" y="1103"/>
                  </a:lnTo>
                  <a:lnTo>
                    <a:pt x="418" y="1101"/>
                  </a:lnTo>
                  <a:lnTo>
                    <a:pt x="417" y="1096"/>
                  </a:lnTo>
                  <a:lnTo>
                    <a:pt x="414" y="1093"/>
                  </a:lnTo>
                  <a:lnTo>
                    <a:pt x="412" y="1089"/>
                  </a:lnTo>
                  <a:lnTo>
                    <a:pt x="412" y="1089"/>
                  </a:lnTo>
                  <a:lnTo>
                    <a:pt x="414" y="1085"/>
                  </a:lnTo>
                  <a:lnTo>
                    <a:pt x="418" y="1079"/>
                  </a:lnTo>
                  <a:lnTo>
                    <a:pt x="419" y="1076"/>
                  </a:lnTo>
                  <a:lnTo>
                    <a:pt x="419" y="1076"/>
                  </a:lnTo>
                  <a:lnTo>
                    <a:pt x="417" y="1071"/>
                  </a:lnTo>
                  <a:lnTo>
                    <a:pt x="414" y="1070"/>
                  </a:lnTo>
                  <a:lnTo>
                    <a:pt x="409" y="1071"/>
                  </a:lnTo>
                  <a:lnTo>
                    <a:pt x="406" y="1070"/>
                  </a:lnTo>
                  <a:lnTo>
                    <a:pt x="403" y="1067"/>
                  </a:lnTo>
                  <a:lnTo>
                    <a:pt x="400" y="1060"/>
                  </a:lnTo>
                  <a:lnTo>
                    <a:pt x="398" y="1055"/>
                  </a:lnTo>
                  <a:lnTo>
                    <a:pt x="393" y="1054"/>
                  </a:lnTo>
                  <a:lnTo>
                    <a:pt x="390" y="1057"/>
                  </a:lnTo>
                  <a:lnTo>
                    <a:pt x="387" y="1069"/>
                  </a:lnTo>
                  <a:lnTo>
                    <a:pt x="383" y="1071"/>
                  </a:lnTo>
                  <a:lnTo>
                    <a:pt x="380" y="1069"/>
                  </a:lnTo>
                  <a:lnTo>
                    <a:pt x="379" y="1063"/>
                  </a:lnTo>
                  <a:lnTo>
                    <a:pt x="379" y="1055"/>
                  </a:lnTo>
                  <a:lnTo>
                    <a:pt x="379" y="1052"/>
                  </a:lnTo>
                  <a:lnTo>
                    <a:pt x="371" y="1050"/>
                  </a:lnTo>
                  <a:lnTo>
                    <a:pt x="363" y="1048"/>
                  </a:lnTo>
                  <a:lnTo>
                    <a:pt x="357" y="1051"/>
                  </a:lnTo>
                  <a:lnTo>
                    <a:pt x="357" y="1051"/>
                  </a:lnTo>
                  <a:lnTo>
                    <a:pt x="361" y="1060"/>
                  </a:lnTo>
                  <a:lnTo>
                    <a:pt x="361" y="1060"/>
                  </a:lnTo>
                  <a:lnTo>
                    <a:pt x="355" y="1063"/>
                  </a:lnTo>
                  <a:lnTo>
                    <a:pt x="336" y="1066"/>
                  </a:lnTo>
                  <a:lnTo>
                    <a:pt x="333" y="1066"/>
                  </a:lnTo>
                  <a:lnTo>
                    <a:pt x="331" y="1067"/>
                  </a:lnTo>
                  <a:lnTo>
                    <a:pt x="325" y="1074"/>
                  </a:lnTo>
                  <a:lnTo>
                    <a:pt x="323" y="1079"/>
                  </a:lnTo>
                  <a:lnTo>
                    <a:pt x="322" y="1089"/>
                  </a:lnTo>
                  <a:lnTo>
                    <a:pt x="317" y="1092"/>
                  </a:lnTo>
                  <a:lnTo>
                    <a:pt x="309" y="1098"/>
                  </a:lnTo>
                  <a:lnTo>
                    <a:pt x="306" y="1101"/>
                  </a:lnTo>
                  <a:lnTo>
                    <a:pt x="304" y="1105"/>
                  </a:lnTo>
                  <a:lnTo>
                    <a:pt x="304" y="1105"/>
                  </a:lnTo>
                  <a:lnTo>
                    <a:pt x="306" y="1108"/>
                  </a:lnTo>
                  <a:lnTo>
                    <a:pt x="307" y="1112"/>
                  </a:lnTo>
                  <a:lnTo>
                    <a:pt x="307" y="1112"/>
                  </a:lnTo>
                  <a:lnTo>
                    <a:pt x="304" y="1118"/>
                  </a:lnTo>
                  <a:lnTo>
                    <a:pt x="304" y="1118"/>
                  </a:lnTo>
                  <a:lnTo>
                    <a:pt x="310" y="1121"/>
                  </a:lnTo>
                  <a:lnTo>
                    <a:pt x="312" y="1121"/>
                  </a:lnTo>
                  <a:lnTo>
                    <a:pt x="320" y="1128"/>
                  </a:lnTo>
                  <a:lnTo>
                    <a:pt x="328" y="1131"/>
                  </a:lnTo>
                  <a:lnTo>
                    <a:pt x="335" y="1131"/>
                  </a:lnTo>
                  <a:lnTo>
                    <a:pt x="339" y="1128"/>
                  </a:lnTo>
                  <a:lnTo>
                    <a:pt x="344" y="1125"/>
                  </a:lnTo>
                  <a:lnTo>
                    <a:pt x="350" y="1122"/>
                  </a:lnTo>
                  <a:lnTo>
                    <a:pt x="367" y="1119"/>
                  </a:lnTo>
                  <a:lnTo>
                    <a:pt x="371" y="1121"/>
                  </a:lnTo>
                  <a:lnTo>
                    <a:pt x="376" y="1122"/>
                  </a:lnTo>
                  <a:lnTo>
                    <a:pt x="377" y="1122"/>
                  </a:lnTo>
                  <a:lnTo>
                    <a:pt x="380" y="1124"/>
                  </a:lnTo>
                  <a:lnTo>
                    <a:pt x="380" y="1124"/>
                  </a:lnTo>
                  <a:lnTo>
                    <a:pt x="379" y="1135"/>
                  </a:lnTo>
                  <a:lnTo>
                    <a:pt x="376" y="1134"/>
                  </a:lnTo>
                  <a:lnTo>
                    <a:pt x="376" y="1131"/>
                  </a:lnTo>
                  <a:lnTo>
                    <a:pt x="376" y="1130"/>
                  </a:lnTo>
                  <a:lnTo>
                    <a:pt x="374" y="1130"/>
                  </a:lnTo>
                  <a:lnTo>
                    <a:pt x="371" y="1131"/>
                  </a:lnTo>
                  <a:lnTo>
                    <a:pt x="370" y="1133"/>
                  </a:lnTo>
                  <a:lnTo>
                    <a:pt x="370" y="1135"/>
                  </a:lnTo>
                  <a:lnTo>
                    <a:pt x="370" y="1135"/>
                  </a:lnTo>
                  <a:lnTo>
                    <a:pt x="370" y="1137"/>
                  </a:lnTo>
                  <a:lnTo>
                    <a:pt x="371" y="1140"/>
                  </a:lnTo>
                  <a:lnTo>
                    <a:pt x="371" y="1141"/>
                  </a:lnTo>
                  <a:lnTo>
                    <a:pt x="371" y="1141"/>
                  </a:lnTo>
                  <a:lnTo>
                    <a:pt x="371" y="1144"/>
                  </a:lnTo>
                  <a:lnTo>
                    <a:pt x="371" y="1144"/>
                  </a:lnTo>
                  <a:lnTo>
                    <a:pt x="371" y="1149"/>
                  </a:lnTo>
                  <a:lnTo>
                    <a:pt x="371" y="1149"/>
                  </a:lnTo>
                  <a:lnTo>
                    <a:pt x="371" y="1151"/>
                  </a:lnTo>
                  <a:lnTo>
                    <a:pt x="368" y="1156"/>
                  </a:lnTo>
                  <a:lnTo>
                    <a:pt x="364" y="1157"/>
                  </a:lnTo>
                  <a:lnTo>
                    <a:pt x="360" y="1153"/>
                  </a:lnTo>
                  <a:lnTo>
                    <a:pt x="355" y="1146"/>
                  </a:lnTo>
                  <a:lnTo>
                    <a:pt x="351" y="1141"/>
                  </a:lnTo>
                  <a:lnTo>
                    <a:pt x="341" y="1141"/>
                  </a:lnTo>
                  <a:lnTo>
                    <a:pt x="329" y="1149"/>
                  </a:lnTo>
                  <a:lnTo>
                    <a:pt x="325" y="1157"/>
                  </a:lnTo>
                  <a:lnTo>
                    <a:pt x="325" y="1160"/>
                  </a:lnTo>
                  <a:lnTo>
                    <a:pt x="315" y="1162"/>
                  </a:lnTo>
                  <a:lnTo>
                    <a:pt x="293" y="1162"/>
                  </a:lnTo>
                  <a:lnTo>
                    <a:pt x="278" y="1159"/>
                  </a:lnTo>
                  <a:lnTo>
                    <a:pt x="275" y="1156"/>
                  </a:lnTo>
                  <a:lnTo>
                    <a:pt x="272" y="1151"/>
                  </a:lnTo>
                  <a:lnTo>
                    <a:pt x="271" y="1146"/>
                  </a:lnTo>
                  <a:lnTo>
                    <a:pt x="269" y="1144"/>
                  </a:lnTo>
                  <a:lnTo>
                    <a:pt x="265" y="1144"/>
                  </a:lnTo>
                  <a:lnTo>
                    <a:pt x="256" y="1141"/>
                  </a:lnTo>
                  <a:lnTo>
                    <a:pt x="250" y="1141"/>
                  </a:lnTo>
                  <a:lnTo>
                    <a:pt x="232" y="1144"/>
                  </a:lnTo>
                  <a:lnTo>
                    <a:pt x="230" y="1146"/>
                  </a:lnTo>
                  <a:lnTo>
                    <a:pt x="227" y="1147"/>
                  </a:lnTo>
                  <a:lnTo>
                    <a:pt x="226" y="1150"/>
                  </a:lnTo>
                  <a:lnTo>
                    <a:pt x="218" y="1151"/>
                  </a:lnTo>
                  <a:lnTo>
                    <a:pt x="211" y="1156"/>
                  </a:lnTo>
                  <a:lnTo>
                    <a:pt x="208" y="1159"/>
                  </a:lnTo>
                  <a:lnTo>
                    <a:pt x="205" y="1162"/>
                  </a:lnTo>
                  <a:lnTo>
                    <a:pt x="204" y="1165"/>
                  </a:lnTo>
                  <a:lnTo>
                    <a:pt x="202" y="1166"/>
                  </a:lnTo>
                  <a:lnTo>
                    <a:pt x="199" y="1169"/>
                  </a:lnTo>
                  <a:lnTo>
                    <a:pt x="183" y="1172"/>
                  </a:lnTo>
                  <a:lnTo>
                    <a:pt x="138" y="1172"/>
                  </a:lnTo>
                  <a:lnTo>
                    <a:pt x="137" y="1170"/>
                  </a:lnTo>
                  <a:lnTo>
                    <a:pt x="137" y="1165"/>
                  </a:lnTo>
                  <a:lnTo>
                    <a:pt x="135" y="1160"/>
                  </a:lnTo>
                  <a:lnTo>
                    <a:pt x="134" y="1159"/>
                  </a:lnTo>
                  <a:lnTo>
                    <a:pt x="111" y="1157"/>
                  </a:lnTo>
                  <a:lnTo>
                    <a:pt x="106" y="1154"/>
                  </a:lnTo>
                  <a:lnTo>
                    <a:pt x="100" y="1165"/>
                  </a:lnTo>
                  <a:lnTo>
                    <a:pt x="95" y="1170"/>
                  </a:lnTo>
                  <a:lnTo>
                    <a:pt x="87" y="1175"/>
                  </a:lnTo>
                  <a:lnTo>
                    <a:pt x="60" y="1181"/>
                  </a:lnTo>
                  <a:lnTo>
                    <a:pt x="51" y="1179"/>
                  </a:lnTo>
                  <a:lnTo>
                    <a:pt x="33" y="1170"/>
                  </a:lnTo>
                  <a:lnTo>
                    <a:pt x="33" y="1170"/>
                  </a:lnTo>
                  <a:lnTo>
                    <a:pt x="42" y="1170"/>
                  </a:lnTo>
                  <a:lnTo>
                    <a:pt x="46" y="1166"/>
                  </a:lnTo>
                  <a:lnTo>
                    <a:pt x="51" y="1154"/>
                  </a:lnTo>
                  <a:lnTo>
                    <a:pt x="51" y="1154"/>
                  </a:lnTo>
                  <a:lnTo>
                    <a:pt x="42" y="1154"/>
                  </a:lnTo>
                  <a:lnTo>
                    <a:pt x="25" y="1160"/>
                  </a:lnTo>
                  <a:lnTo>
                    <a:pt x="25" y="1160"/>
                  </a:lnTo>
                  <a:lnTo>
                    <a:pt x="26" y="1154"/>
                  </a:lnTo>
                  <a:lnTo>
                    <a:pt x="28" y="1153"/>
                  </a:lnTo>
                  <a:lnTo>
                    <a:pt x="28" y="1153"/>
                  </a:lnTo>
                  <a:lnTo>
                    <a:pt x="26" y="1149"/>
                  </a:lnTo>
                  <a:lnTo>
                    <a:pt x="25" y="1146"/>
                  </a:lnTo>
                  <a:lnTo>
                    <a:pt x="23" y="1143"/>
                  </a:lnTo>
                  <a:lnTo>
                    <a:pt x="20" y="1141"/>
                  </a:lnTo>
                  <a:lnTo>
                    <a:pt x="13" y="1125"/>
                  </a:lnTo>
                  <a:lnTo>
                    <a:pt x="9" y="1118"/>
                  </a:lnTo>
                  <a:lnTo>
                    <a:pt x="3" y="1117"/>
                  </a:lnTo>
                  <a:lnTo>
                    <a:pt x="1" y="1114"/>
                  </a:lnTo>
                  <a:lnTo>
                    <a:pt x="0" y="1108"/>
                  </a:lnTo>
                  <a:lnTo>
                    <a:pt x="0" y="1098"/>
                  </a:lnTo>
                  <a:lnTo>
                    <a:pt x="0" y="1098"/>
                  </a:lnTo>
                  <a:lnTo>
                    <a:pt x="0" y="1093"/>
                  </a:lnTo>
                  <a:lnTo>
                    <a:pt x="6" y="1087"/>
                  </a:lnTo>
                  <a:lnTo>
                    <a:pt x="9" y="1085"/>
                  </a:lnTo>
                  <a:lnTo>
                    <a:pt x="9" y="1076"/>
                  </a:lnTo>
                  <a:lnTo>
                    <a:pt x="9" y="1076"/>
                  </a:lnTo>
                  <a:lnTo>
                    <a:pt x="4" y="1058"/>
                  </a:lnTo>
                  <a:lnTo>
                    <a:pt x="4" y="1058"/>
                  </a:lnTo>
                  <a:lnTo>
                    <a:pt x="6" y="1051"/>
                  </a:lnTo>
                  <a:lnTo>
                    <a:pt x="10" y="1034"/>
                  </a:lnTo>
                  <a:lnTo>
                    <a:pt x="12" y="1032"/>
                  </a:lnTo>
                  <a:lnTo>
                    <a:pt x="17" y="1029"/>
                  </a:lnTo>
                  <a:lnTo>
                    <a:pt x="17" y="1023"/>
                  </a:lnTo>
                  <a:lnTo>
                    <a:pt x="17" y="1023"/>
                  </a:lnTo>
                  <a:lnTo>
                    <a:pt x="16" y="1013"/>
                  </a:lnTo>
                  <a:lnTo>
                    <a:pt x="16" y="1013"/>
                  </a:lnTo>
                  <a:lnTo>
                    <a:pt x="16" y="1012"/>
                  </a:lnTo>
                  <a:lnTo>
                    <a:pt x="16" y="1012"/>
                  </a:lnTo>
                  <a:lnTo>
                    <a:pt x="16" y="1010"/>
                  </a:lnTo>
                  <a:lnTo>
                    <a:pt x="16" y="1009"/>
                  </a:lnTo>
                  <a:lnTo>
                    <a:pt x="16" y="1009"/>
                  </a:lnTo>
                  <a:lnTo>
                    <a:pt x="16" y="1006"/>
                  </a:lnTo>
                  <a:lnTo>
                    <a:pt x="17" y="1004"/>
                  </a:lnTo>
                  <a:lnTo>
                    <a:pt x="19" y="1002"/>
                  </a:lnTo>
                  <a:lnTo>
                    <a:pt x="20" y="1000"/>
                  </a:lnTo>
                  <a:lnTo>
                    <a:pt x="23" y="994"/>
                  </a:lnTo>
                  <a:lnTo>
                    <a:pt x="23" y="991"/>
                  </a:lnTo>
                  <a:lnTo>
                    <a:pt x="23" y="991"/>
                  </a:lnTo>
                  <a:lnTo>
                    <a:pt x="23" y="984"/>
                  </a:lnTo>
                  <a:lnTo>
                    <a:pt x="23" y="984"/>
                  </a:lnTo>
                  <a:lnTo>
                    <a:pt x="25" y="977"/>
                  </a:lnTo>
                  <a:lnTo>
                    <a:pt x="33" y="967"/>
                  </a:lnTo>
                  <a:lnTo>
                    <a:pt x="38" y="961"/>
                  </a:lnTo>
                  <a:lnTo>
                    <a:pt x="38" y="961"/>
                  </a:lnTo>
                  <a:lnTo>
                    <a:pt x="36" y="945"/>
                  </a:lnTo>
                  <a:lnTo>
                    <a:pt x="22" y="919"/>
                  </a:lnTo>
                  <a:lnTo>
                    <a:pt x="20" y="897"/>
                  </a:lnTo>
                  <a:lnTo>
                    <a:pt x="20" y="897"/>
                  </a:lnTo>
                  <a:lnTo>
                    <a:pt x="23" y="887"/>
                  </a:lnTo>
                  <a:lnTo>
                    <a:pt x="25" y="879"/>
                  </a:lnTo>
                  <a:lnTo>
                    <a:pt x="28" y="873"/>
                  </a:lnTo>
                  <a:lnTo>
                    <a:pt x="30" y="870"/>
                  </a:lnTo>
                  <a:lnTo>
                    <a:pt x="32" y="866"/>
                  </a:lnTo>
                  <a:lnTo>
                    <a:pt x="32" y="859"/>
                  </a:lnTo>
                  <a:lnTo>
                    <a:pt x="35" y="853"/>
                  </a:lnTo>
                  <a:lnTo>
                    <a:pt x="57" y="822"/>
                  </a:lnTo>
                  <a:lnTo>
                    <a:pt x="60" y="815"/>
                  </a:lnTo>
                  <a:lnTo>
                    <a:pt x="63" y="806"/>
                  </a:lnTo>
                  <a:lnTo>
                    <a:pt x="63" y="795"/>
                  </a:lnTo>
                  <a:lnTo>
                    <a:pt x="65" y="785"/>
                  </a:lnTo>
                  <a:lnTo>
                    <a:pt x="71" y="780"/>
                  </a:lnTo>
                  <a:lnTo>
                    <a:pt x="77" y="776"/>
                  </a:lnTo>
                  <a:lnTo>
                    <a:pt x="83" y="769"/>
                  </a:lnTo>
                  <a:lnTo>
                    <a:pt x="83" y="761"/>
                  </a:lnTo>
                  <a:lnTo>
                    <a:pt x="83" y="761"/>
                  </a:lnTo>
                  <a:lnTo>
                    <a:pt x="81" y="754"/>
                  </a:lnTo>
                  <a:lnTo>
                    <a:pt x="79" y="748"/>
                  </a:lnTo>
                  <a:lnTo>
                    <a:pt x="77" y="741"/>
                  </a:lnTo>
                  <a:lnTo>
                    <a:pt x="77" y="741"/>
                  </a:lnTo>
                  <a:lnTo>
                    <a:pt x="79" y="735"/>
                  </a:lnTo>
                  <a:lnTo>
                    <a:pt x="80" y="721"/>
                  </a:lnTo>
                  <a:lnTo>
                    <a:pt x="83" y="715"/>
                  </a:lnTo>
                  <a:lnTo>
                    <a:pt x="84" y="710"/>
                  </a:lnTo>
                  <a:lnTo>
                    <a:pt x="87" y="706"/>
                  </a:lnTo>
                  <a:lnTo>
                    <a:pt x="89" y="702"/>
                  </a:lnTo>
                  <a:lnTo>
                    <a:pt x="89" y="691"/>
                  </a:lnTo>
                  <a:lnTo>
                    <a:pt x="92" y="687"/>
                  </a:lnTo>
                  <a:lnTo>
                    <a:pt x="96" y="683"/>
                  </a:lnTo>
                  <a:lnTo>
                    <a:pt x="105" y="675"/>
                  </a:lnTo>
                  <a:lnTo>
                    <a:pt x="105" y="673"/>
                  </a:lnTo>
                  <a:lnTo>
                    <a:pt x="105" y="673"/>
                  </a:lnTo>
                  <a:lnTo>
                    <a:pt x="100" y="661"/>
                  </a:lnTo>
                  <a:lnTo>
                    <a:pt x="100" y="643"/>
                  </a:lnTo>
                  <a:lnTo>
                    <a:pt x="103" y="626"/>
                  </a:lnTo>
                  <a:lnTo>
                    <a:pt x="118" y="603"/>
                  </a:lnTo>
                  <a:lnTo>
                    <a:pt x="122" y="600"/>
                  </a:lnTo>
                  <a:lnTo>
                    <a:pt x="128" y="598"/>
                  </a:lnTo>
                  <a:lnTo>
                    <a:pt x="132" y="594"/>
                  </a:lnTo>
                  <a:lnTo>
                    <a:pt x="143" y="582"/>
                  </a:lnTo>
                  <a:lnTo>
                    <a:pt x="147" y="579"/>
                  </a:lnTo>
                  <a:lnTo>
                    <a:pt x="151" y="575"/>
                  </a:lnTo>
                  <a:lnTo>
                    <a:pt x="154" y="571"/>
                  </a:lnTo>
                  <a:lnTo>
                    <a:pt x="156" y="566"/>
                  </a:lnTo>
                  <a:lnTo>
                    <a:pt x="157" y="556"/>
                  </a:lnTo>
                  <a:lnTo>
                    <a:pt x="159" y="552"/>
                  </a:lnTo>
                  <a:lnTo>
                    <a:pt x="163" y="550"/>
                  </a:lnTo>
                  <a:lnTo>
                    <a:pt x="172" y="550"/>
                  </a:lnTo>
                  <a:lnTo>
                    <a:pt x="175" y="549"/>
                  </a:lnTo>
                  <a:lnTo>
                    <a:pt x="178" y="547"/>
                  </a:lnTo>
                  <a:lnTo>
                    <a:pt x="178" y="544"/>
                  </a:lnTo>
                  <a:lnTo>
                    <a:pt x="179" y="539"/>
                  </a:lnTo>
                  <a:lnTo>
                    <a:pt x="181" y="536"/>
                  </a:lnTo>
                  <a:lnTo>
                    <a:pt x="182" y="534"/>
                  </a:lnTo>
                  <a:lnTo>
                    <a:pt x="182" y="534"/>
                  </a:lnTo>
                  <a:lnTo>
                    <a:pt x="185" y="533"/>
                  </a:lnTo>
                  <a:lnTo>
                    <a:pt x="198" y="527"/>
                  </a:lnTo>
                  <a:lnTo>
                    <a:pt x="201" y="524"/>
                  </a:lnTo>
                  <a:lnTo>
                    <a:pt x="205" y="517"/>
                  </a:lnTo>
                  <a:lnTo>
                    <a:pt x="220" y="475"/>
                  </a:lnTo>
                  <a:lnTo>
                    <a:pt x="232" y="454"/>
                  </a:lnTo>
                  <a:lnTo>
                    <a:pt x="237" y="445"/>
                  </a:lnTo>
                  <a:lnTo>
                    <a:pt x="237" y="445"/>
                  </a:lnTo>
                  <a:lnTo>
                    <a:pt x="249" y="441"/>
                  </a:lnTo>
                  <a:lnTo>
                    <a:pt x="261" y="429"/>
                  </a:lnTo>
                  <a:lnTo>
                    <a:pt x="268" y="418"/>
                  </a:lnTo>
                  <a:lnTo>
                    <a:pt x="293" y="365"/>
                  </a:lnTo>
                  <a:lnTo>
                    <a:pt x="294" y="361"/>
                  </a:lnTo>
                  <a:lnTo>
                    <a:pt x="301" y="310"/>
                  </a:lnTo>
                  <a:lnTo>
                    <a:pt x="304" y="301"/>
                  </a:lnTo>
                  <a:lnTo>
                    <a:pt x="307" y="297"/>
                  </a:lnTo>
                  <a:lnTo>
                    <a:pt x="312" y="294"/>
                  </a:lnTo>
                  <a:lnTo>
                    <a:pt x="336" y="266"/>
                  </a:lnTo>
                  <a:lnTo>
                    <a:pt x="336" y="259"/>
                  </a:lnTo>
                  <a:lnTo>
                    <a:pt x="329" y="256"/>
                  </a:lnTo>
                  <a:lnTo>
                    <a:pt x="329" y="252"/>
                  </a:lnTo>
                  <a:lnTo>
                    <a:pt x="342" y="224"/>
                  </a:lnTo>
                  <a:lnTo>
                    <a:pt x="342" y="218"/>
                  </a:lnTo>
                  <a:lnTo>
                    <a:pt x="339" y="210"/>
                  </a:lnTo>
                  <a:lnTo>
                    <a:pt x="339" y="205"/>
                  </a:lnTo>
                  <a:lnTo>
                    <a:pt x="341" y="205"/>
                  </a:lnTo>
                  <a:lnTo>
                    <a:pt x="344" y="196"/>
                  </a:lnTo>
                  <a:lnTo>
                    <a:pt x="344" y="195"/>
                  </a:lnTo>
                  <a:lnTo>
                    <a:pt x="341" y="189"/>
                  </a:lnTo>
                  <a:lnTo>
                    <a:pt x="335" y="186"/>
                  </a:lnTo>
                  <a:lnTo>
                    <a:pt x="329" y="186"/>
                  </a:lnTo>
                  <a:lnTo>
                    <a:pt x="323" y="183"/>
                  </a:lnTo>
                  <a:lnTo>
                    <a:pt x="323" y="180"/>
                  </a:lnTo>
                  <a:lnTo>
                    <a:pt x="331" y="176"/>
                  </a:lnTo>
                  <a:lnTo>
                    <a:pt x="331" y="173"/>
                  </a:lnTo>
                  <a:lnTo>
                    <a:pt x="326" y="163"/>
                  </a:lnTo>
                  <a:lnTo>
                    <a:pt x="317" y="140"/>
                  </a:lnTo>
                  <a:lnTo>
                    <a:pt x="312" y="129"/>
                  </a:lnTo>
                  <a:lnTo>
                    <a:pt x="315" y="116"/>
                  </a:lnTo>
                  <a:lnTo>
                    <a:pt x="325" y="111"/>
                  </a:lnTo>
                  <a:lnTo>
                    <a:pt x="328" y="111"/>
                  </a:lnTo>
                  <a:lnTo>
                    <a:pt x="329" y="111"/>
                  </a:lnTo>
                  <a:lnTo>
                    <a:pt x="333" y="112"/>
                  </a:lnTo>
                  <a:lnTo>
                    <a:pt x="342" y="119"/>
                  </a:lnTo>
                  <a:lnTo>
                    <a:pt x="366" y="144"/>
                  </a:lnTo>
                  <a:lnTo>
                    <a:pt x="373" y="141"/>
                  </a:lnTo>
                  <a:lnTo>
                    <a:pt x="374" y="140"/>
                  </a:lnTo>
                  <a:lnTo>
                    <a:pt x="376" y="140"/>
                  </a:lnTo>
                  <a:lnTo>
                    <a:pt x="376" y="138"/>
                  </a:lnTo>
                  <a:lnTo>
                    <a:pt x="380" y="137"/>
                  </a:lnTo>
                  <a:lnTo>
                    <a:pt x="382" y="137"/>
                  </a:lnTo>
                  <a:lnTo>
                    <a:pt x="383" y="135"/>
                  </a:lnTo>
                  <a:lnTo>
                    <a:pt x="383" y="134"/>
                  </a:lnTo>
                  <a:lnTo>
                    <a:pt x="383" y="134"/>
                  </a:lnTo>
                  <a:lnTo>
                    <a:pt x="383" y="132"/>
                  </a:lnTo>
                  <a:lnTo>
                    <a:pt x="383" y="129"/>
                  </a:lnTo>
                  <a:lnTo>
                    <a:pt x="383" y="127"/>
                  </a:lnTo>
                  <a:lnTo>
                    <a:pt x="379" y="113"/>
                  </a:lnTo>
                  <a:lnTo>
                    <a:pt x="379" y="112"/>
                  </a:lnTo>
                  <a:lnTo>
                    <a:pt x="377" y="102"/>
                  </a:lnTo>
                  <a:lnTo>
                    <a:pt x="377" y="100"/>
                  </a:lnTo>
                  <a:lnTo>
                    <a:pt x="377" y="99"/>
                  </a:lnTo>
                  <a:lnTo>
                    <a:pt x="379" y="99"/>
                  </a:lnTo>
                  <a:lnTo>
                    <a:pt x="402" y="93"/>
                  </a:lnTo>
                  <a:lnTo>
                    <a:pt x="403" y="93"/>
                  </a:lnTo>
                  <a:lnTo>
                    <a:pt x="405" y="93"/>
                  </a:lnTo>
                  <a:lnTo>
                    <a:pt x="405" y="97"/>
                  </a:lnTo>
                  <a:lnTo>
                    <a:pt x="406" y="99"/>
                  </a:lnTo>
                  <a:lnTo>
                    <a:pt x="409" y="103"/>
                  </a:lnTo>
                  <a:lnTo>
                    <a:pt x="409" y="106"/>
                  </a:lnTo>
                  <a:lnTo>
                    <a:pt x="409" y="108"/>
                  </a:lnTo>
                  <a:lnTo>
                    <a:pt x="409" y="109"/>
                  </a:lnTo>
                  <a:lnTo>
                    <a:pt x="409" y="111"/>
                  </a:lnTo>
                  <a:lnTo>
                    <a:pt x="408" y="112"/>
                  </a:lnTo>
                  <a:lnTo>
                    <a:pt x="408" y="112"/>
                  </a:lnTo>
                  <a:lnTo>
                    <a:pt x="408" y="113"/>
                  </a:lnTo>
                  <a:lnTo>
                    <a:pt x="409" y="119"/>
                  </a:lnTo>
                  <a:lnTo>
                    <a:pt x="414" y="129"/>
                  </a:lnTo>
                  <a:lnTo>
                    <a:pt x="415" y="131"/>
                  </a:lnTo>
                  <a:lnTo>
                    <a:pt x="415" y="132"/>
                  </a:lnTo>
                  <a:lnTo>
                    <a:pt x="417" y="134"/>
                  </a:lnTo>
                  <a:lnTo>
                    <a:pt x="418" y="135"/>
                  </a:lnTo>
                  <a:lnTo>
                    <a:pt x="428" y="143"/>
                  </a:lnTo>
                  <a:lnTo>
                    <a:pt x="435" y="145"/>
                  </a:lnTo>
                  <a:lnTo>
                    <a:pt x="441" y="147"/>
                  </a:lnTo>
                  <a:lnTo>
                    <a:pt x="449" y="145"/>
                  </a:lnTo>
                  <a:lnTo>
                    <a:pt x="450" y="145"/>
                  </a:lnTo>
                  <a:lnTo>
                    <a:pt x="451" y="147"/>
                  </a:lnTo>
                  <a:lnTo>
                    <a:pt x="453" y="148"/>
                  </a:lnTo>
                  <a:lnTo>
                    <a:pt x="454" y="154"/>
                  </a:lnTo>
                  <a:lnTo>
                    <a:pt x="454" y="154"/>
                  </a:lnTo>
                  <a:lnTo>
                    <a:pt x="456" y="156"/>
                  </a:lnTo>
                  <a:lnTo>
                    <a:pt x="457" y="157"/>
                  </a:lnTo>
                  <a:lnTo>
                    <a:pt x="462" y="157"/>
                  </a:lnTo>
                  <a:lnTo>
                    <a:pt x="479" y="156"/>
                  </a:lnTo>
                  <a:lnTo>
                    <a:pt x="479" y="157"/>
                  </a:lnTo>
                  <a:lnTo>
                    <a:pt x="479" y="159"/>
                  </a:lnTo>
                  <a:lnTo>
                    <a:pt x="479" y="159"/>
                  </a:lnTo>
                  <a:lnTo>
                    <a:pt x="479" y="160"/>
                  </a:lnTo>
                  <a:lnTo>
                    <a:pt x="479" y="161"/>
                  </a:lnTo>
                  <a:lnTo>
                    <a:pt x="479" y="163"/>
                  </a:lnTo>
                  <a:lnTo>
                    <a:pt x="478" y="166"/>
                  </a:lnTo>
                  <a:lnTo>
                    <a:pt x="476" y="167"/>
                  </a:lnTo>
                  <a:lnTo>
                    <a:pt x="473" y="172"/>
                  </a:lnTo>
                  <a:lnTo>
                    <a:pt x="473" y="172"/>
                  </a:lnTo>
                  <a:lnTo>
                    <a:pt x="472" y="172"/>
                  </a:lnTo>
                  <a:lnTo>
                    <a:pt x="469" y="170"/>
                  </a:lnTo>
                  <a:lnTo>
                    <a:pt x="469" y="169"/>
                  </a:lnTo>
                  <a:lnTo>
                    <a:pt x="466" y="166"/>
                  </a:lnTo>
                  <a:lnTo>
                    <a:pt x="465" y="166"/>
                  </a:lnTo>
                  <a:lnTo>
                    <a:pt x="465" y="167"/>
                  </a:lnTo>
                  <a:lnTo>
                    <a:pt x="459" y="173"/>
                  </a:lnTo>
                  <a:lnTo>
                    <a:pt x="457" y="175"/>
                  </a:lnTo>
                  <a:lnTo>
                    <a:pt x="457" y="176"/>
                  </a:lnTo>
                  <a:lnTo>
                    <a:pt x="457" y="179"/>
                  </a:lnTo>
                  <a:lnTo>
                    <a:pt x="457" y="180"/>
                  </a:lnTo>
                  <a:lnTo>
                    <a:pt x="457" y="183"/>
                  </a:lnTo>
                  <a:lnTo>
                    <a:pt x="459" y="191"/>
                  </a:lnTo>
                  <a:lnTo>
                    <a:pt x="459" y="192"/>
                  </a:lnTo>
                  <a:lnTo>
                    <a:pt x="459" y="194"/>
                  </a:lnTo>
                  <a:lnTo>
                    <a:pt x="457" y="195"/>
                  </a:lnTo>
                  <a:lnTo>
                    <a:pt x="457" y="196"/>
                  </a:lnTo>
                  <a:lnTo>
                    <a:pt x="453" y="198"/>
                  </a:lnTo>
                  <a:lnTo>
                    <a:pt x="453" y="198"/>
                  </a:lnTo>
                  <a:lnTo>
                    <a:pt x="451" y="199"/>
                  </a:lnTo>
                  <a:lnTo>
                    <a:pt x="451" y="199"/>
                  </a:lnTo>
                  <a:lnTo>
                    <a:pt x="451" y="202"/>
                  </a:lnTo>
                  <a:lnTo>
                    <a:pt x="450" y="207"/>
                  </a:lnTo>
                  <a:lnTo>
                    <a:pt x="451" y="208"/>
                  </a:lnTo>
                  <a:lnTo>
                    <a:pt x="451" y="210"/>
                  </a:lnTo>
                  <a:lnTo>
                    <a:pt x="451" y="210"/>
                  </a:lnTo>
                  <a:lnTo>
                    <a:pt x="453" y="211"/>
                  </a:lnTo>
                  <a:lnTo>
                    <a:pt x="457" y="212"/>
                  </a:lnTo>
                  <a:lnTo>
                    <a:pt x="460" y="212"/>
                  </a:lnTo>
                  <a:lnTo>
                    <a:pt x="463" y="214"/>
                  </a:lnTo>
                  <a:lnTo>
                    <a:pt x="465" y="212"/>
                  </a:lnTo>
                  <a:lnTo>
                    <a:pt x="469" y="211"/>
                  </a:lnTo>
                  <a:lnTo>
                    <a:pt x="475" y="204"/>
                  </a:lnTo>
                  <a:lnTo>
                    <a:pt x="479" y="198"/>
                  </a:lnTo>
                  <a:lnTo>
                    <a:pt x="479" y="196"/>
                  </a:lnTo>
                  <a:lnTo>
                    <a:pt x="479" y="195"/>
                  </a:lnTo>
                  <a:lnTo>
                    <a:pt x="481" y="189"/>
                  </a:lnTo>
                  <a:lnTo>
                    <a:pt x="482" y="188"/>
                  </a:lnTo>
                  <a:lnTo>
                    <a:pt x="482" y="186"/>
                  </a:lnTo>
                  <a:lnTo>
                    <a:pt x="484" y="186"/>
                  </a:lnTo>
                  <a:lnTo>
                    <a:pt x="485" y="188"/>
                  </a:lnTo>
                  <a:lnTo>
                    <a:pt x="485" y="191"/>
                  </a:lnTo>
                  <a:lnTo>
                    <a:pt x="485" y="191"/>
                  </a:lnTo>
                  <a:lnTo>
                    <a:pt x="486" y="192"/>
                  </a:lnTo>
                  <a:lnTo>
                    <a:pt x="489" y="191"/>
                  </a:lnTo>
                  <a:lnTo>
                    <a:pt x="495" y="186"/>
                  </a:lnTo>
                  <a:lnTo>
                    <a:pt x="497" y="183"/>
                  </a:lnTo>
                  <a:lnTo>
                    <a:pt x="498" y="182"/>
                  </a:lnTo>
                  <a:lnTo>
                    <a:pt x="497" y="179"/>
                  </a:lnTo>
                  <a:lnTo>
                    <a:pt x="497" y="178"/>
                  </a:lnTo>
                  <a:lnTo>
                    <a:pt x="495" y="175"/>
                  </a:lnTo>
                  <a:lnTo>
                    <a:pt x="494" y="172"/>
                  </a:lnTo>
                  <a:lnTo>
                    <a:pt x="492" y="170"/>
                  </a:lnTo>
                  <a:lnTo>
                    <a:pt x="491" y="169"/>
                  </a:lnTo>
                  <a:lnTo>
                    <a:pt x="491" y="169"/>
                  </a:lnTo>
                  <a:lnTo>
                    <a:pt x="492" y="167"/>
                  </a:lnTo>
                  <a:lnTo>
                    <a:pt x="501" y="159"/>
                  </a:lnTo>
                  <a:lnTo>
                    <a:pt x="501" y="157"/>
                  </a:lnTo>
                  <a:lnTo>
                    <a:pt x="501" y="157"/>
                  </a:lnTo>
                  <a:lnTo>
                    <a:pt x="501" y="157"/>
                  </a:lnTo>
                  <a:lnTo>
                    <a:pt x="502" y="156"/>
                  </a:lnTo>
                  <a:lnTo>
                    <a:pt x="520" y="156"/>
                  </a:lnTo>
                  <a:lnTo>
                    <a:pt x="523" y="156"/>
                  </a:lnTo>
                  <a:lnTo>
                    <a:pt x="524" y="157"/>
                  </a:lnTo>
                  <a:lnTo>
                    <a:pt x="529" y="157"/>
                  </a:lnTo>
                  <a:lnTo>
                    <a:pt x="530" y="157"/>
                  </a:lnTo>
                  <a:lnTo>
                    <a:pt x="532" y="156"/>
                  </a:lnTo>
                  <a:lnTo>
                    <a:pt x="540" y="148"/>
                  </a:lnTo>
                  <a:lnTo>
                    <a:pt x="543" y="148"/>
                  </a:lnTo>
                  <a:lnTo>
                    <a:pt x="546" y="148"/>
                  </a:lnTo>
                  <a:lnTo>
                    <a:pt x="551" y="148"/>
                  </a:lnTo>
                  <a:lnTo>
                    <a:pt x="552" y="148"/>
                  </a:lnTo>
                  <a:lnTo>
                    <a:pt x="552" y="148"/>
                  </a:lnTo>
                  <a:lnTo>
                    <a:pt x="553" y="150"/>
                  </a:lnTo>
                  <a:lnTo>
                    <a:pt x="556" y="153"/>
                  </a:lnTo>
                  <a:lnTo>
                    <a:pt x="556" y="154"/>
                  </a:lnTo>
                  <a:lnTo>
                    <a:pt x="558" y="154"/>
                  </a:lnTo>
                  <a:lnTo>
                    <a:pt x="559" y="154"/>
                  </a:lnTo>
                  <a:lnTo>
                    <a:pt x="559" y="154"/>
                  </a:lnTo>
                  <a:lnTo>
                    <a:pt x="561" y="154"/>
                  </a:lnTo>
                  <a:lnTo>
                    <a:pt x="561" y="153"/>
                  </a:lnTo>
                  <a:lnTo>
                    <a:pt x="561" y="150"/>
                  </a:lnTo>
                  <a:lnTo>
                    <a:pt x="556" y="144"/>
                  </a:lnTo>
                  <a:lnTo>
                    <a:pt x="553" y="138"/>
                  </a:lnTo>
                  <a:lnTo>
                    <a:pt x="552" y="137"/>
                  </a:lnTo>
                  <a:lnTo>
                    <a:pt x="551" y="134"/>
                  </a:lnTo>
                  <a:lnTo>
                    <a:pt x="549" y="131"/>
                  </a:lnTo>
                  <a:lnTo>
                    <a:pt x="543" y="125"/>
                  </a:lnTo>
                  <a:lnTo>
                    <a:pt x="542" y="122"/>
                  </a:lnTo>
                  <a:lnTo>
                    <a:pt x="542" y="121"/>
                  </a:lnTo>
                  <a:lnTo>
                    <a:pt x="543" y="119"/>
                  </a:lnTo>
                  <a:lnTo>
                    <a:pt x="545" y="119"/>
                  </a:lnTo>
                  <a:lnTo>
                    <a:pt x="549" y="124"/>
                  </a:lnTo>
                  <a:lnTo>
                    <a:pt x="551" y="124"/>
                  </a:lnTo>
                  <a:lnTo>
                    <a:pt x="552" y="124"/>
                  </a:lnTo>
                  <a:lnTo>
                    <a:pt x="555" y="118"/>
                  </a:lnTo>
                  <a:lnTo>
                    <a:pt x="558" y="121"/>
                  </a:lnTo>
                  <a:lnTo>
                    <a:pt x="559" y="121"/>
                  </a:lnTo>
                  <a:lnTo>
                    <a:pt x="578" y="116"/>
                  </a:lnTo>
                  <a:lnTo>
                    <a:pt x="584" y="116"/>
                  </a:lnTo>
                  <a:lnTo>
                    <a:pt x="604" y="116"/>
                  </a:lnTo>
                  <a:lnTo>
                    <a:pt x="606" y="116"/>
                  </a:lnTo>
                  <a:lnTo>
                    <a:pt x="609" y="115"/>
                  </a:lnTo>
                  <a:lnTo>
                    <a:pt x="610" y="112"/>
                  </a:lnTo>
                  <a:lnTo>
                    <a:pt x="610" y="111"/>
                  </a:lnTo>
                  <a:lnTo>
                    <a:pt x="612" y="106"/>
                  </a:lnTo>
                  <a:lnTo>
                    <a:pt x="612" y="105"/>
                  </a:lnTo>
                  <a:lnTo>
                    <a:pt x="613" y="103"/>
                  </a:lnTo>
                  <a:lnTo>
                    <a:pt x="616" y="100"/>
                  </a:lnTo>
                  <a:lnTo>
                    <a:pt x="618" y="99"/>
                  </a:lnTo>
                  <a:lnTo>
                    <a:pt x="618" y="99"/>
                  </a:lnTo>
                  <a:lnTo>
                    <a:pt x="618" y="97"/>
                  </a:lnTo>
                  <a:lnTo>
                    <a:pt x="616" y="90"/>
                  </a:lnTo>
                  <a:lnTo>
                    <a:pt x="618" y="89"/>
                  </a:lnTo>
                  <a:lnTo>
                    <a:pt x="619" y="87"/>
                  </a:lnTo>
                  <a:lnTo>
                    <a:pt x="623" y="84"/>
                  </a:lnTo>
                  <a:lnTo>
                    <a:pt x="626" y="83"/>
                  </a:lnTo>
                  <a:lnTo>
                    <a:pt x="629" y="83"/>
                  </a:lnTo>
                  <a:lnTo>
                    <a:pt x="634" y="83"/>
                  </a:lnTo>
                  <a:lnTo>
                    <a:pt x="638" y="83"/>
                  </a:lnTo>
                  <a:lnTo>
                    <a:pt x="648" y="78"/>
                  </a:lnTo>
                  <a:lnTo>
                    <a:pt x="648" y="78"/>
                  </a:lnTo>
                  <a:lnTo>
                    <a:pt x="650" y="78"/>
                  </a:lnTo>
                  <a:lnTo>
                    <a:pt x="654" y="83"/>
                  </a:lnTo>
                  <a:lnTo>
                    <a:pt x="655" y="84"/>
                  </a:lnTo>
                  <a:lnTo>
                    <a:pt x="657" y="83"/>
                  </a:lnTo>
                  <a:lnTo>
                    <a:pt x="664" y="77"/>
                  </a:lnTo>
                  <a:lnTo>
                    <a:pt x="663" y="74"/>
                  </a:lnTo>
                  <a:lnTo>
                    <a:pt x="661" y="71"/>
                  </a:lnTo>
                  <a:lnTo>
                    <a:pt x="661" y="71"/>
                  </a:lnTo>
                  <a:lnTo>
                    <a:pt x="661" y="71"/>
                  </a:lnTo>
                  <a:lnTo>
                    <a:pt x="661" y="68"/>
                  </a:lnTo>
                  <a:lnTo>
                    <a:pt x="666" y="46"/>
                  </a:lnTo>
                  <a:lnTo>
                    <a:pt x="664" y="46"/>
                  </a:lnTo>
                  <a:lnTo>
                    <a:pt x="664" y="45"/>
                  </a:lnTo>
                  <a:lnTo>
                    <a:pt x="663" y="45"/>
                  </a:lnTo>
                  <a:lnTo>
                    <a:pt x="657" y="42"/>
                  </a:lnTo>
                  <a:lnTo>
                    <a:pt x="655" y="42"/>
                  </a:lnTo>
                  <a:lnTo>
                    <a:pt x="654" y="42"/>
                  </a:lnTo>
                  <a:lnTo>
                    <a:pt x="654" y="42"/>
                  </a:lnTo>
                  <a:lnTo>
                    <a:pt x="653" y="42"/>
                  </a:lnTo>
                  <a:lnTo>
                    <a:pt x="653" y="44"/>
                  </a:lnTo>
                  <a:lnTo>
                    <a:pt x="653" y="44"/>
                  </a:lnTo>
                  <a:lnTo>
                    <a:pt x="651" y="48"/>
                  </a:lnTo>
                  <a:lnTo>
                    <a:pt x="651" y="51"/>
                  </a:lnTo>
                  <a:lnTo>
                    <a:pt x="650" y="51"/>
                  </a:lnTo>
                  <a:lnTo>
                    <a:pt x="648" y="52"/>
                  </a:lnTo>
                  <a:lnTo>
                    <a:pt x="647" y="52"/>
                  </a:lnTo>
                  <a:lnTo>
                    <a:pt x="647" y="52"/>
                  </a:lnTo>
                  <a:lnTo>
                    <a:pt x="645" y="52"/>
                  </a:lnTo>
                  <a:lnTo>
                    <a:pt x="644" y="51"/>
                  </a:lnTo>
                  <a:lnTo>
                    <a:pt x="644" y="49"/>
                  </a:lnTo>
                  <a:lnTo>
                    <a:pt x="645" y="45"/>
                  </a:lnTo>
                  <a:lnTo>
                    <a:pt x="645" y="44"/>
                  </a:lnTo>
                  <a:lnTo>
                    <a:pt x="645" y="41"/>
                  </a:lnTo>
                  <a:lnTo>
                    <a:pt x="644" y="41"/>
                  </a:lnTo>
                  <a:lnTo>
                    <a:pt x="642" y="39"/>
                  </a:lnTo>
                  <a:lnTo>
                    <a:pt x="631" y="38"/>
                  </a:lnTo>
                  <a:lnTo>
                    <a:pt x="628" y="36"/>
                  </a:lnTo>
                  <a:lnTo>
                    <a:pt x="626" y="35"/>
                  </a:lnTo>
                  <a:lnTo>
                    <a:pt x="625" y="35"/>
                  </a:lnTo>
                  <a:lnTo>
                    <a:pt x="625" y="32"/>
                  </a:lnTo>
                  <a:lnTo>
                    <a:pt x="625" y="30"/>
                  </a:lnTo>
                  <a:lnTo>
                    <a:pt x="628" y="28"/>
                  </a:lnTo>
                  <a:lnTo>
                    <a:pt x="628" y="26"/>
                  </a:lnTo>
                  <a:lnTo>
                    <a:pt x="628" y="25"/>
                  </a:lnTo>
                  <a:lnTo>
                    <a:pt x="628" y="25"/>
                  </a:lnTo>
                  <a:lnTo>
                    <a:pt x="628" y="23"/>
                  </a:lnTo>
                  <a:lnTo>
                    <a:pt x="625" y="16"/>
                  </a:lnTo>
                  <a:lnTo>
                    <a:pt x="626" y="13"/>
                  </a:lnTo>
                  <a:lnTo>
                    <a:pt x="631" y="10"/>
                  </a:lnTo>
                  <a:lnTo>
                    <a:pt x="635" y="7"/>
                  </a:lnTo>
                  <a:lnTo>
                    <a:pt x="639" y="6"/>
                  </a:lnTo>
                  <a:lnTo>
                    <a:pt x="655" y="7"/>
                  </a:lnTo>
                  <a:lnTo>
                    <a:pt x="669" y="1"/>
                  </a:lnTo>
                  <a:lnTo>
                    <a:pt x="680" y="0"/>
                  </a:lnTo>
                  <a:lnTo>
                    <a:pt x="687" y="0"/>
                  </a:lnTo>
                  <a:close/>
                </a:path>
              </a:pathLst>
            </a:custGeom>
            <a:grpFill/>
            <a:ln w="635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07805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kt 54" hidden="1"/>
          <p:cNvGraphicFramePr>
            <a:graphicFrameLocks/>
          </p:cNvGraphicFramePr>
          <p:nvPr>
            <p:custDataLst>
              <p:tags r:id="rId1"/>
            </p:custDataLst>
            <p:extLst>
              <p:ext uri="{D42A27DB-BD31-4B8C-83A1-F6EECF244321}">
                <p14:modId xmlns:p14="http://schemas.microsoft.com/office/powerpoint/2010/main" val="1025220032"/>
              </p:ext>
            </p:ext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Folie" r:id="rId5" imgW="0" imgH="0" progId="TCLayout.ActiveDocument.1">
                  <p:embed/>
                </p:oleObj>
              </mc:Choice>
              <mc:Fallback>
                <p:oleObj name="think-cell Folie" r:id="rId5" imgW="0" imgH="0" progId="TCLayout.ActiveDocument.1">
                  <p:embed/>
                  <p:pic>
                    <p:nvPicPr>
                      <p:cNvPr id="55" name="Objekt 5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 name="Content Placeholder 10">
            <a:extLst>
              <a:ext uri="{FF2B5EF4-FFF2-40B4-BE49-F238E27FC236}">
                <a16:creationId xmlns:a16="http://schemas.microsoft.com/office/drawing/2014/main" id="{6117737F-73E4-42CA-AE16-90B07AFEFBB5}"/>
              </a:ext>
            </a:extLst>
          </p:cNvPr>
          <p:cNvSpPr txBox="1">
            <a:spLocks/>
          </p:cNvSpPr>
          <p:nvPr/>
        </p:nvSpPr>
        <p:spPr bwMode="gray">
          <a:xfrm>
            <a:off x="2712000" y="3141000"/>
            <a:ext cx="1728000" cy="1152000"/>
          </a:xfrm>
          <a:prstGeom prst="rect">
            <a:avLst/>
          </a:prstGeom>
          <a:solidFill>
            <a:schemeClr val="tx2"/>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Lorem ipsum</a:t>
            </a:r>
          </a:p>
        </p:txBody>
      </p:sp>
      <p:sp>
        <p:nvSpPr>
          <p:cNvPr id="3" name="Rechteck 2" hidden="1">
            <a:extLst>
              <a:ext uri="{FF2B5EF4-FFF2-40B4-BE49-F238E27FC236}">
                <a16:creationId xmlns:a16="http://schemas.microsoft.com/office/drawing/2014/main" id="{ABDB2B66-D16C-48AD-A247-734F713A0D4C}"/>
              </a:ext>
            </a:extLst>
          </p:cNvPr>
          <p:cNvSpPr/>
          <p:nvPr>
            <p:custDataLst>
              <p:tags r:id="rId2"/>
            </p:custDataLst>
          </p:nvPr>
        </p:nvSpPr>
        <p:spPr bwMode="gray">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e-DE" sz="3000" dirty="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sym typeface="Open Sans Extrabold" panose="020B0906030804020204" pitchFamily="34" charset="0"/>
            </a:endParaRPr>
          </a:p>
        </p:txBody>
      </p:sp>
      <p:sp>
        <p:nvSpPr>
          <p:cNvPr id="2" name="Titel 1"/>
          <p:cNvSpPr>
            <a:spLocks noGrp="1"/>
          </p:cNvSpPr>
          <p:nvPr>
            <p:ph type="title"/>
          </p:nvPr>
        </p:nvSpPr>
        <p:spPr bwMode="gray"/>
        <p:txBody>
          <a:bodyPr vert="horz"/>
          <a:lstStyle/>
          <a:p>
            <a:r>
              <a:rPr lang="de-DE" dirty="0"/>
              <a:t>Prozess mit Rückführung</a:t>
            </a:r>
          </a:p>
        </p:txBody>
      </p:sp>
      <p:sp>
        <p:nvSpPr>
          <p:cNvPr id="58" name="Datumsplatzhalter 57">
            <a:extLst>
              <a:ext uri="{FF2B5EF4-FFF2-40B4-BE49-F238E27FC236}">
                <a16:creationId xmlns:a16="http://schemas.microsoft.com/office/drawing/2014/main" id="{C7BC0B80-5B08-4D2A-9996-7F39ADD94CE1}"/>
              </a:ext>
            </a:extLst>
          </p:cNvPr>
          <p:cNvSpPr>
            <a:spLocks noGrp="1"/>
          </p:cNvSpPr>
          <p:nvPr>
            <p:ph type="dt" sz="half" idx="10"/>
          </p:nvPr>
        </p:nvSpPr>
        <p:spPr bwMode="gray"/>
        <p:txBody>
          <a:bodyPr/>
          <a:lstStyle/>
          <a:p>
            <a:fld id="{11EB94C6-E265-4B56-B230-9644D4B11162}" type="datetime1">
              <a:rPr lang="de-DE" smtClean="0"/>
              <a:t>29.09.25</a:t>
            </a:fld>
            <a:endParaRPr lang="de-DE" dirty="0"/>
          </a:p>
        </p:txBody>
      </p:sp>
      <p:sp>
        <p:nvSpPr>
          <p:cNvPr id="59" name="Fußzeilenplatzhalter 58">
            <a:extLst>
              <a:ext uri="{FF2B5EF4-FFF2-40B4-BE49-F238E27FC236}">
                <a16:creationId xmlns:a16="http://schemas.microsoft.com/office/drawing/2014/main" id="{A607E8D5-931A-45FC-8E10-3F8B7F6284B2}"/>
              </a:ext>
            </a:extLst>
          </p:cNvPr>
          <p:cNvSpPr>
            <a:spLocks noGrp="1"/>
          </p:cNvSpPr>
          <p:nvPr>
            <p:ph type="ftr" sz="quarter" idx="11"/>
          </p:nvPr>
        </p:nvSpPr>
        <p:spPr bwMode="gray"/>
        <p:txBody>
          <a:bodyPr/>
          <a:lstStyle/>
          <a:p>
            <a:r>
              <a:rPr lang="de-DE" dirty="0"/>
              <a:t>TITEL DER PRÄSENTATION | TITEL VORNAME NAME</a:t>
            </a:r>
          </a:p>
        </p:txBody>
      </p:sp>
      <p:sp>
        <p:nvSpPr>
          <p:cNvPr id="60" name="Foliennummernplatzhalter 59">
            <a:extLst>
              <a:ext uri="{FF2B5EF4-FFF2-40B4-BE49-F238E27FC236}">
                <a16:creationId xmlns:a16="http://schemas.microsoft.com/office/drawing/2014/main" id="{44C5DB9A-AB87-4B93-B3DD-E4C9BD08B4D2}"/>
              </a:ext>
            </a:extLst>
          </p:cNvPr>
          <p:cNvSpPr>
            <a:spLocks noGrp="1"/>
          </p:cNvSpPr>
          <p:nvPr>
            <p:ph type="sldNum" sz="quarter" idx="12"/>
          </p:nvPr>
        </p:nvSpPr>
        <p:spPr bwMode="gray"/>
        <p:txBody>
          <a:bodyPr/>
          <a:lstStyle/>
          <a:p>
            <a:fld id="{09E9C37E-8A19-4E30-BE2B-5A966AD23C7A}" type="slidenum">
              <a:rPr lang="de-DE" smtClean="0"/>
              <a:pPr/>
              <a:t>89</a:t>
            </a:fld>
            <a:endParaRPr lang="de-DE" dirty="0"/>
          </a:p>
        </p:txBody>
      </p:sp>
      <p:sp>
        <p:nvSpPr>
          <p:cNvPr id="18" name="Content Placeholder 10">
            <a:extLst>
              <a:ext uri="{FF2B5EF4-FFF2-40B4-BE49-F238E27FC236}">
                <a16:creationId xmlns:a16="http://schemas.microsoft.com/office/drawing/2014/main" id="{EDB688A9-43EC-4A0E-B635-63D751C4808B}"/>
              </a:ext>
            </a:extLst>
          </p:cNvPr>
          <p:cNvSpPr txBox="1">
            <a:spLocks/>
          </p:cNvSpPr>
          <p:nvPr/>
        </p:nvSpPr>
        <p:spPr bwMode="gray">
          <a:xfrm>
            <a:off x="336000" y="3141000"/>
            <a:ext cx="1728000" cy="1152000"/>
          </a:xfrm>
          <a:prstGeom prst="rect">
            <a:avLst/>
          </a:prstGeom>
          <a:solidFill>
            <a:schemeClr val="tx2"/>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Lorem ipsum</a:t>
            </a:r>
          </a:p>
        </p:txBody>
      </p:sp>
      <p:sp>
        <p:nvSpPr>
          <p:cNvPr id="38" name="Content Placeholder 10">
            <a:extLst>
              <a:ext uri="{FF2B5EF4-FFF2-40B4-BE49-F238E27FC236}">
                <a16:creationId xmlns:a16="http://schemas.microsoft.com/office/drawing/2014/main" id="{7288C65D-9AAF-4EA6-AB2E-7F9D3E87960C}"/>
              </a:ext>
            </a:extLst>
          </p:cNvPr>
          <p:cNvSpPr txBox="1">
            <a:spLocks/>
          </p:cNvSpPr>
          <p:nvPr/>
        </p:nvSpPr>
        <p:spPr bwMode="gray">
          <a:xfrm>
            <a:off x="5088000" y="3141000"/>
            <a:ext cx="1728000" cy="1152000"/>
          </a:xfrm>
          <a:prstGeom prst="rect">
            <a:avLst/>
          </a:prstGeom>
          <a:solidFill>
            <a:schemeClr val="tx2"/>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Lorem ipsum</a:t>
            </a:r>
          </a:p>
        </p:txBody>
      </p:sp>
      <p:sp>
        <p:nvSpPr>
          <p:cNvPr id="39" name="Content Placeholder 10">
            <a:extLst>
              <a:ext uri="{FF2B5EF4-FFF2-40B4-BE49-F238E27FC236}">
                <a16:creationId xmlns:a16="http://schemas.microsoft.com/office/drawing/2014/main" id="{5ABE2F59-1DB6-40A1-AF63-7ECC5EBE311C}"/>
              </a:ext>
            </a:extLst>
          </p:cNvPr>
          <p:cNvSpPr txBox="1">
            <a:spLocks/>
          </p:cNvSpPr>
          <p:nvPr/>
        </p:nvSpPr>
        <p:spPr bwMode="gray">
          <a:xfrm>
            <a:off x="7464000" y="3141000"/>
            <a:ext cx="1728000" cy="1152000"/>
          </a:xfrm>
          <a:prstGeom prst="rect">
            <a:avLst/>
          </a:prstGeom>
          <a:solidFill>
            <a:schemeClr val="tx2"/>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Lorem ipsum</a:t>
            </a:r>
          </a:p>
        </p:txBody>
      </p:sp>
      <p:sp>
        <p:nvSpPr>
          <p:cNvPr id="40" name="Content Placeholder 10">
            <a:extLst>
              <a:ext uri="{FF2B5EF4-FFF2-40B4-BE49-F238E27FC236}">
                <a16:creationId xmlns:a16="http://schemas.microsoft.com/office/drawing/2014/main" id="{2FEFF2AC-3FD5-410C-A831-1FEF026B3F03}"/>
              </a:ext>
            </a:extLst>
          </p:cNvPr>
          <p:cNvSpPr txBox="1">
            <a:spLocks/>
          </p:cNvSpPr>
          <p:nvPr/>
        </p:nvSpPr>
        <p:spPr bwMode="gray">
          <a:xfrm>
            <a:off x="9840000" y="3141000"/>
            <a:ext cx="1728000" cy="1152000"/>
          </a:xfrm>
          <a:prstGeom prst="rect">
            <a:avLst/>
          </a:prstGeom>
          <a:solidFill>
            <a:schemeClr val="tx2"/>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Lorem ipsum</a:t>
            </a:r>
          </a:p>
        </p:txBody>
      </p:sp>
      <p:sp>
        <p:nvSpPr>
          <p:cNvPr id="41" name="Freihandform: Form 40">
            <a:extLst>
              <a:ext uri="{FF2B5EF4-FFF2-40B4-BE49-F238E27FC236}">
                <a16:creationId xmlns:a16="http://schemas.microsoft.com/office/drawing/2014/main" id="{D43C1396-96A6-49B9-91C6-502B2BA75441}"/>
              </a:ext>
            </a:extLst>
          </p:cNvPr>
          <p:cNvSpPr>
            <a:spLocks noChangeAspect="1"/>
          </p:cNvSpPr>
          <p:nvPr/>
        </p:nvSpPr>
        <p:spPr bwMode="gray">
          <a:xfrm>
            <a:off x="2316000" y="3609000"/>
            <a:ext cx="144000" cy="216000"/>
          </a:xfrm>
          <a:custGeom>
            <a:avLst/>
            <a:gdLst>
              <a:gd name="connsiteX0" fmla="*/ 72000 w 288000"/>
              <a:gd name="connsiteY0" fmla="*/ 0 h 432000"/>
              <a:gd name="connsiteX1" fmla="*/ 288000 w 288000"/>
              <a:gd name="connsiteY1" fmla="*/ 216000 h 432000"/>
              <a:gd name="connsiteX2" fmla="*/ 72000 w 288000"/>
              <a:gd name="connsiteY2" fmla="*/ 432000 h 432000"/>
              <a:gd name="connsiteX3" fmla="*/ 0 w 288000"/>
              <a:gd name="connsiteY3" fmla="*/ 360000 h 432000"/>
              <a:gd name="connsiteX4" fmla="*/ 144000 w 288000"/>
              <a:gd name="connsiteY4" fmla="*/ 216000 h 432000"/>
              <a:gd name="connsiteX5" fmla="*/ 0 w 288000"/>
              <a:gd name="connsiteY5" fmla="*/ 72000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000" h="432000">
                <a:moveTo>
                  <a:pt x="72000" y="0"/>
                </a:moveTo>
                <a:lnTo>
                  <a:pt x="288000" y="216000"/>
                </a:lnTo>
                <a:lnTo>
                  <a:pt x="72000" y="432000"/>
                </a:lnTo>
                <a:lnTo>
                  <a:pt x="0" y="360000"/>
                </a:lnTo>
                <a:lnTo>
                  <a:pt x="144000" y="216000"/>
                </a:lnTo>
                <a:lnTo>
                  <a:pt x="0" y="72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42" name="Freihandform: Form 41">
            <a:extLst>
              <a:ext uri="{FF2B5EF4-FFF2-40B4-BE49-F238E27FC236}">
                <a16:creationId xmlns:a16="http://schemas.microsoft.com/office/drawing/2014/main" id="{AACB4AC0-F012-4E1E-B77D-EF208E356A53}"/>
              </a:ext>
            </a:extLst>
          </p:cNvPr>
          <p:cNvSpPr>
            <a:spLocks noChangeAspect="1"/>
          </p:cNvSpPr>
          <p:nvPr/>
        </p:nvSpPr>
        <p:spPr bwMode="gray">
          <a:xfrm>
            <a:off x="4692000" y="3609000"/>
            <a:ext cx="144000" cy="216000"/>
          </a:xfrm>
          <a:custGeom>
            <a:avLst/>
            <a:gdLst>
              <a:gd name="connsiteX0" fmla="*/ 72000 w 288000"/>
              <a:gd name="connsiteY0" fmla="*/ 0 h 432000"/>
              <a:gd name="connsiteX1" fmla="*/ 288000 w 288000"/>
              <a:gd name="connsiteY1" fmla="*/ 216000 h 432000"/>
              <a:gd name="connsiteX2" fmla="*/ 72000 w 288000"/>
              <a:gd name="connsiteY2" fmla="*/ 432000 h 432000"/>
              <a:gd name="connsiteX3" fmla="*/ 0 w 288000"/>
              <a:gd name="connsiteY3" fmla="*/ 360000 h 432000"/>
              <a:gd name="connsiteX4" fmla="*/ 144000 w 288000"/>
              <a:gd name="connsiteY4" fmla="*/ 216000 h 432000"/>
              <a:gd name="connsiteX5" fmla="*/ 0 w 288000"/>
              <a:gd name="connsiteY5" fmla="*/ 72000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000" h="432000">
                <a:moveTo>
                  <a:pt x="72000" y="0"/>
                </a:moveTo>
                <a:lnTo>
                  <a:pt x="288000" y="216000"/>
                </a:lnTo>
                <a:lnTo>
                  <a:pt x="72000" y="432000"/>
                </a:lnTo>
                <a:lnTo>
                  <a:pt x="0" y="360000"/>
                </a:lnTo>
                <a:lnTo>
                  <a:pt x="144000" y="216000"/>
                </a:lnTo>
                <a:lnTo>
                  <a:pt x="0" y="72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43" name="Freihandform: Form 42">
            <a:extLst>
              <a:ext uri="{FF2B5EF4-FFF2-40B4-BE49-F238E27FC236}">
                <a16:creationId xmlns:a16="http://schemas.microsoft.com/office/drawing/2014/main" id="{D89DB415-5D2B-4A09-9756-990AE161D3BB}"/>
              </a:ext>
            </a:extLst>
          </p:cNvPr>
          <p:cNvSpPr>
            <a:spLocks noChangeAspect="1"/>
          </p:cNvSpPr>
          <p:nvPr/>
        </p:nvSpPr>
        <p:spPr bwMode="gray">
          <a:xfrm>
            <a:off x="7068000" y="3609000"/>
            <a:ext cx="144000" cy="216000"/>
          </a:xfrm>
          <a:custGeom>
            <a:avLst/>
            <a:gdLst>
              <a:gd name="connsiteX0" fmla="*/ 72000 w 288000"/>
              <a:gd name="connsiteY0" fmla="*/ 0 h 432000"/>
              <a:gd name="connsiteX1" fmla="*/ 288000 w 288000"/>
              <a:gd name="connsiteY1" fmla="*/ 216000 h 432000"/>
              <a:gd name="connsiteX2" fmla="*/ 72000 w 288000"/>
              <a:gd name="connsiteY2" fmla="*/ 432000 h 432000"/>
              <a:gd name="connsiteX3" fmla="*/ 0 w 288000"/>
              <a:gd name="connsiteY3" fmla="*/ 360000 h 432000"/>
              <a:gd name="connsiteX4" fmla="*/ 144000 w 288000"/>
              <a:gd name="connsiteY4" fmla="*/ 216000 h 432000"/>
              <a:gd name="connsiteX5" fmla="*/ 0 w 288000"/>
              <a:gd name="connsiteY5" fmla="*/ 72000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000" h="432000">
                <a:moveTo>
                  <a:pt x="72000" y="0"/>
                </a:moveTo>
                <a:lnTo>
                  <a:pt x="288000" y="216000"/>
                </a:lnTo>
                <a:lnTo>
                  <a:pt x="72000" y="432000"/>
                </a:lnTo>
                <a:lnTo>
                  <a:pt x="0" y="360000"/>
                </a:lnTo>
                <a:lnTo>
                  <a:pt x="144000" y="216000"/>
                </a:lnTo>
                <a:lnTo>
                  <a:pt x="0" y="72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44" name="Freihandform: Form 43">
            <a:extLst>
              <a:ext uri="{FF2B5EF4-FFF2-40B4-BE49-F238E27FC236}">
                <a16:creationId xmlns:a16="http://schemas.microsoft.com/office/drawing/2014/main" id="{9FCB5295-F3F2-480C-8FB3-94765F9C9F13}"/>
              </a:ext>
            </a:extLst>
          </p:cNvPr>
          <p:cNvSpPr>
            <a:spLocks noChangeAspect="1"/>
          </p:cNvSpPr>
          <p:nvPr/>
        </p:nvSpPr>
        <p:spPr bwMode="gray">
          <a:xfrm>
            <a:off x="9444000" y="3609000"/>
            <a:ext cx="144000" cy="216000"/>
          </a:xfrm>
          <a:custGeom>
            <a:avLst/>
            <a:gdLst>
              <a:gd name="connsiteX0" fmla="*/ 72000 w 288000"/>
              <a:gd name="connsiteY0" fmla="*/ 0 h 432000"/>
              <a:gd name="connsiteX1" fmla="*/ 288000 w 288000"/>
              <a:gd name="connsiteY1" fmla="*/ 216000 h 432000"/>
              <a:gd name="connsiteX2" fmla="*/ 72000 w 288000"/>
              <a:gd name="connsiteY2" fmla="*/ 432000 h 432000"/>
              <a:gd name="connsiteX3" fmla="*/ 0 w 288000"/>
              <a:gd name="connsiteY3" fmla="*/ 360000 h 432000"/>
              <a:gd name="connsiteX4" fmla="*/ 144000 w 288000"/>
              <a:gd name="connsiteY4" fmla="*/ 216000 h 432000"/>
              <a:gd name="connsiteX5" fmla="*/ 0 w 288000"/>
              <a:gd name="connsiteY5" fmla="*/ 72000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000" h="432000">
                <a:moveTo>
                  <a:pt x="72000" y="0"/>
                </a:moveTo>
                <a:lnTo>
                  <a:pt x="288000" y="216000"/>
                </a:lnTo>
                <a:lnTo>
                  <a:pt x="72000" y="432000"/>
                </a:lnTo>
                <a:lnTo>
                  <a:pt x="0" y="360000"/>
                </a:lnTo>
                <a:lnTo>
                  <a:pt x="144000" y="216000"/>
                </a:lnTo>
                <a:lnTo>
                  <a:pt x="0" y="72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45" name="Content Placeholder 10">
            <a:extLst>
              <a:ext uri="{FF2B5EF4-FFF2-40B4-BE49-F238E27FC236}">
                <a16:creationId xmlns:a16="http://schemas.microsoft.com/office/drawing/2014/main" id="{6FBF123E-A8EE-44A9-93D3-D73E2C84AE42}"/>
              </a:ext>
            </a:extLst>
          </p:cNvPr>
          <p:cNvSpPr txBox="1">
            <a:spLocks/>
          </p:cNvSpPr>
          <p:nvPr/>
        </p:nvSpPr>
        <p:spPr bwMode="gray">
          <a:xfrm>
            <a:off x="1344000" y="1989075"/>
            <a:ext cx="2088000" cy="1008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dirty="0"/>
              <a:t>Fames ac egestas. </a:t>
            </a:r>
            <a:br>
              <a:rPr lang="de-DE" dirty="0"/>
            </a:br>
            <a:r>
              <a:rPr lang="de-DE" dirty="0"/>
              <a:t>Proin pharetra in vitae condimentum.</a:t>
            </a:r>
          </a:p>
        </p:txBody>
      </p:sp>
      <p:sp>
        <p:nvSpPr>
          <p:cNvPr id="46" name="Content Placeholder 10">
            <a:extLst>
              <a:ext uri="{FF2B5EF4-FFF2-40B4-BE49-F238E27FC236}">
                <a16:creationId xmlns:a16="http://schemas.microsoft.com/office/drawing/2014/main" id="{4D11DADA-BA10-4586-B42D-F93A46C30E3C}"/>
              </a:ext>
            </a:extLst>
          </p:cNvPr>
          <p:cNvSpPr txBox="1">
            <a:spLocks/>
          </p:cNvSpPr>
          <p:nvPr/>
        </p:nvSpPr>
        <p:spPr bwMode="gray">
          <a:xfrm>
            <a:off x="3720000" y="1989075"/>
            <a:ext cx="2088000" cy="1008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dirty="0"/>
              <a:t>Fames ac egestas. </a:t>
            </a:r>
            <a:br>
              <a:rPr lang="de-DE" dirty="0"/>
            </a:br>
            <a:r>
              <a:rPr lang="de-DE" dirty="0"/>
              <a:t>Proin pharetra in vitae condimentum.</a:t>
            </a:r>
          </a:p>
        </p:txBody>
      </p:sp>
      <p:sp>
        <p:nvSpPr>
          <p:cNvPr id="47" name="Content Placeholder 10">
            <a:extLst>
              <a:ext uri="{FF2B5EF4-FFF2-40B4-BE49-F238E27FC236}">
                <a16:creationId xmlns:a16="http://schemas.microsoft.com/office/drawing/2014/main" id="{D099791D-C7BB-44F9-9CC4-D8001A742016}"/>
              </a:ext>
            </a:extLst>
          </p:cNvPr>
          <p:cNvSpPr txBox="1">
            <a:spLocks/>
          </p:cNvSpPr>
          <p:nvPr/>
        </p:nvSpPr>
        <p:spPr bwMode="gray">
          <a:xfrm>
            <a:off x="6096000" y="1989075"/>
            <a:ext cx="2088000" cy="1008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dirty="0"/>
              <a:t>Fames ac egestas. </a:t>
            </a:r>
            <a:br>
              <a:rPr lang="de-DE" dirty="0"/>
            </a:br>
            <a:r>
              <a:rPr lang="de-DE" dirty="0"/>
              <a:t>Proin pharetra in vitae condimentum.</a:t>
            </a:r>
          </a:p>
        </p:txBody>
      </p:sp>
      <p:sp>
        <p:nvSpPr>
          <p:cNvPr id="48" name="Content Placeholder 10">
            <a:extLst>
              <a:ext uri="{FF2B5EF4-FFF2-40B4-BE49-F238E27FC236}">
                <a16:creationId xmlns:a16="http://schemas.microsoft.com/office/drawing/2014/main" id="{9B765963-F8FE-4250-8438-39C540BC94AD}"/>
              </a:ext>
            </a:extLst>
          </p:cNvPr>
          <p:cNvSpPr txBox="1">
            <a:spLocks/>
          </p:cNvSpPr>
          <p:nvPr/>
        </p:nvSpPr>
        <p:spPr bwMode="gray">
          <a:xfrm>
            <a:off x="8472000" y="1989075"/>
            <a:ext cx="2088000" cy="1008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dirty="0"/>
              <a:t>Fames ac egestas. </a:t>
            </a:r>
            <a:br>
              <a:rPr lang="de-DE" dirty="0"/>
            </a:br>
            <a:r>
              <a:rPr lang="de-DE" dirty="0"/>
              <a:t>Proin pharetra in vitae condimentum.</a:t>
            </a:r>
          </a:p>
        </p:txBody>
      </p:sp>
      <p:sp>
        <p:nvSpPr>
          <p:cNvPr id="37" name="Rechteck 36">
            <a:extLst>
              <a:ext uri="{FF2B5EF4-FFF2-40B4-BE49-F238E27FC236}">
                <a16:creationId xmlns:a16="http://schemas.microsoft.com/office/drawing/2014/main" id="{61862DFB-BE5D-458C-9635-F0734D815D9F}"/>
              </a:ext>
            </a:extLst>
          </p:cNvPr>
          <p:cNvSpPr/>
          <p:nvPr/>
        </p:nvSpPr>
        <p:spPr bwMode="gray">
          <a:xfrm>
            <a:off x="1200000" y="4653000"/>
            <a:ext cx="9504000" cy="216000"/>
          </a:xfrm>
          <a:custGeom>
            <a:avLst/>
            <a:gdLst>
              <a:gd name="connsiteX0" fmla="*/ 0 w 9288000"/>
              <a:gd name="connsiteY0" fmla="*/ 0 h 648000"/>
              <a:gd name="connsiteX1" fmla="*/ 9288000 w 9288000"/>
              <a:gd name="connsiteY1" fmla="*/ 0 h 648000"/>
              <a:gd name="connsiteX2" fmla="*/ 9288000 w 9288000"/>
              <a:gd name="connsiteY2" fmla="*/ 648000 h 648000"/>
              <a:gd name="connsiteX3" fmla="*/ 0 w 9288000"/>
              <a:gd name="connsiteY3" fmla="*/ 648000 h 648000"/>
              <a:gd name="connsiteX4" fmla="*/ 0 w 9288000"/>
              <a:gd name="connsiteY4" fmla="*/ 0 h 648000"/>
              <a:gd name="connsiteX0" fmla="*/ 0 w 9288000"/>
              <a:gd name="connsiteY0" fmla="*/ 15039 h 663039"/>
              <a:gd name="connsiteX1" fmla="*/ 4440542 w 9288000"/>
              <a:gd name="connsiteY1" fmla="*/ 0 h 663039"/>
              <a:gd name="connsiteX2" fmla="*/ 9288000 w 9288000"/>
              <a:gd name="connsiteY2" fmla="*/ 15039 h 663039"/>
              <a:gd name="connsiteX3" fmla="*/ 9288000 w 9288000"/>
              <a:gd name="connsiteY3" fmla="*/ 663039 h 663039"/>
              <a:gd name="connsiteX4" fmla="*/ 0 w 9288000"/>
              <a:gd name="connsiteY4" fmla="*/ 663039 h 663039"/>
              <a:gd name="connsiteX5" fmla="*/ 0 w 9288000"/>
              <a:gd name="connsiteY5" fmla="*/ 15039 h 663039"/>
              <a:gd name="connsiteX0" fmla="*/ 4440542 w 9288000"/>
              <a:gd name="connsiteY0" fmla="*/ 0 h 663039"/>
              <a:gd name="connsiteX1" fmla="*/ 9288000 w 9288000"/>
              <a:gd name="connsiteY1" fmla="*/ 15039 h 663039"/>
              <a:gd name="connsiteX2" fmla="*/ 9288000 w 9288000"/>
              <a:gd name="connsiteY2" fmla="*/ 663039 h 663039"/>
              <a:gd name="connsiteX3" fmla="*/ 0 w 9288000"/>
              <a:gd name="connsiteY3" fmla="*/ 663039 h 663039"/>
              <a:gd name="connsiteX4" fmla="*/ 0 w 9288000"/>
              <a:gd name="connsiteY4" fmla="*/ 15039 h 663039"/>
              <a:gd name="connsiteX5" fmla="*/ 4531982 w 9288000"/>
              <a:gd name="connsiteY5" fmla="*/ 91440 h 663039"/>
              <a:gd name="connsiteX0" fmla="*/ 9288000 w 9288000"/>
              <a:gd name="connsiteY0" fmla="*/ 223 h 648223"/>
              <a:gd name="connsiteX1" fmla="*/ 9288000 w 9288000"/>
              <a:gd name="connsiteY1" fmla="*/ 648223 h 648223"/>
              <a:gd name="connsiteX2" fmla="*/ 0 w 9288000"/>
              <a:gd name="connsiteY2" fmla="*/ 648223 h 648223"/>
              <a:gd name="connsiteX3" fmla="*/ 0 w 9288000"/>
              <a:gd name="connsiteY3" fmla="*/ 223 h 648223"/>
              <a:gd name="connsiteX4" fmla="*/ 4531982 w 9288000"/>
              <a:gd name="connsiteY4" fmla="*/ 76624 h 648223"/>
              <a:gd name="connsiteX0" fmla="*/ 9288000 w 9288000"/>
              <a:gd name="connsiteY0" fmla="*/ 0 h 648000"/>
              <a:gd name="connsiteX1" fmla="*/ 9288000 w 9288000"/>
              <a:gd name="connsiteY1" fmla="*/ 648000 h 648000"/>
              <a:gd name="connsiteX2" fmla="*/ 0 w 9288000"/>
              <a:gd name="connsiteY2" fmla="*/ 648000 h 648000"/>
              <a:gd name="connsiteX3" fmla="*/ 0 w 9288000"/>
              <a:gd name="connsiteY3" fmla="*/ 0 h 648000"/>
            </a:gdLst>
            <a:ahLst/>
            <a:cxnLst>
              <a:cxn ang="0">
                <a:pos x="connsiteX0" y="connsiteY0"/>
              </a:cxn>
              <a:cxn ang="0">
                <a:pos x="connsiteX1" y="connsiteY1"/>
              </a:cxn>
              <a:cxn ang="0">
                <a:pos x="connsiteX2" y="connsiteY2"/>
              </a:cxn>
              <a:cxn ang="0">
                <a:pos x="connsiteX3" y="connsiteY3"/>
              </a:cxn>
            </a:cxnLst>
            <a:rect l="l" t="t" r="r" b="b"/>
            <a:pathLst>
              <a:path w="9288000" h="648000">
                <a:moveTo>
                  <a:pt x="9288000" y="0"/>
                </a:moveTo>
                <a:lnTo>
                  <a:pt x="9288000" y="648000"/>
                </a:lnTo>
                <a:lnTo>
                  <a:pt x="0" y="648000"/>
                </a:lnTo>
                <a:lnTo>
                  <a:pt x="0"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49" name="Content Placeholder 10">
            <a:extLst>
              <a:ext uri="{FF2B5EF4-FFF2-40B4-BE49-F238E27FC236}">
                <a16:creationId xmlns:a16="http://schemas.microsoft.com/office/drawing/2014/main" id="{500FF1A3-42E7-4BAF-A650-4AE4D23DCBF7}"/>
              </a:ext>
            </a:extLst>
          </p:cNvPr>
          <p:cNvSpPr txBox="1">
            <a:spLocks/>
          </p:cNvSpPr>
          <p:nvPr/>
        </p:nvSpPr>
        <p:spPr bwMode="gray">
          <a:xfrm>
            <a:off x="2280275" y="5013000"/>
            <a:ext cx="7560000" cy="720000"/>
          </a:xfrm>
          <a:prstGeom prst="rect">
            <a:avLst/>
          </a:prstGeom>
          <a:noFill/>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dirty="0"/>
              <a:t>Lorem ipsum dolor sit consectetuer adipiscing elit. </a:t>
            </a:r>
            <a:br>
              <a:rPr lang="de-DE" dirty="0"/>
            </a:br>
            <a:r>
              <a:rPr lang="de-DE" dirty="0"/>
              <a:t>Maecenas porttitor congue massa. Fusce posuere, magna sed pulvinar ultricies.</a:t>
            </a:r>
          </a:p>
        </p:txBody>
      </p:sp>
      <p:sp>
        <p:nvSpPr>
          <p:cNvPr id="51" name="Freihandform: Form 50">
            <a:extLst>
              <a:ext uri="{FF2B5EF4-FFF2-40B4-BE49-F238E27FC236}">
                <a16:creationId xmlns:a16="http://schemas.microsoft.com/office/drawing/2014/main" id="{D4255108-68BB-47F6-8B75-F3C1175B59FA}"/>
              </a:ext>
            </a:extLst>
          </p:cNvPr>
          <p:cNvSpPr>
            <a:spLocks noChangeAspect="1"/>
          </p:cNvSpPr>
          <p:nvPr/>
        </p:nvSpPr>
        <p:spPr bwMode="gray">
          <a:xfrm rot="16200000">
            <a:off x="1128000" y="4401000"/>
            <a:ext cx="144000" cy="216000"/>
          </a:xfrm>
          <a:custGeom>
            <a:avLst/>
            <a:gdLst>
              <a:gd name="connsiteX0" fmla="*/ 72000 w 288000"/>
              <a:gd name="connsiteY0" fmla="*/ 0 h 432000"/>
              <a:gd name="connsiteX1" fmla="*/ 288000 w 288000"/>
              <a:gd name="connsiteY1" fmla="*/ 216000 h 432000"/>
              <a:gd name="connsiteX2" fmla="*/ 72000 w 288000"/>
              <a:gd name="connsiteY2" fmla="*/ 432000 h 432000"/>
              <a:gd name="connsiteX3" fmla="*/ 0 w 288000"/>
              <a:gd name="connsiteY3" fmla="*/ 360000 h 432000"/>
              <a:gd name="connsiteX4" fmla="*/ 144000 w 288000"/>
              <a:gd name="connsiteY4" fmla="*/ 216000 h 432000"/>
              <a:gd name="connsiteX5" fmla="*/ 0 w 288000"/>
              <a:gd name="connsiteY5" fmla="*/ 72000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000" h="432000">
                <a:moveTo>
                  <a:pt x="72000" y="0"/>
                </a:moveTo>
                <a:lnTo>
                  <a:pt x="288000" y="216000"/>
                </a:lnTo>
                <a:lnTo>
                  <a:pt x="72000" y="432000"/>
                </a:lnTo>
                <a:lnTo>
                  <a:pt x="0" y="360000"/>
                </a:lnTo>
                <a:lnTo>
                  <a:pt x="144000" y="216000"/>
                </a:lnTo>
                <a:lnTo>
                  <a:pt x="0" y="72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Tree>
    <p:extLst>
      <p:ext uri="{BB962C8B-B14F-4D97-AF65-F5344CB8AC3E}">
        <p14:creationId xmlns:p14="http://schemas.microsoft.com/office/powerpoint/2010/main" val="1506264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lumMod val="60000"/>
            <a:lumOff val="40000"/>
          </a:schemeClr>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475E444-58D4-4E3A-B1EA-AB9EE0337F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7" name="Objekt 6" hidden="1">
                        <a:extLst>
                          <a:ext uri="{FF2B5EF4-FFF2-40B4-BE49-F238E27FC236}">
                            <a16:creationId xmlns:a16="http://schemas.microsoft.com/office/drawing/2014/main" id="{7475E444-58D4-4E3A-B1EA-AB9EE0337F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F2B4F8-69B3-40E0-B120-7FA24ADA9200}"/>
              </a:ext>
            </a:extLst>
          </p:cNvPr>
          <p:cNvSpPr>
            <a:spLocks noGrp="1"/>
          </p:cNvSpPr>
          <p:nvPr>
            <p:ph type="title"/>
          </p:nvPr>
        </p:nvSpPr>
        <p:spPr bwMode="gray"/>
        <p:txBody>
          <a:bodyPr vert="horz"/>
          <a:lstStyle/>
          <a:p>
            <a:r>
              <a:rPr lang="de-DE" dirty="0">
                <a:solidFill>
                  <a:schemeClr val="bg1"/>
                </a:solidFill>
              </a:rPr>
              <a:t>ÜBERSCHRIFT 1 in 20 pt</a:t>
            </a:r>
            <a:br>
              <a:rPr lang="de-DE" dirty="0">
                <a:solidFill>
                  <a:schemeClr val="bg1"/>
                </a:solidFill>
              </a:rPr>
            </a:br>
            <a:r>
              <a:rPr lang="de-DE" b="0" dirty="0">
                <a:solidFill>
                  <a:schemeClr val="bg1"/>
                </a:solidFill>
              </a:rPr>
              <a:t>zweite Zeile ungefettet (Manuell)</a:t>
            </a:r>
          </a:p>
        </p:txBody>
      </p:sp>
      <p:sp>
        <p:nvSpPr>
          <p:cNvPr id="14" name="Date Placeholder 13">
            <a:extLst>
              <a:ext uri="{FF2B5EF4-FFF2-40B4-BE49-F238E27FC236}">
                <a16:creationId xmlns:a16="http://schemas.microsoft.com/office/drawing/2014/main" id="{DC64BB43-C60C-462D-957F-6AB41D5519AF}"/>
              </a:ext>
            </a:extLst>
          </p:cNvPr>
          <p:cNvSpPr>
            <a:spLocks noGrp="1"/>
          </p:cNvSpPr>
          <p:nvPr>
            <p:ph type="dt" sz="half" idx="14"/>
          </p:nvPr>
        </p:nvSpPr>
        <p:spPr bwMode="gray"/>
        <p:txBody>
          <a:bodyPr/>
          <a:lstStyle/>
          <a:p>
            <a:fld id="{C11FD278-B085-429C-A912-3C04F3D2EBF9}" type="datetime1">
              <a:rPr lang="de-DE" smtClean="0">
                <a:solidFill>
                  <a:schemeClr val="bg1"/>
                </a:solidFill>
              </a:rPr>
              <a:t>29.09.25</a:t>
            </a:fld>
            <a:endParaRPr lang="de-DE" dirty="0">
              <a:solidFill>
                <a:schemeClr val="bg1"/>
              </a:solidFill>
            </a:endParaRPr>
          </a:p>
        </p:txBody>
      </p:sp>
      <p:sp>
        <p:nvSpPr>
          <p:cNvPr id="5" name="Fußzeilenplatzhalter 4">
            <a:extLst>
              <a:ext uri="{FF2B5EF4-FFF2-40B4-BE49-F238E27FC236}">
                <a16:creationId xmlns:a16="http://schemas.microsoft.com/office/drawing/2014/main" id="{910957FD-CF3A-4367-8B11-DF91FE2155C2}"/>
              </a:ext>
            </a:extLst>
          </p:cNvPr>
          <p:cNvSpPr>
            <a:spLocks noGrp="1"/>
          </p:cNvSpPr>
          <p:nvPr>
            <p:ph type="ftr" sz="quarter" idx="15"/>
          </p:nvPr>
        </p:nvSpPr>
        <p:spPr bwMode="gray"/>
        <p:txBody>
          <a:bodyPr/>
          <a:lstStyle/>
          <a:p>
            <a:r>
              <a:rPr lang="de-DE" dirty="0">
                <a:solidFill>
                  <a:schemeClr val="bg1"/>
                </a:solidFill>
              </a:rPr>
              <a:t>TITEL DER PRÄSENTATION | TITEL VORNAME NAME</a:t>
            </a:r>
          </a:p>
        </p:txBody>
      </p:sp>
      <p:sp>
        <p:nvSpPr>
          <p:cNvPr id="6" name="Foliennummernplatzhalter 5">
            <a:extLst>
              <a:ext uri="{FF2B5EF4-FFF2-40B4-BE49-F238E27FC236}">
                <a16:creationId xmlns:a16="http://schemas.microsoft.com/office/drawing/2014/main" id="{6D197547-2CF3-4E2D-8366-79AC5445288C}"/>
              </a:ext>
            </a:extLst>
          </p:cNvPr>
          <p:cNvSpPr>
            <a:spLocks noGrp="1"/>
          </p:cNvSpPr>
          <p:nvPr>
            <p:ph type="sldNum" sz="quarter" idx="16"/>
          </p:nvPr>
        </p:nvSpPr>
        <p:spPr bwMode="gray"/>
        <p:txBody>
          <a:bodyPr/>
          <a:lstStyle/>
          <a:p>
            <a:fld id="{09E9C37E-8A19-4E30-BE2B-5A966AD23C7A}" type="slidenum">
              <a:rPr lang="de-DE" smtClean="0">
                <a:solidFill>
                  <a:schemeClr val="bg1"/>
                </a:solidFill>
              </a:rPr>
              <a:pPr/>
              <a:t>9</a:t>
            </a:fld>
            <a:endParaRPr lang="de-DE" dirty="0">
              <a:solidFill>
                <a:schemeClr val="bg1"/>
              </a:solidFill>
            </a:endParaRPr>
          </a:p>
        </p:txBody>
      </p:sp>
      <p:sp>
        <p:nvSpPr>
          <p:cNvPr id="3" name="Textplatzhalter 2">
            <a:extLst>
              <a:ext uri="{FF2B5EF4-FFF2-40B4-BE49-F238E27FC236}">
                <a16:creationId xmlns:a16="http://schemas.microsoft.com/office/drawing/2014/main" id="{52912098-EC81-4307-B2FA-DA6B8A7282E2}"/>
              </a:ext>
            </a:extLst>
          </p:cNvPr>
          <p:cNvSpPr>
            <a:spLocks noGrp="1"/>
          </p:cNvSpPr>
          <p:nvPr>
            <p:ph sz="quarter" idx="17"/>
          </p:nvPr>
        </p:nvSpPr>
        <p:spPr bwMode="gray"/>
        <p:txBody>
          <a:bodyPr/>
          <a:lstStyle/>
          <a:p>
            <a:pPr lvl="2"/>
            <a:r>
              <a:rPr lang="de-DE" dirty="0">
                <a:solidFill>
                  <a:schemeClr val="bg1"/>
                </a:solidFill>
              </a:rPr>
              <a:t>Zwischenüberschrift auf Listenebene Drei</a:t>
            </a:r>
          </a:p>
          <a:p>
            <a:pPr lvl="1"/>
            <a:r>
              <a:rPr lang="de-DE" dirty="0">
                <a:solidFill>
                  <a:schemeClr val="bg1"/>
                </a:solidFill>
              </a:rPr>
              <a:t>Fließtext auf Listenebene Zwei, Verdana 14 pt. Ased diam voluptua. At vero eos et justo duo dolores et ea rebum. Lorem ipsum dolor sit amet, conse tetur, sed diam nonumy eirmod tempor invidunt ut labore et dolore magna.</a:t>
            </a:r>
          </a:p>
          <a:p>
            <a:pPr lvl="2"/>
            <a:r>
              <a:rPr lang="de-DE" dirty="0">
                <a:solidFill>
                  <a:schemeClr val="bg1"/>
                </a:solidFill>
              </a:rPr>
              <a:t>Zwischenüberschrift auf Listenebene Drei</a:t>
            </a:r>
          </a:p>
          <a:p>
            <a:pPr lvl="1"/>
            <a:r>
              <a:rPr lang="de-DE" dirty="0">
                <a:solidFill>
                  <a:schemeClr val="bg1"/>
                </a:solidFill>
              </a:rPr>
              <a:t>Ano sea takimata sanctus ipsum dolor sit amet. Lorem ipsum dolor sit amet, sadipscing elitr, sed diam nonumy eirmod tempor invidunt ut labore et dolore dolores et ea rebum. Stet clita kasd gubergren, no sea takimata sanctus.</a:t>
            </a:r>
          </a:p>
          <a:p>
            <a:r>
              <a:rPr lang="de-DE" dirty="0">
                <a:solidFill>
                  <a:schemeClr val="bg1"/>
                </a:solidFill>
              </a:rPr>
              <a:t>Erste Aufzählungsebene: Ebene Eins</a:t>
            </a:r>
          </a:p>
          <a:p>
            <a:r>
              <a:rPr lang="de-DE" dirty="0">
                <a:solidFill>
                  <a:schemeClr val="bg1"/>
                </a:solidFill>
              </a:rPr>
              <a:t>Lorem ipsum dolor sit amet</a:t>
            </a:r>
          </a:p>
          <a:p>
            <a:pPr lvl="3"/>
            <a:r>
              <a:rPr lang="de-DE" dirty="0">
                <a:solidFill>
                  <a:schemeClr val="bg1"/>
                </a:solidFill>
              </a:rPr>
              <a:t>Weitere Aufzählungsebene ab vierter Ebene</a:t>
            </a:r>
          </a:p>
          <a:p>
            <a:pPr lvl="2"/>
            <a:endParaRPr lang="de-DE" dirty="0">
              <a:solidFill>
                <a:schemeClr val="bg1"/>
              </a:solidFill>
            </a:endParaRPr>
          </a:p>
        </p:txBody>
      </p:sp>
    </p:spTree>
    <p:extLst>
      <p:ext uri="{BB962C8B-B14F-4D97-AF65-F5344CB8AC3E}">
        <p14:creationId xmlns:p14="http://schemas.microsoft.com/office/powerpoint/2010/main" val="1274797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kt 54" hidden="1"/>
          <p:cNvGraphicFramePr>
            <a:graphicFrameLocks/>
          </p:cNvGraphicFramePr>
          <p:nvPr>
            <p:custDataLst>
              <p:tags r:id="rId1"/>
            </p:custDataLst>
            <p:extLst>
              <p:ext uri="{D42A27DB-BD31-4B8C-83A1-F6EECF244321}">
                <p14:modId xmlns:p14="http://schemas.microsoft.com/office/powerpoint/2010/main" val="3365894973"/>
              </p:ext>
            </p:ext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Folie" r:id="rId5" imgW="0" imgH="0" progId="TCLayout.ActiveDocument.1">
                  <p:embed/>
                </p:oleObj>
              </mc:Choice>
              <mc:Fallback>
                <p:oleObj name="think-cell Folie" r:id="rId5" imgW="0" imgH="0" progId="TCLayout.ActiveDocument.1">
                  <p:embed/>
                  <p:pic>
                    <p:nvPicPr>
                      <p:cNvPr id="55" name="Objekt 5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 name="Content Placeholder 10">
            <a:extLst>
              <a:ext uri="{FF2B5EF4-FFF2-40B4-BE49-F238E27FC236}">
                <a16:creationId xmlns:a16="http://schemas.microsoft.com/office/drawing/2014/main" id="{6117737F-73E4-42CA-AE16-90B07AFEFBB5}"/>
              </a:ext>
            </a:extLst>
          </p:cNvPr>
          <p:cNvSpPr txBox="1">
            <a:spLocks noChangeAspect="1"/>
          </p:cNvSpPr>
          <p:nvPr/>
        </p:nvSpPr>
        <p:spPr bwMode="gray">
          <a:xfrm>
            <a:off x="2906369" y="3141000"/>
            <a:ext cx="1440000" cy="1440000"/>
          </a:xfrm>
          <a:prstGeom prst="ellipse">
            <a:avLst/>
          </a:prstGeom>
          <a:solidFill>
            <a:srgbClr val="009EE0"/>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Lorem ipsum</a:t>
            </a:r>
          </a:p>
        </p:txBody>
      </p:sp>
      <p:sp>
        <p:nvSpPr>
          <p:cNvPr id="3" name="Rechteck 2" hidden="1">
            <a:extLst>
              <a:ext uri="{FF2B5EF4-FFF2-40B4-BE49-F238E27FC236}">
                <a16:creationId xmlns:a16="http://schemas.microsoft.com/office/drawing/2014/main" id="{ABDB2B66-D16C-48AD-A247-734F713A0D4C}"/>
              </a:ext>
            </a:extLst>
          </p:cNvPr>
          <p:cNvSpPr/>
          <p:nvPr>
            <p:custDataLst>
              <p:tags r:id="rId2"/>
            </p:custDataLst>
          </p:nvPr>
        </p:nvSpPr>
        <p:spPr bwMode="gray">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e-DE" sz="3000" dirty="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sym typeface="Open Sans Extrabold" panose="020B0906030804020204" pitchFamily="34" charset="0"/>
            </a:endParaRPr>
          </a:p>
        </p:txBody>
      </p:sp>
      <p:sp>
        <p:nvSpPr>
          <p:cNvPr id="2" name="Titel 1"/>
          <p:cNvSpPr>
            <a:spLocks noGrp="1"/>
          </p:cNvSpPr>
          <p:nvPr>
            <p:ph type="title"/>
          </p:nvPr>
        </p:nvSpPr>
        <p:spPr bwMode="gray"/>
        <p:txBody>
          <a:bodyPr vert="horz"/>
          <a:lstStyle/>
          <a:p>
            <a:r>
              <a:rPr lang="de-DE" dirty="0"/>
              <a:t>Prozess mit Rückführung</a:t>
            </a:r>
          </a:p>
        </p:txBody>
      </p:sp>
      <p:sp>
        <p:nvSpPr>
          <p:cNvPr id="4" name="Datumsplatzhalter 3">
            <a:extLst>
              <a:ext uri="{FF2B5EF4-FFF2-40B4-BE49-F238E27FC236}">
                <a16:creationId xmlns:a16="http://schemas.microsoft.com/office/drawing/2014/main" id="{BA02B4C5-824A-41CE-BDB3-506BA634143C}"/>
              </a:ext>
            </a:extLst>
          </p:cNvPr>
          <p:cNvSpPr>
            <a:spLocks noGrp="1"/>
          </p:cNvSpPr>
          <p:nvPr>
            <p:ph type="dt" sz="half" idx="10"/>
          </p:nvPr>
        </p:nvSpPr>
        <p:spPr bwMode="gray"/>
        <p:txBody>
          <a:bodyPr/>
          <a:lstStyle/>
          <a:p>
            <a:fld id="{AAA6BEBB-3A09-4B45-9B5C-242B57E0DFE4}" type="datetime1">
              <a:rPr lang="de-DE" smtClean="0"/>
              <a:t>29.09.25</a:t>
            </a:fld>
            <a:endParaRPr lang="de-DE" dirty="0"/>
          </a:p>
        </p:txBody>
      </p:sp>
      <p:sp>
        <p:nvSpPr>
          <p:cNvPr id="5" name="Fußzeilenplatzhalter 4">
            <a:extLst>
              <a:ext uri="{FF2B5EF4-FFF2-40B4-BE49-F238E27FC236}">
                <a16:creationId xmlns:a16="http://schemas.microsoft.com/office/drawing/2014/main" id="{6BD181F7-F8D9-47B6-82DF-8110D315831F}"/>
              </a:ext>
            </a:extLst>
          </p:cNvPr>
          <p:cNvSpPr>
            <a:spLocks noGrp="1"/>
          </p:cNvSpPr>
          <p:nvPr>
            <p:ph type="ftr" sz="quarter" idx="11"/>
          </p:nvPr>
        </p:nvSpPr>
        <p:spPr bwMode="gray"/>
        <p:txBody>
          <a:bodyPr/>
          <a:lstStyle/>
          <a:p>
            <a:r>
              <a:rPr lang="de-DE" dirty="0"/>
              <a:t>TITEL DER PRÄSENTATION | TITEL VORNAME NAME</a:t>
            </a:r>
          </a:p>
        </p:txBody>
      </p:sp>
      <p:sp>
        <p:nvSpPr>
          <p:cNvPr id="6" name="Foliennummernplatzhalter 5">
            <a:extLst>
              <a:ext uri="{FF2B5EF4-FFF2-40B4-BE49-F238E27FC236}">
                <a16:creationId xmlns:a16="http://schemas.microsoft.com/office/drawing/2014/main" id="{2AF3D88E-7D50-405B-8D3E-9CE161ED028B}"/>
              </a:ext>
            </a:extLst>
          </p:cNvPr>
          <p:cNvSpPr>
            <a:spLocks noGrp="1"/>
          </p:cNvSpPr>
          <p:nvPr>
            <p:ph type="sldNum" sz="quarter" idx="12"/>
          </p:nvPr>
        </p:nvSpPr>
        <p:spPr bwMode="gray"/>
        <p:txBody>
          <a:bodyPr/>
          <a:lstStyle/>
          <a:p>
            <a:fld id="{09E9C37E-8A19-4E30-BE2B-5A966AD23C7A}" type="slidenum">
              <a:rPr lang="de-DE" smtClean="0"/>
              <a:pPr/>
              <a:t>90</a:t>
            </a:fld>
            <a:endParaRPr lang="de-DE" dirty="0"/>
          </a:p>
        </p:txBody>
      </p:sp>
      <p:sp>
        <p:nvSpPr>
          <p:cNvPr id="18" name="Content Placeholder 10">
            <a:extLst>
              <a:ext uri="{FF2B5EF4-FFF2-40B4-BE49-F238E27FC236}">
                <a16:creationId xmlns:a16="http://schemas.microsoft.com/office/drawing/2014/main" id="{EDB688A9-43EC-4A0E-B635-63D751C4808B}"/>
              </a:ext>
            </a:extLst>
          </p:cNvPr>
          <p:cNvSpPr txBox="1">
            <a:spLocks noChangeAspect="1"/>
          </p:cNvSpPr>
          <p:nvPr/>
        </p:nvSpPr>
        <p:spPr bwMode="gray">
          <a:xfrm>
            <a:off x="552000" y="3141000"/>
            <a:ext cx="1440000" cy="1440000"/>
          </a:xfrm>
          <a:prstGeom prst="ellipse">
            <a:avLst/>
          </a:prstGeom>
          <a:solidFill>
            <a:srgbClr val="009EE0"/>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Lorem ipsum</a:t>
            </a:r>
          </a:p>
        </p:txBody>
      </p:sp>
      <p:sp>
        <p:nvSpPr>
          <p:cNvPr id="38" name="Content Placeholder 10">
            <a:extLst>
              <a:ext uri="{FF2B5EF4-FFF2-40B4-BE49-F238E27FC236}">
                <a16:creationId xmlns:a16="http://schemas.microsoft.com/office/drawing/2014/main" id="{7288C65D-9AAF-4EA6-AB2E-7F9D3E87960C}"/>
              </a:ext>
            </a:extLst>
          </p:cNvPr>
          <p:cNvSpPr txBox="1">
            <a:spLocks noChangeAspect="1"/>
          </p:cNvSpPr>
          <p:nvPr/>
        </p:nvSpPr>
        <p:spPr bwMode="gray">
          <a:xfrm>
            <a:off x="5246369" y="3141000"/>
            <a:ext cx="1440000" cy="1440000"/>
          </a:xfrm>
          <a:prstGeom prst="ellipse">
            <a:avLst/>
          </a:prstGeom>
          <a:solidFill>
            <a:srgbClr val="009EE0"/>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Lorem ipsum</a:t>
            </a:r>
          </a:p>
        </p:txBody>
      </p:sp>
      <p:sp>
        <p:nvSpPr>
          <p:cNvPr id="39" name="Content Placeholder 10">
            <a:extLst>
              <a:ext uri="{FF2B5EF4-FFF2-40B4-BE49-F238E27FC236}">
                <a16:creationId xmlns:a16="http://schemas.microsoft.com/office/drawing/2014/main" id="{5ABE2F59-1DB6-40A1-AF63-7ECC5EBE311C}"/>
              </a:ext>
            </a:extLst>
          </p:cNvPr>
          <p:cNvSpPr txBox="1">
            <a:spLocks noChangeAspect="1"/>
          </p:cNvSpPr>
          <p:nvPr/>
        </p:nvSpPr>
        <p:spPr bwMode="gray">
          <a:xfrm>
            <a:off x="7572000" y="3141000"/>
            <a:ext cx="1440000" cy="1440000"/>
          </a:xfrm>
          <a:prstGeom prst="ellipse">
            <a:avLst/>
          </a:prstGeom>
          <a:solidFill>
            <a:srgbClr val="009EE0"/>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Lorem ipsum</a:t>
            </a:r>
          </a:p>
        </p:txBody>
      </p:sp>
      <p:sp>
        <p:nvSpPr>
          <p:cNvPr id="40" name="Content Placeholder 10">
            <a:extLst>
              <a:ext uri="{FF2B5EF4-FFF2-40B4-BE49-F238E27FC236}">
                <a16:creationId xmlns:a16="http://schemas.microsoft.com/office/drawing/2014/main" id="{2FEFF2AC-3FD5-410C-A831-1FEF026B3F03}"/>
              </a:ext>
            </a:extLst>
          </p:cNvPr>
          <p:cNvSpPr txBox="1">
            <a:spLocks noChangeAspect="1"/>
          </p:cNvSpPr>
          <p:nvPr/>
        </p:nvSpPr>
        <p:spPr bwMode="gray">
          <a:xfrm>
            <a:off x="9912000" y="3141000"/>
            <a:ext cx="1440000" cy="1440000"/>
          </a:xfrm>
          <a:prstGeom prst="ellipse">
            <a:avLst/>
          </a:prstGeom>
          <a:solidFill>
            <a:srgbClr val="009EE0"/>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Lorem ipsum</a:t>
            </a:r>
          </a:p>
        </p:txBody>
      </p:sp>
      <p:sp>
        <p:nvSpPr>
          <p:cNvPr id="41" name="Freihandform: Form 40">
            <a:extLst>
              <a:ext uri="{FF2B5EF4-FFF2-40B4-BE49-F238E27FC236}">
                <a16:creationId xmlns:a16="http://schemas.microsoft.com/office/drawing/2014/main" id="{D43C1396-96A6-49B9-91C6-502B2BA75441}"/>
              </a:ext>
            </a:extLst>
          </p:cNvPr>
          <p:cNvSpPr>
            <a:spLocks noChangeAspect="1"/>
          </p:cNvSpPr>
          <p:nvPr/>
        </p:nvSpPr>
        <p:spPr bwMode="gray">
          <a:xfrm>
            <a:off x="2370000" y="3753000"/>
            <a:ext cx="144000" cy="216000"/>
          </a:xfrm>
          <a:custGeom>
            <a:avLst/>
            <a:gdLst>
              <a:gd name="connsiteX0" fmla="*/ 72000 w 288000"/>
              <a:gd name="connsiteY0" fmla="*/ 0 h 432000"/>
              <a:gd name="connsiteX1" fmla="*/ 288000 w 288000"/>
              <a:gd name="connsiteY1" fmla="*/ 216000 h 432000"/>
              <a:gd name="connsiteX2" fmla="*/ 72000 w 288000"/>
              <a:gd name="connsiteY2" fmla="*/ 432000 h 432000"/>
              <a:gd name="connsiteX3" fmla="*/ 0 w 288000"/>
              <a:gd name="connsiteY3" fmla="*/ 360000 h 432000"/>
              <a:gd name="connsiteX4" fmla="*/ 144000 w 288000"/>
              <a:gd name="connsiteY4" fmla="*/ 216000 h 432000"/>
              <a:gd name="connsiteX5" fmla="*/ 0 w 288000"/>
              <a:gd name="connsiteY5" fmla="*/ 72000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000" h="432000">
                <a:moveTo>
                  <a:pt x="72000" y="0"/>
                </a:moveTo>
                <a:lnTo>
                  <a:pt x="288000" y="216000"/>
                </a:lnTo>
                <a:lnTo>
                  <a:pt x="72000" y="432000"/>
                </a:lnTo>
                <a:lnTo>
                  <a:pt x="0" y="360000"/>
                </a:lnTo>
                <a:lnTo>
                  <a:pt x="144000" y="216000"/>
                </a:lnTo>
                <a:lnTo>
                  <a:pt x="0" y="72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42" name="Freihandform: Form 41">
            <a:extLst>
              <a:ext uri="{FF2B5EF4-FFF2-40B4-BE49-F238E27FC236}">
                <a16:creationId xmlns:a16="http://schemas.microsoft.com/office/drawing/2014/main" id="{AACB4AC0-F012-4E1E-B77D-EF208E356A53}"/>
              </a:ext>
            </a:extLst>
          </p:cNvPr>
          <p:cNvSpPr>
            <a:spLocks noChangeAspect="1"/>
          </p:cNvSpPr>
          <p:nvPr/>
        </p:nvSpPr>
        <p:spPr bwMode="gray">
          <a:xfrm>
            <a:off x="4724369" y="3753000"/>
            <a:ext cx="144000" cy="216000"/>
          </a:xfrm>
          <a:custGeom>
            <a:avLst/>
            <a:gdLst>
              <a:gd name="connsiteX0" fmla="*/ 72000 w 288000"/>
              <a:gd name="connsiteY0" fmla="*/ 0 h 432000"/>
              <a:gd name="connsiteX1" fmla="*/ 288000 w 288000"/>
              <a:gd name="connsiteY1" fmla="*/ 216000 h 432000"/>
              <a:gd name="connsiteX2" fmla="*/ 72000 w 288000"/>
              <a:gd name="connsiteY2" fmla="*/ 432000 h 432000"/>
              <a:gd name="connsiteX3" fmla="*/ 0 w 288000"/>
              <a:gd name="connsiteY3" fmla="*/ 360000 h 432000"/>
              <a:gd name="connsiteX4" fmla="*/ 144000 w 288000"/>
              <a:gd name="connsiteY4" fmla="*/ 216000 h 432000"/>
              <a:gd name="connsiteX5" fmla="*/ 0 w 288000"/>
              <a:gd name="connsiteY5" fmla="*/ 72000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000" h="432000">
                <a:moveTo>
                  <a:pt x="72000" y="0"/>
                </a:moveTo>
                <a:lnTo>
                  <a:pt x="288000" y="216000"/>
                </a:lnTo>
                <a:lnTo>
                  <a:pt x="72000" y="432000"/>
                </a:lnTo>
                <a:lnTo>
                  <a:pt x="0" y="360000"/>
                </a:lnTo>
                <a:lnTo>
                  <a:pt x="144000" y="216000"/>
                </a:lnTo>
                <a:lnTo>
                  <a:pt x="0" y="72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43" name="Freihandform: Form 42">
            <a:extLst>
              <a:ext uri="{FF2B5EF4-FFF2-40B4-BE49-F238E27FC236}">
                <a16:creationId xmlns:a16="http://schemas.microsoft.com/office/drawing/2014/main" id="{D89DB415-5D2B-4A09-9756-990AE161D3BB}"/>
              </a:ext>
            </a:extLst>
          </p:cNvPr>
          <p:cNvSpPr>
            <a:spLocks noChangeAspect="1"/>
          </p:cNvSpPr>
          <p:nvPr/>
        </p:nvSpPr>
        <p:spPr bwMode="gray">
          <a:xfrm>
            <a:off x="7057185" y="3753000"/>
            <a:ext cx="144000" cy="216000"/>
          </a:xfrm>
          <a:custGeom>
            <a:avLst/>
            <a:gdLst>
              <a:gd name="connsiteX0" fmla="*/ 72000 w 288000"/>
              <a:gd name="connsiteY0" fmla="*/ 0 h 432000"/>
              <a:gd name="connsiteX1" fmla="*/ 288000 w 288000"/>
              <a:gd name="connsiteY1" fmla="*/ 216000 h 432000"/>
              <a:gd name="connsiteX2" fmla="*/ 72000 w 288000"/>
              <a:gd name="connsiteY2" fmla="*/ 432000 h 432000"/>
              <a:gd name="connsiteX3" fmla="*/ 0 w 288000"/>
              <a:gd name="connsiteY3" fmla="*/ 360000 h 432000"/>
              <a:gd name="connsiteX4" fmla="*/ 144000 w 288000"/>
              <a:gd name="connsiteY4" fmla="*/ 216000 h 432000"/>
              <a:gd name="connsiteX5" fmla="*/ 0 w 288000"/>
              <a:gd name="connsiteY5" fmla="*/ 72000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000" h="432000">
                <a:moveTo>
                  <a:pt x="72000" y="0"/>
                </a:moveTo>
                <a:lnTo>
                  <a:pt x="288000" y="216000"/>
                </a:lnTo>
                <a:lnTo>
                  <a:pt x="72000" y="432000"/>
                </a:lnTo>
                <a:lnTo>
                  <a:pt x="0" y="360000"/>
                </a:lnTo>
                <a:lnTo>
                  <a:pt x="144000" y="216000"/>
                </a:lnTo>
                <a:lnTo>
                  <a:pt x="0" y="72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44" name="Freihandform: Form 43">
            <a:extLst>
              <a:ext uri="{FF2B5EF4-FFF2-40B4-BE49-F238E27FC236}">
                <a16:creationId xmlns:a16="http://schemas.microsoft.com/office/drawing/2014/main" id="{9FCB5295-F3F2-480C-8FB3-94765F9C9F13}"/>
              </a:ext>
            </a:extLst>
          </p:cNvPr>
          <p:cNvSpPr>
            <a:spLocks noChangeAspect="1"/>
          </p:cNvSpPr>
          <p:nvPr/>
        </p:nvSpPr>
        <p:spPr bwMode="gray">
          <a:xfrm>
            <a:off x="9390000" y="3753000"/>
            <a:ext cx="144000" cy="216000"/>
          </a:xfrm>
          <a:custGeom>
            <a:avLst/>
            <a:gdLst>
              <a:gd name="connsiteX0" fmla="*/ 72000 w 288000"/>
              <a:gd name="connsiteY0" fmla="*/ 0 h 432000"/>
              <a:gd name="connsiteX1" fmla="*/ 288000 w 288000"/>
              <a:gd name="connsiteY1" fmla="*/ 216000 h 432000"/>
              <a:gd name="connsiteX2" fmla="*/ 72000 w 288000"/>
              <a:gd name="connsiteY2" fmla="*/ 432000 h 432000"/>
              <a:gd name="connsiteX3" fmla="*/ 0 w 288000"/>
              <a:gd name="connsiteY3" fmla="*/ 360000 h 432000"/>
              <a:gd name="connsiteX4" fmla="*/ 144000 w 288000"/>
              <a:gd name="connsiteY4" fmla="*/ 216000 h 432000"/>
              <a:gd name="connsiteX5" fmla="*/ 0 w 288000"/>
              <a:gd name="connsiteY5" fmla="*/ 72000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000" h="432000">
                <a:moveTo>
                  <a:pt x="72000" y="0"/>
                </a:moveTo>
                <a:lnTo>
                  <a:pt x="288000" y="216000"/>
                </a:lnTo>
                <a:lnTo>
                  <a:pt x="72000" y="432000"/>
                </a:lnTo>
                <a:lnTo>
                  <a:pt x="0" y="360000"/>
                </a:lnTo>
                <a:lnTo>
                  <a:pt x="144000" y="216000"/>
                </a:lnTo>
                <a:lnTo>
                  <a:pt x="0" y="72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45" name="Content Placeholder 10">
            <a:extLst>
              <a:ext uri="{FF2B5EF4-FFF2-40B4-BE49-F238E27FC236}">
                <a16:creationId xmlns:a16="http://schemas.microsoft.com/office/drawing/2014/main" id="{6FBF123E-A8EE-44A9-93D3-D73E2C84AE42}"/>
              </a:ext>
            </a:extLst>
          </p:cNvPr>
          <p:cNvSpPr txBox="1">
            <a:spLocks/>
          </p:cNvSpPr>
          <p:nvPr/>
        </p:nvSpPr>
        <p:spPr bwMode="gray">
          <a:xfrm>
            <a:off x="1344000" y="1989075"/>
            <a:ext cx="2088000" cy="1008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dirty="0"/>
              <a:t>Fames ac egestas. </a:t>
            </a:r>
            <a:br>
              <a:rPr lang="de-DE" dirty="0"/>
            </a:br>
            <a:r>
              <a:rPr lang="de-DE" dirty="0"/>
              <a:t>Proin pharetra in vitae condimentum.</a:t>
            </a:r>
          </a:p>
        </p:txBody>
      </p:sp>
      <p:sp>
        <p:nvSpPr>
          <p:cNvPr id="46" name="Content Placeholder 10">
            <a:extLst>
              <a:ext uri="{FF2B5EF4-FFF2-40B4-BE49-F238E27FC236}">
                <a16:creationId xmlns:a16="http://schemas.microsoft.com/office/drawing/2014/main" id="{4D11DADA-BA10-4586-B42D-F93A46C30E3C}"/>
              </a:ext>
            </a:extLst>
          </p:cNvPr>
          <p:cNvSpPr txBox="1">
            <a:spLocks/>
          </p:cNvSpPr>
          <p:nvPr/>
        </p:nvSpPr>
        <p:spPr bwMode="gray">
          <a:xfrm>
            <a:off x="3720000" y="1989075"/>
            <a:ext cx="2088000" cy="1008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dirty="0"/>
              <a:t>Fames ac egestas. </a:t>
            </a:r>
            <a:br>
              <a:rPr lang="de-DE" dirty="0"/>
            </a:br>
            <a:r>
              <a:rPr lang="de-DE" dirty="0"/>
              <a:t>Proin pharetra in vitae condimentum.</a:t>
            </a:r>
          </a:p>
        </p:txBody>
      </p:sp>
      <p:sp>
        <p:nvSpPr>
          <p:cNvPr id="47" name="Content Placeholder 10">
            <a:extLst>
              <a:ext uri="{FF2B5EF4-FFF2-40B4-BE49-F238E27FC236}">
                <a16:creationId xmlns:a16="http://schemas.microsoft.com/office/drawing/2014/main" id="{D099791D-C7BB-44F9-9CC4-D8001A742016}"/>
              </a:ext>
            </a:extLst>
          </p:cNvPr>
          <p:cNvSpPr txBox="1">
            <a:spLocks/>
          </p:cNvSpPr>
          <p:nvPr/>
        </p:nvSpPr>
        <p:spPr bwMode="gray">
          <a:xfrm>
            <a:off x="6096000" y="1989075"/>
            <a:ext cx="2088000" cy="1008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dirty="0"/>
              <a:t>Fames ac egestas. </a:t>
            </a:r>
            <a:br>
              <a:rPr lang="de-DE" dirty="0"/>
            </a:br>
            <a:r>
              <a:rPr lang="de-DE" dirty="0"/>
              <a:t>Proin pharetra in vitae condimentum.</a:t>
            </a:r>
          </a:p>
        </p:txBody>
      </p:sp>
      <p:sp>
        <p:nvSpPr>
          <p:cNvPr id="48" name="Content Placeholder 10">
            <a:extLst>
              <a:ext uri="{FF2B5EF4-FFF2-40B4-BE49-F238E27FC236}">
                <a16:creationId xmlns:a16="http://schemas.microsoft.com/office/drawing/2014/main" id="{9B765963-F8FE-4250-8438-39C540BC94AD}"/>
              </a:ext>
            </a:extLst>
          </p:cNvPr>
          <p:cNvSpPr txBox="1">
            <a:spLocks/>
          </p:cNvSpPr>
          <p:nvPr/>
        </p:nvSpPr>
        <p:spPr bwMode="gray">
          <a:xfrm>
            <a:off x="8472000" y="1989075"/>
            <a:ext cx="2088000" cy="1008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dirty="0"/>
              <a:t>Fames ac egestas. </a:t>
            </a:r>
            <a:br>
              <a:rPr lang="de-DE" dirty="0"/>
            </a:br>
            <a:r>
              <a:rPr lang="de-DE" dirty="0"/>
              <a:t>Proin pharetra in vitae condimentum.</a:t>
            </a:r>
          </a:p>
        </p:txBody>
      </p:sp>
      <p:sp>
        <p:nvSpPr>
          <p:cNvPr id="37" name="Rechteck 36">
            <a:extLst>
              <a:ext uri="{FF2B5EF4-FFF2-40B4-BE49-F238E27FC236}">
                <a16:creationId xmlns:a16="http://schemas.microsoft.com/office/drawing/2014/main" id="{61862DFB-BE5D-458C-9635-F0734D815D9F}"/>
              </a:ext>
            </a:extLst>
          </p:cNvPr>
          <p:cNvSpPr/>
          <p:nvPr/>
        </p:nvSpPr>
        <p:spPr bwMode="gray">
          <a:xfrm>
            <a:off x="1272000" y="5085000"/>
            <a:ext cx="9360000" cy="288000"/>
          </a:xfrm>
          <a:custGeom>
            <a:avLst/>
            <a:gdLst>
              <a:gd name="connsiteX0" fmla="*/ 0 w 9288000"/>
              <a:gd name="connsiteY0" fmla="*/ 0 h 648000"/>
              <a:gd name="connsiteX1" fmla="*/ 9288000 w 9288000"/>
              <a:gd name="connsiteY1" fmla="*/ 0 h 648000"/>
              <a:gd name="connsiteX2" fmla="*/ 9288000 w 9288000"/>
              <a:gd name="connsiteY2" fmla="*/ 648000 h 648000"/>
              <a:gd name="connsiteX3" fmla="*/ 0 w 9288000"/>
              <a:gd name="connsiteY3" fmla="*/ 648000 h 648000"/>
              <a:gd name="connsiteX4" fmla="*/ 0 w 9288000"/>
              <a:gd name="connsiteY4" fmla="*/ 0 h 648000"/>
              <a:gd name="connsiteX0" fmla="*/ 0 w 9288000"/>
              <a:gd name="connsiteY0" fmla="*/ 15039 h 663039"/>
              <a:gd name="connsiteX1" fmla="*/ 4440542 w 9288000"/>
              <a:gd name="connsiteY1" fmla="*/ 0 h 663039"/>
              <a:gd name="connsiteX2" fmla="*/ 9288000 w 9288000"/>
              <a:gd name="connsiteY2" fmla="*/ 15039 h 663039"/>
              <a:gd name="connsiteX3" fmla="*/ 9288000 w 9288000"/>
              <a:gd name="connsiteY3" fmla="*/ 663039 h 663039"/>
              <a:gd name="connsiteX4" fmla="*/ 0 w 9288000"/>
              <a:gd name="connsiteY4" fmla="*/ 663039 h 663039"/>
              <a:gd name="connsiteX5" fmla="*/ 0 w 9288000"/>
              <a:gd name="connsiteY5" fmla="*/ 15039 h 663039"/>
              <a:gd name="connsiteX0" fmla="*/ 4440542 w 9288000"/>
              <a:gd name="connsiteY0" fmla="*/ 0 h 663039"/>
              <a:gd name="connsiteX1" fmla="*/ 9288000 w 9288000"/>
              <a:gd name="connsiteY1" fmla="*/ 15039 h 663039"/>
              <a:gd name="connsiteX2" fmla="*/ 9288000 w 9288000"/>
              <a:gd name="connsiteY2" fmla="*/ 663039 h 663039"/>
              <a:gd name="connsiteX3" fmla="*/ 0 w 9288000"/>
              <a:gd name="connsiteY3" fmla="*/ 663039 h 663039"/>
              <a:gd name="connsiteX4" fmla="*/ 0 w 9288000"/>
              <a:gd name="connsiteY4" fmla="*/ 15039 h 663039"/>
              <a:gd name="connsiteX5" fmla="*/ 4531982 w 9288000"/>
              <a:gd name="connsiteY5" fmla="*/ 91440 h 663039"/>
              <a:gd name="connsiteX0" fmla="*/ 9288000 w 9288000"/>
              <a:gd name="connsiteY0" fmla="*/ 223 h 648223"/>
              <a:gd name="connsiteX1" fmla="*/ 9288000 w 9288000"/>
              <a:gd name="connsiteY1" fmla="*/ 648223 h 648223"/>
              <a:gd name="connsiteX2" fmla="*/ 0 w 9288000"/>
              <a:gd name="connsiteY2" fmla="*/ 648223 h 648223"/>
              <a:gd name="connsiteX3" fmla="*/ 0 w 9288000"/>
              <a:gd name="connsiteY3" fmla="*/ 223 h 648223"/>
              <a:gd name="connsiteX4" fmla="*/ 4531982 w 9288000"/>
              <a:gd name="connsiteY4" fmla="*/ 76624 h 648223"/>
              <a:gd name="connsiteX0" fmla="*/ 9288000 w 9288000"/>
              <a:gd name="connsiteY0" fmla="*/ 0 h 648000"/>
              <a:gd name="connsiteX1" fmla="*/ 9288000 w 9288000"/>
              <a:gd name="connsiteY1" fmla="*/ 648000 h 648000"/>
              <a:gd name="connsiteX2" fmla="*/ 0 w 9288000"/>
              <a:gd name="connsiteY2" fmla="*/ 648000 h 648000"/>
              <a:gd name="connsiteX3" fmla="*/ 0 w 9288000"/>
              <a:gd name="connsiteY3" fmla="*/ 0 h 648000"/>
            </a:gdLst>
            <a:ahLst/>
            <a:cxnLst>
              <a:cxn ang="0">
                <a:pos x="connsiteX0" y="connsiteY0"/>
              </a:cxn>
              <a:cxn ang="0">
                <a:pos x="connsiteX1" y="connsiteY1"/>
              </a:cxn>
              <a:cxn ang="0">
                <a:pos x="connsiteX2" y="connsiteY2"/>
              </a:cxn>
              <a:cxn ang="0">
                <a:pos x="connsiteX3" y="connsiteY3"/>
              </a:cxn>
            </a:cxnLst>
            <a:rect l="l" t="t" r="r" b="b"/>
            <a:pathLst>
              <a:path w="9288000" h="648000">
                <a:moveTo>
                  <a:pt x="9288000" y="0"/>
                </a:moveTo>
                <a:lnTo>
                  <a:pt x="9288000" y="648000"/>
                </a:lnTo>
                <a:lnTo>
                  <a:pt x="0" y="648000"/>
                </a:lnTo>
                <a:lnTo>
                  <a:pt x="0"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49" name="Content Placeholder 10">
            <a:extLst>
              <a:ext uri="{FF2B5EF4-FFF2-40B4-BE49-F238E27FC236}">
                <a16:creationId xmlns:a16="http://schemas.microsoft.com/office/drawing/2014/main" id="{500FF1A3-42E7-4BAF-A650-4AE4D23DCBF7}"/>
              </a:ext>
            </a:extLst>
          </p:cNvPr>
          <p:cNvSpPr txBox="1">
            <a:spLocks/>
          </p:cNvSpPr>
          <p:nvPr/>
        </p:nvSpPr>
        <p:spPr bwMode="gray">
          <a:xfrm>
            <a:off x="2280275" y="5013000"/>
            <a:ext cx="7560000" cy="720000"/>
          </a:xfrm>
          <a:prstGeom prst="rect">
            <a:avLst/>
          </a:prstGeom>
          <a:solidFill>
            <a:schemeClr val="bg1"/>
          </a:solidFill>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dirty="0"/>
              <a:t>Lorem ipsum dolor sit consectetuer adipiscing elit. </a:t>
            </a:r>
            <a:br>
              <a:rPr lang="de-DE" dirty="0"/>
            </a:br>
            <a:r>
              <a:rPr lang="de-DE" dirty="0"/>
              <a:t>Maecenas porttitor congue massa. Fusce posuere, magna sed pulvinar ultricies.</a:t>
            </a:r>
          </a:p>
        </p:txBody>
      </p:sp>
      <p:sp>
        <p:nvSpPr>
          <p:cNvPr id="51" name="Freihandform: Form 50">
            <a:extLst>
              <a:ext uri="{FF2B5EF4-FFF2-40B4-BE49-F238E27FC236}">
                <a16:creationId xmlns:a16="http://schemas.microsoft.com/office/drawing/2014/main" id="{D4255108-68BB-47F6-8B75-F3C1175B59FA}"/>
              </a:ext>
            </a:extLst>
          </p:cNvPr>
          <p:cNvSpPr>
            <a:spLocks noChangeAspect="1"/>
          </p:cNvSpPr>
          <p:nvPr/>
        </p:nvSpPr>
        <p:spPr bwMode="gray">
          <a:xfrm rot="16200000">
            <a:off x="1200000" y="4761000"/>
            <a:ext cx="144000" cy="216000"/>
          </a:xfrm>
          <a:custGeom>
            <a:avLst/>
            <a:gdLst>
              <a:gd name="connsiteX0" fmla="*/ 72000 w 288000"/>
              <a:gd name="connsiteY0" fmla="*/ 0 h 432000"/>
              <a:gd name="connsiteX1" fmla="*/ 288000 w 288000"/>
              <a:gd name="connsiteY1" fmla="*/ 216000 h 432000"/>
              <a:gd name="connsiteX2" fmla="*/ 72000 w 288000"/>
              <a:gd name="connsiteY2" fmla="*/ 432000 h 432000"/>
              <a:gd name="connsiteX3" fmla="*/ 0 w 288000"/>
              <a:gd name="connsiteY3" fmla="*/ 360000 h 432000"/>
              <a:gd name="connsiteX4" fmla="*/ 144000 w 288000"/>
              <a:gd name="connsiteY4" fmla="*/ 216000 h 432000"/>
              <a:gd name="connsiteX5" fmla="*/ 0 w 288000"/>
              <a:gd name="connsiteY5" fmla="*/ 72000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000" h="432000">
                <a:moveTo>
                  <a:pt x="72000" y="0"/>
                </a:moveTo>
                <a:lnTo>
                  <a:pt x="288000" y="216000"/>
                </a:lnTo>
                <a:lnTo>
                  <a:pt x="72000" y="432000"/>
                </a:lnTo>
                <a:lnTo>
                  <a:pt x="0" y="360000"/>
                </a:lnTo>
                <a:lnTo>
                  <a:pt x="144000" y="216000"/>
                </a:lnTo>
                <a:lnTo>
                  <a:pt x="0" y="72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Tree>
    <p:extLst>
      <p:ext uri="{BB962C8B-B14F-4D97-AF65-F5344CB8AC3E}">
        <p14:creationId xmlns:p14="http://schemas.microsoft.com/office/powerpoint/2010/main" val="2339992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55" name="Objekt 54" hidden="1"/>
          <p:cNvGraphicFramePr>
            <a:graphicFrameLocks/>
          </p:cNvGraphicFramePr>
          <p:nvPr>
            <p:custDataLst>
              <p:tags r:id="rId1"/>
            </p:custDataLst>
            <p:extLst>
              <p:ext uri="{D42A27DB-BD31-4B8C-83A1-F6EECF244321}">
                <p14:modId xmlns:p14="http://schemas.microsoft.com/office/powerpoint/2010/main" val="1379507832"/>
              </p:ext>
            </p:ext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Folie" r:id="rId5" imgW="0" imgH="0" progId="TCLayout.ActiveDocument.1">
                  <p:embed/>
                </p:oleObj>
              </mc:Choice>
              <mc:Fallback>
                <p:oleObj name="think-cell Folie" r:id="rId5" imgW="0" imgH="0" progId="TCLayout.ActiveDocument.1">
                  <p:embed/>
                  <p:pic>
                    <p:nvPicPr>
                      <p:cNvPr id="55" name="Objekt 5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 name="Content Placeholder 10">
            <a:extLst>
              <a:ext uri="{FF2B5EF4-FFF2-40B4-BE49-F238E27FC236}">
                <a16:creationId xmlns:a16="http://schemas.microsoft.com/office/drawing/2014/main" id="{6117737F-73E4-42CA-AE16-90B07AFEFBB5}"/>
              </a:ext>
            </a:extLst>
          </p:cNvPr>
          <p:cNvSpPr txBox="1">
            <a:spLocks noChangeAspect="1"/>
          </p:cNvSpPr>
          <p:nvPr/>
        </p:nvSpPr>
        <p:spPr bwMode="gray">
          <a:xfrm>
            <a:off x="2906369" y="3141000"/>
            <a:ext cx="1440000" cy="1440000"/>
          </a:xfrm>
          <a:prstGeom prst="ellipse">
            <a:avLst/>
          </a:prstGeom>
          <a:solidFill>
            <a:schemeClr val="accent4"/>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Lorem ipsum</a:t>
            </a:r>
          </a:p>
        </p:txBody>
      </p:sp>
      <p:sp>
        <p:nvSpPr>
          <p:cNvPr id="3" name="Rechteck 2" hidden="1">
            <a:extLst>
              <a:ext uri="{FF2B5EF4-FFF2-40B4-BE49-F238E27FC236}">
                <a16:creationId xmlns:a16="http://schemas.microsoft.com/office/drawing/2014/main" id="{ABDB2B66-D16C-48AD-A247-734F713A0D4C}"/>
              </a:ext>
            </a:extLst>
          </p:cNvPr>
          <p:cNvSpPr/>
          <p:nvPr>
            <p:custDataLst>
              <p:tags r:id="rId2"/>
            </p:custDataLst>
          </p:nvPr>
        </p:nvSpPr>
        <p:spPr bwMode="gray">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e-DE" sz="3000" dirty="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sym typeface="Open Sans Extrabold" panose="020B0906030804020204" pitchFamily="34" charset="0"/>
            </a:endParaRPr>
          </a:p>
        </p:txBody>
      </p:sp>
      <p:sp>
        <p:nvSpPr>
          <p:cNvPr id="2" name="Titel 1"/>
          <p:cNvSpPr>
            <a:spLocks noGrp="1"/>
          </p:cNvSpPr>
          <p:nvPr>
            <p:ph type="title"/>
          </p:nvPr>
        </p:nvSpPr>
        <p:spPr bwMode="gray"/>
        <p:txBody>
          <a:bodyPr vert="horz"/>
          <a:lstStyle/>
          <a:p>
            <a:r>
              <a:rPr lang="de-DE" dirty="0">
                <a:solidFill>
                  <a:schemeClr val="bg1"/>
                </a:solidFill>
              </a:rPr>
              <a:t>Prozess mit Rückführung</a:t>
            </a:r>
          </a:p>
        </p:txBody>
      </p:sp>
      <p:sp>
        <p:nvSpPr>
          <p:cNvPr id="4" name="Datumsplatzhalter 3">
            <a:extLst>
              <a:ext uri="{FF2B5EF4-FFF2-40B4-BE49-F238E27FC236}">
                <a16:creationId xmlns:a16="http://schemas.microsoft.com/office/drawing/2014/main" id="{BA02B4C5-824A-41CE-BDB3-506BA634143C}"/>
              </a:ext>
            </a:extLst>
          </p:cNvPr>
          <p:cNvSpPr>
            <a:spLocks noGrp="1"/>
          </p:cNvSpPr>
          <p:nvPr>
            <p:ph type="dt" sz="half" idx="10"/>
          </p:nvPr>
        </p:nvSpPr>
        <p:spPr bwMode="gray"/>
        <p:txBody>
          <a:bodyPr/>
          <a:lstStyle/>
          <a:p>
            <a:fld id="{AAA6BEBB-3A09-4B45-9B5C-242B57E0DFE4}" type="datetime1">
              <a:rPr lang="de-DE" smtClean="0">
                <a:solidFill>
                  <a:schemeClr val="bg1"/>
                </a:solidFill>
              </a:rPr>
              <a:t>29.09.25</a:t>
            </a:fld>
            <a:endParaRPr lang="de-DE" dirty="0">
              <a:solidFill>
                <a:schemeClr val="bg1"/>
              </a:solidFill>
            </a:endParaRPr>
          </a:p>
        </p:txBody>
      </p:sp>
      <p:sp>
        <p:nvSpPr>
          <p:cNvPr id="5" name="Fußzeilenplatzhalter 4">
            <a:extLst>
              <a:ext uri="{FF2B5EF4-FFF2-40B4-BE49-F238E27FC236}">
                <a16:creationId xmlns:a16="http://schemas.microsoft.com/office/drawing/2014/main" id="{6BD181F7-F8D9-47B6-82DF-8110D315831F}"/>
              </a:ext>
            </a:extLst>
          </p:cNvPr>
          <p:cNvSpPr>
            <a:spLocks noGrp="1"/>
          </p:cNvSpPr>
          <p:nvPr>
            <p:ph type="ftr" sz="quarter" idx="11"/>
          </p:nvPr>
        </p:nvSpPr>
        <p:spPr bwMode="gray"/>
        <p:txBody>
          <a:bodyPr/>
          <a:lstStyle/>
          <a:p>
            <a:r>
              <a:rPr lang="de-DE" dirty="0">
                <a:solidFill>
                  <a:schemeClr val="bg1"/>
                </a:solidFill>
              </a:rPr>
              <a:t>TITEL DER PRÄSENTATION | TITEL VORNAME NAME</a:t>
            </a:r>
          </a:p>
        </p:txBody>
      </p:sp>
      <p:sp>
        <p:nvSpPr>
          <p:cNvPr id="6" name="Foliennummernplatzhalter 5">
            <a:extLst>
              <a:ext uri="{FF2B5EF4-FFF2-40B4-BE49-F238E27FC236}">
                <a16:creationId xmlns:a16="http://schemas.microsoft.com/office/drawing/2014/main" id="{2AF3D88E-7D50-405B-8D3E-9CE161ED028B}"/>
              </a:ext>
            </a:extLst>
          </p:cNvPr>
          <p:cNvSpPr>
            <a:spLocks noGrp="1"/>
          </p:cNvSpPr>
          <p:nvPr>
            <p:ph type="sldNum" sz="quarter" idx="12"/>
          </p:nvPr>
        </p:nvSpPr>
        <p:spPr bwMode="gray"/>
        <p:txBody>
          <a:bodyPr/>
          <a:lstStyle/>
          <a:p>
            <a:fld id="{09E9C37E-8A19-4E30-BE2B-5A966AD23C7A}" type="slidenum">
              <a:rPr lang="de-DE" smtClean="0">
                <a:solidFill>
                  <a:schemeClr val="bg1"/>
                </a:solidFill>
              </a:rPr>
              <a:pPr/>
              <a:t>91</a:t>
            </a:fld>
            <a:endParaRPr lang="de-DE" dirty="0">
              <a:solidFill>
                <a:schemeClr val="bg1"/>
              </a:solidFill>
            </a:endParaRPr>
          </a:p>
        </p:txBody>
      </p:sp>
      <p:sp>
        <p:nvSpPr>
          <p:cNvPr id="18" name="Content Placeholder 10">
            <a:extLst>
              <a:ext uri="{FF2B5EF4-FFF2-40B4-BE49-F238E27FC236}">
                <a16:creationId xmlns:a16="http://schemas.microsoft.com/office/drawing/2014/main" id="{EDB688A9-43EC-4A0E-B635-63D751C4808B}"/>
              </a:ext>
            </a:extLst>
          </p:cNvPr>
          <p:cNvSpPr txBox="1">
            <a:spLocks noChangeAspect="1"/>
          </p:cNvSpPr>
          <p:nvPr/>
        </p:nvSpPr>
        <p:spPr bwMode="gray">
          <a:xfrm>
            <a:off x="552000" y="3141000"/>
            <a:ext cx="1440000" cy="1440000"/>
          </a:xfrm>
          <a:prstGeom prst="ellipse">
            <a:avLst/>
          </a:prstGeom>
          <a:solidFill>
            <a:schemeClr val="accent4"/>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Lorem ipsum</a:t>
            </a:r>
          </a:p>
        </p:txBody>
      </p:sp>
      <p:sp>
        <p:nvSpPr>
          <p:cNvPr id="38" name="Content Placeholder 10">
            <a:extLst>
              <a:ext uri="{FF2B5EF4-FFF2-40B4-BE49-F238E27FC236}">
                <a16:creationId xmlns:a16="http://schemas.microsoft.com/office/drawing/2014/main" id="{7288C65D-9AAF-4EA6-AB2E-7F9D3E87960C}"/>
              </a:ext>
            </a:extLst>
          </p:cNvPr>
          <p:cNvSpPr txBox="1">
            <a:spLocks noChangeAspect="1"/>
          </p:cNvSpPr>
          <p:nvPr/>
        </p:nvSpPr>
        <p:spPr bwMode="gray">
          <a:xfrm>
            <a:off x="5246369" y="3141000"/>
            <a:ext cx="1440000" cy="1440000"/>
          </a:xfrm>
          <a:prstGeom prst="ellipse">
            <a:avLst/>
          </a:prstGeom>
          <a:solidFill>
            <a:schemeClr val="accent4"/>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Lorem ipsum</a:t>
            </a:r>
          </a:p>
        </p:txBody>
      </p:sp>
      <p:sp>
        <p:nvSpPr>
          <p:cNvPr id="39" name="Content Placeholder 10">
            <a:extLst>
              <a:ext uri="{FF2B5EF4-FFF2-40B4-BE49-F238E27FC236}">
                <a16:creationId xmlns:a16="http://schemas.microsoft.com/office/drawing/2014/main" id="{5ABE2F59-1DB6-40A1-AF63-7ECC5EBE311C}"/>
              </a:ext>
            </a:extLst>
          </p:cNvPr>
          <p:cNvSpPr txBox="1">
            <a:spLocks noChangeAspect="1"/>
          </p:cNvSpPr>
          <p:nvPr/>
        </p:nvSpPr>
        <p:spPr bwMode="gray">
          <a:xfrm>
            <a:off x="7572000" y="3141000"/>
            <a:ext cx="1440000" cy="1440000"/>
          </a:xfrm>
          <a:prstGeom prst="ellipse">
            <a:avLst/>
          </a:prstGeom>
          <a:solidFill>
            <a:schemeClr val="accent4"/>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Lorem ipsum</a:t>
            </a:r>
          </a:p>
        </p:txBody>
      </p:sp>
      <p:sp>
        <p:nvSpPr>
          <p:cNvPr id="40" name="Content Placeholder 10">
            <a:extLst>
              <a:ext uri="{FF2B5EF4-FFF2-40B4-BE49-F238E27FC236}">
                <a16:creationId xmlns:a16="http://schemas.microsoft.com/office/drawing/2014/main" id="{2FEFF2AC-3FD5-410C-A831-1FEF026B3F03}"/>
              </a:ext>
            </a:extLst>
          </p:cNvPr>
          <p:cNvSpPr txBox="1">
            <a:spLocks noChangeAspect="1"/>
          </p:cNvSpPr>
          <p:nvPr/>
        </p:nvSpPr>
        <p:spPr bwMode="gray">
          <a:xfrm>
            <a:off x="9912000" y="3141000"/>
            <a:ext cx="1440000" cy="1440000"/>
          </a:xfrm>
          <a:prstGeom prst="ellipse">
            <a:avLst/>
          </a:prstGeom>
          <a:solidFill>
            <a:schemeClr val="accent4"/>
          </a:solidFill>
        </p:spPr>
        <p:txBody>
          <a:bodyPr lIns="144000" tIns="144000" rIns="144000" bIns="144000" anchor="ctr" anchorCtr="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2" algn="ctr"/>
            <a:r>
              <a:rPr lang="de-DE" dirty="0">
                <a:solidFill>
                  <a:schemeClr val="bg1"/>
                </a:solidFill>
              </a:rPr>
              <a:t>Lorem ipsum</a:t>
            </a:r>
          </a:p>
        </p:txBody>
      </p:sp>
      <p:sp>
        <p:nvSpPr>
          <p:cNvPr id="41" name="Freihandform: Form 40">
            <a:extLst>
              <a:ext uri="{FF2B5EF4-FFF2-40B4-BE49-F238E27FC236}">
                <a16:creationId xmlns:a16="http://schemas.microsoft.com/office/drawing/2014/main" id="{D43C1396-96A6-49B9-91C6-502B2BA75441}"/>
              </a:ext>
            </a:extLst>
          </p:cNvPr>
          <p:cNvSpPr>
            <a:spLocks noChangeAspect="1"/>
          </p:cNvSpPr>
          <p:nvPr/>
        </p:nvSpPr>
        <p:spPr bwMode="gray">
          <a:xfrm>
            <a:off x="2370000" y="3753000"/>
            <a:ext cx="144000" cy="216000"/>
          </a:xfrm>
          <a:custGeom>
            <a:avLst/>
            <a:gdLst>
              <a:gd name="connsiteX0" fmla="*/ 72000 w 288000"/>
              <a:gd name="connsiteY0" fmla="*/ 0 h 432000"/>
              <a:gd name="connsiteX1" fmla="*/ 288000 w 288000"/>
              <a:gd name="connsiteY1" fmla="*/ 216000 h 432000"/>
              <a:gd name="connsiteX2" fmla="*/ 72000 w 288000"/>
              <a:gd name="connsiteY2" fmla="*/ 432000 h 432000"/>
              <a:gd name="connsiteX3" fmla="*/ 0 w 288000"/>
              <a:gd name="connsiteY3" fmla="*/ 360000 h 432000"/>
              <a:gd name="connsiteX4" fmla="*/ 144000 w 288000"/>
              <a:gd name="connsiteY4" fmla="*/ 216000 h 432000"/>
              <a:gd name="connsiteX5" fmla="*/ 0 w 288000"/>
              <a:gd name="connsiteY5" fmla="*/ 72000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000" h="432000">
                <a:moveTo>
                  <a:pt x="72000" y="0"/>
                </a:moveTo>
                <a:lnTo>
                  <a:pt x="288000" y="216000"/>
                </a:lnTo>
                <a:lnTo>
                  <a:pt x="72000" y="432000"/>
                </a:lnTo>
                <a:lnTo>
                  <a:pt x="0" y="360000"/>
                </a:lnTo>
                <a:lnTo>
                  <a:pt x="144000" y="216000"/>
                </a:lnTo>
                <a:lnTo>
                  <a:pt x="0" y="72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42" name="Freihandform: Form 41">
            <a:extLst>
              <a:ext uri="{FF2B5EF4-FFF2-40B4-BE49-F238E27FC236}">
                <a16:creationId xmlns:a16="http://schemas.microsoft.com/office/drawing/2014/main" id="{AACB4AC0-F012-4E1E-B77D-EF208E356A53}"/>
              </a:ext>
            </a:extLst>
          </p:cNvPr>
          <p:cNvSpPr>
            <a:spLocks noChangeAspect="1"/>
          </p:cNvSpPr>
          <p:nvPr/>
        </p:nvSpPr>
        <p:spPr bwMode="gray">
          <a:xfrm>
            <a:off x="4724369" y="3753000"/>
            <a:ext cx="144000" cy="216000"/>
          </a:xfrm>
          <a:custGeom>
            <a:avLst/>
            <a:gdLst>
              <a:gd name="connsiteX0" fmla="*/ 72000 w 288000"/>
              <a:gd name="connsiteY0" fmla="*/ 0 h 432000"/>
              <a:gd name="connsiteX1" fmla="*/ 288000 w 288000"/>
              <a:gd name="connsiteY1" fmla="*/ 216000 h 432000"/>
              <a:gd name="connsiteX2" fmla="*/ 72000 w 288000"/>
              <a:gd name="connsiteY2" fmla="*/ 432000 h 432000"/>
              <a:gd name="connsiteX3" fmla="*/ 0 w 288000"/>
              <a:gd name="connsiteY3" fmla="*/ 360000 h 432000"/>
              <a:gd name="connsiteX4" fmla="*/ 144000 w 288000"/>
              <a:gd name="connsiteY4" fmla="*/ 216000 h 432000"/>
              <a:gd name="connsiteX5" fmla="*/ 0 w 288000"/>
              <a:gd name="connsiteY5" fmla="*/ 72000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000" h="432000">
                <a:moveTo>
                  <a:pt x="72000" y="0"/>
                </a:moveTo>
                <a:lnTo>
                  <a:pt x="288000" y="216000"/>
                </a:lnTo>
                <a:lnTo>
                  <a:pt x="72000" y="432000"/>
                </a:lnTo>
                <a:lnTo>
                  <a:pt x="0" y="360000"/>
                </a:lnTo>
                <a:lnTo>
                  <a:pt x="144000" y="216000"/>
                </a:lnTo>
                <a:lnTo>
                  <a:pt x="0" y="72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43" name="Freihandform: Form 42">
            <a:extLst>
              <a:ext uri="{FF2B5EF4-FFF2-40B4-BE49-F238E27FC236}">
                <a16:creationId xmlns:a16="http://schemas.microsoft.com/office/drawing/2014/main" id="{D89DB415-5D2B-4A09-9756-990AE161D3BB}"/>
              </a:ext>
            </a:extLst>
          </p:cNvPr>
          <p:cNvSpPr>
            <a:spLocks noChangeAspect="1"/>
          </p:cNvSpPr>
          <p:nvPr/>
        </p:nvSpPr>
        <p:spPr bwMode="gray">
          <a:xfrm>
            <a:off x="7057185" y="3753000"/>
            <a:ext cx="144000" cy="216000"/>
          </a:xfrm>
          <a:custGeom>
            <a:avLst/>
            <a:gdLst>
              <a:gd name="connsiteX0" fmla="*/ 72000 w 288000"/>
              <a:gd name="connsiteY0" fmla="*/ 0 h 432000"/>
              <a:gd name="connsiteX1" fmla="*/ 288000 w 288000"/>
              <a:gd name="connsiteY1" fmla="*/ 216000 h 432000"/>
              <a:gd name="connsiteX2" fmla="*/ 72000 w 288000"/>
              <a:gd name="connsiteY2" fmla="*/ 432000 h 432000"/>
              <a:gd name="connsiteX3" fmla="*/ 0 w 288000"/>
              <a:gd name="connsiteY3" fmla="*/ 360000 h 432000"/>
              <a:gd name="connsiteX4" fmla="*/ 144000 w 288000"/>
              <a:gd name="connsiteY4" fmla="*/ 216000 h 432000"/>
              <a:gd name="connsiteX5" fmla="*/ 0 w 288000"/>
              <a:gd name="connsiteY5" fmla="*/ 72000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000" h="432000">
                <a:moveTo>
                  <a:pt x="72000" y="0"/>
                </a:moveTo>
                <a:lnTo>
                  <a:pt x="288000" y="216000"/>
                </a:lnTo>
                <a:lnTo>
                  <a:pt x="72000" y="432000"/>
                </a:lnTo>
                <a:lnTo>
                  <a:pt x="0" y="360000"/>
                </a:lnTo>
                <a:lnTo>
                  <a:pt x="144000" y="216000"/>
                </a:lnTo>
                <a:lnTo>
                  <a:pt x="0" y="72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44" name="Freihandform: Form 43">
            <a:extLst>
              <a:ext uri="{FF2B5EF4-FFF2-40B4-BE49-F238E27FC236}">
                <a16:creationId xmlns:a16="http://schemas.microsoft.com/office/drawing/2014/main" id="{9FCB5295-F3F2-480C-8FB3-94765F9C9F13}"/>
              </a:ext>
            </a:extLst>
          </p:cNvPr>
          <p:cNvSpPr>
            <a:spLocks noChangeAspect="1"/>
          </p:cNvSpPr>
          <p:nvPr/>
        </p:nvSpPr>
        <p:spPr bwMode="gray">
          <a:xfrm>
            <a:off x="9390000" y="3753000"/>
            <a:ext cx="144000" cy="216000"/>
          </a:xfrm>
          <a:custGeom>
            <a:avLst/>
            <a:gdLst>
              <a:gd name="connsiteX0" fmla="*/ 72000 w 288000"/>
              <a:gd name="connsiteY0" fmla="*/ 0 h 432000"/>
              <a:gd name="connsiteX1" fmla="*/ 288000 w 288000"/>
              <a:gd name="connsiteY1" fmla="*/ 216000 h 432000"/>
              <a:gd name="connsiteX2" fmla="*/ 72000 w 288000"/>
              <a:gd name="connsiteY2" fmla="*/ 432000 h 432000"/>
              <a:gd name="connsiteX3" fmla="*/ 0 w 288000"/>
              <a:gd name="connsiteY3" fmla="*/ 360000 h 432000"/>
              <a:gd name="connsiteX4" fmla="*/ 144000 w 288000"/>
              <a:gd name="connsiteY4" fmla="*/ 216000 h 432000"/>
              <a:gd name="connsiteX5" fmla="*/ 0 w 288000"/>
              <a:gd name="connsiteY5" fmla="*/ 72000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000" h="432000">
                <a:moveTo>
                  <a:pt x="72000" y="0"/>
                </a:moveTo>
                <a:lnTo>
                  <a:pt x="288000" y="216000"/>
                </a:lnTo>
                <a:lnTo>
                  <a:pt x="72000" y="432000"/>
                </a:lnTo>
                <a:lnTo>
                  <a:pt x="0" y="360000"/>
                </a:lnTo>
                <a:lnTo>
                  <a:pt x="144000" y="216000"/>
                </a:lnTo>
                <a:lnTo>
                  <a:pt x="0" y="72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45" name="Content Placeholder 10">
            <a:extLst>
              <a:ext uri="{FF2B5EF4-FFF2-40B4-BE49-F238E27FC236}">
                <a16:creationId xmlns:a16="http://schemas.microsoft.com/office/drawing/2014/main" id="{6FBF123E-A8EE-44A9-93D3-D73E2C84AE42}"/>
              </a:ext>
            </a:extLst>
          </p:cNvPr>
          <p:cNvSpPr txBox="1">
            <a:spLocks/>
          </p:cNvSpPr>
          <p:nvPr/>
        </p:nvSpPr>
        <p:spPr bwMode="gray">
          <a:xfrm>
            <a:off x="1344000" y="1989075"/>
            <a:ext cx="2088000" cy="1008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dirty="0">
                <a:solidFill>
                  <a:schemeClr val="bg1"/>
                </a:solidFill>
              </a:rPr>
              <a:t>Fames ac egestas. </a:t>
            </a:r>
            <a:br>
              <a:rPr lang="de-DE" dirty="0">
                <a:solidFill>
                  <a:schemeClr val="bg1"/>
                </a:solidFill>
              </a:rPr>
            </a:br>
            <a:r>
              <a:rPr lang="de-DE" dirty="0">
                <a:solidFill>
                  <a:schemeClr val="bg1"/>
                </a:solidFill>
              </a:rPr>
              <a:t>Proin pharetra in vitae condimentum.</a:t>
            </a:r>
          </a:p>
        </p:txBody>
      </p:sp>
      <p:sp>
        <p:nvSpPr>
          <p:cNvPr id="46" name="Content Placeholder 10">
            <a:extLst>
              <a:ext uri="{FF2B5EF4-FFF2-40B4-BE49-F238E27FC236}">
                <a16:creationId xmlns:a16="http://schemas.microsoft.com/office/drawing/2014/main" id="{4D11DADA-BA10-4586-B42D-F93A46C30E3C}"/>
              </a:ext>
            </a:extLst>
          </p:cNvPr>
          <p:cNvSpPr txBox="1">
            <a:spLocks/>
          </p:cNvSpPr>
          <p:nvPr/>
        </p:nvSpPr>
        <p:spPr bwMode="gray">
          <a:xfrm>
            <a:off x="3720000" y="1989075"/>
            <a:ext cx="2088000" cy="1008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dirty="0">
                <a:solidFill>
                  <a:schemeClr val="bg1"/>
                </a:solidFill>
              </a:rPr>
              <a:t>Fames ac egestas. </a:t>
            </a:r>
            <a:br>
              <a:rPr lang="de-DE" dirty="0">
                <a:solidFill>
                  <a:schemeClr val="bg1"/>
                </a:solidFill>
              </a:rPr>
            </a:br>
            <a:r>
              <a:rPr lang="de-DE" dirty="0">
                <a:solidFill>
                  <a:schemeClr val="bg1"/>
                </a:solidFill>
              </a:rPr>
              <a:t>Proin pharetra in vitae condimentum.</a:t>
            </a:r>
          </a:p>
        </p:txBody>
      </p:sp>
      <p:sp>
        <p:nvSpPr>
          <p:cNvPr id="47" name="Content Placeholder 10">
            <a:extLst>
              <a:ext uri="{FF2B5EF4-FFF2-40B4-BE49-F238E27FC236}">
                <a16:creationId xmlns:a16="http://schemas.microsoft.com/office/drawing/2014/main" id="{D099791D-C7BB-44F9-9CC4-D8001A742016}"/>
              </a:ext>
            </a:extLst>
          </p:cNvPr>
          <p:cNvSpPr txBox="1">
            <a:spLocks/>
          </p:cNvSpPr>
          <p:nvPr/>
        </p:nvSpPr>
        <p:spPr bwMode="gray">
          <a:xfrm>
            <a:off x="6096000" y="1989075"/>
            <a:ext cx="2088000" cy="1008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dirty="0">
                <a:solidFill>
                  <a:schemeClr val="bg1"/>
                </a:solidFill>
              </a:rPr>
              <a:t>Fames ac egestas. </a:t>
            </a:r>
            <a:br>
              <a:rPr lang="de-DE" dirty="0">
                <a:solidFill>
                  <a:schemeClr val="bg1"/>
                </a:solidFill>
              </a:rPr>
            </a:br>
            <a:r>
              <a:rPr lang="de-DE" dirty="0">
                <a:solidFill>
                  <a:schemeClr val="bg1"/>
                </a:solidFill>
              </a:rPr>
              <a:t>Proin pharetra in vitae condimentum.</a:t>
            </a:r>
          </a:p>
        </p:txBody>
      </p:sp>
      <p:sp>
        <p:nvSpPr>
          <p:cNvPr id="48" name="Content Placeholder 10">
            <a:extLst>
              <a:ext uri="{FF2B5EF4-FFF2-40B4-BE49-F238E27FC236}">
                <a16:creationId xmlns:a16="http://schemas.microsoft.com/office/drawing/2014/main" id="{9B765963-F8FE-4250-8438-39C540BC94AD}"/>
              </a:ext>
            </a:extLst>
          </p:cNvPr>
          <p:cNvSpPr txBox="1">
            <a:spLocks/>
          </p:cNvSpPr>
          <p:nvPr/>
        </p:nvSpPr>
        <p:spPr bwMode="gray">
          <a:xfrm>
            <a:off x="8472000" y="1989075"/>
            <a:ext cx="2088000" cy="1008000"/>
          </a:xfrm>
          <a:prstGeom prst="rect">
            <a:avLst/>
          </a:prstGeom>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dirty="0">
                <a:solidFill>
                  <a:schemeClr val="bg1"/>
                </a:solidFill>
              </a:rPr>
              <a:t>Fames ac egestas. </a:t>
            </a:r>
            <a:br>
              <a:rPr lang="de-DE" dirty="0">
                <a:solidFill>
                  <a:schemeClr val="bg1"/>
                </a:solidFill>
              </a:rPr>
            </a:br>
            <a:r>
              <a:rPr lang="de-DE" dirty="0">
                <a:solidFill>
                  <a:schemeClr val="bg1"/>
                </a:solidFill>
              </a:rPr>
              <a:t>Proin pharetra in vitae condimentum.</a:t>
            </a:r>
          </a:p>
        </p:txBody>
      </p:sp>
      <p:sp>
        <p:nvSpPr>
          <p:cNvPr id="37" name="Rechteck 36">
            <a:extLst>
              <a:ext uri="{FF2B5EF4-FFF2-40B4-BE49-F238E27FC236}">
                <a16:creationId xmlns:a16="http://schemas.microsoft.com/office/drawing/2014/main" id="{61862DFB-BE5D-458C-9635-F0734D815D9F}"/>
              </a:ext>
            </a:extLst>
          </p:cNvPr>
          <p:cNvSpPr/>
          <p:nvPr/>
        </p:nvSpPr>
        <p:spPr bwMode="gray">
          <a:xfrm>
            <a:off x="1272000" y="5085000"/>
            <a:ext cx="9360000" cy="288000"/>
          </a:xfrm>
          <a:custGeom>
            <a:avLst/>
            <a:gdLst>
              <a:gd name="connsiteX0" fmla="*/ 0 w 9288000"/>
              <a:gd name="connsiteY0" fmla="*/ 0 h 648000"/>
              <a:gd name="connsiteX1" fmla="*/ 9288000 w 9288000"/>
              <a:gd name="connsiteY1" fmla="*/ 0 h 648000"/>
              <a:gd name="connsiteX2" fmla="*/ 9288000 w 9288000"/>
              <a:gd name="connsiteY2" fmla="*/ 648000 h 648000"/>
              <a:gd name="connsiteX3" fmla="*/ 0 w 9288000"/>
              <a:gd name="connsiteY3" fmla="*/ 648000 h 648000"/>
              <a:gd name="connsiteX4" fmla="*/ 0 w 9288000"/>
              <a:gd name="connsiteY4" fmla="*/ 0 h 648000"/>
              <a:gd name="connsiteX0" fmla="*/ 0 w 9288000"/>
              <a:gd name="connsiteY0" fmla="*/ 15039 h 663039"/>
              <a:gd name="connsiteX1" fmla="*/ 4440542 w 9288000"/>
              <a:gd name="connsiteY1" fmla="*/ 0 h 663039"/>
              <a:gd name="connsiteX2" fmla="*/ 9288000 w 9288000"/>
              <a:gd name="connsiteY2" fmla="*/ 15039 h 663039"/>
              <a:gd name="connsiteX3" fmla="*/ 9288000 w 9288000"/>
              <a:gd name="connsiteY3" fmla="*/ 663039 h 663039"/>
              <a:gd name="connsiteX4" fmla="*/ 0 w 9288000"/>
              <a:gd name="connsiteY4" fmla="*/ 663039 h 663039"/>
              <a:gd name="connsiteX5" fmla="*/ 0 w 9288000"/>
              <a:gd name="connsiteY5" fmla="*/ 15039 h 663039"/>
              <a:gd name="connsiteX0" fmla="*/ 4440542 w 9288000"/>
              <a:gd name="connsiteY0" fmla="*/ 0 h 663039"/>
              <a:gd name="connsiteX1" fmla="*/ 9288000 w 9288000"/>
              <a:gd name="connsiteY1" fmla="*/ 15039 h 663039"/>
              <a:gd name="connsiteX2" fmla="*/ 9288000 w 9288000"/>
              <a:gd name="connsiteY2" fmla="*/ 663039 h 663039"/>
              <a:gd name="connsiteX3" fmla="*/ 0 w 9288000"/>
              <a:gd name="connsiteY3" fmla="*/ 663039 h 663039"/>
              <a:gd name="connsiteX4" fmla="*/ 0 w 9288000"/>
              <a:gd name="connsiteY4" fmla="*/ 15039 h 663039"/>
              <a:gd name="connsiteX5" fmla="*/ 4531982 w 9288000"/>
              <a:gd name="connsiteY5" fmla="*/ 91440 h 663039"/>
              <a:gd name="connsiteX0" fmla="*/ 9288000 w 9288000"/>
              <a:gd name="connsiteY0" fmla="*/ 223 h 648223"/>
              <a:gd name="connsiteX1" fmla="*/ 9288000 w 9288000"/>
              <a:gd name="connsiteY1" fmla="*/ 648223 h 648223"/>
              <a:gd name="connsiteX2" fmla="*/ 0 w 9288000"/>
              <a:gd name="connsiteY2" fmla="*/ 648223 h 648223"/>
              <a:gd name="connsiteX3" fmla="*/ 0 w 9288000"/>
              <a:gd name="connsiteY3" fmla="*/ 223 h 648223"/>
              <a:gd name="connsiteX4" fmla="*/ 4531982 w 9288000"/>
              <a:gd name="connsiteY4" fmla="*/ 76624 h 648223"/>
              <a:gd name="connsiteX0" fmla="*/ 9288000 w 9288000"/>
              <a:gd name="connsiteY0" fmla="*/ 0 h 648000"/>
              <a:gd name="connsiteX1" fmla="*/ 9288000 w 9288000"/>
              <a:gd name="connsiteY1" fmla="*/ 648000 h 648000"/>
              <a:gd name="connsiteX2" fmla="*/ 0 w 9288000"/>
              <a:gd name="connsiteY2" fmla="*/ 648000 h 648000"/>
              <a:gd name="connsiteX3" fmla="*/ 0 w 9288000"/>
              <a:gd name="connsiteY3" fmla="*/ 0 h 648000"/>
            </a:gdLst>
            <a:ahLst/>
            <a:cxnLst>
              <a:cxn ang="0">
                <a:pos x="connsiteX0" y="connsiteY0"/>
              </a:cxn>
              <a:cxn ang="0">
                <a:pos x="connsiteX1" y="connsiteY1"/>
              </a:cxn>
              <a:cxn ang="0">
                <a:pos x="connsiteX2" y="connsiteY2"/>
              </a:cxn>
              <a:cxn ang="0">
                <a:pos x="connsiteX3" y="connsiteY3"/>
              </a:cxn>
            </a:cxnLst>
            <a:rect l="l" t="t" r="r" b="b"/>
            <a:pathLst>
              <a:path w="9288000" h="648000">
                <a:moveTo>
                  <a:pt x="9288000" y="0"/>
                </a:moveTo>
                <a:lnTo>
                  <a:pt x="9288000" y="648000"/>
                </a:lnTo>
                <a:lnTo>
                  <a:pt x="0" y="648000"/>
                </a:lnTo>
                <a:lnTo>
                  <a:pt x="0"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
        <p:nvSpPr>
          <p:cNvPr id="49" name="Content Placeholder 10">
            <a:extLst>
              <a:ext uri="{FF2B5EF4-FFF2-40B4-BE49-F238E27FC236}">
                <a16:creationId xmlns:a16="http://schemas.microsoft.com/office/drawing/2014/main" id="{500FF1A3-42E7-4BAF-A650-4AE4D23DCBF7}"/>
              </a:ext>
            </a:extLst>
          </p:cNvPr>
          <p:cNvSpPr txBox="1">
            <a:spLocks/>
          </p:cNvSpPr>
          <p:nvPr/>
        </p:nvSpPr>
        <p:spPr bwMode="gray">
          <a:xfrm>
            <a:off x="2280275" y="5013000"/>
            <a:ext cx="7560000" cy="720000"/>
          </a:xfrm>
          <a:prstGeom prst="rect">
            <a:avLst/>
          </a:prstGeom>
          <a:solidFill>
            <a:schemeClr val="bg1"/>
          </a:solidFill>
        </p:spPr>
        <p:txBody>
          <a:bodyPr lIns="144000" tIns="144000" rIns="144000" bIns="0"/>
          <a:lstStyle>
            <a:lvl1pPr marL="18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1pPr>
            <a:lvl2pPr marL="0" indent="0" algn="l" defTabSz="914400" rtl="0" eaLnBrk="1" latinLnBrk="0" hangingPunct="1">
              <a:lnSpc>
                <a:spcPct val="113000"/>
              </a:lnSpc>
              <a:spcBef>
                <a:spcPts val="300"/>
              </a:spcBef>
              <a:spcAft>
                <a:spcPts val="300"/>
              </a:spcAft>
              <a:buSzPct val="100000"/>
              <a:buFont typeface="Wingdings" panose="05000000000000000000" pitchFamily="2" charset="2"/>
              <a:buNone/>
              <a:defRPr sz="1400" kern="1200">
                <a:solidFill>
                  <a:schemeClr val="tx1"/>
                </a:solidFill>
                <a:latin typeface="+mn-lt"/>
                <a:ea typeface="+mn-ea"/>
                <a:cs typeface="+mn-cs"/>
              </a:defRPr>
            </a:lvl2pPr>
            <a:lvl3pPr marL="0" indent="0" algn="l" defTabSz="914400" rtl="0" eaLnBrk="1" latinLnBrk="0" hangingPunct="1">
              <a:lnSpc>
                <a:spcPct val="113000"/>
              </a:lnSpc>
              <a:spcBef>
                <a:spcPts val="1200"/>
              </a:spcBef>
              <a:spcAft>
                <a:spcPts val="300"/>
              </a:spcAft>
              <a:buSzPct val="100000"/>
              <a:buFont typeface="Wingdings" panose="05000000000000000000" pitchFamily="2" charset="2"/>
              <a:buNone/>
              <a:defRPr sz="1400" b="1" kern="1200" baseline="0">
                <a:solidFill>
                  <a:schemeClr val="tx1"/>
                </a:solidFill>
                <a:latin typeface="+mn-lt"/>
                <a:ea typeface="+mn-ea"/>
                <a:cs typeface="+mn-cs"/>
              </a:defRPr>
            </a:lvl3pPr>
            <a:lvl4pPr marL="36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6pPr>
            <a:lvl7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7pPr>
            <a:lvl8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8pPr>
            <a:lvl9pPr marL="540000" indent="-180000" algn="l" defTabSz="914400" rtl="0" eaLnBrk="1" latinLnBrk="0" hangingPunct="1">
              <a:lnSpc>
                <a:spcPct val="113000"/>
              </a:lnSpc>
              <a:spcBef>
                <a:spcPts val="300"/>
              </a:spcBef>
              <a:spcAft>
                <a:spcPts val="300"/>
              </a:spcAft>
              <a:buSzPct val="100000"/>
              <a:buFont typeface="Wingdings" panose="05000000000000000000" pitchFamily="2" charset="2"/>
              <a:buChar char=""/>
              <a:defRPr sz="1400" kern="1200">
                <a:solidFill>
                  <a:schemeClr val="tx1"/>
                </a:solidFill>
                <a:latin typeface="+mn-lt"/>
                <a:ea typeface="+mn-ea"/>
                <a:cs typeface="+mn-cs"/>
              </a:defRPr>
            </a:lvl9pPr>
          </a:lstStyle>
          <a:p>
            <a:pPr lvl="1" algn="ctr"/>
            <a:r>
              <a:rPr lang="de-DE" dirty="0"/>
              <a:t>Lorem ipsum dolor sit consectetuer adipiscing elit. </a:t>
            </a:r>
            <a:br>
              <a:rPr lang="de-DE" dirty="0"/>
            </a:br>
            <a:r>
              <a:rPr lang="de-DE" dirty="0"/>
              <a:t>Maecenas porttitor congue massa. Fusce posuere, magna sed pulvinar ultricies.</a:t>
            </a:r>
          </a:p>
        </p:txBody>
      </p:sp>
      <p:sp>
        <p:nvSpPr>
          <p:cNvPr id="51" name="Freihandform: Form 50">
            <a:extLst>
              <a:ext uri="{FF2B5EF4-FFF2-40B4-BE49-F238E27FC236}">
                <a16:creationId xmlns:a16="http://schemas.microsoft.com/office/drawing/2014/main" id="{D4255108-68BB-47F6-8B75-F3C1175B59FA}"/>
              </a:ext>
            </a:extLst>
          </p:cNvPr>
          <p:cNvSpPr>
            <a:spLocks noChangeAspect="1"/>
          </p:cNvSpPr>
          <p:nvPr/>
        </p:nvSpPr>
        <p:spPr bwMode="gray">
          <a:xfrm rot="16200000">
            <a:off x="1200000" y="4761000"/>
            <a:ext cx="144000" cy="216000"/>
          </a:xfrm>
          <a:custGeom>
            <a:avLst/>
            <a:gdLst>
              <a:gd name="connsiteX0" fmla="*/ 72000 w 288000"/>
              <a:gd name="connsiteY0" fmla="*/ 0 h 432000"/>
              <a:gd name="connsiteX1" fmla="*/ 288000 w 288000"/>
              <a:gd name="connsiteY1" fmla="*/ 216000 h 432000"/>
              <a:gd name="connsiteX2" fmla="*/ 72000 w 288000"/>
              <a:gd name="connsiteY2" fmla="*/ 432000 h 432000"/>
              <a:gd name="connsiteX3" fmla="*/ 0 w 288000"/>
              <a:gd name="connsiteY3" fmla="*/ 360000 h 432000"/>
              <a:gd name="connsiteX4" fmla="*/ 144000 w 288000"/>
              <a:gd name="connsiteY4" fmla="*/ 216000 h 432000"/>
              <a:gd name="connsiteX5" fmla="*/ 0 w 288000"/>
              <a:gd name="connsiteY5" fmla="*/ 72000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000" h="432000">
                <a:moveTo>
                  <a:pt x="72000" y="0"/>
                </a:moveTo>
                <a:lnTo>
                  <a:pt x="288000" y="216000"/>
                </a:lnTo>
                <a:lnTo>
                  <a:pt x="72000" y="432000"/>
                </a:lnTo>
                <a:lnTo>
                  <a:pt x="0" y="360000"/>
                </a:lnTo>
                <a:lnTo>
                  <a:pt x="144000" y="216000"/>
                </a:lnTo>
                <a:lnTo>
                  <a:pt x="0" y="72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2000"/>
              </a:lnSpc>
              <a:spcBef>
                <a:spcPts val="300"/>
              </a:spcBef>
              <a:spcAft>
                <a:spcPts val="300"/>
              </a:spcAft>
            </a:pPr>
            <a:endParaRPr lang="de-DE" sz="1400" dirty="0"/>
          </a:p>
        </p:txBody>
      </p:sp>
    </p:spTree>
    <p:extLst>
      <p:ext uri="{BB962C8B-B14F-4D97-AF65-F5344CB8AC3E}">
        <p14:creationId xmlns:p14="http://schemas.microsoft.com/office/powerpoint/2010/main" val="31430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ue513HmyS.9DzRTgdRxULg"/>
</p:tagLst>
</file>

<file path=ppt/tags/tag1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ue513HmyS.9DzRTgdRxULg"/>
</p:tagLst>
</file>

<file path=ppt/tags/tag1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e513HmyS.9DzRTgdRxULg"/>
</p:tagLst>
</file>

<file path=ppt/tags/tag1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4KPT_xll8RlDOfuV0cxv9w"/>
</p:tagLst>
</file>

<file path=ppt/tags/tag1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4KPT_xll8RlDOfuV0cxv9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4KPT_xll8RlDOfuV0cxv9w"/>
</p:tagLst>
</file>

<file path=ppt/tags/tag1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J087D_a9aOIBqaqv9ZoqA"/>
</p:tagLst>
</file>

<file path=ppt/tags/tag1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wJ087D_a9aOIBqaqv9ZoqA"/>
</p:tagLst>
</file>

<file path=ppt/tags/tag1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wJ087D_a9aOIBqaqv9ZoqA"/>
</p:tagLst>
</file>

<file path=ppt/tags/tag1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xNo_m3_LoD5mDa1.M7aaz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xNo_m3_LoD5mDa1.M7aaz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xNo_m3_LoD5mDa1.M7aaz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9.tATmsjDEGS6Mapvj6Df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9.tATmsjDEGS6Mapvj6Df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9.tATmsjDEGS6Mapvj6Df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9.tATmsjDEGS6Mapvj6Df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9.tATmsjDEGS6Mapvj6Df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v0mDxGRxZfSzH4Efcv2yg"/>
</p:tagLst>
</file>

<file path=ppt/tags/tag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TfgwUfohCjeeqORCk36MP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S Fresenius">
  <a:themeElements>
    <a:clrScheme name="HSF_2022">
      <a:dk1>
        <a:srgbClr val="38414B"/>
      </a:dk1>
      <a:lt1>
        <a:srgbClr val="FFFFFF"/>
      </a:lt1>
      <a:dk2>
        <a:srgbClr val="00A3DA"/>
      </a:dk2>
      <a:lt2>
        <a:srgbClr val="5F7488"/>
      </a:lt2>
      <a:accent1>
        <a:srgbClr val="5D64A3"/>
      </a:accent1>
      <a:accent2>
        <a:srgbClr val="B84C96"/>
      </a:accent2>
      <a:accent3>
        <a:srgbClr val="FF2E5B"/>
      </a:accent3>
      <a:accent4>
        <a:srgbClr val="FF7C41"/>
      </a:accent4>
      <a:accent5>
        <a:srgbClr val="FFD92E"/>
      </a:accent5>
      <a:accent6>
        <a:srgbClr val="A8CC23"/>
      </a:accent6>
      <a:hlink>
        <a:srgbClr val="00A3DA"/>
      </a:hlink>
      <a:folHlink>
        <a:srgbClr val="00A3DA"/>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tx1"/>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2000"/>
          </a:lnSpc>
          <a:spcBef>
            <a:spcPts val="300"/>
          </a:spcBef>
          <a:spcAft>
            <a:spcPts val="300"/>
          </a:spcAft>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144000" tIns="144000" rIns="144000" bIns="0" rtlCol="0">
        <a:noAutofit/>
      </a:bodyPr>
      <a:lstStyle>
        <a:defPPr marL="180000" indent="-180000" algn="l">
          <a:lnSpc>
            <a:spcPct val="112000"/>
          </a:lnSpc>
          <a:spcBef>
            <a:spcPts val="300"/>
          </a:spcBef>
          <a:spcAft>
            <a:spcPts val="300"/>
          </a:spcAft>
          <a:buFont typeface="Wingdings" panose="05000000000000000000" pitchFamily="2" charset="2"/>
          <a:buChar char=""/>
          <a:defRPr sz="1400" dirty="0" err="1" smtClean="0">
            <a:solidFill>
              <a:schemeClr val="tx1"/>
            </a:solidFill>
          </a:defRPr>
        </a:defPPr>
      </a:lstStyle>
    </a:txDef>
  </a:objectDefaults>
  <a:extraClrSchemeLst/>
  <a:extLst>
    <a:ext uri="{05A4C25C-085E-4340-85A3-A5531E510DB2}">
      <thm15:themeFamily xmlns:thm15="http://schemas.microsoft.com/office/thememl/2012/main" name="HSF_MASTER" id="{95C2EC59-0878-409F-B4DA-8BA803E806D2}" vid="{0D6204FE-EBBE-4500-8714-52EB703B9C49}"/>
    </a:ext>
  </a:extLst>
</a:theme>
</file>

<file path=ppt/theme/theme2.xml><?xml version="1.0" encoding="utf-8"?>
<a:theme xmlns:a="http://schemas.openxmlformats.org/drawingml/2006/main" name="Office">
  <a:themeElements>
    <a:clrScheme name="Fresenius">
      <a:dk1>
        <a:srgbClr val="38414A"/>
      </a:dk1>
      <a:lt1>
        <a:srgbClr val="FFFFFF"/>
      </a:lt1>
      <a:dk2>
        <a:srgbClr val="009EE0"/>
      </a:dk2>
      <a:lt2>
        <a:srgbClr val="5F6872"/>
      </a:lt2>
      <a:accent1>
        <a:srgbClr val="676767"/>
      </a:accent1>
      <a:accent2>
        <a:srgbClr val="A7DEEB"/>
      </a:accent2>
      <a:accent3>
        <a:srgbClr val="B7CF96"/>
      </a:accent3>
      <a:accent4>
        <a:srgbClr val="E7E5E2"/>
      </a:accent4>
      <a:accent5>
        <a:srgbClr val="8B81B0"/>
      </a:accent5>
      <a:accent6>
        <a:srgbClr val="F7E2C3"/>
      </a:accent6>
      <a:hlink>
        <a:srgbClr val="38414B"/>
      </a:hlink>
      <a:folHlink>
        <a:srgbClr val="C2C2C2"/>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ln w="9525">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lgn="l">
          <a:defRPr sz="14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Fresenius">
      <a:dk1>
        <a:srgbClr val="38414A"/>
      </a:dk1>
      <a:lt1>
        <a:srgbClr val="FFFFFF"/>
      </a:lt1>
      <a:dk2>
        <a:srgbClr val="009EE0"/>
      </a:dk2>
      <a:lt2>
        <a:srgbClr val="5F6872"/>
      </a:lt2>
      <a:accent1>
        <a:srgbClr val="676767"/>
      </a:accent1>
      <a:accent2>
        <a:srgbClr val="A7DEEB"/>
      </a:accent2>
      <a:accent3>
        <a:srgbClr val="B7CF96"/>
      </a:accent3>
      <a:accent4>
        <a:srgbClr val="E7E5E2"/>
      </a:accent4>
      <a:accent5>
        <a:srgbClr val="8B81B0"/>
      </a:accent5>
      <a:accent6>
        <a:srgbClr val="F7E2C3"/>
      </a:accent6>
      <a:hlink>
        <a:srgbClr val="38414B"/>
      </a:hlink>
      <a:folHlink>
        <a:srgbClr val="C2C2C2"/>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ln w="9525">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AB29203B034D8F4C92C78C5FA997837C" ma:contentTypeVersion="0" ma:contentTypeDescription="Ein neues Dokument erstellen." ma:contentTypeScope="" ma:versionID="1e26517ed1d8078197e078354d781aa9">
  <xsd:schema xmlns:xsd="http://www.w3.org/2001/XMLSchema" xmlns:xs="http://www.w3.org/2001/XMLSchema" xmlns:p="http://schemas.microsoft.com/office/2006/metadata/properties" targetNamespace="http://schemas.microsoft.com/office/2006/metadata/properties" ma:root="true" ma:fieldsID="6354712c4ece313bc3af61e0a06b306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D376AB-A9E4-4754-99D0-8F5E2662DDA0}">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5270A700-DEEA-447A-9563-341FE31195B7}">
  <ds:schemaRefs>
    <ds:schemaRef ds:uri="http://schemas.microsoft.com/sharepoint/v3/contenttype/forms"/>
  </ds:schemaRefs>
</ds:datastoreItem>
</file>

<file path=customXml/itemProps3.xml><?xml version="1.0" encoding="utf-8"?>
<ds:datastoreItem xmlns:ds="http://schemas.openxmlformats.org/officeDocument/2006/customXml" ds:itemID="{7BAACE50-5352-4CB8-8C8E-D1ECD68738D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0</TotalTime>
  <Words>7139</Words>
  <Application>Microsoft Macintosh PowerPoint</Application>
  <PresentationFormat>Breitbild</PresentationFormat>
  <Paragraphs>1054</Paragraphs>
  <Slides>91</Slides>
  <Notes>26</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91</vt:i4>
      </vt:variant>
    </vt:vector>
  </HeadingPairs>
  <TitlesOfParts>
    <vt:vector size="98" baseType="lpstr">
      <vt:lpstr>Arial</vt:lpstr>
      <vt:lpstr>Geneva</vt:lpstr>
      <vt:lpstr>Open Sans Extrabold</vt:lpstr>
      <vt:lpstr>Verdana</vt:lpstr>
      <vt:lpstr>Wingdings</vt:lpstr>
      <vt:lpstr>HS Fresenius</vt:lpstr>
      <vt:lpstr>think-cell Folie</vt:lpstr>
      <vt:lpstr>PowerPoint-Präsentation</vt:lpstr>
      <vt:lpstr>Titel mit erster Zeile</vt:lpstr>
      <vt:lpstr>Titel mit erster Zeile</vt:lpstr>
      <vt:lpstr>Orientierungsseite Diese Seite enthält einen Leitfaden für Ihre  Präsentation</vt:lpstr>
      <vt:lpstr>Inhalt</vt:lpstr>
      <vt:lpstr>Inhalt</vt:lpstr>
      <vt:lpstr>PowerPoint-Präsentation</vt:lpstr>
      <vt:lpstr>ÜBERSCHRIFT 1 in 20 pt zweite Zeile ungefettet (Manuell)</vt:lpstr>
      <vt:lpstr>ÜBERSCHRIFT 1 in 20 pt zweite Zeile ungefettet (Manuell)</vt:lpstr>
      <vt:lpstr>ÜBERSCHRIFT 1 in 20 pt zweite Zeile ungefettet (Manuell)</vt:lpstr>
      <vt:lpstr>ÜBERSCHRIFT 1 zweite Zeile ungefettet (Manuell)</vt:lpstr>
      <vt:lpstr>ÜBERSCHRIFT 1 zweite Zeile ungefettet (Manuell)</vt:lpstr>
      <vt:lpstr>ÜBERSCHRIFT 1 zweite Zeile ungefettet (Manuell)</vt:lpstr>
      <vt:lpstr>ÜBERSCHRIFT 1 zweite Zeile ungefettet (Manuell)</vt:lpstr>
      <vt:lpstr>ÜBERSCHRIFT 1 zweite Zeile ungefettet (Manuell)</vt:lpstr>
      <vt:lpstr>ÜBERSCHRIFT 1 zweite Zeile ungefettet (Manuell)</vt:lpstr>
      <vt:lpstr>ÜBERSCHRIFT 1 zweite Zeile ungefettet (Manuell)</vt:lpstr>
      <vt:lpstr>ÜBERSCHRIFT 1 zweite Zeile ungefettet (Manuell)</vt:lpstr>
      <vt:lpstr>ÜBERSCHRIFT 1 zweite Zeile ungefettet (Manuell)</vt:lpstr>
      <vt:lpstr>ÜBERSCHRIFT 1 zweite Zeile ungefettet (Manuell)</vt:lpstr>
      <vt:lpstr>ÜBERSCHRIFT 1 zweite Zeile ungefettet (Manuell)</vt:lpstr>
      <vt:lpstr>ÜBERSCHRIFT 1 zweite Zeile ungefettet (Manuell)</vt:lpstr>
      <vt:lpstr>ÜBERSCHRIFT 1 zweite Zeile ungefettet (Manuell)</vt:lpstr>
      <vt:lpstr>Layout Nur Titel zweite Zeile ungefettet (Manuell)</vt:lpstr>
      <vt:lpstr>Layout Nur Titel Hintergrund generell umfärbbar</vt:lpstr>
      <vt:lpstr>Layout Nur Titel Hintergrund generell umfärbbar</vt:lpstr>
      <vt:lpstr>ÜBERSCHRIFT 1 HIER AUCH DREIZEILIG MÖGLICH</vt:lpstr>
      <vt:lpstr>ÜBERSCHRIFT 1 HIER AUCH DREIZEILIG MÖGLICH, Hintergrund generell umfärbbar</vt:lpstr>
      <vt:lpstr>ÜBERSCHRIFT 1 HIER AUCH DREIZEILIG MÖGLICH, Hintergrund generell umfärbbar</vt:lpstr>
      <vt:lpstr>ÜBERSCHRIFT 1 HIER AUCH DREIZEILIG MÖGLICH</vt:lpstr>
      <vt:lpstr>ÜBERSCHRIFT 1 HIER AUCH DREIZEILIG MÖGLICH, Hintergrund generell umfärbbar</vt:lpstr>
      <vt:lpstr>ÜBERSCHRIFT 1 HIER AUCH DREIZEILIG MÖGLICH, Hintergrund generell umfärbbar</vt:lpstr>
      <vt:lpstr>ÜBERSCHRIFT 1 HIER AUCH DREIZEILIG MÖGLICH, Hintergrund generell umfärbbar</vt:lpstr>
      <vt:lpstr>ÜBERSCHRIFT 1 HIER AUCH DREIZEILIG MÖGLICH</vt:lpstr>
      <vt:lpstr>ÜBERSCHRIFT 1 HIER AUCH DREIZEILIG MÖGLICH, Hintergrund generell umfärbbar</vt:lpstr>
      <vt:lpstr>ÜBERSCHRIFT 1 HIER AUCH DREIZEILIG MÖGLICH, Hintergrund generell umfärbbar</vt:lpstr>
      <vt:lpstr>ÜBERSCHRIFT 1 HIER AUCH DREIZEILIG MÖGLICH, Hintergrund generell umfärbbar</vt:lpstr>
      <vt:lpstr>ÜBERSCHRIFT 1 HIER AUCH DREIZEILIG MÖGLICH, Hintergrund generell umfärbbar</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Icons I  positiv | Cyan</vt:lpstr>
      <vt:lpstr>Icons II  positiv | Cyan</vt:lpstr>
      <vt:lpstr>Icons I  negativ | Cyan</vt:lpstr>
      <vt:lpstr>Icons II  negativ | Cyan</vt:lpstr>
      <vt:lpstr>Tabellenvorlage Kopfzeile und Bänder frei umfärbbar</vt:lpstr>
      <vt:lpstr>Tabellenvorlage Version farbige Kopfzeile und Linien Cyan und Anthrazit (horizontal, 3/4 pt)</vt:lpstr>
      <vt:lpstr>Automatische  Diagramm-farbreihenfolge</vt:lpstr>
      <vt:lpstr>Texte mit Icons</vt:lpstr>
      <vt:lpstr>Texte mit Icons</vt:lpstr>
      <vt:lpstr>Texte mit Icons</vt:lpstr>
      <vt:lpstr>Texte mit Icons</vt:lpstr>
      <vt:lpstr>Texte mit Icons</vt:lpstr>
      <vt:lpstr>Texte mit Icons</vt:lpstr>
      <vt:lpstr>SWOT-Analyse</vt:lpstr>
      <vt:lpstr>SWOT-Analyse</vt:lpstr>
      <vt:lpstr>PowerPoint-Präsentation</vt:lpstr>
      <vt:lpstr>Zitat</vt:lpstr>
      <vt:lpstr>Texte mit Fotos</vt:lpstr>
      <vt:lpstr>Foto mit Text und Icons</vt:lpstr>
      <vt:lpstr>Smartphone-Bildschirm</vt:lpstr>
      <vt:lpstr>PowerPoint-Präsentation</vt:lpstr>
      <vt:lpstr>Vier Phasen mit Fotos</vt:lpstr>
      <vt:lpstr>Zeitstrahl</vt:lpstr>
      <vt:lpstr>Zeitstrahl</vt:lpstr>
      <vt:lpstr>Organigramm</vt:lpstr>
      <vt:lpstr>Organigramm</vt:lpstr>
      <vt:lpstr>Tabelle</vt:lpstr>
      <vt:lpstr>Tabelle</vt:lpstr>
      <vt:lpstr>Säulendiagramm</vt:lpstr>
      <vt:lpstr>Säulendiagramm</vt:lpstr>
      <vt:lpstr>Säulendiagramm</vt:lpstr>
      <vt:lpstr>Zwei Ringdiagramme mit Text</vt:lpstr>
      <vt:lpstr>Zwei Ringdiagramme mit Text</vt:lpstr>
      <vt:lpstr>Zwei Ringdiagramme mit Text</vt:lpstr>
      <vt:lpstr>Ring-Diagramme</vt:lpstr>
      <vt:lpstr>Ring-Diagramme</vt:lpstr>
      <vt:lpstr>Ring-Diagramme</vt:lpstr>
      <vt:lpstr>Karte: Welt (flach mit Ländergrenzen)</vt:lpstr>
      <vt:lpstr>Karte: Welt (flach mit Ländergrenzen)</vt:lpstr>
      <vt:lpstr>Karte: Welt (flach mit Ländergrenzen)</vt:lpstr>
      <vt:lpstr>Karte: Deutschland mit Bundesländern</vt:lpstr>
      <vt:lpstr>Karte: Deutschland mit Bundesländern</vt:lpstr>
      <vt:lpstr>Karte: Deutschland mit Bundesländern</vt:lpstr>
      <vt:lpstr>Prozess mit Rückführung</vt:lpstr>
      <vt:lpstr>Prozess mit Rückführung</vt:lpstr>
      <vt:lpstr>Prozess mit Rückführung</vt:lpstr>
    </vt:vector>
  </TitlesOfParts>
  <Company>Hochschule Freseniu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
  <dc:description>Optimiert für Office 2016</dc:description>
  <cp:lastModifiedBy>Rolf Benekamp</cp:lastModifiedBy>
  <cp:revision>442</cp:revision>
  <dcterms:created xsi:type="dcterms:W3CDTF">2019-02-26T15:06:28Z</dcterms:created>
  <dcterms:modified xsi:type="dcterms:W3CDTF">2025-09-29T10:48: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B29203B034D8F4C92C78C5FA997837C</vt:lpwstr>
  </property>
</Properties>
</file>